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charts/chart6.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sldIdLst>
    <p:sldId id="256" r:id="rId2"/>
    <p:sldId id="261" r:id="rId3"/>
    <p:sldId id="269" r:id="rId4"/>
    <p:sldId id="272" r:id="rId5"/>
    <p:sldId id="271" r:id="rId6"/>
    <p:sldId id="265" r:id="rId7"/>
    <p:sldId id="268" r:id="rId8"/>
    <p:sldId id="267" r:id="rId9"/>
    <p:sldId id="264" r:id="rId10"/>
    <p:sldId id="273" r:id="rId11"/>
  </p:sldIdLst>
  <p:sldSz cx="6858000" cy="9906000" type="A4"/>
  <p:notesSz cx="6858000" cy="9144000"/>
  <p:custDataLst>
    <p:tags r:id="rId1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FA0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50" d="100"/>
          <a:sy n="50" d="100"/>
        </p:scale>
        <p:origin x="2124" y="-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375302663438259E-2"/>
          <c:y val="0.11951909476661952"/>
          <c:w val="0.86844229217110569"/>
          <c:h val="0.76096181046676092"/>
        </c:manualLayout>
      </c:layout>
      <c:pieChart>
        <c:varyColors val="0"/>
        <c:ser>
          <c:idx val="0"/>
          <c:order val="0"/>
          <c:dPt>
            <c:idx val="0"/>
            <c:bubble3D val="0"/>
            <c:spPr>
              <a:pattFill prst="pct10">
                <a:fgClr>
                  <a:schemeClr val="tx1"/>
                </a:fgClr>
                <a:bgClr>
                  <a:schemeClr val="bg1"/>
                </a:bgClr>
              </a:pattFill>
              <a:ln w="6350" cmpd="sng" algn="ctr">
                <a:solidFill>
                  <a:schemeClr val="tx1"/>
                </a:solidFill>
                <a:prstDash val="solid"/>
              </a:ln>
            </c:spPr>
            <c:extLst>
              <c:ext xmlns:c16="http://schemas.microsoft.com/office/drawing/2014/chart" uri="{C3380CC4-5D6E-409C-BE32-E72D297353CC}">
                <c16:uniqueId val="{00000000-4695-4959-BA02-75593C414202}"/>
              </c:ext>
            </c:extLst>
          </c:dPt>
          <c:dPt>
            <c:idx val="1"/>
            <c:bubble3D val="0"/>
            <c:spPr>
              <a:solidFill>
                <a:srgbClr val="6F8DB9"/>
              </a:solidFill>
              <a:ln w="6350" cmpd="sng" algn="ctr">
                <a:solidFill>
                  <a:schemeClr val="tx1"/>
                </a:solidFill>
                <a:prstDash val="solid"/>
              </a:ln>
            </c:spPr>
            <c:extLst>
              <c:ext xmlns:c16="http://schemas.microsoft.com/office/drawing/2014/chart" uri="{C3380CC4-5D6E-409C-BE32-E72D297353CC}">
                <c16:uniqueId val="{00000001-4695-4959-BA02-75593C414202}"/>
              </c:ext>
            </c:extLst>
          </c:dPt>
          <c:dPt>
            <c:idx val="2"/>
            <c:bubble3D val="0"/>
            <c:spPr>
              <a:solidFill>
                <a:srgbClr val="4C6C9C"/>
              </a:solidFill>
              <a:ln w="6350" cmpd="sng" algn="ctr">
                <a:solidFill>
                  <a:schemeClr val="tx1"/>
                </a:solidFill>
                <a:prstDash val="solid"/>
              </a:ln>
            </c:spPr>
            <c:extLst>
              <c:ext xmlns:c16="http://schemas.microsoft.com/office/drawing/2014/chart" uri="{C3380CC4-5D6E-409C-BE32-E72D297353CC}">
                <c16:uniqueId val="{00000002-4695-4959-BA02-75593C414202}"/>
              </c:ext>
            </c:extLst>
          </c:dPt>
          <c:dLbls>
            <c:dLbl>
              <c:idx val="1"/>
              <c:layout>
                <c:manualLayout>
                  <c:x val="9.2816787732041967E-2"/>
                  <c:y val="-0.12093352192362093"/>
                </c:manualLayout>
              </c:layout>
              <c:numFmt formatCode="#,##0&quot;%&quot;;&quot;-&quot;#,##0&quot;%&quot;" sourceLinked="0"/>
              <c:spPr>
                <a:noFill/>
                <a:ln>
                  <a:noFill/>
                </a:ln>
              </c:spPr>
              <c:txPr>
                <a:bodyPr wrap="none"/>
                <a:lstStyle/>
                <a:p>
                  <a:pPr>
                    <a:defRPr sz="800" kern="1200">
                      <a:solidFill>
                        <a:schemeClr val="bg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95-4959-BA02-75593C414202}"/>
                </c:ext>
              </c:extLst>
            </c:dLbl>
            <c:dLbl>
              <c:idx val="2"/>
              <c:layout>
                <c:manualLayout>
                  <c:x val="-6.3761097659402743E-2"/>
                  <c:y val="0.12729844413012731"/>
                </c:manualLayout>
              </c:layout>
              <c:numFmt formatCode="#,##0&quot;%&quot;;&quot;-&quot;#,##0&quot;%&quot;" sourceLinked="0"/>
              <c:spPr>
                <a:noFill/>
                <a:ln>
                  <a:noFill/>
                </a:ln>
              </c:spPr>
              <c:txPr>
                <a:bodyPr wrap="none"/>
                <a:lstStyle/>
                <a:p>
                  <a:pPr>
                    <a:defRPr sz="800" kern="1200">
                      <a:solidFill>
                        <a:schemeClr val="bg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695-4959-BA02-75593C4142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c:v>
                </c:pt>
                <c:pt idx="1">
                  <c:v>7.0000000000000009</c:v>
                </c:pt>
                <c:pt idx="2">
                  <c:v>87</c:v>
                </c:pt>
              </c:numCache>
            </c:numRef>
          </c:val>
          <c:extLst>
            <c:ext xmlns:c16="http://schemas.microsoft.com/office/drawing/2014/chart" uri="{C3380CC4-5D6E-409C-BE32-E72D297353CC}">
              <c16:uniqueId val="{00000003-4695-4959-BA02-75593C414202}"/>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344316309719934"/>
          <c:y val="0.13751017087062653"/>
          <c:w val="0.73393739703459637"/>
          <c:h val="0.724979658258747"/>
        </c:manualLayout>
      </c:layout>
      <c:doughnutChart>
        <c:varyColors val="0"/>
        <c:ser>
          <c:idx val="0"/>
          <c:order val="0"/>
          <c:dPt>
            <c:idx val="0"/>
            <c:bubble3D val="0"/>
            <c:spPr>
              <a:solidFill>
                <a:srgbClr val="364D6E"/>
              </a:solidFill>
              <a:ln>
                <a:noFill/>
              </a:ln>
            </c:spPr>
            <c:extLst>
              <c:ext xmlns:c16="http://schemas.microsoft.com/office/drawing/2014/chart" uri="{C3380CC4-5D6E-409C-BE32-E72D297353CC}">
                <c16:uniqueId val="{00000000-4EF8-41FF-9082-BFC79B49E209}"/>
              </c:ext>
            </c:extLst>
          </c:dPt>
          <c:dPt>
            <c:idx val="1"/>
            <c:bubble3D val="0"/>
            <c:spPr>
              <a:solidFill>
                <a:srgbClr val="4C6C9C"/>
              </a:solidFill>
              <a:ln>
                <a:noFill/>
              </a:ln>
            </c:spPr>
            <c:extLst>
              <c:ext xmlns:c16="http://schemas.microsoft.com/office/drawing/2014/chart" uri="{C3380CC4-5D6E-409C-BE32-E72D297353CC}">
                <c16:uniqueId val="{00000001-4EF8-41FF-9082-BFC79B49E209}"/>
              </c:ext>
            </c:extLst>
          </c:dPt>
          <c:dPt>
            <c:idx val="2"/>
            <c:bubble3D val="0"/>
            <c:spPr>
              <a:solidFill>
                <a:srgbClr val="6F8DB9"/>
              </a:solidFill>
              <a:ln>
                <a:noFill/>
              </a:ln>
            </c:spPr>
            <c:extLst>
              <c:ext xmlns:c16="http://schemas.microsoft.com/office/drawing/2014/chart" uri="{C3380CC4-5D6E-409C-BE32-E72D297353CC}">
                <c16:uniqueId val="{00000002-4EF8-41FF-9082-BFC79B49E209}"/>
              </c:ext>
            </c:extLst>
          </c:dPt>
          <c:dPt>
            <c:idx val="3"/>
            <c:bubble3D val="0"/>
            <c:spPr>
              <a:solidFill>
                <a:srgbClr val="9DB1CF"/>
              </a:solidFill>
              <a:ln>
                <a:noFill/>
              </a:ln>
            </c:spPr>
            <c:extLst>
              <c:ext xmlns:c16="http://schemas.microsoft.com/office/drawing/2014/chart" uri="{C3380CC4-5D6E-409C-BE32-E72D297353CC}">
                <c16:uniqueId val="{00000003-4EF8-41FF-9082-BFC79B49E209}"/>
              </c:ext>
            </c:extLst>
          </c:dPt>
          <c:dPt>
            <c:idx val="4"/>
            <c:bubble3D val="0"/>
            <c:spPr>
              <a:solidFill>
                <a:srgbClr val="C3CFE1"/>
              </a:solidFill>
              <a:ln>
                <a:noFill/>
              </a:ln>
            </c:spPr>
            <c:extLst>
              <c:ext xmlns:c16="http://schemas.microsoft.com/office/drawing/2014/chart" uri="{C3380CC4-5D6E-409C-BE32-E72D297353CC}">
                <c16:uniqueId val="{00000004-4EF8-41FF-9082-BFC79B49E209}"/>
              </c:ext>
            </c:extLst>
          </c:dPt>
          <c:dPt>
            <c:idx val="5"/>
            <c:bubble3D val="0"/>
            <c:spPr>
              <a:solidFill>
                <a:srgbClr val="DFE5EF"/>
              </a:solidFill>
              <a:ln>
                <a:noFill/>
              </a:ln>
            </c:spPr>
            <c:extLst>
              <c:ext xmlns:c16="http://schemas.microsoft.com/office/drawing/2014/chart" uri="{C3380CC4-5D6E-409C-BE32-E72D297353CC}">
                <c16:uniqueId val="{00000005-4EF8-41FF-9082-BFC79B49E209}"/>
              </c:ext>
            </c:extLst>
          </c:dPt>
          <c:dPt>
            <c:idx val="6"/>
            <c:bubble3D val="0"/>
            <c:spPr>
              <a:pattFill prst="pct10">
                <a:fgClr>
                  <a:schemeClr val="tx1"/>
                </a:fgClr>
                <a:bgClr>
                  <a:schemeClr val="bg1"/>
                </a:bgClr>
              </a:pattFill>
              <a:ln>
                <a:noFill/>
              </a:ln>
            </c:spPr>
            <c:extLst>
              <c:ext xmlns:c16="http://schemas.microsoft.com/office/drawing/2014/chart" uri="{C3380CC4-5D6E-409C-BE32-E72D297353CC}">
                <c16:uniqueId val="{00000006-4EF8-41FF-9082-BFC79B49E209}"/>
              </c:ext>
            </c:extLst>
          </c:dPt>
          <c:dPt>
            <c:idx val="7"/>
            <c:bubble3D val="0"/>
            <c:spPr>
              <a:pattFill prst="pct50">
                <a:fgClr>
                  <a:schemeClr val="tx1"/>
                </a:fgClr>
                <a:bgClr>
                  <a:schemeClr val="bg1"/>
                </a:bgClr>
              </a:pattFill>
              <a:ln>
                <a:noFill/>
              </a:ln>
            </c:spPr>
            <c:extLst>
              <c:ext xmlns:c16="http://schemas.microsoft.com/office/drawing/2014/chart" uri="{C3380CC4-5D6E-409C-BE32-E72D297353CC}">
                <c16:uniqueId val="{00000007-4EF8-41FF-9082-BFC79B49E209}"/>
              </c:ext>
            </c:extLst>
          </c:dPt>
          <c:dPt>
            <c:idx val="8"/>
            <c:bubble3D val="0"/>
            <c:spPr>
              <a:pattFill prst="pct75">
                <a:fgClr>
                  <a:schemeClr val="tx1"/>
                </a:fgClr>
                <a:bgClr>
                  <a:schemeClr val="bg1"/>
                </a:bgClr>
              </a:pattFill>
              <a:ln>
                <a:noFill/>
              </a:ln>
            </c:spPr>
            <c:extLst>
              <c:ext xmlns:c16="http://schemas.microsoft.com/office/drawing/2014/chart" uri="{C3380CC4-5D6E-409C-BE32-E72D297353CC}">
                <c16:uniqueId val="{00000008-4EF8-41FF-9082-BFC79B49E209}"/>
              </c:ext>
            </c:extLst>
          </c:dPt>
          <c:dPt>
            <c:idx val="9"/>
            <c:bubble3D val="0"/>
            <c:spPr>
              <a:solidFill>
                <a:srgbClr val="393939"/>
              </a:solidFill>
              <a:ln>
                <a:noFill/>
              </a:ln>
            </c:spPr>
            <c:extLst>
              <c:ext xmlns:c16="http://schemas.microsoft.com/office/drawing/2014/chart" uri="{C3380CC4-5D6E-409C-BE32-E72D297353CC}">
                <c16:uniqueId val="{00000009-4EF8-41FF-9082-BFC79B49E209}"/>
              </c:ext>
            </c:extLst>
          </c:dPt>
          <c:dPt>
            <c:idx val="10"/>
            <c:bubble3D val="0"/>
            <c:spPr>
              <a:solidFill>
                <a:srgbClr val="000000"/>
              </a:solidFill>
              <a:ln>
                <a:noFill/>
              </a:ln>
            </c:spPr>
            <c:extLst>
              <c:ext xmlns:c16="http://schemas.microsoft.com/office/drawing/2014/chart" uri="{C3380CC4-5D6E-409C-BE32-E72D297353CC}">
                <c16:uniqueId val="{0000000A-4EF8-41FF-9082-BFC79B49E209}"/>
              </c:ext>
            </c:extLst>
          </c:dPt>
          <c:dLbls>
            <c:dLbl>
              <c:idx val="0"/>
              <c:layout>
                <c:manualLayout>
                  <c:x val="2.5535420098846788E-2"/>
                  <c:y val="-4.7192839707078924E-2"/>
                </c:manualLayout>
              </c:layout>
              <c:numFmt formatCode="#,##0&quot;%&quot;;&quot;-&quot;#,##0&quot;%&quot;" sourceLinked="0"/>
              <c:spPr>
                <a:noFill/>
                <a:ln>
                  <a:noFill/>
                </a:ln>
              </c:spPr>
              <c:txPr>
                <a:bodyPr wrap="none"/>
                <a:lstStyle/>
                <a:p>
                  <a:pPr>
                    <a:defRPr sz="800" b="1" kern="1200">
                      <a:solidFill>
                        <a:schemeClr val="bg1"/>
                      </a:solidFill>
                      <a:latin typeface="SangBleu Sunrise"/>
                      <a:ea typeface="SangBleu Sunrise"/>
                      <a:cs typeface="SangBleu Sunrise"/>
                      <a:sym typeface="SangBleu Sunrise"/>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EF8-41FF-9082-BFC79B49E209}"/>
                </c:ext>
              </c:extLst>
            </c:dLbl>
            <c:dLbl>
              <c:idx val="1"/>
              <c:layout>
                <c:manualLayout>
                  <c:x val="4.9423393739703461E-2"/>
                  <c:y val="-4.8820179007323028E-3"/>
                </c:manualLayout>
              </c:layout>
              <c:numFmt formatCode="#,##0&quot;%&quot;;&quot;-&quot;#,##0&quot;%&quot;" sourceLinked="0"/>
              <c:spPr>
                <a:noFill/>
                <a:ln>
                  <a:noFill/>
                </a:ln>
              </c:spPr>
              <c:txPr>
                <a:bodyPr wrap="none"/>
                <a:lstStyle/>
                <a:p>
                  <a:pPr>
                    <a:defRPr sz="800" b="1" kern="1200">
                      <a:solidFill>
                        <a:schemeClr val="bg1"/>
                      </a:solidFill>
                      <a:latin typeface="SangBleu Sunrise"/>
                      <a:ea typeface="SangBleu Sunrise"/>
                      <a:cs typeface="+mn-cs"/>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EF8-41FF-9082-BFC79B49E209}"/>
                </c:ext>
              </c:extLst>
            </c:dLbl>
            <c:dLbl>
              <c:idx val="2"/>
              <c:layout>
                <c:manualLayout>
                  <c:x val="3.3772652388797363E-2"/>
                  <c:y val="2.8478437754271765E-2"/>
                </c:manualLayout>
              </c:layout>
              <c:numFmt formatCode="#,##0&quot;%&quot;;&quot;-&quot;#,##0&quot;%&quot;" sourceLinked="0"/>
              <c:spPr>
                <a:noFill/>
                <a:ln>
                  <a:noFill/>
                </a:ln>
              </c:spPr>
              <c:txPr>
                <a:bodyPr wrap="none"/>
                <a:lstStyle/>
                <a:p>
                  <a:pPr>
                    <a:defRPr sz="800" b="1" kern="1200">
                      <a:solidFill>
                        <a:schemeClr val="bg1"/>
                      </a:solidFill>
                      <a:latin typeface="SangBleu Sunrise"/>
                      <a:ea typeface="SangBleu Sunrise"/>
                      <a:cs typeface="SangBleu Sunrise"/>
                      <a:sym typeface="SangBleu Sunrise"/>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EF8-41FF-9082-BFC79B49E209}"/>
                </c:ext>
              </c:extLst>
            </c:dLbl>
            <c:dLbl>
              <c:idx val="3"/>
              <c:layout>
                <c:manualLayout>
                  <c:x val="1.1532125205930808E-2"/>
                  <c:y val="5.9397884458909686E-2"/>
                </c:manualLayout>
              </c:layout>
              <c:numFmt formatCode="#,##0&quot;%&quot;;&quot;-&quot;#,##0&quot;%&quot;" sourceLinked="0"/>
              <c:spPr>
                <a:noFill/>
                <a:ln>
                  <a:noFill/>
                </a:ln>
              </c:spPr>
              <c:txPr>
                <a:bodyPr wrap="none"/>
                <a:lstStyle/>
                <a:p>
                  <a:pPr>
                    <a:defRPr sz="800" b="1" kern="1200">
                      <a:solidFill>
                        <a:schemeClr val="tx1"/>
                      </a:solidFill>
                      <a:latin typeface="SangBleu Sunrise"/>
                      <a:ea typeface="SangBleu Sunrise"/>
                      <a:cs typeface="SangBleu Sunrise"/>
                      <a:sym typeface="SangBleu Sunrise"/>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EF8-41FF-9082-BFC79B49E209}"/>
                </c:ext>
              </c:extLst>
            </c:dLbl>
            <c:dLbl>
              <c:idx val="4"/>
              <c:layout>
                <c:manualLayout>
                  <c:x val="-2.3887973640856673E-2"/>
                  <c:y val="5.2888527257933277E-2"/>
                </c:manualLayout>
              </c:layout>
              <c:numFmt formatCode="#,##0&quot;%&quot;;&quot;-&quot;#,##0&quot;%&quot;" sourceLinked="0"/>
              <c:spPr>
                <a:noFill/>
                <a:ln>
                  <a:noFill/>
                </a:ln>
              </c:spPr>
              <c:txPr>
                <a:bodyPr wrap="none"/>
                <a:lstStyle/>
                <a:p>
                  <a:pPr>
                    <a:defRPr sz="800" b="1" kern="1200">
                      <a:solidFill>
                        <a:schemeClr val="tx1"/>
                      </a:solidFill>
                      <a:latin typeface="SangBleu Sunrise"/>
                      <a:ea typeface="SangBleu Sunrise"/>
                      <a:cs typeface="SangBleu Sunrise"/>
                      <a:sym typeface="SangBleu Sunrise"/>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EF8-41FF-9082-BFC79B49E209}"/>
                </c:ext>
              </c:extLst>
            </c:dLbl>
            <c:dLbl>
              <c:idx val="5"/>
              <c:layout>
                <c:manualLayout>
                  <c:x val="-4.4481054365733116E-2"/>
                  <c:y val="2.8478437754271765E-2"/>
                </c:manualLayout>
              </c:layout>
              <c:numFmt formatCode="#,##0&quot;%&quot;;&quot;-&quot;#,##0&quot;%&quot;" sourceLinked="0"/>
              <c:spPr>
                <a:noFill/>
                <a:ln>
                  <a:noFill/>
                </a:ln>
              </c:spPr>
              <c:txPr>
                <a:bodyPr wrap="none"/>
                <a:lstStyle/>
                <a:p>
                  <a:pPr>
                    <a:defRPr sz="800" b="1" kern="1200">
                      <a:solidFill>
                        <a:schemeClr val="tx1"/>
                      </a:solidFill>
                      <a:latin typeface="SangBleu Sunrise"/>
                      <a:ea typeface="SangBleu Sunrise"/>
                      <a:cs typeface="SangBleu Sunrise"/>
                      <a:sym typeface="SangBleu Sunrise"/>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EF8-41FF-9082-BFC79B49E209}"/>
                </c:ext>
              </c:extLst>
            </c:dLbl>
            <c:dLbl>
              <c:idx val="9"/>
              <c:layout>
                <c:manualLayout>
                  <c:x val="-2.4711696869851731E-2"/>
                  <c:y val="-5.777054515866558E-2"/>
                </c:manualLayout>
              </c:layout>
              <c:numFmt formatCode="#,##0&quot;%&quot;;&quot;-&quot;#,##0&quot;%&quot;" sourceLinked="0"/>
              <c:spPr>
                <a:noFill/>
                <a:ln>
                  <a:noFill/>
                </a:ln>
              </c:spPr>
              <c:txPr>
                <a:bodyPr wrap="none"/>
                <a:lstStyle/>
                <a:p>
                  <a:pPr>
                    <a:defRPr sz="800" b="1" kern="1200">
                      <a:solidFill>
                        <a:schemeClr val="bg1"/>
                      </a:solidFill>
                      <a:latin typeface="SangBleu Sunrise"/>
                      <a:ea typeface="SangBleu Sunrise"/>
                      <a:cs typeface="SangBleu Sunrise"/>
                      <a:sym typeface="SangBleu Sunrise"/>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EF8-41FF-9082-BFC79B49E2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11</c:f>
              <c:numCache>
                <c:formatCode>General</c:formatCode>
                <c:ptCount val="11"/>
                <c:pt idx="0">
                  <c:v>16</c:v>
                </c:pt>
                <c:pt idx="1">
                  <c:v>16</c:v>
                </c:pt>
                <c:pt idx="2">
                  <c:v>10</c:v>
                </c:pt>
                <c:pt idx="3">
                  <c:v>10</c:v>
                </c:pt>
                <c:pt idx="4">
                  <c:v>9</c:v>
                </c:pt>
                <c:pt idx="5">
                  <c:v>9</c:v>
                </c:pt>
                <c:pt idx="6">
                  <c:v>8</c:v>
                </c:pt>
                <c:pt idx="7">
                  <c:v>7.0000000000000009</c:v>
                </c:pt>
                <c:pt idx="8">
                  <c:v>6</c:v>
                </c:pt>
                <c:pt idx="9">
                  <c:v>5</c:v>
                </c:pt>
                <c:pt idx="10">
                  <c:v>4</c:v>
                </c:pt>
              </c:numCache>
            </c:numRef>
          </c:val>
          <c:extLst>
            <c:ext xmlns:c16="http://schemas.microsoft.com/office/drawing/2014/chart" uri="{C3380CC4-5D6E-409C-BE32-E72D297353CC}">
              <c16:uniqueId val="{0000000B-4EF8-41FF-9082-BFC79B49E209}"/>
            </c:ext>
          </c:extLst>
        </c:ser>
        <c:dLbls>
          <c:showLegendKey val="0"/>
          <c:showVal val="0"/>
          <c:showCatName val="0"/>
          <c:showSerName val="0"/>
          <c:showPercent val="0"/>
          <c:showBubbleSize val="0"/>
          <c:showLeaderLines val="0"/>
        </c:dLbls>
        <c:firstSliceAng val="0"/>
        <c:holeSize val="39"/>
      </c:doughnut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023828435266087"/>
          <c:y val="0.2011904761904762"/>
          <c:w val="0.39872915011914217"/>
          <c:h val="0.59761904761904761"/>
        </c:manualLayout>
      </c:layout>
      <c:pieChart>
        <c:varyColors val="0"/>
        <c:ser>
          <c:idx val="0"/>
          <c:order val="0"/>
          <c:dPt>
            <c:idx val="0"/>
            <c:bubble3D val="0"/>
            <c:spPr>
              <a:pattFill prst="pct10">
                <a:fgClr>
                  <a:schemeClr val="tx1"/>
                </a:fgClr>
                <a:bgClr>
                  <a:schemeClr val="bg1"/>
                </a:bgClr>
              </a:pattFill>
              <a:ln>
                <a:noFill/>
              </a:ln>
            </c:spPr>
            <c:extLst>
              <c:ext xmlns:c16="http://schemas.microsoft.com/office/drawing/2014/chart" uri="{C3380CC4-5D6E-409C-BE32-E72D297353CC}">
                <c16:uniqueId val="{00000000-ABB1-4268-AECF-26B51C3BE65E}"/>
              </c:ext>
            </c:extLst>
          </c:dPt>
          <c:dPt>
            <c:idx val="1"/>
            <c:bubble3D val="0"/>
            <c:spPr>
              <a:pattFill prst="pct50">
                <a:fgClr>
                  <a:schemeClr val="tx1"/>
                </a:fgClr>
                <a:bgClr>
                  <a:schemeClr val="bg1"/>
                </a:bgClr>
              </a:pattFill>
              <a:ln>
                <a:noFill/>
              </a:ln>
            </c:spPr>
            <c:extLst>
              <c:ext xmlns:c16="http://schemas.microsoft.com/office/drawing/2014/chart" uri="{C3380CC4-5D6E-409C-BE32-E72D297353CC}">
                <c16:uniqueId val="{00000001-ABB1-4268-AECF-26B51C3BE65E}"/>
              </c:ext>
            </c:extLst>
          </c:dPt>
          <c:dPt>
            <c:idx val="2"/>
            <c:bubble3D val="0"/>
            <c:spPr>
              <a:pattFill prst="pct75">
                <a:fgClr>
                  <a:schemeClr val="tx1"/>
                </a:fgClr>
                <a:bgClr>
                  <a:schemeClr val="bg1"/>
                </a:bgClr>
              </a:pattFill>
              <a:ln>
                <a:noFill/>
              </a:ln>
            </c:spPr>
            <c:extLst>
              <c:ext xmlns:c16="http://schemas.microsoft.com/office/drawing/2014/chart" uri="{C3380CC4-5D6E-409C-BE32-E72D297353CC}">
                <c16:uniqueId val="{00000002-ABB1-4268-AECF-26B51C3BE65E}"/>
              </c:ext>
            </c:extLst>
          </c:dPt>
          <c:dPt>
            <c:idx val="3"/>
            <c:bubble3D val="0"/>
            <c:spPr>
              <a:solidFill>
                <a:srgbClr val="BF9000"/>
              </a:solidFill>
              <a:ln>
                <a:noFill/>
              </a:ln>
            </c:spPr>
            <c:extLst>
              <c:ext xmlns:c16="http://schemas.microsoft.com/office/drawing/2014/chart" uri="{C3380CC4-5D6E-409C-BE32-E72D297353CC}">
                <c16:uniqueId val="{00000003-ABB1-4268-AECF-26B51C3BE65E}"/>
              </c:ext>
            </c:extLst>
          </c:dPt>
          <c:dPt>
            <c:idx val="4"/>
            <c:bubble3D val="0"/>
            <c:spPr>
              <a:solidFill>
                <a:srgbClr val="C0C0C0"/>
              </a:solidFill>
              <a:ln>
                <a:noFill/>
              </a:ln>
            </c:spPr>
            <c:extLst>
              <c:ext xmlns:c16="http://schemas.microsoft.com/office/drawing/2014/chart" uri="{C3380CC4-5D6E-409C-BE32-E72D297353CC}">
                <c16:uniqueId val="{00000004-ABB1-4268-AECF-26B51C3BE65E}"/>
              </c:ext>
            </c:extLst>
          </c:dPt>
          <c:dLbls>
            <c:dLbl>
              <c:idx val="3"/>
              <c:layout>
                <c:manualLayout>
                  <c:x val="-1.7474185861795076E-2"/>
                  <c:y val="5.3571428571428568E-2"/>
                </c:manualLayout>
              </c:layout>
              <c:numFmt formatCode="#,##0&quot;%&quot;;&quot;-&quot;#,##0&quot;%&quot;" sourceLinked="0"/>
              <c:spPr>
                <a:noFill/>
                <a:ln>
                  <a:noFill/>
                </a:ln>
              </c:spPr>
              <c:txPr>
                <a:bodyPr wrap="none"/>
                <a:lstStyle/>
                <a:p>
                  <a:pPr>
                    <a:defRPr sz="800" kern="1200">
                      <a:solidFill>
                        <a:schemeClr val="bg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BB1-4268-AECF-26B51C3BE65E}"/>
                </c:ext>
              </c:extLst>
            </c:dLbl>
            <c:dLbl>
              <c:idx val="4"/>
              <c:layout>
                <c:manualLayout>
                  <c:x val="-2.5416997617156472E-2"/>
                  <c:y val="-3.214285714285714E-2"/>
                </c:manualLayout>
              </c:layout>
              <c:numFmt formatCode="#,##0&quot;%&quot;;&quot;-&quot;#,##0&quot;%&quot;"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BB1-4268-AECF-26B51C3BE6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9</c:v>
                </c:pt>
                <c:pt idx="1">
                  <c:v>10</c:v>
                </c:pt>
                <c:pt idx="2">
                  <c:v>24</c:v>
                </c:pt>
                <c:pt idx="3">
                  <c:v>28.000000000000004</c:v>
                </c:pt>
                <c:pt idx="4">
                  <c:v>28.999999999999996</c:v>
                </c:pt>
              </c:numCache>
            </c:numRef>
          </c:val>
          <c:extLst>
            <c:ext xmlns:c16="http://schemas.microsoft.com/office/drawing/2014/chart" uri="{C3380CC4-5D6E-409C-BE32-E72D297353CC}">
              <c16:uniqueId val="{00000005-ABB1-4268-AECF-26B51C3BE65E}"/>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444964871194378E-2"/>
          <c:y val="6.1197041022192332E-2"/>
          <c:w val="0.93911007025761128"/>
          <c:h val="0.87760591795561538"/>
        </c:manualLayout>
      </c:layout>
      <c:barChart>
        <c:barDir val="bar"/>
        <c:grouping val="clustered"/>
        <c:varyColors val="0"/>
        <c:ser>
          <c:idx val="0"/>
          <c:order val="0"/>
          <c:spPr>
            <a:pattFill prst="pct10">
              <a:fgClr>
                <a:schemeClr val="tx1"/>
              </a:fgClr>
              <a:bgClr>
                <a:schemeClr val="bg1"/>
              </a:bgClr>
            </a:pattFill>
            <a:ln>
              <a:noFill/>
            </a:ln>
          </c:spPr>
          <c:invertIfNegative val="0"/>
          <c:dLbls>
            <c:dLbl>
              <c:idx val="0"/>
              <c:layout>
                <c:manualLayout>
                  <c:x val="-1.5222482435597189E-2"/>
                  <c:y val="1.3449899125756557E-3"/>
                </c:manualLayout>
              </c:layout>
              <c:numFmt formatCode="#,##0;&quot;-&quot;#,##0" sourceLinked="0"/>
              <c:spPr>
                <a:noFill/>
                <a:ln>
                  <a:noFill/>
                </a:ln>
              </c:spPr>
              <c:txPr>
                <a:bodyPr wrap="none"/>
                <a:lstStyle/>
                <a:p>
                  <a:pPr>
                    <a:defRPr sz="6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763-4AD0-BD07-9F67279DB8C1}"/>
                </c:ext>
              </c:extLst>
            </c:dLbl>
            <c:dLbl>
              <c:idx val="1"/>
              <c:layout>
                <c:manualLayout>
                  <c:x val="-1.3466042154566744E-2"/>
                  <c:y val="1.3449899125756557E-3"/>
                </c:manualLayout>
              </c:layout>
              <c:numFmt formatCode="#,##0;&quot;-&quot;#,##0" sourceLinked="0"/>
              <c:spPr>
                <a:noFill/>
                <a:ln>
                  <a:noFill/>
                </a:ln>
              </c:spPr>
              <c:txPr>
                <a:bodyPr wrap="none"/>
                <a:lstStyle/>
                <a:p>
                  <a:pPr>
                    <a:defRPr sz="6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763-4AD0-BD07-9F67279DB8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7.8</c:v>
                </c:pt>
                <c:pt idx="1">
                  <c:v>27.3</c:v>
                </c:pt>
                <c:pt idx="2">
                  <c:v>1738</c:v>
                </c:pt>
                <c:pt idx="3">
                  <c:v>1060.5</c:v>
                </c:pt>
                <c:pt idx="4">
                  <c:v>0</c:v>
                </c:pt>
                <c:pt idx="5">
                  <c:v>0</c:v>
                </c:pt>
              </c:numCache>
            </c:numRef>
          </c:val>
          <c:extLst>
            <c:ext xmlns:c16="http://schemas.microsoft.com/office/drawing/2014/chart" uri="{C3380CC4-5D6E-409C-BE32-E72D297353CC}">
              <c16:uniqueId val="{00000002-F763-4AD0-BD07-9F67279DB8C1}"/>
            </c:ext>
          </c:extLst>
        </c:ser>
        <c:ser>
          <c:idx val="1"/>
          <c:order val="1"/>
          <c:spPr>
            <a:pattFill prst="pct50">
              <a:fgClr>
                <a:schemeClr val="tx1"/>
              </a:fgClr>
              <a:bgClr>
                <a:schemeClr val="bg1"/>
              </a:bgClr>
            </a:pattFill>
            <a:ln>
              <a:noFill/>
            </a:ln>
          </c:spPr>
          <c:invertIfNegative val="0"/>
          <c:dLbls>
            <c:dLbl>
              <c:idx val="2"/>
              <c:layout>
                <c:manualLayout>
                  <c:x val="2.8103044496487119E-2"/>
                  <c:y val="1.3449899125756557E-3"/>
                </c:manualLayout>
              </c:layout>
              <c:numFmt formatCode="#,##0;&quot;-&quot;#,##0" sourceLinked="0"/>
              <c:spPr>
                <a:noFill/>
                <a:ln>
                  <a:noFill/>
                </a:ln>
              </c:spPr>
              <c:txPr>
                <a:bodyPr wrap="none"/>
                <a:lstStyle/>
                <a:p>
                  <a:pPr>
                    <a:defRPr sz="6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763-4AD0-BD07-9F67279DB8C1}"/>
                </c:ext>
              </c:extLst>
            </c:dLbl>
            <c:dLbl>
              <c:idx val="3"/>
              <c:layout>
                <c:manualLayout>
                  <c:x val="8.4309133489461355E-2"/>
                  <c:y val="1.3449899125756557E-3"/>
                </c:manualLayout>
              </c:layout>
              <c:numFmt formatCode="#,##0;&quot;-&quot;#,##0" sourceLinked="0"/>
              <c:spPr>
                <a:noFill/>
                <a:ln>
                  <a:noFill/>
                </a:ln>
              </c:spPr>
              <c:txPr>
                <a:bodyPr wrap="none"/>
                <a:lstStyle/>
                <a:p>
                  <a:pPr>
                    <a:defRPr sz="6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763-4AD0-BD07-9F67279DB8C1}"/>
                </c:ext>
              </c:extLst>
            </c:dLbl>
            <c:dLbl>
              <c:idx val="4"/>
              <c:layout>
                <c:manualLayout>
                  <c:x val="-1.0538641686182669E-2"/>
                  <c:y val="1.3449899125756557E-3"/>
                </c:manualLayout>
              </c:layout>
              <c:numFmt formatCode="#,##0;&quot;-&quot;#,##0" sourceLinked="0"/>
              <c:spPr>
                <a:noFill/>
                <a:ln>
                  <a:noFill/>
                </a:ln>
              </c:spPr>
              <c:txPr>
                <a:bodyPr wrap="none"/>
                <a:lstStyle/>
                <a:p>
                  <a:pPr>
                    <a:defRPr sz="6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763-4AD0-BD07-9F67279DB8C1}"/>
                </c:ext>
              </c:extLst>
            </c:dLbl>
            <c:dLbl>
              <c:idx val="5"/>
              <c:layout>
                <c:manualLayout>
                  <c:x val="-1.3466042154566744E-2"/>
                  <c:y val="1.3449899125756557E-3"/>
                </c:manualLayout>
              </c:layout>
              <c:numFmt formatCode="#,##0;&quot;-&quot;#,##0" sourceLinked="0"/>
              <c:spPr>
                <a:noFill/>
                <a:ln>
                  <a:noFill/>
                </a:ln>
              </c:spPr>
              <c:txPr>
                <a:bodyPr wrap="none"/>
                <a:lstStyle/>
                <a:p>
                  <a:pPr>
                    <a:defRPr sz="6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763-4AD0-BD07-9F67279DB8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6719.7</c:v>
                </c:pt>
                <c:pt idx="1">
                  <c:v>2854</c:v>
                </c:pt>
                <c:pt idx="2">
                  <c:v>326.60000000000002</c:v>
                </c:pt>
                <c:pt idx="3">
                  <c:v>727.9</c:v>
                </c:pt>
                <c:pt idx="4">
                  <c:v>51</c:v>
                </c:pt>
                <c:pt idx="5">
                  <c:v>29.4</c:v>
                </c:pt>
              </c:numCache>
            </c:numRef>
          </c:val>
          <c:extLst>
            <c:ext xmlns:c16="http://schemas.microsoft.com/office/drawing/2014/chart" uri="{C3380CC4-5D6E-409C-BE32-E72D297353CC}">
              <c16:uniqueId val="{00000007-F763-4AD0-BD07-9F67279DB8C1}"/>
            </c:ext>
          </c:extLst>
        </c:ser>
        <c:ser>
          <c:idx val="2"/>
          <c:order val="2"/>
          <c:spPr>
            <a:pattFill prst="pct75">
              <a:fgClr>
                <a:schemeClr val="tx1"/>
              </a:fgClr>
              <a:bgClr>
                <a:schemeClr val="bg1"/>
              </a:bgClr>
            </a:pattFill>
            <a:ln>
              <a:noFill/>
            </a:ln>
          </c:spPr>
          <c:invertIfNegative val="0"/>
          <c:dLbls>
            <c:dLbl>
              <c:idx val="1"/>
              <c:layout>
                <c:manualLayout>
                  <c:x val="4.9180327868852458E-2"/>
                  <c:y val="1.3449899125756557E-3"/>
                </c:manualLayout>
              </c:layout>
              <c:numFmt formatCode="#,##0;&quot;-&quot;#,##0" sourceLinked="0"/>
              <c:spPr>
                <a:noFill/>
                <a:ln>
                  <a:noFill/>
                </a:ln>
              </c:spPr>
              <c:txPr>
                <a:bodyPr wrap="none"/>
                <a:lstStyle/>
                <a:p>
                  <a:pPr>
                    <a:defRPr sz="6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763-4AD0-BD07-9F67279DB8C1}"/>
                </c:ext>
              </c:extLst>
            </c:dLbl>
            <c:dLbl>
              <c:idx val="3"/>
              <c:layout>
                <c:manualLayout>
                  <c:x val="-8.7822014051522242E-3"/>
                  <c:y val="1.3449899125756557E-3"/>
                </c:manualLayout>
              </c:layout>
              <c:numFmt formatCode="#,##0;&quot;-&quot;#,##0" sourceLinked="0"/>
              <c:spPr>
                <a:noFill/>
                <a:ln>
                  <a:noFill/>
                </a:ln>
              </c:spPr>
              <c:txPr>
                <a:bodyPr wrap="none"/>
                <a:lstStyle/>
                <a:p>
                  <a:pPr>
                    <a:defRPr sz="6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763-4AD0-BD07-9F67279DB8C1}"/>
                </c:ext>
              </c:extLst>
            </c:dLbl>
            <c:dLbl>
              <c:idx val="4"/>
              <c:layout>
                <c:manualLayout>
                  <c:x val="-4.0983606557377051E-3"/>
                  <c:y val="1.3449899125756557E-3"/>
                </c:manualLayout>
              </c:layout>
              <c:numFmt formatCode="#,##0;&quot;-&quot;#,##0" sourceLinked="0"/>
              <c:spPr>
                <a:noFill/>
                <a:ln>
                  <a:noFill/>
                </a:ln>
              </c:spPr>
              <c:txPr>
                <a:bodyPr wrap="none"/>
                <a:lstStyle/>
                <a:p>
                  <a:pPr>
                    <a:defRPr sz="6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763-4AD0-BD07-9F67279DB8C1}"/>
                </c:ext>
              </c:extLst>
            </c:dLbl>
            <c:dLbl>
              <c:idx val="5"/>
              <c:layout>
                <c:manualLayout>
                  <c:x val="-2.34192037470726E-3"/>
                  <c:y val="1.3449899125756557E-3"/>
                </c:manualLayout>
              </c:layout>
              <c:numFmt formatCode="#,##0;&quot;-&quot;#,##0" sourceLinked="0"/>
              <c:spPr>
                <a:noFill/>
                <a:ln>
                  <a:noFill/>
                </a:ln>
              </c:spPr>
              <c:txPr>
                <a:bodyPr wrap="none"/>
                <a:lstStyle/>
                <a:p>
                  <a:pPr>
                    <a:defRPr sz="6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763-4AD0-BD07-9F67279DB8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1229.7</c:v>
                </c:pt>
                <c:pt idx="1">
                  <c:v>479.3</c:v>
                </c:pt>
                <c:pt idx="2">
                  <c:v>4.5999999999999996</c:v>
                </c:pt>
                <c:pt idx="3">
                  <c:v>61.5</c:v>
                </c:pt>
                <c:pt idx="4">
                  <c:v>97.3</c:v>
                </c:pt>
                <c:pt idx="5">
                  <c:v>107</c:v>
                </c:pt>
              </c:numCache>
            </c:numRef>
          </c:val>
          <c:extLst>
            <c:ext xmlns:c16="http://schemas.microsoft.com/office/drawing/2014/chart" uri="{C3380CC4-5D6E-409C-BE32-E72D297353CC}">
              <c16:uniqueId val="{0000000C-F763-4AD0-BD07-9F67279DB8C1}"/>
            </c:ext>
          </c:extLst>
        </c:ser>
        <c:dLbls>
          <c:showLegendKey val="0"/>
          <c:showVal val="0"/>
          <c:showCatName val="0"/>
          <c:showSerName val="0"/>
          <c:showPercent val="0"/>
          <c:showBubbleSize val="0"/>
        </c:dLbls>
        <c:gapWidth val="80"/>
        <c:axId val="1948358927"/>
        <c:axId val="1"/>
      </c:barChart>
      <c:catAx>
        <c:axId val="1948358927"/>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719.7"/>
          <c:min val="0"/>
        </c:scaling>
        <c:delete val="1"/>
        <c:axPos val="t"/>
        <c:numFmt formatCode="General" sourceLinked="1"/>
        <c:majorTickMark val="out"/>
        <c:minorTickMark val="none"/>
        <c:tickLblPos val="nextTo"/>
        <c:crossAx val="1948358927"/>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82758620689655E-2"/>
          <c:y val="0.21638924455825864"/>
          <c:w val="0.93103448275862066"/>
          <c:h val="0.63380281690140849"/>
        </c:manualLayout>
      </c:layout>
      <c:barChart>
        <c:barDir val="col"/>
        <c:grouping val="stacked"/>
        <c:varyColors val="0"/>
        <c:ser>
          <c:idx val="0"/>
          <c:order val="0"/>
          <c:spPr>
            <a:solidFill>
              <a:srgbClr val="BF9000"/>
            </a:solidFill>
            <a:ln w="9525" cmpd="sng" algn="ctr">
              <a:solidFill>
                <a:schemeClr val="tx1"/>
              </a:solidFill>
              <a:prstDash val="solid"/>
            </a:ln>
          </c:spPr>
          <c:invertIfNegative val="0"/>
          <c:dLbls>
            <c:dLbl>
              <c:idx val="1"/>
              <c:layout>
                <c:manualLayout>
                  <c:x val="0"/>
                  <c:y val="-0.13572343149807939"/>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A9-4B95-A720-F0FEEDF9207D}"/>
                </c:ext>
              </c:extLst>
            </c:dLbl>
            <c:dLbl>
              <c:idx val="2"/>
              <c:layout>
                <c:manualLayout>
                  <c:x val="0"/>
                  <c:y val="-0.3431498079385403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A9-4B95-A720-F0FEEDF9207D}"/>
                </c:ext>
              </c:extLst>
            </c:dLbl>
            <c:dLbl>
              <c:idx val="3"/>
              <c:layout>
                <c:manualLayout>
                  <c:x val="0"/>
                  <c:y val="-0.38540332906530089"/>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A9-4B95-A720-F0FEEDF9207D}"/>
                </c:ext>
              </c:extLst>
            </c:dLbl>
            <c:dLbl>
              <c:idx val="4"/>
              <c:layout>
                <c:manualLayout>
                  <c:x val="0"/>
                  <c:y val="-0.2496798975672215"/>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A9-4B95-A720-F0FEEDF920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0</c:v>
                </c:pt>
                <c:pt idx="1">
                  <c:v>1.6</c:v>
                </c:pt>
                <c:pt idx="2">
                  <c:v>6.5</c:v>
                </c:pt>
                <c:pt idx="3">
                  <c:v>7.5</c:v>
                </c:pt>
                <c:pt idx="4">
                  <c:v>4.3</c:v>
                </c:pt>
                <c:pt idx="5">
                  <c:v>0</c:v>
                </c:pt>
              </c:numCache>
            </c:numRef>
          </c:val>
          <c:extLst>
            <c:ext xmlns:c16="http://schemas.microsoft.com/office/drawing/2014/chart" uri="{C3380CC4-5D6E-409C-BE32-E72D297353CC}">
              <c16:uniqueId val="{00000004-2DA9-4B95-A720-F0FEEDF9207D}"/>
            </c:ext>
          </c:extLst>
        </c:ser>
        <c:dLbls>
          <c:showLegendKey val="0"/>
          <c:showVal val="0"/>
          <c:showCatName val="0"/>
          <c:showSerName val="0"/>
          <c:showPercent val="0"/>
          <c:showBubbleSize val="0"/>
        </c:dLbls>
        <c:gapWidth val="80"/>
        <c:overlap val="100"/>
        <c:axId val="609216735"/>
        <c:axId val="1"/>
      </c:barChart>
      <c:catAx>
        <c:axId val="6092167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
          <c:min val="0"/>
        </c:scaling>
        <c:delete val="1"/>
        <c:axPos val="l"/>
        <c:numFmt formatCode="General" sourceLinked="1"/>
        <c:majorTickMark val="out"/>
        <c:minorTickMark val="none"/>
        <c:tickLblPos val="nextTo"/>
        <c:crossAx val="609216735"/>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72243839169909E-2"/>
          <c:y val="4.8327137546468404E-2"/>
          <c:w val="0.93255512321660183"/>
          <c:h val="0.90334572490706322"/>
        </c:manualLayout>
      </c:layout>
      <c:areaChart>
        <c:grouping val="stacked"/>
        <c:varyColors val="0"/>
        <c:ser>
          <c:idx val="0"/>
          <c:order val="0"/>
          <c:spPr>
            <a:solidFill>
              <a:srgbClr val="393939"/>
            </a:solidFill>
            <a:ln w="9525" cmpd="sng" algn="ctr">
              <a:solidFill>
                <a:schemeClr val="tx1"/>
              </a:solidFill>
              <a:prstDash val="solid"/>
            </a:ln>
          </c:spPr>
          <c:val>
            <c:numRef>
              <c:f>Sheet1!$A$1:$E$1</c:f>
              <c:numCache>
                <c:formatCode>General</c:formatCode>
                <c:ptCount val="5"/>
                <c:pt idx="0">
                  <c:v>2682</c:v>
                </c:pt>
                <c:pt idx="1">
                  <c:v>1496</c:v>
                </c:pt>
                <c:pt idx="2">
                  <c:v>1819</c:v>
                </c:pt>
                <c:pt idx="3">
                  <c:v>2206</c:v>
                </c:pt>
                <c:pt idx="4">
                  <c:v>4382</c:v>
                </c:pt>
              </c:numCache>
            </c:numRef>
          </c:val>
          <c:extLst>
            <c:ext xmlns:c16="http://schemas.microsoft.com/office/drawing/2014/chart" uri="{C3380CC4-5D6E-409C-BE32-E72D297353CC}">
              <c16:uniqueId val="{00000000-362C-47F2-897A-7E51905979FD}"/>
            </c:ext>
          </c:extLst>
        </c:ser>
        <c:ser>
          <c:idx val="1"/>
          <c:order val="1"/>
          <c:spPr>
            <a:solidFill>
              <a:srgbClr val="364D6E"/>
            </a:solidFill>
            <a:ln w="9525" cmpd="sng" algn="ctr">
              <a:solidFill>
                <a:schemeClr val="tx1"/>
              </a:solidFill>
              <a:prstDash val="solid"/>
            </a:ln>
          </c:spPr>
          <c:val>
            <c:numRef>
              <c:f>Sheet1!$A$2:$E$2</c:f>
              <c:numCache>
                <c:formatCode>General</c:formatCode>
                <c:ptCount val="5"/>
                <c:pt idx="0">
                  <c:v>0</c:v>
                </c:pt>
                <c:pt idx="1">
                  <c:v>0</c:v>
                </c:pt>
                <c:pt idx="2">
                  <c:v>0</c:v>
                </c:pt>
                <c:pt idx="3">
                  <c:v>817</c:v>
                </c:pt>
                <c:pt idx="4">
                  <c:v>3795</c:v>
                </c:pt>
              </c:numCache>
            </c:numRef>
          </c:val>
          <c:extLst>
            <c:ext xmlns:c16="http://schemas.microsoft.com/office/drawing/2014/chart" uri="{C3380CC4-5D6E-409C-BE32-E72D297353CC}">
              <c16:uniqueId val="{00000001-362C-47F2-897A-7E51905979FD}"/>
            </c:ext>
          </c:extLst>
        </c:ser>
        <c:ser>
          <c:idx val="2"/>
          <c:order val="2"/>
          <c:spPr>
            <a:solidFill>
              <a:srgbClr val="4C6C9C"/>
            </a:solidFill>
            <a:ln w="9525" cmpd="sng" algn="ctr">
              <a:solidFill>
                <a:schemeClr val="tx1"/>
              </a:solidFill>
              <a:prstDash val="solid"/>
            </a:ln>
          </c:spPr>
          <c:val>
            <c:numRef>
              <c:f>Sheet1!$A$3:$E$3</c:f>
              <c:numCache>
                <c:formatCode>General</c:formatCode>
                <c:ptCount val="5"/>
                <c:pt idx="0">
                  <c:v>567</c:v>
                </c:pt>
                <c:pt idx="1">
                  <c:v>718</c:v>
                </c:pt>
                <c:pt idx="2">
                  <c:v>802</c:v>
                </c:pt>
                <c:pt idx="3">
                  <c:v>1293</c:v>
                </c:pt>
                <c:pt idx="4">
                  <c:v>1558</c:v>
                </c:pt>
              </c:numCache>
            </c:numRef>
          </c:val>
          <c:extLst>
            <c:ext xmlns:c16="http://schemas.microsoft.com/office/drawing/2014/chart" uri="{C3380CC4-5D6E-409C-BE32-E72D297353CC}">
              <c16:uniqueId val="{00000002-362C-47F2-897A-7E51905979FD}"/>
            </c:ext>
          </c:extLst>
        </c:ser>
        <c:ser>
          <c:idx val="3"/>
          <c:order val="3"/>
          <c:spPr>
            <a:solidFill>
              <a:srgbClr val="6F8DB9"/>
            </a:solidFill>
            <a:ln w="9525" cmpd="sng" algn="ctr">
              <a:solidFill>
                <a:schemeClr val="tx1"/>
              </a:solidFill>
              <a:prstDash val="solid"/>
            </a:ln>
          </c:spPr>
          <c:val>
            <c:numRef>
              <c:f>Sheet1!$A$4:$E$4</c:f>
              <c:numCache>
                <c:formatCode>General</c:formatCode>
                <c:ptCount val="5"/>
                <c:pt idx="0">
                  <c:v>1106</c:v>
                </c:pt>
                <c:pt idx="1">
                  <c:v>2397</c:v>
                </c:pt>
                <c:pt idx="2">
                  <c:v>2407</c:v>
                </c:pt>
                <c:pt idx="3">
                  <c:v>1514</c:v>
                </c:pt>
                <c:pt idx="4">
                  <c:v>1544</c:v>
                </c:pt>
              </c:numCache>
            </c:numRef>
          </c:val>
          <c:extLst>
            <c:ext xmlns:c16="http://schemas.microsoft.com/office/drawing/2014/chart" uri="{C3380CC4-5D6E-409C-BE32-E72D297353CC}">
              <c16:uniqueId val="{00000003-362C-47F2-897A-7E51905979FD}"/>
            </c:ext>
          </c:extLst>
        </c:ser>
        <c:ser>
          <c:idx val="4"/>
          <c:order val="4"/>
          <c:spPr>
            <a:solidFill>
              <a:srgbClr val="9DB1CF"/>
            </a:solidFill>
            <a:ln w="9525" cmpd="sng" algn="ctr">
              <a:solidFill>
                <a:schemeClr val="tx1"/>
              </a:solidFill>
              <a:prstDash val="solid"/>
            </a:ln>
          </c:spPr>
          <c:val>
            <c:numRef>
              <c:f>Sheet1!$A$5:$E$5</c:f>
              <c:numCache>
                <c:formatCode>General</c:formatCode>
                <c:ptCount val="5"/>
                <c:pt idx="0">
                  <c:v>848</c:v>
                </c:pt>
                <c:pt idx="1">
                  <c:v>669</c:v>
                </c:pt>
                <c:pt idx="2">
                  <c:v>673</c:v>
                </c:pt>
                <c:pt idx="3">
                  <c:v>1069</c:v>
                </c:pt>
                <c:pt idx="4">
                  <c:v>1496</c:v>
                </c:pt>
              </c:numCache>
            </c:numRef>
          </c:val>
          <c:extLst>
            <c:ext xmlns:c16="http://schemas.microsoft.com/office/drawing/2014/chart" uri="{C3380CC4-5D6E-409C-BE32-E72D297353CC}">
              <c16:uniqueId val="{00000004-362C-47F2-897A-7E51905979FD}"/>
            </c:ext>
          </c:extLst>
        </c:ser>
        <c:ser>
          <c:idx val="5"/>
          <c:order val="5"/>
          <c:spPr>
            <a:solidFill>
              <a:srgbClr val="C3CFE1"/>
            </a:solidFill>
            <a:ln w="9525" cmpd="sng" algn="ctr">
              <a:solidFill>
                <a:schemeClr val="tx1"/>
              </a:solidFill>
              <a:prstDash val="solid"/>
            </a:ln>
          </c:spPr>
          <c:val>
            <c:numRef>
              <c:f>Sheet1!$A$6:$E$6</c:f>
              <c:numCache>
                <c:formatCode>General</c:formatCode>
                <c:ptCount val="5"/>
                <c:pt idx="0">
                  <c:v>0</c:v>
                </c:pt>
                <c:pt idx="1">
                  <c:v>0</c:v>
                </c:pt>
                <c:pt idx="2">
                  <c:v>0</c:v>
                </c:pt>
                <c:pt idx="3">
                  <c:v>0</c:v>
                </c:pt>
                <c:pt idx="4">
                  <c:v>1468</c:v>
                </c:pt>
              </c:numCache>
            </c:numRef>
          </c:val>
          <c:extLst>
            <c:ext xmlns:c16="http://schemas.microsoft.com/office/drawing/2014/chart" uri="{C3380CC4-5D6E-409C-BE32-E72D297353CC}">
              <c16:uniqueId val="{00000005-362C-47F2-897A-7E51905979FD}"/>
            </c:ext>
          </c:extLst>
        </c:ser>
        <c:ser>
          <c:idx val="6"/>
          <c:order val="6"/>
          <c:spPr>
            <a:pattFill prst="pct75">
              <a:fgClr>
                <a:schemeClr val="tx1"/>
              </a:fgClr>
              <a:bgClr>
                <a:schemeClr val="bg1"/>
              </a:bgClr>
            </a:pattFill>
            <a:ln w="9525" cmpd="sng" algn="ctr">
              <a:solidFill>
                <a:schemeClr val="tx1"/>
              </a:solidFill>
              <a:prstDash val="solid"/>
            </a:ln>
          </c:spPr>
          <c:val>
            <c:numRef>
              <c:f>Sheet1!$A$7:$E$7</c:f>
              <c:numCache>
                <c:formatCode>General</c:formatCode>
                <c:ptCount val="5"/>
                <c:pt idx="0">
                  <c:v>0</c:v>
                </c:pt>
                <c:pt idx="1">
                  <c:v>4297</c:v>
                </c:pt>
                <c:pt idx="2">
                  <c:v>7527</c:v>
                </c:pt>
                <c:pt idx="3">
                  <c:v>6474</c:v>
                </c:pt>
                <c:pt idx="4">
                  <c:v>1599</c:v>
                </c:pt>
              </c:numCache>
            </c:numRef>
          </c:val>
          <c:extLst>
            <c:ext xmlns:c16="http://schemas.microsoft.com/office/drawing/2014/chart" uri="{C3380CC4-5D6E-409C-BE32-E72D297353CC}">
              <c16:uniqueId val="{00000006-362C-47F2-897A-7E51905979FD}"/>
            </c:ext>
          </c:extLst>
        </c:ser>
        <c:dLbls>
          <c:showLegendKey val="0"/>
          <c:showVal val="0"/>
          <c:showCatName val="0"/>
          <c:showSerName val="0"/>
          <c:showPercent val="0"/>
          <c:showBubbleSize val="0"/>
        </c:dLbls>
        <c:axId val="1091379471"/>
        <c:axId val="1"/>
      </c:areaChart>
      <c:catAx>
        <c:axId val="10913794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00"/>
          <c:min val="0"/>
        </c:scaling>
        <c:delete val="0"/>
        <c:axPos val="r"/>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kern="1200">
                <a:latin typeface="SangBleu Sunrise"/>
                <a:ea typeface="SangBleu Sunrise"/>
                <a:cs typeface="+mn-cs"/>
                <a:sym typeface="SangBleu Sunrise"/>
              </a:defRPr>
            </a:pPr>
            <a:endParaRPr lang="ru-RU"/>
          </a:p>
        </c:txPr>
        <c:crossAx val="1091379471"/>
        <c:crosses val="max"/>
        <c:crossBetween val="midCat"/>
        <c:majorUnit val="2000"/>
      </c:valAx>
    </c:plotArea>
    <c:plotVisOnly val="0"/>
    <c:dispBlanksAs val="zero"/>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269841269841269E-2"/>
          <c:y val="6.9850746268656713E-2"/>
          <c:w val="0.85476190476190472"/>
          <c:h val="0.86029850746268655"/>
        </c:manualLayout>
      </c:layout>
      <c:barChart>
        <c:barDir val="bar"/>
        <c:grouping val="clustered"/>
        <c:varyColors val="0"/>
        <c:ser>
          <c:idx val="0"/>
          <c:order val="0"/>
          <c:spPr>
            <a:pattFill prst="pct50">
              <a:fgClr>
                <a:schemeClr val="tx1"/>
              </a:fgClr>
              <a:bgClr>
                <a:schemeClr val="bg1"/>
              </a:bgClr>
            </a:pattFill>
            <a:ln w="9525" cmpd="sng" algn="ctr">
              <a:solidFill>
                <a:schemeClr val="tx1"/>
              </a:solidFill>
              <a:prstDash val="solid"/>
            </a:ln>
          </c:spPr>
          <c:invertIfNegative val="0"/>
          <c:dLbls>
            <c:dLbl>
              <c:idx val="0"/>
              <c:layout>
                <c:manualLayout>
                  <c:x val="0.11587301587301588"/>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004-476C-BA47-EDD66FC2CB6E}"/>
                </c:ext>
              </c:extLst>
            </c:dLbl>
            <c:dLbl>
              <c:idx val="1"/>
              <c:layout>
                <c:manualLayout>
                  <c:x val="3.0952380952380953E-2"/>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004-476C-BA47-EDD66FC2CB6E}"/>
                </c:ext>
              </c:extLst>
            </c:dLbl>
            <c:dLbl>
              <c:idx val="2"/>
              <c:layout>
                <c:manualLayout>
                  <c:x val="0.15634920634920635"/>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004-476C-BA47-EDD66FC2CB6E}"/>
                </c:ext>
              </c:extLst>
            </c:dLbl>
            <c:dLbl>
              <c:idx val="3"/>
              <c:layout>
                <c:manualLayout>
                  <c:x val="0.11587301587301588"/>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004-476C-BA47-EDD66FC2CB6E}"/>
                </c:ext>
              </c:extLst>
            </c:dLbl>
            <c:dLbl>
              <c:idx val="4"/>
              <c:layout>
                <c:manualLayout>
                  <c:x val="3.0952380952380953E-2"/>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004-476C-BA47-EDD66FC2CB6E}"/>
                </c:ext>
              </c:extLst>
            </c:dLbl>
            <c:dLbl>
              <c:idx val="5"/>
              <c:layout>
                <c:manualLayout>
                  <c:x val="0.3261904761904762"/>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004-476C-BA47-EDD66FC2CB6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c:v>
                </c:pt>
                <c:pt idx="1">
                  <c:v>2</c:v>
                </c:pt>
                <c:pt idx="2">
                  <c:v>9</c:v>
                </c:pt>
                <c:pt idx="3">
                  <c:v>6</c:v>
                </c:pt>
                <c:pt idx="4">
                  <c:v>2</c:v>
                </c:pt>
                <c:pt idx="5">
                  <c:v>21</c:v>
                </c:pt>
              </c:numCache>
            </c:numRef>
          </c:val>
          <c:extLst>
            <c:ext xmlns:c16="http://schemas.microsoft.com/office/drawing/2014/chart" uri="{C3380CC4-5D6E-409C-BE32-E72D297353CC}">
              <c16:uniqueId val="{00000006-5004-476C-BA47-EDD66FC2CB6E}"/>
            </c:ext>
          </c:extLst>
        </c:ser>
        <c:ser>
          <c:idx val="1"/>
          <c:order val="1"/>
          <c:spPr>
            <a:pattFill prst="pct10">
              <a:fgClr>
                <a:schemeClr val="tx1"/>
              </a:fgClr>
              <a:bgClr>
                <a:schemeClr val="bg1"/>
              </a:bgClr>
            </a:pattFill>
            <a:ln w="9525" cmpd="sng" algn="ctr">
              <a:solidFill>
                <a:schemeClr val="tx1"/>
              </a:solidFill>
              <a:prstDash val="solid"/>
            </a:ln>
          </c:spPr>
          <c:invertIfNegative val="0"/>
          <c:dLbls>
            <c:dLbl>
              <c:idx val="0"/>
              <c:layout>
                <c:manualLayout>
                  <c:x val="0.20555555555555555"/>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004-476C-BA47-EDD66FC2CB6E}"/>
                </c:ext>
              </c:extLst>
            </c:dLbl>
            <c:dLbl>
              <c:idx val="1"/>
              <c:layout>
                <c:manualLayout>
                  <c:x val="5.7936507936507939E-2"/>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004-476C-BA47-EDD66FC2CB6E}"/>
                </c:ext>
              </c:extLst>
            </c:dLbl>
            <c:dLbl>
              <c:idx val="2"/>
              <c:layout>
                <c:manualLayout>
                  <c:x val="0.12777777777777777"/>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004-476C-BA47-EDD66FC2CB6E}"/>
                </c:ext>
              </c:extLst>
            </c:dLbl>
            <c:dLbl>
              <c:idx val="3"/>
              <c:layout>
                <c:manualLayout>
                  <c:x val="0.12777777777777777"/>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004-476C-BA47-EDD66FC2CB6E}"/>
                </c:ext>
              </c:extLst>
            </c:dLbl>
            <c:dLbl>
              <c:idx val="4"/>
              <c:layout>
                <c:manualLayout>
                  <c:x val="0.18650793650793651"/>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004-476C-BA47-EDD66FC2CB6E}"/>
                </c:ext>
              </c:extLst>
            </c:dLbl>
            <c:dLbl>
              <c:idx val="5"/>
              <c:layout>
                <c:manualLayout>
                  <c:x val="0.45317460317460317"/>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004-476C-BA47-EDD66FC2CB6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2</c:v>
                </c:pt>
                <c:pt idx="1">
                  <c:v>3</c:v>
                </c:pt>
                <c:pt idx="2">
                  <c:v>7</c:v>
                </c:pt>
                <c:pt idx="3">
                  <c:v>7</c:v>
                </c:pt>
                <c:pt idx="4">
                  <c:v>11</c:v>
                </c:pt>
                <c:pt idx="5">
                  <c:v>30</c:v>
                </c:pt>
              </c:numCache>
            </c:numRef>
          </c:val>
          <c:extLst>
            <c:ext xmlns:c16="http://schemas.microsoft.com/office/drawing/2014/chart" uri="{C3380CC4-5D6E-409C-BE32-E72D297353CC}">
              <c16:uniqueId val="{0000000D-5004-476C-BA47-EDD66FC2CB6E}"/>
            </c:ext>
          </c:extLst>
        </c:ser>
        <c:ser>
          <c:idx val="2"/>
          <c:order val="2"/>
          <c:spPr>
            <a:solidFill>
              <a:srgbClr val="BF9000"/>
            </a:solidFill>
            <a:ln w="9525" cmpd="sng" algn="ctr">
              <a:solidFill>
                <a:schemeClr val="tx1"/>
              </a:solidFill>
              <a:prstDash val="solid"/>
            </a:ln>
          </c:spPr>
          <c:invertIfNegative val="0"/>
          <c:dLbls>
            <c:dLbl>
              <c:idx val="0"/>
              <c:layout>
                <c:manualLayout>
                  <c:x val="0.20555555555555555"/>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004-476C-BA47-EDD66FC2CB6E}"/>
                </c:ext>
              </c:extLst>
            </c:dLbl>
            <c:dLbl>
              <c:idx val="1"/>
              <c:layout>
                <c:manualLayout>
                  <c:x val="5.7936507936507939E-2"/>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004-476C-BA47-EDD66FC2CB6E}"/>
                </c:ext>
              </c:extLst>
            </c:dLbl>
            <c:dLbl>
              <c:idx val="2"/>
              <c:layout>
                <c:manualLayout>
                  <c:x val="0.15634920634920635"/>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004-476C-BA47-EDD66FC2CB6E}"/>
                </c:ext>
              </c:extLst>
            </c:dLbl>
            <c:dLbl>
              <c:idx val="3"/>
              <c:layout>
                <c:manualLayout>
                  <c:x val="0.12777777777777777"/>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004-476C-BA47-EDD66FC2CB6E}"/>
                </c:ext>
              </c:extLst>
            </c:dLbl>
            <c:dLbl>
              <c:idx val="4"/>
              <c:layout>
                <c:manualLayout>
                  <c:x val="0.24523809523809523"/>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004-476C-BA47-EDD66FC2CB6E}"/>
                </c:ext>
              </c:extLst>
            </c:dLbl>
            <c:dLbl>
              <c:idx val="5"/>
              <c:layout>
                <c:manualLayout>
                  <c:x val="0.47698412698412701"/>
                  <c:y val="1.1940298507462687E-3"/>
                </c:manualLayout>
              </c:layout>
              <c:numFmt formatCode="#,##0;&quot;-&quot;#,##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004-476C-BA47-EDD66FC2CB6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12</c:v>
                </c:pt>
                <c:pt idx="1">
                  <c:v>3</c:v>
                </c:pt>
                <c:pt idx="2">
                  <c:v>9</c:v>
                </c:pt>
                <c:pt idx="3">
                  <c:v>7</c:v>
                </c:pt>
                <c:pt idx="4">
                  <c:v>15</c:v>
                </c:pt>
                <c:pt idx="5">
                  <c:v>32</c:v>
                </c:pt>
              </c:numCache>
            </c:numRef>
          </c:val>
          <c:extLst>
            <c:ext xmlns:c16="http://schemas.microsoft.com/office/drawing/2014/chart" uri="{C3380CC4-5D6E-409C-BE32-E72D297353CC}">
              <c16:uniqueId val="{00000014-5004-476C-BA47-EDD66FC2CB6E}"/>
            </c:ext>
          </c:extLst>
        </c:ser>
        <c:dLbls>
          <c:showLegendKey val="0"/>
          <c:showVal val="0"/>
          <c:showCatName val="0"/>
          <c:showSerName val="0"/>
          <c:showPercent val="0"/>
          <c:showBubbleSize val="0"/>
        </c:dLbls>
        <c:gapWidth val="80"/>
        <c:axId val="667962143"/>
        <c:axId val="1"/>
      </c:barChart>
      <c:catAx>
        <c:axId val="66796214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
          <c:min val="0"/>
        </c:scaling>
        <c:delete val="1"/>
        <c:axPos val="t"/>
        <c:numFmt formatCode="General" sourceLinked="1"/>
        <c:majorTickMark val="out"/>
        <c:minorTickMark val="none"/>
        <c:tickLblPos val="nextTo"/>
        <c:crossAx val="667962143"/>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782608695652174E-2"/>
          <c:y val="0.16407766990291262"/>
          <c:w val="0.93043478260869561"/>
          <c:h val="0.72233009708737861"/>
        </c:manualLayout>
      </c:layout>
      <c:barChart>
        <c:barDir val="col"/>
        <c:grouping val="clustered"/>
        <c:varyColors val="0"/>
        <c:ser>
          <c:idx val="0"/>
          <c:order val="0"/>
          <c:spPr>
            <a:pattFill prst="pct75">
              <a:fgClr>
                <a:schemeClr val="tx1"/>
              </a:fgClr>
              <a:bgClr>
                <a:schemeClr val="bg1"/>
              </a:bgClr>
            </a:pattFill>
            <a:ln w="9525" cmpd="sng" algn="ctr">
              <a:solidFill>
                <a:schemeClr val="tx1"/>
              </a:solidFill>
              <a:prstDash val="solid"/>
            </a:ln>
          </c:spPr>
          <c:invertIfNegative val="0"/>
          <c:dLbls>
            <c:dLbl>
              <c:idx val="0"/>
              <c:layout>
                <c:manualLayout>
                  <c:x val="-1.2709030100334449E-2"/>
                  <c:y val="-0.15242718446601941"/>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03F-469F-B442-8E01E97BD8E8}"/>
                </c:ext>
              </c:extLst>
            </c:dLbl>
            <c:dLbl>
              <c:idx val="1"/>
              <c:layout>
                <c:manualLayout>
                  <c:x val="-1.4046822742474917E-2"/>
                  <c:y val="-0.12135922330097088"/>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03F-469F-B442-8E01E97BD8E8}"/>
                </c:ext>
              </c:extLst>
            </c:dLbl>
            <c:dLbl>
              <c:idx val="2"/>
              <c:layout>
                <c:manualLayout>
                  <c:x val="-1.3377926421404682E-2"/>
                  <c:y val="-7.8640776699029122E-2"/>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03F-469F-B442-8E01E97BD8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89</c:v>
                </c:pt>
                <c:pt idx="1">
                  <c:v>4.21</c:v>
                </c:pt>
                <c:pt idx="2">
                  <c:v>2.96</c:v>
                </c:pt>
              </c:numCache>
            </c:numRef>
          </c:val>
          <c:extLst>
            <c:ext xmlns:c16="http://schemas.microsoft.com/office/drawing/2014/chart" uri="{C3380CC4-5D6E-409C-BE32-E72D297353CC}">
              <c16:uniqueId val="{00000003-803F-469F-B442-8E01E97BD8E8}"/>
            </c:ext>
          </c:extLst>
        </c:ser>
        <c:ser>
          <c:idx val="1"/>
          <c:order val="1"/>
          <c:spPr>
            <a:solidFill>
              <a:srgbClr val="BF9000"/>
            </a:solidFill>
            <a:ln w="9525" cmpd="sng" algn="ctr">
              <a:solidFill>
                <a:schemeClr val="tx1"/>
              </a:solidFill>
              <a:prstDash val="solid"/>
            </a:ln>
          </c:spPr>
          <c:invertIfNegative val="0"/>
          <c:dLbls>
            <c:dLbl>
              <c:idx val="0"/>
              <c:layout>
                <c:manualLayout>
                  <c:x val="0"/>
                  <c:y val="-0.27669902912621358"/>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03F-469F-B442-8E01E97BD8E8}"/>
                </c:ext>
              </c:extLst>
            </c:dLbl>
            <c:dLbl>
              <c:idx val="1"/>
              <c:layout>
                <c:manualLayout>
                  <c:x val="0"/>
                  <c:y val="-0.28932038834951457"/>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03F-469F-B442-8E01E97BD8E8}"/>
                </c:ext>
              </c:extLst>
            </c:dLbl>
            <c:dLbl>
              <c:idx val="2"/>
              <c:layout>
                <c:manualLayout>
                  <c:x val="0"/>
                  <c:y val="-0.32135922330097089"/>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03F-469F-B442-8E01E97BD8E8}"/>
                </c:ext>
              </c:extLst>
            </c:dLbl>
            <c:dLbl>
              <c:idx val="3"/>
              <c:layout>
                <c:manualLayout>
                  <c:x val="0"/>
                  <c:y val="-0.41262135922330095"/>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03F-469F-B442-8E01E97BD8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3.2</c:v>
                </c:pt>
                <c:pt idx="1">
                  <c:v>13.9</c:v>
                </c:pt>
                <c:pt idx="2">
                  <c:v>15.8</c:v>
                </c:pt>
                <c:pt idx="3">
                  <c:v>21.1</c:v>
                </c:pt>
              </c:numCache>
            </c:numRef>
          </c:val>
          <c:extLst>
            <c:ext xmlns:c16="http://schemas.microsoft.com/office/drawing/2014/chart" uri="{C3380CC4-5D6E-409C-BE32-E72D297353CC}">
              <c16:uniqueId val="{00000008-803F-469F-B442-8E01E97BD8E8}"/>
            </c:ext>
          </c:extLst>
        </c:ser>
        <c:ser>
          <c:idx val="2"/>
          <c:order val="2"/>
          <c:spPr>
            <a:pattFill prst="ltDnDiag">
              <a:fgClr>
                <a:schemeClr val="tx1"/>
              </a:fgClr>
              <a:bgClr>
                <a:schemeClr val="bg1"/>
              </a:bgClr>
            </a:pattFill>
            <a:ln w="9525" cmpd="sng" algn="ctr">
              <a:solidFill>
                <a:schemeClr val="tx1"/>
              </a:solidFill>
              <a:prstDash val="solid"/>
            </a:ln>
          </c:spPr>
          <c:invertIfNegative val="0"/>
          <c:dLbls>
            <c:dLbl>
              <c:idx val="0"/>
              <c:layout>
                <c:manualLayout>
                  <c:x val="1.0702341137123745E-2"/>
                  <c:y val="-0.1796116504854369"/>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03F-469F-B442-8E01E97BD8E8}"/>
                </c:ext>
              </c:extLst>
            </c:dLbl>
            <c:dLbl>
              <c:idx val="1"/>
              <c:layout>
                <c:manualLayout>
                  <c:x val="1.2040133779264214E-2"/>
                  <c:y val="-0.16213592233009708"/>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03F-469F-B442-8E01E97BD8E8}"/>
                </c:ext>
              </c:extLst>
            </c:dLbl>
            <c:dLbl>
              <c:idx val="2"/>
              <c:layout>
                <c:manualLayout>
                  <c:x val="0"/>
                  <c:y val="-3.2038834951456312E-2"/>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03F-469F-B442-8E01E97BD8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7.5</c:v>
                </c:pt>
                <c:pt idx="1">
                  <c:v>6.5</c:v>
                </c:pt>
                <c:pt idx="2">
                  <c:v>1.6</c:v>
                </c:pt>
              </c:numCache>
            </c:numRef>
          </c:val>
          <c:extLst>
            <c:ext xmlns:c16="http://schemas.microsoft.com/office/drawing/2014/chart" uri="{C3380CC4-5D6E-409C-BE32-E72D297353CC}">
              <c16:uniqueId val="{0000000C-803F-469F-B442-8E01E97BD8E8}"/>
            </c:ext>
          </c:extLst>
        </c:ser>
        <c:dLbls>
          <c:showLegendKey val="0"/>
          <c:showVal val="0"/>
          <c:showCatName val="0"/>
          <c:showSerName val="0"/>
          <c:showPercent val="0"/>
          <c:showBubbleSize val="0"/>
        </c:dLbls>
        <c:gapWidth val="80"/>
        <c:axId val="2126058031"/>
        <c:axId val="1"/>
      </c:barChart>
      <c:catAx>
        <c:axId val="21260580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1"/>
          <c:min val="0"/>
        </c:scaling>
        <c:delete val="1"/>
        <c:axPos val="l"/>
        <c:numFmt formatCode="General" sourceLinked="1"/>
        <c:majorTickMark val="out"/>
        <c:minorTickMark val="none"/>
        <c:tickLblPos val="nextTo"/>
        <c:crossAx val="2126058031"/>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389083275017498E-2"/>
          <c:y val="0.21638924455825864"/>
          <c:w val="0.927221833449965"/>
          <c:h val="0.63380281690140849"/>
        </c:manualLayout>
      </c:layout>
      <c:barChart>
        <c:barDir val="col"/>
        <c:grouping val="stacked"/>
        <c:varyColors val="0"/>
        <c:ser>
          <c:idx val="0"/>
          <c:order val="0"/>
          <c:spPr>
            <a:solidFill>
              <a:srgbClr val="BF9000"/>
            </a:solidFill>
            <a:ln w="9525" cmpd="sng" algn="ctr">
              <a:solidFill>
                <a:schemeClr val="tx1"/>
              </a:solidFill>
              <a:prstDash val="solid"/>
            </a:ln>
          </c:spPr>
          <c:invertIfNegative val="0"/>
          <c:dLbls>
            <c:dLbl>
              <c:idx val="0"/>
              <c:layout>
                <c:manualLayout>
                  <c:x val="0"/>
                  <c:y val="-0.1574903969270166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F90-4506-8507-E552C9D02177}"/>
                </c:ext>
              </c:extLst>
            </c:dLbl>
            <c:dLbl>
              <c:idx val="1"/>
              <c:layout>
                <c:manualLayout>
                  <c:x val="0"/>
                  <c:y val="-0.25224071702944945"/>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90-4506-8507-E552C9D02177}"/>
                </c:ext>
              </c:extLst>
            </c:dLbl>
            <c:dLbl>
              <c:idx val="2"/>
              <c:layout>
                <c:manualLayout>
                  <c:x val="0"/>
                  <c:y val="-0.38540332906530089"/>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90-4506-8507-E552C9D021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4000000000000004</c:v>
                </c:pt>
                <c:pt idx="1">
                  <c:v>9.0299999999999994</c:v>
                </c:pt>
                <c:pt idx="2">
                  <c:v>15.58</c:v>
                </c:pt>
              </c:numCache>
            </c:numRef>
          </c:val>
          <c:extLst>
            <c:ext xmlns:c16="http://schemas.microsoft.com/office/drawing/2014/chart" uri="{C3380CC4-5D6E-409C-BE32-E72D297353CC}">
              <c16:uniqueId val="{00000003-0F90-4506-8507-E552C9D02177}"/>
            </c:ext>
          </c:extLst>
        </c:ser>
        <c:dLbls>
          <c:showLegendKey val="0"/>
          <c:showVal val="0"/>
          <c:showCatName val="0"/>
          <c:showSerName val="0"/>
          <c:showPercent val="0"/>
          <c:showBubbleSize val="0"/>
        </c:dLbls>
        <c:gapWidth val="80"/>
        <c:overlap val="100"/>
        <c:axId val="1947667119"/>
        <c:axId val="1"/>
      </c:barChart>
      <c:lineChart>
        <c:grouping val="standard"/>
        <c:varyColors val="0"/>
        <c:ser>
          <c:idx val="1"/>
          <c:order val="1"/>
          <c:spPr>
            <a:ln w="12700" cmpd="sng" algn="ctr">
              <a:solidFill>
                <a:srgbClr val="000000"/>
              </a:solidFill>
              <a:prstDash val="solid"/>
            </a:ln>
          </c:spPr>
          <c:marker>
            <c:symbol val="none"/>
          </c:marker>
          <c:dPt>
            <c:idx val="0"/>
            <c:marker>
              <c:symbol val="triangle"/>
              <c:size val="4"/>
              <c:spPr>
                <a:solidFill>
                  <a:srgbClr val="FFFFFF"/>
                </a:solidFill>
                <a:ln w="9525" cmpd="sng" algn="ctr">
                  <a:solidFill>
                    <a:srgbClr val="000000"/>
                  </a:solidFill>
                  <a:prstDash val="solid"/>
                </a:ln>
              </c:spPr>
            </c:marker>
            <c:bubble3D val="0"/>
            <c:extLst>
              <c:ext xmlns:c16="http://schemas.microsoft.com/office/drawing/2014/chart" uri="{C3380CC4-5D6E-409C-BE32-E72D297353CC}">
                <c16:uniqueId val="{00000004-0F90-4506-8507-E552C9D02177}"/>
              </c:ext>
            </c:extLst>
          </c:dPt>
          <c:dPt>
            <c:idx val="1"/>
            <c:marker>
              <c:symbol val="triangle"/>
              <c:size val="4"/>
              <c:spPr>
                <a:solidFill>
                  <a:srgbClr val="FFFFFF"/>
                </a:solidFill>
                <a:ln w="9525" cmpd="sng" algn="ctr">
                  <a:solidFill>
                    <a:srgbClr val="000000"/>
                  </a:solidFill>
                  <a:prstDash val="solid"/>
                </a:ln>
              </c:spPr>
            </c:marker>
            <c:bubble3D val="0"/>
            <c:extLst>
              <c:ext xmlns:c16="http://schemas.microsoft.com/office/drawing/2014/chart" uri="{C3380CC4-5D6E-409C-BE32-E72D297353CC}">
                <c16:uniqueId val="{00000005-0F90-4506-8507-E552C9D02177}"/>
              </c:ext>
            </c:extLst>
          </c:dPt>
          <c:dPt>
            <c:idx val="2"/>
            <c:marker>
              <c:symbol val="triangle"/>
              <c:size val="4"/>
              <c:spPr>
                <a:solidFill>
                  <a:srgbClr val="FFFFFF"/>
                </a:solidFill>
                <a:ln w="9525" cmpd="sng" algn="ctr">
                  <a:solidFill>
                    <a:srgbClr val="000000"/>
                  </a:solidFill>
                  <a:prstDash val="solid"/>
                </a:ln>
              </c:spPr>
            </c:marker>
            <c:bubble3D val="0"/>
            <c:extLst>
              <c:ext xmlns:c16="http://schemas.microsoft.com/office/drawing/2014/chart" uri="{C3380CC4-5D6E-409C-BE32-E72D297353CC}">
                <c16:uniqueId val="{00000006-0F90-4506-8507-E552C9D02177}"/>
              </c:ext>
            </c:extLst>
          </c:dPt>
          <c:dLbls>
            <c:dLbl>
              <c:idx val="0"/>
              <c:layout>
                <c:manualLayout>
                  <c:x val="0"/>
                  <c:y val="-0.11139564660691421"/>
                </c:manualLayout>
              </c:layout>
              <c:numFmt formatCode="#,##0.0;&quot;-&quot;#,##0.0" sourceLinked="0"/>
              <c:spPr>
                <a:noFill/>
                <a:ln>
                  <a:noFill/>
                </a:ln>
              </c:spPr>
              <c:txPr>
                <a:bodyPr wrap="none"/>
                <a:lstStyle/>
                <a:p>
                  <a:pPr>
                    <a:defRPr sz="800" kern="1200">
                      <a:solidFill>
                        <a:schemeClr val="bg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90-4506-8507-E552C9D02177}"/>
                </c:ext>
              </c:extLst>
            </c:dLbl>
            <c:dLbl>
              <c:idx val="1"/>
              <c:layout>
                <c:manualLayout>
                  <c:x val="0"/>
                  <c:y val="-0.11139564660691421"/>
                </c:manualLayout>
              </c:layout>
              <c:numFmt formatCode="#,##0.0;&quot;-&quot;#,##0.0" sourceLinked="0"/>
              <c:spPr>
                <a:noFill/>
                <a:ln>
                  <a:noFill/>
                </a:ln>
              </c:spPr>
              <c:txPr>
                <a:bodyPr wrap="none"/>
                <a:lstStyle/>
                <a:p>
                  <a:pPr>
                    <a:defRPr sz="800" kern="1200">
                      <a:solidFill>
                        <a:schemeClr val="bg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90-4506-8507-E552C9D02177}"/>
                </c:ext>
              </c:extLst>
            </c:dLbl>
            <c:dLbl>
              <c:idx val="2"/>
              <c:layout>
                <c:manualLayout>
                  <c:x val="0"/>
                  <c:y val="-0.11139564660691421"/>
                </c:manualLayout>
              </c:layout>
              <c:numFmt formatCode="#,##0.0;&quot;-&quot;#,##0.0" sourceLinked="0"/>
              <c:spPr>
                <a:noFill/>
                <a:ln>
                  <a:noFill/>
                </a:ln>
              </c:spPr>
              <c:txPr>
                <a:bodyPr wrap="none"/>
                <a:lstStyle/>
                <a:p>
                  <a:pPr>
                    <a:defRPr sz="800" kern="1200">
                      <a:solidFill>
                        <a:schemeClr val="bg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F90-4506-8507-E552C9D021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0.74755088670269376</c:v>
                </c:pt>
                <c:pt idx="1">
                  <c:v>2.1442487237992247</c:v>
                </c:pt>
                <c:pt idx="2">
                  <c:v>5.2501250498936445</c:v>
                </c:pt>
              </c:numCache>
            </c:numRef>
          </c:val>
          <c:smooth val="0"/>
          <c:extLst>
            <c:ext xmlns:c16="http://schemas.microsoft.com/office/drawing/2014/chart" uri="{C3380CC4-5D6E-409C-BE32-E72D297353CC}">
              <c16:uniqueId val="{00000007-0F90-4506-8507-E552C9D02177}"/>
            </c:ext>
          </c:extLst>
        </c:ser>
        <c:dLbls>
          <c:showLegendKey val="0"/>
          <c:showVal val="0"/>
          <c:showCatName val="0"/>
          <c:showSerName val="0"/>
          <c:showPercent val="0"/>
          <c:showBubbleSize val="0"/>
        </c:dLbls>
        <c:marker val="1"/>
        <c:smooth val="0"/>
        <c:axId val="1947667119"/>
        <c:axId val="1"/>
      </c:lineChart>
      <c:catAx>
        <c:axId val="19476671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58"/>
          <c:min val="0"/>
        </c:scaling>
        <c:delete val="1"/>
        <c:axPos val="l"/>
        <c:numFmt formatCode="General" sourceLinked="1"/>
        <c:majorTickMark val="out"/>
        <c:minorTickMark val="none"/>
        <c:tickLblPos val="nextTo"/>
        <c:crossAx val="1947667119"/>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041237113402062"/>
          <c:y val="0.1326530612244898"/>
          <c:w val="0.74226804123711343"/>
          <c:h val="0.73469387755102045"/>
        </c:manualLayout>
      </c:layout>
      <c:barChart>
        <c:barDir val="bar"/>
        <c:grouping val="stacked"/>
        <c:varyColors val="0"/>
        <c:ser>
          <c:idx val="0"/>
          <c:order val="0"/>
          <c:spPr>
            <a:solidFill>
              <a:srgbClr val="BF9000"/>
            </a:solidFill>
            <a:ln w="9525" cmpd="sng" algn="ctr">
              <a:solidFill>
                <a:schemeClr val="tx1"/>
              </a:solidFill>
              <a:prstDash val="solid"/>
            </a:ln>
          </c:spPr>
          <c:invertIfNegative val="0"/>
          <c:dLbls>
            <c:dLbl>
              <c:idx val="0"/>
              <c:layout>
                <c:manualLayout>
                  <c:x val="0.44742268041237115"/>
                  <c:y val="2.2675736961451248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A1-4370-BB04-5DF6A4DED4B0}"/>
                </c:ext>
              </c:extLst>
            </c:dLbl>
            <c:dLbl>
              <c:idx val="1"/>
              <c:layout>
                <c:manualLayout>
                  <c:x val="0.43195876288659796"/>
                  <c:y val="2.2675736961451248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A1-4370-BB04-5DF6A4DED4B0}"/>
                </c:ext>
              </c:extLst>
            </c:dLbl>
            <c:dLbl>
              <c:idx val="2"/>
              <c:layout>
                <c:manualLayout>
                  <c:x val="0.42164948453608248"/>
                  <c:y val="2.2675736961451248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A1-4370-BB04-5DF6A4DED4B0}"/>
                </c:ext>
              </c:extLst>
            </c:dLbl>
            <c:dLbl>
              <c:idx val="3"/>
              <c:layout>
                <c:manualLayout>
                  <c:x val="0.11958762886597939"/>
                  <c:y val="2.2675736961451248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A1-4370-BB04-5DF6A4DED4B0}"/>
                </c:ext>
              </c:extLst>
            </c:dLbl>
            <c:dLbl>
              <c:idx val="4"/>
              <c:layout>
                <c:manualLayout>
                  <c:x val="8.5567010309278352E-2"/>
                  <c:y val="2.2675736961451248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A1-4370-BB04-5DF6A4DED4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6</c:v>
                </c:pt>
                <c:pt idx="1">
                  <c:v>2.5</c:v>
                </c:pt>
                <c:pt idx="2">
                  <c:v>2.4</c:v>
                </c:pt>
                <c:pt idx="3">
                  <c:v>0.3</c:v>
                </c:pt>
                <c:pt idx="4">
                  <c:v>0.1</c:v>
                </c:pt>
              </c:numCache>
            </c:numRef>
          </c:val>
          <c:extLst>
            <c:ext xmlns:c16="http://schemas.microsoft.com/office/drawing/2014/chart" uri="{C3380CC4-5D6E-409C-BE32-E72D297353CC}">
              <c16:uniqueId val="{00000005-C1A1-4370-BB04-5DF6A4DED4B0}"/>
            </c:ext>
          </c:extLst>
        </c:ser>
        <c:dLbls>
          <c:showLegendKey val="0"/>
          <c:showVal val="0"/>
          <c:showCatName val="0"/>
          <c:showSerName val="0"/>
          <c:showPercent val="0"/>
          <c:showBubbleSize val="0"/>
        </c:dLbls>
        <c:gapWidth val="80"/>
        <c:overlap val="100"/>
        <c:axId val="1941467087"/>
        <c:axId val="1"/>
      </c:barChart>
      <c:catAx>
        <c:axId val="1941467087"/>
        <c:scaling>
          <c:orientation val="maxMin"/>
        </c:scaling>
        <c:delete val="0"/>
        <c:axPos val="r"/>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axMin"/>
          <c:max val="2.6"/>
          <c:min val="0"/>
        </c:scaling>
        <c:delete val="1"/>
        <c:axPos val="t"/>
        <c:numFmt formatCode="General" sourceLinked="1"/>
        <c:majorTickMark val="out"/>
        <c:minorTickMark val="none"/>
        <c:tickLblPos val="nextTo"/>
        <c:crossAx val="1941467087"/>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852546916890083E-2"/>
          <c:y val="0.1988235294117647"/>
          <c:w val="0.93029490616621979"/>
          <c:h val="0.60705882352941176"/>
        </c:manualLayout>
      </c:layout>
      <c:barChart>
        <c:barDir val="col"/>
        <c:grouping val="clustered"/>
        <c:varyColors val="0"/>
        <c:ser>
          <c:idx val="0"/>
          <c:order val="0"/>
          <c:spPr>
            <a:pattFill prst="pct75">
              <a:fgClr>
                <a:schemeClr val="tx1"/>
              </a:fgClr>
              <a:bgClr>
                <a:schemeClr val="bg1"/>
              </a:bgClr>
            </a:pattFill>
            <a:ln w="9525" cmpd="sng" algn="ctr">
              <a:solidFill>
                <a:schemeClr val="tx1"/>
              </a:solidFill>
              <a:prstDash val="solid"/>
            </a:ln>
          </c:spPr>
          <c:invertIfNegative val="0"/>
          <c:dLbls>
            <c:dLbl>
              <c:idx val="0"/>
              <c:layout>
                <c:manualLayout>
                  <c:x val="0"/>
                  <c:y val="-7.6470588235294124E-2"/>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70-4CEE-B2CF-584E4416664A}"/>
                </c:ext>
              </c:extLst>
            </c:dLbl>
            <c:dLbl>
              <c:idx val="1"/>
              <c:layout>
                <c:manualLayout>
                  <c:x val="0"/>
                  <c:y val="-0.12235294117647059"/>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E70-4CEE-B2CF-584E4416664A}"/>
                </c:ext>
              </c:extLst>
            </c:dLbl>
            <c:dLbl>
              <c:idx val="2"/>
              <c:layout>
                <c:manualLayout>
                  <c:x val="0"/>
                  <c:y val="-2.7058823529411764E-2"/>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70-4CEE-B2CF-584E441666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0448309999999998</c:v>
                </c:pt>
                <c:pt idx="1">
                  <c:v>2.9618150000000001</c:v>
                </c:pt>
                <c:pt idx="2">
                  <c:v>-1.1911020000000001</c:v>
                </c:pt>
              </c:numCache>
            </c:numRef>
          </c:val>
          <c:extLst>
            <c:ext xmlns:c16="http://schemas.microsoft.com/office/drawing/2014/chart" uri="{C3380CC4-5D6E-409C-BE32-E72D297353CC}">
              <c16:uniqueId val="{00000003-8E70-4CEE-B2CF-584E4416664A}"/>
            </c:ext>
          </c:extLst>
        </c:ser>
        <c:ser>
          <c:idx val="1"/>
          <c:order val="1"/>
          <c:spPr>
            <a:solidFill>
              <a:srgbClr val="BF9000"/>
            </a:solidFill>
            <a:ln w="9525" cmpd="sng" algn="ctr">
              <a:solidFill>
                <a:schemeClr val="tx1"/>
              </a:solidFill>
              <a:prstDash val="solid"/>
            </a:ln>
          </c:spPr>
          <c:invertIfNegative val="0"/>
          <c:dLbls>
            <c:dLbl>
              <c:idx val="0"/>
              <c:layout>
                <c:manualLayout>
                  <c:x val="0"/>
                  <c:y val="-0.12823529411764706"/>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E70-4CEE-B2CF-584E4416664A}"/>
                </c:ext>
              </c:extLst>
            </c:dLbl>
            <c:dLbl>
              <c:idx val="1"/>
              <c:layout>
                <c:manualLayout>
                  <c:x val="0"/>
                  <c:y val="-0.22235294117647059"/>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E70-4CEE-B2CF-584E4416664A}"/>
                </c:ext>
              </c:extLst>
            </c:dLbl>
            <c:dLbl>
              <c:idx val="2"/>
              <c:layout>
                <c:manualLayout>
                  <c:x val="0"/>
                  <c:y val="-0.1764705882352941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E70-4CEE-B2CF-584E441666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3.197829</c:v>
                </c:pt>
                <c:pt idx="1">
                  <c:v>-6.558484</c:v>
                </c:pt>
                <c:pt idx="2">
                  <c:v>-4.77034</c:v>
                </c:pt>
              </c:numCache>
            </c:numRef>
          </c:val>
          <c:extLst>
            <c:ext xmlns:c16="http://schemas.microsoft.com/office/drawing/2014/chart" uri="{C3380CC4-5D6E-409C-BE32-E72D297353CC}">
              <c16:uniqueId val="{00000007-8E70-4CEE-B2CF-584E4416664A}"/>
            </c:ext>
          </c:extLst>
        </c:ser>
        <c:ser>
          <c:idx val="2"/>
          <c:order val="2"/>
          <c:spPr>
            <a:pattFill prst="ltDnDiag">
              <a:fgClr>
                <a:schemeClr val="tx1"/>
              </a:fgClr>
              <a:bgClr>
                <a:schemeClr val="bg1"/>
              </a:bgClr>
            </a:pattFill>
            <a:ln w="9525" cmpd="sng" algn="ctr">
              <a:solidFill>
                <a:schemeClr val="tx1"/>
              </a:solidFill>
              <a:prstDash val="solid"/>
            </a:ln>
          </c:spPr>
          <c:invertIfNegative val="0"/>
          <c:dLbls>
            <c:dLbl>
              <c:idx val="0"/>
              <c:layout>
                <c:manualLayout>
                  <c:x val="0"/>
                  <c:y val="1.5294117647058824E-2"/>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E70-4CEE-B2CF-584E4416664A}"/>
                </c:ext>
              </c:extLst>
            </c:dLbl>
            <c:dLbl>
              <c:idx val="1"/>
              <c:layout>
                <c:manualLayout>
                  <c:x val="0"/>
                  <c:y val="-0.2"/>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E70-4CEE-B2CF-584E4416664A}"/>
                </c:ext>
              </c:extLst>
            </c:dLbl>
            <c:dLbl>
              <c:idx val="2"/>
              <c:layout>
                <c:manualLayout>
                  <c:x val="0"/>
                  <c:y val="-0.17411764705882352"/>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mn-cs"/>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E70-4CEE-B2CF-584E441666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0.22404099999999999</c:v>
                </c:pt>
                <c:pt idx="1">
                  <c:v>5.4699650000000002</c:v>
                </c:pt>
                <c:pt idx="2">
                  <c:v>4.4481080000000004</c:v>
                </c:pt>
              </c:numCache>
            </c:numRef>
          </c:val>
          <c:extLst>
            <c:ext xmlns:c16="http://schemas.microsoft.com/office/drawing/2014/chart" uri="{C3380CC4-5D6E-409C-BE32-E72D297353CC}">
              <c16:uniqueId val="{0000000B-8E70-4CEE-B2CF-584E4416664A}"/>
            </c:ext>
          </c:extLst>
        </c:ser>
        <c:dLbls>
          <c:showLegendKey val="0"/>
          <c:showVal val="0"/>
          <c:showCatName val="0"/>
          <c:showSerName val="0"/>
          <c:showPercent val="0"/>
          <c:showBubbleSize val="0"/>
        </c:dLbls>
        <c:gapWidth val="80"/>
        <c:axId val="594418304"/>
        <c:axId val="1"/>
      </c:barChart>
      <c:catAx>
        <c:axId val="5944183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5.4699650000000002"/>
          <c:min val="-6.558484"/>
        </c:scaling>
        <c:delete val="1"/>
        <c:axPos val="l"/>
        <c:numFmt formatCode="General" sourceLinked="1"/>
        <c:majorTickMark val="out"/>
        <c:minorTickMark val="none"/>
        <c:tickLblPos val="nextTo"/>
        <c:crossAx val="59441830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289156626506021E-2"/>
          <c:y val="7.4487895716946001E-2"/>
          <c:w val="0.9124302086394358"/>
          <c:h val="0.85009310986964615"/>
        </c:manualLayout>
      </c:layout>
      <c:scatterChart>
        <c:scatterStyle val="lineMarker"/>
        <c:varyColors val="0"/>
        <c:ser>
          <c:idx val="0"/>
          <c:order val="0"/>
          <c:spPr>
            <a:ln w="19050" cmpd="sng" algn="ctr">
              <a:solidFill>
                <a:schemeClr val="tx2"/>
              </a:solidFill>
              <a:prstDash val="solid"/>
            </a:ln>
          </c:spPr>
          <c:marker>
            <c:symbol val="none"/>
          </c:marker>
          <c:xVal>
            <c:numRef>
              <c:f>Sheet1!$A$1:$FX$1</c:f>
              <c:numCache>
                <c:formatCode>General</c:formatCode>
                <c:ptCount val="180"/>
                <c:pt idx="0">
                  <c:v>19919</c:v>
                </c:pt>
                <c:pt idx="1">
                  <c:v>19920</c:v>
                </c:pt>
                <c:pt idx="2">
                  <c:v>19921</c:v>
                </c:pt>
                <c:pt idx="3">
                  <c:v>19922</c:v>
                </c:pt>
                <c:pt idx="4">
                  <c:v>19923</c:v>
                </c:pt>
                <c:pt idx="5">
                  <c:v>19926</c:v>
                </c:pt>
                <c:pt idx="6">
                  <c:v>19927</c:v>
                </c:pt>
                <c:pt idx="7">
                  <c:v>19928</c:v>
                </c:pt>
                <c:pt idx="8">
                  <c:v>19929</c:v>
                </c:pt>
                <c:pt idx="9">
                  <c:v>19930</c:v>
                </c:pt>
                <c:pt idx="10">
                  <c:v>19933</c:v>
                </c:pt>
                <c:pt idx="11">
                  <c:v>19934</c:v>
                </c:pt>
                <c:pt idx="12">
                  <c:v>19935</c:v>
                </c:pt>
                <c:pt idx="13">
                  <c:v>19936</c:v>
                </c:pt>
                <c:pt idx="14">
                  <c:v>19937</c:v>
                </c:pt>
                <c:pt idx="15">
                  <c:v>19940</c:v>
                </c:pt>
                <c:pt idx="16">
                  <c:v>19941</c:v>
                </c:pt>
                <c:pt idx="17">
                  <c:v>19942</c:v>
                </c:pt>
                <c:pt idx="18">
                  <c:v>19943</c:v>
                </c:pt>
                <c:pt idx="19">
                  <c:v>19944</c:v>
                </c:pt>
                <c:pt idx="20">
                  <c:v>19947</c:v>
                </c:pt>
                <c:pt idx="21">
                  <c:v>19948</c:v>
                </c:pt>
                <c:pt idx="22">
                  <c:v>19949</c:v>
                </c:pt>
                <c:pt idx="23">
                  <c:v>19950</c:v>
                </c:pt>
                <c:pt idx="24">
                  <c:v>19951</c:v>
                </c:pt>
                <c:pt idx="25">
                  <c:v>19954</c:v>
                </c:pt>
                <c:pt idx="26">
                  <c:v>19955</c:v>
                </c:pt>
                <c:pt idx="27">
                  <c:v>19956</c:v>
                </c:pt>
                <c:pt idx="28">
                  <c:v>19957</c:v>
                </c:pt>
                <c:pt idx="29">
                  <c:v>19958</c:v>
                </c:pt>
                <c:pt idx="30">
                  <c:v>19961</c:v>
                </c:pt>
                <c:pt idx="31">
                  <c:v>19962</c:v>
                </c:pt>
                <c:pt idx="32">
                  <c:v>19963</c:v>
                </c:pt>
                <c:pt idx="33">
                  <c:v>19964</c:v>
                </c:pt>
                <c:pt idx="34">
                  <c:v>19965</c:v>
                </c:pt>
                <c:pt idx="35">
                  <c:v>19968</c:v>
                </c:pt>
                <c:pt idx="36">
                  <c:v>19969</c:v>
                </c:pt>
                <c:pt idx="37">
                  <c:v>19970</c:v>
                </c:pt>
                <c:pt idx="38">
                  <c:v>19971</c:v>
                </c:pt>
                <c:pt idx="39">
                  <c:v>19972</c:v>
                </c:pt>
                <c:pt idx="40">
                  <c:v>19975</c:v>
                </c:pt>
                <c:pt idx="41">
                  <c:v>19976</c:v>
                </c:pt>
                <c:pt idx="42">
                  <c:v>19977</c:v>
                </c:pt>
                <c:pt idx="43">
                  <c:v>19978</c:v>
                </c:pt>
                <c:pt idx="44">
                  <c:v>19979</c:v>
                </c:pt>
                <c:pt idx="45">
                  <c:v>19982</c:v>
                </c:pt>
                <c:pt idx="46">
                  <c:v>19983</c:v>
                </c:pt>
                <c:pt idx="47">
                  <c:v>19984</c:v>
                </c:pt>
                <c:pt idx="48">
                  <c:v>19985</c:v>
                </c:pt>
                <c:pt idx="49">
                  <c:v>19986</c:v>
                </c:pt>
                <c:pt idx="50">
                  <c:v>19989</c:v>
                </c:pt>
                <c:pt idx="51">
                  <c:v>19990</c:v>
                </c:pt>
                <c:pt idx="52">
                  <c:v>19991</c:v>
                </c:pt>
                <c:pt idx="53">
                  <c:v>19992</c:v>
                </c:pt>
                <c:pt idx="54">
                  <c:v>19993</c:v>
                </c:pt>
                <c:pt idx="55">
                  <c:v>19996</c:v>
                </c:pt>
                <c:pt idx="56">
                  <c:v>19997</c:v>
                </c:pt>
                <c:pt idx="57">
                  <c:v>19998</c:v>
                </c:pt>
                <c:pt idx="58">
                  <c:v>19999</c:v>
                </c:pt>
                <c:pt idx="59">
                  <c:v>20000</c:v>
                </c:pt>
                <c:pt idx="60">
                  <c:v>20003</c:v>
                </c:pt>
                <c:pt idx="61">
                  <c:v>20004</c:v>
                </c:pt>
                <c:pt idx="62">
                  <c:v>20005</c:v>
                </c:pt>
                <c:pt idx="63">
                  <c:v>20006</c:v>
                </c:pt>
                <c:pt idx="64">
                  <c:v>20007</c:v>
                </c:pt>
                <c:pt idx="65">
                  <c:v>20010</c:v>
                </c:pt>
                <c:pt idx="66">
                  <c:v>20011</c:v>
                </c:pt>
                <c:pt idx="67">
                  <c:v>20012</c:v>
                </c:pt>
                <c:pt idx="68">
                  <c:v>20013</c:v>
                </c:pt>
                <c:pt idx="69">
                  <c:v>20014</c:v>
                </c:pt>
                <c:pt idx="70">
                  <c:v>20017</c:v>
                </c:pt>
                <c:pt idx="71">
                  <c:v>20018</c:v>
                </c:pt>
                <c:pt idx="72">
                  <c:v>20019</c:v>
                </c:pt>
                <c:pt idx="73">
                  <c:v>20020</c:v>
                </c:pt>
                <c:pt idx="74">
                  <c:v>20021</c:v>
                </c:pt>
                <c:pt idx="75">
                  <c:v>20024</c:v>
                </c:pt>
                <c:pt idx="76">
                  <c:v>20025</c:v>
                </c:pt>
                <c:pt idx="77">
                  <c:v>20026</c:v>
                </c:pt>
                <c:pt idx="78">
                  <c:v>20027</c:v>
                </c:pt>
                <c:pt idx="79">
                  <c:v>20028</c:v>
                </c:pt>
                <c:pt idx="80">
                  <c:v>20029</c:v>
                </c:pt>
                <c:pt idx="81">
                  <c:v>20032</c:v>
                </c:pt>
                <c:pt idx="82">
                  <c:v>20033</c:v>
                </c:pt>
                <c:pt idx="83">
                  <c:v>20034</c:v>
                </c:pt>
                <c:pt idx="84">
                  <c:v>20035</c:v>
                </c:pt>
                <c:pt idx="85">
                  <c:v>20038</c:v>
                </c:pt>
                <c:pt idx="86">
                  <c:v>20039</c:v>
                </c:pt>
                <c:pt idx="87">
                  <c:v>20040</c:v>
                </c:pt>
                <c:pt idx="88">
                  <c:v>20041</c:v>
                </c:pt>
                <c:pt idx="89">
                  <c:v>20042</c:v>
                </c:pt>
                <c:pt idx="90">
                  <c:v>20045</c:v>
                </c:pt>
                <c:pt idx="91">
                  <c:v>20046</c:v>
                </c:pt>
                <c:pt idx="92">
                  <c:v>20047</c:v>
                </c:pt>
                <c:pt idx="93">
                  <c:v>20048</c:v>
                </c:pt>
                <c:pt idx="94">
                  <c:v>20049</c:v>
                </c:pt>
                <c:pt idx="95">
                  <c:v>20052</c:v>
                </c:pt>
                <c:pt idx="96">
                  <c:v>20053</c:v>
                </c:pt>
                <c:pt idx="97">
                  <c:v>20054</c:v>
                </c:pt>
                <c:pt idx="98">
                  <c:v>20055</c:v>
                </c:pt>
                <c:pt idx="99">
                  <c:v>20056</c:v>
                </c:pt>
                <c:pt idx="100">
                  <c:v>20059</c:v>
                </c:pt>
                <c:pt idx="101">
                  <c:v>20060</c:v>
                </c:pt>
                <c:pt idx="102">
                  <c:v>20061</c:v>
                </c:pt>
                <c:pt idx="103">
                  <c:v>20062</c:v>
                </c:pt>
                <c:pt idx="104">
                  <c:v>20063</c:v>
                </c:pt>
                <c:pt idx="105">
                  <c:v>20066</c:v>
                </c:pt>
                <c:pt idx="106">
                  <c:v>20067</c:v>
                </c:pt>
                <c:pt idx="107">
                  <c:v>20068</c:v>
                </c:pt>
                <c:pt idx="108">
                  <c:v>20069</c:v>
                </c:pt>
                <c:pt idx="109">
                  <c:v>20070</c:v>
                </c:pt>
                <c:pt idx="110">
                  <c:v>20073</c:v>
                </c:pt>
                <c:pt idx="111">
                  <c:v>20074</c:v>
                </c:pt>
                <c:pt idx="112">
                  <c:v>20075</c:v>
                </c:pt>
                <c:pt idx="113">
                  <c:v>20076</c:v>
                </c:pt>
                <c:pt idx="114">
                  <c:v>20077</c:v>
                </c:pt>
                <c:pt idx="115">
                  <c:v>20080</c:v>
                </c:pt>
                <c:pt idx="116">
                  <c:v>20081</c:v>
                </c:pt>
                <c:pt idx="117">
                  <c:v>20082</c:v>
                </c:pt>
                <c:pt idx="118">
                  <c:v>20083</c:v>
                </c:pt>
                <c:pt idx="119">
                  <c:v>20084</c:v>
                </c:pt>
                <c:pt idx="120">
                  <c:v>20085</c:v>
                </c:pt>
                <c:pt idx="121">
                  <c:v>20087</c:v>
                </c:pt>
                <c:pt idx="122">
                  <c:v>20091</c:v>
                </c:pt>
                <c:pt idx="123">
                  <c:v>20094</c:v>
                </c:pt>
                <c:pt idx="124">
                  <c:v>20096</c:v>
                </c:pt>
                <c:pt idx="125">
                  <c:v>20097</c:v>
                </c:pt>
                <c:pt idx="126">
                  <c:v>20098</c:v>
                </c:pt>
                <c:pt idx="127">
                  <c:v>20101</c:v>
                </c:pt>
                <c:pt idx="128">
                  <c:v>20102</c:v>
                </c:pt>
                <c:pt idx="129">
                  <c:v>20103</c:v>
                </c:pt>
                <c:pt idx="130">
                  <c:v>20104</c:v>
                </c:pt>
                <c:pt idx="131">
                  <c:v>20105</c:v>
                </c:pt>
                <c:pt idx="132">
                  <c:v>20108</c:v>
                </c:pt>
                <c:pt idx="133">
                  <c:v>20109</c:v>
                </c:pt>
                <c:pt idx="134">
                  <c:v>20110</c:v>
                </c:pt>
                <c:pt idx="135">
                  <c:v>20111</c:v>
                </c:pt>
                <c:pt idx="136">
                  <c:v>20112</c:v>
                </c:pt>
                <c:pt idx="137">
                  <c:v>20115</c:v>
                </c:pt>
                <c:pt idx="138">
                  <c:v>20116</c:v>
                </c:pt>
                <c:pt idx="139">
                  <c:v>20117</c:v>
                </c:pt>
                <c:pt idx="140">
                  <c:v>20118</c:v>
                </c:pt>
                <c:pt idx="141">
                  <c:v>20119</c:v>
                </c:pt>
                <c:pt idx="142">
                  <c:v>20122</c:v>
                </c:pt>
                <c:pt idx="143">
                  <c:v>20123</c:v>
                </c:pt>
                <c:pt idx="144">
                  <c:v>20124</c:v>
                </c:pt>
                <c:pt idx="145">
                  <c:v>20125</c:v>
                </c:pt>
                <c:pt idx="146">
                  <c:v>20126</c:v>
                </c:pt>
                <c:pt idx="147">
                  <c:v>20129</c:v>
                </c:pt>
                <c:pt idx="148">
                  <c:v>20130</c:v>
                </c:pt>
                <c:pt idx="149">
                  <c:v>20131</c:v>
                </c:pt>
                <c:pt idx="150">
                  <c:v>20132</c:v>
                </c:pt>
                <c:pt idx="151">
                  <c:v>20133</c:v>
                </c:pt>
                <c:pt idx="152">
                  <c:v>20136</c:v>
                </c:pt>
                <c:pt idx="153">
                  <c:v>20137</c:v>
                </c:pt>
                <c:pt idx="154">
                  <c:v>20138</c:v>
                </c:pt>
                <c:pt idx="155">
                  <c:v>20139</c:v>
                </c:pt>
                <c:pt idx="156">
                  <c:v>20140</c:v>
                </c:pt>
                <c:pt idx="157">
                  <c:v>20143</c:v>
                </c:pt>
                <c:pt idx="158">
                  <c:v>20144</c:v>
                </c:pt>
                <c:pt idx="159">
                  <c:v>20145</c:v>
                </c:pt>
                <c:pt idx="160">
                  <c:v>20146</c:v>
                </c:pt>
                <c:pt idx="161">
                  <c:v>20147</c:v>
                </c:pt>
                <c:pt idx="162">
                  <c:v>20150</c:v>
                </c:pt>
                <c:pt idx="163">
                  <c:v>20151</c:v>
                </c:pt>
                <c:pt idx="164">
                  <c:v>20152</c:v>
                </c:pt>
                <c:pt idx="165">
                  <c:v>20153</c:v>
                </c:pt>
                <c:pt idx="166">
                  <c:v>20154</c:v>
                </c:pt>
                <c:pt idx="167">
                  <c:v>20157</c:v>
                </c:pt>
                <c:pt idx="168">
                  <c:v>20158</c:v>
                </c:pt>
                <c:pt idx="169">
                  <c:v>20159</c:v>
                </c:pt>
                <c:pt idx="170">
                  <c:v>20160</c:v>
                </c:pt>
                <c:pt idx="171">
                  <c:v>20161</c:v>
                </c:pt>
                <c:pt idx="172">
                  <c:v>20164</c:v>
                </c:pt>
                <c:pt idx="173">
                  <c:v>20165</c:v>
                </c:pt>
                <c:pt idx="174">
                  <c:v>20166</c:v>
                </c:pt>
                <c:pt idx="175">
                  <c:v>20167</c:v>
                </c:pt>
                <c:pt idx="176">
                  <c:v>20168</c:v>
                </c:pt>
                <c:pt idx="177">
                  <c:v>20171</c:v>
                </c:pt>
                <c:pt idx="178">
                  <c:v>20172</c:v>
                </c:pt>
                <c:pt idx="179">
                  <c:v>20173</c:v>
                </c:pt>
              </c:numCache>
            </c:numRef>
          </c:xVal>
          <c:yVal>
            <c:numRef>
              <c:f>Sheet1!$A$2:$FX$2</c:f>
              <c:numCache>
                <c:formatCode>General</c:formatCode>
                <c:ptCount val="180"/>
                <c:pt idx="0">
                  <c:v>401.05</c:v>
                </c:pt>
                <c:pt idx="1">
                  <c:v>400</c:v>
                </c:pt>
                <c:pt idx="2">
                  <c:v>401</c:v>
                </c:pt>
                <c:pt idx="3">
                  <c:v>402.25</c:v>
                </c:pt>
                <c:pt idx="4">
                  <c:v>400.7</c:v>
                </c:pt>
                <c:pt idx="5">
                  <c:v>400</c:v>
                </c:pt>
                <c:pt idx="6">
                  <c:v>400.5</c:v>
                </c:pt>
                <c:pt idx="7">
                  <c:v>405.3</c:v>
                </c:pt>
                <c:pt idx="8">
                  <c:v>420.5</c:v>
                </c:pt>
                <c:pt idx="9">
                  <c:v>413</c:v>
                </c:pt>
                <c:pt idx="10">
                  <c:v>405</c:v>
                </c:pt>
                <c:pt idx="11">
                  <c:v>410.1</c:v>
                </c:pt>
                <c:pt idx="12">
                  <c:v>415.1</c:v>
                </c:pt>
                <c:pt idx="13">
                  <c:v>419.3</c:v>
                </c:pt>
                <c:pt idx="14">
                  <c:v>422.05</c:v>
                </c:pt>
                <c:pt idx="15">
                  <c:v>409.5</c:v>
                </c:pt>
                <c:pt idx="16">
                  <c:v>405.5</c:v>
                </c:pt>
                <c:pt idx="17">
                  <c:v>408</c:v>
                </c:pt>
                <c:pt idx="18">
                  <c:v>407</c:v>
                </c:pt>
                <c:pt idx="19">
                  <c:v>405.05</c:v>
                </c:pt>
                <c:pt idx="20">
                  <c:v>402.1</c:v>
                </c:pt>
                <c:pt idx="21">
                  <c:v>404.2</c:v>
                </c:pt>
                <c:pt idx="22">
                  <c:v>401</c:v>
                </c:pt>
                <c:pt idx="23">
                  <c:v>399.55</c:v>
                </c:pt>
                <c:pt idx="24">
                  <c:v>398</c:v>
                </c:pt>
                <c:pt idx="25">
                  <c:v>392</c:v>
                </c:pt>
                <c:pt idx="26">
                  <c:v>393.3</c:v>
                </c:pt>
                <c:pt idx="27">
                  <c:v>391.05</c:v>
                </c:pt>
                <c:pt idx="28">
                  <c:v>378.05</c:v>
                </c:pt>
                <c:pt idx="29">
                  <c:v>361.75</c:v>
                </c:pt>
                <c:pt idx="30">
                  <c:v>374</c:v>
                </c:pt>
                <c:pt idx="31">
                  <c:v>365.7</c:v>
                </c:pt>
                <c:pt idx="32">
                  <c:v>359.8</c:v>
                </c:pt>
                <c:pt idx="33">
                  <c:v>358.65</c:v>
                </c:pt>
                <c:pt idx="34">
                  <c:v>361.1</c:v>
                </c:pt>
                <c:pt idx="35">
                  <c:v>362.25</c:v>
                </c:pt>
                <c:pt idx="36">
                  <c:v>349</c:v>
                </c:pt>
                <c:pt idx="37">
                  <c:v>349.95</c:v>
                </c:pt>
                <c:pt idx="38">
                  <c:v>362</c:v>
                </c:pt>
                <c:pt idx="39">
                  <c:v>393.15</c:v>
                </c:pt>
                <c:pt idx="40">
                  <c:v>399.6</c:v>
                </c:pt>
                <c:pt idx="41">
                  <c:v>408.7</c:v>
                </c:pt>
                <c:pt idx="42">
                  <c:v>411.2</c:v>
                </c:pt>
                <c:pt idx="43">
                  <c:v>407.95</c:v>
                </c:pt>
                <c:pt idx="44">
                  <c:v>407.5</c:v>
                </c:pt>
                <c:pt idx="45">
                  <c:v>408.1</c:v>
                </c:pt>
                <c:pt idx="46">
                  <c:v>404.7</c:v>
                </c:pt>
                <c:pt idx="47">
                  <c:v>400</c:v>
                </c:pt>
                <c:pt idx="48">
                  <c:v>399.35</c:v>
                </c:pt>
                <c:pt idx="49">
                  <c:v>400.55</c:v>
                </c:pt>
                <c:pt idx="50">
                  <c:v>405.6</c:v>
                </c:pt>
                <c:pt idx="51">
                  <c:v>393.9</c:v>
                </c:pt>
                <c:pt idx="52">
                  <c:v>379.4</c:v>
                </c:pt>
                <c:pt idx="53">
                  <c:v>381</c:v>
                </c:pt>
                <c:pt idx="54">
                  <c:v>381.6</c:v>
                </c:pt>
                <c:pt idx="55">
                  <c:v>382.5</c:v>
                </c:pt>
                <c:pt idx="56">
                  <c:v>375.2</c:v>
                </c:pt>
                <c:pt idx="57">
                  <c:v>373.6</c:v>
                </c:pt>
                <c:pt idx="58">
                  <c:v>368.45</c:v>
                </c:pt>
                <c:pt idx="59">
                  <c:v>381.15</c:v>
                </c:pt>
                <c:pt idx="60">
                  <c:v>383.7</c:v>
                </c:pt>
                <c:pt idx="61">
                  <c:v>376.75</c:v>
                </c:pt>
                <c:pt idx="62">
                  <c:v>379.7</c:v>
                </c:pt>
                <c:pt idx="63">
                  <c:v>382.6</c:v>
                </c:pt>
                <c:pt idx="64">
                  <c:v>379</c:v>
                </c:pt>
                <c:pt idx="65">
                  <c:v>380</c:v>
                </c:pt>
                <c:pt idx="66">
                  <c:v>376.35</c:v>
                </c:pt>
                <c:pt idx="67">
                  <c:v>374.2</c:v>
                </c:pt>
                <c:pt idx="68">
                  <c:v>373.2</c:v>
                </c:pt>
                <c:pt idx="69">
                  <c:v>371.4</c:v>
                </c:pt>
                <c:pt idx="70">
                  <c:v>372.25</c:v>
                </c:pt>
                <c:pt idx="71">
                  <c:v>372.95</c:v>
                </c:pt>
                <c:pt idx="72">
                  <c:v>371.25</c:v>
                </c:pt>
                <c:pt idx="73">
                  <c:v>371</c:v>
                </c:pt>
                <c:pt idx="74">
                  <c:v>361</c:v>
                </c:pt>
                <c:pt idx="75">
                  <c:v>332.2</c:v>
                </c:pt>
                <c:pt idx="76">
                  <c:v>341.55</c:v>
                </c:pt>
                <c:pt idx="77">
                  <c:v>340.2</c:v>
                </c:pt>
                <c:pt idx="78">
                  <c:v>343.7</c:v>
                </c:pt>
                <c:pt idx="79">
                  <c:v>338.95</c:v>
                </c:pt>
                <c:pt idx="80">
                  <c:v>338.75</c:v>
                </c:pt>
                <c:pt idx="81">
                  <c:v>338.85</c:v>
                </c:pt>
                <c:pt idx="82">
                  <c:v>339.85</c:v>
                </c:pt>
                <c:pt idx="83">
                  <c:v>332.2</c:v>
                </c:pt>
                <c:pt idx="84">
                  <c:v>330.1</c:v>
                </c:pt>
                <c:pt idx="85">
                  <c:v>330.6</c:v>
                </c:pt>
                <c:pt idx="86">
                  <c:v>332.5</c:v>
                </c:pt>
                <c:pt idx="87">
                  <c:v>334.55</c:v>
                </c:pt>
                <c:pt idx="88">
                  <c:v>329.2</c:v>
                </c:pt>
                <c:pt idx="89">
                  <c:v>330.15</c:v>
                </c:pt>
                <c:pt idx="90">
                  <c:v>324.5</c:v>
                </c:pt>
                <c:pt idx="91">
                  <c:v>318.55</c:v>
                </c:pt>
                <c:pt idx="92">
                  <c:v>319.14999999999998</c:v>
                </c:pt>
                <c:pt idx="93">
                  <c:v>308.60000000000002</c:v>
                </c:pt>
                <c:pt idx="94">
                  <c:v>317.35000000000002</c:v>
                </c:pt>
                <c:pt idx="95">
                  <c:v>305.60000000000002</c:v>
                </c:pt>
                <c:pt idx="96">
                  <c:v>285</c:v>
                </c:pt>
                <c:pt idx="97">
                  <c:v>291</c:v>
                </c:pt>
                <c:pt idx="98">
                  <c:v>295.5</c:v>
                </c:pt>
                <c:pt idx="99">
                  <c:v>308.3</c:v>
                </c:pt>
                <c:pt idx="100">
                  <c:v>325.64999999999998</c:v>
                </c:pt>
                <c:pt idx="101">
                  <c:v>318.05</c:v>
                </c:pt>
                <c:pt idx="102">
                  <c:v>316.10000000000002</c:v>
                </c:pt>
                <c:pt idx="103">
                  <c:v>311.14999999999998</c:v>
                </c:pt>
                <c:pt idx="104">
                  <c:v>312</c:v>
                </c:pt>
                <c:pt idx="105">
                  <c:v>316.10000000000002</c:v>
                </c:pt>
                <c:pt idx="106">
                  <c:v>310</c:v>
                </c:pt>
                <c:pt idx="107">
                  <c:v>309.89999999999998</c:v>
                </c:pt>
                <c:pt idx="108">
                  <c:v>309.95</c:v>
                </c:pt>
                <c:pt idx="109">
                  <c:v>307.39999999999998</c:v>
                </c:pt>
                <c:pt idx="110">
                  <c:v>289.45</c:v>
                </c:pt>
                <c:pt idx="111">
                  <c:v>278.85000000000002</c:v>
                </c:pt>
                <c:pt idx="112">
                  <c:v>286</c:v>
                </c:pt>
                <c:pt idx="113">
                  <c:v>285.64999999999998</c:v>
                </c:pt>
                <c:pt idx="114">
                  <c:v>298</c:v>
                </c:pt>
                <c:pt idx="115">
                  <c:v>300</c:v>
                </c:pt>
                <c:pt idx="116">
                  <c:v>293.3</c:v>
                </c:pt>
                <c:pt idx="117">
                  <c:v>296.7</c:v>
                </c:pt>
                <c:pt idx="118">
                  <c:v>314.85000000000002</c:v>
                </c:pt>
                <c:pt idx="119">
                  <c:v>317.89999999999998</c:v>
                </c:pt>
                <c:pt idx="120">
                  <c:v>326.60000000000002</c:v>
                </c:pt>
                <c:pt idx="121">
                  <c:v>355.25</c:v>
                </c:pt>
                <c:pt idx="122">
                  <c:v>393</c:v>
                </c:pt>
                <c:pt idx="123">
                  <c:v>398</c:v>
                </c:pt>
                <c:pt idx="124">
                  <c:v>379.5</c:v>
                </c:pt>
                <c:pt idx="125">
                  <c:v>353.15</c:v>
                </c:pt>
                <c:pt idx="126">
                  <c:v>368.2</c:v>
                </c:pt>
                <c:pt idx="127">
                  <c:v>382.05</c:v>
                </c:pt>
                <c:pt idx="128">
                  <c:v>387.85</c:v>
                </c:pt>
                <c:pt idx="129">
                  <c:v>380.5</c:v>
                </c:pt>
                <c:pt idx="130">
                  <c:v>384.6</c:v>
                </c:pt>
                <c:pt idx="131">
                  <c:v>384.4</c:v>
                </c:pt>
                <c:pt idx="132">
                  <c:v>394.4</c:v>
                </c:pt>
                <c:pt idx="133">
                  <c:v>382.8</c:v>
                </c:pt>
                <c:pt idx="134">
                  <c:v>398.3</c:v>
                </c:pt>
                <c:pt idx="135">
                  <c:v>394.45</c:v>
                </c:pt>
                <c:pt idx="136">
                  <c:v>392</c:v>
                </c:pt>
                <c:pt idx="137">
                  <c:v>382.45</c:v>
                </c:pt>
                <c:pt idx="138">
                  <c:v>386.8</c:v>
                </c:pt>
                <c:pt idx="139">
                  <c:v>397.9</c:v>
                </c:pt>
                <c:pt idx="140">
                  <c:v>401.55</c:v>
                </c:pt>
                <c:pt idx="141">
                  <c:v>401.75</c:v>
                </c:pt>
                <c:pt idx="142">
                  <c:v>400.85</c:v>
                </c:pt>
                <c:pt idx="143">
                  <c:v>398.05</c:v>
                </c:pt>
                <c:pt idx="144">
                  <c:v>399.8</c:v>
                </c:pt>
                <c:pt idx="145">
                  <c:v>400.15</c:v>
                </c:pt>
                <c:pt idx="146">
                  <c:v>398.7</c:v>
                </c:pt>
                <c:pt idx="147">
                  <c:v>399</c:v>
                </c:pt>
                <c:pt idx="148">
                  <c:v>403</c:v>
                </c:pt>
                <c:pt idx="149">
                  <c:v>402</c:v>
                </c:pt>
                <c:pt idx="150">
                  <c:v>399.05</c:v>
                </c:pt>
                <c:pt idx="151">
                  <c:v>396.75</c:v>
                </c:pt>
                <c:pt idx="152">
                  <c:v>406.45</c:v>
                </c:pt>
                <c:pt idx="153">
                  <c:v>443.4</c:v>
                </c:pt>
                <c:pt idx="154">
                  <c:v>465</c:v>
                </c:pt>
                <c:pt idx="155">
                  <c:v>461.2</c:v>
                </c:pt>
                <c:pt idx="156">
                  <c:v>456</c:v>
                </c:pt>
                <c:pt idx="157">
                  <c:v>445.3</c:v>
                </c:pt>
                <c:pt idx="158">
                  <c:v>452.2</c:v>
                </c:pt>
                <c:pt idx="159">
                  <c:v>448.65</c:v>
                </c:pt>
                <c:pt idx="160">
                  <c:v>445.3</c:v>
                </c:pt>
                <c:pt idx="161">
                  <c:v>434</c:v>
                </c:pt>
                <c:pt idx="162">
                  <c:v>427.85</c:v>
                </c:pt>
                <c:pt idx="163">
                  <c:v>444.3</c:v>
                </c:pt>
                <c:pt idx="164">
                  <c:v>449.4</c:v>
                </c:pt>
                <c:pt idx="165">
                  <c:v>442.5</c:v>
                </c:pt>
                <c:pt idx="166">
                  <c:v>442.5</c:v>
                </c:pt>
                <c:pt idx="167">
                  <c:v>446.6</c:v>
                </c:pt>
                <c:pt idx="168">
                  <c:v>433</c:v>
                </c:pt>
                <c:pt idx="169">
                  <c:v>428.15</c:v>
                </c:pt>
                <c:pt idx="170">
                  <c:v>422.35</c:v>
                </c:pt>
                <c:pt idx="171">
                  <c:v>423.2</c:v>
                </c:pt>
                <c:pt idx="172">
                  <c:v>460.45</c:v>
                </c:pt>
                <c:pt idx="173">
                  <c:v>446.35</c:v>
                </c:pt>
                <c:pt idx="174">
                  <c:v>443.5</c:v>
                </c:pt>
                <c:pt idx="175">
                  <c:v>435</c:v>
                </c:pt>
                <c:pt idx="176">
                  <c:v>430.65</c:v>
                </c:pt>
                <c:pt idx="177">
                  <c:v>428.05</c:v>
                </c:pt>
                <c:pt idx="178">
                  <c:v>429.6</c:v>
                </c:pt>
                <c:pt idx="179">
                  <c:v>425.8</c:v>
                </c:pt>
              </c:numCache>
            </c:numRef>
          </c:yVal>
          <c:smooth val="0"/>
          <c:extLst>
            <c:ext xmlns:c16="http://schemas.microsoft.com/office/drawing/2014/chart" uri="{C3380CC4-5D6E-409C-BE32-E72D297353CC}">
              <c16:uniqueId val="{00000000-EE79-4B50-8617-3706C6ED538F}"/>
            </c:ext>
          </c:extLst>
        </c:ser>
        <c:dLbls>
          <c:showLegendKey val="0"/>
          <c:showVal val="0"/>
          <c:showCatName val="0"/>
          <c:showSerName val="0"/>
          <c:showPercent val="0"/>
          <c:showBubbleSize val="0"/>
        </c:dLbls>
        <c:axId val="4"/>
        <c:axId val="5"/>
      </c:scatterChart>
      <c:valAx>
        <c:axId val="4"/>
        <c:scaling>
          <c:orientation val="minMax"/>
          <c:max val="20209"/>
          <c:min val="19905"/>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SangBleu Sunrise"/>
                <a:ea typeface="SangBleu Sunrise"/>
                <a:cs typeface="SangBleu Sunrise"/>
                <a:sym typeface="SangBleu Sunrise"/>
              </a:defRPr>
            </a:pPr>
            <a:endParaRPr lang="ru-RU"/>
          </a:p>
        </c:txPr>
        <c:crossAx val="4"/>
        <c:crosses val="min"/>
        <c:crossBetween val="midCat"/>
        <c:majorUnit val="5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022222222222221"/>
          <c:y val="0.12302839116719243"/>
          <c:w val="0.50044444444444447"/>
          <c:h val="0.75394321766561512"/>
        </c:manualLayout>
      </c:layout>
      <c:barChart>
        <c:barDir val="bar"/>
        <c:grouping val="stacked"/>
        <c:varyColors val="0"/>
        <c:ser>
          <c:idx val="0"/>
          <c:order val="0"/>
          <c:spPr>
            <a:solidFill>
              <a:srgbClr val="BF9000"/>
            </a:solidFill>
            <a:ln w="9525" cmpd="sng" algn="ctr">
              <a:solidFill>
                <a:schemeClr val="tx1"/>
              </a:solidFill>
              <a:prstDash val="solid"/>
            </a:ln>
          </c:spPr>
          <c:invertIfNegative val="0"/>
          <c:dPt>
            <c:idx val="1"/>
            <c:invertIfNegative val="0"/>
            <c:bubble3D val="0"/>
            <c:spPr>
              <a:pattFill prst="pct50">
                <a:fgClr>
                  <a:schemeClr val="tx1"/>
                </a:fgClr>
                <a:bgClr>
                  <a:schemeClr val="bg1"/>
                </a:bgClr>
              </a:pattFill>
              <a:ln w="9525" cmpd="sng" algn="ctr">
                <a:solidFill>
                  <a:schemeClr val="tx1"/>
                </a:solidFill>
                <a:prstDash val="solid"/>
              </a:ln>
            </c:spPr>
            <c:extLst>
              <c:ext xmlns:c16="http://schemas.microsoft.com/office/drawing/2014/chart" uri="{C3380CC4-5D6E-409C-BE32-E72D297353CC}">
                <c16:uniqueId val="{00000000-7296-465D-B6BF-F788719BF335}"/>
              </c:ext>
            </c:extLst>
          </c:dPt>
          <c:dPt>
            <c:idx val="3"/>
            <c:invertIfNegative val="0"/>
            <c:bubble3D val="0"/>
            <c:spPr>
              <a:pattFill prst="pct50">
                <a:fgClr>
                  <a:schemeClr val="tx1"/>
                </a:fgClr>
                <a:bgClr>
                  <a:schemeClr val="bg1"/>
                </a:bgClr>
              </a:pattFill>
              <a:ln w="9525" cmpd="sng" algn="ctr">
                <a:solidFill>
                  <a:schemeClr val="tx1"/>
                </a:solidFill>
                <a:prstDash val="solid"/>
              </a:ln>
            </c:spPr>
            <c:extLst>
              <c:ext xmlns:c16="http://schemas.microsoft.com/office/drawing/2014/chart" uri="{C3380CC4-5D6E-409C-BE32-E72D297353CC}">
                <c16:uniqueId val="{00000001-7296-465D-B6BF-F788719BF335}"/>
              </c:ext>
            </c:extLst>
          </c:dPt>
          <c:dLbls>
            <c:dLbl>
              <c:idx val="0"/>
              <c:layout>
                <c:manualLayout>
                  <c:x val="0.33066666666666666"/>
                  <c:y val="2.103049421661409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96-465D-B6BF-F788719BF335}"/>
                </c:ext>
              </c:extLst>
            </c:dLbl>
            <c:dLbl>
              <c:idx val="1"/>
              <c:layout>
                <c:manualLayout>
                  <c:x val="0.24711111111111111"/>
                  <c:y val="2.103049421661409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96-465D-B6BF-F788719BF335}"/>
                </c:ext>
              </c:extLst>
            </c:dLbl>
            <c:dLbl>
              <c:idx val="2"/>
              <c:layout>
                <c:manualLayout>
                  <c:x val="0.19111111111111112"/>
                  <c:y val="2.103049421661409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96-465D-B6BF-F788719BF335}"/>
                </c:ext>
              </c:extLst>
            </c:dLbl>
            <c:dLbl>
              <c:idx val="3"/>
              <c:layout>
                <c:manualLayout>
                  <c:x val="0.13955555555555554"/>
                  <c:y val="2.103049421661409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96-465D-B6BF-F788719BF335}"/>
                </c:ext>
              </c:extLst>
            </c:dLbl>
            <c:dLbl>
              <c:idx val="4"/>
              <c:layout>
                <c:manualLayout>
                  <c:x val="0.1351111111111111"/>
                  <c:y val="2.103049421661409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96-465D-B6BF-F788719BF335}"/>
                </c:ext>
              </c:extLst>
            </c:dLbl>
            <c:dLbl>
              <c:idx val="5"/>
              <c:layout>
                <c:manualLayout>
                  <c:x val="0.10844444444444444"/>
                  <c:y val="2.103049421661409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96-465D-B6BF-F788719BF3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7.5</c:v>
                </c:pt>
                <c:pt idx="1">
                  <c:v>18.8</c:v>
                </c:pt>
                <c:pt idx="2">
                  <c:v>12.4</c:v>
                </c:pt>
                <c:pt idx="3">
                  <c:v>8.3000000000000007</c:v>
                </c:pt>
                <c:pt idx="4">
                  <c:v>7.8</c:v>
                </c:pt>
                <c:pt idx="5">
                  <c:v>4.7</c:v>
                </c:pt>
              </c:numCache>
            </c:numRef>
          </c:val>
          <c:extLst>
            <c:ext xmlns:c16="http://schemas.microsoft.com/office/drawing/2014/chart" uri="{C3380CC4-5D6E-409C-BE32-E72D297353CC}">
              <c16:uniqueId val="{00000006-7296-465D-B6BF-F788719BF335}"/>
            </c:ext>
          </c:extLst>
        </c:ser>
        <c:dLbls>
          <c:showLegendKey val="0"/>
          <c:showVal val="0"/>
          <c:showCatName val="0"/>
          <c:showSerName val="0"/>
          <c:showPercent val="0"/>
          <c:showBubbleSize val="0"/>
        </c:dLbls>
        <c:gapWidth val="80"/>
        <c:overlap val="100"/>
        <c:axId val="1332527375"/>
        <c:axId val="1"/>
      </c:barChart>
      <c:catAx>
        <c:axId val="133252737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7.5"/>
          <c:min val="0"/>
        </c:scaling>
        <c:delete val="1"/>
        <c:axPos val="t"/>
        <c:numFmt formatCode="General" sourceLinked="1"/>
        <c:majorTickMark val="out"/>
        <c:minorTickMark val="none"/>
        <c:tickLblPos val="nextTo"/>
        <c:crossAx val="1332527375"/>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512820512820512"/>
          <c:y val="0.12302839116719243"/>
          <c:w val="0.47350427350427349"/>
          <c:h val="0.75394321766561512"/>
        </c:manualLayout>
      </c:layout>
      <c:barChart>
        <c:barDir val="bar"/>
        <c:grouping val="stacked"/>
        <c:varyColors val="0"/>
        <c:ser>
          <c:idx val="0"/>
          <c:order val="0"/>
          <c:spPr>
            <a:solidFill>
              <a:srgbClr val="BF9000"/>
            </a:solidFill>
            <a:ln w="9525" cmpd="sng" algn="ctr">
              <a:solidFill>
                <a:schemeClr val="tx1"/>
              </a:solidFill>
              <a:prstDash val="solid"/>
            </a:ln>
          </c:spPr>
          <c:invertIfNegative val="0"/>
          <c:dPt>
            <c:idx val="1"/>
            <c:invertIfNegative val="0"/>
            <c:bubble3D val="0"/>
            <c:spPr>
              <a:pattFill prst="pct50">
                <a:fgClr>
                  <a:schemeClr val="tx1"/>
                </a:fgClr>
                <a:bgClr>
                  <a:schemeClr val="bg1"/>
                </a:bgClr>
              </a:pattFill>
              <a:ln w="9525" cmpd="sng" algn="ctr">
                <a:solidFill>
                  <a:schemeClr val="tx1"/>
                </a:solidFill>
                <a:prstDash val="solid"/>
              </a:ln>
            </c:spPr>
            <c:extLst>
              <c:ext xmlns:c16="http://schemas.microsoft.com/office/drawing/2014/chart" uri="{C3380CC4-5D6E-409C-BE32-E72D297353CC}">
                <c16:uniqueId val="{00000000-6797-461E-8550-A824FE1288B3}"/>
              </c:ext>
            </c:extLst>
          </c:dPt>
          <c:dPt>
            <c:idx val="3"/>
            <c:invertIfNegative val="0"/>
            <c:bubble3D val="0"/>
            <c:spPr>
              <a:pattFill prst="pct50">
                <a:fgClr>
                  <a:schemeClr val="tx1"/>
                </a:fgClr>
                <a:bgClr>
                  <a:schemeClr val="bg1"/>
                </a:bgClr>
              </a:pattFill>
              <a:ln w="9525" cmpd="sng" algn="ctr">
                <a:solidFill>
                  <a:schemeClr val="tx1"/>
                </a:solidFill>
                <a:prstDash val="solid"/>
              </a:ln>
            </c:spPr>
            <c:extLst>
              <c:ext xmlns:c16="http://schemas.microsoft.com/office/drawing/2014/chart" uri="{C3380CC4-5D6E-409C-BE32-E72D297353CC}">
                <c16:uniqueId val="{00000001-6797-461E-8550-A824FE1288B3}"/>
              </c:ext>
            </c:extLst>
          </c:dPt>
          <c:dLbls>
            <c:dLbl>
              <c:idx val="0"/>
              <c:layout>
                <c:manualLayout>
                  <c:x val="0.31538461538461537"/>
                  <c:y val="2.103049421661409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797-461E-8550-A824FE1288B3}"/>
                </c:ext>
              </c:extLst>
            </c:dLbl>
            <c:dLbl>
              <c:idx val="1"/>
              <c:layout>
                <c:manualLayout>
                  <c:x val="0.29743589743589743"/>
                  <c:y val="2.103049421661409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797-461E-8550-A824FE1288B3}"/>
                </c:ext>
              </c:extLst>
            </c:dLbl>
            <c:dLbl>
              <c:idx val="2"/>
              <c:layout>
                <c:manualLayout>
                  <c:x val="0.28632478632478631"/>
                  <c:y val="2.103049421661409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797-461E-8550-A824FE1288B3}"/>
                </c:ext>
              </c:extLst>
            </c:dLbl>
            <c:dLbl>
              <c:idx val="3"/>
              <c:layout>
                <c:manualLayout>
                  <c:x val="0.27008547008547007"/>
                  <c:y val="2.103049421661409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797-461E-8550-A824FE1288B3}"/>
                </c:ext>
              </c:extLst>
            </c:dLbl>
            <c:dLbl>
              <c:idx val="4"/>
              <c:layout>
                <c:manualLayout>
                  <c:x val="0.12222222222222222"/>
                  <c:y val="2.103049421661409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797-461E-8550-A824FE1288B3}"/>
                </c:ext>
              </c:extLst>
            </c:dLbl>
            <c:dLbl>
              <c:idx val="5"/>
              <c:layout>
                <c:manualLayout>
                  <c:x val="0.11965811965811966"/>
                  <c:y val="2.103049421661409E-3"/>
                </c:manualLayout>
              </c:layout>
              <c:numFmt formatCode="#,##0.0;&quot;-&quot;#,##0.0" sourceLinked="0"/>
              <c:spPr>
                <a:noFill/>
                <a:ln>
                  <a:noFill/>
                </a:ln>
              </c:spPr>
              <c:txPr>
                <a:bodyPr wrap="none"/>
                <a:lstStyle/>
                <a:p>
                  <a:pPr>
                    <a:defRPr sz="800"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797-461E-8550-A824FE1288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3.6</c:v>
                </c:pt>
                <c:pt idx="1">
                  <c:v>30.6</c:v>
                </c:pt>
                <c:pt idx="2">
                  <c:v>29.333333333333332</c:v>
                </c:pt>
                <c:pt idx="3">
                  <c:v>26.9</c:v>
                </c:pt>
                <c:pt idx="4">
                  <c:v>8.6999999999999993</c:v>
                </c:pt>
                <c:pt idx="5">
                  <c:v>8.1999999999999993</c:v>
                </c:pt>
              </c:numCache>
            </c:numRef>
          </c:val>
          <c:extLst>
            <c:ext xmlns:c16="http://schemas.microsoft.com/office/drawing/2014/chart" uri="{C3380CC4-5D6E-409C-BE32-E72D297353CC}">
              <c16:uniqueId val="{00000006-6797-461E-8550-A824FE1288B3}"/>
            </c:ext>
          </c:extLst>
        </c:ser>
        <c:dLbls>
          <c:showLegendKey val="0"/>
          <c:showVal val="0"/>
          <c:showCatName val="0"/>
          <c:showSerName val="0"/>
          <c:showPercent val="0"/>
          <c:showBubbleSize val="0"/>
        </c:dLbls>
        <c:gapWidth val="80"/>
        <c:overlap val="100"/>
        <c:axId val="1195027631"/>
        <c:axId val="1"/>
      </c:barChart>
      <c:catAx>
        <c:axId val="119502763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3.6"/>
          <c:min val="0"/>
        </c:scaling>
        <c:delete val="1"/>
        <c:axPos val="t"/>
        <c:numFmt formatCode="General" sourceLinked="1"/>
        <c:majorTickMark val="out"/>
        <c:minorTickMark val="none"/>
        <c:tickLblPos val="nextTo"/>
        <c:crossAx val="119502763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68977350720659E-2"/>
          <c:y val="0.109375"/>
          <c:w val="0.92862045298558682"/>
          <c:h val="0.78125"/>
        </c:manualLayout>
      </c:layout>
      <c:barChart>
        <c:barDir val="bar"/>
        <c:grouping val="clustered"/>
        <c:varyColors val="0"/>
        <c:ser>
          <c:idx val="0"/>
          <c:order val="0"/>
          <c:spPr>
            <a:pattFill prst="pct10">
              <a:fgClr>
                <a:schemeClr val="tx1"/>
              </a:fgClr>
              <a:bgClr>
                <a:schemeClr val="bg1"/>
              </a:bgClr>
            </a:pattFill>
            <a:ln w="12700" cmpd="sng" algn="ctr">
              <a:solidFill>
                <a:schemeClr val="tx1"/>
              </a:solidFill>
              <a:prstDash val="solid"/>
            </a:ln>
          </c:spPr>
          <c:invertIfNegative val="0"/>
          <c:val>
            <c:numRef>
              <c:f>Sheet1!$A$1:$E$1</c:f>
              <c:numCache>
                <c:formatCode>General</c:formatCode>
                <c:ptCount val="5"/>
                <c:pt idx="0">
                  <c:v>10317</c:v>
                </c:pt>
                <c:pt idx="1">
                  <c:v>9538</c:v>
                </c:pt>
                <c:pt idx="2">
                  <c:v>9674</c:v>
                </c:pt>
                <c:pt idx="3">
                  <c:v>1472</c:v>
                </c:pt>
                <c:pt idx="4">
                  <c:v>1401</c:v>
                </c:pt>
              </c:numCache>
            </c:numRef>
          </c:val>
          <c:extLst>
            <c:ext xmlns:c16="http://schemas.microsoft.com/office/drawing/2014/chart" uri="{C3380CC4-5D6E-409C-BE32-E72D297353CC}">
              <c16:uniqueId val="{00000000-2AEC-419C-AD89-56F26DA2EDB7}"/>
            </c:ext>
          </c:extLst>
        </c:ser>
        <c:ser>
          <c:idx val="1"/>
          <c:order val="1"/>
          <c:spPr>
            <a:solidFill>
              <a:srgbClr val="6F8DB9"/>
            </a:solidFill>
            <a:ln w="12700" cmpd="sng" algn="ctr">
              <a:solidFill>
                <a:schemeClr val="tx1"/>
              </a:solidFill>
              <a:prstDash val="solid"/>
            </a:ln>
          </c:spPr>
          <c:invertIfNegative val="0"/>
          <c:dLbls>
            <c:dLbl>
              <c:idx val="3"/>
              <c:layout>
                <c:manualLayout>
                  <c:x val="5.1475634866163349E-2"/>
                  <c:y val="2.403846153846154E-3"/>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AEC-419C-AD89-56F26DA2ED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915</c:v>
                </c:pt>
                <c:pt idx="1">
                  <c:v>3941</c:v>
                </c:pt>
                <c:pt idx="2">
                  <c:v>6168</c:v>
                </c:pt>
                <c:pt idx="3">
                  <c:v>806</c:v>
                </c:pt>
                <c:pt idx="4">
                  <c:v>1010</c:v>
                </c:pt>
              </c:numCache>
            </c:numRef>
          </c:val>
          <c:extLst>
            <c:ext xmlns:c16="http://schemas.microsoft.com/office/drawing/2014/chart" uri="{C3380CC4-5D6E-409C-BE32-E72D297353CC}">
              <c16:uniqueId val="{00000002-2AEC-419C-AD89-56F26DA2EDB7}"/>
            </c:ext>
          </c:extLst>
        </c:ser>
        <c:dLbls>
          <c:showLegendKey val="0"/>
          <c:showVal val="0"/>
          <c:showCatName val="0"/>
          <c:showSerName val="0"/>
          <c:showPercent val="0"/>
          <c:showBubbleSize val="0"/>
        </c:dLbls>
        <c:gapWidth val="80"/>
        <c:axId val="728184255"/>
        <c:axId val="1"/>
      </c:barChart>
      <c:catAx>
        <c:axId val="72818425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317"/>
          <c:min val="0"/>
        </c:scaling>
        <c:delete val="1"/>
        <c:axPos val="t"/>
        <c:numFmt formatCode="General" sourceLinked="1"/>
        <c:majorTickMark val="out"/>
        <c:minorTickMark val="none"/>
        <c:tickLblPos val="nextTo"/>
        <c:crossAx val="72818425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68977350720659E-2"/>
          <c:y val="6.4676616915422883E-2"/>
          <c:w val="0.92862045298558682"/>
          <c:h val="0.87064676616915426"/>
        </c:manualLayout>
      </c:layout>
      <c:barChart>
        <c:barDir val="bar"/>
        <c:grouping val="clustered"/>
        <c:varyColors val="0"/>
        <c:ser>
          <c:idx val="0"/>
          <c:order val="0"/>
          <c:spPr>
            <a:pattFill prst="pct10">
              <a:fgClr>
                <a:schemeClr val="tx1"/>
              </a:fgClr>
              <a:bgClr>
                <a:schemeClr val="bg1"/>
              </a:bgClr>
            </a:pattFill>
            <a:ln w="12700" cmpd="sng" algn="ctr">
              <a:solidFill>
                <a:schemeClr val="tx1"/>
              </a:solidFill>
              <a:prstDash val="solid"/>
            </a:ln>
          </c:spPr>
          <c:invertIfNegative val="0"/>
          <c:val>
            <c:numRef>
              <c:f>Sheet1!$A$1:$E$1</c:f>
              <c:numCache>
                <c:formatCode>General</c:formatCode>
                <c:ptCount val="5"/>
                <c:pt idx="0">
                  <c:v>9128</c:v>
                </c:pt>
                <c:pt idx="1">
                  <c:v>8602</c:v>
                </c:pt>
                <c:pt idx="2">
                  <c:v>8397</c:v>
                </c:pt>
                <c:pt idx="3">
                  <c:v>1156</c:v>
                </c:pt>
                <c:pt idx="4">
                  <c:v>1047</c:v>
                </c:pt>
              </c:numCache>
            </c:numRef>
          </c:val>
          <c:extLst>
            <c:ext xmlns:c16="http://schemas.microsoft.com/office/drawing/2014/chart" uri="{C3380CC4-5D6E-409C-BE32-E72D297353CC}">
              <c16:uniqueId val="{00000000-7F1C-4692-95B5-BC9E5F9820EC}"/>
            </c:ext>
          </c:extLst>
        </c:ser>
        <c:ser>
          <c:idx val="1"/>
          <c:order val="1"/>
          <c:spPr>
            <a:solidFill>
              <a:srgbClr val="9DB1CF"/>
            </a:solidFill>
            <a:ln w="12700" cmpd="sng" algn="ctr">
              <a:solidFill>
                <a:schemeClr val="tx1"/>
              </a:solidFill>
              <a:prstDash val="solid"/>
            </a:ln>
          </c:spPr>
          <c:invertIfNegative val="0"/>
          <c:val>
            <c:numRef>
              <c:f>Sheet1!$A$2:$E$2</c:f>
              <c:numCache>
                <c:formatCode>General</c:formatCode>
                <c:ptCount val="5"/>
                <c:pt idx="0">
                  <c:v>4104</c:v>
                </c:pt>
                <c:pt idx="1">
                  <c:v>4877</c:v>
                </c:pt>
                <c:pt idx="2">
                  <c:v>7445</c:v>
                </c:pt>
                <c:pt idx="3">
                  <c:v>1122</c:v>
                </c:pt>
                <c:pt idx="4">
                  <c:v>1364</c:v>
                </c:pt>
              </c:numCache>
            </c:numRef>
          </c:val>
          <c:extLst>
            <c:ext xmlns:c16="http://schemas.microsoft.com/office/drawing/2014/chart" uri="{C3380CC4-5D6E-409C-BE32-E72D297353CC}">
              <c16:uniqueId val="{00000001-7F1C-4692-95B5-BC9E5F9820EC}"/>
            </c:ext>
          </c:extLst>
        </c:ser>
        <c:dLbls>
          <c:showLegendKey val="0"/>
          <c:showVal val="0"/>
          <c:showCatName val="0"/>
          <c:showSerName val="0"/>
          <c:showPercent val="0"/>
          <c:showBubbleSize val="0"/>
        </c:dLbls>
        <c:gapWidth val="80"/>
        <c:axId val="421067535"/>
        <c:axId val="1"/>
      </c:barChart>
      <c:catAx>
        <c:axId val="42106753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128"/>
          <c:min val="0"/>
        </c:scaling>
        <c:delete val="1"/>
        <c:axPos val="t"/>
        <c:numFmt formatCode="General" sourceLinked="1"/>
        <c:majorTickMark val="out"/>
        <c:minorTickMark val="none"/>
        <c:tickLblPos val="nextTo"/>
        <c:crossAx val="421067535"/>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794303797468356"/>
          <c:y val="0.13751017087062653"/>
          <c:w val="0.70490506329113922"/>
          <c:h val="0.724979658258747"/>
        </c:manualLayout>
      </c:layout>
      <c:doughnutChart>
        <c:varyColors val="0"/>
        <c:ser>
          <c:idx val="0"/>
          <c:order val="0"/>
          <c:dPt>
            <c:idx val="0"/>
            <c:bubble3D val="0"/>
            <c:spPr>
              <a:solidFill>
                <a:srgbClr val="DFE5EF"/>
              </a:solidFill>
              <a:ln w="9525" cmpd="sng" algn="ctr">
                <a:solidFill>
                  <a:schemeClr val="tx1"/>
                </a:solidFill>
                <a:prstDash val="solid"/>
              </a:ln>
            </c:spPr>
            <c:extLst>
              <c:ext xmlns:c16="http://schemas.microsoft.com/office/drawing/2014/chart" uri="{C3380CC4-5D6E-409C-BE32-E72D297353CC}">
                <c16:uniqueId val="{00000000-FAD2-40AE-BF18-B5202E0113E8}"/>
              </c:ext>
            </c:extLst>
          </c:dPt>
          <c:dPt>
            <c:idx val="1"/>
            <c:bubble3D val="0"/>
            <c:spPr>
              <a:solidFill>
                <a:srgbClr val="C3CFE1"/>
              </a:solidFill>
              <a:ln w="9525" cmpd="sng" algn="ctr">
                <a:solidFill>
                  <a:schemeClr val="tx1"/>
                </a:solidFill>
                <a:prstDash val="solid"/>
              </a:ln>
            </c:spPr>
            <c:extLst>
              <c:ext xmlns:c16="http://schemas.microsoft.com/office/drawing/2014/chart" uri="{C3380CC4-5D6E-409C-BE32-E72D297353CC}">
                <c16:uniqueId val="{00000001-FAD2-40AE-BF18-B5202E0113E8}"/>
              </c:ext>
            </c:extLst>
          </c:dPt>
          <c:dPt>
            <c:idx val="2"/>
            <c:bubble3D val="0"/>
            <c:spPr>
              <a:solidFill>
                <a:srgbClr val="9DB1CF"/>
              </a:solidFill>
              <a:ln w="9525" cmpd="sng" algn="ctr">
                <a:solidFill>
                  <a:schemeClr val="tx1"/>
                </a:solidFill>
                <a:prstDash val="solid"/>
              </a:ln>
            </c:spPr>
            <c:extLst>
              <c:ext xmlns:c16="http://schemas.microsoft.com/office/drawing/2014/chart" uri="{C3380CC4-5D6E-409C-BE32-E72D297353CC}">
                <c16:uniqueId val="{00000002-FAD2-40AE-BF18-B5202E0113E8}"/>
              </c:ext>
            </c:extLst>
          </c:dPt>
          <c:dPt>
            <c:idx val="3"/>
            <c:bubble3D val="0"/>
            <c:spPr>
              <a:solidFill>
                <a:srgbClr val="6F8DB9"/>
              </a:solidFill>
              <a:ln w="9525" cmpd="sng" algn="ctr">
                <a:solidFill>
                  <a:schemeClr val="tx1"/>
                </a:solidFill>
                <a:prstDash val="solid"/>
              </a:ln>
            </c:spPr>
            <c:extLst>
              <c:ext xmlns:c16="http://schemas.microsoft.com/office/drawing/2014/chart" uri="{C3380CC4-5D6E-409C-BE32-E72D297353CC}">
                <c16:uniqueId val="{00000003-FAD2-40AE-BF18-B5202E0113E8}"/>
              </c:ext>
            </c:extLst>
          </c:dPt>
          <c:dPt>
            <c:idx val="4"/>
            <c:bubble3D val="0"/>
            <c:spPr>
              <a:solidFill>
                <a:srgbClr val="4C6C9C"/>
              </a:solidFill>
              <a:ln w="9525" cmpd="sng" algn="ctr">
                <a:solidFill>
                  <a:schemeClr val="tx1"/>
                </a:solidFill>
                <a:prstDash val="solid"/>
              </a:ln>
            </c:spPr>
            <c:extLst>
              <c:ext xmlns:c16="http://schemas.microsoft.com/office/drawing/2014/chart" uri="{C3380CC4-5D6E-409C-BE32-E72D297353CC}">
                <c16:uniqueId val="{00000004-FAD2-40AE-BF18-B5202E0113E8}"/>
              </c:ext>
            </c:extLst>
          </c:dPt>
          <c:dLbls>
            <c:dLbl>
              <c:idx val="0"/>
              <c:layout>
                <c:manualLayout>
                  <c:x val="3.4018987341772153E-2"/>
                  <c:y val="-1.7900732302685109E-2"/>
                </c:manualLayout>
              </c:layout>
              <c:numFmt formatCode="#,##0&quot;%&quot;;&quot;-&quot;#,##0&quot;%&quot;" sourceLinked="0"/>
              <c:spPr>
                <a:noFill/>
                <a:ln>
                  <a:noFill/>
                </a:ln>
              </c:spPr>
              <c:txPr>
                <a:bodyPr wrap="none"/>
                <a:lstStyle/>
                <a:p>
                  <a:pPr>
                    <a:defRPr sz="800" b="1" kern="1200">
                      <a:solidFill>
                        <a:schemeClr val="tx1"/>
                      </a:solidFill>
                      <a:latin typeface="SangBleu Sunrise"/>
                      <a:ea typeface="SangBleu Sunrise"/>
                      <a:cs typeface="SangBleu Sunrise"/>
                      <a:sym typeface="SangBleu Sunrise"/>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AD2-40AE-BF18-B5202E0113E8}"/>
                </c:ext>
              </c:extLst>
            </c:dLbl>
            <c:dLbl>
              <c:idx val="1"/>
              <c:layout>
                <c:manualLayout>
                  <c:x val="0"/>
                  <c:y val="6.7534580960130181E-2"/>
                </c:manualLayout>
              </c:layout>
              <c:numFmt formatCode="#,##0&quot;%&quot;;&quot;-&quot;#,##0&quot;%&quot;" sourceLinked="0"/>
              <c:spPr>
                <a:noFill/>
                <a:ln>
                  <a:noFill/>
                </a:ln>
              </c:spPr>
              <c:txPr>
                <a:bodyPr wrap="none"/>
                <a:lstStyle/>
                <a:p>
                  <a:pPr>
                    <a:defRPr sz="800" b="1" kern="1200">
                      <a:solidFill>
                        <a:schemeClr val="tx1"/>
                      </a:solidFill>
                      <a:latin typeface="SangBleu Sunrise"/>
                      <a:ea typeface="SangBleu Sunrise"/>
                      <a:cs typeface="SangBleu Sunrise"/>
                      <a:sym typeface="SangBleu Sunrise"/>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AD2-40AE-BF18-B5202E0113E8}"/>
                </c:ext>
              </c:extLst>
            </c:dLbl>
            <c:dLbl>
              <c:idx val="2"/>
              <c:layout>
                <c:manualLayout>
                  <c:x val="-4.588607594936709E-2"/>
                  <c:y val="3.2546786004882017E-3"/>
                </c:manualLayout>
              </c:layout>
              <c:numFmt formatCode="#,##0&quot;%&quot;;&quot;-&quot;#,##0&quot;%&quot;" sourceLinked="0"/>
              <c:spPr>
                <a:noFill/>
                <a:ln>
                  <a:noFill/>
                </a:ln>
              </c:spPr>
              <c:txPr>
                <a:bodyPr wrap="none"/>
                <a:lstStyle/>
                <a:p>
                  <a:pPr>
                    <a:defRPr sz="800" b="1" kern="1200">
                      <a:solidFill>
                        <a:schemeClr val="tx1"/>
                      </a:solidFill>
                      <a:latin typeface="SangBleu Sunrise"/>
                      <a:ea typeface="SangBleu Sunrise"/>
                      <a:cs typeface="SangBleu Sunrise"/>
                      <a:sym typeface="SangBleu Sunrise"/>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AD2-40AE-BF18-B5202E0113E8}"/>
                </c:ext>
              </c:extLst>
            </c:dLbl>
            <c:dLbl>
              <c:idx val="3"/>
              <c:layout>
                <c:manualLayout>
                  <c:x val="-3.7183544303797465E-2"/>
                  <c:y val="-3.9869812855980472E-2"/>
                </c:manualLayout>
              </c:layout>
              <c:numFmt formatCode="#,##0&quot;%&quot;;&quot;-&quot;#,##0&quot;%&quot;" sourceLinked="0"/>
              <c:spPr>
                <a:noFill/>
                <a:ln>
                  <a:noFill/>
                </a:ln>
              </c:spPr>
              <c:txPr>
                <a:bodyPr wrap="none"/>
                <a:lstStyle/>
                <a:p>
                  <a:pPr>
                    <a:defRPr sz="800" b="1" kern="1200">
                      <a:solidFill>
                        <a:schemeClr val="bg1"/>
                      </a:solidFill>
                      <a:latin typeface="SangBleu Sunrise"/>
                      <a:ea typeface="SangBleu Sunrise"/>
                      <a:cs typeface="SangBleu Sunrise"/>
                      <a:sym typeface="SangBleu Sunrise"/>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AD2-40AE-BF18-B5202E0113E8}"/>
                </c:ext>
              </c:extLst>
            </c:dLbl>
            <c:dLbl>
              <c:idx val="4"/>
              <c:layout>
                <c:manualLayout>
                  <c:x val="-1.5822784810126583E-2"/>
                  <c:y val="-6.4279902359641983E-2"/>
                </c:manualLayout>
              </c:layout>
              <c:numFmt formatCode="#,##0&quot;%&quot;;&quot;-&quot;#,##0&quot;%&quot;" sourceLinked="0"/>
              <c:spPr>
                <a:noFill/>
                <a:ln>
                  <a:noFill/>
                </a:ln>
              </c:spPr>
              <c:txPr>
                <a:bodyPr wrap="none"/>
                <a:lstStyle/>
                <a:p>
                  <a:pPr>
                    <a:defRPr sz="800" b="1" kern="1200">
                      <a:solidFill>
                        <a:schemeClr val="bg1"/>
                      </a:solidFill>
                      <a:latin typeface="SangBleu Sunrise"/>
                      <a:ea typeface="SangBleu Sunrise"/>
                      <a:cs typeface="SangBleu Sunrise"/>
                      <a:sym typeface="SangBleu Sunrise"/>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AD2-40AE-BF18-B5202E0113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36</c:v>
                </c:pt>
                <c:pt idx="1">
                  <c:v>28.000000000000004</c:v>
                </c:pt>
                <c:pt idx="2">
                  <c:v>19</c:v>
                </c:pt>
                <c:pt idx="3">
                  <c:v>9</c:v>
                </c:pt>
                <c:pt idx="4">
                  <c:v>8</c:v>
                </c:pt>
              </c:numCache>
            </c:numRef>
          </c:val>
          <c:extLst>
            <c:ext xmlns:c16="http://schemas.microsoft.com/office/drawing/2014/chart" uri="{C3380CC4-5D6E-409C-BE32-E72D297353CC}">
              <c16:uniqueId val="{00000005-FAD2-40AE-BF18-B5202E0113E8}"/>
            </c:ext>
          </c:extLst>
        </c:ser>
        <c:dLbls>
          <c:showLegendKey val="0"/>
          <c:showVal val="0"/>
          <c:showCatName val="0"/>
          <c:showSerName val="0"/>
          <c:showPercent val="0"/>
          <c:showBubbleSize val="0"/>
          <c:showLeaderLines val="0"/>
        </c:dLbls>
        <c:firstSliceAng val="0"/>
        <c:holeSize val="39"/>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543403964456599E-2"/>
          <c:y val="0.12347354138398914"/>
          <c:w val="0.9289131920710868"/>
          <c:h val="0.75305291723202172"/>
        </c:manualLayout>
      </c:layout>
      <c:barChart>
        <c:barDir val="col"/>
        <c:grouping val="stacked"/>
        <c:varyColors val="0"/>
        <c:ser>
          <c:idx val="0"/>
          <c:order val="0"/>
          <c:spPr>
            <a:solidFill>
              <a:srgbClr val="BF9000"/>
            </a:solidFill>
            <a:ln w="9525" cmpd="sng" algn="ctr">
              <a:solidFill>
                <a:schemeClr val="tx1"/>
              </a:solidFill>
              <a:prstDash val="solid"/>
            </a:ln>
          </c:spPr>
          <c:invertIfNegative val="0"/>
          <c:dLbls>
            <c:dLbl>
              <c:idx val="0"/>
              <c:layout>
                <c:manualLayout>
                  <c:x val="0"/>
                  <c:y val="-6.7842605156037988E-2"/>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0B-46F4-8BAC-8B6A370FB4A5}"/>
                </c:ext>
              </c:extLst>
            </c:dLbl>
            <c:dLbl>
              <c:idx val="1"/>
              <c:layout>
                <c:manualLayout>
                  <c:x val="0"/>
                  <c:y val="-8.1411126187245594E-2"/>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0B-46F4-8BAC-8B6A370FB4A5}"/>
                </c:ext>
              </c:extLst>
            </c:dLbl>
            <c:dLbl>
              <c:idx val="2"/>
              <c:layout>
                <c:manualLayout>
                  <c:x val="0"/>
                  <c:y val="-9.7693351424694708E-2"/>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0B-46F4-8BAC-8B6A370FB4A5}"/>
                </c:ext>
              </c:extLst>
            </c:dLbl>
            <c:dLbl>
              <c:idx val="3"/>
              <c:layout>
                <c:manualLayout>
                  <c:x val="0"/>
                  <c:y val="-0.1112618724559023"/>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0B-46F4-8BAC-8B6A370FB4A5}"/>
                </c:ext>
              </c:extLst>
            </c:dLbl>
            <c:dLbl>
              <c:idx val="4"/>
              <c:layout>
                <c:manualLayout>
                  <c:x val="0"/>
                  <c:y val="-0.14518317503392131"/>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0B-46F4-8BAC-8B6A370FB4A5}"/>
                </c:ext>
              </c:extLst>
            </c:dLbl>
            <c:dLbl>
              <c:idx val="5"/>
              <c:layout>
                <c:manualLayout>
                  <c:x val="0"/>
                  <c:y val="-0.16824966078697423"/>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0B-46F4-8BAC-8B6A370FB4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3.544</c:v>
                </c:pt>
                <c:pt idx="1">
                  <c:v>34.4</c:v>
                </c:pt>
                <c:pt idx="2">
                  <c:v>58.5</c:v>
                </c:pt>
                <c:pt idx="3">
                  <c:v>80.8</c:v>
                </c:pt>
                <c:pt idx="4">
                  <c:v>134</c:v>
                </c:pt>
                <c:pt idx="5">
                  <c:v>170.2</c:v>
                </c:pt>
              </c:numCache>
            </c:numRef>
          </c:val>
          <c:extLst>
            <c:ext xmlns:c16="http://schemas.microsoft.com/office/drawing/2014/chart" uri="{C3380CC4-5D6E-409C-BE32-E72D297353CC}">
              <c16:uniqueId val="{00000006-390B-46F4-8BAC-8B6A370FB4A5}"/>
            </c:ext>
          </c:extLst>
        </c:ser>
        <c:dLbls>
          <c:showLegendKey val="0"/>
          <c:showVal val="0"/>
          <c:showCatName val="0"/>
          <c:showSerName val="0"/>
          <c:showPercent val="0"/>
          <c:showBubbleSize val="0"/>
        </c:dLbls>
        <c:gapWidth val="80"/>
        <c:overlap val="100"/>
        <c:axId val="710715263"/>
        <c:axId val="1"/>
      </c:barChart>
      <c:catAx>
        <c:axId val="7107152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90"/>
          <c:min val="0"/>
        </c:scaling>
        <c:delete val="1"/>
        <c:axPos val="l"/>
        <c:numFmt formatCode="General" sourceLinked="1"/>
        <c:majorTickMark val="out"/>
        <c:minorTickMark val="none"/>
        <c:tickLblPos val="nextTo"/>
        <c:crossAx val="710715263"/>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139240506329111E-2"/>
          <c:y val="8.8435374149659865E-2"/>
          <c:w val="0.91772151898734178"/>
          <c:h val="0.8231292517006803"/>
        </c:manualLayout>
      </c:layout>
      <c:barChart>
        <c:barDir val="col"/>
        <c:grouping val="stacked"/>
        <c:varyColors val="0"/>
        <c:ser>
          <c:idx val="0"/>
          <c:order val="0"/>
          <c:spPr>
            <a:pattFill prst="pct75">
              <a:fgClr>
                <a:schemeClr val="tx1"/>
              </a:fgClr>
              <a:bgClr>
                <a:schemeClr val="bg1"/>
              </a:bgClr>
            </a:pattFill>
            <a:ln w="6350" cmpd="sng" algn="ctr">
              <a:solidFill>
                <a:schemeClr val="tx1"/>
              </a:solidFill>
              <a:prstDash val="solid"/>
            </a:ln>
          </c:spPr>
          <c:invertIfNegative val="0"/>
          <c:val>
            <c:numRef>
              <c:f>Sheet1!$A$1:$F$1</c:f>
              <c:numCache>
                <c:formatCode>General</c:formatCode>
                <c:ptCount val="6"/>
                <c:pt idx="0">
                  <c:v>1020</c:v>
                </c:pt>
                <c:pt idx="1">
                  <c:v>1128</c:v>
                </c:pt>
                <c:pt idx="2">
                  <c:v>1166</c:v>
                </c:pt>
                <c:pt idx="3">
                  <c:v>1350</c:v>
                </c:pt>
                <c:pt idx="4">
                  <c:v>1432</c:v>
                </c:pt>
                <c:pt idx="5">
                  <c:v>1689.76</c:v>
                </c:pt>
              </c:numCache>
            </c:numRef>
          </c:val>
          <c:extLst>
            <c:ext xmlns:c16="http://schemas.microsoft.com/office/drawing/2014/chart" uri="{C3380CC4-5D6E-409C-BE32-E72D297353CC}">
              <c16:uniqueId val="{00000000-DF1C-4507-A632-A43889A54CA8}"/>
            </c:ext>
          </c:extLst>
        </c:ser>
        <c:ser>
          <c:idx val="1"/>
          <c:order val="1"/>
          <c:spPr>
            <a:pattFill prst="pct50">
              <a:fgClr>
                <a:schemeClr val="tx1"/>
              </a:fgClr>
              <a:bgClr>
                <a:schemeClr val="bg1"/>
              </a:bgClr>
            </a:pattFill>
            <a:ln w="6350" cmpd="sng" algn="ctr">
              <a:solidFill>
                <a:schemeClr val="tx1"/>
              </a:solidFill>
              <a:prstDash val="solid"/>
            </a:ln>
          </c:spPr>
          <c:invertIfNegative val="0"/>
          <c:val>
            <c:numRef>
              <c:f>Sheet1!$A$2:$F$2</c:f>
              <c:numCache>
                <c:formatCode>General</c:formatCode>
                <c:ptCount val="6"/>
                <c:pt idx="0">
                  <c:v>577</c:v>
                </c:pt>
                <c:pt idx="1">
                  <c:v>631</c:v>
                </c:pt>
                <c:pt idx="2">
                  <c:v>840</c:v>
                </c:pt>
                <c:pt idx="3">
                  <c:v>894</c:v>
                </c:pt>
                <c:pt idx="4">
                  <c:v>800</c:v>
                </c:pt>
                <c:pt idx="5">
                  <c:v>944.00000000000023</c:v>
                </c:pt>
              </c:numCache>
            </c:numRef>
          </c:val>
          <c:extLst>
            <c:ext xmlns:c16="http://schemas.microsoft.com/office/drawing/2014/chart" uri="{C3380CC4-5D6E-409C-BE32-E72D297353CC}">
              <c16:uniqueId val="{00000001-DF1C-4507-A632-A43889A54CA8}"/>
            </c:ext>
          </c:extLst>
        </c:ser>
        <c:ser>
          <c:idx val="2"/>
          <c:order val="2"/>
          <c:spPr>
            <a:pattFill prst="pct10">
              <a:fgClr>
                <a:schemeClr val="tx1"/>
              </a:fgClr>
              <a:bgClr>
                <a:schemeClr val="bg1"/>
              </a:bgClr>
            </a:pattFill>
            <a:ln w="6350" cmpd="sng" algn="ctr">
              <a:solidFill>
                <a:schemeClr val="tx1"/>
              </a:solidFill>
              <a:prstDash val="solid"/>
            </a:ln>
          </c:spPr>
          <c:invertIfNegative val="0"/>
          <c:dLbls>
            <c:dLbl>
              <c:idx val="2"/>
              <c:layout>
                <c:manualLayout>
                  <c:x val="-9.0189873417721514E-2"/>
                  <c:y val="-1.9436345966958211E-3"/>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1C-4507-A632-A43889A54C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262</c:v>
                </c:pt>
                <c:pt idx="1">
                  <c:v>278</c:v>
                </c:pt>
                <c:pt idx="2">
                  <c:v>289</c:v>
                </c:pt>
                <c:pt idx="3">
                  <c:v>327</c:v>
                </c:pt>
                <c:pt idx="4">
                  <c:v>346</c:v>
                </c:pt>
                <c:pt idx="5">
                  <c:v>408.27999999999975</c:v>
                </c:pt>
              </c:numCache>
            </c:numRef>
          </c:val>
          <c:extLst>
            <c:ext xmlns:c16="http://schemas.microsoft.com/office/drawing/2014/chart" uri="{C3380CC4-5D6E-409C-BE32-E72D297353CC}">
              <c16:uniqueId val="{00000003-DF1C-4507-A632-A43889A54CA8}"/>
            </c:ext>
          </c:extLst>
        </c:ser>
        <c:dLbls>
          <c:showLegendKey val="0"/>
          <c:showVal val="0"/>
          <c:showCatName val="0"/>
          <c:showSerName val="0"/>
          <c:showPercent val="0"/>
          <c:showBubbleSize val="0"/>
        </c:dLbls>
        <c:gapWidth val="80"/>
        <c:overlap val="100"/>
        <c:axId val="836208959"/>
        <c:axId val="1"/>
      </c:barChart>
      <c:catAx>
        <c:axId val="8362089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42.04"/>
          <c:min val="0"/>
        </c:scaling>
        <c:delete val="1"/>
        <c:axPos val="l"/>
        <c:numFmt formatCode="General" sourceLinked="1"/>
        <c:majorTickMark val="out"/>
        <c:minorTickMark val="none"/>
        <c:tickLblPos val="nextTo"/>
        <c:crossAx val="836208959"/>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93023255813953"/>
          <c:y val="0.11318407960199005"/>
          <c:w val="0.75930232558139532"/>
          <c:h val="0.77363184079601988"/>
        </c:manualLayout>
      </c:layout>
      <c:barChart>
        <c:barDir val="bar"/>
        <c:grouping val="stacked"/>
        <c:varyColors val="0"/>
        <c:ser>
          <c:idx val="0"/>
          <c:order val="0"/>
          <c:spPr>
            <a:pattFill prst="pct50">
              <a:fgClr>
                <a:schemeClr val="tx1"/>
              </a:fgClr>
              <a:bgClr>
                <a:schemeClr val="bg1"/>
              </a:bgClr>
            </a:pattFill>
            <a:ln w="9525" cmpd="sng" algn="ctr">
              <a:solidFill>
                <a:schemeClr val="tx1"/>
              </a:solidFill>
              <a:prstDash val="solid"/>
            </a:ln>
          </c:spPr>
          <c:invertIfNegative val="0"/>
          <c:dPt>
            <c:idx val="6"/>
            <c:invertIfNegative val="0"/>
            <c:bubble3D val="0"/>
            <c:spPr>
              <a:solidFill>
                <a:srgbClr val="BF9000"/>
              </a:solidFill>
              <a:ln w="9525" cmpd="sng" algn="ctr">
                <a:solidFill>
                  <a:schemeClr val="tx1"/>
                </a:solidFill>
                <a:prstDash val="solid"/>
              </a:ln>
            </c:spPr>
            <c:extLst>
              <c:ext xmlns:c16="http://schemas.microsoft.com/office/drawing/2014/chart" uri="{C3380CC4-5D6E-409C-BE32-E72D297353CC}">
                <c16:uniqueId val="{00000000-6BC5-4000-8B3F-B27C2E3053FB}"/>
              </c:ext>
            </c:extLst>
          </c:dPt>
          <c:dLbls>
            <c:dLbl>
              <c:idx val="1"/>
              <c:layout>
                <c:manualLayout>
                  <c:x val="0.35232558139534886"/>
                  <c:y val="2.4875621890547263E-3"/>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C5-4000-8B3F-B27C2E3053FB}"/>
                </c:ext>
              </c:extLst>
            </c:dLbl>
            <c:dLbl>
              <c:idx val="2"/>
              <c:layout>
                <c:manualLayout>
                  <c:x val="0.30116279069767443"/>
                  <c:y val="2.4875621890547263E-3"/>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BC5-4000-8B3F-B27C2E3053FB}"/>
                </c:ext>
              </c:extLst>
            </c:dLbl>
            <c:dLbl>
              <c:idx val="3"/>
              <c:layout>
                <c:manualLayout>
                  <c:x val="0.18372093023255814"/>
                  <c:y val="2.4875621890547263E-3"/>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C5-4000-8B3F-B27C2E3053FB}"/>
                </c:ext>
              </c:extLst>
            </c:dLbl>
            <c:dLbl>
              <c:idx val="4"/>
              <c:layout>
                <c:manualLayout>
                  <c:x val="0.14186046511627906"/>
                  <c:y val="2.4875621890547263E-3"/>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C5-4000-8B3F-B27C2E3053FB}"/>
                </c:ext>
              </c:extLst>
            </c:dLbl>
            <c:dLbl>
              <c:idx val="5"/>
              <c:layout>
                <c:manualLayout>
                  <c:x val="0.11395348837209303"/>
                  <c:y val="2.4875621890547263E-3"/>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BC5-4000-8B3F-B27C2E3053FB}"/>
                </c:ext>
              </c:extLst>
            </c:dLbl>
            <c:dLbl>
              <c:idx val="6"/>
              <c:layout>
                <c:manualLayout>
                  <c:x val="0.1058139534883721"/>
                  <c:y val="2.4875621890547263E-3"/>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C5-4000-8B3F-B27C2E3053FB}"/>
                </c:ext>
              </c:extLst>
            </c:dLbl>
            <c:dLbl>
              <c:idx val="7"/>
              <c:layout>
                <c:manualLayout>
                  <c:x val="8.4883720930232553E-2"/>
                  <c:y val="2.4875621890547263E-3"/>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BC5-4000-8B3F-B27C2E3053FB}"/>
                </c:ext>
              </c:extLst>
            </c:dLbl>
            <c:dLbl>
              <c:idx val="8"/>
              <c:layout>
                <c:manualLayout>
                  <c:x val="5.4651162790697677E-2"/>
                  <c:y val="2.4875621890547263E-3"/>
                </c:manualLayout>
              </c:layout>
              <c:numFmt formatCode="#,##0;&quot;-&quot;#,##0" sourceLinked="0"/>
              <c:spPr>
                <a:noFill/>
                <a:ln>
                  <a:noFill/>
                </a:ln>
              </c:spPr>
              <c:txPr>
                <a:bodyPr wrap="none"/>
                <a:lstStyle/>
                <a:p>
                  <a:pPr>
                    <a:defRPr sz="600" b="1" kern="1200">
                      <a:solidFill>
                        <a:schemeClr val="tx1"/>
                      </a:solidFill>
                      <a:latin typeface="SangBleu Sunrise"/>
                      <a:ea typeface="SangBleu Sunrise"/>
                      <a:cs typeface="SangBleu Sunrise"/>
                      <a:sym typeface="SangBleu Sunrise"/>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BC5-4000-8B3F-B27C2E3053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03.21785714285716</c:v>
                </c:pt>
                <c:pt idx="1">
                  <c:v>171</c:v>
                </c:pt>
                <c:pt idx="2">
                  <c:v>136</c:v>
                </c:pt>
                <c:pt idx="3">
                  <c:v>73</c:v>
                </c:pt>
                <c:pt idx="4">
                  <c:v>46</c:v>
                </c:pt>
                <c:pt idx="5">
                  <c:v>32</c:v>
                </c:pt>
                <c:pt idx="6">
                  <c:v>31</c:v>
                </c:pt>
                <c:pt idx="7">
                  <c:v>18</c:v>
                </c:pt>
                <c:pt idx="8">
                  <c:v>7</c:v>
                </c:pt>
              </c:numCache>
            </c:numRef>
          </c:val>
          <c:extLst>
            <c:ext xmlns:c16="http://schemas.microsoft.com/office/drawing/2014/chart" uri="{C3380CC4-5D6E-409C-BE32-E72D297353CC}">
              <c16:uniqueId val="{00000008-6BC5-4000-8B3F-B27C2E3053FB}"/>
            </c:ext>
          </c:extLst>
        </c:ser>
        <c:dLbls>
          <c:showLegendKey val="0"/>
          <c:showVal val="0"/>
          <c:showCatName val="0"/>
          <c:showSerName val="0"/>
          <c:showPercent val="0"/>
          <c:showBubbleSize val="0"/>
        </c:dLbls>
        <c:gapWidth val="80"/>
        <c:overlap val="100"/>
        <c:axId val="836207295"/>
        <c:axId val="1"/>
      </c:barChart>
      <c:catAx>
        <c:axId val="83620729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6.21785714285716"/>
          <c:min val="0"/>
        </c:scaling>
        <c:delete val="1"/>
        <c:axPos val="t"/>
        <c:numFmt formatCode="General" sourceLinked="1"/>
        <c:majorTickMark val="out"/>
        <c:minorTickMark val="none"/>
        <c:tickLblPos val="nextTo"/>
        <c:crossAx val="836207295"/>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853295535081501E-2"/>
          <c:y val="7.334273624823695E-2"/>
          <c:w val="0.92629340892983703"/>
          <c:h val="0.8533145275035261"/>
        </c:manualLayout>
      </c:layout>
      <c:areaChart>
        <c:grouping val="stacked"/>
        <c:varyColors val="0"/>
        <c:ser>
          <c:idx val="0"/>
          <c:order val="0"/>
          <c:spPr>
            <a:pattFill prst="pct50">
              <a:fgClr>
                <a:schemeClr val="tx1"/>
              </a:fgClr>
              <a:bgClr>
                <a:schemeClr val="bg1"/>
              </a:bgClr>
            </a:pattFill>
            <a:ln w="9525" cmpd="sng" algn="ctr">
              <a:solidFill>
                <a:schemeClr val="tx1"/>
              </a:solidFill>
              <a:prstDash val="solid"/>
            </a:ln>
          </c:spPr>
          <c:val>
            <c:numRef>
              <c:f>Sheet1!$A$1:$G$1</c:f>
              <c:numCache>
                <c:formatCode>General</c:formatCode>
                <c:ptCount val="7"/>
                <c:pt idx="0">
                  <c:v>70</c:v>
                </c:pt>
                <c:pt idx="1">
                  <c:v>70</c:v>
                </c:pt>
                <c:pt idx="2">
                  <c:v>56.000000000000007</c:v>
                </c:pt>
                <c:pt idx="3">
                  <c:v>55.000000000000007</c:v>
                </c:pt>
                <c:pt idx="4">
                  <c:v>56.000000000000007</c:v>
                </c:pt>
                <c:pt idx="5">
                  <c:v>63</c:v>
                </c:pt>
                <c:pt idx="6">
                  <c:v>64</c:v>
                </c:pt>
              </c:numCache>
            </c:numRef>
          </c:val>
          <c:extLst>
            <c:ext xmlns:c16="http://schemas.microsoft.com/office/drawing/2014/chart" uri="{C3380CC4-5D6E-409C-BE32-E72D297353CC}">
              <c16:uniqueId val="{00000000-2C83-462A-86F6-5B77E835D276}"/>
            </c:ext>
          </c:extLst>
        </c:ser>
        <c:ser>
          <c:idx val="1"/>
          <c:order val="1"/>
          <c:spPr>
            <a:solidFill>
              <a:srgbClr val="BF9000"/>
            </a:solidFill>
            <a:ln w="9525" cmpd="sng" algn="ctr">
              <a:solidFill>
                <a:schemeClr val="tx1"/>
              </a:solidFill>
              <a:prstDash val="solid"/>
            </a:ln>
          </c:spPr>
          <c:val>
            <c:numRef>
              <c:f>Sheet1!$A$2:$G$2</c:f>
              <c:numCache>
                <c:formatCode>General</c:formatCode>
                <c:ptCount val="7"/>
                <c:pt idx="0">
                  <c:v>29.999999999999993</c:v>
                </c:pt>
                <c:pt idx="1">
                  <c:v>29.999999999999993</c:v>
                </c:pt>
                <c:pt idx="2">
                  <c:v>43.999999999999993</c:v>
                </c:pt>
                <c:pt idx="3">
                  <c:v>44.999999999999993</c:v>
                </c:pt>
                <c:pt idx="4">
                  <c:v>43.999999999999993</c:v>
                </c:pt>
                <c:pt idx="5">
                  <c:v>37</c:v>
                </c:pt>
                <c:pt idx="6">
                  <c:v>36</c:v>
                </c:pt>
              </c:numCache>
            </c:numRef>
          </c:val>
          <c:extLst>
            <c:ext xmlns:c16="http://schemas.microsoft.com/office/drawing/2014/chart" uri="{C3380CC4-5D6E-409C-BE32-E72D297353CC}">
              <c16:uniqueId val="{00000001-2C83-462A-86F6-5B77E835D276}"/>
            </c:ext>
          </c:extLst>
        </c:ser>
        <c:dLbls>
          <c:showLegendKey val="0"/>
          <c:showVal val="0"/>
          <c:showCatName val="0"/>
          <c:showSerName val="0"/>
          <c:showPercent val="0"/>
          <c:showBubbleSize val="0"/>
        </c:dLbls>
        <c:axId val="1513792271"/>
        <c:axId val="1"/>
      </c:areaChart>
      <c:catAx>
        <c:axId val="15137922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800" b="1" kern="1200">
                <a:latin typeface="SangBleu Sunrise"/>
                <a:ea typeface="SangBleu Sunrise"/>
                <a:cs typeface="+mn-cs"/>
                <a:sym typeface="SangBleu Sunrise"/>
              </a:defRPr>
            </a:pPr>
            <a:endParaRPr lang="ru-RU"/>
          </a:p>
        </c:txPr>
        <c:crossAx val="1513792271"/>
        <c:crosses val="min"/>
        <c:crossBetween val="midCat"/>
        <c:majorUnit val="20"/>
      </c:valAx>
    </c:plotArea>
    <c:plotVisOnly val="0"/>
    <c:dispBlanksAs val="zero"/>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CB2D4C1-0667-4E40-8AF6-C1AE4022ACBE}" type="datetimeFigureOut">
              <a:rPr lang="ru-RU" smtClean="0"/>
              <a:t>26.03.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E5E4CEB-0D78-4778-8E92-B684F030C710}" type="slidenum">
              <a:rPr lang="ru-RU" smtClean="0"/>
              <a:t>‹#›</a:t>
            </a:fld>
            <a:endParaRPr lang="ru-RU"/>
          </a:p>
        </p:txBody>
      </p:sp>
    </p:spTree>
    <p:extLst>
      <p:ext uri="{BB962C8B-B14F-4D97-AF65-F5344CB8AC3E}">
        <p14:creationId xmlns:p14="http://schemas.microsoft.com/office/powerpoint/2010/main" val="2570046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B2D4C1-0667-4E40-8AF6-C1AE4022ACBE}" type="datetimeFigureOut">
              <a:rPr lang="ru-RU" smtClean="0"/>
              <a:t>26.03.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E5E4CEB-0D78-4778-8E92-B684F030C710}" type="slidenum">
              <a:rPr lang="ru-RU" smtClean="0"/>
              <a:t>‹#›</a:t>
            </a:fld>
            <a:endParaRPr lang="ru-RU"/>
          </a:p>
        </p:txBody>
      </p:sp>
    </p:spTree>
    <p:extLst>
      <p:ext uri="{BB962C8B-B14F-4D97-AF65-F5344CB8AC3E}">
        <p14:creationId xmlns:p14="http://schemas.microsoft.com/office/powerpoint/2010/main" val="11113252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B2D4C1-0667-4E40-8AF6-C1AE4022ACBE}" type="datetimeFigureOut">
              <a:rPr lang="ru-RU" smtClean="0"/>
              <a:t>26.03.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E5E4CEB-0D78-4778-8E92-B684F030C710}" type="slidenum">
              <a:rPr lang="ru-RU" smtClean="0"/>
              <a:t>‹#›</a:t>
            </a:fld>
            <a:endParaRPr lang="ru-RU"/>
          </a:p>
        </p:txBody>
      </p:sp>
    </p:spTree>
    <p:extLst>
      <p:ext uri="{BB962C8B-B14F-4D97-AF65-F5344CB8AC3E}">
        <p14:creationId xmlns:p14="http://schemas.microsoft.com/office/powerpoint/2010/main" val="28303271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B2D4C1-0667-4E40-8AF6-C1AE4022ACBE}" type="datetimeFigureOut">
              <a:rPr lang="ru-RU" smtClean="0"/>
              <a:t>26.03.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E5E4CEB-0D78-4778-8E92-B684F030C710}" type="slidenum">
              <a:rPr lang="ru-RU" smtClean="0"/>
              <a:t>‹#›</a:t>
            </a:fld>
            <a:endParaRPr lang="ru-RU"/>
          </a:p>
        </p:txBody>
      </p:sp>
    </p:spTree>
    <p:extLst>
      <p:ext uri="{BB962C8B-B14F-4D97-AF65-F5344CB8AC3E}">
        <p14:creationId xmlns:p14="http://schemas.microsoft.com/office/powerpoint/2010/main" val="2213483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CB2D4C1-0667-4E40-8AF6-C1AE4022ACBE}" type="datetimeFigureOut">
              <a:rPr lang="ru-RU" smtClean="0"/>
              <a:t>26.03.2025</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7E5E4CEB-0D78-4778-8E92-B684F030C710}" type="slidenum">
              <a:rPr lang="ru-RU" smtClean="0"/>
              <a:t>‹#›</a:t>
            </a:fld>
            <a:endParaRPr lang="ru-RU"/>
          </a:p>
        </p:txBody>
      </p:sp>
    </p:spTree>
    <p:extLst>
      <p:ext uri="{BB962C8B-B14F-4D97-AF65-F5344CB8AC3E}">
        <p14:creationId xmlns:p14="http://schemas.microsoft.com/office/powerpoint/2010/main" val="18916191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CB2D4C1-0667-4E40-8AF6-C1AE4022ACBE}" type="datetimeFigureOut">
              <a:rPr lang="ru-RU" smtClean="0"/>
              <a:t>26.03.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7E5E4CEB-0D78-4778-8E92-B684F030C710}" type="slidenum">
              <a:rPr lang="ru-RU" smtClean="0"/>
              <a:t>‹#›</a:t>
            </a:fld>
            <a:endParaRPr lang="ru-RU"/>
          </a:p>
        </p:txBody>
      </p:sp>
    </p:spTree>
    <p:extLst>
      <p:ext uri="{BB962C8B-B14F-4D97-AF65-F5344CB8AC3E}">
        <p14:creationId xmlns:p14="http://schemas.microsoft.com/office/powerpoint/2010/main" val="8477953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CB2D4C1-0667-4E40-8AF6-C1AE4022ACBE}" type="datetimeFigureOut">
              <a:rPr lang="ru-RU" smtClean="0"/>
              <a:t>26.03.2025</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7E5E4CEB-0D78-4778-8E92-B684F030C710}" type="slidenum">
              <a:rPr lang="ru-RU" smtClean="0"/>
              <a:t>‹#›</a:t>
            </a:fld>
            <a:endParaRPr lang="ru-RU"/>
          </a:p>
        </p:txBody>
      </p:sp>
    </p:spTree>
    <p:extLst>
      <p:ext uri="{BB962C8B-B14F-4D97-AF65-F5344CB8AC3E}">
        <p14:creationId xmlns:p14="http://schemas.microsoft.com/office/powerpoint/2010/main" val="506061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CB2D4C1-0667-4E40-8AF6-C1AE4022ACBE}" type="datetimeFigureOut">
              <a:rPr lang="ru-RU" smtClean="0"/>
              <a:t>26.03.2025</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7E5E4CEB-0D78-4778-8E92-B684F030C710}" type="slidenum">
              <a:rPr lang="ru-RU" smtClean="0"/>
              <a:t>‹#›</a:t>
            </a:fld>
            <a:endParaRPr lang="ru-RU"/>
          </a:p>
        </p:txBody>
      </p:sp>
    </p:spTree>
    <p:extLst>
      <p:ext uri="{BB962C8B-B14F-4D97-AF65-F5344CB8AC3E}">
        <p14:creationId xmlns:p14="http://schemas.microsoft.com/office/powerpoint/2010/main" val="14888247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B2D4C1-0667-4E40-8AF6-C1AE4022ACBE}" type="datetimeFigureOut">
              <a:rPr lang="ru-RU" smtClean="0"/>
              <a:t>26.03.2025</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7E5E4CEB-0D78-4778-8E92-B684F030C710}" type="slidenum">
              <a:rPr lang="ru-RU" smtClean="0"/>
              <a:t>‹#›</a:t>
            </a:fld>
            <a:endParaRPr lang="ru-RU"/>
          </a:p>
        </p:txBody>
      </p:sp>
    </p:spTree>
    <p:extLst>
      <p:ext uri="{BB962C8B-B14F-4D97-AF65-F5344CB8AC3E}">
        <p14:creationId xmlns:p14="http://schemas.microsoft.com/office/powerpoint/2010/main" val="2465472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1CB2D4C1-0667-4E40-8AF6-C1AE4022ACBE}" type="datetimeFigureOut">
              <a:rPr lang="ru-RU" smtClean="0"/>
              <a:t>26.03.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7E5E4CEB-0D78-4778-8E92-B684F030C710}" type="slidenum">
              <a:rPr lang="ru-RU" smtClean="0"/>
              <a:t>‹#›</a:t>
            </a:fld>
            <a:endParaRPr lang="ru-RU"/>
          </a:p>
        </p:txBody>
      </p:sp>
    </p:spTree>
    <p:extLst>
      <p:ext uri="{BB962C8B-B14F-4D97-AF65-F5344CB8AC3E}">
        <p14:creationId xmlns:p14="http://schemas.microsoft.com/office/powerpoint/2010/main" val="33833968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1CB2D4C1-0667-4E40-8AF6-C1AE4022ACBE}" type="datetimeFigureOut">
              <a:rPr lang="ru-RU" smtClean="0"/>
              <a:t>26.03.2025</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7E5E4CEB-0D78-4778-8E92-B684F030C710}" type="slidenum">
              <a:rPr lang="ru-RU" smtClean="0"/>
              <a:t>‹#›</a:t>
            </a:fld>
            <a:endParaRPr lang="ru-RU"/>
          </a:p>
        </p:txBody>
      </p:sp>
    </p:spTree>
    <p:extLst>
      <p:ext uri="{BB962C8B-B14F-4D97-AF65-F5344CB8AC3E}">
        <p14:creationId xmlns:p14="http://schemas.microsoft.com/office/powerpoint/2010/main" val="10524593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0"/>
                <a:lumOff val="100000"/>
              </a:schemeClr>
            </a:gs>
            <a:gs pos="64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1CB2D4C1-0667-4E40-8AF6-C1AE4022ACBE}" type="datetimeFigureOut">
              <a:rPr lang="ru-RU" smtClean="0"/>
              <a:t>26.03.2025</a:t>
            </a:fld>
            <a:endParaRPr lang="ru-RU"/>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7E5E4CEB-0D78-4778-8E92-B684F030C710}" type="slidenum">
              <a:rPr lang="ru-RU" smtClean="0"/>
              <a:t>‹#›</a:t>
            </a:fld>
            <a:endParaRPr lang="ru-RU"/>
          </a:p>
        </p:txBody>
      </p:sp>
      <p:graphicFrame>
        <p:nvGraphicFramePr>
          <p:cNvPr id="7" name="think-cell data - do not delete" hidden="1">
            <a:extLst>
              <a:ext uri="{FF2B5EF4-FFF2-40B4-BE49-F238E27FC236}">
                <a16:creationId xmlns:a16="http://schemas.microsoft.com/office/drawing/2014/main" id="{9D35ABE2-F2D7-46EE-8034-9EC1B6ABB21C}"/>
              </a:ext>
            </a:extLst>
          </p:cNvPr>
          <p:cNvGraphicFramePr>
            <a:graphicFrameLocks noChangeAspect="1"/>
          </p:cNvGraphicFramePr>
          <p:nvPr userDrawn="1">
            <p:custDataLst>
              <p:tags r:id="rId14"/>
            </p:custDataLst>
            <p:extLst>
              <p:ext uri="{D42A27DB-BD31-4B8C-83A1-F6EECF244321}">
                <p14:modId xmlns:p14="http://schemas.microsoft.com/office/powerpoint/2010/main" val="4274325149"/>
              </p:ext>
            </p:extLst>
          </p:nvPr>
        </p:nvGraphicFramePr>
        <p:xfrm>
          <a:off x="1588" y="1290"/>
          <a:ext cx="1588" cy="1290"/>
        </p:xfrm>
        <a:graphic>
          <a:graphicData uri="http://schemas.openxmlformats.org/presentationml/2006/ole">
            <mc:AlternateContent xmlns:mc="http://schemas.openxmlformats.org/markup-compatibility/2006">
              <mc:Choice xmlns:v="urn:schemas-microsoft-com:vml" Requires="v">
                <p:oleObj spid="_x0000_s12415" name="think-cell Slide" r:id="rId15" imgW="395" imgH="396" progId="TCLayout.ActiveDocument.1">
                  <p:embed/>
                </p:oleObj>
              </mc:Choice>
              <mc:Fallback>
                <p:oleObj name="think-cell Slide" r:id="rId15" imgW="395" imgH="396" progId="TCLayout.ActiveDocument.1">
                  <p:embed/>
                  <p:pic>
                    <p:nvPicPr>
                      <p:cNvPr id="8" name="think-cell data - do not delete" hidden="1">
                        <a:extLst>
                          <a:ext uri="{FF2B5EF4-FFF2-40B4-BE49-F238E27FC236}">
                            <a16:creationId xmlns:a16="http://schemas.microsoft.com/office/drawing/2014/main" id="{4F1F860D-2FE9-45B0-B585-3D451460ADFE}"/>
                          </a:ext>
                        </a:extLst>
                      </p:cNvPr>
                      <p:cNvPicPr/>
                      <p:nvPr/>
                    </p:nvPicPr>
                    <p:blipFill>
                      <a:blip r:embed="rId16"/>
                      <a:stretch>
                        <a:fillRect/>
                      </a:stretch>
                    </p:blipFill>
                    <p:spPr>
                      <a:xfrm>
                        <a:off x="1588" y="1290"/>
                        <a:ext cx="1588" cy="1290"/>
                      </a:xfrm>
                      <a:prstGeom prst="rect">
                        <a:avLst/>
                      </a:prstGeom>
                    </p:spPr>
                  </p:pic>
                </p:oleObj>
              </mc:Fallback>
            </mc:AlternateContent>
          </a:graphicData>
        </a:graphic>
      </p:graphicFrame>
    </p:spTree>
    <p:extLst>
      <p:ext uri="{BB962C8B-B14F-4D97-AF65-F5344CB8AC3E}">
        <p14:creationId xmlns:p14="http://schemas.microsoft.com/office/powerpoint/2010/main" val="218744215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Layout" Target="../slideLayouts/slideLayout1.xml"/><Relationship Id="rId5" Type="http://schemas.openxmlformats.org/officeDocument/2006/relationships/tags" Target="../tags/tag6.xml"/><Relationship Id="rId10" Type="http://schemas.microsoft.com/office/2007/relationships/hdphoto" Target="../media/hdphoto1.wdp"/><Relationship Id="rId4" Type="http://schemas.openxmlformats.org/officeDocument/2006/relationships/tags" Target="../tags/tag5.xml"/><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tags" Target="../tags/tag459.xml"/><Relationship Id="rId7" Type="http://schemas.openxmlformats.org/officeDocument/2006/relationships/image" Target="../media/image1.emf"/><Relationship Id="rId2" Type="http://schemas.openxmlformats.org/officeDocument/2006/relationships/tags" Target="../tags/tag45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Layout" Target="../slideLayouts/slideLayout6.xml"/><Relationship Id="rId4" Type="http://schemas.openxmlformats.org/officeDocument/2006/relationships/tags" Target="../tags/tag460.xml"/></Relationships>
</file>

<file path=ppt/slides/_rels/slide2.xml.rels><?xml version="1.0" encoding="UTF-8" standalone="yes"?>
<Relationships xmlns="http://schemas.openxmlformats.org/package/2006/relationships"><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tags" Target="../tags/tag31.xml"/><Relationship Id="rId21" Type="http://schemas.openxmlformats.org/officeDocument/2006/relationships/tags" Target="../tags/tag26.xml"/><Relationship Id="rId34" Type="http://schemas.openxmlformats.org/officeDocument/2006/relationships/image" Target="../media/image1.emf"/><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tags" Target="../tags/tag30.xml"/><Relationship Id="rId33" Type="http://schemas.openxmlformats.org/officeDocument/2006/relationships/oleObject" Target="../embeddings/oleObject3.bin"/><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29" Type="http://schemas.openxmlformats.org/officeDocument/2006/relationships/tags" Target="../tags/tag34.xml"/><Relationship Id="rId1" Type="http://schemas.openxmlformats.org/officeDocument/2006/relationships/vmlDrawing" Target="../drawings/vmlDrawing3.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tags" Target="../tags/tag29.xml"/><Relationship Id="rId32" Type="http://schemas.openxmlformats.org/officeDocument/2006/relationships/slideLayout" Target="../slideLayouts/slideLayout6.xml"/><Relationship Id="rId37" Type="http://schemas.openxmlformats.org/officeDocument/2006/relationships/image" Target="../media/image3.png"/><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tags" Target="../tags/tag33.xml"/><Relationship Id="rId36" Type="http://schemas.openxmlformats.org/officeDocument/2006/relationships/chart" Target="../charts/chart2.xml"/><Relationship Id="rId10" Type="http://schemas.openxmlformats.org/officeDocument/2006/relationships/tags" Target="../tags/tag15.xml"/><Relationship Id="rId19" Type="http://schemas.openxmlformats.org/officeDocument/2006/relationships/tags" Target="../tags/tag24.xml"/><Relationship Id="rId31" Type="http://schemas.openxmlformats.org/officeDocument/2006/relationships/tags" Target="../tags/tag36.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tags" Target="../tags/tag32.xml"/><Relationship Id="rId30" Type="http://schemas.openxmlformats.org/officeDocument/2006/relationships/tags" Target="../tags/tag35.xml"/><Relationship Id="rId35" Type="http://schemas.openxmlformats.org/officeDocument/2006/relationships/chart" Target="../charts/chart1.xml"/><Relationship Id="rId8" Type="http://schemas.openxmlformats.org/officeDocument/2006/relationships/tags" Target="../tags/tag13.xml"/><Relationship Id="rId3" Type="http://schemas.openxmlformats.org/officeDocument/2006/relationships/tags" Target="../tags/tag8.xml"/></Relationships>
</file>

<file path=ppt/slides/_rels/slide3.xml.rels><?xml version="1.0" encoding="UTF-8" standalone="yes"?>
<Relationships xmlns="http://schemas.openxmlformats.org/package/2006/relationships"><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9" Type="http://schemas.openxmlformats.org/officeDocument/2006/relationships/tags" Target="../tags/tag74.xml"/><Relationship Id="rId21" Type="http://schemas.openxmlformats.org/officeDocument/2006/relationships/tags" Target="../tags/tag56.xml"/><Relationship Id="rId34" Type="http://schemas.openxmlformats.org/officeDocument/2006/relationships/tags" Target="../tags/tag69.xml"/><Relationship Id="rId42" Type="http://schemas.openxmlformats.org/officeDocument/2006/relationships/tags" Target="../tags/tag77.xml"/><Relationship Id="rId47" Type="http://schemas.openxmlformats.org/officeDocument/2006/relationships/tags" Target="../tags/tag82.xml"/><Relationship Id="rId50" Type="http://schemas.openxmlformats.org/officeDocument/2006/relationships/tags" Target="../tags/tag85.xml"/><Relationship Id="rId55" Type="http://schemas.openxmlformats.org/officeDocument/2006/relationships/tags" Target="../tags/tag90.xml"/><Relationship Id="rId63" Type="http://schemas.openxmlformats.org/officeDocument/2006/relationships/chart" Target="../charts/chart5.xml"/><Relationship Id="rId7" Type="http://schemas.openxmlformats.org/officeDocument/2006/relationships/tags" Target="../tags/tag42.xml"/><Relationship Id="rId2" Type="http://schemas.openxmlformats.org/officeDocument/2006/relationships/tags" Target="../tags/tag37.xml"/><Relationship Id="rId16" Type="http://schemas.openxmlformats.org/officeDocument/2006/relationships/tags" Target="../tags/tag51.xml"/><Relationship Id="rId29" Type="http://schemas.openxmlformats.org/officeDocument/2006/relationships/tags" Target="../tags/tag64.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tags" Target="../tags/tag67.xml"/><Relationship Id="rId37" Type="http://schemas.openxmlformats.org/officeDocument/2006/relationships/tags" Target="../tags/tag72.xml"/><Relationship Id="rId40" Type="http://schemas.openxmlformats.org/officeDocument/2006/relationships/tags" Target="../tags/tag75.xml"/><Relationship Id="rId45" Type="http://schemas.openxmlformats.org/officeDocument/2006/relationships/tags" Target="../tags/tag80.xml"/><Relationship Id="rId53" Type="http://schemas.openxmlformats.org/officeDocument/2006/relationships/tags" Target="../tags/tag88.xml"/><Relationship Id="rId58" Type="http://schemas.openxmlformats.org/officeDocument/2006/relationships/slideLayout" Target="../slideLayouts/slideLayout6.xml"/><Relationship Id="rId5" Type="http://schemas.openxmlformats.org/officeDocument/2006/relationships/tags" Target="../tags/tag40.xml"/><Relationship Id="rId61" Type="http://schemas.openxmlformats.org/officeDocument/2006/relationships/chart" Target="../charts/chart3.xml"/><Relationship Id="rId19" Type="http://schemas.openxmlformats.org/officeDocument/2006/relationships/tags" Target="../tags/tag5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tags" Target="../tags/tag65.xml"/><Relationship Id="rId35" Type="http://schemas.openxmlformats.org/officeDocument/2006/relationships/tags" Target="../tags/tag70.xml"/><Relationship Id="rId43" Type="http://schemas.openxmlformats.org/officeDocument/2006/relationships/tags" Target="../tags/tag78.xml"/><Relationship Id="rId48" Type="http://schemas.openxmlformats.org/officeDocument/2006/relationships/tags" Target="../tags/tag83.xml"/><Relationship Id="rId56" Type="http://schemas.openxmlformats.org/officeDocument/2006/relationships/tags" Target="../tags/tag91.xml"/><Relationship Id="rId8" Type="http://schemas.openxmlformats.org/officeDocument/2006/relationships/tags" Target="../tags/tag43.xml"/><Relationship Id="rId51" Type="http://schemas.openxmlformats.org/officeDocument/2006/relationships/tags" Target="../tags/tag86.xml"/><Relationship Id="rId3" Type="http://schemas.openxmlformats.org/officeDocument/2006/relationships/tags" Target="../tags/tag38.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tags" Target="../tags/tag68.xml"/><Relationship Id="rId38" Type="http://schemas.openxmlformats.org/officeDocument/2006/relationships/tags" Target="../tags/tag73.xml"/><Relationship Id="rId46" Type="http://schemas.openxmlformats.org/officeDocument/2006/relationships/tags" Target="../tags/tag81.xml"/><Relationship Id="rId59" Type="http://schemas.openxmlformats.org/officeDocument/2006/relationships/oleObject" Target="../embeddings/oleObject4.bin"/><Relationship Id="rId20" Type="http://schemas.openxmlformats.org/officeDocument/2006/relationships/tags" Target="../tags/tag55.xml"/><Relationship Id="rId41" Type="http://schemas.openxmlformats.org/officeDocument/2006/relationships/tags" Target="../tags/tag76.xml"/><Relationship Id="rId54" Type="http://schemas.openxmlformats.org/officeDocument/2006/relationships/tags" Target="../tags/tag89.xml"/><Relationship Id="rId62" Type="http://schemas.openxmlformats.org/officeDocument/2006/relationships/chart" Target="../charts/chart4.xml"/><Relationship Id="rId1" Type="http://schemas.openxmlformats.org/officeDocument/2006/relationships/vmlDrawing" Target="../drawings/vmlDrawing4.vml"/><Relationship Id="rId6" Type="http://schemas.openxmlformats.org/officeDocument/2006/relationships/tags" Target="../tags/tag41.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36" Type="http://schemas.openxmlformats.org/officeDocument/2006/relationships/tags" Target="../tags/tag71.xml"/><Relationship Id="rId49" Type="http://schemas.openxmlformats.org/officeDocument/2006/relationships/tags" Target="../tags/tag84.xml"/><Relationship Id="rId57" Type="http://schemas.openxmlformats.org/officeDocument/2006/relationships/tags" Target="../tags/tag92.xml"/><Relationship Id="rId10" Type="http://schemas.openxmlformats.org/officeDocument/2006/relationships/tags" Target="../tags/tag45.xml"/><Relationship Id="rId31" Type="http://schemas.openxmlformats.org/officeDocument/2006/relationships/tags" Target="../tags/tag66.xml"/><Relationship Id="rId44" Type="http://schemas.openxmlformats.org/officeDocument/2006/relationships/tags" Target="../tags/tag79.xml"/><Relationship Id="rId52" Type="http://schemas.openxmlformats.org/officeDocument/2006/relationships/tags" Target="../tags/tag87.xml"/><Relationship Id="rId60" Type="http://schemas.openxmlformats.org/officeDocument/2006/relationships/image" Target="../media/image1.emf"/><Relationship Id="rId4" Type="http://schemas.openxmlformats.org/officeDocument/2006/relationships/tags" Target="../tags/tag39.xml"/><Relationship Id="rId9" Type="http://schemas.openxmlformats.org/officeDocument/2006/relationships/tags" Target="../tags/tag44.xml"/></Relationships>
</file>

<file path=ppt/slides/_rels/slide4.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18" Type="http://schemas.openxmlformats.org/officeDocument/2006/relationships/slideLayout" Target="../slideLayouts/slideLayout6.xml"/><Relationship Id="rId3" Type="http://schemas.openxmlformats.org/officeDocument/2006/relationships/tags" Target="../tags/tag94.xml"/><Relationship Id="rId21" Type="http://schemas.openxmlformats.org/officeDocument/2006/relationships/chart" Target="../charts/chart6.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image" Target="../media/image1.emf"/><Relationship Id="rId1" Type="http://schemas.openxmlformats.org/officeDocument/2006/relationships/vmlDrawing" Target="../drawings/vmlDrawing5.vml"/><Relationship Id="rId6" Type="http://schemas.openxmlformats.org/officeDocument/2006/relationships/tags" Target="../tags/tag97.xml"/><Relationship Id="rId11" Type="http://schemas.openxmlformats.org/officeDocument/2006/relationships/tags" Target="../tags/tag102.xml"/><Relationship Id="rId5" Type="http://schemas.openxmlformats.org/officeDocument/2006/relationships/tags" Target="../tags/tag96.xml"/><Relationship Id="rId15" Type="http://schemas.openxmlformats.org/officeDocument/2006/relationships/tags" Target="../tags/tag106.xml"/><Relationship Id="rId10" Type="http://schemas.openxmlformats.org/officeDocument/2006/relationships/tags" Target="../tags/tag101.xml"/><Relationship Id="rId19" Type="http://schemas.openxmlformats.org/officeDocument/2006/relationships/oleObject" Target="../embeddings/oleObject5.bin"/><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s>
</file>

<file path=ppt/slides/_rels/slide5.xml.rels><?xml version="1.0" encoding="UTF-8" standalone="yes"?>
<Relationships xmlns="http://schemas.openxmlformats.org/package/2006/relationships"><Relationship Id="rId117" Type="http://schemas.openxmlformats.org/officeDocument/2006/relationships/tags" Target="../tags/tag224.xml"/><Relationship Id="rId21" Type="http://schemas.openxmlformats.org/officeDocument/2006/relationships/tags" Target="../tags/tag128.xml"/><Relationship Id="rId42" Type="http://schemas.openxmlformats.org/officeDocument/2006/relationships/tags" Target="../tags/tag149.xml"/><Relationship Id="rId63" Type="http://schemas.openxmlformats.org/officeDocument/2006/relationships/tags" Target="../tags/tag170.xml"/><Relationship Id="rId84" Type="http://schemas.openxmlformats.org/officeDocument/2006/relationships/tags" Target="../tags/tag191.xml"/><Relationship Id="rId138" Type="http://schemas.openxmlformats.org/officeDocument/2006/relationships/tags" Target="../tags/tag245.xml"/><Relationship Id="rId107" Type="http://schemas.openxmlformats.org/officeDocument/2006/relationships/tags" Target="../tags/tag214.xml"/><Relationship Id="rId11" Type="http://schemas.openxmlformats.org/officeDocument/2006/relationships/tags" Target="../tags/tag118.xml"/><Relationship Id="rId32" Type="http://schemas.openxmlformats.org/officeDocument/2006/relationships/tags" Target="../tags/tag139.xml"/><Relationship Id="rId53" Type="http://schemas.openxmlformats.org/officeDocument/2006/relationships/tags" Target="../tags/tag160.xml"/><Relationship Id="rId74" Type="http://schemas.openxmlformats.org/officeDocument/2006/relationships/tags" Target="../tags/tag181.xml"/><Relationship Id="rId128" Type="http://schemas.openxmlformats.org/officeDocument/2006/relationships/tags" Target="../tags/tag235.xml"/><Relationship Id="rId5" Type="http://schemas.openxmlformats.org/officeDocument/2006/relationships/tags" Target="../tags/tag112.xml"/><Relationship Id="rId90" Type="http://schemas.openxmlformats.org/officeDocument/2006/relationships/tags" Target="../tags/tag197.xml"/><Relationship Id="rId95" Type="http://schemas.openxmlformats.org/officeDocument/2006/relationships/tags" Target="../tags/tag202.xml"/><Relationship Id="rId22" Type="http://schemas.openxmlformats.org/officeDocument/2006/relationships/tags" Target="../tags/tag129.xml"/><Relationship Id="rId27" Type="http://schemas.openxmlformats.org/officeDocument/2006/relationships/tags" Target="../tags/tag134.xml"/><Relationship Id="rId43" Type="http://schemas.openxmlformats.org/officeDocument/2006/relationships/tags" Target="../tags/tag150.xml"/><Relationship Id="rId48" Type="http://schemas.openxmlformats.org/officeDocument/2006/relationships/tags" Target="../tags/tag155.xml"/><Relationship Id="rId64" Type="http://schemas.openxmlformats.org/officeDocument/2006/relationships/tags" Target="../tags/tag171.xml"/><Relationship Id="rId69" Type="http://schemas.openxmlformats.org/officeDocument/2006/relationships/tags" Target="../tags/tag176.xml"/><Relationship Id="rId113" Type="http://schemas.openxmlformats.org/officeDocument/2006/relationships/tags" Target="../tags/tag220.xml"/><Relationship Id="rId118" Type="http://schemas.openxmlformats.org/officeDocument/2006/relationships/tags" Target="../tags/tag225.xml"/><Relationship Id="rId134" Type="http://schemas.openxmlformats.org/officeDocument/2006/relationships/tags" Target="../tags/tag241.xml"/><Relationship Id="rId139" Type="http://schemas.openxmlformats.org/officeDocument/2006/relationships/slideLayout" Target="../slideLayouts/slideLayout6.xml"/><Relationship Id="rId80" Type="http://schemas.openxmlformats.org/officeDocument/2006/relationships/tags" Target="../tags/tag187.xml"/><Relationship Id="rId85" Type="http://schemas.openxmlformats.org/officeDocument/2006/relationships/tags" Target="../tags/tag192.xml"/><Relationship Id="rId12" Type="http://schemas.openxmlformats.org/officeDocument/2006/relationships/tags" Target="../tags/tag119.xml"/><Relationship Id="rId17" Type="http://schemas.openxmlformats.org/officeDocument/2006/relationships/tags" Target="../tags/tag124.xml"/><Relationship Id="rId33" Type="http://schemas.openxmlformats.org/officeDocument/2006/relationships/tags" Target="../tags/tag140.xml"/><Relationship Id="rId38" Type="http://schemas.openxmlformats.org/officeDocument/2006/relationships/tags" Target="../tags/tag145.xml"/><Relationship Id="rId59" Type="http://schemas.openxmlformats.org/officeDocument/2006/relationships/tags" Target="../tags/tag166.xml"/><Relationship Id="rId103" Type="http://schemas.openxmlformats.org/officeDocument/2006/relationships/tags" Target="../tags/tag210.xml"/><Relationship Id="rId108" Type="http://schemas.openxmlformats.org/officeDocument/2006/relationships/tags" Target="../tags/tag215.xml"/><Relationship Id="rId124" Type="http://schemas.openxmlformats.org/officeDocument/2006/relationships/tags" Target="../tags/tag231.xml"/><Relationship Id="rId129" Type="http://schemas.openxmlformats.org/officeDocument/2006/relationships/tags" Target="../tags/tag236.xml"/><Relationship Id="rId54" Type="http://schemas.openxmlformats.org/officeDocument/2006/relationships/tags" Target="../tags/tag161.xml"/><Relationship Id="rId70" Type="http://schemas.openxmlformats.org/officeDocument/2006/relationships/tags" Target="../tags/tag177.xml"/><Relationship Id="rId75" Type="http://schemas.openxmlformats.org/officeDocument/2006/relationships/tags" Target="../tags/tag182.xml"/><Relationship Id="rId91" Type="http://schemas.openxmlformats.org/officeDocument/2006/relationships/tags" Target="../tags/tag198.xml"/><Relationship Id="rId96" Type="http://schemas.openxmlformats.org/officeDocument/2006/relationships/tags" Target="../tags/tag203.xml"/><Relationship Id="rId140" Type="http://schemas.openxmlformats.org/officeDocument/2006/relationships/oleObject" Target="../embeddings/oleObject6.bin"/><Relationship Id="rId145" Type="http://schemas.openxmlformats.org/officeDocument/2006/relationships/chart" Target="../charts/chart10.xml"/><Relationship Id="rId1" Type="http://schemas.openxmlformats.org/officeDocument/2006/relationships/vmlDrawing" Target="../drawings/vmlDrawing6.vml"/><Relationship Id="rId6" Type="http://schemas.openxmlformats.org/officeDocument/2006/relationships/tags" Target="../tags/tag113.xml"/><Relationship Id="rId23" Type="http://schemas.openxmlformats.org/officeDocument/2006/relationships/tags" Target="../tags/tag130.xml"/><Relationship Id="rId28" Type="http://schemas.openxmlformats.org/officeDocument/2006/relationships/tags" Target="../tags/tag135.xml"/><Relationship Id="rId49" Type="http://schemas.openxmlformats.org/officeDocument/2006/relationships/tags" Target="../tags/tag156.xml"/><Relationship Id="rId114" Type="http://schemas.openxmlformats.org/officeDocument/2006/relationships/tags" Target="../tags/tag221.xml"/><Relationship Id="rId119" Type="http://schemas.openxmlformats.org/officeDocument/2006/relationships/tags" Target="../tags/tag226.xml"/><Relationship Id="rId44" Type="http://schemas.openxmlformats.org/officeDocument/2006/relationships/tags" Target="../tags/tag151.xml"/><Relationship Id="rId60" Type="http://schemas.openxmlformats.org/officeDocument/2006/relationships/tags" Target="../tags/tag167.xml"/><Relationship Id="rId65" Type="http://schemas.openxmlformats.org/officeDocument/2006/relationships/tags" Target="../tags/tag172.xml"/><Relationship Id="rId81" Type="http://schemas.openxmlformats.org/officeDocument/2006/relationships/tags" Target="../tags/tag188.xml"/><Relationship Id="rId86" Type="http://schemas.openxmlformats.org/officeDocument/2006/relationships/tags" Target="../tags/tag193.xml"/><Relationship Id="rId130" Type="http://schemas.openxmlformats.org/officeDocument/2006/relationships/tags" Target="../tags/tag237.xml"/><Relationship Id="rId135" Type="http://schemas.openxmlformats.org/officeDocument/2006/relationships/tags" Target="../tags/tag242.xml"/><Relationship Id="rId13" Type="http://schemas.openxmlformats.org/officeDocument/2006/relationships/tags" Target="../tags/tag120.xml"/><Relationship Id="rId18" Type="http://schemas.openxmlformats.org/officeDocument/2006/relationships/tags" Target="../tags/tag125.xml"/><Relationship Id="rId39" Type="http://schemas.openxmlformats.org/officeDocument/2006/relationships/tags" Target="../tags/tag146.xml"/><Relationship Id="rId109" Type="http://schemas.openxmlformats.org/officeDocument/2006/relationships/tags" Target="../tags/tag216.xml"/><Relationship Id="rId34" Type="http://schemas.openxmlformats.org/officeDocument/2006/relationships/tags" Target="../tags/tag141.xml"/><Relationship Id="rId50" Type="http://schemas.openxmlformats.org/officeDocument/2006/relationships/tags" Target="../tags/tag157.xml"/><Relationship Id="rId55" Type="http://schemas.openxmlformats.org/officeDocument/2006/relationships/tags" Target="../tags/tag162.xml"/><Relationship Id="rId76" Type="http://schemas.openxmlformats.org/officeDocument/2006/relationships/tags" Target="../tags/tag183.xml"/><Relationship Id="rId97" Type="http://schemas.openxmlformats.org/officeDocument/2006/relationships/tags" Target="../tags/tag204.xml"/><Relationship Id="rId104" Type="http://schemas.openxmlformats.org/officeDocument/2006/relationships/tags" Target="../tags/tag211.xml"/><Relationship Id="rId120" Type="http://schemas.openxmlformats.org/officeDocument/2006/relationships/tags" Target="../tags/tag227.xml"/><Relationship Id="rId125" Type="http://schemas.openxmlformats.org/officeDocument/2006/relationships/tags" Target="../tags/tag232.xml"/><Relationship Id="rId141" Type="http://schemas.openxmlformats.org/officeDocument/2006/relationships/image" Target="../media/image1.emf"/><Relationship Id="rId7" Type="http://schemas.openxmlformats.org/officeDocument/2006/relationships/tags" Target="../tags/tag114.xml"/><Relationship Id="rId71" Type="http://schemas.openxmlformats.org/officeDocument/2006/relationships/tags" Target="../tags/tag178.xml"/><Relationship Id="rId92" Type="http://schemas.openxmlformats.org/officeDocument/2006/relationships/tags" Target="../tags/tag199.xml"/><Relationship Id="rId2" Type="http://schemas.openxmlformats.org/officeDocument/2006/relationships/tags" Target="../tags/tag109.xml"/><Relationship Id="rId29" Type="http://schemas.openxmlformats.org/officeDocument/2006/relationships/tags" Target="../tags/tag136.xml"/><Relationship Id="rId24" Type="http://schemas.openxmlformats.org/officeDocument/2006/relationships/tags" Target="../tags/tag131.xml"/><Relationship Id="rId40" Type="http://schemas.openxmlformats.org/officeDocument/2006/relationships/tags" Target="../tags/tag147.xml"/><Relationship Id="rId45" Type="http://schemas.openxmlformats.org/officeDocument/2006/relationships/tags" Target="../tags/tag152.xml"/><Relationship Id="rId66" Type="http://schemas.openxmlformats.org/officeDocument/2006/relationships/tags" Target="../tags/tag173.xml"/><Relationship Id="rId87" Type="http://schemas.openxmlformats.org/officeDocument/2006/relationships/tags" Target="../tags/tag194.xml"/><Relationship Id="rId110" Type="http://schemas.openxmlformats.org/officeDocument/2006/relationships/tags" Target="../tags/tag217.xml"/><Relationship Id="rId115" Type="http://schemas.openxmlformats.org/officeDocument/2006/relationships/tags" Target="../tags/tag222.xml"/><Relationship Id="rId131" Type="http://schemas.openxmlformats.org/officeDocument/2006/relationships/tags" Target="../tags/tag238.xml"/><Relationship Id="rId136" Type="http://schemas.openxmlformats.org/officeDocument/2006/relationships/tags" Target="../tags/tag243.xml"/><Relationship Id="rId61" Type="http://schemas.openxmlformats.org/officeDocument/2006/relationships/tags" Target="../tags/tag168.xml"/><Relationship Id="rId82" Type="http://schemas.openxmlformats.org/officeDocument/2006/relationships/tags" Target="../tags/tag189.xml"/><Relationship Id="rId19" Type="http://schemas.openxmlformats.org/officeDocument/2006/relationships/tags" Target="../tags/tag126.xml"/><Relationship Id="rId14" Type="http://schemas.openxmlformats.org/officeDocument/2006/relationships/tags" Target="../tags/tag121.xml"/><Relationship Id="rId30" Type="http://schemas.openxmlformats.org/officeDocument/2006/relationships/tags" Target="../tags/tag137.xml"/><Relationship Id="rId35" Type="http://schemas.openxmlformats.org/officeDocument/2006/relationships/tags" Target="../tags/tag142.xml"/><Relationship Id="rId56" Type="http://schemas.openxmlformats.org/officeDocument/2006/relationships/tags" Target="../tags/tag163.xml"/><Relationship Id="rId77" Type="http://schemas.openxmlformats.org/officeDocument/2006/relationships/tags" Target="../tags/tag184.xml"/><Relationship Id="rId100" Type="http://schemas.openxmlformats.org/officeDocument/2006/relationships/tags" Target="../tags/tag207.xml"/><Relationship Id="rId105" Type="http://schemas.openxmlformats.org/officeDocument/2006/relationships/tags" Target="../tags/tag212.xml"/><Relationship Id="rId126" Type="http://schemas.openxmlformats.org/officeDocument/2006/relationships/tags" Target="../tags/tag233.xml"/><Relationship Id="rId8" Type="http://schemas.openxmlformats.org/officeDocument/2006/relationships/tags" Target="../tags/tag115.xml"/><Relationship Id="rId51" Type="http://schemas.openxmlformats.org/officeDocument/2006/relationships/tags" Target="../tags/tag158.xml"/><Relationship Id="rId72" Type="http://schemas.openxmlformats.org/officeDocument/2006/relationships/tags" Target="../tags/tag179.xml"/><Relationship Id="rId93" Type="http://schemas.openxmlformats.org/officeDocument/2006/relationships/tags" Target="../tags/tag200.xml"/><Relationship Id="rId98" Type="http://schemas.openxmlformats.org/officeDocument/2006/relationships/tags" Target="../tags/tag205.xml"/><Relationship Id="rId121" Type="http://schemas.openxmlformats.org/officeDocument/2006/relationships/tags" Target="../tags/tag228.xml"/><Relationship Id="rId142" Type="http://schemas.openxmlformats.org/officeDocument/2006/relationships/chart" Target="../charts/chart7.xml"/><Relationship Id="rId3" Type="http://schemas.openxmlformats.org/officeDocument/2006/relationships/tags" Target="../tags/tag110.xml"/><Relationship Id="rId25" Type="http://schemas.openxmlformats.org/officeDocument/2006/relationships/tags" Target="../tags/tag132.xml"/><Relationship Id="rId46" Type="http://schemas.openxmlformats.org/officeDocument/2006/relationships/tags" Target="../tags/tag153.xml"/><Relationship Id="rId67" Type="http://schemas.openxmlformats.org/officeDocument/2006/relationships/tags" Target="../tags/tag174.xml"/><Relationship Id="rId116" Type="http://schemas.openxmlformats.org/officeDocument/2006/relationships/tags" Target="../tags/tag223.xml"/><Relationship Id="rId137" Type="http://schemas.openxmlformats.org/officeDocument/2006/relationships/tags" Target="../tags/tag244.xml"/><Relationship Id="rId20" Type="http://schemas.openxmlformats.org/officeDocument/2006/relationships/tags" Target="../tags/tag127.xml"/><Relationship Id="rId41" Type="http://schemas.openxmlformats.org/officeDocument/2006/relationships/tags" Target="../tags/tag148.xml"/><Relationship Id="rId62" Type="http://schemas.openxmlformats.org/officeDocument/2006/relationships/tags" Target="../tags/tag169.xml"/><Relationship Id="rId83" Type="http://schemas.openxmlformats.org/officeDocument/2006/relationships/tags" Target="../tags/tag190.xml"/><Relationship Id="rId88" Type="http://schemas.openxmlformats.org/officeDocument/2006/relationships/tags" Target="../tags/tag195.xml"/><Relationship Id="rId111" Type="http://schemas.openxmlformats.org/officeDocument/2006/relationships/tags" Target="../tags/tag218.xml"/><Relationship Id="rId132" Type="http://schemas.openxmlformats.org/officeDocument/2006/relationships/tags" Target="../tags/tag239.xml"/><Relationship Id="rId15" Type="http://schemas.openxmlformats.org/officeDocument/2006/relationships/tags" Target="../tags/tag122.xml"/><Relationship Id="rId36" Type="http://schemas.openxmlformats.org/officeDocument/2006/relationships/tags" Target="../tags/tag143.xml"/><Relationship Id="rId57" Type="http://schemas.openxmlformats.org/officeDocument/2006/relationships/tags" Target="../tags/tag164.xml"/><Relationship Id="rId106" Type="http://schemas.openxmlformats.org/officeDocument/2006/relationships/tags" Target="../tags/tag213.xml"/><Relationship Id="rId127" Type="http://schemas.openxmlformats.org/officeDocument/2006/relationships/tags" Target="../tags/tag234.xml"/><Relationship Id="rId10" Type="http://schemas.openxmlformats.org/officeDocument/2006/relationships/tags" Target="../tags/tag117.xml"/><Relationship Id="rId31" Type="http://schemas.openxmlformats.org/officeDocument/2006/relationships/tags" Target="../tags/tag138.xml"/><Relationship Id="rId52" Type="http://schemas.openxmlformats.org/officeDocument/2006/relationships/tags" Target="../tags/tag159.xml"/><Relationship Id="rId73" Type="http://schemas.openxmlformats.org/officeDocument/2006/relationships/tags" Target="../tags/tag180.xml"/><Relationship Id="rId78" Type="http://schemas.openxmlformats.org/officeDocument/2006/relationships/tags" Target="../tags/tag185.xml"/><Relationship Id="rId94" Type="http://schemas.openxmlformats.org/officeDocument/2006/relationships/tags" Target="../tags/tag201.xml"/><Relationship Id="rId99" Type="http://schemas.openxmlformats.org/officeDocument/2006/relationships/tags" Target="../tags/tag206.xml"/><Relationship Id="rId101" Type="http://schemas.openxmlformats.org/officeDocument/2006/relationships/tags" Target="../tags/tag208.xml"/><Relationship Id="rId122" Type="http://schemas.openxmlformats.org/officeDocument/2006/relationships/tags" Target="../tags/tag229.xml"/><Relationship Id="rId143" Type="http://schemas.openxmlformats.org/officeDocument/2006/relationships/chart" Target="../charts/chart8.xml"/><Relationship Id="rId4" Type="http://schemas.openxmlformats.org/officeDocument/2006/relationships/tags" Target="../tags/tag111.xml"/><Relationship Id="rId9" Type="http://schemas.openxmlformats.org/officeDocument/2006/relationships/tags" Target="../tags/tag116.xml"/><Relationship Id="rId26" Type="http://schemas.openxmlformats.org/officeDocument/2006/relationships/tags" Target="../tags/tag133.xml"/><Relationship Id="rId47" Type="http://schemas.openxmlformats.org/officeDocument/2006/relationships/tags" Target="../tags/tag154.xml"/><Relationship Id="rId68" Type="http://schemas.openxmlformats.org/officeDocument/2006/relationships/tags" Target="../tags/tag175.xml"/><Relationship Id="rId89" Type="http://schemas.openxmlformats.org/officeDocument/2006/relationships/tags" Target="../tags/tag196.xml"/><Relationship Id="rId112" Type="http://schemas.openxmlformats.org/officeDocument/2006/relationships/tags" Target="../tags/tag219.xml"/><Relationship Id="rId133" Type="http://schemas.openxmlformats.org/officeDocument/2006/relationships/tags" Target="../tags/tag240.xml"/><Relationship Id="rId16" Type="http://schemas.openxmlformats.org/officeDocument/2006/relationships/tags" Target="../tags/tag123.xml"/><Relationship Id="rId37" Type="http://schemas.openxmlformats.org/officeDocument/2006/relationships/tags" Target="../tags/tag144.xml"/><Relationship Id="rId58" Type="http://schemas.openxmlformats.org/officeDocument/2006/relationships/tags" Target="../tags/tag165.xml"/><Relationship Id="rId79" Type="http://schemas.openxmlformats.org/officeDocument/2006/relationships/tags" Target="../tags/tag186.xml"/><Relationship Id="rId102" Type="http://schemas.openxmlformats.org/officeDocument/2006/relationships/tags" Target="../tags/tag209.xml"/><Relationship Id="rId123" Type="http://schemas.openxmlformats.org/officeDocument/2006/relationships/tags" Target="../tags/tag230.xml"/><Relationship Id="rId144" Type="http://schemas.openxmlformats.org/officeDocument/2006/relationships/chart" Target="../charts/chart9.xml"/></Relationships>
</file>

<file path=ppt/slides/_rels/slide6.xml.rels><?xml version="1.0" encoding="UTF-8" standalone="yes"?>
<Relationships xmlns="http://schemas.openxmlformats.org/package/2006/relationships"><Relationship Id="rId26" Type="http://schemas.openxmlformats.org/officeDocument/2006/relationships/tags" Target="../tags/tag270.xml"/><Relationship Id="rId21" Type="http://schemas.openxmlformats.org/officeDocument/2006/relationships/tags" Target="../tags/tag265.xml"/><Relationship Id="rId42" Type="http://schemas.openxmlformats.org/officeDocument/2006/relationships/tags" Target="../tags/tag286.xml"/><Relationship Id="rId47" Type="http://schemas.openxmlformats.org/officeDocument/2006/relationships/tags" Target="../tags/tag291.xml"/><Relationship Id="rId63" Type="http://schemas.openxmlformats.org/officeDocument/2006/relationships/tags" Target="../tags/tag307.xml"/><Relationship Id="rId68" Type="http://schemas.openxmlformats.org/officeDocument/2006/relationships/tags" Target="../tags/tag312.xml"/><Relationship Id="rId84" Type="http://schemas.openxmlformats.org/officeDocument/2006/relationships/chart" Target="../charts/chart11.xml"/><Relationship Id="rId16" Type="http://schemas.openxmlformats.org/officeDocument/2006/relationships/tags" Target="../tags/tag260.xml"/><Relationship Id="rId11" Type="http://schemas.openxmlformats.org/officeDocument/2006/relationships/tags" Target="../tags/tag255.xml"/><Relationship Id="rId32" Type="http://schemas.openxmlformats.org/officeDocument/2006/relationships/tags" Target="../tags/tag276.xml"/><Relationship Id="rId37" Type="http://schemas.openxmlformats.org/officeDocument/2006/relationships/tags" Target="../tags/tag281.xml"/><Relationship Id="rId53" Type="http://schemas.openxmlformats.org/officeDocument/2006/relationships/tags" Target="../tags/tag297.xml"/><Relationship Id="rId58" Type="http://schemas.openxmlformats.org/officeDocument/2006/relationships/tags" Target="../tags/tag302.xml"/><Relationship Id="rId74" Type="http://schemas.openxmlformats.org/officeDocument/2006/relationships/tags" Target="../tags/tag318.xml"/><Relationship Id="rId79" Type="http://schemas.openxmlformats.org/officeDocument/2006/relationships/tags" Target="../tags/tag323.xml"/><Relationship Id="rId5" Type="http://schemas.openxmlformats.org/officeDocument/2006/relationships/tags" Target="../tags/tag249.xml"/><Relationship Id="rId19" Type="http://schemas.openxmlformats.org/officeDocument/2006/relationships/tags" Target="../tags/tag26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tags" Target="../tags/tag271.xml"/><Relationship Id="rId30" Type="http://schemas.openxmlformats.org/officeDocument/2006/relationships/tags" Target="../tags/tag274.xml"/><Relationship Id="rId35" Type="http://schemas.openxmlformats.org/officeDocument/2006/relationships/tags" Target="../tags/tag279.xml"/><Relationship Id="rId43" Type="http://schemas.openxmlformats.org/officeDocument/2006/relationships/tags" Target="../tags/tag287.xml"/><Relationship Id="rId48" Type="http://schemas.openxmlformats.org/officeDocument/2006/relationships/tags" Target="../tags/tag292.xml"/><Relationship Id="rId56" Type="http://schemas.openxmlformats.org/officeDocument/2006/relationships/tags" Target="../tags/tag300.xml"/><Relationship Id="rId64" Type="http://schemas.openxmlformats.org/officeDocument/2006/relationships/tags" Target="../tags/tag308.xml"/><Relationship Id="rId69" Type="http://schemas.openxmlformats.org/officeDocument/2006/relationships/tags" Target="../tags/tag313.xml"/><Relationship Id="rId77" Type="http://schemas.openxmlformats.org/officeDocument/2006/relationships/tags" Target="../tags/tag321.xml"/><Relationship Id="rId8" Type="http://schemas.openxmlformats.org/officeDocument/2006/relationships/tags" Target="../tags/tag252.xml"/><Relationship Id="rId51" Type="http://schemas.openxmlformats.org/officeDocument/2006/relationships/tags" Target="../tags/tag295.xml"/><Relationship Id="rId72" Type="http://schemas.openxmlformats.org/officeDocument/2006/relationships/tags" Target="../tags/tag316.xml"/><Relationship Id="rId80" Type="http://schemas.openxmlformats.org/officeDocument/2006/relationships/tags" Target="../tags/tag324.xml"/><Relationship Id="rId85" Type="http://schemas.openxmlformats.org/officeDocument/2006/relationships/chart" Target="../charts/chart12.xml"/><Relationship Id="rId3" Type="http://schemas.openxmlformats.org/officeDocument/2006/relationships/tags" Target="../tags/tag247.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tags" Target="../tags/tag277.xml"/><Relationship Id="rId38" Type="http://schemas.openxmlformats.org/officeDocument/2006/relationships/tags" Target="../tags/tag282.xml"/><Relationship Id="rId46" Type="http://schemas.openxmlformats.org/officeDocument/2006/relationships/tags" Target="../tags/tag290.xml"/><Relationship Id="rId59" Type="http://schemas.openxmlformats.org/officeDocument/2006/relationships/tags" Target="../tags/tag303.xml"/><Relationship Id="rId67" Type="http://schemas.openxmlformats.org/officeDocument/2006/relationships/tags" Target="../tags/tag311.xml"/><Relationship Id="rId20" Type="http://schemas.openxmlformats.org/officeDocument/2006/relationships/tags" Target="../tags/tag264.xml"/><Relationship Id="rId41" Type="http://schemas.openxmlformats.org/officeDocument/2006/relationships/tags" Target="../tags/tag285.xml"/><Relationship Id="rId54" Type="http://schemas.openxmlformats.org/officeDocument/2006/relationships/tags" Target="../tags/tag298.xml"/><Relationship Id="rId62" Type="http://schemas.openxmlformats.org/officeDocument/2006/relationships/tags" Target="../tags/tag306.xml"/><Relationship Id="rId70" Type="http://schemas.openxmlformats.org/officeDocument/2006/relationships/tags" Target="../tags/tag314.xml"/><Relationship Id="rId75" Type="http://schemas.openxmlformats.org/officeDocument/2006/relationships/tags" Target="../tags/tag319.xml"/><Relationship Id="rId83" Type="http://schemas.openxmlformats.org/officeDocument/2006/relationships/image" Target="../media/image1.emf"/><Relationship Id="rId1" Type="http://schemas.openxmlformats.org/officeDocument/2006/relationships/vmlDrawing" Target="../drawings/vmlDrawing7.vml"/><Relationship Id="rId6" Type="http://schemas.openxmlformats.org/officeDocument/2006/relationships/tags" Target="../tags/tag250.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tags" Target="../tags/tag272.xml"/><Relationship Id="rId36" Type="http://schemas.openxmlformats.org/officeDocument/2006/relationships/tags" Target="../tags/tag280.xml"/><Relationship Id="rId49" Type="http://schemas.openxmlformats.org/officeDocument/2006/relationships/tags" Target="../tags/tag293.xml"/><Relationship Id="rId57" Type="http://schemas.openxmlformats.org/officeDocument/2006/relationships/tags" Target="../tags/tag301.xml"/><Relationship Id="rId10" Type="http://schemas.openxmlformats.org/officeDocument/2006/relationships/tags" Target="../tags/tag254.xml"/><Relationship Id="rId31" Type="http://schemas.openxmlformats.org/officeDocument/2006/relationships/tags" Target="../tags/tag275.xml"/><Relationship Id="rId44" Type="http://schemas.openxmlformats.org/officeDocument/2006/relationships/tags" Target="../tags/tag288.xml"/><Relationship Id="rId52" Type="http://schemas.openxmlformats.org/officeDocument/2006/relationships/tags" Target="../tags/tag296.xml"/><Relationship Id="rId60" Type="http://schemas.openxmlformats.org/officeDocument/2006/relationships/tags" Target="../tags/tag304.xml"/><Relationship Id="rId65" Type="http://schemas.openxmlformats.org/officeDocument/2006/relationships/tags" Target="../tags/tag309.xml"/><Relationship Id="rId73" Type="http://schemas.openxmlformats.org/officeDocument/2006/relationships/tags" Target="../tags/tag317.xml"/><Relationship Id="rId78" Type="http://schemas.openxmlformats.org/officeDocument/2006/relationships/tags" Target="../tags/tag322.xml"/><Relationship Id="rId81" Type="http://schemas.openxmlformats.org/officeDocument/2006/relationships/slideLayout" Target="../slideLayouts/slideLayout6.xml"/><Relationship Id="rId4" Type="http://schemas.openxmlformats.org/officeDocument/2006/relationships/tags" Target="../tags/tag248.xml"/><Relationship Id="rId9" Type="http://schemas.openxmlformats.org/officeDocument/2006/relationships/tags" Target="../tags/tag253.xml"/><Relationship Id="rId13" Type="http://schemas.openxmlformats.org/officeDocument/2006/relationships/tags" Target="../tags/tag257.xml"/><Relationship Id="rId18" Type="http://schemas.openxmlformats.org/officeDocument/2006/relationships/tags" Target="../tags/tag262.xml"/><Relationship Id="rId39" Type="http://schemas.openxmlformats.org/officeDocument/2006/relationships/tags" Target="../tags/tag283.xml"/><Relationship Id="rId34" Type="http://schemas.openxmlformats.org/officeDocument/2006/relationships/tags" Target="../tags/tag278.xml"/><Relationship Id="rId50" Type="http://schemas.openxmlformats.org/officeDocument/2006/relationships/tags" Target="../tags/tag294.xml"/><Relationship Id="rId55" Type="http://schemas.openxmlformats.org/officeDocument/2006/relationships/tags" Target="../tags/tag299.xml"/><Relationship Id="rId76" Type="http://schemas.openxmlformats.org/officeDocument/2006/relationships/tags" Target="../tags/tag320.xml"/><Relationship Id="rId7" Type="http://schemas.openxmlformats.org/officeDocument/2006/relationships/tags" Target="../tags/tag251.xml"/><Relationship Id="rId71" Type="http://schemas.openxmlformats.org/officeDocument/2006/relationships/tags" Target="../tags/tag315.xml"/><Relationship Id="rId2" Type="http://schemas.openxmlformats.org/officeDocument/2006/relationships/tags" Target="../tags/tag246.xml"/><Relationship Id="rId29" Type="http://schemas.openxmlformats.org/officeDocument/2006/relationships/tags" Target="../tags/tag273.xml"/><Relationship Id="rId24" Type="http://schemas.openxmlformats.org/officeDocument/2006/relationships/tags" Target="../tags/tag268.xml"/><Relationship Id="rId40" Type="http://schemas.openxmlformats.org/officeDocument/2006/relationships/tags" Target="../tags/tag284.xml"/><Relationship Id="rId45" Type="http://schemas.openxmlformats.org/officeDocument/2006/relationships/tags" Target="../tags/tag289.xml"/><Relationship Id="rId66" Type="http://schemas.openxmlformats.org/officeDocument/2006/relationships/tags" Target="../tags/tag310.xml"/><Relationship Id="rId61" Type="http://schemas.openxmlformats.org/officeDocument/2006/relationships/tags" Target="../tags/tag305.xml"/><Relationship Id="rId82"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26" Type="http://schemas.openxmlformats.org/officeDocument/2006/relationships/tags" Target="../tags/tag349.xml"/><Relationship Id="rId21" Type="http://schemas.openxmlformats.org/officeDocument/2006/relationships/tags" Target="../tags/tag344.xml"/><Relationship Id="rId34" Type="http://schemas.openxmlformats.org/officeDocument/2006/relationships/tags" Target="../tags/tag357.xml"/><Relationship Id="rId42" Type="http://schemas.openxmlformats.org/officeDocument/2006/relationships/tags" Target="../tags/tag365.xml"/><Relationship Id="rId47" Type="http://schemas.openxmlformats.org/officeDocument/2006/relationships/tags" Target="../tags/tag370.xml"/><Relationship Id="rId50" Type="http://schemas.openxmlformats.org/officeDocument/2006/relationships/tags" Target="../tags/tag373.xml"/><Relationship Id="rId55" Type="http://schemas.openxmlformats.org/officeDocument/2006/relationships/tags" Target="../tags/tag378.xml"/><Relationship Id="rId63" Type="http://schemas.openxmlformats.org/officeDocument/2006/relationships/image" Target="../media/image1.emf"/><Relationship Id="rId7" Type="http://schemas.openxmlformats.org/officeDocument/2006/relationships/tags" Target="../tags/tag330.xml"/><Relationship Id="rId2" Type="http://schemas.openxmlformats.org/officeDocument/2006/relationships/tags" Target="../tags/tag325.xml"/><Relationship Id="rId16" Type="http://schemas.openxmlformats.org/officeDocument/2006/relationships/tags" Target="../tags/tag339.xml"/><Relationship Id="rId29" Type="http://schemas.openxmlformats.org/officeDocument/2006/relationships/tags" Target="../tags/tag352.xml"/><Relationship Id="rId11" Type="http://schemas.openxmlformats.org/officeDocument/2006/relationships/tags" Target="../tags/tag334.xml"/><Relationship Id="rId24" Type="http://schemas.openxmlformats.org/officeDocument/2006/relationships/tags" Target="../tags/tag347.xml"/><Relationship Id="rId32" Type="http://schemas.openxmlformats.org/officeDocument/2006/relationships/tags" Target="../tags/tag355.xml"/><Relationship Id="rId37" Type="http://schemas.openxmlformats.org/officeDocument/2006/relationships/tags" Target="../tags/tag360.xml"/><Relationship Id="rId40" Type="http://schemas.openxmlformats.org/officeDocument/2006/relationships/tags" Target="../tags/tag363.xml"/><Relationship Id="rId45" Type="http://schemas.openxmlformats.org/officeDocument/2006/relationships/tags" Target="../tags/tag368.xml"/><Relationship Id="rId53" Type="http://schemas.openxmlformats.org/officeDocument/2006/relationships/tags" Target="../tags/tag376.xml"/><Relationship Id="rId58" Type="http://schemas.openxmlformats.org/officeDocument/2006/relationships/tags" Target="../tags/tag381.xml"/><Relationship Id="rId66" Type="http://schemas.openxmlformats.org/officeDocument/2006/relationships/chart" Target="../charts/chart15.xml"/><Relationship Id="rId5" Type="http://schemas.openxmlformats.org/officeDocument/2006/relationships/tags" Target="../tags/tag328.xml"/><Relationship Id="rId61" Type="http://schemas.openxmlformats.org/officeDocument/2006/relationships/slideLayout" Target="../slideLayouts/slideLayout6.xml"/><Relationship Id="rId19" Type="http://schemas.openxmlformats.org/officeDocument/2006/relationships/tags" Target="../tags/tag342.xml"/><Relationship Id="rId14" Type="http://schemas.openxmlformats.org/officeDocument/2006/relationships/tags" Target="../tags/tag337.xml"/><Relationship Id="rId22" Type="http://schemas.openxmlformats.org/officeDocument/2006/relationships/tags" Target="../tags/tag345.xml"/><Relationship Id="rId27" Type="http://schemas.openxmlformats.org/officeDocument/2006/relationships/tags" Target="../tags/tag350.xml"/><Relationship Id="rId30" Type="http://schemas.openxmlformats.org/officeDocument/2006/relationships/tags" Target="../tags/tag353.xml"/><Relationship Id="rId35" Type="http://schemas.openxmlformats.org/officeDocument/2006/relationships/tags" Target="../tags/tag358.xml"/><Relationship Id="rId43" Type="http://schemas.openxmlformats.org/officeDocument/2006/relationships/tags" Target="../tags/tag366.xml"/><Relationship Id="rId48" Type="http://schemas.openxmlformats.org/officeDocument/2006/relationships/tags" Target="../tags/tag371.xml"/><Relationship Id="rId56" Type="http://schemas.openxmlformats.org/officeDocument/2006/relationships/tags" Target="../tags/tag379.xml"/><Relationship Id="rId64" Type="http://schemas.openxmlformats.org/officeDocument/2006/relationships/chart" Target="../charts/chart13.xml"/><Relationship Id="rId8" Type="http://schemas.openxmlformats.org/officeDocument/2006/relationships/tags" Target="../tags/tag331.xml"/><Relationship Id="rId51" Type="http://schemas.openxmlformats.org/officeDocument/2006/relationships/tags" Target="../tags/tag374.xml"/><Relationship Id="rId3" Type="http://schemas.openxmlformats.org/officeDocument/2006/relationships/tags" Target="../tags/tag326.xml"/><Relationship Id="rId12" Type="http://schemas.openxmlformats.org/officeDocument/2006/relationships/tags" Target="../tags/tag335.xml"/><Relationship Id="rId17" Type="http://schemas.openxmlformats.org/officeDocument/2006/relationships/tags" Target="../tags/tag340.xml"/><Relationship Id="rId25" Type="http://schemas.openxmlformats.org/officeDocument/2006/relationships/tags" Target="../tags/tag348.xml"/><Relationship Id="rId33" Type="http://schemas.openxmlformats.org/officeDocument/2006/relationships/tags" Target="../tags/tag356.xml"/><Relationship Id="rId38" Type="http://schemas.openxmlformats.org/officeDocument/2006/relationships/tags" Target="../tags/tag361.xml"/><Relationship Id="rId46" Type="http://schemas.openxmlformats.org/officeDocument/2006/relationships/tags" Target="../tags/tag369.xml"/><Relationship Id="rId59" Type="http://schemas.openxmlformats.org/officeDocument/2006/relationships/tags" Target="../tags/tag382.xml"/><Relationship Id="rId20" Type="http://schemas.openxmlformats.org/officeDocument/2006/relationships/tags" Target="../tags/tag343.xml"/><Relationship Id="rId41" Type="http://schemas.openxmlformats.org/officeDocument/2006/relationships/tags" Target="../tags/tag364.xml"/><Relationship Id="rId54" Type="http://schemas.openxmlformats.org/officeDocument/2006/relationships/tags" Target="../tags/tag377.xml"/><Relationship Id="rId62"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329.xml"/><Relationship Id="rId15" Type="http://schemas.openxmlformats.org/officeDocument/2006/relationships/tags" Target="../tags/tag338.xml"/><Relationship Id="rId23" Type="http://schemas.openxmlformats.org/officeDocument/2006/relationships/tags" Target="../tags/tag346.xml"/><Relationship Id="rId28" Type="http://schemas.openxmlformats.org/officeDocument/2006/relationships/tags" Target="../tags/tag351.xml"/><Relationship Id="rId36" Type="http://schemas.openxmlformats.org/officeDocument/2006/relationships/tags" Target="../tags/tag359.xml"/><Relationship Id="rId49" Type="http://schemas.openxmlformats.org/officeDocument/2006/relationships/tags" Target="../tags/tag372.xml"/><Relationship Id="rId57" Type="http://schemas.openxmlformats.org/officeDocument/2006/relationships/tags" Target="../tags/tag380.xml"/><Relationship Id="rId10" Type="http://schemas.openxmlformats.org/officeDocument/2006/relationships/tags" Target="../tags/tag333.xml"/><Relationship Id="rId31" Type="http://schemas.openxmlformats.org/officeDocument/2006/relationships/tags" Target="../tags/tag354.xml"/><Relationship Id="rId44" Type="http://schemas.openxmlformats.org/officeDocument/2006/relationships/tags" Target="../tags/tag367.xml"/><Relationship Id="rId52" Type="http://schemas.openxmlformats.org/officeDocument/2006/relationships/tags" Target="../tags/tag375.xml"/><Relationship Id="rId60" Type="http://schemas.openxmlformats.org/officeDocument/2006/relationships/tags" Target="../tags/tag383.xml"/><Relationship Id="rId65" Type="http://schemas.openxmlformats.org/officeDocument/2006/relationships/chart" Target="../charts/chart14.xml"/><Relationship Id="rId4" Type="http://schemas.openxmlformats.org/officeDocument/2006/relationships/tags" Target="../tags/tag327.xml"/><Relationship Id="rId9" Type="http://schemas.openxmlformats.org/officeDocument/2006/relationships/tags" Target="../tags/tag332.xml"/><Relationship Id="rId13" Type="http://schemas.openxmlformats.org/officeDocument/2006/relationships/tags" Target="../tags/tag336.xml"/><Relationship Id="rId18" Type="http://schemas.openxmlformats.org/officeDocument/2006/relationships/tags" Target="../tags/tag341.xml"/><Relationship Id="rId39" Type="http://schemas.openxmlformats.org/officeDocument/2006/relationships/tags" Target="../tags/tag362.xml"/></Relationships>
</file>

<file path=ppt/slides/_rels/slide8.xml.rels><?xml version="1.0" encoding="UTF-8" standalone="yes"?>
<Relationships xmlns="http://schemas.openxmlformats.org/package/2006/relationships"><Relationship Id="rId13" Type="http://schemas.openxmlformats.org/officeDocument/2006/relationships/tags" Target="../tags/tag395.xml"/><Relationship Id="rId18" Type="http://schemas.openxmlformats.org/officeDocument/2006/relationships/tags" Target="../tags/tag400.xml"/><Relationship Id="rId26" Type="http://schemas.openxmlformats.org/officeDocument/2006/relationships/tags" Target="../tags/tag408.xml"/><Relationship Id="rId39" Type="http://schemas.openxmlformats.org/officeDocument/2006/relationships/tags" Target="../tags/tag421.xml"/><Relationship Id="rId21" Type="http://schemas.openxmlformats.org/officeDocument/2006/relationships/tags" Target="../tags/tag403.xml"/><Relationship Id="rId34" Type="http://schemas.openxmlformats.org/officeDocument/2006/relationships/tags" Target="../tags/tag416.xml"/><Relationship Id="rId42" Type="http://schemas.openxmlformats.org/officeDocument/2006/relationships/tags" Target="../tags/tag424.xml"/><Relationship Id="rId47" Type="http://schemas.openxmlformats.org/officeDocument/2006/relationships/slideLayout" Target="../slideLayouts/slideLayout6.xml"/><Relationship Id="rId50" Type="http://schemas.openxmlformats.org/officeDocument/2006/relationships/chart" Target="../charts/chart16.xml"/><Relationship Id="rId7" Type="http://schemas.openxmlformats.org/officeDocument/2006/relationships/tags" Target="../tags/tag389.xml"/><Relationship Id="rId2" Type="http://schemas.openxmlformats.org/officeDocument/2006/relationships/tags" Target="../tags/tag384.xml"/><Relationship Id="rId16" Type="http://schemas.openxmlformats.org/officeDocument/2006/relationships/tags" Target="../tags/tag398.xml"/><Relationship Id="rId29" Type="http://schemas.openxmlformats.org/officeDocument/2006/relationships/tags" Target="../tags/tag411.xml"/><Relationship Id="rId11" Type="http://schemas.openxmlformats.org/officeDocument/2006/relationships/tags" Target="../tags/tag393.xml"/><Relationship Id="rId24" Type="http://schemas.openxmlformats.org/officeDocument/2006/relationships/tags" Target="../tags/tag406.xml"/><Relationship Id="rId32" Type="http://schemas.openxmlformats.org/officeDocument/2006/relationships/tags" Target="../tags/tag414.xml"/><Relationship Id="rId37" Type="http://schemas.openxmlformats.org/officeDocument/2006/relationships/tags" Target="../tags/tag419.xml"/><Relationship Id="rId40" Type="http://schemas.openxmlformats.org/officeDocument/2006/relationships/tags" Target="../tags/tag422.xml"/><Relationship Id="rId45" Type="http://schemas.openxmlformats.org/officeDocument/2006/relationships/tags" Target="../tags/tag427.xml"/><Relationship Id="rId53" Type="http://schemas.openxmlformats.org/officeDocument/2006/relationships/chart" Target="../charts/chart19.xml"/><Relationship Id="rId5" Type="http://schemas.openxmlformats.org/officeDocument/2006/relationships/tags" Target="../tags/tag387.xml"/><Relationship Id="rId10" Type="http://schemas.openxmlformats.org/officeDocument/2006/relationships/tags" Target="../tags/tag392.xml"/><Relationship Id="rId19" Type="http://schemas.openxmlformats.org/officeDocument/2006/relationships/tags" Target="../tags/tag401.xml"/><Relationship Id="rId31" Type="http://schemas.openxmlformats.org/officeDocument/2006/relationships/tags" Target="../tags/tag413.xml"/><Relationship Id="rId44" Type="http://schemas.openxmlformats.org/officeDocument/2006/relationships/tags" Target="../tags/tag426.xml"/><Relationship Id="rId52" Type="http://schemas.openxmlformats.org/officeDocument/2006/relationships/chart" Target="../charts/chart18.xml"/><Relationship Id="rId4" Type="http://schemas.openxmlformats.org/officeDocument/2006/relationships/tags" Target="../tags/tag386.xml"/><Relationship Id="rId9" Type="http://schemas.openxmlformats.org/officeDocument/2006/relationships/tags" Target="../tags/tag391.xml"/><Relationship Id="rId14" Type="http://schemas.openxmlformats.org/officeDocument/2006/relationships/tags" Target="../tags/tag396.xml"/><Relationship Id="rId22" Type="http://schemas.openxmlformats.org/officeDocument/2006/relationships/tags" Target="../tags/tag404.xml"/><Relationship Id="rId27" Type="http://schemas.openxmlformats.org/officeDocument/2006/relationships/tags" Target="../tags/tag409.xml"/><Relationship Id="rId30" Type="http://schemas.openxmlformats.org/officeDocument/2006/relationships/tags" Target="../tags/tag412.xml"/><Relationship Id="rId35" Type="http://schemas.openxmlformats.org/officeDocument/2006/relationships/tags" Target="../tags/tag417.xml"/><Relationship Id="rId43" Type="http://schemas.openxmlformats.org/officeDocument/2006/relationships/tags" Target="../tags/tag425.xml"/><Relationship Id="rId48" Type="http://schemas.openxmlformats.org/officeDocument/2006/relationships/oleObject" Target="../embeddings/oleObject9.bin"/><Relationship Id="rId8" Type="http://schemas.openxmlformats.org/officeDocument/2006/relationships/tags" Target="../tags/tag390.xml"/><Relationship Id="rId51" Type="http://schemas.openxmlformats.org/officeDocument/2006/relationships/chart" Target="../charts/chart17.xml"/><Relationship Id="rId3" Type="http://schemas.openxmlformats.org/officeDocument/2006/relationships/tags" Target="../tags/tag385.xml"/><Relationship Id="rId12" Type="http://schemas.openxmlformats.org/officeDocument/2006/relationships/tags" Target="../tags/tag394.xml"/><Relationship Id="rId17" Type="http://schemas.openxmlformats.org/officeDocument/2006/relationships/tags" Target="../tags/tag399.xml"/><Relationship Id="rId25" Type="http://schemas.openxmlformats.org/officeDocument/2006/relationships/tags" Target="../tags/tag407.xml"/><Relationship Id="rId33" Type="http://schemas.openxmlformats.org/officeDocument/2006/relationships/tags" Target="../tags/tag415.xml"/><Relationship Id="rId38" Type="http://schemas.openxmlformats.org/officeDocument/2006/relationships/tags" Target="../tags/tag420.xml"/><Relationship Id="rId46" Type="http://schemas.openxmlformats.org/officeDocument/2006/relationships/tags" Target="../tags/tag428.xml"/><Relationship Id="rId20" Type="http://schemas.openxmlformats.org/officeDocument/2006/relationships/tags" Target="../tags/tag402.xml"/><Relationship Id="rId41" Type="http://schemas.openxmlformats.org/officeDocument/2006/relationships/tags" Target="../tags/tag423.xml"/><Relationship Id="rId1" Type="http://schemas.openxmlformats.org/officeDocument/2006/relationships/vmlDrawing" Target="../drawings/vmlDrawing9.vml"/><Relationship Id="rId6" Type="http://schemas.openxmlformats.org/officeDocument/2006/relationships/tags" Target="../tags/tag388.xml"/><Relationship Id="rId15" Type="http://schemas.openxmlformats.org/officeDocument/2006/relationships/tags" Target="../tags/tag397.xml"/><Relationship Id="rId23" Type="http://schemas.openxmlformats.org/officeDocument/2006/relationships/tags" Target="../tags/tag405.xml"/><Relationship Id="rId28" Type="http://schemas.openxmlformats.org/officeDocument/2006/relationships/tags" Target="../tags/tag410.xml"/><Relationship Id="rId36" Type="http://schemas.openxmlformats.org/officeDocument/2006/relationships/tags" Target="../tags/tag418.xml"/><Relationship Id="rId49" Type="http://schemas.openxmlformats.org/officeDocument/2006/relationships/image" Target="../media/image1.emf"/></Relationships>
</file>

<file path=ppt/slides/_rels/slide9.xml.rels><?xml version="1.0" encoding="UTF-8" standalone="yes"?>
<Relationships xmlns="http://schemas.openxmlformats.org/package/2006/relationships"><Relationship Id="rId13" Type="http://schemas.openxmlformats.org/officeDocument/2006/relationships/tags" Target="../tags/tag440.xml"/><Relationship Id="rId18" Type="http://schemas.openxmlformats.org/officeDocument/2006/relationships/tags" Target="../tags/tag445.xml"/><Relationship Id="rId26" Type="http://schemas.openxmlformats.org/officeDocument/2006/relationships/tags" Target="../tags/tag453.xml"/><Relationship Id="rId3" Type="http://schemas.openxmlformats.org/officeDocument/2006/relationships/tags" Target="../tags/tag430.xml"/><Relationship Id="rId21" Type="http://schemas.openxmlformats.org/officeDocument/2006/relationships/tags" Target="../tags/tag448.xml"/><Relationship Id="rId34" Type="http://schemas.openxmlformats.org/officeDocument/2006/relationships/chart" Target="../charts/chart20.xml"/><Relationship Id="rId7" Type="http://schemas.openxmlformats.org/officeDocument/2006/relationships/tags" Target="../tags/tag434.xml"/><Relationship Id="rId12" Type="http://schemas.openxmlformats.org/officeDocument/2006/relationships/tags" Target="../tags/tag439.xml"/><Relationship Id="rId17" Type="http://schemas.openxmlformats.org/officeDocument/2006/relationships/tags" Target="../tags/tag444.xml"/><Relationship Id="rId25" Type="http://schemas.openxmlformats.org/officeDocument/2006/relationships/tags" Target="../tags/tag452.xml"/><Relationship Id="rId33" Type="http://schemas.openxmlformats.org/officeDocument/2006/relationships/image" Target="../media/image1.emf"/><Relationship Id="rId2" Type="http://schemas.openxmlformats.org/officeDocument/2006/relationships/tags" Target="../tags/tag429.xml"/><Relationship Id="rId16" Type="http://schemas.openxmlformats.org/officeDocument/2006/relationships/tags" Target="../tags/tag443.xml"/><Relationship Id="rId20" Type="http://schemas.openxmlformats.org/officeDocument/2006/relationships/tags" Target="../tags/tag447.xml"/><Relationship Id="rId29" Type="http://schemas.openxmlformats.org/officeDocument/2006/relationships/tags" Target="../tags/tag456.xml"/><Relationship Id="rId1" Type="http://schemas.openxmlformats.org/officeDocument/2006/relationships/vmlDrawing" Target="../drawings/vmlDrawing10.vml"/><Relationship Id="rId6" Type="http://schemas.openxmlformats.org/officeDocument/2006/relationships/tags" Target="../tags/tag433.xml"/><Relationship Id="rId11" Type="http://schemas.openxmlformats.org/officeDocument/2006/relationships/tags" Target="../tags/tag438.xml"/><Relationship Id="rId24" Type="http://schemas.openxmlformats.org/officeDocument/2006/relationships/tags" Target="../tags/tag451.xml"/><Relationship Id="rId32" Type="http://schemas.openxmlformats.org/officeDocument/2006/relationships/oleObject" Target="../embeddings/oleObject10.bin"/><Relationship Id="rId5" Type="http://schemas.openxmlformats.org/officeDocument/2006/relationships/tags" Target="../tags/tag432.xml"/><Relationship Id="rId15" Type="http://schemas.openxmlformats.org/officeDocument/2006/relationships/tags" Target="../tags/tag442.xml"/><Relationship Id="rId23" Type="http://schemas.openxmlformats.org/officeDocument/2006/relationships/tags" Target="../tags/tag450.xml"/><Relationship Id="rId28" Type="http://schemas.openxmlformats.org/officeDocument/2006/relationships/tags" Target="../tags/tag455.xml"/><Relationship Id="rId10" Type="http://schemas.openxmlformats.org/officeDocument/2006/relationships/tags" Target="../tags/tag437.xml"/><Relationship Id="rId19" Type="http://schemas.openxmlformats.org/officeDocument/2006/relationships/tags" Target="../tags/tag446.xml"/><Relationship Id="rId31" Type="http://schemas.openxmlformats.org/officeDocument/2006/relationships/slideLayout" Target="../slideLayouts/slideLayout6.xml"/><Relationship Id="rId4" Type="http://schemas.openxmlformats.org/officeDocument/2006/relationships/tags" Target="../tags/tag431.xml"/><Relationship Id="rId9" Type="http://schemas.openxmlformats.org/officeDocument/2006/relationships/tags" Target="../tags/tag436.xml"/><Relationship Id="rId14" Type="http://schemas.openxmlformats.org/officeDocument/2006/relationships/tags" Target="../tags/tag441.xml"/><Relationship Id="rId22" Type="http://schemas.openxmlformats.org/officeDocument/2006/relationships/tags" Target="../tags/tag449.xml"/><Relationship Id="rId27" Type="http://schemas.openxmlformats.org/officeDocument/2006/relationships/tags" Target="../tags/tag454.xml"/><Relationship Id="rId30" Type="http://schemas.openxmlformats.org/officeDocument/2006/relationships/tags" Target="../tags/tag457.xml"/><Relationship Id="rId35" Type="http://schemas.openxmlformats.org/officeDocument/2006/relationships/chart" Target="../charts/chart21.xml"/><Relationship Id="rId8" Type="http://schemas.openxmlformats.org/officeDocument/2006/relationships/tags" Target="../tags/tag4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847F892-84E6-434E-B9CF-209512FFB20F}"/>
              </a:ext>
            </a:extLst>
          </p:cNvPr>
          <p:cNvGraphicFramePr>
            <a:graphicFrameLocks noChangeAspect="1"/>
          </p:cNvGraphicFramePr>
          <p:nvPr>
            <p:custDataLst>
              <p:tags r:id="rId2"/>
            </p:custDataLst>
            <p:extLst>
              <p:ext uri="{D42A27DB-BD31-4B8C-83A1-F6EECF244321}">
                <p14:modId xmlns:p14="http://schemas.microsoft.com/office/powerpoint/2010/main" val="393901996"/>
              </p:ext>
            </p:extLst>
          </p:nvPr>
        </p:nvGraphicFramePr>
        <p:xfrm>
          <a:off x="644228" y="1290"/>
          <a:ext cx="1290" cy="1290"/>
        </p:xfrm>
        <a:graphic>
          <a:graphicData uri="http://schemas.openxmlformats.org/presentationml/2006/ole">
            <mc:AlternateContent xmlns:mc="http://schemas.openxmlformats.org/markup-compatibility/2006">
              <mc:Choice xmlns:v="urn:schemas-microsoft-com:vml" Requires="v">
                <p:oleObj spid="_x0000_s2160"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644228" y="1290"/>
                        <a:ext cx="1290" cy="1290"/>
                      </a:xfrm>
                      <a:prstGeom prst="rect">
                        <a:avLst/>
                      </a:prstGeom>
                    </p:spPr>
                  </p:pic>
                </p:oleObj>
              </mc:Fallback>
            </mc:AlternateContent>
          </a:graphicData>
        </a:graphic>
      </p:graphicFrame>
      <p:cxnSp>
        <p:nvCxnSpPr>
          <p:cNvPr id="7" name="LineBasicImpact 7">
            <a:extLst>
              <a:ext uri="{FF2B5EF4-FFF2-40B4-BE49-F238E27FC236}">
                <a16:creationId xmlns:a16="http://schemas.microsoft.com/office/drawing/2014/main" id="{AEFF1EBF-2CF6-417E-959C-DEE0B9602A8D}"/>
              </a:ext>
            </a:extLst>
          </p:cNvPr>
          <p:cNvCxnSpPr>
            <a:cxnSpLocks/>
          </p:cNvCxnSpPr>
          <p:nvPr>
            <p:custDataLst>
              <p:tags r:id="rId3"/>
            </p:custDataLst>
          </p:nvPr>
        </p:nvCxnSpPr>
        <p:spPr>
          <a:xfrm>
            <a:off x="642938" y="4426744"/>
            <a:ext cx="5572125" cy="0"/>
          </a:xfrm>
          <a:prstGeom prst="straightConnector1">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LineBasicImpact 7">
            <a:extLst>
              <a:ext uri="{FF2B5EF4-FFF2-40B4-BE49-F238E27FC236}">
                <a16:creationId xmlns:a16="http://schemas.microsoft.com/office/drawing/2014/main" id="{42C18A67-D413-4BBC-97A7-D7331222447B}"/>
              </a:ext>
            </a:extLst>
          </p:cNvPr>
          <p:cNvCxnSpPr>
            <a:cxnSpLocks/>
          </p:cNvCxnSpPr>
          <p:nvPr>
            <p:custDataLst>
              <p:tags r:id="rId4"/>
            </p:custDataLst>
          </p:nvPr>
        </p:nvCxnSpPr>
        <p:spPr>
          <a:xfrm>
            <a:off x="642938" y="6231427"/>
            <a:ext cx="5572125" cy="0"/>
          </a:xfrm>
          <a:prstGeom prst="straightConnector1">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489BDE1-168F-4E99-B924-BE9A8A972656}"/>
              </a:ext>
            </a:extLst>
          </p:cNvPr>
          <p:cNvSpPr txBox="1"/>
          <p:nvPr/>
        </p:nvSpPr>
        <p:spPr>
          <a:xfrm>
            <a:off x="3581358" y="9270569"/>
            <a:ext cx="2200765" cy="317459"/>
          </a:xfrm>
          <a:prstGeom prst="rect">
            <a:avLst/>
          </a:prstGeom>
          <a:noFill/>
          <a:ln w="12700">
            <a:noFill/>
          </a:ln>
        </p:spPr>
        <p:txBody>
          <a:bodyPr wrap="square">
            <a:spAutoFit/>
          </a:bodyPr>
          <a:lstStyle/>
          <a:p>
            <a:r>
              <a:rPr lang="en-US" sz="1463" dirty="0">
                <a:latin typeface="SangBleu Sunrise" panose="020B0504000000000004" pitchFamily="34" charset="-52"/>
                <a:ea typeface="SangBleu Sunrise" panose="020B0504000000000004" pitchFamily="34" charset="-52"/>
              </a:rPr>
              <a:t>March 25, 2025</a:t>
            </a:r>
            <a:endParaRPr lang="ru-RU" sz="1463" dirty="0">
              <a:latin typeface="SangBleu Sunrise" panose="020B0504000000000004" pitchFamily="34" charset="-52"/>
              <a:ea typeface="SangBleu Sunrise" panose="020B0504000000000004" pitchFamily="34" charset="-52"/>
            </a:endParaRPr>
          </a:p>
        </p:txBody>
      </p:sp>
      <p:sp>
        <p:nvSpPr>
          <p:cNvPr id="13" name="Title 4">
            <a:extLst>
              <a:ext uri="{FF2B5EF4-FFF2-40B4-BE49-F238E27FC236}">
                <a16:creationId xmlns:a16="http://schemas.microsoft.com/office/drawing/2014/main" id="{A9BF24B5-80FA-4A8F-8322-72E3159B9F79}"/>
              </a:ext>
            </a:extLst>
          </p:cNvPr>
          <p:cNvSpPr txBox="1">
            <a:spLocks/>
          </p:cNvSpPr>
          <p:nvPr/>
        </p:nvSpPr>
        <p:spPr>
          <a:xfrm>
            <a:off x="1403223" y="4518648"/>
            <a:ext cx="4051554" cy="705194"/>
          </a:xfrm>
          <a:prstGeom prst="rect">
            <a:avLst/>
          </a:prstGeom>
          <a:noFill/>
          <a:ln w="12700">
            <a:noFill/>
          </a:ln>
        </p:spPr>
        <p:txBody>
          <a:bodyPr vert="horz" wrap="square" lIns="74295" tIns="37148" rIns="74295" bIns="37148" rtlCol="0" anchor="b" anchorCtr="0">
            <a:sp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r>
              <a:rPr lang="en-US" sz="2275" dirty="0">
                <a:latin typeface="SangBleu Sunrise" panose="020B0504000000000004" pitchFamily="34" charset="-52"/>
                <a:ea typeface="SangBleu Sunrise" panose="020B0504000000000004" pitchFamily="34" charset="-52"/>
              </a:rPr>
              <a:t>Investment Research Challenge</a:t>
            </a:r>
            <a:endParaRPr lang="ru-RU" sz="2275" dirty="0">
              <a:latin typeface="SangBleu Sunrise" panose="020B0504000000000004" pitchFamily="34" charset="-52"/>
              <a:ea typeface="SangBleu Sunrise" panose="020B0504000000000004" pitchFamily="34" charset="-52"/>
            </a:endParaRPr>
          </a:p>
        </p:txBody>
      </p:sp>
      <p:sp>
        <p:nvSpPr>
          <p:cNvPr id="16" name="Title 4">
            <a:extLst>
              <a:ext uri="{FF2B5EF4-FFF2-40B4-BE49-F238E27FC236}">
                <a16:creationId xmlns:a16="http://schemas.microsoft.com/office/drawing/2014/main" id="{7A6C251A-9B5B-44D2-9199-4F334647D518}"/>
              </a:ext>
            </a:extLst>
          </p:cNvPr>
          <p:cNvSpPr txBox="1">
            <a:spLocks/>
          </p:cNvSpPr>
          <p:nvPr/>
        </p:nvSpPr>
        <p:spPr>
          <a:xfrm>
            <a:off x="1403223" y="5329640"/>
            <a:ext cx="4051554" cy="300083"/>
          </a:xfrm>
          <a:prstGeom prst="rect">
            <a:avLst/>
          </a:prstGeom>
          <a:noFill/>
          <a:ln w="12700">
            <a:noFill/>
          </a:ln>
        </p:spPr>
        <p:txBody>
          <a:bodyPr vert="horz" wrap="square" lIns="74295" tIns="37148" rIns="74295" bIns="37148" rtlCol="0" anchor="b" anchorCtr="0">
            <a:sp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r>
              <a:rPr lang="en-US" sz="1625" dirty="0">
                <a:latin typeface="SangBleu Sunrise" panose="020B0504000000000004" pitchFamily="34" charset="-52"/>
                <a:ea typeface="SangBleu Sunrise" panose="020B0504000000000004" pitchFamily="34" charset="-52"/>
              </a:rPr>
              <a:t>hosted by</a:t>
            </a:r>
            <a:endParaRPr lang="ru-RU" sz="1625" dirty="0">
              <a:latin typeface="SangBleu Sunrise" panose="020B0504000000000004" pitchFamily="34" charset="-52"/>
              <a:ea typeface="SangBleu Sunrise" panose="020B0504000000000004" pitchFamily="34" charset="-52"/>
            </a:endParaRPr>
          </a:p>
        </p:txBody>
      </p:sp>
      <p:sp>
        <p:nvSpPr>
          <p:cNvPr id="17" name="Title 4">
            <a:extLst>
              <a:ext uri="{FF2B5EF4-FFF2-40B4-BE49-F238E27FC236}">
                <a16:creationId xmlns:a16="http://schemas.microsoft.com/office/drawing/2014/main" id="{4178757D-096F-4FF4-AC53-67998E59DB41}"/>
              </a:ext>
            </a:extLst>
          </p:cNvPr>
          <p:cNvSpPr txBox="1">
            <a:spLocks/>
          </p:cNvSpPr>
          <p:nvPr/>
        </p:nvSpPr>
        <p:spPr>
          <a:xfrm>
            <a:off x="1403223" y="5735523"/>
            <a:ext cx="4051554" cy="390108"/>
          </a:xfrm>
          <a:prstGeom prst="rect">
            <a:avLst/>
          </a:prstGeom>
          <a:noFill/>
          <a:ln w="12700">
            <a:noFill/>
          </a:ln>
        </p:spPr>
        <p:txBody>
          <a:bodyPr vert="horz" wrap="square" lIns="74295" tIns="37148" rIns="74295" bIns="37148" rtlCol="0" anchor="b" anchorCtr="0">
            <a:sp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r>
              <a:rPr lang="en-US" sz="2275" dirty="0">
                <a:latin typeface="SangBleu Sunrise" panose="020B0504000000000004" pitchFamily="34" charset="-52"/>
                <a:ea typeface="SangBleu Sunrise" panose="020B0504000000000004" pitchFamily="34" charset="-52"/>
              </a:rPr>
              <a:t>New Economic School</a:t>
            </a:r>
            <a:endParaRPr lang="ru-RU" sz="2275" dirty="0">
              <a:latin typeface="SangBleu Sunrise" panose="020B0504000000000004" pitchFamily="34" charset="-52"/>
              <a:ea typeface="SangBleu Sunrise" panose="020B0504000000000004" pitchFamily="34" charset="-52"/>
            </a:endParaRPr>
          </a:p>
        </p:txBody>
      </p:sp>
      <p:grpSp>
        <p:nvGrpSpPr>
          <p:cNvPr id="23" name="Group 22">
            <a:extLst>
              <a:ext uri="{FF2B5EF4-FFF2-40B4-BE49-F238E27FC236}">
                <a16:creationId xmlns:a16="http://schemas.microsoft.com/office/drawing/2014/main" id="{36D20EB5-0DB0-4585-A35C-A2DD777FACA1}"/>
              </a:ext>
            </a:extLst>
          </p:cNvPr>
          <p:cNvGrpSpPr/>
          <p:nvPr/>
        </p:nvGrpSpPr>
        <p:grpSpPr>
          <a:xfrm>
            <a:off x="1075878" y="7528869"/>
            <a:ext cx="4706245" cy="802758"/>
            <a:chOff x="572830" y="8352551"/>
            <a:chExt cx="5792302" cy="988010"/>
          </a:xfrm>
          <a:noFill/>
        </p:grpSpPr>
        <p:sp>
          <p:nvSpPr>
            <p:cNvPr id="19" name="Title 4">
              <a:extLst>
                <a:ext uri="{FF2B5EF4-FFF2-40B4-BE49-F238E27FC236}">
                  <a16:creationId xmlns:a16="http://schemas.microsoft.com/office/drawing/2014/main" id="{696C757D-B86E-4E7B-90A8-CA1F15F76112}"/>
                </a:ext>
              </a:extLst>
            </p:cNvPr>
            <p:cNvSpPr txBox="1">
              <a:spLocks/>
            </p:cNvSpPr>
            <p:nvPr/>
          </p:nvSpPr>
          <p:spPr>
            <a:xfrm>
              <a:off x="572830" y="8352551"/>
              <a:ext cx="2708634" cy="369491"/>
            </a:xfrm>
            <a:prstGeom prst="rect">
              <a:avLst/>
            </a:prstGeom>
            <a:grpFill/>
            <a:ln>
              <a:noFill/>
            </a:ln>
          </p:spPr>
          <p:txBody>
            <a:bodyPr vert="horz" wrap="square" lIns="74295" tIns="37148" rIns="74295" bIns="37148" rtlCol="0" anchor="b" anchorCtr="0">
              <a:sp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r>
                <a:rPr lang="en-US" sz="813" dirty="0">
                  <a:latin typeface="SangBleu Sunrise" panose="020B0504000000000004" pitchFamily="34" charset="-52"/>
                  <a:ea typeface="SangBleu Sunrise" panose="020B0504000000000004" pitchFamily="34" charset="-52"/>
                </a:rPr>
                <a:t>Sadchikov Andrei</a:t>
              </a:r>
            </a:p>
            <a:p>
              <a:r>
                <a:rPr lang="en-US" sz="813" dirty="0">
                  <a:latin typeface="SangBleu Sunrise" panose="020B0504000000000004" pitchFamily="34" charset="-52"/>
                  <a:ea typeface="SangBleu Sunrise" panose="020B0504000000000004" pitchFamily="34" charset="-52"/>
                </a:rPr>
                <a:t>sadchikov.ae@phystech.edu</a:t>
              </a:r>
              <a:endParaRPr lang="ru-RU" sz="813" dirty="0">
                <a:latin typeface="SangBleu Sunrise" panose="020B0504000000000004" pitchFamily="34" charset="-52"/>
                <a:ea typeface="SangBleu Sunrise" panose="020B0504000000000004" pitchFamily="34" charset="-52"/>
              </a:endParaRPr>
            </a:p>
          </p:txBody>
        </p:sp>
        <p:sp>
          <p:nvSpPr>
            <p:cNvPr id="20" name="Title 4">
              <a:extLst>
                <a:ext uri="{FF2B5EF4-FFF2-40B4-BE49-F238E27FC236}">
                  <a16:creationId xmlns:a16="http://schemas.microsoft.com/office/drawing/2014/main" id="{61B63197-8C70-49A9-9CAC-EEC8D2ED688C}"/>
                </a:ext>
              </a:extLst>
            </p:cNvPr>
            <p:cNvSpPr txBox="1">
              <a:spLocks/>
            </p:cNvSpPr>
            <p:nvPr/>
          </p:nvSpPr>
          <p:spPr>
            <a:xfrm>
              <a:off x="572830" y="8971070"/>
              <a:ext cx="2708634" cy="369491"/>
            </a:xfrm>
            <a:prstGeom prst="rect">
              <a:avLst/>
            </a:prstGeom>
            <a:grpFill/>
            <a:ln>
              <a:noFill/>
            </a:ln>
          </p:spPr>
          <p:txBody>
            <a:bodyPr vert="horz" wrap="square" lIns="74295" tIns="37148" rIns="74295" bIns="37148" rtlCol="0" anchor="b" anchorCtr="0">
              <a:sp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r>
                <a:rPr lang="en-US" sz="813" dirty="0" err="1">
                  <a:latin typeface="SangBleu Sunrise" panose="020B0504000000000004" pitchFamily="34" charset="-52"/>
                  <a:ea typeface="SangBleu Sunrise" panose="020B0504000000000004" pitchFamily="34" charset="-52"/>
                </a:rPr>
                <a:t>Nikitin</a:t>
              </a:r>
              <a:r>
                <a:rPr lang="en-US" sz="813" dirty="0">
                  <a:latin typeface="SangBleu Sunrise" panose="020B0504000000000004" pitchFamily="34" charset="-52"/>
                  <a:ea typeface="SangBleu Sunrise" panose="020B0504000000000004" pitchFamily="34" charset="-52"/>
                </a:rPr>
                <a:t> </a:t>
              </a:r>
              <a:r>
                <a:rPr lang="en-US" sz="813" dirty="0" err="1">
                  <a:latin typeface="SangBleu Sunrise" panose="020B0504000000000004" pitchFamily="34" charset="-52"/>
                  <a:ea typeface="SangBleu Sunrise" panose="020B0504000000000004" pitchFamily="34" charset="-52"/>
                </a:rPr>
                <a:t>Artemy</a:t>
              </a:r>
              <a:endParaRPr lang="en-US" sz="813" dirty="0">
                <a:latin typeface="SangBleu Sunrise" panose="020B0504000000000004" pitchFamily="34" charset="-52"/>
                <a:ea typeface="SangBleu Sunrise" panose="020B0504000000000004" pitchFamily="34" charset="-52"/>
              </a:endParaRPr>
            </a:p>
            <a:p>
              <a:r>
                <a:rPr lang="en-US" sz="813" dirty="0">
                  <a:latin typeface="SangBleu Sunrise" panose="020B0504000000000004" pitchFamily="34" charset="-52"/>
                  <a:ea typeface="SangBleu Sunrise" panose="020B0504000000000004" pitchFamily="34" charset="-52"/>
                </a:rPr>
                <a:t>nikitin.ag@phystech.edu</a:t>
              </a:r>
              <a:endParaRPr lang="ru-RU" sz="813" dirty="0">
                <a:latin typeface="SangBleu Sunrise" panose="020B0504000000000004" pitchFamily="34" charset="-52"/>
                <a:ea typeface="SangBleu Sunrise" panose="020B0504000000000004" pitchFamily="34" charset="-52"/>
              </a:endParaRPr>
            </a:p>
          </p:txBody>
        </p:sp>
        <p:sp>
          <p:nvSpPr>
            <p:cNvPr id="21" name="Title 4">
              <a:extLst>
                <a:ext uri="{FF2B5EF4-FFF2-40B4-BE49-F238E27FC236}">
                  <a16:creationId xmlns:a16="http://schemas.microsoft.com/office/drawing/2014/main" id="{A03CB845-4B6B-470C-BDAB-5EFA7794EF53}"/>
                </a:ext>
              </a:extLst>
            </p:cNvPr>
            <p:cNvSpPr txBox="1">
              <a:spLocks/>
            </p:cNvSpPr>
            <p:nvPr/>
          </p:nvSpPr>
          <p:spPr>
            <a:xfrm>
              <a:off x="3656498" y="8352551"/>
              <a:ext cx="2708634" cy="369491"/>
            </a:xfrm>
            <a:prstGeom prst="rect">
              <a:avLst/>
            </a:prstGeom>
            <a:grpFill/>
            <a:ln>
              <a:noFill/>
            </a:ln>
          </p:spPr>
          <p:txBody>
            <a:bodyPr vert="horz" wrap="square" lIns="74295" tIns="37148" rIns="74295" bIns="37148" rtlCol="0" anchor="b" anchorCtr="0">
              <a:sp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r>
                <a:rPr lang="en-US" sz="813" dirty="0">
                  <a:latin typeface="SangBleu Sunrise" panose="020B0504000000000004" pitchFamily="34" charset="-52"/>
                  <a:ea typeface="SangBleu Sunrise" panose="020B0504000000000004" pitchFamily="34" charset="-52"/>
                </a:rPr>
                <a:t>Yurchenko Vladimir</a:t>
              </a:r>
            </a:p>
            <a:p>
              <a:r>
                <a:rPr lang="en-US" sz="813" dirty="0">
                  <a:latin typeface="SangBleu Sunrise" panose="020B0504000000000004" pitchFamily="34" charset="-52"/>
                  <a:ea typeface="SangBleu Sunrise" panose="020B0504000000000004" pitchFamily="34" charset="-52"/>
                </a:rPr>
                <a:t>yurchenko.va@phystech.edu</a:t>
              </a:r>
              <a:endParaRPr lang="ru-RU" sz="813" dirty="0">
                <a:latin typeface="SangBleu Sunrise" panose="020B0504000000000004" pitchFamily="34" charset="-52"/>
                <a:ea typeface="SangBleu Sunrise" panose="020B0504000000000004" pitchFamily="34" charset="-52"/>
              </a:endParaRPr>
            </a:p>
          </p:txBody>
        </p:sp>
        <p:sp>
          <p:nvSpPr>
            <p:cNvPr id="22" name="Title 4">
              <a:extLst>
                <a:ext uri="{FF2B5EF4-FFF2-40B4-BE49-F238E27FC236}">
                  <a16:creationId xmlns:a16="http://schemas.microsoft.com/office/drawing/2014/main" id="{5199CF9A-DC2E-45CC-9D67-E2C9B6C310FD}"/>
                </a:ext>
              </a:extLst>
            </p:cNvPr>
            <p:cNvSpPr txBox="1">
              <a:spLocks/>
            </p:cNvSpPr>
            <p:nvPr/>
          </p:nvSpPr>
          <p:spPr>
            <a:xfrm>
              <a:off x="3656498" y="8971070"/>
              <a:ext cx="2708634" cy="369491"/>
            </a:xfrm>
            <a:prstGeom prst="rect">
              <a:avLst/>
            </a:prstGeom>
            <a:grpFill/>
            <a:ln>
              <a:noFill/>
            </a:ln>
          </p:spPr>
          <p:txBody>
            <a:bodyPr vert="horz" wrap="square" lIns="74295" tIns="37148" rIns="74295" bIns="37148" rtlCol="0" anchor="b" anchorCtr="0">
              <a:sp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r>
                <a:rPr lang="en-US" sz="813" dirty="0" err="1">
                  <a:latin typeface="SangBleu Sunrise" panose="020B0504000000000004" pitchFamily="34" charset="-52"/>
                  <a:ea typeface="SangBleu Sunrise" panose="020B0504000000000004" pitchFamily="34" charset="-52"/>
                </a:rPr>
                <a:t>Kondratov</a:t>
              </a:r>
              <a:r>
                <a:rPr lang="en-US" sz="813" dirty="0">
                  <a:latin typeface="SangBleu Sunrise" panose="020B0504000000000004" pitchFamily="34" charset="-52"/>
                  <a:ea typeface="SangBleu Sunrise" panose="020B0504000000000004" pitchFamily="34" charset="-52"/>
                </a:rPr>
                <a:t> Denis</a:t>
              </a:r>
            </a:p>
            <a:p>
              <a:r>
                <a:rPr lang="en-US" sz="813" dirty="0">
                  <a:latin typeface="SangBleu Sunrise" panose="020B0504000000000004" pitchFamily="34" charset="-52"/>
                  <a:ea typeface="SangBleu Sunrise" panose="020B0504000000000004" pitchFamily="34" charset="-52"/>
                </a:rPr>
                <a:t>kondratov.di@phystech.edu</a:t>
              </a:r>
              <a:endParaRPr lang="ru-RU" sz="813" dirty="0">
                <a:latin typeface="SangBleu Sunrise" panose="020B0504000000000004" pitchFamily="34" charset="-52"/>
                <a:ea typeface="SangBleu Sunrise" panose="020B0504000000000004" pitchFamily="34" charset="-52"/>
              </a:endParaRPr>
            </a:p>
          </p:txBody>
        </p:sp>
      </p:grpSp>
      <p:sp>
        <p:nvSpPr>
          <p:cNvPr id="27" name="Title 4">
            <a:extLst>
              <a:ext uri="{FF2B5EF4-FFF2-40B4-BE49-F238E27FC236}">
                <a16:creationId xmlns:a16="http://schemas.microsoft.com/office/drawing/2014/main" id="{2C7C76BD-3CEF-47D6-8E7B-7B4A54618F6E}"/>
              </a:ext>
            </a:extLst>
          </p:cNvPr>
          <p:cNvSpPr txBox="1">
            <a:spLocks/>
          </p:cNvSpPr>
          <p:nvPr/>
        </p:nvSpPr>
        <p:spPr>
          <a:xfrm>
            <a:off x="1403223" y="7170243"/>
            <a:ext cx="4051554" cy="300211"/>
          </a:xfrm>
          <a:prstGeom prst="rect">
            <a:avLst/>
          </a:prstGeom>
          <a:noFill/>
          <a:ln w="12700">
            <a:noFill/>
          </a:ln>
        </p:spPr>
        <p:txBody>
          <a:bodyPr vert="horz" wrap="square" lIns="74295" tIns="37148" rIns="74295" bIns="37148" rtlCol="0" anchor="b" anchorCtr="0">
            <a:sp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r>
              <a:rPr lang="en-US" sz="813" dirty="0">
                <a:latin typeface="SangBleu Sunrise" panose="020B0504000000000004" pitchFamily="34" charset="-52"/>
                <a:ea typeface="SangBleu Sunrise" panose="020B0504000000000004" pitchFamily="34" charset="-52"/>
              </a:rPr>
              <a:t>Team “Samaya </a:t>
            </a:r>
            <a:r>
              <a:rPr lang="en-US" sz="813" dirty="0" err="1">
                <a:latin typeface="SangBleu Sunrise" panose="020B0504000000000004" pitchFamily="34" charset="-52"/>
                <a:ea typeface="SangBleu Sunrise" panose="020B0504000000000004" pitchFamily="34" charset="-52"/>
              </a:rPr>
              <a:t>Pervaya</a:t>
            </a:r>
            <a:r>
              <a:rPr lang="en-US" sz="813" dirty="0">
                <a:latin typeface="SangBleu Sunrise" panose="020B0504000000000004" pitchFamily="34" charset="-52"/>
                <a:ea typeface="SangBleu Sunrise" panose="020B0504000000000004" pitchFamily="34" charset="-52"/>
              </a:rPr>
              <a:t>”</a:t>
            </a:r>
          </a:p>
          <a:p>
            <a:r>
              <a:rPr lang="en-US" sz="813" dirty="0">
                <a:latin typeface="SangBleu Sunrise" panose="020B0504000000000004" pitchFamily="34" charset="-52"/>
                <a:ea typeface="SangBleu Sunrise" panose="020B0504000000000004" pitchFamily="34" charset="-52"/>
              </a:rPr>
              <a:t>MIPT</a:t>
            </a:r>
            <a:endParaRPr lang="ru-RU" sz="813" dirty="0">
              <a:latin typeface="SangBleu Sunrise" panose="020B0504000000000004" pitchFamily="34" charset="-52"/>
              <a:ea typeface="SangBleu Sunrise" panose="020B0504000000000004" pitchFamily="34" charset="-52"/>
            </a:endParaRPr>
          </a:p>
        </p:txBody>
      </p:sp>
      <p:pic>
        <p:nvPicPr>
          <p:cNvPr id="8" name="Picture 7">
            <a:extLst>
              <a:ext uri="{FF2B5EF4-FFF2-40B4-BE49-F238E27FC236}">
                <a16:creationId xmlns:a16="http://schemas.microsoft.com/office/drawing/2014/main" id="{7458B856-3B8C-4037-81DC-FD9499A8EE88}"/>
              </a:ext>
            </a:extLst>
          </p:cNvPr>
          <p:cNvPicPr>
            <a:picLocks noChangeAspect="1"/>
          </p:cNvPicPr>
          <p:nvPr/>
        </p:nvPicPr>
        <p:blipFill>
          <a:blip r:embed="rId9">
            <a:biLevel thresh="50000"/>
            <a:extLst>
              <a:ext uri="{BEBA8EAE-BF5A-486C-A8C5-ECC9F3942E4B}">
                <a14:imgProps xmlns:a14="http://schemas.microsoft.com/office/drawing/2010/main">
                  <a14:imgLayer r:embed="rId10">
                    <a14:imgEffect>
                      <a14:colorTemperature colorTemp="4700"/>
                    </a14:imgEffect>
                    <a14:imgEffect>
                      <a14:saturation sat="67000"/>
                    </a14:imgEffect>
                  </a14:imgLayer>
                </a14:imgProps>
              </a:ext>
              <a:ext uri="{28A0092B-C50C-407E-A947-70E740481C1C}">
                <a14:useLocalDpi xmlns:a14="http://schemas.microsoft.com/office/drawing/2010/main" val="0"/>
              </a:ext>
            </a:extLst>
          </a:blip>
          <a:stretch>
            <a:fillRect/>
          </a:stretch>
        </p:blipFill>
        <p:spPr>
          <a:xfrm>
            <a:off x="2188326" y="932634"/>
            <a:ext cx="2786063" cy="3397448"/>
          </a:xfrm>
          <a:prstGeom prst="rect">
            <a:avLst/>
          </a:prstGeom>
          <a:noFill/>
        </p:spPr>
      </p:pic>
      <p:cxnSp>
        <p:nvCxnSpPr>
          <p:cNvPr id="24" name="LineBasicImpact 7">
            <a:extLst>
              <a:ext uri="{FF2B5EF4-FFF2-40B4-BE49-F238E27FC236}">
                <a16:creationId xmlns:a16="http://schemas.microsoft.com/office/drawing/2014/main" id="{4379B275-4A82-4935-BCD4-E473C90951E7}"/>
              </a:ext>
            </a:extLst>
          </p:cNvPr>
          <p:cNvCxnSpPr>
            <a:cxnSpLocks/>
          </p:cNvCxnSpPr>
          <p:nvPr>
            <p:custDataLst>
              <p:tags r:id="rId5"/>
            </p:custDataLst>
          </p:nvPr>
        </p:nvCxnSpPr>
        <p:spPr>
          <a:xfrm>
            <a:off x="1663556" y="7470454"/>
            <a:ext cx="3654714" cy="0"/>
          </a:xfrm>
          <a:prstGeom prst="straightConnector1">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7526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D4FE7E-DE6C-4F35-B505-6CC6CC141975}"/>
              </a:ext>
            </a:extLst>
          </p:cNvPr>
          <p:cNvGraphicFramePr>
            <a:graphicFrameLocks noChangeAspect="1"/>
          </p:cNvGraphicFramePr>
          <p:nvPr>
            <p:custDataLst>
              <p:tags r:id="rId2"/>
            </p:custDataLst>
          </p:nvPr>
        </p:nvGraphicFramePr>
        <p:xfrm>
          <a:off x="644228" y="1290"/>
          <a:ext cx="1290" cy="1290"/>
        </p:xfrm>
        <a:graphic>
          <a:graphicData uri="http://schemas.openxmlformats.org/presentationml/2006/ole">
            <mc:AlternateContent xmlns:mc="http://schemas.openxmlformats.org/markup-compatibility/2006">
              <mc:Choice xmlns:v="urn:schemas-microsoft-com:vml" Requires="v">
                <p:oleObj spid="_x0000_s21534" name="think-cell Slide" r:id="rId6" imgW="395" imgH="396" progId="TCLayout.ActiveDocument.1">
                  <p:embed/>
                </p:oleObj>
              </mc:Choice>
              <mc:Fallback>
                <p:oleObj name="think-cell Slide" r:id="rId6" imgW="395" imgH="396" progId="TCLayout.ActiveDocument.1">
                  <p:embed/>
                  <p:pic>
                    <p:nvPicPr>
                      <p:cNvPr id="3" name="think-cell data - do not delete" hidden="1">
                        <a:extLst>
                          <a:ext uri="{FF2B5EF4-FFF2-40B4-BE49-F238E27FC236}">
                            <a16:creationId xmlns:a16="http://schemas.microsoft.com/office/drawing/2014/main" id="{89D4FE7E-DE6C-4F35-B505-6CC6CC141975}"/>
                          </a:ext>
                        </a:extLst>
                      </p:cNvPr>
                      <p:cNvPicPr/>
                      <p:nvPr/>
                    </p:nvPicPr>
                    <p:blipFill>
                      <a:blip r:embed="rId7"/>
                      <a:stretch>
                        <a:fillRect/>
                      </a:stretch>
                    </p:blipFill>
                    <p:spPr>
                      <a:xfrm>
                        <a:off x="644228" y="1290"/>
                        <a:ext cx="1290" cy="1290"/>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CE37793A-EF90-4D17-B23E-183A72D120E2}"/>
              </a:ext>
            </a:extLst>
          </p:cNvPr>
          <p:cNvGrpSpPr/>
          <p:nvPr/>
        </p:nvGrpSpPr>
        <p:grpSpPr>
          <a:xfrm>
            <a:off x="1040839" y="1541980"/>
            <a:ext cx="3069185" cy="2187598"/>
            <a:chOff x="155457" y="516836"/>
            <a:chExt cx="3069185" cy="2187598"/>
          </a:xfrm>
        </p:grpSpPr>
        <p:sp>
          <p:nvSpPr>
            <p:cNvPr id="20" name="Rectangle: Rounded Corners 19">
              <a:extLst>
                <a:ext uri="{FF2B5EF4-FFF2-40B4-BE49-F238E27FC236}">
                  <a16:creationId xmlns:a16="http://schemas.microsoft.com/office/drawing/2014/main" id="{4B6BA1F0-6330-4460-824A-A4CF29FA1428}"/>
                </a:ext>
              </a:extLst>
            </p:cNvPr>
            <p:cNvSpPr/>
            <p:nvPr/>
          </p:nvSpPr>
          <p:spPr>
            <a:xfrm>
              <a:off x="486238" y="715617"/>
              <a:ext cx="524098" cy="524098"/>
            </a:xfrm>
            <a:prstGeom prst="roundRect">
              <a:avLst/>
            </a:prstGeom>
            <a:solidFill>
              <a:schemeClr val="accent4"/>
            </a:solidFill>
            <a:ln w="9525">
              <a:noFill/>
            </a:ln>
            <a:effectLst>
              <a:innerShdw blurRad="114300">
                <a:prstClr val="black">
                  <a:alpha val="43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6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33" name="Rectangle: Rounded Corners 32">
              <a:extLst>
                <a:ext uri="{FF2B5EF4-FFF2-40B4-BE49-F238E27FC236}">
                  <a16:creationId xmlns:a16="http://schemas.microsoft.com/office/drawing/2014/main" id="{E7294737-E55A-485A-AA49-FA3377F858D0}"/>
                </a:ext>
              </a:extLst>
            </p:cNvPr>
            <p:cNvSpPr/>
            <p:nvPr/>
          </p:nvSpPr>
          <p:spPr>
            <a:xfrm>
              <a:off x="1066683" y="715617"/>
              <a:ext cx="524098" cy="524098"/>
            </a:xfrm>
            <a:prstGeom prst="roundRect">
              <a:avLst/>
            </a:prstGeom>
            <a:solidFill>
              <a:schemeClr val="accent4">
                <a:lumMod val="75000"/>
              </a:schemeClr>
            </a:solidFill>
            <a:ln w="9525">
              <a:noFill/>
            </a:ln>
            <a:effectLst>
              <a:innerShdw blurRad="114300">
                <a:prstClr val="black">
                  <a:alpha val="43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6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34" name="Rectangle: Rounded Corners 33">
              <a:extLst>
                <a:ext uri="{FF2B5EF4-FFF2-40B4-BE49-F238E27FC236}">
                  <a16:creationId xmlns:a16="http://schemas.microsoft.com/office/drawing/2014/main" id="{A910AC7D-8D5F-4FE0-97ED-1A65BD9FE879}"/>
                </a:ext>
              </a:extLst>
            </p:cNvPr>
            <p:cNvSpPr/>
            <p:nvPr/>
          </p:nvSpPr>
          <p:spPr>
            <a:xfrm>
              <a:off x="1647128" y="715617"/>
              <a:ext cx="524098" cy="524098"/>
            </a:xfrm>
            <a:prstGeom prst="roundRect">
              <a:avLst/>
            </a:prstGeom>
            <a:solidFill>
              <a:schemeClr val="accent4">
                <a:lumMod val="75000"/>
              </a:schemeClr>
            </a:solidFill>
            <a:ln w="9525">
              <a:noFill/>
            </a:ln>
            <a:effectLst>
              <a:innerShdw blurRad="114300">
                <a:prstClr val="black">
                  <a:alpha val="43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6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35" name="Rectangle: Rounded Corners 34">
              <a:extLst>
                <a:ext uri="{FF2B5EF4-FFF2-40B4-BE49-F238E27FC236}">
                  <a16:creationId xmlns:a16="http://schemas.microsoft.com/office/drawing/2014/main" id="{9A5E4888-55E5-41CB-A4F7-CDB783818F37}"/>
                </a:ext>
              </a:extLst>
            </p:cNvPr>
            <p:cNvSpPr/>
            <p:nvPr/>
          </p:nvSpPr>
          <p:spPr>
            <a:xfrm>
              <a:off x="486238" y="1287078"/>
              <a:ext cx="524098" cy="524098"/>
            </a:xfrm>
            <a:prstGeom prst="roundRect">
              <a:avLst/>
            </a:prstGeom>
            <a:solidFill>
              <a:schemeClr val="accent4">
                <a:lumMod val="60000"/>
                <a:lumOff val="40000"/>
              </a:schemeClr>
            </a:solidFill>
            <a:ln w="9525">
              <a:noFill/>
            </a:ln>
            <a:effectLst>
              <a:innerShdw blurRad="114300">
                <a:prstClr val="black">
                  <a:alpha val="43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8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36" name="Rectangle: Rounded Corners 35">
              <a:extLst>
                <a:ext uri="{FF2B5EF4-FFF2-40B4-BE49-F238E27FC236}">
                  <a16:creationId xmlns:a16="http://schemas.microsoft.com/office/drawing/2014/main" id="{24C9EBC5-4D4C-4E1D-890F-AA3F30A90275}"/>
                </a:ext>
              </a:extLst>
            </p:cNvPr>
            <p:cNvSpPr/>
            <p:nvPr/>
          </p:nvSpPr>
          <p:spPr>
            <a:xfrm>
              <a:off x="1066683" y="1287078"/>
              <a:ext cx="524098" cy="524098"/>
            </a:xfrm>
            <a:prstGeom prst="roundRect">
              <a:avLst/>
            </a:prstGeom>
            <a:solidFill>
              <a:schemeClr val="accent4"/>
            </a:solidFill>
            <a:ln w="9525">
              <a:noFill/>
            </a:ln>
            <a:effectLst>
              <a:innerShdw blurRad="114300">
                <a:prstClr val="black">
                  <a:alpha val="43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6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37" name="Rectangle: Rounded Corners 36">
              <a:extLst>
                <a:ext uri="{FF2B5EF4-FFF2-40B4-BE49-F238E27FC236}">
                  <a16:creationId xmlns:a16="http://schemas.microsoft.com/office/drawing/2014/main" id="{57A07B7A-F828-4669-8545-B23DF7268C14}"/>
                </a:ext>
              </a:extLst>
            </p:cNvPr>
            <p:cNvSpPr/>
            <p:nvPr/>
          </p:nvSpPr>
          <p:spPr>
            <a:xfrm>
              <a:off x="1647128" y="1287078"/>
              <a:ext cx="524098" cy="524098"/>
            </a:xfrm>
            <a:prstGeom prst="roundRect">
              <a:avLst/>
            </a:prstGeom>
            <a:solidFill>
              <a:schemeClr val="accent4">
                <a:lumMod val="75000"/>
              </a:schemeClr>
            </a:solidFill>
            <a:ln w="9525">
              <a:noFill/>
            </a:ln>
            <a:effectLst>
              <a:innerShdw blurRad="114300">
                <a:prstClr val="black">
                  <a:alpha val="43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6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38" name="Rectangle: Rounded Corners 37">
              <a:extLst>
                <a:ext uri="{FF2B5EF4-FFF2-40B4-BE49-F238E27FC236}">
                  <a16:creationId xmlns:a16="http://schemas.microsoft.com/office/drawing/2014/main" id="{B048A332-2750-40CA-82D8-37C04629E2FD}"/>
                </a:ext>
              </a:extLst>
            </p:cNvPr>
            <p:cNvSpPr/>
            <p:nvPr/>
          </p:nvSpPr>
          <p:spPr>
            <a:xfrm>
              <a:off x="486238" y="1858539"/>
              <a:ext cx="524098" cy="524098"/>
            </a:xfrm>
            <a:prstGeom prst="roundRect">
              <a:avLst/>
            </a:prstGeom>
            <a:solidFill>
              <a:schemeClr val="accent4">
                <a:lumMod val="60000"/>
                <a:lumOff val="40000"/>
              </a:schemeClr>
            </a:solidFill>
            <a:ln w="9525">
              <a:noFill/>
            </a:ln>
            <a:effectLst>
              <a:innerShdw blurRad="114300">
                <a:prstClr val="black">
                  <a:alpha val="43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6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39" name="Rectangle: Rounded Corners 38">
              <a:extLst>
                <a:ext uri="{FF2B5EF4-FFF2-40B4-BE49-F238E27FC236}">
                  <a16:creationId xmlns:a16="http://schemas.microsoft.com/office/drawing/2014/main" id="{F2227654-C7DE-401D-A629-E66D6F0AAAAB}"/>
                </a:ext>
              </a:extLst>
            </p:cNvPr>
            <p:cNvSpPr/>
            <p:nvPr/>
          </p:nvSpPr>
          <p:spPr>
            <a:xfrm>
              <a:off x="1066683" y="1858539"/>
              <a:ext cx="524098" cy="524098"/>
            </a:xfrm>
            <a:prstGeom prst="roundRect">
              <a:avLst/>
            </a:prstGeom>
            <a:solidFill>
              <a:schemeClr val="accent4">
                <a:lumMod val="60000"/>
                <a:lumOff val="40000"/>
              </a:schemeClr>
            </a:solidFill>
            <a:ln w="9525">
              <a:noFill/>
            </a:ln>
            <a:effectLst>
              <a:innerShdw blurRad="114300">
                <a:prstClr val="black">
                  <a:alpha val="43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6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40" name="Rectangle: Rounded Corners 39">
              <a:extLst>
                <a:ext uri="{FF2B5EF4-FFF2-40B4-BE49-F238E27FC236}">
                  <a16:creationId xmlns:a16="http://schemas.microsoft.com/office/drawing/2014/main" id="{8B40EA18-8819-4C05-B5A4-620213A89456}"/>
                </a:ext>
              </a:extLst>
            </p:cNvPr>
            <p:cNvSpPr/>
            <p:nvPr/>
          </p:nvSpPr>
          <p:spPr>
            <a:xfrm>
              <a:off x="1647128" y="1858539"/>
              <a:ext cx="524098" cy="524098"/>
            </a:xfrm>
            <a:prstGeom prst="roundRect">
              <a:avLst/>
            </a:prstGeom>
            <a:solidFill>
              <a:schemeClr val="accent4"/>
            </a:solidFill>
            <a:ln w="9525">
              <a:noFill/>
            </a:ln>
            <a:effectLst>
              <a:innerShdw blurRad="114300">
                <a:prstClr val="black">
                  <a:alpha val="43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6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cxnSp>
          <p:nvCxnSpPr>
            <p:cNvPr id="42" name="Straight Arrow Connector 41">
              <a:extLst>
                <a:ext uri="{FF2B5EF4-FFF2-40B4-BE49-F238E27FC236}">
                  <a16:creationId xmlns:a16="http://schemas.microsoft.com/office/drawing/2014/main" id="{818A9483-FE92-4AD8-A82A-B37B760A1013}"/>
                </a:ext>
              </a:extLst>
            </p:cNvPr>
            <p:cNvCxnSpPr>
              <a:cxnSpLocks/>
            </p:cNvCxnSpPr>
            <p:nvPr/>
          </p:nvCxnSpPr>
          <p:spPr>
            <a:xfrm>
              <a:off x="284722" y="2472856"/>
              <a:ext cx="2219939"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9ACAFEE0-82C6-45A4-8DD3-7F902045A8BD}"/>
                </a:ext>
              </a:extLst>
            </p:cNvPr>
            <p:cNvCxnSpPr>
              <a:cxnSpLocks/>
            </p:cNvCxnSpPr>
            <p:nvPr/>
          </p:nvCxnSpPr>
          <p:spPr>
            <a:xfrm flipV="1">
              <a:off x="389614" y="516836"/>
              <a:ext cx="0" cy="2058332"/>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2B29AA09-DAB9-4E8D-8FB1-738EDA877FE7}"/>
                </a:ext>
              </a:extLst>
            </p:cNvPr>
            <p:cNvSpPr txBox="1"/>
            <p:nvPr/>
          </p:nvSpPr>
          <p:spPr>
            <a:xfrm>
              <a:off x="938642" y="2445902"/>
              <a:ext cx="2286000" cy="258532"/>
            </a:xfrm>
            <a:prstGeom prst="rect">
              <a:avLst/>
            </a:prstGeom>
          </p:spPr>
          <p:txBody>
            <a:bodyPr vert="horz"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b="1" dirty="0">
                  <a:latin typeface="SangBleu Sunrise" panose="020B0504000000000004" pitchFamily="34" charset="-52"/>
                  <a:ea typeface="SangBleu Sunrise" panose="020B0504000000000004" pitchFamily="34" charset="-52"/>
                </a:rPr>
                <a:t>Impact</a:t>
              </a:r>
              <a:endParaRPr lang="ru-RU" sz="1200" b="1" dirty="0">
                <a:latin typeface="SangBleu Sunrise" panose="020B0504000000000004" pitchFamily="34" charset="-52"/>
                <a:ea typeface="SangBleu Sunrise" panose="020B0504000000000004" pitchFamily="34" charset="-52"/>
              </a:endParaRPr>
            </a:p>
          </p:txBody>
        </p:sp>
        <p:sp>
          <p:nvSpPr>
            <p:cNvPr id="49" name="TextBox 48">
              <a:extLst>
                <a:ext uri="{FF2B5EF4-FFF2-40B4-BE49-F238E27FC236}">
                  <a16:creationId xmlns:a16="http://schemas.microsoft.com/office/drawing/2014/main" id="{F8A3170E-E5AA-47C9-BDB3-142098ABF4BB}"/>
                </a:ext>
              </a:extLst>
            </p:cNvPr>
            <p:cNvSpPr txBox="1"/>
            <p:nvPr/>
          </p:nvSpPr>
          <p:spPr>
            <a:xfrm rot="16200000">
              <a:off x="-321367" y="1279898"/>
              <a:ext cx="1212179" cy="258532"/>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b="1" dirty="0">
                  <a:latin typeface="SangBleu Sunrise" panose="020B0504000000000004" pitchFamily="34" charset="-52"/>
                  <a:ea typeface="SangBleu Sunrise" panose="020B0504000000000004" pitchFamily="34" charset="-52"/>
                </a:rPr>
                <a:t>Probability</a:t>
              </a:r>
              <a:endParaRPr lang="ru-RU" sz="1200" b="1" dirty="0">
                <a:latin typeface="SangBleu Sunrise" panose="020B0504000000000004" pitchFamily="34" charset="-52"/>
                <a:ea typeface="SangBleu Sunrise" panose="020B0504000000000004" pitchFamily="34" charset="-52"/>
              </a:endParaRPr>
            </a:p>
          </p:txBody>
        </p:sp>
        <p:sp>
          <p:nvSpPr>
            <p:cNvPr id="57" name="TextBox 56">
              <a:extLst>
                <a:ext uri="{FF2B5EF4-FFF2-40B4-BE49-F238E27FC236}">
                  <a16:creationId xmlns:a16="http://schemas.microsoft.com/office/drawing/2014/main" id="{44F75FCC-F80D-4155-820F-2B126A412C2A}"/>
                </a:ext>
              </a:extLst>
            </p:cNvPr>
            <p:cNvSpPr txBox="1"/>
            <p:nvPr/>
          </p:nvSpPr>
          <p:spPr>
            <a:xfrm>
              <a:off x="1646759" y="2025929"/>
              <a:ext cx="550812" cy="175433"/>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600" b="1" dirty="0">
                  <a:solidFill>
                    <a:schemeClr val="tx1">
                      <a:lumMod val="75000"/>
                      <a:lumOff val="25000"/>
                    </a:schemeClr>
                  </a:solidFill>
                  <a:latin typeface="SangBleu Sunrise" panose="020B0504000000000004" pitchFamily="34" charset="-52"/>
                  <a:ea typeface="SangBleu Sunrise" panose="020B0504000000000004" pitchFamily="34" charset="-52"/>
                </a:rPr>
                <a:t>medium</a:t>
              </a: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sp>
          <p:nvSpPr>
            <p:cNvPr id="59" name="TextBox 58">
              <a:extLst>
                <a:ext uri="{FF2B5EF4-FFF2-40B4-BE49-F238E27FC236}">
                  <a16:creationId xmlns:a16="http://schemas.microsoft.com/office/drawing/2014/main" id="{3F62C221-58F9-48AA-A81A-1DC6A1A015E5}"/>
                </a:ext>
              </a:extLst>
            </p:cNvPr>
            <p:cNvSpPr txBox="1"/>
            <p:nvPr/>
          </p:nvSpPr>
          <p:spPr>
            <a:xfrm>
              <a:off x="1150224" y="2025929"/>
              <a:ext cx="372068" cy="175433"/>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600" b="1" dirty="0">
                  <a:solidFill>
                    <a:schemeClr val="tx1">
                      <a:lumMod val="75000"/>
                      <a:lumOff val="25000"/>
                    </a:schemeClr>
                  </a:solidFill>
                  <a:latin typeface="SangBleu Sunrise" panose="020B0504000000000004" pitchFamily="34" charset="-52"/>
                  <a:ea typeface="SangBleu Sunrise" panose="020B0504000000000004" pitchFamily="34" charset="-52"/>
                </a:rPr>
                <a:t>low</a:t>
              </a: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sp>
          <p:nvSpPr>
            <p:cNvPr id="62" name="TextBox 61">
              <a:extLst>
                <a:ext uri="{FF2B5EF4-FFF2-40B4-BE49-F238E27FC236}">
                  <a16:creationId xmlns:a16="http://schemas.microsoft.com/office/drawing/2014/main" id="{B3963292-2800-423B-B0A4-962882673CD4}"/>
                </a:ext>
              </a:extLst>
            </p:cNvPr>
            <p:cNvSpPr txBox="1"/>
            <p:nvPr/>
          </p:nvSpPr>
          <p:spPr>
            <a:xfrm>
              <a:off x="566574" y="2025929"/>
              <a:ext cx="372068" cy="175433"/>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600" b="1" dirty="0">
                  <a:solidFill>
                    <a:schemeClr val="tx1">
                      <a:lumMod val="75000"/>
                      <a:lumOff val="25000"/>
                    </a:schemeClr>
                  </a:solidFill>
                  <a:latin typeface="SangBleu Sunrise" panose="020B0504000000000004" pitchFamily="34" charset="-52"/>
                  <a:ea typeface="SangBleu Sunrise" panose="020B0504000000000004" pitchFamily="34" charset="-52"/>
                </a:rPr>
                <a:t>low</a:t>
              </a: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sp>
          <p:nvSpPr>
            <p:cNvPr id="63" name="TextBox 62">
              <a:extLst>
                <a:ext uri="{FF2B5EF4-FFF2-40B4-BE49-F238E27FC236}">
                  <a16:creationId xmlns:a16="http://schemas.microsoft.com/office/drawing/2014/main" id="{CBE500E6-7B23-4134-AF73-218321CB7D6A}"/>
                </a:ext>
              </a:extLst>
            </p:cNvPr>
            <p:cNvSpPr txBox="1"/>
            <p:nvPr/>
          </p:nvSpPr>
          <p:spPr>
            <a:xfrm>
              <a:off x="566574" y="1444435"/>
              <a:ext cx="372068" cy="175433"/>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600" b="1" dirty="0">
                  <a:solidFill>
                    <a:schemeClr val="tx1">
                      <a:lumMod val="75000"/>
                      <a:lumOff val="25000"/>
                    </a:schemeClr>
                  </a:solidFill>
                  <a:latin typeface="SangBleu Sunrise" panose="020B0504000000000004" pitchFamily="34" charset="-52"/>
                  <a:ea typeface="SangBleu Sunrise" panose="020B0504000000000004" pitchFamily="34" charset="-52"/>
                </a:rPr>
                <a:t>low </a:t>
              </a: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sp>
          <p:nvSpPr>
            <p:cNvPr id="69" name="TextBox 68">
              <a:extLst>
                <a:ext uri="{FF2B5EF4-FFF2-40B4-BE49-F238E27FC236}">
                  <a16:creationId xmlns:a16="http://schemas.microsoft.com/office/drawing/2014/main" id="{44B4E88D-2AF7-4DA1-A48E-FD5084C74785}"/>
                </a:ext>
              </a:extLst>
            </p:cNvPr>
            <p:cNvSpPr txBox="1"/>
            <p:nvPr/>
          </p:nvSpPr>
          <p:spPr>
            <a:xfrm>
              <a:off x="1069602" y="1444435"/>
              <a:ext cx="550812" cy="175433"/>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600" b="1" dirty="0">
                  <a:solidFill>
                    <a:schemeClr val="tx1">
                      <a:lumMod val="75000"/>
                      <a:lumOff val="25000"/>
                    </a:schemeClr>
                  </a:solidFill>
                  <a:latin typeface="SangBleu Sunrise" panose="020B0504000000000004" pitchFamily="34" charset="-52"/>
                  <a:ea typeface="SangBleu Sunrise" panose="020B0504000000000004" pitchFamily="34" charset="-52"/>
                </a:rPr>
                <a:t>medium</a:t>
              </a: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sp>
          <p:nvSpPr>
            <p:cNvPr id="71" name="TextBox 70">
              <a:extLst>
                <a:ext uri="{FF2B5EF4-FFF2-40B4-BE49-F238E27FC236}">
                  <a16:creationId xmlns:a16="http://schemas.microsoft.com/office/drawing/2014/main" id="{581F7FE0-30E3-4783-99F8-218CF2D2EE8F}"/>
                </a:ext>
              </a:extLst>
            </p:cNvPr>
            <p:cNvSpPr txBox="1"/>
            <p:nvPr/>
          </p:nvSpPr>
          <p:spPr>
            <a:xfrm>
              <a:off x="467559" y="882020"/>
              <a:ext cx="550812" cy="175433"/>
            </a:xfrm>
            <a:prstGeom prst="rect">
              <a:avLst/>
            </a:prstGeom>
            <a:effectLst>
              <a:innerShdw blurRad="114300">
                <a:prstClr val="black">
                  <a:alpha val="43000"/>
                </a:prstClr>
              </a:innerShdw>
            </a:effectLst>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600" b="1" dirty="0">
                  <a:solidFill>
                    <a:schemeClr val="tx1">
                      <a:lumMod val="75000"/>
                      <a:lumOff val="25000"/>
                    </a:schemeClr>
                  </a:solidFill>
                  <a:latin typeface="SangBleu Sunrise" panose="020B0504000000000004" pitchFamily="34" charset="-52"/>
                  <a:ea typeface="SangBleu Sunrise" panose="020B0504000000000004" pitchFamily="34" charset="-52"/>
                </a:rPr>
                <a:t>medium</a:t>
              </a: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sp>
          <p:nvSpPr>
            <p:cNvPr id="72" name="TextBox 71">
              <a:extLst>
                <a:ext uri="{FF2B5EF4-FFF2-40B4-BE49-F238E27FC236}">
                  <a16:creationId xmlns:a16="http://schemas.microsoft.com/office/drawing/2014/main" id="{E48B571B-9024-4D82-8634-A93E7E03F8A5}"/>
                </a:ext>
              </a:extLst>
            </p:cNvPr>
            <p:cNvSpPr txBox="1"/>
            <p:nvPr/>
          </p:nvSpPr>
          <p:spPr>
            <a:xfrm>
              <a:off x="1721499" y="1444435"/>
              <a:ext cx="375356" cy="175433"/>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600" b="1" dirty="0">
                  <a:solidFill>
                    <a:schemeClr val="tx1">
                      <a:lumMod val="75000"/>
                      <a:lumOff val="25000"/>
                    </a:schemeClr>
                  </a:solidFill>
                  <a:latin typeface="SangBleu Sunrise" panose="020B0504000000000004" pitchFamily="34" charset="-52"/>
                  <a:ea typeface="SangBleu Sunrise" panose="020B0504000000000004" pitchFamily="34" charset="-52"/>
                </a:rPr>
                <a:t>high</a:t>
              </a: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sp>
          <p:nvSpPr>
            <p:cNvPr id="75" name="TextBox 74">
              <a:extLst>
                <a:ext uri="{FF2B5EF4-FFF2-40B4-BE49-F238E27FC236}">
                  <a16:creationId xmlns:a16="http://schemas.microsoft.com/office/drawing/2014/main" id="{3DD73777-CB2C-4AF0-847F-877ED8738C3E}"/>
                </a:ext>
              </a:extLst>
            </p:cNvPr>
            <p:cNvSpPr txBox="1"/>
            <p:nvPr/>
          </p:nvSpPr>
          <p:spPr>
            <a:xfrm>
              <a:off x="1721499" y="882020"/>
              <a:ext cx="375356" cy="175433"/>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600" b="1" dirty="0">
                  <a:solidFill>
                    <a:schemeClr val="tx1">
                      <a:lumMod val="75000"/>
                      <a:lumOff val="25000"/>
                    </a:schemeClr>
                  </a:solidFill>
                  <a:latin typeface="SangBleu Sunrise" panose="020B0504000000000004" pitchFamily="34" charset="-52"/>
                  <a:ea typeface="SangBleu Sunrise" panose="020B0504000000000004" pitchFamily="34" charset="-52"/>
                </a:rPr>
                <a:t>high</a:t>
              </a: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sp>
          <p:nvSpPr>
            <p:cNvPr id="76" name="TextBox 75">
              <a:extLst>
                <a:ext uri="{FF2B5EF4-FFF2-40B4-BE49-F238E27FC236}">
                  <a16:creationId xmlns:a16="http://schemas.microsoft.com/office/drawing/2014/main" id="{54CD40BD-F136-46E2-93C5-BBD97D12FCEB}"/>
                </a:ext>
              </a:extLst>
            </p:cNvPr>
            <p:cNvSpPr txBox="1"/>
            <p:nvPr/>
          </p:nvSpPr>
          <p:spPr>
            <a:xfrm>
              <a:off x="1150224" y="882020"/>
              <a:ext cx="375356" cy="175433"/>
            </a:xfrm>
            <a:prstGeom prst="rect">
              <a:avLst/>
            </a:prstGeom>
            <a:effectLst>
              <a:innerShdw blurRad="114300">
                <a:prstClr val="black">
                  <a:alpha val="43000"/>
                </a:prstClr>
              </a:innerShdw>
            </a:effectLst>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600" b="1" dirty="0">
                  <a:solidFill>
                    <a:schemeClr val="tx1">
                      <a:lumMod val="75000"/>
                      <a:lumOff val="25000"/>
                    </a:schemeClr>
                  </a:solidFill>
                  <a:latin typeface="SangBleu Sunrise" panose="020B0504000000000004" pitchFamily="34" charset="-52"/>
                  <a:ea typeface="SangBleu Sunrise" panose="020B0504000000000004" pitchFamily="34" charset="-52"/>
                </a:rPr>
                <a:t>high</a:t>
              </a: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grpSp>
      <p:sp>
        <p:nvSpPr>
          <p:cNvPr id="4" name="TextBox 3">
            <a:extLst>
              <a:ext uri="{FF2B5EF4-FFF2-40B4-BE49-F238E27FC236}">
                <a16:creationId xmlns:a16="http://schemas.microsoft.com/office/drawing/2014/main" id="{7236DF39-0DBB-47C6-993F-AF74BAB957A1}"/>
              </a:ext>
            </a:extLst>
          </p:cNvPr>
          <p:cNvSpPr txBox="1">
            <a:spLocks/>
          </p:cNvSpPr>
          <p:nvPr/>
        </p:nvSpPr>
        <p:spPr>
          <a:xfrm>
            <a:off x="1170104" y="3788651"/>
            <a:ext cx="2409003" cy="1089529"/>
          </a:xfrm>
          <a:prstGeom prst="rect">
            <a:avLst/>
          </a:prstGeom>
        </p:spPr>
        <p:txBody>
          <a:bodyPr vert="horz" wrap="square" lIns="91440" tIns="45720" rIns="91440" bIns="45720" rtlCol="0">
            <a:no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rtl="0">
              <a:spcBef>
                <a:spcPts val="0"/>
              </a:spcBef>
              <a:spcAft>
                <a:spcPts val="0"/>
              </a:spcAft>
              <a:buNone/>
            </a:pPr>
            <a:r>
              <a:rPr lang="en-US" sz="800" b="1" i="0" u="none" strike="noStrike" dirty="0">
                <a:solidFill>
                  <a:srgbClr val="000000"/>
                </a:solidFill>
                <a:effectLst/>
                <a:latin typeface="SangBleu Sunrise" panose="020B0504000000000004" pitchFamily="34" charset="-52"/>
                <a:ea typeface="SangBleu Sunrise" panose="020B0504000000000004" pitchFamily="34" charset="-52"/>
              </a:rPr>
              <a:t>[E] Foreign Exchange </a:t>
            </a:r>
            <a:r>
              <a:rPr lang="en-US" sz="800" b="1" dirty="0">
                <a:solidFill>
                  <a:srgbClr val="000000"/>
                </a:solidFill>
                <a:latin typeface="SangBleu Sunrise" panose="020B0504000000000004" pitchFamily="34" charset="-52"/>
                <a:ea typeface="SangBleu Sunrise" panose="020B0504000000000004" pitchFamily="34" charset="-52"/>
              </a:rPr>
              <a:t>R</a:t>
            </a:r>
            <a:r>
              <a:rPr lang="en-US" sz="800" b="1" i="0" u="none" strike="noStrike" dirty="0">
                <a:solidFill>
                  <a:srgbClr val="000000"/>
                </a:solidFill>
                <a:effectLst/>
                <a:latin typeface="SangBleu Sunrise" panose="020B0504000000000004" pitchFamily="34" charset="-52"/>
                <a:ea typeface="SangBleu Sunrise" panose="020B0504000000000004" pitchFamily="34" charset="-52"/>
              </a:rPr>
              <a:t>isk (probability - medium, impact - medium) </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40% of </a:t>
            </a:r>
            <a:r>
              <a:rPr lang="en-US" sz="800" dirty="0">
                <a:solidFill>
                  <a:srgbClr val="000000"/>
                </a:solidFill>
                <a:latin typeface="SangBleu Sunrise" panose="020B0504000000000004" pitchFamily="34" charset="-52"/>
                <a:ea typeface="SangBleu Sunrise" panose="020B0504000000000004" pitchFamily="34" charset="-52"/>
              </a:rPr>
              <a:t>PROMOMED’s</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 raw material expenses are denominated in foreign currencies. The company does not use derivative financial instruments and lacks a hedging policy to mitigate such financial risks. The materialization of currency risk could lead to higher capital and operating costs</a:t>
            </a:r>
            <a:endParaRPr lang="en-US" sz="800" b="0" dirty="0">
              <a:effectLst/>
              <a:latin typeface="SangBleu Sunrise" panose="020B0504000000000004" pitchFamily="34" charset="-52"/>
              <a:ea typeface="SangBleu Sunrise" panose="020B0504000000000004" pitchFamily="34" charset="-52"/>
            </a:endParaRPr>
          </a:p>
        </p:txBody>
      </p:sp>
      <p:sp>
        <p:nvSpPr>
          <p:cNvPr id="5" name="TextBox 4">
            <a:extLst>
              <a:ext uri="{FF2B5EF4-FFF2-40B4-BE49-F238E27FC236}">
                <a16:creationId xmlns:a16="http://schemas.microsoft.com/office/drawing/2014/main" id="{F932948C-B5AE-43A8-AB57-6B9C62C848D8}"/>
              </a:ext>
            </a:extLst>
          </p:cNvPr>
          <p:cNvSpPr txBox="1">
            <a:spLocks/>
          </p:cNvSpPr>
          <p:nvPr/>
        </p:nvSpPr>
        <p:spPr>
          <a:xfrm>
            <a:off x="3690062" y="3234653"/>
            <a:ext cx="2286000" cy="1643527"/>
          </a:xfrm>
          <a:prstGeom prst="rect">
            <a:avLst/>
          </a:prstGeom>
        </p:spPr>
        <p:txBody>
          <a:bodyPr vert="horz" lIns="91440" tIns="45720" rIns="91440" bIns="45720" rtlCol="0">
            <a:no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rtl="0">
              <a:spcBef>
                <a:spcPts val="0"/>
              </a:spcBef>
              <a:spcAft>
                <a:spcPts val="0"/>
              </a:spcAft>
              <a:buNone/>
            </a:pPr>
            <a:r>
              <a:rPr lang="en-US" sz="800" b="1" i="0" u="none" strike="noStrike" dirty="0">
                <a:solidFill>
                  <a:srgbClr val="000000"/>
                </a:solidFill>
                <a:effectLst/>
                <a:latin typeface="SangBleu Sunrise" panose="020B0504000000000004" pitchFamily="34" charset="-52"/>
                <a:ea typeface="SangBleu Sunrise" panose="020B0504000000000004" pitchFamily="34" charset="-52"/>
              </a:rPr>
              <a:t>[B] Return of Foreign Competitors (probability - medium, impact - medium).</a:t>
            </a:r>
            <a:endParaRPr lang="en-US" sz="800" b="0" dirty="0">
              <a:effectLst/>
              <a:latin typeface="SangBleu Sunrise" panose="020B0504000000000004" pitchFamily="34" charset="-52"/>
              <a:ea typeface="SangBleu Sunrise" panose="020B0504000000000004" pitchFamily="34" charset="-52"/>
            </a:endParaRPr>
          </a:p>
          <a:p>
            <a:pPr marL="0" indent="0" rtl="0">
              <a:spcBef>
                <a:spcPts val="0"/>
              </a:spcBef>
              <a:spcAft>
                <a:spcPts val="0"/>
              </a:spcAft>
              <a:buNone/>
            </a:pP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Major international pharmaceutical companies, such as Novo Nordisk, could re-enter the Russian market, potentially reclaiming a significant share of key segments currently occupied by </a:t>
            </a:r>
            <a:r>
              <a:rPr lang="en-US" sz="800" dirty="0">
                <a:solidFill>
                  <a:srgbClr val="000000"/>
                </a:solidFill>
                <a:latin typeface="SangBleu Sunrise" panose="020B0504000000000004" pitchFamily="34" charset="-52"/>
                <a:ea typeface="SangBleu Sunrise" panose="020B0504000000000004" pitchFamily="34" charset="-52"/>
              </a:rPr>
              <a:t>PROMOMED</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 However, if a foreign company decides to re-enter Russia, it would need to conduct clinical trials and obtain regulatory approvals, which, given industry specifics, could take from 3 to 5 years, according to </a:t>
            </a:r>
            <a:r>
              <a:rPr lang="en-US" sz="800" dirty="0">
                <a:solidFill>
                  <a:srgbClr val="000000"/>
                </a:solidFill>
                <a:latin typeface="SangBleu Sunrise" panose="020B0504000000000004" pitchFamily="34" charset="-52"/>
                <a:ea typeface="SangBleu Sunrise" panose="020B0504000000000004" pitchFamily="34" charset="-52"/>
              </a:rPr>
              <a:t>PROMOMED recent reports</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a:t>
            </a:r>
            <a:endParaRPr lang="en-US" sz="800" b="0" dirty="0">
              <a:effectLst/>
              <a:latin typeface="SangBleu Sunrise" panose="020B0504000000000004" pitchFamily="34" charset="-52"/>
              <a:ea typeface="SangBleu Sunrise" panose="020B0504000000000004" pitchFamily="34" charset="-52"/>
            </a:endParaRPr>
          </a:p>
        </p:txBody>
      </p:sp>
      <p:sp>
        <p:nvSpPr>
          <p:cNvPr id="43" name="Title 3">
            <a:extLst>
              <a:ext uri="{FF2B5EF4-FFF2-40B4-BE49-F238E27FC236}">
                <a16:creationId xmlns:a16="http://schemas.microsoft.com/office/drawing/2014/main" id="{1B249B27-28FA-4836-9E0C-EFA2418AE307}"/>
              </a:ext>
            </a:extLst>
          </p:cNvPr>
          <p:cNvSpPr>
            <a:spLocks noGrp="1"/>
          </p:cNvSpPr>
          <p:nvPr>
            <p:ph type="title"/>
          </p:nvPr>
        </p:nvSpPr>
        <p:spPr>
          <a:xfrm>
            <a:off x="1040839" y="315188"/>
            <a:ext cx="4805958" cy="424732"/>
          </a:xfrm>
          <a:noFill/>
          <a:ln>
            <a:solidFill>
              <a:schemeClr val="bg1">
                <a:alpha val="98000"/>
              </a:schemeClr>
            </a:solidFill>
          </a:ln>
        </p:spPr>
        <p:txBody>
          <a:bodyPr vert="horz" wrap="square" anchor="ctr" anchorCtr="0">
            <a:spAutoFit/>
          </a:bodyPr>
          <a:lstStyle/>
          <a:p>
            <a:r>
              <a:rPr lang="en-US" sz="2400" dirty="0">
                <a:latin typeface="SangBleu Sunrise" panose="020B0504000000000004" pitchFamily="34" charset="-52"/>
                <a:ea typeface="SangBleu Sunrise" panose="020B0504000000000004" pitchFamily="34" charset="-52"/>
              </a:rPr>
              <a:t>Risks</a:t>
            </a:r>
            <a:endParaRPr lang="ru-RU" sz="2400" dirty="0">
              <a:latin typeface="SangBleu Sunrise" panose="020B0504000000000004" pitchFamily="34" charset="-52"/>
              <a:ea typeface="SangBleu Sunrise" panose="020B0504000000000004" pitchFamily="34" charset="-52"/>
            </a:endParaRPr>
          </a:p>
        </p:txBody>
      </p:sp>
      <p:sp>
        <p:nvSpPr>
          <p:cNvPr id="29" name="Title 3">
            <a:extLst>
              <a:ext uri="{FF2B5EF4-FFF2-40B4-BE49-F238E27FC236}">
                <a16:creationId xmlns:a16="http://schemas.microsoft.com/office/drawing/2014/main" id="{1DFE1847-9BA7-402B-8EBD-A7994143945A}"/>
              </a:ext>
            </a:extLst>
          </p:cNvPr>
          <p:cNvSpPr txBox="1">
            <a:spLocks/>
          </p:cNvSpPr>
          <p:nvPr/>
        </p:nvSpPr>
        <p:spPr>
          <a:xfrm>
            <a:off x="1170104" y="1089015"/>
            <a:ext cx="4805958" cy="203133"/>
          </a:xfrm>
          <a:prstGeom prst="rect">
            <a:avLst/>
          </a:prstGeom>
          <a:solidFill>
            <a:schemeClr val="accent1">
              <a:lumMod val="50000"/>
            </a:schemeClr>
          </a:solidFill>
          <a:ln>
            <a:solidFill>
              <a:schemeClr val="bg1">
                <a:alpha val="98000"/>
              </a:schemeClr>
            </a:solidFill>
          </a:ln>
        </p:spPr>
        <p:txBody>
          <a:bodyPr vert="horz" wrap="square" lIns="91440" tIns="45720" rIns="91440" bIns="45720" rtlCol="0" anchor="ctr" anchorCtr="0">
            <a:sp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dirty="0">
                <a:solidFill>
                  <a:schemeClr val="bg1"/>
                </a:solidFill>
                <a:latin typeface="SangBleu Sunrise" panose="020B0504000000000004" pitchFamily="34" charset="-52"/>
                <a:ea typeface="SangBleu Sunrise" panose="020B0504000000000004" pitchFamily="34" charset="-52"/>
              </a:rPr>
              <a:t>Risk Matrix</a:t>
            </a:r>
            <a:endParaRPr lang="ru-RU" sz="800" dirty="0">
              <a:solidFill>
                <a:schemeClr val="bg1"/>
              </a:solidFill>
              <a:latin typeface="SangBleu Sunrise" panose="020B0504000000000004" pitchFamily="34" charset="-52"/>
              <a:ea typeface="SangBleu Sunrise" panose="020B0504000000000004" pitchFamily="34" charset="-52"/>
            </a:endParaRPr>
          </a:p>
        </p:txBody>
      </p:sp>
      <p:sp>
        <p:nvSpPr>
          <p:cNvPr id="30" name="1. On-page tracker">
            <a:extLst>
              <a:ext uri="{FF2B5EF4-FFF2-40B4-BE49-F238E27FC236}">
                <a16:creationId xmlns:a16="http://schemas.microsoft.com/office/drawing/2014/main" id="{62ADD946-7CEB-4B46-9BA6-BC7632B4BE73}"/>
              </a:ext>
            </a:extLst>
          </p:cNvPr>
          <p:cNvSpPr txBox="1"/>
          <p:nvPr>
            <p:custDataLst>
              <p:tags r:id="rId3"/>
            </p:custDataLst>
          </p:nvPr>
        </p:nvSpPr>
        <p:spPr>
          <a:xfrm>
            <a:off x="746125" y="51596"/>
            <a:ext cx="1547813" cy="123111"/>
          </a:xfrm>
          <a:prstGeom prst="rect">
            <a:avLst/>
          </a:prstGeom>
          <a:solidFill>
            <a:schemeClr val="bg2"/>
          </a:solidFill>
        </p:spPr>
        <p:txBody>
          <a:bodyPr vert="horz" wrap="square" lIns="0" tIns="0" rIns="0" bIns="0" rtlCol="0">
            <a:spAutoFit/>
          </a:bodyPr>
          <a:lstStyle/>
          <a:p>
            <a:r>
              <a:rPr lang="en-US" sz="800" dirty="0">
                <a:latin typeface="SangBleu Sunrise" panose="020B0504000000000004" pitchFamily="34" charset="-52"/>
                <a:ea typeface="SangBleu Sunrise" panose="020B0504000000000004" pitchFamily="34" charset="-52"/>
              </a:rPr>
              <a:t>Risk Factors</a:t>
            </a:r>
            <a:endParaRPr lang="ru-RU" sz="800" dirty="0">
              <a:latin typeface="SangBleu Sunrise" panose="020B0504000000000004" pitchFamily="34" charset="-52"/>
              <a:ea typeface="SangBleu Sunrise" panose="020B0504000000000004" pitchFamily="34" charset="-52"/>
            </a:endParaRPr>
          </a:p>
        </p:txBody>
      </p:sp>
      <p:sp>
        <p:nvSpPr>
          <p:cNvPr id="31" name="TextBox 30">
            <a:extLst>
              <a:ext uri="{FF2B5EF4-FFF2-40B4-BE49-F238E27FC236}">
                <a16:creationId xmlns:a16="http://schemas.microsoft.com/office/drawing/2014/main" id="{FEC35DE8-0FCA-4FB2-A334-237BB2929C8C}"/>
              </a:ext>
            </a:extLst>
          </p:cNvPr>
          <p:cNvSpPr txBox="1">
            <a:spLocks/>
          </p:cNvSpPr>
          <p:nvPr/>
        </p:nvSpPr>
        <p:spPr>
          <a:xfrm>
            <a:off x="3690062" y="1643584"/>
            <a:ext cx="2286000" cy="1200329"/>
          </a:xfrm>
          <a:prstGeom prst="rect">
            <a:avLst/>
          </a:prstGeom>
        </p:spPr>
        <p:txBody>
          <a:bodyPr vert="horz" lIns="91440" tIns="45720" rIns="91440" bIns="45720" rtlCol="0">
            <a:no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rtl="0">
              <a:spcBef>
                <a:spcPts val="0"/>
              </a:spcBef>
              <a:spcAft>
                <a:spcPts val="0"/>
              </a:spcAft>
              <a:buNone/>
            </a:pPr>
            <a:r>
              <a:rPr lang="en-US" sz="800" b="1" i="0" u="none" strike="noStrike" dirty="0">
                <a:solidFill>
                  <a:srgbClr val="000000"/>
                </a:solidFill>
                <a:effectLst/>
                <a:latin typeface="SangBleu Sunrise" panose="020B0504000000000004" pitchFamily="34" charset="-52"/>
                <a:ea typeface="SangBleu Sunrise" panose="020B0504000000000004" pitchFamily="34" charset="-52"/>
              </a:rPr>
              <a:t>[A] Intensifying Competition (probability - low, impact - medium). </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In the oncology and endocrinology markets, Russian pharmaceutical companies could emerge as strong competitors. However, since clinical trials are a highly complex and time-consuming process, </a:t>
            </a:r>
            <a:r>
              <a:rPr lang="en-US" sz="800" dirty="0">
                <a:solidFill>
                  <a:srgbClr val="000000"/>
                </a:solidFill>
                <a:latin typeface="SangBleu Sunrise" panose="020B0504000000000004" pitchFamily="34" charset="-52"/>
                <a:ea typeface="SangBleu Sunrise" panose="020B0504000000000004" pitchFamily="34" charset="-52"/>
              </a:rPr>
              <a:t>PROMOMED</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 maintains a competitive advantage due to its established expertise and ongoing pipeline of innovative drugs.</a:t>
            </a:r>
            <a:endParaRPr lang="en-US" sz="800" b="0" dirty="0">
              <a:effectLst/>
              <a:latin typeface="SangBleu Sunrise" panose="020B0504000000000004" pitchFamily="34" charset="-52"/>
              <a:ea typeface="SangBleu Sunrise" panose="020B0504000000000004" pitchFamily="34" charset="-52"/>
            </a:endParaRPr>
          </a:p>
        </p:txBody>
      </p:sp>
      <p:sp>
        <p:nvSpPr>
          <p:cNvPr id="32" name="TextBox 31">
            <a:extLst>
              <a:ext uri="{FF2B5EF4-FFF2-40B4-BE49-F238E27FC236}">
                <a16:creationId xmlns:a16="http://schemas.microsoft.com/office/drawing/2014/main" id="{81871E86-D154-4D2F-A6EF-CA77BF5FA431}"/>
              </a:ext>
            </a:extLst>
          </p:cNvPr>
          <p:cNvSpPr txBox="1">
            <a:spLocks/>
          </p:cNvSpPr>
          <p:nvPr/>
        </p:nvSpPr>
        <p:spPr>
          <a:xfrm>
            <a:off x="3690062" y="5268920"/>
            <a:ext cx="2286000" cy="1089529"/>
          </a:xfrm>
          <a:prstGeom prst="rect">
            <a:avLst/>
          </a:prstGeom>
        </p:spPr>
        <p:txBody>
          <a:bodyPr vert="horz" lIns="91440" tIns="45720" rIns="91440" bIns="45720" rtlCol="0">
            <a:no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rtl="0">
              <a:spcBef>
                <a:spcPts val="0"/>
              </a:spcBef>
              <a:spcAft>
                <a:spcPts val="0"/>
              </a:spcAft>
              <a:buNone/>
            </a:pPr>
            <a:r>
              <a:rPr lang="en-US" sz="800" b="1" i="0" u="none" strike="noStrike" dirty="0">
                <a:solidFill>
                  <a:srgbClr val="000000"/>
                </a:solidFill>
                <a:effectLst/>
                <a:latin typeface="SangBleu Sunrise" panose="020B0504000000000004" pitchFamily="34" charset="-52"/>
                <a:ea typeface="SangBleu Sunrise" panose="020B0504000000000004" pitchFamily="34" charset="-52"/>
              </a:rPr>
              <a:t>[C] Development and Certification Risk (probability - low, impact - high)</a:t>
            </a:r>
            <a:endParaRPr lang="en-US" sz="800" b="0" dirty="0">
              <a:effectLst/>
              <a:latin typeface="SangBleu Sunrise" panose="020B0504000000000004" pitchFamily="34" charset="-52"/>
              <a:ea typeface="SangBleu Sunrise" panose="020B0504000000000004" pitchFamily="34" charset="-52"/>
            </a:endParaRPr>
          </a:p>
          <a:p>
            <a:pPr marL="0" indent="0" rtl="0">
              <a:spcBef>
                <a:spcPts val="0"/>
              </a:spcBef>
              <a:spcAft>
                <a:spcPts val="0"/>
              </a:spcAft>
              <a:buNone/>
            </a:pP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The development of new pharmaceutical products carries inherent risks. Clinical trials may not yield the expected results, and securing regulatory approval from the Ministry of Health can be a complex and uncertain process. This risk is related to </a:t>
            </a:r>
            <a:r>
              <a:rPr lang="en-US" sz="800" dirty="0">
                <a:solidFill>
                  <a:srgbClr val="000000"/>
                </a:solidFill>
                <a:latin typeface="SangBleu Sunrise" panose="020B0504000000000004" pitchFamily="34" charset="-52"/>
                <a:ea typeface="SangBleu Sunrise" panose="020B0504000000000004" pitchFamily="34" charset="-52"/>
              </a:rPr>
              <a:t>PROMOMED’s</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 perspective portfolio</a:t>
            </a:r>
            <a:endParaRPr lang="ru-RU" sz="800" dirty="0">
              <a:latin typeface="SangBleu Sunrise" panose="020B0504000000000004" pitchFamily="34" charset="-52"/>
              <a:ea typeface="SangBleu Sunrise" panose="020B0504000000000004" pitchFamily="34" charset="-52"/>
            </a:endParaRPr>
          </a:p>
        </p:txBody>
      </p:sp>
      <p:sp>
        <p:nvSpPr>
          <p:cNvPr id="41" name="TextBox 40">
            <a:extLst>
              <a:ext uri="{FF2B5EF4-FFF2-40B4-BE49-F238E27FC236}">
                <a16:creationId xmlns:a16="http://schemas.microsoft.com/office/drawing/2014/main" id="{F2BE4FBF-2A6A-47E4-A59D-0FABB89BF345}"/>
              </a:ext>
            </a:extLst>
          </p:cNvPr>
          <p:cNvSpPr txBox="1">
            <a:spLocks/>
          </p:cNvSpPr>
          <p:nvPr/>
        </p:nvSpPr>
        <p:spPr>
          <a:xfrm>
            <a:off x="3690062" y="6749190"/>
            <a:ext cx="2286000" cy="1089529"/>
          </a:xfrm>
          <a:prstGeom prst="rect">
            <a:avLst/>
          </a:prstGeom>
        </p:spPr>
        <p:txBody>
          <a:bodyPr vert="horz" wrap="square" lIns="91440" tIns="45720" rIns="91440" bIns="45720" rtlCol="0">
            <a:no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rtl="0">
              <a:spcBef>
                <a:spcPts val="0"/>
              </a:spcBef>
              <a:spcAft>
                <a:spcPts val="0"/>
              </a:spcAft>
              <a:buNone/>
            </a:pPr>
            <a:r>
              <a:rPr lang="en-US" sz="800" b="1" i="0" u="none" strike="noStrike" dirty="0">
                <a:solidFill>
                  <a:srgbClr val="000000"/>
                </a:solidFill>
                <a:effectLst/>
                <a:latin typeface="SangBleu Sunrise" panose="020B0504000000000004" pitchFamily="34" charset="-52"/>
                <a:ea typeface="SangBleu Sunrise" panose="020B0504000000000004" pitchFamily="34" charset="-52"/>
              </a:rPr>
              <a:t>[D] Dependence on Foreign Raw Material Suppliers (probability - low, impact - medium). </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A significant portion of </a:t>
            </a:r>
            <a:r>
              <a:rPr lang="en-US" sz="800" dirty="0">
                <a:solidFill>
                  <a:srgbClr val="000000"/>
                </a:solidFill>
                <a:latin typeface="SangBleu Sunrise" panose="020B0504000000000004" pitchFamily="34" charset="-52"/>
                <a:ea typeface="SangBleu Sunrise" panose="020B0504000000000004" pitchFamily="34" charset="-52"/>
              </a:rPr>
              <a:t>PROMOMED’s</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 raw materials is sourced from China and India. Sanction risks and potential difficulties with international payments could disrupt logistics and procurement financing, posing a threat to supply chain stability.</a:t>
            </a:r>
            <a:endParaRPr lang="en-US" sz="800" b="0" dirty="0">
              <a:effectLst/>
              <a:latin typeface="SangBleu Sunrise" panose="020B0504000000000004" pitchFamily="34" charset="-52"/>
              <a:ea typeface="SangBleu Sunrise" panose="020B0504000000000004" pitchFamily="34" charset="-52"/>
            </a:endParaRPr>
          </a:p>
        </p:txBody>
      </p:sp>
      <p:sp>
        <p:nvSpPr>
          <p:cNvPr id="45" name="TextBox 44">
            <a:extLst>
              <a:ext uri="{FF2B5EF4-FFF2-40B4-BE49-F238E27FC236}">
                <a16:creationId xmlns:a16="http://schemas.microsoft.com/office/drawing/2014/main" id="{14296ECD-225A-4BE4-89BC-65DA95E3B3A5}"/>
              </a:ext>
            </a:extLst>
          </p:cNvPr>
          <p:cNvSpPr txBox="1"/>
          <p:nvPr/>
        </p:nvSpPr>
        <p:spPr>
          <a:xfrm>
            <a:off x="1170104" y="5263684"/>
            <a:ext cx="2409003" cy="1865126"/>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rtl="0">
              <a:spcBef>
                <a:spcPts val="0"/>
              </a:spcBef>
              <a:spcAft>
                <a:spcPts val="0"/>
              </a:spcAft>
              <a:buNone/>
            </a:pPr>
            <a:r>
              <a:rPr lang="en-US" sz="800" b="1" i="0" u="none" strike="noStrike" dirty="0">
                <a:solidFill>
                  <a:srgbClr val="000000"/>
                </a:solidFill>
                <a:effectLst/>
                <a:latin typeface="SangBleu Sunrise" panose="020B0504000000000004" pitchFamily="34" charset="-52"/>
                <a:ea typeface="SangBleu Sunrise" panose="020B0504000000000004" pitchFamily="34" charset="-52"/>
              </a:rPr>
              <a:t>[F] Government Procurement Dependency(probability - low, impact - high). </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Nearly half of </a:t>
            </a:r>
            <a:r>
              <a:rPr lang="en-US" sz="800" dirty="0">
                <a:solidFill>
                  <a:srgbClr val="000000"/>
                </a:solidFill>
                <a:latin typeface="SangBleu Sunrise" panose="020B0504000000000004" pitchFamily="34" charset="-52"/>
                <a:ea typeface="SangBleu Sunrise" panose="020B0504000000000004" pitchFamily="34" charset="-52"/>
              </a:rPr>
              <a:t>PROMOMED’s</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 revenue depends on government contracts. A decrease in state healthcare funding or delays in contract execution could have a significant impact on cash flow. Additionally, changes in procurement regulations or licensing requirements may create challenges in securing contracts, potentially slowing revenue growth. However, given that government involvement is a common characteristic of the pharmaceutical industry, this risk is not unique to </a:t>
            </a:r>
            <a:r>
              <a:rPr lang="en-US" sz="800" dirty="0">
                <a:solidFill>
                  <a:srgbClr val="000000"/>
                </a:solidFill>
                <a:latin typeface="SangBleu Sunrise" panose="020B0504000000000004" pitchFamily="34" charset="-52"/>
                <a:ea typeface="SangBleu Sunrise" panose="020B0504000000000004" pitchFamily="34" charset="-52"/>
              </a:rPr>
              <a:t>PROMOMED</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 but affects the entire sector.</a:t>
            </a:r>
            <a:br>
              <a:rPr lang="en-US" sz="800" dirty="0">
                <a:latin typeface="SangBleu Sunrise" panose="020B0504000000000004" pitchFamily="34" charset="-52"/>
                <a:ea typeface="SangBleu Sunrise" panose="020B0504000000000004" pitchFamily="34" charset="-52"/>
              </a:rPr>
            </a:br>
            <a:endParaRPr lang="ru-RU" sz="800" dirty="0">
              <a:latin typeface="SangBleu Sunrise" panose="020B0504000000000004" pitchFamily="34" charset="-52"/>
              <a:ea typeface="SangBleu Sunrise" panose="020B0504000000000004" pitchFamily="34" charset="-52"/>
            </a:endParaRPr>
          </a:p>
        </p:txBody>
      </p:sp>
      <p:cxnSp>
        <p:nvCxnSpPr>
          <p:cNvPr id="6" name="Straight Connector 5">
            <a:extLst>
              <a:ext uri="{FF2B5EF4-FFF2-40B4-BE49-F238E27FC236}">
                <a16:creationId xmlns:a16="http://schemas.microsoft.com/office/drawing/2014/main" id="{8037A955-7F7A-4E6E-9E14-78BAD45209AB}"/>
              </a:ext>
            </a:extLst>
          </p:cNvPr>
          <p:cNvCxnSpPr>
            <a:cxnSpLocks/>
          </p:cNvCxnSpPr>
          <p:nvPr/>
        </p:nvCxnSpPr>
        <p:spPr>
          <a:xfrm>
            <a:off x="3690062" y="6553819"/>
            <a:ext cx="2286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6F18434-309D-4087-BDF4-D625FE0202E9}"/>
              </a:ext>
            </a:extLst>
          </p:cNvPr>
          <p:cNvCxnSpPr>
            <a:cxnSpLocks/>
          </p:cNvCxnSpPr>
          <p:nvPr/>
        </p:nvCxnSpPr>
        <p:spPr>
          <a:xfrm>
            <a:off x="3690062" y="5073550"/>
            <a:ext cx="2286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CF98298-523B-4B71-94A1-B0A8BE06344F}"/>
              </a:ext>
            </a:extLst>
          </p:cNvPr>
          <p:cNvCxnSpPr>
            <a:cxnSpLocks/>
          </p:cNvCxnSpPr>
          <p:nvPr/>
        </p:nvCxnSpPr>
        <p:spPr>
          <a:xfrm>
            <a:off x="3690062" y="3039283"/>
            <a:ext cx="2286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D765E6F-C8DB-484E-82ED-121158702739}"/>
              </a:ext>
            </a:extLst>
          </p:cNvPr>
          <p:cNvCxnSpPr>
            <a:cxnSpLocks/>
          </p:cNvCxnSpPr>
          <p:nvPr/>
        </p:nvCxnSpPr>
        <p:spPr>
          <a:xfrm>
            <a:off x="1170104" y="5073550"/>
            <a:ext cx="240900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02A779A4-FAC2-4082-99FF-5100124A1542}"/>
              </a:ext>
            </a:extLst>
          </p:cNvPr>
          <p:cNvSpPr txBox="1"/>
          <p:nvPr/>
        </p:nvSpPr>
        <p:spPr>
          <a:xfrm>
            <a:off x="2532141" y="3158455"/>
            <a:ext cx="550812" cy="175433"/>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600" b="1" dirty="0">
                <a:solidFill>
                  <a:schemeClr val="tx1">
                    <a:lumMod val="75000"/>
                    <a:lumOff val="25000"/>
                  </a:schemeClr>
                </a:solidFill>
                <a:latin typeface="SangBleu Sunrise" panose="020B0504000000000004" pitchFamily="34" charset="-52"/>
                <a:ea typeface="SangBleu Sunrise" panose="020B0504000000000004" pitchFamily="34" charset="-52"/>
              </a:rPr>
              <a:t>C, F</a:t>
            </a: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sp>
        <p:nvSpPr>
          <p:cNvPr id="55" name="TextBox 54">
            <a:extLst>
              <a:ext uri="{FF2B5EF4-FFF2-40B4-BE49-F238E27FC236}">
                <a16:creationId xmlns:a16="http://schemas.microsoft.com/office/drawing/2014/main" id="{E8B08CF4-BBD9-4C4F-A7BE-E4A107E66B14}"/>
              </a:ext>
            </a:extLst>
          </p:cNvPr>
          <p:cNvSpPr txBox="1"/>
          <p:nvPr/>
        </p:nvSpPr>
        <p:spPr>
          <a:xfrm>
            <a:off x="2035606" y="3158455"/>
            <a:ext cx="372068" cy="175433"/>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600" b="1" dirty="0">
                <a:solidFill>
                  <a:schemeClr val="tx1">
                    <a:lumMod val="75000"/>
                    <a:lumOff val="25000"/>
                  </a:schemeClr>
                </a:solidFill>
                <a:latin typeface="SangBleu Sunrise" panose="020B0504000000000004" pitchFamily="34" charset="-52"/>
                <a:ea typeface="SangBleu Sunrise" panose="020B0504000000000004" pitchFamily="34" charset="-52"/>
              </a:rPr>
              <a:t>A, D</a:t>
            </a: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sp>
        <p:nvSpPr>
          <p:cNvPr id="56" name="TextBox 55">
            <a:extLst>
              <a:ext uri="{FF2B5EF4-FFF2-40B4-BE49-F238E27FC236}">
                <a16:creationId xmlns:a16="http://schemas.microsoft.com/office/drawing/2014/main" id="{301D47F8-6849-42F1-A390-275C8D02E7DF}"/>
              </a:ext>
            </a:extLst>
          </p:cNvPr>
          <p:cNvSpPr txBox="1"/>
          <p:nvPr/>
        </p:nvSpPr>
        <p:spPr>
          <a:xfrm>
            <a:off x="1451956" y="3158455"/>
            <a:ext cx="372068" cy="175433"/>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sp>
        <p:nvSpPr>
          <p:cNvPr id="60" name="TextBox 59">
            <a:extLst>
              <a:ext uri="{FF2B5EF4-FFF2-40B4-BE49-F238E27FC236}">
                <a16:creationId xmlns:a16="http://schemas.microsoft.com/office/drawing/2014/main" id="{BBDFC36F-840B-4F01-8D05-7AEB99AD0023}"/>
              </a:ext>
            </a:extLst>
          </p:cNvPr>
          <p:cNvSpPr txBox="1"/>
          <p:nvPr/>
        </p:nvSpPr>
        <p:spPr>
          <a:xfrm>
            <a:off x="1954984" y="2576961"/>
            <a:ext cx="550812" cy="175433"/>
          </a:xfrm>
          <a:prstGeom prst="rect">
            <a:avLst/>
          </a:prstGeom>
        </p:spPr>
        <p:txBody>
          <a:bodyPr vert="horz" wrap="square" lIns="91440" tIns="45720" rIns="91440" bIns="45720" rtlCol="0">
            <a:spAutoFit/>
          </a:bodyPr>
          <a:lstStyle>
            <a:lvl1pPr marL="171450" lvl="0" indent="-171450" defTabSz="685800">
              <a:lnSpc>
                <a:spcPct val="90000"/>
              </a:lnSpc>
              <a:spcBef>
                <a:spcPts val="750"/>
              </a:spcBef>
              <a:buFont typeface="Arial" panose="020B0604020202020204" pitchFamily="34" charset="0"/>
              <a:buChar char="•"/>
              <a:defRPr sz="2100"/>
            </a:lvl1pPr>
            <a:lvl2pPr marL="514350" lvl="1" indent="-171450" defTabSz="685800">
              <a:lnSpc>
                <a:spcPct val="90000"/>
              </a:lnSpc>
              <a:spcBef>
                <a:spcPts val="375"/>
              </a:spcBef>
              <a:buFont typeface="Arial" panose="020B0604020202020204" pitchFamily="34" charset="0"/>
              <a:buChar char="•"/>
            </a:lvl2pPr>
            <a:lvl3pPr marL="857250" lvl="2" indent="-171450" defTabSz="685800">
              <a:lnSpc>
                <a:spcPct val="90000"/>
              </a:lnSpc>
              <a:spcBef>
                <a:spcPts val="375"/>
              </a:spcBef>
              <a:buFont typeface="Arial" panose="020B0604020202020204" pitchFamily="34" charset="0"/>
              <a:buChar char="•"/>
              <a:defRPr sz="1500"/>
            </a:lvl3pPr>
            <a:lvl4pPr marL="1200150" lvl="3" indent="-171450" defTabSz="685800">
              <a:lnSpc>
                <a:spcPct val="90000"/>
              </a:lnSpc>
              <a:spcBef>
                <a:spcPts val="375"/>
              </a:spcBef>
              <a:buFont typeface="Arial" panose="020B0604020202020204" pitchFamily="34" charset="0"/>
              <a:buChar char="•"/>
              <a:defRPr sz="1350"/>
            </a:lvl4pPr>
            <a:lvl5pPr marL="1543050" lvl="4"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600" b="1" dirty="0">
                <a:solidFill>
                  <a:schemeClr val="tx1">
                    <a:lumMod val="75000"/>
                    <a:lumOff val="25000"/>
                  </a:schemeClr>
                </a:solidFill>
                <a:latin typeface="SangBleu Sunrise" panose="020B0504000000000004" pitchFamily="34" charset="-52"/>
                <a:ea typeface="SangBleu Sunrise" panose="020B0504000000000004" pitchFamily="34" charset="-52"/>
              </a:rPr>
              <a:t>B, E</a:t>
            </a:r>
            <a:endParaRPr lang="ru-RU" sz="600" b="1" dirty="0">
              <a:solidFill>
                <a:schemeClr val="tx1">
                  <a:lumMod val="75000"/>
                  <a:lumOff val="25000"/>
                </a:schemeClr>
              </a:solidFill>
              <a:latin typeface="SangBleu Sunrise" panose="020B0504000000000004" pitchFamily="34" charset="-52"/>
              <a:ea typeface="SangBleu Sunrise" panose="020B0504000000000004" pitchFamily="34" charset="-52"/>
            </a:endParaRPr>
          </a:p>
        </p:txBody>
      </p:sp>
      <p:sp>
        <p:nvSpPr>
          <p:cNvPr id="67" name="5. Source">
            <a:extLst>
              <a:ext uri="{FF2B5EF4-FFF2-40B4-BE49-F238E27FC236}">
                <a16:creationId xmlns:a16="http://schemas.microsoft.com/office/drawing/2014/main" id="{326DB9F4-7A03-4984-99FB-43F68003268C}"/>
              </a:ext>
            </a:extLst>
          </p:cNvPr>
          <p:cNvSpPr txBox="1"/>
          <p:nvPr>
            <p:custDataLst>
              <p:tags r:id="rId4"/>
            </p:custDataLst>
          </p:nvPr>
        </p:nvSpPr>
        <p:spPr>
          <a:xfrm>
            <a:off x="642937" y="9649539"/>
            <a:ext cx="5700713" cy="123111"/>
          </a:xfrm>
          <a:prstGeom prst="rect">
            <a:avLst/>
          </a:prstGeom>
          <a:noFill/>
        </p:spPr>
        <p:txBody>
          <a:bodyPr vert="horz" wrap="square" lIns="0" tIns="0" rIns="0" bIns="0" rtlCol="0" anchor="b" anchorCtr="0">
            <a:spAutoFit/>
          </a:bodyPr>
          <a:lstStyle/>
          <a:p>
            <a:r>
              <a:rPr lang="fr-FR" sz="800" dirty="0">
                <a:latin typeface="SangBleu Sunrise" panose="020B0504000000000004" pitchFamily="34" charset="-52"/>
                <a:ea typeface="SangBleu Sunrise" panose="020B0504000000000004" pitchFamily="34" charset="-52"/>
              </a:rPr>
              <a:t>SOURCE: </a:t>
            </a:r>
            <a:r>
              <a:rPr lang="en-US" sz="800" dirty="0">
                <a:latin typeface="SangBleu Sunrise" panose="020B0504000000000004" pitchFamily="34" charset="-52"/>
                <a:ea typeface="SangBleu Sunrise" panose="020B0504000000000004" pitchFamily="34" charset="-52"/>
              </a:rPr>
              <a:t>PROMOMED prospectus, Strategy Partners report, own calculations, BCS report</a:t>
            </a:r>
            <a:endParaRPr lang="fr-FR" sz="800" dirty="0">
              <a:latin typeface="SangBleu Sunrise" panose="020B0504000000000004" pitchFamily="34" charset="-52"/>
              <a:ea typeface="SangBleu Sunrise" panose="020B0504000000000004" pitchFamily="34" charset="-52"/>
            </a:endParaRPr>
          </a:p>
        </p:txBody>
      </p:sp>
    </p:spTree>
    <p:extLst>
      <p:ext uri="{BB962C8B-B14F-4D97-AF65-F5344CB8AC3E}">
        <p14:creationId xmlns:p14="http://schemas.microsoft.com/office/powerpoint/2010/main" val="11935014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D4FE7E-DE6C-4F35-B505-6CC6CC141975}"/>
              </a:ext>
            </a:extLst>
          </p:cNvPr>
          <p:cNvGraphicFramePr>
            <a:graphicFrameLocks noChangeAspect="1"/>
          </p:cNvGraphicFramePr>
          <p:nvPr>
            <p:custDataLst>
              <p:tags r:id="rId2"/>
            </p:custDataLst>
            <p:extLst>
              <p:ext uri="{D42A27DB-BD31-4B8C-83A1-F6EECF244321}">
                <p14:modId xmlns:p14="http://schemas.microsoft.com/office/powerpoint/2010/main" val="1441039166"/>
              </p:ext>
            </p:extLst>
          </p:nvPr>
        </p:nvGraphicFramePr>
        <p:xfrm>
          <a:off x="644228" y="1290"/>
          <a:ext cx="1290" cy="1290"/>
        </p:xfrm>
        <a:graphic>
          <a:graphicData uri="http://schemas.openxmlformats.org/presentationml/2006/ole">
            <mc:AlternateContent xmlns:mc="http://schemas.openxmlformats.org/markup-compatibility/2006">
              <mc:Choice xmlns:v="urn:schemas-microsoft-com:vml" Requires="v">
                <p:oleObj spid="_x0000_s16476" name="think-cell Slide" r:id="rId33" imgW="395" imgH="396" progId="TCLayout.ActiveDocument.1">
                  <p:embed/>
                </p:oleObj>
              </mc:Choice>
              <mc:Fallback>
                <p:oleObj name="think-cell Slide" r:id="rId33" imgW="395" imgH="396" progId="TCLayout.ActiveDocument.1">
                  <p:embed/>
                  <p:pic>
                    <p:nvPicPr>
                      <p:cNvPr id="3" name="think-cell data - do not delete" hidden="1">
                        <a:extLst>
                          <a:ext uri="{FF2B5EF4-FFF2-40B4-BE49-F238E27FC236}">
                            <a16:creationId xmlns:a16="http://schemas.microsoft.com/office/drawing/2014/main" id="{89D4FE7E-DE6C-4F35-B505-6CC6CC141975}"/>
                          </a:ext>
                        </a:extLst>
                      </p:cNvPr>
                      <p:cNvPicPr/>
                      <p:nvPr/>
                    </p:nvPicPr>
                    <p:blipFill>
                      <a:blip r:embed="rId34"/>
                      <a:stretch>
                        <a:fillRect/>
                      </a:stretch>
                    </p:blipFill>
                    <p:spPr>
                      <a:xfrm>
                        <a:off x="644228" y="1290"/>
                        <a:ext cx="1290" cy="1290"/>
                      </a:xfrm>
                      <a:prstGeom prst="rect">
                        <a:avLst/>
                      </a:prstGeom>
                    </p:spPr>
                  </p:pic>
                </p:oleObj>
              </mc:Fallback>
            </mc:AlternateContent>
          </a:graphicData>
        </a:graphic>
      </p:graphicFrame>
      <p:sp>
        <p:nvSpPr>
          <p:cNvPr id="137" name="Rectangle 136">
            <a:extLst>
              <a:ext uri="{FF2B5EF4-FFF2-40B4-BE49-F238E27FC236}">
                <a16:creationId xmlns:a16="http://schemas.microsoft.com/office/drawing/2014/main" id="{227A9D23-647B-47B0-A763-335D7F37A30B}"/>
              </a:ext>
            </a:extLst>
          </p:cNvPr>
          <p:cNvSpPr/>
          <p:nvPr/>
        </p:nvSpPr>
        <p:spPr>
          <a:xfrm>
            <a:off x="2628806" y="2290145"/>
            <a:ext cx="3987196" cy="956965"/>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900" b="1" dirty="0">
                <a:solidFill>
                  <a:schemeClr val="tx1"/>
                </a:solidFill>
                <a:latin typeface="SangBleu Sunrise" panose="020B0504000000000004" pitchFamily="34" charset="-52"/>
                <a:ea typeface="SangBleu Sunrise" panose="020B0504000000000004" pitchFamily="34" charset="-52"/>
              </a:rPr>
              <a:t>PROMOMED</a:t>
            </a:r>
            <a:r>
              <a:rPr lang="en-US" sz="813" dirty="0">
                <a:solidFill>
                  <a:schemeClr val="tx1"/>
                </a:solidFill>
                <a:latin typeface="SangBleu Sunrise" panose="020B0504000000000004" pitchFamily="34" charset="-52"/>
                <a:ea typeface="SangBleu Sunrise" panose="020B0504000000000004" pitchFamily="34" charset="-52"/>
              </a:rPr>
              <a:t> is a prominent Russian </a:t>
            </a:r>
            <a:r>
              <a:rPr lang="en-US" sz="813" b="1" dirty="0">
                <a:solidFill>
                  <a:schemeClr val="tx1"/>
                </a:solidFill>
                <a:latin typeface="SangBleu Sunrise" panose="020B0504000000000004" pitchFamily="34" charset="-52"/>
                <a:ea typeface="SangBleu Sunrise" panose="020B0504000000000004" pitchFamily="34" charset="-52"/>
              </a:rPr>
              <a:t>biopharmaceutical company </a:t>
            </a:r>
            <a:r>
              <a:rPr lang="en-US" sz="813" dirty="0">
                <a:solidFill>
                  <a:schemeClr val="tx1"/>
                </a:solidFill>
                <a:latin typeface="SangBleu Sunrise" panose="020B0504000000000004" pitchFamily="34" charset="-52"/>
                <a:ea typeface="SangBleu Sunrise" panose="020B0504000000000004" pitchFamily="34" charset="-52"/>
              </a:rPr>
              <a:t>specializing in </a:t>
            </a:r>
            <a:r>
              <a:rPr lang="en-US" sz="813" b="1" dirty="0">
                <a:solidFill>
                  <a:schemeClr val="tx1"/>
                </a:solidFill>
                <a:latin typeface="SangBleu Sunrise" panose="020B0504000000000004" pitchFamily="34" charset="-52"/>
                <a:ea typeface="SangBleu Sunrise" panose="020B0504000000000004" pitchFamily="34" charset="-52"/>
              </a:rPr>
              <a:t>innovative therapies</a:t>
            </a:r>
            <a:r>
              <a:rPr lang="en-US" sz="813" dirty="0">
                <a:solidFill>
                  <a:schemeClr val="tx1"/>
                </a:solidFill>
                <a:latin typeface="SangBleu Sunrise" panose="020B0504000000000004" pitchFamily="34" charset="-52"/>
                <a:ea typeface="SangBleu Sunrise" panose="020B0504000000000004" pitchFamily="34" charset="-52"/>
              </a:rPr>
              <a:t>. It operates a fully integrated model — from in-house R&amp;D to production at its </a:t>
            </a:r>
            <a:r>
              <a:rPr lang="en-US" sz="813" dirty="0" err="1">
                <a:solidFill>
                  <a:schemeClr val="tx1"/>
                </a:solidFill>
                <a:latin typeface="SangBleu Sunrise" panose="020B0504000000000004" pitchFamily="34" charset="-52"/>
                <a:ea typeface="SangBleu Sunrise" panose="020B0504000000000004" pitchFamily="34" charset="-52"/>
              </a:rPr>
              <a:t>Biochemik</a:t>
            </a:r>
            <a:r>
              <a:rPr lang="en-US" sz="813" dirty="0">
                <a:solidFill>
                  <a:schemeClr val="tx1"/>
                </a:solidFill>
                <a:latin typeface="SangBleu Sunrise" panose="020B0504000000000004" pitchFamily="34" charset="-52"/>
                <a:ea typeface="SangBleu Sunrise" panose="020B0504000000000004" pitchFamily="34" charset="-52"/>
              </a:rPr>
              <a:t> facility. The company focuses primarily on </a:t>
            </a:r>
            <a:r>
              <a:rPr lang="en-US" sz="813" b="1" dirty="0">
                <a:solidFill>
                  <a:schemeClr val="tx1"/>
                </a:solidFill>
                <a:latin typeface="SangBleu Sunrise" panose="020B0504000000000004" pitchFamily="34" charset="-52"/>
                <a:ea typeface="SangBleu Sunrise" panose="020B0504000000000004" pitchFamily="34" charset="-52"/>
              </a:rPr>
              <a:t>oncolog</a:t>
            </a:r>
            <a:r>
              <a:rPr lang="en-US" sz="813" dirty="0">
                <a:solidFill>
                  <a:schemeClr val="tx1"/>
                </a:solidFill>
                <a:latin typeface="SangBleu Sunrise" panose="020B0504000000000004" pitchFamily="34" charset="-52"/>
                <a:ea typeface="SangBleu Sunrise" panose="020B0504000000000004" pitchFamily="34" charset="-52"/>
              </a:rPr>
              <a:t>y and </a:t>
            </a:r>
            <a:r>
              <a:rPr lang="en-US" sz="813" b="1" dirty="0">
                <a:solidFill>
                  <a:schemeClr val="tx1"/>
                </a:solidFill>
                <a:latin typeface="SangBleu Sunrise" panose="020B0504000000000004" pitchFamily="34" charset="-52"/>
                <a:ea typeface="SangBleu Sunrise" panose="020B0504000000000004" pitchFamily="34" charset="-52"/>
              </a:rPr>
              <a:t>endocrinology</a:t>
            </a:r>
            <a:r>
              <a:rPr lang="en-US" sz="813" dirty="0">
                <a:solidFill>
                  <a:schemeClr val="tx1"/>
                </a:solidFill>
                <a:latin typeface="SangBleu Sunrise" panose="020B0504000000000004" pitchFamily="34" charset="-52"/>
                <a:ea typeface="SangBleu Sunrise" panose="020B0504000000000004" pitchFamily="34" charset="-52"/>
              </a:rPr>
              <a:t> and continues to expand its portfolio of proprietary drugs.</a:t>
            </a:r>
          </a:p>
          <a:p>
            <a:r>
              <a:rPr lang="en-US" sz="813" dirty="0">
                <a:solidFill>
                  <a:schemeClr val="tx1"/>
                </a:solidFill>
                <a:latin typeface="SangBleu Sunrise" panose="020B0504000000000004" pitchFamily="34" charset="-52"/>
                <a:ea typeface="SangBleu Sunrise" panose="020B0504000000000004" pitchFamily="34" charset="-52"/>
              </a:rPr>
              <a:t>Notably, over the years company has built extensive expertise in </a:t>
            </a:r>
            <a:r>
              <a:rPr lang="en-US" sz="813" b="1" dirty="0">
                <a:solidFill>
                  <a:schemeClr val="tx1"/>
                </a:solidFill>
                <a:latin typeface="SangBleu Sunrise" panose="020B0504000000000004" pitchFamily="34" charset="-52"/>
                <a:ea typeface="SangBleu Sunrise" panose="020B0504000000000004" pitchFamily="34" charset="-52"/>
              </a:rPr>
              <a:t>drug development.</a:t>
            </a:r>
          </a:p>
          <a:p>
            <a:endParaRPr lang="en-US" sz="813" dirty="0" err="1">
              <a:solidFill>
                <a:schemeClr val="tx1"/>
              </a:solidFill>
              <a:latin typeface="SangBleu Sunrise" panose="020B0504000000000004" pitchFamily="34" charset="-52"/>
              <a:ea typeface="SangBleu Sunrise" panose="020B0504000000000004" pitchFamily="34" charset="-52"/>
            </a:endParaRPr>
          </a:p>
        </p:txBody>
      </p:sp>
      <p:graphicFrame>
        <p:nvGraphicFramePr>
          <p:cNvPr id="72" name="Chart 71">
            <a:extLst>
              <a:ext uri="{FF2B5EF4-FFF2-40B4-BE49-F238E27FC236}">
                <a16:creationId xmlns:a16="http://schemas.microsoft.com/office/drawing/2014/main" id="{3E3324B5-ACE6-4F00-B445-3A31F30ED8C3}"/>
              </a:ext>
            </a:extLst>
          </p:cNvPr>
          <p:cNvGraphicFramePr/>
          <p:nvPr>
            <p:custDataLst>
              <p:tags r:id="rId3"/>
            </p:custDataLst>
            <p:extLst>
              <p:ext uri="{D42A27DB-BD31-4B8C-83A1-F6EECF244321}">
                <p14:modId xmlns:p14="http://schemas.microsoft.com/office/powerpoint/2010/main" val="1174557291"/>
              </p:ext>
            </p:extLst>
          </p:nvPr>
        </p:nvGraphicFramePr>
        <p:xfrm>
          <a:off x="733425" y="4565650"/>
          <a:ext cx="1966913" cy="2244725"/>
        </p:xfrm>
        <a:graphic>
          <a:graphicData uri="http://schemas.openxmlformats.org/drawingml/2006/chart">
            <c:chart xmlns:c="http://schemas.openxmlformats.org/drawingml/2006/chart" xmlns:r="http://schemas.openxmlformats.org/officeDocument/2006/relationships" r:id="rId35"/>
          </a:graphicData>
        </a:graphic>
      </p:graphicFrame>
      <p:sp>
        <p:nvSpPr>
          <p:cNvPr id="125" name="Text Placeholder 2">
            <a:extLst>
              <a:ext uri="{FF2B5EF4-FFF2-40B4-BE49-F238E27FC236}">
                <a16:creationId xmlns:a16="http://schemas.microsoft.com/office/drawing/2014/main" id="{D1E82711-0B04-4F72-80D2-4328BAD81FA1}"/>
              </a:ext>
            </a:extLst>
          </p:cNvPr>
          <p:cNvSpPr>
            <a:spLocks noGrp="1"/>
          </p:cNvSpPr>
          <p:nvPr>
            <p:custDataLst>
              <p:tags r:id="rId4"/>
            </p:custDataLst>
          </p:nvPr>
        </p:nvSpPr>
        <p:spPr bwMode="gray">
          <a:xfrm>
            <a:off x="1768475" y="4879975"/>
            <a:ext cx="185738" cy="109538"/>
          </a:xfrm>
          <a:prstGeom prst="rect">
            <a:avLst/>
          </a:prstGeom>
          <a:solidFill>
            <a:schemeClr val="bg1"/>
          </a:solidFill>
          <a:ln>
            <a:noFill/>
          </a:ln>
          <a:effectLst/>
        </p:spPr>
        <p:txBody>
          <a:bodyPr vert="horz" wrap="none" lIns="14288" tIns="0" rIns="14288"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01E5E3DD-2A82-44AF-B83E-10E90D39B9E8}" type="datetime'''''''''''''''''6''''''''''''''''''''''%'''''''''">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6%</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cxnSp>
        <p:nvCxnSpPr>
          <p:cNvPr id="53" name="Straight Connector 52">
            <a:extLst>
              <a:ext uri="{FF2B5EF4-FFF2-40B4-BE49-F238E27FC236}">
                <a16:creationId xmlns:a16="http://schemas.microsoft.com/office/drawing/2014/main" id="{2D33B698-4DD6-41EC-BE59-E6A45AB7F390}"/>
              </a:ext>
            </a:extLst>
          </p:cNvPr>
          <p:cNvCxnSpPr/>
          <p:nvPr>
            <p:custDataLst>
              <p:tags r:id="rId5"/>
            </p:custDataLst>
          </p:nvPr>
        </p:nvCxnSpPr>
        <p:spPr bwMode="auto">
          <a:xfrm>
            <a:off x="1004888" y="7874000"/>
            <a:ext cx="492918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C0490CDD-3C19-47BF-BFAC-6347B0DC4E0E}"/>
              </a:ext>
            </a:extLst>
          </p:cNvPr>
          <p:cNvCxnSpPr/>
          <p:nvPr>
            <p:custDataLst>
              <p:tags r:id="rId6"/>
            </p:custDataLst>
          </p:nvPr>
        </p:nvCxnSpPr>
        <p:spPr bwMode="auto">
          <a:xfrm>
            <a:off x="1004888" y="9032875"/>
            <a:ext cx="0" cy="333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DC75CC1C-BB27-4502-BA0A-5807F62C17B2}"/>
              </a:ext>
            </a:extLst>
          </p:cNvPr>
          <p:cNvCxnSpPr/>
          <p:nvPr>
            <p:custDataLst>
              <p:tags r:id="rId7"/>
            </p:custDataLst>
          </p:nvPr>
        </p:nvCxnSpPr>
        <p:spPr bwMode="auto">
          <a:xfrm>
            <a:off x="2009775" y="9032875"/>
            <a:ext cx="0" cy="333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12FF739C-B303-44E2-84F5-018D972BD702}"/>
              </a:ext>
            </a:extLst>
          </p:cNvPr>
          <p:cNvCxnSpPr/>
          <p:nvPr>
            <p:custDataLst>
              <p:tags r:id="rId8"/>
            </p:custDataLst>
          </p:nvPr>
        </p:nvCxnSpPr>
        <p:spPr bwMode="auto">
          <a:xfrm>
            <a:off x="2998788" y="9032875"/>
            <a:ext cx="0" cy="333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5ED22C95-4A4A-4686-939D-6F1CB12B9A12}"/>
              </a:ext>
            </a:extLst>
          </p:cNvPr>
          <p:cNvCxnSpPr/>
          <p:nvPr>
            <p:custDataLst>
              <p:tags r:id="rId9"/>
            </p:custDataLst>
          </p:nvPr>
        </p:nvCxnSpPr>
        <p:spPr bwMode="auto">
          <a:xfrm>
            <a:off x="3987800" y="9032875"/>
            <a:ext cx="0" cy="333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72C2A2F-75BF-4071-A13C-25CCD700FEC7}"/>
              </a:ext>
            </a:extLst>
          </p:cNvPr>
          <p:cNvCxnSpPr/>
          <p:nvPr>
            <p:custDataLst>
              <p:tags r:id="rId10"/>
            </p:custDataLst>
          </p:nvPr>
        </p:nvCxnSpPr>
        <p:spPr bwMode="auto">
          <a:xfrm>
            <a:off x="4945063" y="9032875"/>
            <a:ext cx="0" cy="333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2A475D50-AB2F-4AF8-B9DC-651393425648}"/>
              </a:ext>
            </a:extLst>
          </p:cNvPr>
          <p:cNvCxnSpPr/>
          <p:nvPr>
            <p:custDataLst>
              <p:tags r:id="rId11"/>
            </p:custDataLst>
          </p:nvPr>
        </p:nvCxnSpPr>
        <p:spPr bwMode="auto">
          <a:xfrm>
            <a:off x="5934075" y="9032875"/>
            <a:ext cx="0" cy="333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3" name="Chart 62">
            <a:extLst>
              <a:ext uri="{FF2B5EF4-FFF2-40B4-BE49-F238E27FC236}">
                <a16:creationId xmlns:a16="http://schemas.microsoft.com/office/drawing/2014/main" id="{379A4EB3-ADB8-44F3-9B67-CB5F034610CC}"/>
              </a:ext>
            </a:extLst>
          </p:cNvPr>
          <p:cNvGraphicFramePr/>
          <p:nvPr>
            <p:custDataLst>
              <p:tags r:id="rId12"/>
            </p:custDataLst>
            <p:extLst>
              <p:ext uri="{D42A27DB-BD31-4B8C-83A1-F6EECF244321}">
                <p14:modId xmlns:p14="http://schemas.microsoft.com/office/powerpoint/2010/main" val="2513121516"/>
              </p:ext>
            </p:extLst>
          </p:nvPr>
        </p:nvGraphicFramePr>
        <p:xfrm>
          <a:off x="614363" y="7456488"/>
          <a:ext cx="5402262" cy="1704975"/>
        </p:xfrm>
        <a:graphic>
          <a:graphicData uri="http://schemas.openxmlformats.org/drawingml/2006/chart">
            <c:chart xmlns:c="http://schemas.openxmlformats.org/drawingml/2006/chart" xmlns:r="http://schemas.openxmlformats.org/officeDocument/2006/relationships" r:id="rId36"/>
          </a:graphicData>
        </a:graphic>
      </p:graphicFrame>
      <p:sp>
        <p:nvSpPr>
          <p:cNvPr id="36" name="Text Placeholder 2">
            <a:extLst>
              <a:ext uri="{FF2B5EF4-FFF2-40B4-BE49-F238E27FC236}">
                <a16:creationId xmlns:a16="http://schemas.microsoft.com/office/drawing/2014/main" id="{2C086890-FDDA-4CA0-BD9F-9A23C2C1526A}"/>
              </a:ext>
            </a:extLst>
          </p:cNvPr>
          <p:cNvSpPr>
            <a:spLocks noGrp="1"/>
          </p:cNvSpPr>
          <p:nvPr>
            <p:custDataLst>
              <p:tags r:id="rId13"/>
            </p:custDataLst>
          </p:nvPr>
        </p:nvSpPr>
        <p:spPr bwMode="gray">
          <a:xfrm>
            <a:off x="727075" y="9109075"/>
            <a:ext cx="5556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8F76A9B-B708-4BEB-9685-B64063FD7C77}" type="datetime'''''0''''''''''''1.''''''''07''''.2''02''''''''''4'">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01.07.2024</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7" name="Text Placeholder 2">
            <a:extLst>
              <a:ext uri="{FF2B5EF4-FFF2-40B4-BE49-F238E27FC236}">
                <a16:creationId xmlns:a16="http://schemas.microsoft.com/office/drawing/2014/main" id="{64B971B3-CF95-4360-9B8C-6AC561B0DEB5}"/>
              </a:ext>
            </a:extLst>
          </p:cNvPr>
          <p:cNvSpPr>
            <a:spLocks noGrp="1"/>
          </p:cNvSpPr>
          <p:nvPr>
            <p:custDataLst>
              <p:tags r:id="rId14"/>
            </p:custDataLst>
          </p:nvPr>
        </p:nvSpPr>
        <p:spPr bwMode="gray">
          <a:xfrm>
            <a:off x="1728788" y="9109075"/>
            <a:ext cx="56197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BAE4E7E-932B-4F0A-B9FA-C5FD6339E1E2}" type="datetime'0''''1''.''''0''''''''''''''''''''9''''''.''20''''''24'''''''">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01.09.2024</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8" name="Text Placeholder 2">
            <a:extLst>
              <a:ext uri="{FF2B5EF4-FFF2-40B4-BE49-F238E27FC236}">
                <a16:creationId xmlns:a16="http://schemas.microsoft.com/office/drawing/2014/main" id="{D8A948C0-E689-4A44-8682-AD9D6B22A6DE}"/>
              </a:ext>
            </a:extLst>
          </p:cNvPr>
          <p:cNvSpPr>
            <a:spLocks noGrp="1"/>
          </p:cNvSpPr>
          <p:nvPr>
            <p:custDataLst>
              <p:tags r:id="rId15"/>
            </p:custDataLst>
          </p:nvPr>
        </p:nvSpPr>
        <p:spPr bwMode="gray">
          <a:xfrm>
            <a:off x="2746375" y="9109075"/>
            <a:ext cx="50641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7DEA8B0-51C1-491B-BCCC-CCA42D20F83D}" type="datetime'0''''1.''''1''1''''''''''.''''''''2''''0''''''24'">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01.11.2024</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9" name="Text Placeholder 2">
            <a:extLst>
              <a:ext uri="{FF2B5EF4-FFF2-40B4-BE49-F238E27FC236}">
                <a16:creationId xmlns:a16="http://schemas.microsoft.com/office/drawing/2014/main" id="{5557472A-6543-4822-BC6B-5229D9E562EB}"/>
              </a:ext>
            </a:extLst>
          </p:cNvPr>
          <p:cNvSpPr>
            <a:spLocks noGrp="1"/>
          </p:cNvSpPr>
          <p:nvPr>
            <p:custDataLst>
              <p:tags r:id="rId16"/>
            </p:custDataLst>
          </p:nvPr>
        </p:nvSpPr>
        <p:spPr bwMode="gray">
          <a:xfrm>
            <a:off x="3724275" y="9109075"/>
            <a:ext cx="5270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29E44A2B-5597-4269-A2D6-4C10190FD361}" type="datetime'''0''''''''1.''''0''''''''''''1''.2''''''02''''''''5'''''">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01.01.2025</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0" name="Text Placeholder 2">
            <a:extLst>
              <a:ext uri="{FF2B5EF4-FFF2-40B4-BE49-F238E27FC236}">
                <a16:creationId xmlns:a16="http://schemas.microsoft.com/office/drawing/2014/main" id="{5DDD9B60-7077-4C7C-A068-85CEBA850AA4}"/>
              </a:ext>
            </a:extLst>
          </p:cNvPr>
          <p:cNvSpPr>
            <a:spLocks noGrp="1"/>
          </p:cNvSpPr>
          <p:nvPr>
            <p:custDataLst>
              <p:tags r:id="rId17"/>
            </p:custDataLst>
          </p:nvPr>
        </p:nvSpPr>
        <p:spPr bwMode="gray">
          <a:xfrm>
            <a:off x="4672013" y="9109075"/>
            <a:ext cx="5476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C5EB5F7-64ED-4C43-9489-D1A57F22EADE}" type="datetime'''''''''''0''''1.''''0''''3''''''''.''2''0''''''''25'''''''''">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01.03.2025</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2" name="Text Placeholder 2">
            <a:extLst>
              <a:ext uri="{FF2B5EF4-FFF2-40B4-BE49-F238E27FC236}">
                <a16:creationId xmlns:a16="http://schemas.microsoft.com/office/drawing/2014/main" id="{316262C8-2CA5-4EF4-9124-05A66A2BAAF9}"/>
              </a:ext>
            </a:extLst>
          </p:cNvPr>
          <p:cNvSpPr>
            <a:spLocks noGrp="1"/>
          </p:cNvSpPr>
          <p:nvPr>
            <p:custDataLst>
              <p:tags r:id="rId18"/>
            </p:custDataLst>
          </p:nvPr>
        </p:nvSpPr>
        <p:spPr bwMode="gray">
          <a:xfrm>
            <a:off x="5661025" y="9109075"/>
            <a:ext cx="5476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FB72EFF-C50B-4982-843F-EDDD143C9FEB}" type="datetime'''''''''''''''0''''''''1''.''''05''''''.2''''0''''2''''''5'">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01.05.2025</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3" name="1. On-page tracker">
            <a:extLst>
              <a:ext uri="{FF2B5EF4-FFF2-40B4-BE49-F238E27FC236}">
                <a16:creationId xmlns:a16="http://schemas.microsoft.com/office/drawing/2014/main" id="{D5CE9AE4-483D-4530-AAC5-3607DB646DC9}"/>
              </a:ext>
            </a:extLst>
          </p:cNvPr>
          <p:cNvSpPr txBox="1"/>
          <p:nvPr>
            <p:custDataLst>
              <p:tags r:id="rId19"/>
            </p:custDataLst>
          </p:nvPr>
        </p:nvSpPr>
        <p:spPr>
          <a:xfrm>
            <a:off x="746125" y="51596"/>
            <a:ext cx="1547813" cy="123111"/>
          </a:xfrm>
          <a:prstGeom prst="rect">
            <a:avLst/>
          </a:prstGeom>
          <a:solidFill>
            <a:schemeClr val="bg2"/>
          </a:solidFill>
        </p:spPr>
        <p:txBody>
          <a:bodyPr vert="horz" wrap="square" lIns="0" tIns="0" rIns="0" bIns="0" rtlCol="0">
            <a:spAutoFit/>
          </a:bodyPr>
          <a:lstStyle/>
          <a:p>
            <a:r>
              <a:rPr lang="en-US" sz="800" dirty="0">
                <a:latin typeface="SangBleu Sunrise" panose="020B0504000000000004" pitchFamily="34" charset="-52"/>
                <a:ea typeface="SangBleu Sunrise" panose="020B0504000000000004" pitchFamily="34" charset="-52"/>
              </a:rPr>
              <a:t>General Information</a:t>
            </a:r>
            <a:endParaRPr lang="ru-RU" sz="800" dirty="0">
              <a:latin typeface="SangBleu Sunrise" panose="020B0504000000000004" pitchFamily="34" charset="-52"/>
              <a:ea typeface="SangBleu Sunrise" panose="020B0504000000000004" pitchFamily="34" charset="-52"/>
            </a:endParaRPr>
          </a:p>
        </p:txBody>
      </p:sp>
      <p:sp>
        <p:nvSpPr>
          <p:cNvPr id="86" name="Rectangle 85">
            <a:extLst>
              <a:ext uri="{FF2B5EF4-FFF2-40B4-BE49-F238E27FC236}">
                <a16:creationId xmlns:a16="http://schemas.microsoft.com/office/drawing/2014/main" id="{84554C5B-F3B4-4510-87C1-BD1D02962747}"/>
              </a:ext>
            </a:extLst>
          </p:cNvPr>
          <p:cNvSpPr>
            <a:spLocks/>
          </p:cNvSpPr>
          <p:nvPr>
            <p:custDataLst>
              <p:tags r:id="rId20"/>
            </p:custDataLst>
          </p:nvPr>
        </p:nvSpPr>
        <p:spPr>
          <a:xfrm>
            <a:off x="2250275" y="9345612"/>
            <a:ext cx="2220913" cy="233363"/>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PROMOMED Stock Price, RUB</a:t>
            </a:r>
          </a:p>
        </p:txBody>
      </p:sp>
      <p:cxnSp>
        <p:nvCxnSpPr>
          <p:cNvPr id="448" name="Straight Connector 447">
            <a:extLst>
              <a:ext uri="{FF2B5EF4-FFF2-40B4-BE49-F238E27FC236}">
                <a16:creationId xmlns:a16="http://schemas.microsoft.com/office/drawing/2014/main" id="{C427E4CE-8F30-47DB-8167-F4E7264068B3}"/>
              </a:ext>
            </a:extLst>
          </p:cNvPr>
          <p:cNvCxnSpPr/>
          <p:nvPr>
            <p:custDataLst>
              <p:tags r:id="rId21"/>
            </p:custDataLst>
          </p:nvPr>
        </p:nvCxnSpPr>
        <p:spPr bwMode="gray">
          <a:xfrm>
            <a:off x="1065213" y="7700963"/>
            <a:ext cx="160338" cy="0"/>
          </a:xfrm>
          <a:prstGeom prst="line">
            <a:avLst/>
          </a:prstGeom>
          <a:ln w="19050"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 name="Text Placeholder 2">
            <a:extLst>
              <a:ext uri="{FF2B5EF4-FFF2-40B4-BE49-F238E27FC236}">
                <a16:creationId xmlns:a16="http://schemas.microsoft.com/office/drawing/2014/main" id="{0AC0C4A3-2EEC-4532-827E-D18A62A00D17}"/>
              </a:ext>
            </a:extLst>
          </p:cNvPr>
          <p:cNvSpPr>
            <a:spLocks noGrp="1"/>
          </p:cNvSpPr>
          <p:nvPr>
            <p:custDataLst>
              <p:tags r:id="rId22"/>
            </p:custDataLst>
          </p:nvPr>
        </p:nvSpPr>
        <p:spPr bwMode="auto">
          <a:xfrm>
            <a:off x="1285875" y="7642225"/>
            <a:ext cx="4286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3DAFD3BC-6DF0-4F6B-A4D9-09F0FB74A45F}" type="datetime'''''''''''''''''''''''''P''''''''R''''''''M''''D'''''''">
              <a:rPr lang="en-US" altLang="en-US" sz="1000" b="1" smtClean="0">
                <a:solidFill>
                  <a:srgbClr val="364D6E"/>
                </a:solidFill>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PRMD</a:t>
            </a:fld>
            <a:endParaRPr lang="ru-RU" sz="1000" b="1" dirty="0">
              <a:solidFill>
                <a:srgbClr val="364D6E"/>
              </a:solidFill>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66" name="Rectangle 465">
            <a:extLst>
              <a:ext uri="{FF2B5EF4-FFF2-40B4-BE49-F238E27FC236}">
                <a16:creationId xmlns:a16="http://schemas.microsoft.com/office/drawing/2014/main" id="{57808CDE-CF1D-4065-B79A-E2A3BAFEB5AB}"/>
              </a:ext>
            </a:extLst>
          </p:cNvPr>
          <p:cNvSpPr/>
          <p:nvPr>
            <p:custDataLst>
              <p:tags r:id="rId23"/>
            </p:custDataLst>
          </p:nvPr>
        </p:nvSpPr>
        <p:spPr bwMode="auto">
          <a:xfrm>
            <a:off x="944563" y="5689600"/>
            <a:ext cx="142875" cy="106363"/>
          </a:xfrm>
          <a:prstGeom prst="rect">
            <a:avLst/>
          </a:prstGeom>
          <a:pattFill prst="pct10">
            <a:fgClr>
              <a:schemeClr val="tx1"/>
            </a:fgClr>
            <a:bgClr>
              <a:schemeClr val="bg1"/>
            </a:bgClr>
          </a:pattFill>
          <a:ln w="6350"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8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467" name="Rectangle 466">
            <a:extLst>
              <a:ext uri="{FF2B5EF4-FFF2-40B4-BE49-F238E27FC236}">
                <a16:creationId xmlns:a16="http://schemas.microsoft.com/office/drawing/2014/main" id="{D31D32E8-26D1-4D88-9BC2-1CD17B4768C8}"/>
              </a:ext>
            </a:extLst>
          </p:cNvPr>
          <p:cNvSpPr/>
          <p:nvPr>
            <p:custDataLst>
              <p:tags r:id="rId24"/>
            </p:custDataLst>
          </p:nvPr>
        </p:nvSpPr>
        <p:spPr bwMode="auto">
          <a:xfrm>
            <a:off x="944563" y="5854700"/>
            <a:ext cx="142875" cy="106363"/>
          </a:xfrm>
          <a:prstGeom prst="rect">
            <a:avLst/>
          </a:prstGeom>
          <a:solidFill>
            <a:srgbClr val="6F8DB9"/>
          </a:solidFill>
          <a:ln w="6350"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8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468" name="Rectangle 467">
            <a:extLst>
              <a:ext uri="{FF2B5EF4-FFF2-40B4-BE49-F238E27FC236}">
                <a16:creationId xmlns:a16="http://schemas.microsoft.com/office/drawing/2014/main" id="{17D206D8-A8AB-434E-813C-EB1F15009E8B}"/>
              </a:ext>
            </a:extLst>
          </p:cNvPr>
          <p:cNvSpPr/>
          <p:nvPr>
            <p:custDataLst>
              <p:tags r:id="rId25"/>
            </p:custDataLst>
          </p:nvPr>
        </p:nvSpPr>
        <p:spPr bwMode="auto">
          <a:xfrm>
            <a:off x="944563" y="6019800"/>
            <a:ext cx="142875" cy="106363"/>
          </a:xfrm>
          <a:prstGeom prst="rect">
            <a:avLst/>
          </a:prstGeom>
          <a:solidFill>
            <a:srgbClr val="4C6C9C"/>
          </a:solidFill>
          <a:ln w="6350"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8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111" name="Text Placeholder 2">
            <a:extLst>
              <a:ext uri="{FF2B5EF4-FFF2-40B4-BE49-F238E27FC236}">
                <a16:creationId xmlns:a16="http://schemas.microsoft.com/office/drawing/2014/main" id="{030957C6-87A2-4FB7-AA0C-83A4D9E7D57F}"/>
              </a:ext>
            </a:extLst>
          </p:cNvPr>
          <p:cNvSpPr>
            <a:spLocks noGrp="1"/>
          </p:cNvSpPr>
          <p:nvPr>
            <p:custDataLst>
              <p:tags r:id="rId26"/>
            </p:custDataLst>
          </p:nvPr>
        </p:nvSpPr>
        <p:spPr bwMode="auto">
          <a:xfrm>
            <a:off x="1138238" y="5694363"/>
            <a:ext cx="141287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C12000D5-0CD8-46E7-8A2F-CD1EA138EAD9}" type="datetime'O''OO'''''''' ''''''''''&quot;P''ro''m''o''m''ed Holding''''''s&quot;'''">
              <a:rPr lang="en-US" altLang="en-US" sz="800" smtClean="0">
                <a:solidFill>
                  <a:srgbClr val="FFFFFF"/>
                </a:solidFill>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OOO "Promomed Holdings"</a:t>
            </a:fld>
            <a:endParaRPr lang="ru-RU" sz="800" dirty="0">
              <a:solidFill>
                <a:srgbClr val="FFFFFF"/>
              </a:solidFill>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12" name="Text Placeholder 2">
            <a:extLst>
              <a:ext uri="{FF2B5EF4-FFF2-40B4-BE49-F238E27FC236}">
                <a16:creationId xmlns:a16="http://schemas.microsoft.com/office/drawing/2014/main" id="{A04B0814-D971-49D7-9036-ADD16E8797B4}"/>
              </a:ext>
            </a:extLst>
          </p:cNvPr>
          <p:cNvSpPr>
            <a:spLocks noGrp="1"/>
          </p:cNvSpPr>
          <p:nvPr>
            <p:custDataLst>
              <p:tags r:id="rId27"/>
            </p:custDataLst>
          </p:nvPr>
        </p:nvSpPr>
        <p:spPr bwMode="auto">
          <a:xfrm>
            <a:off x="1138238" y="5859463"/>
            <a:ext cx="5048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CA4FD6F7-7BA0-4484-B793-FC44574A36C2}" type="datetime'''''''Fr''e''''''''e'''''''''''' ''''F''''''''''''lo''''a''t'">
              <a:rPr lang="en-US" altLang="en-US" sz="800" smtClean="0">
                <a:solidFill>
                  <a:srgbClr val="FFFFFF"/>
                </a:solidFill>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Free Float</a:t>
            </a:fld>
            <a:endParaRPr lang="ru-RU" sz="800" dirty="0">
              <a:solidFill>
                <a:srgbClr val="FFFFFF"/>
              </a:solidFill>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34" name="Text Placeholder 2">
            <a:extLst>
              <a:ext uri="{FF2B5EF4-FFF2-40B4-BE49-F238E27FC236}">
                <a16:creationId xmlns:a16="http://schemas.microsoft.com/office/drawing/2014/main" id="{B50ADAB4-8412-4E2E-A28A-374661412C48}"/>
              </a:ext>
            </a:extLst>
          </p:cNvPr>
          <p:cNvSpPr>
            <a:spLocks noGrp="1"/>
          </p:cNvSpPr>
          <p:nvPr>
            <p:custDataLst>
              <p:tags r:id="rId28"/>
            </p:custDataLst>
          </p:nvPr>
        </p:nvSpPr>
        <p:spPr bwMode="auto">
          <a:xfrm>
            <a:off x="1138238" y="6024563"/>
            <a:ext cx="44767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D797F932-29E3-4B15-826A-DD25BA792C1D}" type="datetime'''''Be''ly'''''''''''' ''''''''''''''''''''P''.A.'">
              <a:rPr lang="en-US" altLang="en-US" sz="800" smtClean="0">
                <a:solidFill>
                  <a:srgbClr val="FFFFFF"/>
                </a:solidFill>
                <a:latin typeface="SangBleu Sunrise" panose="020B0504000000000004" pitchFamily="34" charset="-52"/>
                <a:ea typeface="SangBleu Sunrise" panose="020B0504000000000004" pitchFamily="34" charset="-52"/>
              </a:rPr>
              <a:pPr/>
              <a:t>Bely P.A.</a:t>
            </a:fld>
            <a:endParaRPr lang="ru-RU" sz="800" dirty="0">
              <a:solidFill>
                <a:srgbClr val="FFFFFF"/>
              </a:solidFill>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53" name="Rectangle 152">
            <a:extLst>
              <a:ext uri="{FF2B5EF4-FFF2-40B4-BE49-F238E27FC236}">
                <a16:creationId xmlns:a16="http://schemas.microsoft.com/office/drawing/2014/main" id="{7C1BBDE4-821C-4EB2-AE22-F8F0B013A2E1}"/>
              </a:ext>
            </a:extLst>
          </p:cNvPr>
          <p:cNvSpPr>
            <a:spLocks/>
          </p:cNvSpPr>
          <p:nvPr>
            <p:custDataLst>
              <p:tags r:id="rId29"/>
            </p:custDataLst>
          </p:nvPr>
        </p:nvSpPr>
        <p:spPr>
          <a:xfrm>
            <a:off x="746125" y="6640511"/>
            <a:ext cx="1742579" cy="233363"/>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Shareholder Capital Structure</a:t>
            </a:r>
          </a:p>
        </p:txBody>
      </p:sp>
      <p:graphicFrame>
        <p:nvGraphicFramePr>
          <p:cNvPr id="478" name="Table 478">
            <a:extLst>
              <a:ext uri="{FF2B5EF4-FFF2-40B4-BE49-F238E27FC236}">
                <a16:creationId xmlns:a16="http://schemas.microsoft.com/office/drawing/2014/main" id="{9D939A8E-2E2F-4662-8C18-3C114AA0EE44}"/>
              </a:ext>
            </a:extLst>
          </p:cNvPr>
          <p:cNvGraphicFramePr>
            <a:graphicFrameLocks noGrp="1"/>
          </p:cNvGraphicFramePr>
          <p:nvPr>
            <p:custDataLst>
              <p:tags r:id="rId30"/>
            </p:custDataLst>
            <p:extLst>
              <p:ext uri="{D42A27DB-BD31-4B8C-83A1-F6EECF244321}">
                <p14:modId xmlns:p14="http://schemas.microsoft.com/office/powerpoint/2010/main" val="2816009125"/>
              </p:ext>
            </p:extLst>
          </p:nvPr>
        </p:nvGraphicFramePr>
        <p:xfrm>
          <a:off x="746125" y="2290145"/>
          <a:ext cx="1742579" cy="2217782"/>
        </p:xfrm>
        <a:graphic>
          <a:graphicData uri="http://schemas.openxmlformats.org/drawingml/2006/table">
            <a:tbl>
              <a:tblPr firstRow="1">
                <a:tableStyleId>{5C22544A-7EE6-4342-B048-85BDC9FD1C3A}</a:tableStyleId>
              </a:tblPr>
              <a:tblGrid>
                <a:gridCol w="995759">
                  <a:extLst>
                    <a:ext uri="{9D8B030D-6E8A-4147-A177-3AD203B41FA5}">
                      <a16:colId xmlns:a16="http://schemas.microsoft.com/office/drawing/2014/main" val="174004598"/>
                    </a:ext>
                  </a:extLst>
                </a:gridCol>
                <a:gridCol w="746820">
                  <a:extLst>
                    <a:ext uri="{9D8B030D-6E8A-4147-A177-3AD203B41FA5}">
                      <a16:colId xmlns:a16="http://schemas.microsoft.com/office/drawing/2014/main" val="2725850379"/>
                    </a:ext>
                  </a:extLst>
                </a:gridCol>
              </a:tblGrid>
              <a:tr h="374842">
                <a:tc>
                  <a:txBody>
                    <a:bodyPr/>
                    <a:lstStyle/>
                    <a:p>
                      <a:r>
                        <a:rPr lang="en-US" sz="800" b="1" i="0" u="none" dirty="0">
                          <a:solidFill>
                            <a:schemeClr val="tx1"/>
                          </a:solidFill>
                          <a:latin typeface="SangBleu Sunrise" panose="020B0504000000000004" pitchFamily="34" charset="-52"/>
                          <a:ea typeface="SangBleu Sunrise" panose="020B0504000000000004" pitchFamily="34" charset="-52"/>
                        </a:rPr>
                        <a:t>Ticker</a:t>
                      </a:r>
                      <a:endParaRPr lang="ru-RU" sz="800" b="1" i="0" u="none" dirty="0">
                        <a:solidFill>
                          <a:schemeClr val="tx1"/>
                        </a:solidFill>
                        <a:latin typeface="SangBleu Sunrise" panose="020B0504000000000004" pitchFamily="34" charset="-52"/>
                        <a:ea typeface="SangBleu Sunrise" panose="020B0504000000000004" pitchFamily="34" charset="-52"/>
                      </a:endParaRPr>
                    </a:p>
                  </a:txBody>
                  <a:tcPr marL="36000" marR="36000" marT="36000" marB="36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800" b="0" i="0" u="none" dirty="0">
                          <a:solidFill>
                            <a:schemeClr val="tx1"/>
                          </a:solidFill>
                          <a:latin typeface="SangBleu Sunrise" panose="020B0504000000000004" pitchFamily="34" charset="-52"/>
                          <a:ea typeface="SangBleu Sunrise" panose="020B0504000000000004" pitchFamily="34" charset="-52"/>
                        </a:rPr>
                        <a:t>PRMD</a:t>
                      </a:r>
                      <a:endParaRPr lang="ru-RU" sz="800" b="0" i="0" u="none" dirty="0">
                        <a:solidFill>
                          <a:schemeClr val="tx1"/>
                        </a:solidFill>
                        <a:latin typeface="SangBleu Sunrise" panose="020B0504000000000004" pitchFamily="34" charset="-52"/>
                        <a:ea typeface="SangBleu Sunrise" panose="020B0504000000000004" pitchFamily="34" charset="-52"/>
                      </a:endParaRPr>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745669475"/>
                  </a:ext>
                </a:extLst>
              </a:tr>
              <a:tr h="393844">
                <a:tc>
                  <a:txBody>
                    <a:bodyPr/>
                    <a:lstStyle/>
                    <a:p>
                      <a:r>
                        <a:rPr lang="en-US" sz="800" b="1" u="none" dirty="0">
                          <a:solidFill>
                            <a:schemeClr val="tx1"/>
                          </a:solidFill>
                          <a:latin typeface="SangBleu Sunrise" panose="020B0504000000000004" pitchFamily="34" charset="-52"/>
                          <a:ea typeface="SangBleu Sunrise" panose="020B0504000000000004" pitchFamily="34" charset="-52"/>
                        </a:rPr>
                        <a:t>Enterprise Value, </a:t>
                      </a:r>
                      <a:r>
                        <a:rPr lang="en-US" sz="800" b="1" u="none" dirty="0" err="1">
                          <a:solidFill>
                            <a:schemeClr val="tx1"/>
                          </a:solidFill>
                          <a:latin typeface="SangBleu Sunrise" panose="020B0504000000000004" pitchFamily="34" charset="-52"/>
                          <a:ea typeface="SangBleu Sunrise" panose="020B0504000000000004" pitchFamily="34" charset="-52"/>
                        </a:rPr>
                        <a:t>bln</a:t>
                      </a:r>
                      <a:r>
                        <a:rPr lang="en-US" sz="800" b="1" u="none" dirty="0">
                          <a:solidFill>
                            <a:schemeClr val="tx1"/>
                          </a:solidFill>
                          <a:latin typeface="SangBleu Sunrise" panose="020B0504000000000004" pitchFamily="34" charset="-52"/>
                          <a:ea typeface="SangBleu Sunrise" panose="020B0504000000000004" pitchFamily="34" charset="-52"/>
                        </a:rPr>
                        <a:t> RUB</a:t>
                      </a:r>
                      <a:endParaRPr lang="ru-RU" sz="800" b="1" i="0" u="none" dirty="0">
                        <a:solidFill>
                          <a:schemeClr val="tx1"/>
                        </a:solidFill>
                        <a:latin typeface="SangBleu Sunrise" panose="020B0504000000000004" pitchFamily="34" charset="-52"/>
                        <a:ea typeface="SangBleu Sunrise" panose="020B0504000000000004" pitchFamily="34" charset="-52"/>
                      </a:endParaRPr>
                    </a:p>
                  </a:txBody>
                  <a:tcPr marL="36000" marR="36000" marT="36000" marB="36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US" sz="800" b="0" i="0" u="none" dirty="0">
                          <a:solidFill>
                            <a:schemeClr val="tx1"/>
                          </a:solidFill>
                          <a:latin typeface="SangBleu Sunrise" panose="020B0504000000000004" pitchFamily="34" charset="-52"/>
                          <a:ea typeface="SangBleu Sunrise" panose="020B0504000000000004" pitchFamily="34" charset="-52"/>
                        </a:rPr>
                        <a:t>113,0</a:t>
                      </a:r>
                      <a:endParaRPr lang="ru-RU" sz="800" b="0" i="0" u="none" dirty="0">
                        <a:solidFill>
                          <a:schemeClr val="tx1"/>
                        </a:solidFill>
                        <a:latin typeface="SangBleu Sunrise" panose="020B0504000000000004" pitchFamily="34" charset="-52"/>
                        <a:ea typeface="SangBleu Sunrise" panose="020B0504000000000004" pitchFamily="34" charset="-52"/>
                      </a:endParaRPr>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139765621"/>
                  </a:ext>
                </a:extLst>
              </a:tr>
              <a:tr h="545875">
                <a:tc>
                  <a:txBody>
                    <a:bodyPr/>
                    <a:lstStyle/>
                    <a:p>
                      <a:r>
                        <a:rPr lang="en-US" sz="800" b="1" i="0" u="none" dirty="0">
                          <a:solidFill>
                            <a:schemeClr val="tx1"/>
                          </a:solidFill>
                          <a:latin typeface="SangBleu Sunrise" panose="020B0504000000000004" pitchFamily="34" charset="-52"/>
                          <a:ea typeface="SangBleu Sunrise" panose="020B0504000000000004" pitchFamily="34" charset="-52"/>
                        </a:rPr>
                        <a:t>Market Capitalization, </a:t>
                      </a:r>
                      <a:r>
                        <a:rPr lang="en-US" sz="800" b="1" i="0" u="none" dirty="0" err="1">
                          <a:solidFill>
                            <a:schemeClr val="tx1"/>
                          </a:solidFill>
                          <a:latin typeface="SangBleu Sunrise" panose="020B0504000000000004" pitchFamily="34" charset="-52"/>
                          <a:ea typeface="SangBleu Sunrise" panose="020B0504000000000004" pitchFamily="34" charset="-52"/>
                        </a:rPr>
                        <a:t>bln</a:t>
                      </a:r>
                      <a:r>
                        <a:rPr lang="en-US" sz="800" b="1" i="0" u="none" dirty="0">
                          <a:solidFill>
                            <a:schemeClr val="tx1"/>
                          </a:solidFill>
                          <a:latin typeface="SangBleu Sunrise" panose="020B0504000000000004" pitchFamily="34" charset="-52"/>
                          <a:ea typeface="SangBleu Sunrise" panose="020B0504000000000004" pitchFamily="34" charset="-52"/>
                        </a:rPr>
                        <a:t> RUB</a:t>
                      </a:r>
                      <a:endParaRPr lang="ru-RU" sz="800" b="1" i="0" u="none" dirty="0">
                        <a:solidFill>
                          <a:schemeClr val="tx1"/>
                        </a:solidFill>
                        <a:latin typeface="SangBleu Sunrise" panose="020B0504000000000004" pitchFamily="34" charset="-52"/>
                        <a:ea typeface="SangBleu Sunrise" panose="020B0504000000000004" pitchFamily="34" charset="-52"/>
                      </a:endParaRPr>
                    </a:p>
                  </a:txBody>
                  <a:tcPr marL="36000" marR="36000" marT="36000" marB="36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800" b="0" i="0" u="none" dirty="0">
                          <a:solidFill>
                            <a:schemeClr val="tx1"/>
                          </a:solidFill>
                          <a:latin typeface="SangBleu Sunrise" panose="020B0504000000000004" pitchFamily="34" charset="-52"/>
                          <a:ea typeface="SangBleu Sunrise" panose="020B0504000000000004" pitchFamily="34" charset="-52"/>
                        </a:rPr>
                        <a:t>86,4</a:t>
                      </a:r>
                      <a:endParaRPr lang="ru-RU" sz="800" b="0" i="0" u="none" dirty="0">
                        <a:solidFill>
                          <a:schemeClr val="tx1"/>
                        </a:solidFill>
                        <a:latin typeface="SangBleu Sunrise" panose="020B0504000000000004" pitchFamily="34" charset="-52"/>
                        <a:ea typeface="SangBleu Sunrise" panose="020B0504000000000004" pitchFamily="34" charset="-52"/>
                      </a:endParaRPr>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819459930"/>
                  </a:ext>
                </a:extLst>
              </a:tr>
              <a:tr h="41959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1" i="0" u="none" dirty="0">
                          <a:solidFill>
                            <a:schemeClr val="tx1"/>
                          </a:solidFill>
                          <a:latin typeface="SangBleu Sunrise" panose="020B0504000000000004" pitchFamily="34" charset="-52"/>
                          <a:ea typeface="SangBleu Sunrise" panose="020B0504000000000004" pitchFamily="34" charset="-52"/>
                        </a:rPr>
                        <a:t>Revenue, </a:t>
                      </a:r>
                      <a:r>
                        <a:rPr lang="en-US" sz="800" b="1" i="0" u="none" dirty="0" err="1">
                          <a:solidFill>
                            <a:schemeClr val="tx1"/>
                          </a:solidFill>
                          <a:latin typeface="SangBleu Sunrise" panose="020B0504000000000004" pitchFamily="34" charset="-52"/>
                          <a:ea typeface="SangBleu Sunrise" panose="020B0504000000000004" pitchFamily="34" charset="-52"/>
                        </a:rPr>
                        <a:t>bln</a:t>
                      </a:r>
                      <a:r>
                        <a:rPr lang="en-US" sz="800" b="1" i="0" u="none" dirty="0">
                          <a:solidFill>
                            <a:schemeClr val="tx1"/>
                          </a:solidFill>
                          <a:latin typeface="SangBleu Sunrise" panose="020B0504000000000004" pitchFamily="34" charset="-52"/>
                          <a:ea typeface="SangBleu Sunrise" panose="020B0504000000000004" pitchFamily="34" charset="-52"/>
                        </a:rPr>
                        <a:t> RUB (2024)</a:t>
                      </a:r>
                      <a:endParaRPr lang="ru-RU" sz="800" b="1" i="0" u="none" dirty="0">
                        <a:solidFill>
                          <a:schemeClr val="tx1"/>
                        </a:solidFill>
                        <a:latin typeface="SangBleu Sunrise" panose="020B0504000000000004" pitchFamily="34" charset="-52"/>
                        <a:ea typeface="SangBleu Sunrise" panose="020B0504000000000004" pitchFamily="34" charset="-52"/>
                      </a:endParaRPr>
                    </a:p>
                  </a:txBody>
                  <a:tcPr marL="36000" marR="36000" marT="36000" marB="36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0" i="0" u="none" dirty="0">
                          <a:solidFill>
                            <a:schemeClr val="tx1"/>
                          </a:solidFill>
                          <a:latin typeface="SangBleu Sunrise" panose="020B0504000000000004" pitchFamily="34" charset="-52"/>
                          <a:ea typeface="SangBleu Sunrise" panose="020B0504000000000004" pitchFamily="34" charset="-52"/>
                        </a:rPr>
                        <a:t>21.1</a:t>
                      </a:r>
                      <a:endParaRPr lang="ru-RU" sz="800" b="0" i="0" u="none" dirty="0">
                        <a:solidFill>
                          <a:schemeClr val="tx1"/>
                        </a:solidFill>
                        <a:latin typeface="SangBleu Sunrise" panose="020B0504000000000004" pitchFamily="34" charset="-52"/>
                        <a:ea typeface="SangBleu Sunrise" panose="020B0504000000000004" pitchFamily="34" charset="-52"/>
                      </a:endParaRPr>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905571781"/>
                  </a:ext>
                </a:extLst>
              </a:tr>
              <a:tr h="241813">
                <a:tc>
                  <a:txBody>
                    <a:bodyPr/>
                    <a:lstStyle/>
                    <a:p>
                      <a:r>
                        <a:rPr lang="en-US" sz="800" b="1" i="0" u="none" dirty="0">
                          <a:solidFill>
                            <a:schemeClr val="tx1"/>
                          </a:solidFill>
                          <a:latin typeface="SangBleu Sunrise" panose="020B0504000000000004" pitchFamily="34" charset="-52"/>
                          <a:ea typeface="SangBleu Sunrise" panose="020B0504000000000004" pitchFamily="34" charset="-52"/>
                        </a:rPr>
                        <a:t>P/E</a:t>
                      </a:r>
                      <a:endParaRPr lang="ru-RU" sz="800" b="1" i="0" u="none" dirty="0">
                        <a:solidFill>
                          <a:schemeClr val="tx1"/>
                        </a:solidFill>
                        <a:latin typeface="SangBleu Sunrise" panose="020B0504000000000004" pitchFamily="34" charset="-52"/>
                        <a:ea typeface="SangBleu Sunrise" panose="020B0504000000000004" pitchFamily="34" charset="-52"/>
                      </a:endParaRPr>
                    </a:p>
                  </a:txBody>
                  <a:tcPr marL="36000" marR="36000" marT="36000" marB="36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800" b="0" u="none" dirty="0">
                          <a:solidFill>
                            <a:schemeClr val="tx1"/>
                          </a:solidFill>
                          <a:latin typeface="SangBleu Sunrise" panose="020B0504000000000004" pitchFamily="34" charset="-52"/>
                          <a:ea typeface="SangBleu Sunrise" panose="020B0504000000000004" pitchFamily="34" charset="-52"/>
                        </a:rPr>
                        <a:t>29.3</a:t>
                      </a:r>
                      <a:endParaRPr lang="ru-RU" sz="800" b="0" i="0" u="none" dirty="0">
                        <a:solidFill>
                          <a:schemeClr val="tx1"/>
                        </a:solidFill>
                        <a:latin typeface="SangBleu Sunrise" panose="020B0504000000000004" pitchFamily="34" charset="-52"/>
                        <a:ea typeface="SangBleu Sunrise" panose="020B0504000000000004" pitchFamily="34" charset="-52"/>
                      </a:endParaRPr>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29873609"/>
                  </a:ext>
                </a:extLst>
              </a:tr>
              <a:tr h="241813">
                <a:tc>
                  <a:txBody>
                    <a:bodyPr/>
                    <a:lstStyle/>
                    <a:p>
                      <a:r>
                        <a:rPr lang="en-US" sz="800" b="1" u="none" dirty="0">
                          <a:solidFill>
                            <a:schemeClr val="tx1"/>
                          </a:solidFill>
                          <a:latin typeface="SangBleu Sunrise" panose="020B0504000000000004" pitchFamily="34" charset="-52"/>
                          <a:ea typeface="SangBleu Sunrise" panose="020B0504000000000004" pitchFamily="34" charset="-52"/>
                        </a:rPr>
                        <a:t>EV/EBITDA</a:t>
                      </a:r>
                      <a:endParaRPr lang="ru-RU" sz="800" b="1" i="0" u="none" dirty="0">
                        <a:solidFill>
                          <a:schemeClr val="tx1"/>
                        </a:solidFill>
                        <a:latin typeface="SangBleu Sunrise" panose="020B0504000000000004" pitchFamily="34" charset="-52"/>
                        <a:ea typeface="SangBleu Sunrise" panose="020B0504000000000004" pitchFamily="34" charset="-52"/>
                      </a:endParaRPr>
                    </a:p>
                  </a:txBody>
                  <a:tcPr marL="36000" marR="36000" marT="36000" marB="36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US" sz="800" b="0" i="0" u="none" dirty="0">
                          <a:solidFill>
                            <a:schemeClr val="tx1"/>
                          </a:solidFill>
                          <a:latin typeface="SangBleu Sunrise" panose="020B0504000000000004" pitchFamily="34" charset="-52"/>
                          <a:ea typeface="SangBleu Sunrise" panose="020B0504000000000004" pitchFamily="34" charset="-52"/>
                        </a:rPr>
                        <a:t>12.4</a:t>
                      </a:r>
                      <a:endParaRPr lang="ru-RU" sz="800" b="0" i="0" u="none" dirty="0">
                        <a:solidFill>
                          <a:schemeClr val="tx1"/>
                        </a:solidFill>
                        <a:latin typeface="SangBleu Sunrise" panose="020B0504000000000004" pitchFamily="34" charset="-52"/>
                        <a:ea typeface="SangBleu Sunrise" panose="020B0504000000000004" pitchFamily="34" charset="-52"/>
                      </a:endParaRPr>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767334397"/>
                  </a:ext>
                </a:extLst>
              </a:tr>
            </a:tbl>
          </a:graphicData>
        </a:graphic>
      </p:graphicFrame>
      <p:grpSp>
        <p:nvGrpSpPr>
          <p:cNvPr id="479" name="Group 478">
            <a:extLst>
              <a:ext uri="{FF2B5EF4-FFF2-40B4-BE49-F238E27FC236}">
                <a16:creationId xmlns:a16="http://schemas.microsoft.com/office/drawing/2014/main" id="{D28E7C2E-B739-4817-BD70-24DE3D26635E}"/>
              </a:ext>
            </a:extLst>
          </p:cNvPr>
          <p:cNvGrpSpPr/>
          <p:nvPr/>
        </p:nvGrpSpPr>
        <p:grpSpPr>
          <a:xfrm>
            <a:off x="2628806" y="3331569"/>
            <a:ext cx="4119466" cy="1154707"/>
            <a:chOff x="2628806" y="3331569"/>
            <a:chExt cx="4119466" cy="1154707"/>
          </a:xfrm>
        </p:grpSpPr>
        <p:sp>
          <p:nvSpPr>
            <p:cNvPr id="159" name="Rectangle 158">
              <a:extLst>
                <a:ext uri="{FF2B5EF4-FFF2-40B4-BE49-F238E27FC236}">
                  <a16:creationId xmlns:a16="http://schemas.microsoft.com/office/drawing/2014/main" id="{B23E4880-A65F-4A34-A194-77C99259B145}"/>
                </a:ext>
              </a:extLst>
            </p:cNvPr>
            <p:cNvSpPr/>
            <p:nvPr/>
          </p:nvSpPr>
          <p:spPr>
            <a:xfrm>
              <a:off x="2628806" y="3331569"/>
              <a:ext cx="4119466" cy="5395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2000" dirty="0">
                  <a:solidFill>
                    <a:schemeClr val="tx1"/>
                  </a:solidFill>
                  <a:latin typeface="SangBleu Sunrise" panose="020B0504000000000004" pitchFamily="34" charset="-52"/>
                  <a:ea typeface="SangBleu Sunrise" panose="020B0504000000000004" pitchFamily="34" charset="-52"/>
                </a:rPr>
                <a:t>RECOMMENDATION: HOLD</a:t>
              </a:r>
            </a:p>
          </p:txBody>
        </p:sp>
        <p:sp>
          <p:nvSpPr>
            <p:cNvPr id="160" name="Rectangle 159">
              <a:extLst>
                <a:ext uri="{FF2B5EF4-FFF2-40B4-BE49-F238E27FC236}">
                  <a16:creationId xmlns:a16="http://schemas.microsoft.com/office/drawing/2014/main" id="{C4FD3DCD-BA0C-40ED-B7F7-E9AEBD8C0E75}"/>
                </a:ext>
              </a:extLst>
            </p:cNvPr>
            <p:cNvSpPr/>
            <p:nvPr/>
          </p:nvSpPr>
          <p:spPr>
            <a:xfrm>
              <a:off x="2629695" y="4032781"/>
              <a:ext cx="1907136" cy="453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1000" b="1" dirty="0">
                  <a:solidFill>
                    <a:schemeClr val="tx1"/>
                  </a:solidFill>
                  <a:latin typeface="SangBleu Sunrise" panose="020B0504000000000004" pitchFamily="34" charset="-52"/>
                  <a:ea typeface="SangBleu Sunrise" panose="020B0504000000000004" pitchFamily="34" charset="-52"/>
                </a:rPr>
                <a:t>Current Price</a:t>
              </a:r>
              <a:r>
                <a:rPr lang="en-US" sz="1000" dirty="0">
                  <a:solidFill>
                    <a:schemeClr val="tx1"/>
                  </a:solidFill>
                  <a:latin typeface="SangBleu Sunrise" panose="020B0504000000000004" pitchFamily="34" charset="-52"/>
                  <a:ea typeface="SangBleu Sunrise" panose="020B0504000000000004" pitchFamily="34" charset="-52"/>
                </a:rPr>
                <a:t>: 432 RUB </a:t>
              </a:r>
            </a:p>
          </p:txBody>
        </p:sp>
        <p:sp>
          <p:nvSpPr>
            <p:cNvPr id="161" name="Rectangle 160">
              <a:extLst>
                <a:ext uri="{FF2B5EF4-FFF2-40B4-BE49-F238E27FC236}">
                  <a16:creationId xmlns:a16="http://schemas.microsoft.com/office/drawing/2014/main" id="{CFE9CCF8-7345-425B-9F27-33EB8192672F}"/>
                </a:ext>
              </a:extLst>
            </p:cNvPr>
            <p:cNvSpPr/>
            <p:nvPr/>
          </p:nvSpPr>
          <p:spPr>
            <a:xfrm>
              <a:off x="4553899" y="4032781"/>
              <a:ext cx="1598302" cy="453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1000" b="1" dirty="0">
                  <a:solidFill>
                    <a:schemeClr val="tx1"/>
                  </a:solidFill>
                  <a:latin typeface="SangBleu Sunrise" panose="020B0504000000000004" pitchFamily="34" charset="-52"/>
                  <a:ea typeface="SangBleu Sunrise" panose="020B0504000000000004" pitchFamily="34" charset="-52"/>
                </a:rPr>
                <a:t>Target Price</a:t>
              </a:r>
              <a:r>
                <a:rPr lang="en-US" sz="1000" dirty="0">
                  <a:solidFill>
                    <a:schemeClr val="tx1"/>
                  </a:solidFill>
                  <a:latin typeface="SangBleu Sunrise" panose="020B0504000000000004" pitchFamily="34" charset="-52"/>
                  <a:ea typeface="SangBleu Sunrise" panose="020B0504000000000004" pitchFamily="34" charset="-52"/>
                </a:rPr>
                <a:t>: 565 RUB </a:t>
              </a:r>
            </a:p>
          </p:txBody>
        </p:sp>
      </p:grpSp>
      <p:sp>
        <p:nvSpPr>
          <p:cNvPr id="41" name="Rectangle 40">
            <a:extLst>
              <a:ext uri="{FF2B5EF4-FFF2-40B4-BE49-F238E27FC236}">
                <a16:creationId xmlns:a16="http://schemas.microsoft.com/office/drawing/2014/main" id="{5C589EFA-A135-4D3D-98BB-B6DE6796FA4F}"/>
              </a:ext>
            </a:extLst>
          </p:cNvPr>
          <p:cNvSpPr>
            <a:spLocks/>
          </p:cNvSpPr>
          <p:nvPr/>
        </p:nvSpPr>
        <p:spPr>
          <a:xfrm>
            <a:off x="2628806" y="5201772"/>
            <a:ext cx="3987196" cy="636122"/>
          </a:xfrm>
          <a:prstGeom prst="rect">
            <a:avLst/>
          </a:prstGeom>
          <a:solidFill>
            <a:schemeClr val="accent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Innovative Drugs: </a:t>
            </a:r>
            <a:r>
              <a:rPr lang="en-US" sz="800" dirty="0">
                <a:solidFill>
                  <a:schemeClr val="tx1"/>
                </a:solidFill>
                <a:latin typeface="SangBleu Sunrise" panose="020B0504000000000004" pitchFamily="34" charset="-52"/>
                <a:ea typeface="SangBleu Sunrise" panose="020B0504000000000004" pitchFamily="34" charset="-52"/>
              </a:rPr>
              <a:t>PROMOMED is committed to the production of innovative therapies. According to internal estimates, 70% of the company's revenue will come from innovative drugs by 2032, with total revenue projected to reach 170 </a:t>
            </a:r>
            <a:r>
              <a:rPr lang="en-US" sz="800" dirty="0" err="1">
                <a:solidFill>
                  <a:schemeClr val="tx1"/>
                </a:solidFill>
                <a:latin typeface="SangBleu Sunrise" panose="020B0504000000000004" pitchFamily="34" charset="-52"/>
                <a:ea typeface="SangBleu Sunrise" panose="020B0504000000000004" pitchFamily="34" charset="-52"/>
              </a:rPr>
              <a:t>bln</a:t>
            </a:r>
            <a:r>
              <a:rPr lang="en-US" sz="800" dirty="0">
                <a:solidFill>
                  <a:schemeClr val="tx1"/>
                </a:solidFill>
                <a:latin typeface="SangBleu Sunrise" panose="020B0504000000000004" pitchFamily="34" charset="-52"/>
                <a:ea typeface="SangBleu Sunrise" panose="020B0504000000000004" pitchFamily="34" charset="-52"/>
              </a:rPr>
              <a:t> RUB.</a:t>
            </a:r>
          </a:p>
        </p:txBody>
      </p:sp>
      <p:sp>
        <p:nvSpPr>
          <p:cNvPr id="48" name="Rectangle 47">
            <a:extLst>
              <a:ext uri="{FF2B5EF4-FFF2-40B4-BE49-F238E27FC236}">
                <a16:creationId xmlns:a16="http://schemas.microsoft.com/office/drawing/2014/main" id="{EC8CDCA5-6481-4DC3-8145-BDCF5D1A7A71}"/>
              </a:ext>
            </a:extLst>
          </p:cNvPr>
          <p:cNvSpPr>
            <a:spLocks/>
          </p:cNvSpPr>
          <p:nvPr/>
        </p:nvSpPr>
        <p:spPr>
          <a:xfrm>
            <a:off x="2628806" y="4381501"/>
            <a:ext cx="3987196" cy="726462"/>
          </a:xfrm>
          <a:prstGeom prst="rect">
            <a:avLst/>
          </a:pr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General Picture: </a:t>
            </a:r>
            <a:r>
              <a:rPr lang="en-US" sz="800" dirty="0">
                <a:solidFill>
                  <a:schemeClr val="tx1"/>
                </a:solidFill>
                <a:latin typeface="SangBleu Sunrise" panose="020B0504000000000004" pitchFamily="34" charset="-52"/>
                <a:ea typeface="SangBleu Sunrise" panose="020B0504000000000004" pitchFamily="34" charset="-52"/>
              </a:rPr>
              <a:t>Company is currently focused on capturing significant market share in key therapeutic areas and developing new pharmaceutical products. The company is </a:t>
            </a:r>
            <a:r>
              <a:rPr lang="en-US" sz="800" b="1" dirty="0">
                <a:solidFill>
                  <a:schemeClr val="tx1"/>
                </a:solidFill>
                <a:latin typeface="SangBleu Sunrise" panose="020B0504000000000004" pitchFamily="34" charset="-52"/>
                <a:ea typeface="SangBleu Sunrise" panose="020B0504000000000004" pitchFamily="34" charset="-52"/>
              </a:rPr>
              <a:t>not oriented toward short-term profit</a:t>
            </a:r>
            <a:r>
              <a:rPr lang="en-US" sz="800" dirty="0">
                <a:solidFill>
                  <a:schemeClr val="tx1"/>
                </a:solidFill>
                <a:latin typeface="SangBleu Sunrise" panose="020B0504000000000004" pitchFamily="34" charset="-52"/>
                <a:ea typeface="SangBleu Sunrise" panose="020B0504000000000004" pitchFamily="34" charset="-52"/>
              </a:rPr>
              <a:t>; instead, it is making substantial capital investments and reinvesting a large portion of its revenue into R&amp;D.</a:t>
            </a:r>
          </a:p>
        </p:txBody>
      </p:sp>
      <p:sp>
        <p:nvSpPr>
          <p:cNvPr id="49" name="Rectangle 48">
            <a:extLst>
              <a:ext uri="{FF2B5EF4-FFF2-40B4-BE49-F238E27FC236}">
                <a16:creationId xmlns:a16="http://schemas.microsoft.com/office/drawing/2014/main" id="{98D059FF-E430-4E60-AD86-A7C435A8D0ED}"/>
              </a:ext>
            </a:extLst>
          </p:cNvPr>
          <p:cNvSpPr>
            <a:spLocks/>
          </p:cNvSpPr>
          <p:nvPr/>
        </p:nvSpPr>
        <p:spPr>
          <a:xfrm>
            <a:off x="2622456" y="6740158"/>
            <a:ext cx="3987196" cy="604959"/>
          </a:xfrm>
          <a:prstGeom prst="rect">
            <a:avLst/>
          </a:prstGeom>
          <a:solidFill>
            <a:schemeClr val="accent1">
              <a:lumMod val="20000"/>
              <a:lumOff val="80000"/>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Overvaluation: </a:t>
            </a:r>
            <a:r>
              <a:rPr lang="en-US" sz="800" dirty="0">
                <a:solidFill>
                  <a:schemeClr val="tx1"/>
                </a:solidFill>
                <a:latin typeface="SangBleu Sunrise" panose="020B0504000000000004" pitchFamily="34" charset="-52"/>
                <a:ea typeface="SangBleu Sunrise" panose="020B0504000000000004" pitchFamily="34" charset="-52"/>
              </a:rPr>
              <a:t>The company’s stock appears </a:t>
            </a:r>
            <a:r>
              <a:rPr lang="en-US" sz="800" b="1" dirty="0">
                <a:solidFill>
                  <a:schemeClr val="tx1"/>
                </a:solidFill>
                <a:latin typeface="SangBleu Sunrise" panose="020B0504000000000004" pitchFamily="34" charset="-52"/>
                <a:ea typeface="SangBleu Sunrise" panose="020B0504000000000004" pitchFamily="34" charset="-52"/>
              </a:rPr>
              <a:t>overvalued</a:t>
            </a:r>
            <a:r>
              <a:rPr lang="en-US" sz="800" dirty="0">
                <a:solidFill>
                  <a:schemeClr val="tx1"/>
                </a:solidFill>
                <a:latin typeface="SangBleu Sunrise" panose="020B0504000000000004" pitchFamily="34" charset="-52"/>
                <a:ea typeface="SangBleu Sunrise" panose="020B0504000000000004" pitchFamily="34" charset="-52"/>
              </a:rPr>
              <a:t>, with expectations of future growth and success in innovative drug development already priced in. While major profits are anticipated in the coming years, there is a risk that projected growth may not materialize.</a:t>
            </a:r>
          </a:p>
        </p:txBody>
      </p:sp>
      <p:sp>
        <p:nvSpPr>
          <p:cNvPr id="50" name="Rectangle 49">
            <a:extLst>
              <a:ext uri="{FF2B5EF4-FFF2-40B4-BE49-F238E27FC236}">
                <a16:creationId xmlns:a16="http://schemas.microsoft.com/office/drawing/2014/main" id="{941CAB75-3CFA-4929-9CA6-F4339AE8B247}"/>
              </a:ext>
            </a:extLst>
          </p:cNvPr>
          <p:cNvSpPr>
            <a:spLocks/>
          </p:cNvSpPr>
          <p:nvPr/>
        </p:nvSpPr>
        <p:spPr>
          <a:xfrm>
            <a:off x="2628806" y="5934383"/>
            <a:ext cx="3987196" cy="726462"/>
          </a:xfrm>
          <a:prstGeom prst="rect">
            <a:avLst/>
          </a:prstGeom>
          <a:solidFill>
            <a:schemeClr val="accent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Import Substitution: </a:t>
            </a:r>
            <a:r>
              <a:rPr lang="en-US" sz="800" dirty="0">
                <a:solidFill>
                  <a:schemeClr val="tx1"/>
                </a:solidFill>
                <a:latin typeface="SangBleu Sunrise" panose="020B0504000000000004" pitchFamily="34" charset="-52"/>
                <a:ea typeface="SangBleu Sunrise" panose="020B0504000000000004" pitchFamily="34" charset="-52"/>
              </a:rPr>
              <a:t>The company holds a leading position in the obesity and diabetes treatment markets, enabled by both its innovation efforts and the exit of foreign competitors. Additionally, the Russian government’s focus on import substitution for essential medicines (EDL) has resulted in regulatory support and incentives for PROMOMED.</a:t>
            </a:r>
          </a:p>
        </p:txBody>
      </p:sp>
      <p:sp>
        <p:nvSpPr>
          <p:cNvPr id="61" name="5. Source">
            <a:extLst>
              <a:ext uri="{FF2B5EF4-FFF2-40B4-BE49-F238E27FC236}">
                <a16:creationId xmlns:a16="http://schemas.microsoft.com/office/drawing/2014/main" id="{143E873D-F6B4-4F9B-A8A5-FC8BC5B63713}"/>
              </a:ext>
            </a:extLst>
          </p:cNvPr>
          <p:cNvSpPr txBox="1"/>
          <p:nvPr>
            <p:custDataLst>
              <p:tags r:id="rId31"/>
            </p:custDataLst>
          </p:nvPr>
        </p:nvSpPr>
        <p:spPr>
          <a:xfrm>
            <a:off x="642937" y="9649539"/>
            <a:ext cx="5700713" cy="123111"/>
          </a:xfrm>
          <a:prstGeom prst="rect">
            <a:avLst/>
          </a:prstGeom>
          <a:noFill/>
        </p:spPr>
        <p:txBody>
          <a:bodyPr vert="horz" wrap="square" lIns="0" tIns="0" rIns="0" bIns="0" rtlCol="0" anchor="b" anchorCtr="0">
            <a:spAutoFit/>
          </a:bodyPr>
          <a:lstStyle/>
          <a:p>
            <a:r>
              <a:rPr lang="fr-FR" sz="800" dirty="0">
                <a:latin typeface="SangBleu Sunrise" panose="020B0504000000000004" pitchFamily="34" charset="-52"/>
                <a:ea typeface="SangBleu Sunrise" panose="020B0504000000000004" pitchFamily="34" charset="-52"/>
              </a:rPr>
              <a:t>SOURCE: </a:t>
            </a:r>
            <a:r>
              <a:rPr lang="en-US" sz="800" dirty="0">
                <a:latin typeface="SangBleu Sunrise" panose="020B0504000000000004" pitchFamily="34" charset="-52"/>
                <a:ea typeface="SangBleu Sunrise" panose="020B0504000000000004" pitchFamily="34" charset="-52"/>
              </a:rPr>
              <a:t>“For PROMOMED’s Investors” presentations</a:t>
            </a:r>
            <a:r>
              <a:rPr lang="ru-RU" sz="800" dirty="0">
                <a:latin typeface="SangBleu Sunrise" panose="020B0504000000000004" pitchFamily="34" charset="-52"/>
                <a:ea typeface="SangBleu Sunrise" panose="020B0504000000000004" pitchFamily="34" charset="-52"/>
              </a:rPr>
              <a:t> </a:t>
            </a:r>
            <a:r>
              <a:rPr lang="en-US" sz="800" dirty="0">
                <a:latin typeface="SangBleu Sunrise" panose="020B0504000000000004" pitchFamily="34" charset="-52"/>
                <a:ea typeface="SangBleu Sunrise" panose="020B0504000000000004" pitchFamily="34" charset="-52"/>
              </a:rPr>
              <a:t>, Strategy Partners report, own calculations</a:t>
            </a:r>
            <a:endParaRPr lang="fr-FR" sz="800" dirty="0">
              <a:latin typeface="SangBleu Sunrise" panose="020B0504000000000004" pitchFamily="34" charset="-52"/>
              <a:ea typeface="SangBleu Sunrise" panose="020B0504000000000004" pitchFamily="34" charset="-52"/>
            </a:endParaRPr>
          </a:p>
        </p:txBody>
      </p:sp>
      <p:pic>
        <p:nvPicPr>
          <p:cNvPr id="15" name="Picture 14">
            <a:extLst>
              <a:ext uri="{FF2B5EF4-FFF2-40B4-BE49-F238E27FC236}">
                <a16:creationId xmlns:a16="http://schemas.microsoft.com/office/drawing/2014/main" id="{D6BF9FA5-59C5-44AA-A282-206B4551D05E}"/>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33425" y="556342"/>
            <a:ext cx="5101163" cy="1396955"/>
          </a:xfrm>
          <a:prstGeom prst="rect">
            <a:avLst/>
          </a:prstGeom>
        </p:spPr>
      </p:pic>
    </p:spTree>
    <p:extLst>
      <p:ext uri="{BB962C8B-B14F-4D97-AF65-F5344CB8AC3E}">
        <p14:creationId xmlns:p14="http://schemas.microsoft.com/office/powerpoint/2010/main" val="30540613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D4FE7E-DE6C-4F35-B505-6CC6CC141975}"/>
              </a:ext>
            </a:extLst>
          </p:cNvPr>
          <p:cNvGraphicFramePr>
            <a:graphicFrameLocks noChangeAspect="1"/>
          </p:cNvGraphicFramePr>
          <p:nvPr>
            <p:custDataLst>
              <p:tags r:id="rId2"/>
            </p:custDataLst>
            <p:extLst>
              <p:ext uri="{D42A27DB-BD31-4B8C-83A1-F6EECF244321}">
                <p14:modId xmlns:p14="http://schemas.microsoft.com/office/powerpoint/2010/main" val="2761407250"/>
              </p:ext>
            </p:extLst>
          </p:nvPr>
        </p:nvGraphicFramePr>
        <p:xfrm>
          <a:off x="644228" y="1290"/>
          <a:ext cx="1290" cy="1290"/>
        </p:xfrm>
        <a:graphic>
          <a:graphicData uri="http://schemas.openxmlformats.org/presentationml/2006/ole">
            <mc:AlternateContent xmlns:mc="http://schemas.openxmlformats.org/markup-compatibility/2006">
              <mc:Choice xmlns:v="urn:schemas-microsoft-com:vml" Requires="v">
                <p:oleObj spid="_x0000_s18526" name="think-cell Slide" r:id="rId59" imgW="395" imgH="396" progId="TCLayout.ActiveDocument.1">
                  <p:embed/>
                </p:oleObj>
              </mc:Choice>
              <mc:Fallback>
                <p:oleObj name="think-cell Slide" r:id="rId59" imgW="395" imgH="396" progId="TCLayout.ActiveDocument.1">
                  <p:embed/>
                  <p:pic>
                    <p:nvPicPr>
                      <p:cNvPr id="3" name="think-cell data - do not delete" hidden="1">
                        <a:extLst>
                          <a:ext uri="{FF2B5EF4-FFF2-40B4-BE49-F238E27FC236}">
                            <a16:creationId xmlns:a16="http://schemas.microsoft.com/office/drawing/2014/main" id="{89D4FE7E-DE6C-4F35-B505-6CC6CC141975}"/>
                          </a:ext>
                        </a:extLst>
                      </p:cNvPr>
                      <p:cNvPicPr/>
                      <p:nvPr/>
                    </p:nvPicPr>
                    <p:blipFill>
                      <a:blip r:embed="rId60"/>
                      <a:stretch>
                        <a:fillRect/>
                      </a:stretch>
                    </p:blipFill>
                    <p:spPr>
                      <a:xfrm>
                        <a:off x="644228" y="1290"/>
                        <a:ext cx="1290" cy="12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DC6F282-9C52-4591-8034-371A789171B5}"/>
              </a:ext>
            </a:extLst>
          </p:cNvPr>
          <p:cNvSpPr>
            <a:spLocks noGrp="1"/>
          </p:cNvSpPr>
          <p:nvPr>
            <p:ph type="title"/>
          </p:nvPr>
        </p:nvSpPr>
        <p:spPr>
          <a:xfrm>
            <a:off x="1026023" y="315188"/>
            <a:ext cx="4805958" cy="424732"/>
          </a:xfrm>
          <a:noFill/>
          <a:ln>
            <a:solidFill>
              <a:schemeClr val="bg1">
                <a:alpha val="98000"/>
              </a:schemeClr>
            </a:solidFill>
          </a:ln>
        </p:spPr>
        <p:txBody>
          <a:bodyPr vert="horz" wrap="square" anchor="ctr" anchorCtr="0">
            <a:spAutoFit/>
          </a:bodyPr>
          <a:lstStyle/>
          <a:p>
            <a:r>
              <a:rPr lang="en-US" sz="2400" dirty="0">
                <a:latin typeface="SangBleu Sunrise" panose="020B0504000000000004" pitchFamily="34" charset="-52"/>
                <a:ea typeface="SangBleu Sunrise" panose="020B0504000000000004" pitchFamily="34" charset="-52"/>
              </a:rPr>
              <a:t>Business Model Review</a:t>
            </a:r>
            <a:endParaRPr lang="ru-RU" sz="2400" dirty="0">
              <a:latin typeface="SangBleu Sunrise" panose="020B0504000000000004" pitchFamily="34" charset="-52"/>
              <a:ea typeface="SangBleu Sunrise" panose="020B0504000000000004" pitchFamily="34" charset="-52"/>
            </a:endParaRPr>
          </a:p>
        </p:txBody>
      </p:sp>
      <p:sp>
        <p:nvSpPr>
          <p:cNvPr id="12" name="Title 3">
            <a:extLst>
              <a:ext uri="{FF2B5EF4-FFF2-40B4-BE49-F238E27FC236}">
                <a16:creationId xmlns:a16="http://schemas.microsoft.com/office/drawing/2014/main" id="{46B4D404-F0F8-476D-BAA5-A678BD56703E}"/>
              </a:ext>
            </a:extLst>
          </p:cNvPr>
          <p:cNvSpPr txBox="1">
            <a:spLocks/>
          </p:cNvSpPr>
          <p:nvPr/>
        </p:nvSpPr>
        <p:spPr>
          <a:xfrm>
            <a:off x="1026022" y="951283"/>
            <a:ext cx="2227677" cy="228942"/>
          </a:xfrm>
          <a:prstGeom prst="rect">
            <a:avLst/>
          </a:prstGeom>
          <a:solidFill>
            <a:schemeClr val="accent1">
              <a:lumMod val="50000"/>
            </a:schemeClr>
          </a:solidFill>
          <a:ln>
            <a:noFill/>
          </a:ln>
        </p:spPr>
        <p:txBody>
          <a:bodyPr vert="horz" wrap="square" lIns="58500" tIns="58500" rIns="58500" bIns="58500" rtlCol="0"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a:solidFill>
                  <a:schemeClr val="bg1"/>
                </a:solidFill>
                <a:latin typeface="SangBleu Sunrise" panose="020B0504000000000004" pitchFamily="34" charset="-52"/>
                <a:ea typeface="SangBleu Sunrise" panose="020B0504000000000004" pitchFamily="34" charset="-52"/>
              </a:rPr>
              <a:t>Operating Regions:</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136" name="1. On-page tracker">
            <a:extLst>
              <a:ext uri="{FF2B5EF4-FFF2-40B4-BE49-F238E27FC236}">
                <a16:creationId xmlns:a16="http://schemas.microsoft.com/office/drawing/2014/main" id="{446AE41F-44AB-41C4-8747-E53ABBB5FD84}"/>
              </a:ext>
            </a:extLst>
          </p:cNvPr>
          <p:cNvSpPr txBox="1"/>
          <p:nvPr>
            <p:custDataLst>
              <p:tags r:id="rId3"/>
            </p:custDataLst>
          </p:nvPr>
        </p:nvSpPr>
        <p:spPr>
          <a:xfrm>
            <a:off x="746125" y="51596"/>
            <a:ext cx="1547813" cy="123111"/>
          </a:xfrm>
          <a:prstGeom prst="rect">
            <a:avLst/>
          </a:prstGeom>
          <a:solidFill>
            <a:schemeClr val="bg2"/>
          </a:solidFill>
        </p:spPr>
        <p:txBody>
          <a:bodyPr vert="horz" wrap="square" lIns="0" tIns="0" rIns="0" bIns="0" rtlCol="0">
            <a:spAutoFit/>
          </a:bodyPr>
          <a:lstStyle/>
          <a:p>
            <a:r>
              <a:rPr lang="en-US" sz="800" dirty="0">
                <a:latin typeface="SangBleu Sunrise" panose="020B0504000000000004" pitchFamily="34" charset="-52"/>
                <a:ea typeface="SangBleu Sunrise" panose="020B0504000000000004" pitchFamily="34" charset="-52"/>
              </a:rPr>
              <a:t>Business Model</a:t>
            </a:r>
            <a:endParaRPr lang="ru-RU" sz="800" dirty="0">
              <a:latin typeface="SangBleu Sunrise" panose="020B0504000000000004" pitchFamily="34" charset="-52"/>
              <a:ea typeface="SangBleu Sunrise" panose="020B0504000000000004" pitchFamily="34" charset="-52"/>
            </a:endParaRPr>
          </a:p>
        </p:txBody>
      </p:sp>
      <p:sp>
        <p:nvSpPr>
          <p:cNvPr id="169" name="Rectangle 168">
            <a:extLst>
              <a:ext uri="{FF2B5EF4-FFF2-40B4-BE49-F238E27FC236}">
                <a16:creationId xmlns:a16="http://schemas.microsoft.com/office/drawing/2014/main" id="{DF96BFAE-FA65-4AFA-9A69-05F699762379}"/>
              </a:ext>
            </a:extLst>
          </p:cNvPr>
          <p:cNvSpPr>
            <a:spLocks/>
          </p:cNvSpPr>
          <p:nvPr/>
        </p:nvSpPr>
        <p:spPr>
          <a:xfrm>
            <a:off x="990421" y="1316933"/>
            <a:ext cx="2263278" cy="1673917"/>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Russia: </a:t>
            </a:r>
            <a:r>
              <a:rPr lang="en-US" sz="800" dirty="0">
                <a:solidFill>
                  <a:schemeClr val="tx1"/>
                </a:solidFill>
                <a:latin typeface="SangBleu Sunrise" panose="020B0504000000000004" pitchFamily="34" charset="-52"/>
                <a:ea typeface="SangBleu Sunrise" panose="020B0504000000000004" pitchFamily="34" charset="-52"/>
              </a:rPr>
              <a:t>PROMOMED is one of the leading pharmaceutical companies in Russia, engaged in the development, production, and commercialization of innovative drugs.</a:t>
            </a:r>
          </a:p>
          <a:p>
            <a:endParaRPr lang="en-US" sz="800" dirty="0">
              <a:solidFill>
                <a:schemeClr val="tx1"/>
              </a:solidFill>
              <a:latin typeface="SangBleu Sunrise" panose="020B0504000000000004" pitchFamily="34" charset="-52"/>
              <a:ea typeface="SangBleu Sunrise" panose="020B0504000000000004" pitchFamily="34" charset="-52"/>
            </a:endParaRPr>
          </a:p>
          <a:p>
            <a:r>
              <a:rPr lang="en-US" sz="800" b="1" dirty="0">
                <a:solidFill>
                  <a:schemeClr val="tx1"/>
                </a:solidFill>
                <a:latin typeface="SangBleu Sunrise" panose="020B0504000000000004" pitchFamily="34" charset="-52"/>
                <a:ea typeface="SangBleu Sunrise" panose="020B0504000000000004" pitchFamily="34" charset="-52"/>
              </a:rPr>
              <a:t>Foreign: </a:t>
            </a:r>
            <a:r>
              <a:rPr lang="en-US" sz="800" dirty="0">
                <a:solidFill>
                  <a:schemeClr val="tx1"/>
                </a:solidFill>
                <a:latin typeface="SangBleu Sunrise" panose="020B0504000000000004" pitchFamily="34" charset="-52"/>
                <a:ea typeface="SangBleu Sunrise" panose="020B0504000000000004" pitchFamily="34" charset="-52"/>
              </a:rPr>
              <a:t>Its primary export destinations are within the EAEU region, including Kazakhstan, Uzbekistan, and Kyrgyzstan. In 2024, the company aims for exports to account for 3–4% of total revenue. Key target markets for future expansion include the UAE, Saudi Arabia, African countries, and Southeast Asia.</a:t>
            </a:r>
          </a:p>
        </p:txBody>
      </p:sp>
      <p:sp>
        <p:nvSpPr>
          <p:cNvPr id="177" name="Rectangle 1" hidden="1">
            <a:extLst>
              <a:ext uri="{FF2B5EF4-FFF2-40B4-BE49-F238E27FC236}">
                <a16:creationId xmlns:a16="http://schemas.microsoft.com/office/drawing/2014/main" id="{26FB405B-A820-4F19-B7BF-69C9AEC015F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grpSp>
        <p:nvGrpSpPr>
          <p:cNvPr id="186" name="Group 185">
            <a:extLst>
              <a:ext uri="{FF2B5EF4-FFF2-40B4-BE49-F238E27FC236}">
                <a16:creationId xmlns:a16="http://schemas.microsoft.com/office/drawing/2014/main" id="{B8347A5D-DF21-43DF-91C9-54E2905F7342}"/>
              </a:ext>
            </a:extLst>
          </p:cNvPr>
          <p:cNvGrpSpPr/>
          <p:nvPr/>
        </p:nvGrpSpPr>
        <p:grpSpPr>
          <a:xfrm>
            <a:off x="3765550" y="951283"/>
            <a:ext cx="2783399" cy="2420095"/>
            <a:chOff x="2647808" y="2071990"/>
            <a:chExt cx="3975914" cy="3465740"/>
          </a:xfrm>
        </p:grpSpPr>
        <p:sp>
          <p:nvSpPr>
            <p:cNvPr id="187" name="Freeform 284">
              <a:extLst>
                <a:ext uri="{FF2B5EF4-FFF2-40B4-BE49-F238E27FC236}">
                  <a16:creationId xmlns:a16="http://schemas.microsoft.com/office/drawing/2014/main" id="{73E2B227-F72E-4E00-8A27-890E436E95A2}"/>
                </a:ext>
              </a:extLst>
            </p:cNvPr>
            <p:cNvSpPr>
              <a:spLocks noEditPoints="1"/>
            </p:cNvSpPr>
            <p:nvPr/>
          </p:nvSpPr>
          <p:spPr bwMode="gray">
            <a:xfrm>
              <a:off x="2949497" y="4510026"/>
              <a:ext cx="158203" cy="649980"/>
            </a:xfrm>
            <a:custGeom>
              <a:avLst/>
              <a:gdLst>
                <a:gd name="T0" fmla="*/ 127 w 129"/>
                <a:gd name="T1" fmla="*/ 119 h 530"/>
                <a:gd name="T2" fmla="*/ 129 w 129"/>
                <a:gd name="T3" fmla="*/ 119 h 530"/>
                <a:gd name="T4" fmla="*/ 129 w 129"/>
                <a:gd name="T5" fmla="*/ 121 h 530"/>
                <a:gd name="T6" fmla="*/ 127 w 129"/>
                <a:gd name="T7" fmla="*/ 121 h 530"/>
                <a:gd name="T8" fmla="*/ 127 w 129"/>
                <a:gd name="T9" fmla="*/ 119 h 530"/>
                <a:gd name="T10" fmla="*/ 31 w 129"/>
                <a:gd name="T11" fmla="*/ 469 h 530"/>
                <a:gd name="T12" fmla="*/ 33 w 129"/>
                <a:gd name="T13" fmla="*/ 469 h 530"/>
                <a:gd name="T14" fmla="*/ 33 w 129"/>
                <a:gd name="T15" fmla="*/ 471 h 530"/>
                <a:gd name="T16" fmla="*/ 31 w 129"/>
                <a:gd name="T17" fmla="*/ 471 h 530"/>
                <a:gd name="T18" fmla="*/ 31 w 129"/>
                <a:gd name="T19" fmla="*/ 469 h 530"/>
                <a:gd name="T20" fmla="*/ 0 w 129"/>
                <a:gd name="T21" fmla="*/ 0 h 530"/>
                <a:gd name="T22" fmla="*/ 2 w 129"/>
                <a:gd name="T23" fmla="*/ 0 h 530"/>
                <a:gd name="T24" fmla="*/ 0 w 129"/>
                <a:gd name="T25" fmla="*/ 0 h 530"/>
                <a:gd name="T26" fmla="*/ 65 w 129"/>
                <a:gd name="T27" fmla="*/ 528 h 530"/>
                <a:gd name="T28" fmla="*/ 67 w 129"/>
                <a:gd name="T29" fmla="*/ 528 h 530"/>
                <a:gd name="T30" fmla="*/ 67 w 129"/>
                <a:gd name="T31" fmla="*/ 530 h 530"/>
                <a:gd name="T32" fmla="*/ 65 w 129"/>
                <a:gd name="T33" fmla="*/ 530 h 530"/>
                <a:gd name="T34" fmla="*/ 65 w 129"/>
                <a:gd name="T35" fmla="*/ 528 h 530"/>
                <a:gd name="T36" fmla="*/ 65 w 129"/>
                <a:gd name="T37" fmla="*/ 528 h 530"/>
                <a:gd name="T38" fmla="*/ 67 w 129"/>
                <a:gd name="T39" fmla="*/ 528 h 530"/>
                <a:gd name="T40" fmla="*/ 65 w 129"/>
                <a:gd name="T41"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530">
                  <a:moveTo>
                    <a:pt x="127" y="119"/>
                  </a:moveTo>
                  <a:lnTo>
                    <a:pt x="129" y="119"/>
                  </a:lnTo>
                  <a:lnTo>
                    <a:pt x="129" y="121"/>
                  </a:lnTo>
                  <a:lnTo>
                    <a:pt x="127" y="121"/>
                  </a:lnTo>
                  <a:lnTo>
                    <a:pt x="127" y="119"/>
                  </a:lnTo>
                  <a:close/>
                  <a:moveTo>
                    <a:pt x="31" y="469"/>
                  </a:moveTo>
                  <a:lnTo>
                    <a:pt x="33" y="469"/>
                  </a:lnTo>
                  <a:lnTo>
                    <a:pt x="33" y="471"/>
                  </a:lnTo>
                  <a:lnTo>
                    <a:pt x="31" y="471"/>
                  </a:lnTo>
                  <a:lnTo>
                    <a:pt x="31" y="469"/>
                  </a:lnTo>
                  <a:close/>
                  <a:moveTo>
                    <a:pt x="0" y="0"/>
                  </a:moveTo>
                  <a:lnTo>
                    <a:pt x="2" y="0"/>
                  </a:lnTo>
                  <a:lnTo>
                    <a:pt x="0" y="0"/>
                  </a:lnTo>
                  <a:close/>
                  <a:moveTo>
                    <a:pt x="65" y="528"/>
                  </a:moveTo>
                  <a:lnTo>
                    <a:pt x="67" y="528"/>
                  </a:lnTo>
                  <a:lnTo>
                    <a:pt x="67" y="530"/>
                  </a:lnTo>
                  <a:lnTo>
                    <a:pt x="65" y="530"/>
                  </a:lnTo>
                  <a:lnTo>
                    <a:pt x="65" y="528"/>
                  </a:lnTo>
                  <a:close/>
                  <a:moveTo>
                    <a:pt x="65" y="528"/>
                  </a:moveTo>
                  <a:lnTo>
                    <a:pt x="67" y="528"/>
                  </a:lnTo>
                  <a:lnTo>
                    <a:pt x="65" y="528"/>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285">
              <a:extLst>
                <a:ext uri="{FF2B5EF4-FFF2-40B4-BE49-F238E27FC236}">
                  <a16:creationId xmlns:a16="http://schemas.microsoft.com/office/drawing/2014/main" id="{F434EACA-E926-4D33-AE2C-BA51B66EC6DA}"/>
                </a:ext>
              </a:extLst>
            </p:cNvPr>
            <p:cNvSpPr>
              <a:spLocks noEditPoints="1"/>
            </p:cNvSpPr>
            <p:nvPr/>
          </p:nvSpPr>
          <p:spPr bwMode="gray">
            <a:xfrm>
              <a:off x="3072134" y="2921869"/>
              <a:ext cx="25754" cy="40471"/>
            </a:xfrm>
            <a:custGeom>
              <a:avLst/>
              <a:gdLst>
                <a:gd name="T0" fmla="*/ 9 w 21"/>
                <a:gd name="T1" fmla="*/ 6 h 33"/>
                <a:gd name="T2" fmla="*/ 11 w 21"/>
                <a:gd name="T3" fmla="*/ 10 h 33"/>
                <a:gd name="T4" fmla="*/ 11 w 21"/>
                <a:gd name="T5" fmla="*/ 12 h 33"/>
                <a:gd name="T6" fmla="*/ 13 w 21"/>
                <a:gd name="T7" fmla="*/ 12 h 33"/>
                <a:gd name="T8" fmla="*/ 11 w 21"/>
                <a:gd name="T9" fmla="*/ 14 h 33"/>
                <a:gd name="T10" fmla="*/ 9 w 21"/>
                <a:gd name="T11" fmla="*/ 10 h 33"/>
                <a:gd name="T12" fmla="*/ 6 w 21"/>
                <a:gd name="T13" fmla="*/ 8 h 33"/>
                <a:gd name="T14" fmla="*/ 6 w 21"/>
                <a:gd name="T15" fmla="*/ 6 h 33"/>
                <a:gd name="T16" fmla="*/ 9 w 21"/>
                <a:gd name="T17" fmla="*/ 2 h 33"/>
                <a:gd name="T18" fmla="*/ 9 w 21"/>
                <a:gd name="T19" fmla="*/ 4 h 33"/>
                <a:gd name="T20" fmla="*/ 9 w 21"/>
                <a:gd name="T21" fmla="*/ 6 h 33"/>
                <a:gd name="T22" fmla="*/ 9 w 21"/>
                <a:gd name="T23" fmla="*/ 4 h 33"/>
                <a:gd name="T24" fmla="*/ 11 w 21"/>
                <a:gd name="T25" fmla="*/ 4 h 33"/>
                <a:gd name="T26" fmla="*/ 11 w 21"/>
                <a:gd name="T27" fmla="*/ 6 h 33"/>
                <a:gd name="T28" fmla="*/ 15 w 21"/>
                <a:gd name="T29" fmla="*/ 8 h 33"/>
                <a:gd name="T30" fmla="*/ 15 w 21"/>
                <a:gd name="T31" fmla="*/ 10 h 33"/>
                <a:gd name="T32" fmla="*/ 13 w 21"/>
                <a:gd name="T33" fmla="*/ 10 h 33"/>
                <a:gd name="T34" fmla="*/ 13 w 21"/>
                <a:gd name="T35" fmla="*/ 12 h 33"/>
                <a:gd name="T36" fmla="*/ 11 w 21"/>
                <a:gd name="T37" fmla="*/ 8 h 33"/>
                <a:gd name="T38" fmla="*/ 11 w 21"/>
                <a:gd name="T39" fmla="*/ 10 h 33"/>
                <a:gd name="T40" fmla="*/ 9 w 21"/>
                <a:gd name="T41" fmla="*/ 6 h 33"/>
                <a:gd name="T42" fmla="*/ 9 w 21"/>
                <a:gd name="T43" fmla="*/ 4 h 33"/>
                <a:gd name="T44" fmla="*/ 6 w 21"/>
                <a:gd name="T45" fmla="*/ 10 h 33"/>
                <a:gd name="T46" fmla="*/ 9 w 21"/>
                <a:gd name="T47" fmla="*/ 12 h 33"/>
                <a:gd name="T48" fmla="*/ 4 w 21"/>
                <a:gd name="T49" fmla="*/ 12 h 33"/>
                <a:gd name="T50" fmla="*/ 4 w 21"/>
                <a:gd name="T51" fmla="*/ 10 h 33"/>
                <a:gd name="T52" fmla="*/ 4 w 21"/>
                <a:gd name="T53" fmla="*/ 8 h 33"/>
                <a:gd name="T54" fmla="*/ 6 w 21"/>
                <a:gd name="T55" fmla="*/ 8 h 33"/>
                <a:gd name="T56" fmla="*/ 9 w 21"/>
                <a:gd name="T57" fmla="*/ 25 h 33"/>
                <a:gd name="T58" fmla="*/ 13 w 21"/>
                <a:gd name="T59" fmla="*/ 27 h 33"/>
                <a:gd name="T60" fmla="*/ 11 w 21"/>
                <a:gd name="T61" fmla="*/ 27 h 33"/>
                <a:gd name="T62" fmla="*/ 11 w 21"/>
                <a:gd name="T63" fmla="*/ 29 h 33"/>
                <a:gd name="T64" fmla="*/ 13 w 21"/>
                <a:gd name="T65" fmla="*/ 29 h 33"/>
                <a:gd name="T66" fmla="*/ 13 w 21"/>
                <a:gd name="T67" fmla="*/ 33 h 33"/>
                <a:gd name="T68" fmla="*/ 13 w 21"/>
                <a:gd name="T69" fmla="*/ 31 h 33"/>
                <a:gd name="T70" fmla="*/ 11 w 21"/>
                <a:gd name="T71" fmla="*/ 31 h 33"/>
                <a:gd name="T72" fmla="*/ 9 w 21"/>
                <a:gd name="T73" fmla="*/ 27 h 33"/>
                <a:gd name="T74" fmla="*/ 11 w 21"/>
                <a:gd name="T75" fmla="*/ 23 h 33"/>
                <a:gd name="T76" fmla="*/ 11 w 21"/>
                <a:gd name="T77" fmla="*/ 16 h 33"/>
                <a:gd name="T78" fmla="*/ 15 w 21"/>
                <a:gd name="T79" fmla="*/ 18 h 33"/>
                <a:gd name="T80" fmla="*/ 13 w 21"/>
                <a:gd name="T81" fmla="*/ 22 h 33"/>
                <a:gd name="T82" fmla="*/ 11 w 21"/>
                <a:gd name="T83" fmla="*/ 20 h 33"/>
                <a:gd name="T84" fmla="*/ 11 w 21"/>
                <a:gd name="T85" fmla="*/ 18 h 33"/>
                <a:gd name="T86" fmla="*/ 11 w 21"/>
                <a:gd name="T87" fmla="*/ 16 h 33"/>
                <a:gd name="T88" fmla="*/ 17 w 21"/>
                <a:gd name="T89" fmla="*/ 8 h 33"/>
                <a:gd name="T90" fmla="*/ 15 w 21"/>
                <a:gd name="T91" fmla="*/ 0 h 33"/>
                <a:gd name="T92" fmla="*/ 15 w 21"/>
                <a:gd name="T93" fmla="*/ 4 h 33"/>
                <a:gd name="T94" fmla="*/ 15 w 21"/>
                <a:gd name="T95" fmla="*/ 2 h 33"/>
                <a:gd name="T96" fmla="*/ 13 w 21"/>
                <a:gd name="T97" fmla="*/ 2 h 33"/>
                <a:gd name="T98" fmla="*/ 15 w 21"/>
                <a:gd name="T99" fmla="*/ 6 h 33"/>
                <a:gd name="T100" fmla="*/ 17 w 21"/>
                <a:gd name="T101" fmla="*/ 4 h 33"/>
                <a:gd name="T102" fmla="*/ 17 w 21"/>
                <a:gd name="T103" fmla="*/ 6 h 33"/>
                <a:gd name="T104" fmla="*/ 21 w 21"/>
                <a:gd name="T105" fmla="*/ 2 h 33"/>
                <a:gd name="T106" fmla="*/ 19 w 21"/>
                <a:gd name="T107" fmla="*/ 2 h 33"/>
                <a:gd name="T108" fmla="*/ 15 w 21"/>
                <a:gd name="T109" fmla="*/ 16 h 33"/>
                <a:gd name="T110" fmla="*/ 11 w 21"/>
                <a:gd name="T111" fmla="*/ 20 h 33"/>
                <a:gd name="T112" fmla="*/ 11 w 21"/>
                <a:gd name="T113" fmla="*/ 22 h 33"/>
                <a:gd name="T114" fmla="*/ 2 w 21"/>
                <a:gd name="T115" fmla="*/ 10 h 33"/>
                <a:gd name="T116" fmla="*/ 11 w 21"/>
                <a:gd name="T117" fmla="*/ 16 h 33"/>
                <a:gd name="T118" fmla="*/ 4 w 21"/>
                <a:gd name="T119" fmla="*/ 12 h 33"/>
                <a:gd name="T120" fmla="*/ 4 w 21"/>
                <a:gd name="T121" fmla="*/ 10 h 33"/>
                <a:gd name="T122" fmla="*/ 2 w 21"/>
                <a:gd name="T123"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 h="33">
                  <a:moveTo>
                    <a:pt x="8" y="4"/>
                  </a:moveTo>
                  <a:lnTo>
                    <a:pt x="8" y="6"/>
                  </a:lnTo>
                  <a:lnTo>
                    <a:pt x="9" y="6"/>
                  </a:lnTo>
                  <a:lnTo>
                    <a:pt x="9" y="8"/>
                  </a:lnTo>
                  <a:lnTo>
                    <a:pt x="11" y="8"/>
                  </a:lnTo>
                  <a:lnTo>
                    <a:pt x="11" y="10"/>
                  </a:lnTo>
                  <a:lnTo>
                    <a:pt x="9" y="10"/>
                  </a:lnTo>
                  <a:lnTo>
                    <a:pt x="11" y="10"/>
                  </a:lnTo>
                  <a:lnTo>
                    <a:pt x="11" y="12"/>
                  </a:lnTo>
                  <a:lnTo>
                    <a:pt x="13" y="12"/>
                  </a:lnTo>
                  <a:lnTo>
                    <a:pt x="11" y="12"/>
                  </a:lnTo>
                  <a:lnTo>
                    <a:pt x="13" y="12"/>
                  </a:lnTo>
                  <a:lnTo>
                    <a:pt x="13" y="14"/>
                  </a:lnTo>
                  <a:lnTo>
                    <a:pt x="13" y="16"/>
                  </a:lnTo>
                  <a:lnTo>
                    <a:pt x="11" y="14"/>
                  </a:lnTo>
                  <a:lnTo>
                    <a:pt x="11" y="12"/>
                  </a:lnTo>
                  <a:lnTo>
                    <a:pt x="9" y="12"/>
                  </a:lnTo>
                  <a:lnTo>
                    <a:pt x="9" y="10"/>
                  </a:lnTo>
                  <a:lnTo>
                    <a:pt x="8" y="10"/>
                  </a:lnTo>
                  <a:lnTo>
                    <a:pt x="8" y="8"/>
                  </a:lnTo>
                  <a:lnTo>
                    <a:pt x="6" y="8"/>
                  </a:lnTo>
                  <a:lnTo>
                    <a:pt x="6" y="6"/>
                  </a:lnTo>
                  <a:lnTo>
                    <a:pt x="8" y="6"/>
                  </a:lnTo>
                  <a:lnTo>
                    <a:pt x="6" y="6"/>
                  </a:lnTo>
                  <a:lnTo>
                    <a:pt x="6" y="4"/>
                  </a:lnTo>
                  <a:lnTo>
                    <a:pt x="8" y="4"/>
                  </a:lnTo>
                  <a:close/>
                  <a:moveTo>
                    <a:pt x="9" y="2"/>
                  </a:moveTo>
                  <a:lnTo>
                    <a:pt x="11" y="2"/>
                  </a:lnTo>
                  <a:lnTo>
                    <a:pt x="11" y="4"/>
                  </a:lnTo>
                  <a:lnTo>
                    <a:pt x="9" y="4"/>
                  </a:lnTo>
                  <a:lnTo>
                    <a:pt x="9" y="6"/>
                  </a:lnTo>
                  <a:lnTo>
                    <a:pt x="11" y="6"/>
                  </a:lnTo>
                  <a:lnTo>
                    <a:pt x="9" y="6"/>
                  </a:lnTo>
                  <a:lnTo>
                    <a:pt x="9" y="4"/>
                  </a:lnTo>
                  <a:lnTo>
                    <a:pt x="11" y="4"/>
                  </a:lnTo>
                  <a:lnTo>
                    <a:pt x="9" y="4"/>
                  </a:lnTo>
                  <a:lnTo>
                    <a:pt x="11" y="4"/>
                  </a:lnTo>
                  <a:lnTo>
                    <a:pt x="11" y="6"/>
                  </a:lnTo>
                  <a:lnTo>
                    <a:pt x="11" y="4"/>
                  </a:lnTo>
                  <a:lnTo>
                    <a:pt x="13" y="4"/>
                  </a:lnTo>
                  <a:lnTo>
                    <a:pt x="13" y="6"/>
                  </a:lnTo>
                  <a:lnTo>
                    <a:pt x="11" y="6"/>
                  </a:lnTo>
                  <a:lnTo>
                    <a:pt x="13" y="6"/>
                  </a:lnTo>
                  <a:lnTo>
                    <a:pt x="15" y="6"/>
                  </a:lnTo>
                  <a:lnTo>
                    <a:pt x="15" y="8"/>
                  </a:lnTo>
                  <a:lnTo>
                    <a:pt x="13" y="8"/>
                  </a:lnTo>
                  <a:lnTo>
                    <a:pt x="15" y="8"/>
                  </a:lnTo>
                  <a:lnTo>
                    <a:pt x="15" y="10"/>
                  </a:lnTo>
                  <a:lnTo>
                    <a:pt x="13" y="10"/>
                  </a:lnTo>
                  <a:lnTo>
                    <a:pt x="13" y="8"/>
                  </a:lnTo>
                  <a:lnTo>
                    <a:pt x="13" y="10"/>
                  </a:lnTo>
                  <a:lnTo>
                    <a:pt x="15" y="10"/>
                  </a:lnTo>
                  <a:lnTo>
                    <a:pt x="13" y="10"/>
                  </a:lnTo>
                  <a:lnTo>
                    <a:pt x="13" y="12"/>
                  </a:lnTo>
                  <a:lnTo>
                    <a:pt x="13" y="10"/>
                  </a:lnTo>
                  <a:lnTo>
                    <a:pt x="13" y="8"/>
                  </a:lnTo>
                  <a:lnTo>
                    <a:pt x="11" y="8"/>
                  </a:lnTo>
                  <a:lnTo>
                    <a:pt x="13" y="8"/>
                  </a:lnTo>
                  <a:lnTo>
                    <a:pt x="13" y="10"/>
                  </a:lnTo>
                  <a:lnTo>
                    <a:pt x="11" y="10"/>
                  </a:lnTo>
                  <a:lnTo>
                    <a:pt x="11" y="8"/>
                  </a:lnTo>
                  <a:lnTo>
                    <a:pt x="9" y="8"/>
                  </a:lnTo>
                  <a:lnTo>
                    <a:pt x="9" y="6"/>
                  </a:lnTo>
                  <a:lnTo>
                    <a:pt x="9" y="4"/>
                  </a:lnTo>
                  <a:lnTo>
                    <a:pt x="8" y="4"/>
                  </a:lnTo>
                  <a:lnTo>
                    <a:pt x="9" y="4"/>
                  </a:lnTo>
                  <a:lnTo>
                    <a:pt x="9" y="2"/>
                  </a:lnTo>
                  <a:close/>
                  <a:moveTo>
                    <a:pt x="6" y="8"/>
                  </a:moveTo>
                  <a:lnTo>
                    <a:pt x="6" y="10"/>
                  </a:lnTo>
                  <a:lnTo>
                    <a:pt x="8" y="10"/>
                  </a:lnTo>
                  <a:lnTo>
                    <a:pt x="9" y="10"/>
                  </a:lnTo>
                  <a:lnTo>
                    <a:pt x="9" y="12"/>
                  </a:lnTo>
                  <a:lnTo>
                    <a:pt x="8" y="12"/>
                  </a:lnTo>
                  <a:lnTo>
                    <a:pt x="6" y="12"/>
                  </a:lnTo>
                  <a:lnTo>
                    <a:pt x="4" y="12"/>
                  </a:lnTo>
                  <a:lnTo>
                    <a:pt x="6" y="12"/>
                  </a:lnTo>
                  <a:lnTo>
                    <a:pt x="4" y="12"/>
                  </a:lnTo>
                  <a:lnTo>
                    <a:pt x="4" y="10"/>
                  </a:lnTo>
                  <a:lnTo>
                    <a:pt x="2" y="10"/>
                  </a:lnTo>
                  <a:lnTo>
                    <a:pt x="4" y="10"/>
                  </a:lnTo>
                  <a:lnTo>
                    <a:pt x="4" y="8"/>
                  </a:lnTo>
                  <a:lnTo>
                    <a:pt x="4" y="10"/>
                  </a:lnTo>
                  <a:lnTo>
                    <a:pt x="4" y="8"/>
                  </a:lnTo>
                  <a:lnTo>
                    <a:pt x="6" y="8"/>
                  </a:lnTo>
                  <a:close/>
                  <a:moveTo>
                    <a:pt x="11" y="23"/>
                  </a:moveTo>
                  <a:lnTo>
                    <a:pt x="11" y="25"/>
                  </a:lnTo>
                  <a:lnTo>
                    <a:pt x="9" y="25"/>
                  </a:lnTo>
                  <a:lnTo>
                    <a:pt x="11" y="25"/>
                  </a:lnTo>
                  <a:lnTo>
                    <a:pt x="11" y="27"/>
                  </a:lnTo>
                  <a:lnTo>
                    <a:pt x="13" y="27"/>
                  </a:lnTo>
                  <a:lnTo>
                    <a:pt x="11" y="27"/>
                  </a:lnTo>
                  <a:lnTo>
                    <a:pt x="13" y="27"/>
                  </a:lnTo>
                  <a:lnTo>
                    <a:pt x="11" y="27"/>
                  </a:lnTo>
                  <a:lnTo>
                    <a:pt x="13" y="27"/>
                  </a:lnTo>
                  <a:lnTo>
                    <a:pt x="13" y="29"/>
                  </a:lnTo>
                  <a:lnTo>
                    <a:pt x="11" y="29"/>
                  </a:lnTo>
                  <a:lnTo>
                    <a:pt x="13" y="29"/>
                  </a:lnTo>
                  <a:lnTo>
                    <a:pt x="13" y="31"/>
                  </a:lnTo>
                  <a:lnTo>
                    <a:pt x="13" y="29"/>
                  </a:lnTo>
                  <a:lnTo>
                    <a:pt x="13" y="31"/>
                  </a:lnTo>
                  <a:lnTo>
                    <a:pt x="15" y="31"/>
                  </a:lnTo>
                  <a:lnTo>
                    <a:pt x="13" y="33"/>
                  </a:lnTo>
                  <a:lnTo>
                    <a:pt x="15" y="33"/>
                  </a:lnTo>
                  <a:lnTo>
                    <a:pt x="13" y="33"/>
                  </a:lnTo>
                  <a:lnTo>
                    <a:pt x="13" y="31"/>
                  </a:lnTo>
                  <a:lnTo>
                    <a:pt x="11" y="31"/>
                  </a:lnTo>
                  <a:lnTo>
                    <a:pt x="13" y="31"/>
                  </a:lnTo>
                  <a:lnTo>
                    <a:pt x="11" y="31"/>
                  </a:lnTo>
                  <a:lnTo>
                    <a:pt x="11" y="29"/>
                  </a:lnTo>
                  <a:lnTo>
                    <a:pt x="11" y="27"/>
                  </a:lnTo>
                  <a:lnTo>
                    <a:pt x="9" y="27"/>
                  </a:lnTo>
                  <a:lnTo>
                    <a:pt x="9" y="25"/>
                  </a:lnTo>
                  <a:lnTo>
                    <a:pt x="9" y="23"/>
                  </a:lnTo>
                  <a:lnTo>
                    <a:pt x="11" y="23"/>
                  </a:lnTo>
                  <a:close/>
                  <a:moveTo>
                    <a:pt x="11" y="16"/>
                  </a:moveTo>
                  <a:lnTo>
                    <a:pt x="11" y="18"/>
                  </a:lnTo>
                  <a:lnTo>
                    <a:pt x="11" y="16"/>
                  </a:lnTo>
                  <a:lnTo>
                    <a:pt x="11" y="18"/>
                  </a:lnTo>
                  <a:lnTo>
                    <a:pt x="13" y="18"/>
                  </a:lnTo>
                  <a:lnTo>
                    <a:pt x="15" y="18"/>
                  </a:lnTo>
                  <a:lnTo>
                    <a:pt x="15" y="20"/>
                  </a:lnTo>
                  <a:lnTo>
                    <a:pt x="15" y="22"/>
                  </a:lnTo>
                  <a:lnTo>
                    <a:pt x="13" y="22"/>
                  </a:lnTo>
                  <a:lnTo>
                    <a:pt x="13" y="20"/>
                  </a:lnTo>
                  <a:lnTo>
                    <a:pt x="13" y="18"/>
                  </a:lnTo>
                  <a:lnTo>
                    <a:pt x="11" y="20"/>
                  </a:lnTo>
                  <a:lnTo>
                    <a:pt x="13" y="20"/>
                  </a:lnTo>
                  <a:lnTo>
                    <a:pt x="11" y="20"/>
                  </a:lnTo>
                  <a:lnTo>
                    <a:pt x="11" y="18"/>
                  </a:lnTo>
                  <a:lnTo>
                    <a:pt x="11" y="16"/>
                  </a:lnTo>
                  <a:lnTo>
                    <a:pt x="9" y="16"/>
                  </a:lnTo>
                  <a:lnTo>
                    <a:pt x="11" y="16"/>
                  </a:lnTo>
                  <a:close/>
                  <a:moveTo>
                    <a:pt x="15" y="2"/>
                  </a:moveTo>
                  <a:lnTo>
                    <a:pt x="17" y="2"/>
                  </a:lnTo>
                  <a:lnTo>
                    <a:pt x="17" y="8"/>
                  </a:lnTo>
                  <a:lnTo>
                    <a:pt x="15" y="8"/>
                  </a:lnTo>
                  <a:lnTo>
                    <a:pt x="15" y="2"/>
                  </a:lnTo>
                  <a:close/>
                  <a:moveTo>
                    <a:pt x="15" y="0"/>
                  </a:moveTo>
                  <a:lnTo>
                    <a:pt x="19" y="0"/>
                  </a:lnTo>
                  <a:lnTo>
                    <a:pt x="19" y="4"/>
                  </a:lnTo>
                  <a:lnTo>
                    <a:pt x="15" y="4"/>
                  </a:lnTo>
                  <a:lnTo>
                    <a:pt x="15" y="0"/>
                  </a:lnTo>
                  <a:close/>
                  <a:moveTo>
                    <a:pt x="13" y="2"/>
                  </a:moveTo>
                  <a:lnTo>
                    <a:pt x="15" y="2"/>
                  </a:lnTo>
                  <a:lnTo>
                    <a:pt x="15" y="6"/>
                  </a:lnTo>
                  <a:lnTo>
                    <a:pt x="13" y="6"/>
                  </a:lnTo>
                  <a:lnTo>
                    <a:pt x="13" y="2"/>
                  </a:lnTo>
                  <a:close/>
                  <a:moveTo>
                    <a:pt x="11" y="2"/>
                  </a:moveTo>
                  <a:lnTo>
                    <a:pt x="15" y="2"/>
                  </a:lnTo>
                  <a:lnTo>
                    <a:pt x="15" y="6"/>
                  </a:lnTo>
                  <a:lnTo>
                    <a:pt x="11" y="6"/>
                  </a:lnTo>
                  <a:lnTo>
                    <a:pt x="11" y="2"/>
                  </a:lnTo>
                  <a:close/>
                  <a:moveTo>
                    <a:pt x="17" y="4"/>
                  </a:moveTo>
                  <a:lnTo>
                    <a:pt x="19" y="4"/>
                  </a:lnTo>
                  <a:lnTo>
                    <a:pt x="19" y="6"/>
                  </a:lnTo>
                  <a:lnTo>
                    <a:pt x="17" y="6"/>
                  </a:lnTo>
                  <a:lnTo>
                    <a:pt x="17" y="4"/>
                  </a:lnTo>
                  <a:close/>
                  <a:moveTo>
                    <a:pt x="19" y="2"/>
                  </a:moveTo>
                  <a:lnTo>
                    <a:pt x="21" y="2"/>
                  </a:lnTo>
                  <a:lnTo>
                    <a:pt x="21" y="4"/>
                  </a:lnTo>
                  <a:lnTo>
                    <a:pt x="19" y="4"/>
                  </a:lnTo>
                  <a:lnTo>
                    <a:pt x="19" y="2"/>
                  </a:lnTo>
                  <a:close/>
                  <a:moveTo>
                    <a:pt x="13" y="12"/>
                  </a:moveTo>
                  <a:lnTo>
                    <a:pt x="15" y="12"/>
                  </a:lnTo>
                  <a:lnTo>
                    <a:pt x="15" y="16"/>
                  </a:lnTo>
                  <a:lnTo>
                    <a:pt x="13" y="16"/>
                  </a:lnTo>
                  <a:lnTo>
                    <a:pt x="13" y="12"/>
                  </a:lnTo>
                  <a:close/>
                  <a:moveTo>
                    <a:pt x="11" y="20"/>
                  </a:moveTo>
                  <a:lnTo>
                    <a:pt x="13" y="20"/>
                  </a:lnTo>
                  <a:lnTo>
                    <a:pt x="13" y="22"/>
                  </a:lnTo>
                  <a:lnTo>
                    <a:pt x="11" y="22"/>
                  </a:lnTo>
                  <a:lnTo>
                    <a:pt x="11" y="20"/>
                  </a:lnTo>
                  <a:close/>
                  <a:moveTo>
                    <a:pt x="0" y="10"/>
                  </a:moveTo>
                  <a:lnTo>
                    <a:pt x="2" y="10"/>
                  </a:lnTo>
                  <a:lnTo>
                    <a:pt x="0" y="10"/>
                  </a:lnTo>
                  <a:close/>
                  <a:moveTo>
                    <a:pt x="11" y="14"/>
                  </a:moveTo>
                  <a:lnTo>
                    <a:pt x="11" y="16"/>
                  </a:lnTo>
                  <a:lnTo>
                    <a:pt x="11" y="14"/>
                  </a:lnTo>
                  <a:close/>
                  <a:moveTo>
                    <a:pt x="4" y="10"/>
                  </a:moveTo>
                  <a:lnTo>
                    <a:pt x="4" y="12"/>
                  </a:lnTo>
                  <a:lnTo>
                    <a:pt x="4" y="10"/>
                  </a:lnTo>
                  <a:close/>
                  <a:moveTo>
                    <a:pt x="2" y="10"/>
                  </a:moveTo>
                  <a:lnTo>
                    <a:pt x="4" y="10"/>
                  </a:lnTo>
                  <a:lnTo>
                    <a:pt x="4" y="12"/>
                  </a:lnTo>
                  <a:lnTo>
                    <a:pt x="2" y="12"/>
                  </a:lnTo>
                  <a:lnTo>
                    <a:pt x="2" y="1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87">
              <a:extLst>
                <a:ext uri="{FF2B5EF4-FFF2-40B4-BE49-F238E27FC236}">
                  <a16:creationId xmlns:a16="http://schemas.microsoft.com/office/drawing/2014/main" id="{64A3DFD2-E0F0-4469-A666-22771E88CACE}"/>
                </a:ext>
              </a:extLst>
            </p:cNvPr>
            <p:cNvSpPr>
              <a:spLocks noEditPoints="1"/>
            </p:cNvSpPr>
            <p:nvPr/>
          </p:nvSpPr>
          <p:spPr bwMode="gray">
            <a:xfrm>
              <a:off x="3018174" y="3167144"/>
              <a:ext cx="84620" cy="120185"/>
            </a:xfrm>
            <a:custGeom>
              <a:avLst/>
              <a:gdLst>
                <a:gd name="T0" fmla="*/ 42 w 69"/>
                <a:gd name="T1" fmla="*/ 23 h 98"/>
                <a:gd name="T2" fmla="*/ 44 w 69"/>
                <a:gd name="T3" fmla="*/ 31 h 98"/>
                <a:gd name="T4" fmla="*/ 52 w 69"/>
                <a:gd name="T5" fmla="*/ 25 h 98"/>
                <a:gd name="T6" fmla="*/ 65 w 69"/>
                <a:gd name="T7" fmla="*/ 37 h 98"/>
                <a:gd name="T8" fmla="*/ 65 w 69"/>
                <a:gd name="T9" fmla="*/ 50 h 98"/>
                <a:gd name="T10" fmla="*/ 67 w 69"/>
                <a:gd name="T11" fmla="*/ 54 h 98"/>
                <a:gd name="T12" fmla="*/ 69 w 69"/>
                <a:gd name="T13" fmla="*/ 62 h 98"/>
                <a:gd name="T14" fmla="*/ 63 w 69"/>
                <a:gd name="T15" fmla="*/ 77 h 98"/>
                <a:gd name="T16" fmla="*/ 57 w 69"/>
                <a:gd name="T17" fmla="*/ 77 h 98"/>
                <a:gd name="T18" fmla="*/ 46 w 69"/>
                <a:gd name="T19" fmla="*/ 83 h 98"/>
                <a:gd name="T20" fmla="*/ 36 w 69"/>
                <a:gd name="T21" fmla="*/ 89 h 98"/>
                <a:gd name="T22" fmla="*/ 32 w 69"/>
                <a:gd name="T23" fmla="*/ 90 h 98"/>
                <a:gd name="T24" fmla="*/ 23 w 69"/>
                <a:gd name="T25" fmla="*/ 94 h 98"/>
                <a:gd name="T26" fmla="*/ 13 w 69"/>
                <a:gd name="T27" fmla="*/ 98 h 98"/>
                <a:gd name="T28" fmla="*/ 17 w 69"/>
                <a:gd name="T29" fmla="*/ 92 h 98"/>
                <a:gd name="T30" fmla="*/ 7 w 69"/>
                <a:gd name="T31" fmla="*/ 92 h 98"/>
                <a:gd name="T32" fmla="*/ 13 w 69"/>
                <a:gd name="T33" fmla="*/ 89 h 98"/>
                <a:gd name="T34" fmla="*/ 5 w 69"/>
                <a:gd name="T35" fmla="*/ 87 h 98"/>
                <a:gd name="T36" fmla="*/ 9 w 69"/>
                <a:gd name="T37" fmla="*/ 81 h 98"/>
                <a:gd name="T38" fmla="*/ 9 w 69"/>
                <a:gd name="T39" fmla="*/ 79 h 98"/>
                <a:gd name="T40" fmla="*/ 15 w 69"/>
                <a:gd name="T41" fmla="*/ 71 h 98"/>
                <a:gd name="T42" fmla="*/ 30 w 69"/>
                <a:gd name="T43" fmla="*/ 69 h 98"/>
                <a:gd name="T44" fmla="*/ 21 w 69"/>
                <a:gd name="T45" fmla="*/ 69 h 98"/>
                <a:gd name="T46" fmla="*/ 11 w 69"/>
                <a:gd name="T47" fmla="*/ 69 h 98"/>
                <a:gd name="T48" fmla="*/ 19 w 69"/>
                <a:gd name="T49" fmla="*/ 64 h 98"/>
                <a:gd name="T50" fmla="*/ 25 w 69"/>
                <a:gd name="T51" fmla="*/ 56 h 98"/>
                <a:gd name="T52" fmla="*/ 17 w 69"/>
                <a:gd name="T53" fmla="*/ 54 h 98"/>
                <a:gd name="T54" fmla="*/ 15 w 69"/>
                <a:gd name="T55" fmla="*/ 50 h 98"/>
                <a:gd name="T56" fmla="*/ 13 w 69"/>
                <a:gd name="T57" fmla="*/ 50 h 98"/>
                <a:gd name="T58" fmla="*/ 7 w 69"/>
                <a:gd name="T59" fmla="*/ 50 h 98"/>
                <a:gd name="T60" fmla="*/ 9 w 69"/>
                <a:gd name="T61" fmla="*/ 46 h 98"/>
                <a:gd name="T62" fmla="*/ 15 w 69"/>
                <a:gd name="T63" fmla="*/ 40 h 98"/>
                <a:gd name="T64" fmla="*/ 15 w 69"/>
                <a:gd name="T65" fmla="*/ 39 h 98"/>
                <a:gd name="T66" fmla="*/ 11 w 69"/>
                <a:gd name="T67" fmla="*/ 37 h 98"/>
                <a:gd name="T68" fmla="*/ 7 w 69"/>
                <a:gd name="T69" fmla="*/ 31 h 98"/>
                <a:gd name="T70" fmla="*/ 9 w 69"/>
                <a:gd name="T71" fmla="*/ 27 h 98"/>
                <a:gd name="T72" fmla="*/ 19 w 69"/>
                <a:gd name="T73" fmla="*/ 27 h 98"/>
                <a:gd name="T74" fmla="*/ 30 w 69"/>
                <a:gd name="T75" fmla="*/ 29 h 98"/>
                <a:gd name="T76" fmla="*/ 30 w 69"/>
                <a:gd name="T77" fmla="*/ 27 h 98"/>
                <a:gd name="T78" fmla="*/ 36 w 69"/>
                <a:gd name="T79" fmla="*/ 19 h 98"/>
                <a:gd name="T80" fmla="*/ 32 w 69"/>
                <a:gd name="T81" fmla="*/ 21 h 98"/>
                <a:gd name="T82" fmla="*/ 30 w 69"/>
                <a:gd name="T83" fmla="*/ 17 h 98"/>
                <a:gd name="T84" fmla="*/ 34 w 69"/>
                <a:gd name="T85" fmla="*/ 12 h 98"/>
                <a:gd name="T86" fmla="*/ 40 w 69"/>
                <a:gd name="T87" fmla="*/ 4 h 98"/>
                <a:gd name="T88" fmla="*/ 42 w 69"/>
                <a:gd name="T89" fmla="*/ 8 h 98"/>
                <a:gd name="T90" fmla="*/ 44 w 69"/>
                <a:gd name="T91" fmla="*/ 8 h 98"/>
                <a:gd name="T92" fmla="*/ 44 w 69"/>
                <a:gd name="T93" fmla="*/ 10 h 98"/>
                <a:gd name="T94" fmla="*/ 46 w 69"/>
                <a:gd name="T95" fmla="*/ 2 h 98"/>
                <a:gd name="T96" fmla="*/ 48 w 69"/>
                <a:gd name="T97" fmla="*/ 2 h 98"/>
                <a:gd name="T98" fmla="*/ 9 w 69"/>
                <a:gd name="T99" fmla="*/ 35 h 98"/>
                <a:gd name="T100" fmla="*/ 9 w 69"/>
                <a:gd name="T101" fmla="*/ 37 h 98"/>
                <a:gd name="T102" fmla="*/ 4 w 69"/>
                <a:gd name="T103" fmla="*/ 87 h 98"/>
                <a:gd name="T104" fmla="*/ 7 w 69"/>
                <a:gd name="T105" fmla="*/ 46 h 98"/>
                <a:gd name="T106" fmla="*/ 5 w 69"/>
                <a:gd name="T107" fmla="*/ 94 h 98"/>
                <a:gd name="T108" fmla="*/ 5 w 69"/>
                <a:gd name="T109" fmla="*/ 46 h 98"/>
                <a:gd name="T110" fmla="*/ 5 w 69"/>
                <a:gd name="T111" fmla="*/ 33 h 98"/>
                <a:gd name="T112" fmla="*/ 30 w 69"/>
                <a:gd name="T113" fmla="*/ 25 h 98"/>
                <a:gd name="T114" fmla="*/ 13 w 69"/>
                <a:gd name="T115" fmla="*/ 52 h 98"/>
                <a:gd name="T116" fmla="*/ 25 w 69"/>
                <a:gd name="T117" fmla="*/ 56 h 98"/>
                <a:gd name="T118" fmla="*/ 32 w 69"/>
                <a:gd name="T119" fmla="*/ 10 h 98"/>
                <a:gd name="T120" fmla="*/ 15 w 69"/>
                <a:gd name="T121" fmla="*/ 89 h 98"/>
                <a:gd name="T122" fmla="*/ 9 w 69"/>
                <a:gd name="T123" fmla="*/ 89 h 98"/>
                <a:gd name="T124" fmla="*/ 19 w 69"/>
                <a:gd name="T125" fmla="*/ 9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 h="98">
                  <a:moveTo>
                    <a:pt x="50" y="8"/>
                  </a:moveTo>
                  <a:lnTo>
                    <a:pt x="50" y="10"/>
                  </a:lnTo>
                  <a:lnTo>
                    <a:pt x="48" y="10"/>
                  </a:lnTo>
                  <a:lnTo>
                    <a:pt x="48" y="12"/>
                  </a:lnTo>
                  <a:lnTo>
                    <a:pt x="48" y="14"/>
                  </a:lnTo>
                  <a:lnTo>
                    <a:pt x="46" y="14"/>
                  </a:lnTo>
                  <a:lnTo>
                    <a:pt x="46" y="16"/>
                  </a:lnTo>
                  <a:lnTo>
                    <a:pt x="46" y="17"/>
                  </a:lnTo>
                  <a:lnTo>
                    <a:pt x="44" y="17"/>
                  </a:lnTo>
                  <a:lnTo>
                    <a:pt x="42" y="17"/>
                  </a:lnTo>
                  <a:lnTo>
                    <a:pt x="40" y="17"/>
                  </a:lnTo>
                  <a:lnTo>
                    <a:pt x="40" y="19"/>
                  </a:lnTo>
                  <a:lnTo>
                    <a:pt x="42" y="19"/>
                  </a:lnTo>
                  <a:lnTo>
                    <a:pt x="44" y="19"/>
                  </a:lnTo>
                  <a:lnTo>
                    <a:pt x="44" y="21"/>
                  </a:lnTo>
                  <a:lnTo>
                    <a:pt x="44" y="19"/>
                  </a:lnTo>
                  <a:lnTo>
                    <a:pt x="44" y="21"/>
                  </a:lnTo>
                  <a:lnTo>
                    <a:pt x="42" y="21"/>
                  </a:lnTo>
                  <a:lnTo>
                    <a:pt x="42" y="23"/>
                  </a:lnTo>
                  <a:lnTo>
                    <a:pt x="42" y="21"/>
                  </a:lnTo>
                  <a:lnTo>
                    <a:pt x="40" y="21"/>
                  </a:lnTo>
                  <a:lnTo>
                    <a:pt x="40" y="23"/>
                  </a:lnTo>
                  <a:lnTo>
                    <a:pt x="40" y="21"/>
                  </a:lnTo>
                  <a:lnTo>
                    <a:pt x="40" y="23"/>
                  </a:lnTo>
                  <a:lnTo>
                    <a:pt x="40" y="21"/>
                  </a:lnTo>
                  <a:lnTo>
                    <a:pt x="38" y="21"/>
                  </a:lnTo>
                  <a:lnTo>
                    <a:pt x="38" y="23"/>
                  </a:lnTo>
                  <a:lnTo>
                    <a:pt x="36" y="23"/>
                  </a:lnTo>
                  <a:lnTo>
                    <a:pt x="36" y="25"/>
                  </a:lnTo>
                  <a:lnTo>
                    <a:pt x="38" y="25"/>
                  </a:lnTo>
                  <a:lnTo>
                    <a:pt x="38" y="27"/>
                  </a:lnTo>
                  <a:lnTo>
                    <a:pt x="40" y="27"/>
                  </a:lnTo>
                  <a:lnTo>
                    <a:pt x="40" y="29"/>
                  </a:lnTo>
                  <a:lnTo>
                    <a:pt x="40" y="31"/>
                  </a:lnTo>
                  <a:lnTo>
                    <a:pt x="42" y="31"/>
                  </a:lnTo>
                  <a:lnTo>
                    <a:pt x="40" y="31"/>
                  </a:lnTo>
                  <a:lnTo>
                    <a:pt x="42" y="31"/>
                  </a:lnTo>
                  <a:lnTo>
                    <a:pt x="44" y="31"/>
                  </a:lnTo>
                  <a:lnTo>
                    <a:pt x="44" y="33"/>
                  </a:lnTo>
                  <a:lnTo>
                    <a:pt x="46" y="33"/>
                  </a:lnTo>
                  <a:lnTo>
                    <a:pt x="48" y="33"/>
                  </a:lnTo>
                  <a:lnTo>
                    <a:pt x="48" y="31"/>
                  </a:lnTo>
                  <a:lnTo>
                    <a:pt x="48" y="33"/>
                  </a:lnTo>
                  <a:lnTo>
                    <a:pt x="50" y="33"/>
                  </a:lnTo>
                  <a:lnTo>
                    <a:pt x="48" y="33"/>
                  </a:lnTo>
                  <a:lnTo>
                    <a:pt x="50" y="33"/>
                  </a:lnTo>
                  <a:lnTo>
                    <a:pt x="50" y="31"/>
                  </a:lnTo>
                  <a:lnTo>
                    <a:pt x="50" y="33"/>
                  </a:lnTo>
                  <a:lnTo>
                    <a:pt x="50" y="31"/>
                  </a:lnTo>
                  <a:lnTo>
                    <a:pt x="52" y="31"/>
                  </a:lnTo>
                  <a:lnTo>
                    <a:pt x="52" y="29"/>
                  </a:lnTo>
                  <a:lnTo>
                    <a:pt x="50" y="29"/>
                  </a:lnTo>
                  <a:lnTo>
                    <a:pt x="50" y="27"/>
                  </a:lnTo>
                  <a:lnTo>
                    <a:pt x="52" y="27"/>
                  </a:lnTo>
                  <a:lnTo>
                    <a:pt x="52" y="25"/>
                  </a:lnTo>
                  <a:lnTo>
                    <a:pt x="53" y="25"/>
                  </a:lnTo>
                  <a:lnTo>
                    <a:pt x="52" y="25"/>
                  </a:lnTo>
                  <a:lnTo>
                    <a:pt x="53" y="25"/>
                  </a:lnTo>
                  <a:lnTo>
                    <a:pt x="55" y="25"/>
                  </a:lnTo>
                  <a:lnTo>
                    <a:pt x="55" y="27"/>
                  </a:lnTo>
                  <a:lnTo>
                    <a:pt x="55" y="29"/>
                  </a:lnTo>
                  <a:lnTo>
                    <a:pt x="55" y="31"/>
                  </a:lnTo>
                  <a:lnTo>
                    <a:pt x="57" y="31"/>
                  </a:lnTo>
                  <a:lnTo>
                    <a:pt x="59" y="31"/>
                  </a:lnTo>
                  <a:lnTo>
                    <a:pt x="59" y="33"/>
                  </a:lnTo>
                  <a:lnTo>
                    <a:pt x="59" y="35"/>
                  </a:lnTo>
                  <a:lnTo>
                    <a:pt x="61" y="35"/>
                  </a:lnTo>
                  <a:lnTo>
                    <a:pt x="61" y="33"/>
                  </a:lnTo>
                  <a:lnTo>
                    <a:pt x="61" y="35"/>
                  </a:lnTo>
                  <a:lnTo>
                    <a:pt x="63" y="35"/>
                  </a:lnTo>
                  <a:lnTo>
                    <a:pt x="63" y="33"/>
                  </a:lnTo>
                  <a:lnTo>
                    <a:pt x="65" y="33"/>
                  </a:lnTo>
                  <a:lnTo>
                    <a:pt x="65" y="35"/>
                  </a:lnTo>
                  <a:lnTo>
                    <a:pt x="67" y="35"/>
                  </a:lnTo>
                  <a:lnTo>
                    <a:pt x="67" y="37"/>
                  </a:lnTo>
                  <a:lnTo>
                    <a:pt x="65" y="37"/>
                  </a:lnTo>
                  <a:lnTo>
                    <a:pt x="65" y="35"/>
                  </a:lnTo>
                  <a:lnTo>
                    <a:pt x="63" y="35"/>
                  </a:lnTo>
                  <a:lnTo>
                    <a:pt x="63" y="37"/>
                  </a:lnTo>
                  <a:lnTo>
                    <a:pt x="63" y="39"/>
                  </a:lnTo>
                  <a:lnTo>
                    <a:pt x="65" y="39"/>
                  </a:lnTo>
                  <a:lnTo>
                    <a:pt x="65" y="40"/>
                  </a:lnTo>
                  <a:lnTo>
                    <a:pt x="65" y="42"/>
                  </a:lnTo>
                  <a:lnTo>
                    <a:pt x="65" y="44"/>
                  </a:lnTo>
                  <a:lnTo>
                    <a:pt x="65" y="46"/>
                  </a:lnTo>
                  <a:lnTo>
                    <a:pt x="67" y="46"/>
                  </a:lnTo>
                  <a:lnTo>
                    <a:pt x="67" y="48"/>
                  </a:lnTo>
                  <a:lnTo>
                    <a:pt x="65" y="48"/>
                  </a:lnTo>
                  <a:lnTo>
                    <a:pt x="67" y="48"/>
                  </a:lnTo>
                  <a:lnTo>
                    <a:pt x="67" y="50"/>
                  </a:lnTo>
                  <a:lnTo>
                    <a:pt x="67" y="48"/>
                  </a:lnTo>
                  <a:lnTo>
                    <a:pt x="65" y="48"/>
                  </a:lnTo>
                  <a:lnTo>
                    <a:pt x="67" y="48"/>
                  </a:lnTo>
                  <a:lnTo>
                    <a:pt x="65" y="48"/>
                  </a:lnTo>
                  <a:lnTo>
                    <a:pt x="65" y="50"/>
                  </a:lnTo>
                  <a:lnTo>
                    <a:pt x="65" y="48"/>
                  </a:lnTo>
                  <a:lnTo>
                    <a:pt x="65" y="50"/>
                  </a:lnTo>
                  <a:lnTo>
                    <a:pt x="67" y="50"/>
                  </a:lnTo>
                  <a:lnTo>
                    <a:pt x="67" y="52"/>
                  </a:lnTo>
                  <a:lnTo>
                    <a:pt x="67" y="50"/>
                  </a:lnTo>
                  <a:lnTo>
                    <a:pt x="65" y="50"/>
                  </a:lnTo>
                  <a:lnTo>
                    <a:pt x="65" y="52"/>
                  </a:lnTo>
                  <a:lnTo>
                    <a:pt x="67" y="52"/>
                  </a:lnTo>
                  <a:lnTo>
                    <a:pt x="67" y="50"/>
                  </a:lnTo>
                  <a:lnTo>
                    <a:pt x="67" y="52"/>
                  </a:lnTo>
                  <a:lnTo>
                    <a:pt x="67" y="50"/>
                  </a:lnTo>
                  <a:lnTo>
                    <a:pt x="67" y="52"/>
                  </a:lnTo>
                  <a:lnTo>
                    <a:pt x="65" y="52"/>
                  </a:lnTo>
                  <a:lnTo>
                    <a:pt x="67" y="52"/>
                  </a:lnTo>
                  <a:lnTo>
                    <a:pt x="65" y="52"/>
                  </a:lnTo>
                  <a:lnTo>
                    <a:pt x="65" y="54"/>
                  </a:lnTo>
                  <a:lnTo>
                    <a:pt x="67" y="54"/>
                  </a:lnTo>
                  <a:lnTo>
                    <a:pt x="67" y="52"/>
                  </a:lnTo>
                  <a:lnTo>
                    <a:pt x="67" y="54"/>
                  </a:lnTo>
                  <a:lnTo>
                    <a:pt x="67" y="52"/>
                  </a:lnTo>
                  <a:lnTo>
                    <a:pt x="67" y="54"/>
                  </a:lnTo>
                  <a:lnTo>
                    <a:pt x="67" y="52"/>
                  </a:lnTo>
                  <a:lnTo>
                    <a:pt x="67" y="54"/>
                  </a:lnTo>
                  <a:lnTo>
                    <a:pt x="67" y="52"/>
                  </a:lnTo>
                  <a:lnTo>
                    <a:pt x="67" y="54"/>
                  </a:lnTo>
                  <a:lnTo>
                    <a:pt x="67" y="52"/>
                  </a:lnTo>
                  <a:lnTo>
                    <a:pt x="67" y="54"/>
                  </a:lnTo>
                  <a:lnTo>
                    <a:pt x="67" y="56"/>
                  </a:lnTo>
                  <a:lnTo>
                    <a:pt x="67" y="58"/>
                  </a:lnTo>
                  <a:lnTo>
                    <a:pt x="67" y="60"/>
                  </a:lnTo>
                  <a:lnTo>
                    <a:pt x="67" y="62"/>
                  </a:lnTo>
                  <a:lnTo>
                    <a:pt x="67" y="60"/>
                  </a:lnTo>
                  <a:lnTo>
                    <a:pt x="67" y="62"/>
                  </a:lnTo>
                  <a:lnTo>
                    <a:pt x="69" y="62"/>
                  </a:lnTo>
                  <a:lnTo>
                    <a:pt x="67" y="62"/>
                  </a:lnTo>
                  <a:lnTo>
                    <a:pt x="69" y="62"/>
                  </a:lnTo>
                  <a:lnTo>
                    <a:pt x="67" y="62"/>
                  </a:lnTo>
                  <a:lnTo>
                    <a:pt x="69" y="62"/>
                  </a:lnTo>
                  <a:lnTo>
                    <a:pt x="67" y="62"/>
                  </a:lnTo>
                  <a:lnTo>
                    <a:pt x="67" y="64"/>
                  </a:lnTo>
                  <a:lnTo>
                    <a:pt x="67" y="65"/>
                  </a:lnTo>
                  <a:lnTo>
                    <a:pt x="67" y="67"/>
                  </a:lnTo>
                  <a:lnTo>
                    <a:pt x="65" y="67"/>
                  </a:lnTo>
                  <a:lnTo>
                    <a:pt x="65" y="69"/>
                  </a:lnTo>
                  <a:lnTo>
                    <a:pt x="65" y="71"/>
                  </a:lnTo>
                  <a:lnTo>
                    <a:pt x="65" y="73"/>
                  </a:lnTo>
                  <a:lnTo>
                    <a:pt x="63" y="73"/>
                  </a:lnTo>
                  <a:lnTo>
                    <a:pt x="63" y="75"/>
                  </a:lnTo>
                  <a:lnTo>
                    <a:pt x="63" y="77"/>
                  </a:lnTo>
                  <a:lnTo>
                    <a:pt x="63" y="75"/>
                  </a:lnTo>
                  <a:lnTo>
                    <a:pt x="61" y="75"/>
                  </a:lnTo>
                  <a:lnTo>
                    <a:pt x="61" y="77"/>
                  </a:lnTo>
                  <a:lnTo>
                    <a:pt x="61" y="75"/>
                  </a:lnTo>
                  <a:lnTo>
                    <a:pt x="61" y="77"/>
                  </a:lnTo>
                  <a:lnTo>
                    <a:pt x="63" y="77"/>
                  </a:lnTo>
                  <a:lnTo>
                    <a:pt x="61" y="77"/>
                  </a:lnTo>
                  <a:lnTo>
                    <a:pt x="63" y="77"/>
                  </a:lnTo>
                  <a:lnTo>
                    <a:pt x="61" y="77"/>
                  </a:lnTo>
                  <a:lnTo>
                    <a:pt x="63" y="77"/>
                  </a:lnTo>
                  <a:lnTo>
                    <a:pt x="63" y="79"/>
                  </a:lnTo>
                  <a:lnTo>
                    <a:pt x="63" y="81"/>
                  </a:lnTo>
                  <a:lnTo>
                    <a:pt x="63" y="79"/>
                  </a:lnTo>
                  <a:lnTo>
                    <a:pt x="61" y="79"/>
                  </a:lnTo>
                  <a:lnTo>
                    <a:pt x="61" y="81"/>
                  </a:lnTo>
                  <a:lnTo>
                    <a:pt x="59" y="81"/>
                  </a:lnTo>
                  <a:lnTo>
                    <a:pt x="59" y="79"/>
                  </a:lnTo>
                  <a:lnTo>
                    <a:pt x="57" y="79"/>
                  </a:lnTo>
                  <a:lnTo>
                    <a:pt x="59" y="79"/>
                  </a:lnTo>
                  <a:lnTo>
                    <a:pt x="57" y="79"/>
                  </a:lnTo>
                  <a:lnTo>
                    <a:pt x="57" y="77"/>
                  </a:lnTo>
                  <a:lnTo>
                    <a:pt x="57" y="79"/>
                  </a:lnTo>
                  <a:lnTo>
                    <a:pt x="57" y="77"/>
                  </a:lnTo>
                  <a:lnTo>
                    <a:pt x="57" y="79"/>
                  </a:lnTo>
                  <a:lnTo>
                    <a:pt x="57" y="77"/>
                  </a:lnTo>
                  <a:lnTo>
                    <a:pt x="57" y="79"/>
                  </a:lnTo>
                  <a:lnTo>
                    <a:pt x="57" y="77"/>
                  </a:lnTo>
                  <a:lnTo>
                    <a:pt x="57" y="79"/>
                  </a:lnTo>
                  <a:lnTo>
                    <a:pt x="55" y="79"/>
                  </a:lnTo>
                  <a:lnTo>
                    <a:pt x="55" y="81"/>
                  </a:lnTo>
                  <a:lnTo>
                    <a:pt x="55" y="79"/>
                  </a:lnTo>
                  <a:lnTo>
                    <a:pt x="53" y="79"/>
                  </a:lnTo>
                  <a:lnTo>
                    <a:pt x="53" y="81"/>
                  </a:lnTo>
                  <a:lnTo>
                    <a:pt x="52" y="81"/>
                  </a:lnTo>
                  <a:lnTo>
                    <a:pt x="53" y="81"/>
                  </a:lnTo>
                  <a:lnTo>
                    <a:pt x="52" y="81"/>
                  </a:lnTo>
                  <a:lnTo>
                    <a:pt x="53" y="81"/>
                  </a:lnTo>
                  <a:lnTo>
                    <a:pt x="52" y="81"/>
                  </a:lnTo>
                  <a:lnTo>
                    <a:pt x="50" y="81"/>
                  </a:lnTo>
                  <a:lnTo>
                    <a:pt x="48" y="81"/>
                  </a:lnTo>
                  <a:lnTo>
                    <a:pt x="46" y="81"/>
                  </a:lnTo>
                  <a:lnTo>
                    <a:pt x="46" y="83"/>
                  </a:lnTo>
                  <a:lnTo>
                    <a:pt x="46" y="81"/>
                  </a:lnTo>
                  <a:lnTo>
                    <a:pt x="46" y="83"/>
                  </a:lnTo>
                  <a:lnTo>
                    <a:pt x="46" y="81"/>
                  </a:lnTo>
                  <a:lnTo>
                    <a:pt x="46" y="83"/>
                  </a:lnTo>
                  <a:lnTo>
                    <a:pt x="46" y="81"/>
                  </a:lnTo>
                  <a:lnTo>
                    <a:pt x="46" y="83"/>
                  </a:lnTo>
                  <a:lnTo>
                    <a:pt x="44" y="83"/>
                  </a:lnTo>
                  <a:lnTo>
                    <a:pt x="46" y="83"/>
                  </a:lnTo>
                  <a:lnTo>
                    <a:pt x="46" y="85"/>
                  </a:lnTo>
                  <a:lnTo>
                    <a:pt x="44" y="85"/>
                  </a:lnTo>
                  <a:lnTo>
                    <a:pt x="44" y="87"/>
                  </a:lnTo>
                  <a:lnTo>
                    <a:pt x="42" y="87"/>
                  </a:lnTo>
                  <a:lnTo>
                    <a:pt x="42" y="85"/>
                  </a:lnTo>
                  <a:lnTo>
                    <a:pt x="42" y="87"/>
                  </a:lnTo>
                  <a:lnTo>
                    <a:pt x="42" y="85"/>
                  </a:lnTo>
                  <a:lnTo>
                    <a:pt x="42" y="87"/>
                  </a:lnTo>
                  <a:lnTo>
                    <a:pt x="40" y="87"/>
                  </a:lnTo>
                  <a:lnTo>
                    <a:pt x="38" y="89"/>
                  </a:lnTo>
                  <a:lnTo>
                    <a:pt x="36" y="89"/>
                  </a:lnTo>
                  <a:lnTo>
                    <a:pt x="34" y="89"/>
                  </a:lnTo>
                  <a:lnTo>
                    <a:pt x="36" y="89"/>
                  </a:lnTo>
                  <a:lnTo>
                    <a:pt x="34" y="89"/>
                  </a:lnTo>
                  <a:lnTo>
                    <a:pt x="36" y="89"/>
                  </a:lnTo>
                  <a:lnTo>
                    <a:pt x="34" y="89"/>
                  </a:lnTo>
                  <a:lnTo>
                    <a:pt x="36" y="89"/>
                  </a:lnTo>
                  <a:lnTo>
                    <a:pt x="34" y="89"/>
                  </a:lnTo>
                  <a:lnTo>
                    <a:pt x="36" y="89"/>
                  </a:lnTo>
                  <a:lnTo>
                    <a:pt x="36" y="87"/>
                  </a:lnTo>
                  <a:lnTo>
                    <a:pt x="36" y="89"/>
                  </a:lnTo>
                  <a:lnTo>
                    <a:pt x="34" y="89"/>
                  </a:lnTo>
                  <a:lnTo>
                    <a:pt x="34" y="87"/>
                  </a:lnTo>
                  <a:lnTo>
                    <a:pt x="34" y="89"/>
                  </a:lnTo>
                  <a:lnTo>
                    <a:pt x="32" y="89"/>
                  </a:lnTo>
                  <a:lnTo>
                    <a:pt x="34" y="89"/>
                  </a:lnTo>
                  <a:lnTo>
                    <a:pt x="34" y="90"/>
                  </a:lnTo>
                  <a:lnTo>
                    <a:pt x="32" y="90"/>
                  </a:lnTo>
                  <a:lnTo>
                    <a:pt x="32" y="92"/>
                  </a:lnTo>
                  <a:lnTo>
                    <a:pt x="32" y="90"/>
                  </a:lnTo>
                  <a:lnTo>
                    <a:pt x="32" y="92"/>
                  </a:lnTo>
                  <a:lnTo>
                    <a:pt x="32" y="90"/>
                  </a:lnTo>
                  <a:lnTo>
                    <a:pt x="32" y="92"/>
                  </a:lnTo>
                  <a:lnTo>
                    <a:pt x="32" y="90"/>
                  </a:lnTo>
                  <a:lnTo>
                    <a:pt x="30" y="90"/>
                  </a:lnTo>
                  <a:lnTo>
                    <a:pt x="30" y="92"/>
                  </a:lnTo>
                  <a:lnTo>
                    <a:pt x="30" y="90"/>
                  </a:lnTo>
                  <a:lnTo>
                    <a:pt x="30" y="92"/>
                  </a:lnTo>
                  <a:lnTo>
                    <a:pt x="32" y="92"/>
                  </a:lnTo>
                  <a:lnTo>
                    <a:pt x="32" y="90"/>
                  </a:lnTo>
                  <a:lnTo>
                    <a:pt x="32" y="92"/>
                  </a:lnTo>
                  <a:lnTo>
                    <a:pt x="30" y="92"/>
                  </a:lnTo>
                  <a:lnTo>
                    <a:pt x="30" y="94"/>
                  </a:lnTo>
                  <a:lnTo>
                    <a:pt x="30" y="92"/>
                  </a:lnTo>
                  <a:lnTo>
                    <a:pt x="28" y="92"/>
                  </a:lnTo>
                  <a:lnTo>
                    <a:pt x="28" y="94"/>
                  </a:lnTo>
                  <a:lnTo>
                    <a:pt x="27" y="94"/>
                  </a:lnTo>
                  <a:lnTo>
                    <a:pt x="25" y="94"/>
                  </a:lnTo>
                  <a:lnTo>
                    <a:pt x="25" y="96"/>
                  </a:lnTo>
                  <a:lnTo>
                    <a:pt x="25" y="94"/>
                  </a:lnTo>
                  <a:lnTo>
                    <a:pt x="23" y="94"/>
                  </a:lnTo>
                  <a:lnTo>
                    <a:pt x="25" y="94"/>
                  </a:lnTo>
                  <a:lnTo>
                    <a:pt x="23" y="94"/>
                  </a:lnTo>
                  <a:lnTo>
                    <a:pt x="25" y="94"/>
                  </a:lnTo>
                  <a:lnTo>
                    <a:pt x="23" y="94"/>
                  </a:lnTo>
                  <a:lnTo>
                    <a:pt x="23" y="96"/>
                  </a:lnTo>
                  <a:lnTo>
                    <a:pt x="21" y="96"/>
                  </a:lnTo>
                  <a:lnTo>
                    <a:pt x="23" y="96"/>
                  </a:lnTo>
                  <a:lnTo>
                    <a:pt x="21" y="96"/>
                  </a:lnTo>
                  <a:lnTo>
                    <a:pt x="23" y="96"/>
                  </a:lnTo>
                  <a:lnTo>
                    <a:pt x="21" y="96"/>
                  </a:lnTo>
                  <a:lnTo>
                    <a:pt x="19" y="96"/>
                  </a:lnTo>
                  <a:lnTo>
                    <a:pt x="21" y="96"/>
                  </a:lnTo>
                  <a:lnTo>
                    <a:pt x="19" y="96"/>
                  </a:lnTo>
                  <a:lnTo>
                    <a:pt x="21" y="96"/>
                  </a:lnTo>
                  <a:lnTo>
                    <a:pt x="19" y="96"/>
                  </a:lnTo>
                  <a:lnTo>
                    <a:pt x="19" y="94"/>
                  </a:lnTo>
                  <a:lnTo>
                    <a:pt x="17" y="94"/>
                  </a:lnTo>
                  <a:lnTo>
                    <a:pt x="17" y="96"/>
                  </a:lnTo>
                  <a:lnTo>
                    <a:pt x="15" y="96"/>
                  </a:lnTo>
                  <a:lnTo>
                    <a:pt x="13" y="96"/>
                  </a:lnTo>
                  <a:lnTo>
                    <a:pt x="13" y="98"/>
                  </a:lnTo>
                  <a:lnTo>
                    <a:pt x="13" y="96"/>
                  </a:lnTo>
                  <a:lnTo>
                    <a:pt x="13" y="98"/>
                  </a:lnTo>
                  <a:lnTo>
                    <a:pt x="13" y="96"/>
                  </a:lnTo>
                  <a:lnTo>
                    <a:pt x="11" y="96"/>
                  </a:lnTo>
                  <a:lnTo>
                    <a:pt x="13" y="96"/>
                  </a:lnTo>
                  <a:lnTo>
                    <a:pt x="15" y="96"/>
                  </a:lnTo>
                  <a:lnTo>
                    <a:pt x="15" y="94"/>
                  </a:lnTo>
                  <a:lnTo>
                    <a:pt x="17" y="94"/>
                  </a:lnTo>
                  <a:lnTo>
                    <a:pt x="17" y="92"/>
                  </a:lnTo>
                  <a:lnTo>
                    <a:pt x="17" y="94"/>
                  </a:lnTo>
                  <a:lnTo>
                    <a:pt x="17" y="92"/>
                  </a:lnTo>
                  <a:lnTo>
                    <a:pt x="17" y="94"/>
                  </a:lnTo>
                  <a:lnTo>
                    <a:pt x="15" y="94"/>
                  </a:lnTo>
                  <a:lnTo>
                    <a:pt x="13" y="94"/>
                  </a:lnTo>
                  <a:lnTo>
                    <a:pt x="11" y="94"/>
                  </a:lnTo>
                  <a:lnTo>
                    <a:pt x="13" y="94"/>
                  </a:lnTo>
                  <a:lnTo>
                    <a:pt x="15" y="94"/>
                  </a:lnTo>
                  <a:lnTo>
                    <a:pt x="15" y="92"/>
                  </a:lnTo>
                  <a:lnTo>
                    <a:pt x="17" y="92"/>
                  </a:lnTo>
                  <a:lnTo>
                    <a:pt x="15" y="92"/>
                  </a:lnTo>
                  <a:lnTo>
                    <a:pt x="17" y="92"/>
                  </a:lnTo>
                  <a:lnTo>
                    <a:pt x="17" y="90"/>
                  </a:lnTo>
                  <a:lnTo>
                    <a:pt x="15" y="90"/>
                  </a:lnTo>
                  <a:lnTo>
                    <a:pt x="15" y="92"/>
                  </a:lnTo>
                  <a:lnTo>
                    <a:pt x="13" y="92"/>
                  </a:lnTo>
                  <a:lnTo>
                    <a:pt x="11" y="92"/>
                  </a:lnTo>
                  <a:lnTo>
                    <a:pt x="11" y="94"/>
                  </a:lnTo>
                  <a:lnTo>
                    <a:pt x="9" y="94"/>
                  </a:lnTo>
                  <a:lnTo>
                    <a:pt x="9" y="92"/>
                  </a:lnTo>
                  <a:lnTo>
                    <a:pt x="9" y="94"/>
                  </a:lnTo>
                  <a:lnTo>
                    <a:pt x="7" y="94"/>
                  </a:lnTo>
                  <a:lnTo>
                    <a:pt x="7" y="92"/>
                  </a:lnTo>
                  <a:lnTo>
                    <a:pt x="7" y="94"/>
                  </a:lnTo>
                  <a:lnTo>
                    <a:pt x="7" y="92"/>
                  </a:lnTo>
                  <a:lnTo>
                    <a:pt x="7" y="94"/>
                  </a:lnTo>
                  <a:lnTo>
                    <a:pt x="7" y="92"/>
                  </a:lnTo>
                  <a:lnTo>
                    <a:pt x="9" y="92"/>
                  </a:lnTo>
                  <a:lnTo>
                    <a:pt x="7" y="92"/>
                  </a:lnTo>
                  <a:lnTo>
                    <a:pt x="9" y="92"/>
                  </a:lnTo>
                  <a:lnTo>
                    <a:pt x="9" y="90"/>
                  </a:lnTo>
                  <a:lnTo>
                    <a:pt x="11" y="90"/>
                  </a:lnTo>
                  <a:lnTo>
                    <a:pt x="9" y="90"/>
                  </a:lnTo>
                  <a:lnTo>
                    <a:pt x="11" y="90"/>
                  </a:lnTo>
                  <a:lnTo>
                    <a:pt x="9" y="90"/>
                  </a:lnTo>
                  <a:lnTo>
                    <a:pt x="11" y="90"/>
                  </a:lnTo>
                  <a:lnTo>
                    <a:pt x="9" y="90"/>
                  </a:lnTo>
                  <a:lnTo>
                    <a:pt x="11" y="90"/>
                  </a:lnTo>
                  <a:lnTo>
                    <a:pt x="13" y="90"/>
                  </a:lnTo>
                  <a:lnTo>
                    <a:pt x="13" y="89"/>
                  </a:lnTo>
                  <a:lnTo>
                    <a:pt x="15" y="89"/>
                  </a:lnTo>
                  <a:lnTo>
                    <a:pt x="15" y="87"/>
                  </a:lnTo>
                  <a:lnTo>
                    <a:pt x="15" y="89"/>
                  </a:lnTo>
                  <a:lnTo>
                    <a:pt x="13" y="89"/>
                  </a:lnTo>
                  <a:lnTo>
                    <a:pt x="11" y="89"/>
                  </a:lnTo>
                  <a:lnTo>
                    <a:pt x="13" y="89"/>
                  </a:lnTo>
                  <a:lnTo>
                    <a:pt x="11" y="89"/>
                  </a:lnTo>
                  <a:lnTo>
                    <a:pt x="13" y="89"/>
                  </a:lnTo>
                  <a:lnTo>
                    <a:pt x="11" y="89"/>
                  </a:lnTo>
                  <a:lnTo>
                    <a:pt x="9" y="89"/>
                  </a:lnTo>
                  <a:lnTo>
                    <a:pt x="9" y="90"/>
                  </a:lnTo>
                  <a:lnTo>
                    <a:pt x="9" y="89"/>
                  </a:lnTo>
                  <a:lnTo>
                    <a:pt x="9" y="90"/>
                  </a:lnTo>
                  <a:lnTo>
                    <a:pt x="7" y="90"/>
                  </a:lnTo>
                  <a:lnTo>
                    <a:pt x="5" y="90"/>
                  </a:lnTo>
                  <a:lnTo>
                    <a:pt x="5" y="89"/>
                  </a:lnTo>
                  <a:lnTo>
                    <a:pt x="7" y="89"/>
                  </a:lnTo>
                  <a:lnTo>
                    <a:pt x="7" y="90"/>
                  </a:lnTo>
                  <a:lnTo>
                    <a:pt x="7" y="89"/>
                  </a:lnTo>
                  <a:lnTo>
                    <a:pt x="7" y="90"/>
                  </a:lnTo>
                  <a:lnTo>
                    <a:pt x="7" y="89"/>
                  </a:lnTo>
                  <a:lnTo>
                    <a:pt x="5" y="89"/>
                  </a:lnTo>
                  <a:lnTo>
                    <a:pt x="4" y="89"/>
                  </a:lnTo>
                  <a:lnTo>
                    <a:pt x="5" y="89"/>
                  </a:lnTo>
                  <a:lnTo>
                    <a:pt x="4" y="89"/>
                  </a:lnTo>
                  <a:lnTo>
                    <a:pt x="4" y="87"/>
                  </a:lnTo>
                  <a:lnTo>
                    <a:pt x="5" y="87"/>
                  </a:lnTo>
                  <a:lnTo>
                    <a:pt x="5" y="85"/>
                  </a:lnTo>
                  <a:lnTo>
                    <a:pt x="7" y="85"/>
                  </a:lnTo>
                  <a:lnTo>
                    <a:pt x="5" y="85"/>
                  </a:lnTo>
                  <a:lnTo>
                    <a:pt x="5" y="87"/>
                  </a:lnTo>
                  <a:lnTo>
                    <a:pt x="5" y="85"/>
                  </a:lnTo>
                  <a:lnTo>
                    <a:pt x="7" y="85"/>
                  </a:lnTo>
                  <a:lnTo>
                    <a:pt x="7" y="83"/>
                  </a:lnTo>
                  <a:lnTo>
                    <a:pt x="9" y="83"/>
                  </a:lnTo>
                  <a:lnTo>
                    <a:pt x="11" y="83"/>
                  </a:lnTo>
                  <a:lnTo>
                    <a:pt x="9" y="83"/>
                  </a:lnTo>
                  <a:lnTo>
                    <a:pt x="11" y="83"/>
                  </a:lnTo>
                  <a:lnTo>
                    <a:pt x="9" y="83"/>
                  </a:lnTo>
                  <a:lnTo>
                    <a:pt x="11" y="83"/>
                  </a:lnTo>
                  <a:lnTo>
                    <a:pt x="11" y="81"/>
                  </a:lnTo>
                  <a:lnTo>
                    <a:pt x="13" y="81"/>
                  </a:lnTo>
                  <a:lnTo>
                    <a:pt x="11" y="81"/>
                  </a:lnTo>
                  <a:lnTo>
                    <a:pt x="9" y="81"/>
                  </a:lnTo>
                  <a:lnTo>
                    <a:pt x="11" y="81"/>
                  </a:lnTo>
                  <a:lnTo>
                    <a:pt x="9" y="81"/>
                  </a:lnTo>
                  <a:lnTo>
                    <a:pt x="7" y="81"/>
                  </a:lnTo>
                  <a:lnTo>
                    <a:pt x="5" y="81"/>
                  </a:lnTo>
                  <a:lnTo>
                    <a:pt x="7" y="81"/>
                  </a:lnTo>
                  <a:lnTo>
                    <a:pt x="5" y="81"/>
                  </a:lnTo>
                  <a:lnTo>
                    <a:pt x="7" y="81"/>
                  </a:lnTo>
                  <a:lnTo>
                    <a:pt x="5" y="81"/>
                  </a:lnTo>
                  <a:lnTo>
                    <a:pt x="4" y="81"/>
                  </a:lnTo>
                  <a:lnTo>
                    <a:pt x="5" y="81"/>
                  </a:lnTo>
                  <a:lnTo>
                    <a:pt x="4" y="81"/>
                  </a:lnTo>
                  <a:lnTo>
                    <a:pt x="4" y="83"/>
                  </a:lnTo>
                  <a:lnTo>
                    <a:pt x="4" y="81"/>
                  </a:lnTo>
                  <a:lnTo>
                    <a:pt x="4" y="79"/>
                  </a:lnTo>
                  <a:lnTo>
                    <a:pt x="4" y="81"/>
                  </a:lnTo>
                  <a:lnTo>
                    <a:pt x="4" y="79"/>
                  </a:lnTo>
                  <a:lnTo>
                    <a:pt x="5" y="79"/>
                  </a:lnTo>
                  <a:lnTo>
                    <a:pt x="5" y="77"/>
                  </a:lnTo>
                  <a:lnTo>
                    <a:pt x="7" y="77"/>
                  </a:lnTo>
                  <a:lnTo>
                    <a:pt x="7" y="79"/>
                  </a:lnTo>
                  <a:lnTo>
                    <a:pt x="9" y="79"/>
                  </a:lnTo>
                  <a:lnTo>
                    <a:pt x="9" y="77"/>
                  </a:lnTo>
                  <a:lnTo>
                    <a:pt x="9" y="79"/>
                  </a:lnTo>
                  <a:lnTo>
                    <a:pt x="11" y="79"/>
                  </a:lnTo>
                  <a:lnTo>
                    <a:pt x="13" y="79"/>
                  </a:lnTo>
                  <a:lnTo>
                    <a:pt x="11" y="79"/>
                  </a:lnTo>
                  <a:lnTo>
                    <a:pt x="13" y="79"/>
                  </a:lnTo>
                  <a:lnTo>
                    <a:pt x="13" y="77"/>
                  </a:lnTo>
                  <a:lnTo>
                    <a:pt x="11" y="77"/>
                  </a:lnTo>
                  <a:lnTo>
                    <a:pt x="13" y="77"/>
                  </a:lnTo>
                  <a:lnTo>
                    <a:pt x="11" y="77"/>
                  </a:lnTo>
                  <a:lnTo>
                    <a:pt x="13" y="77"/>
                  </a:lnTo>
                  <a:lnTo>
                    <a:pt x="11" y="77"/>
                  </a:lnTo>
                  <a:lnTo>
                    <a:pt x="11" y="75"/>
                  </a:lnTo>
                  <a:lnTo>
                    <a:pt x="11" y="73"/>
                  </a:lnTo>
                  <a:lnTo>
                    <a:pt x="11" y="75"/>
                  </a:lnTo>
                  <a:lnTo>
                    <a:pt x="11" y="73"/>
                  </a:lnTo>
                  <a:lnTo>
                    <a:pt x="13" y="73"/>
                  </a:lnTo>
                  <a:lnTo>
                    <a:pt x="15" y="73"/>
                  </a:lnTo>
                  <a:lnTo>
                    <a:pt x="15" y="71"/>
                  </a:lnTo>
                  <a:lnTo>
                    <a:pt x="17" y="71"/>
                  </a:lnTo>
                  <a:lnTo>
                    <a:pt x="19" y="71"/>
                  </a:lnTo>
                  <a:lnTo>
                    <a:pt x="19" y="69"/>
                  </a:lnTo>
                  <a:lnTo>
                    <a:pt x="19" y="71"/>
                  </a:lnTo>
                  <a:lnTo>
                    <a:pt x="19" y="69"/>
                  </a:lnTo>
                  <a:lnTo>
                    <a:pt x="19" y="71"/>
                  </a:lnTo>
                  <a:lnTo>
                    <a:pt x="21" y="71"/>
                  </a:lnTo>
                  <a:lnTo>
                    <a:pt x="21" y="69"/>
                  </a:lnTo>
                  <a:lnTo>
                    <a:pt x="21" y="71"/>
                  </a:lnTo>
                  <a:lnTo>
                    <a:pt x="21" y="69"/>
                  </a:lnTo>
                  <a:lnTo>
                    <a:pt x="23" y="69"/>
                  </a:lnTo>
                  <a:lnTo>
                    <a:pt x="25" y="69"/>
                  </a:lnTo>
                  <a:lnTo>
                    <a:pt x="27" y="69"/>
                  </a:lnTo>
                  <a:lnTo>
                    <a:pt x="27" y="67"/>
                  </a:lnTo>
                  <a:lnTo>
                    <a:pt x="27" y="69"/>
                  </a:lnTo>
                  <a:lnTo>
                    <a:pt x="27" y="67"/>
                  </a:lnTo>
                  <a:lnTo>
                    <a:pt x="28" y="67"/>
                  </a:lnTo>
                  <a:lnTo>
                    <a:pt x="28" y="69"/>
                  </a:lnTo>
                  <a:lnTo>
                    <a:pt x="30" y="69"/>
                  </a:lnTo>
                  <a:lnTo>
                    <a:pt x="30" y="67"/>
                  </a:lnTo>
                  <a:lnTo>
                    <a:pt x="30" y="69"/>
                  </a:lnTo>
                  <a:lnTo>
                    <a:pt x="28" y="69"/>
                  </a:lnTo>
                  <a:lnTo>
                    <a:pt x="28" y="67"/>
                  </a:lnTo>
                  <a:lnTo>
                    <a:pt x="27" y="67"/>
                  </a:lnTo>
                  <a:lnTo>
                    <a:pt x="25" y="67"/>
                  </a:lnTo>
                  <a:lnTo>
                    <a:pt x="25" y="65"/>
                  </a:lnTo>
                  <a:lnTo>
                    <a:pt x="23" y="65"/>
                  </a:lnTo>
                  <a:lnTo>
                    <a:pt x="25" y="65"/>
                  </a:lnTo>
                  <a:lnTo>
                    <a:pt x="25" y="67"/>
                  </a:lnTo>
                  <a:lnTo>
                    <a:pt x="23" y="67"/>
                  </a:lnTo>
                  <a:lnTo>
                    <a:pt x="23" y="69"/>
                  </a:lnTo>
                  <a:lnTo>
                    <a:pt x="23" y="67"/>
                  </a:lnTo>
                  <a:lnTo>
                    <a:pt x="23" y="69"/>
                  </a:lnTo>
                  <a:lnTo>
                    <a:pt x="23" y="67"/>
                  </a:lnTo>
                  <a:lnTo>
                    <a:pt x="23" y="69"/>
                  </a:lnTo>
                  <a:lnTo>
                    <a:pt x="21" y="69"/>
                  </a:lnTo>
                  <a:lnTo>
                    <a:pt x="19" y="69"/>
                  </a:lnTo>
                  <a:lnTo>
                    <a:pt x="21" y="69"/>
                  </a:lnTo>
                  <a:lnTo>
                    <a:pt x="19" y="69"/>
                  </a:lnTo>
                  <a:lnTo>
                    <a:pt x="17" y="69"/>
                  </a:lnTo>
                  <a:lnTo>
                    <a:pt x="17" y="67"/>
                  </a:lnTo>
                  <a:lnTo>
                    <a:pt x="17" y="69"/>
                  </a:lnTo>
                  <a:lnTo>
                    <a:pt x="17" y="67"/>
                  </a:lnTo>
                  <a:lnTo>
                    <a:pt x="17" y="69"/>
                  </a:lnTo>
                  <a:lnTo>
                    <a:pt x="17" y="67"/>
                  </a:lnTo>
                  <a:lnTo>
                    <a:pt x="15" y="67"/>
                  </a:lnTo>
                  <a:lnTo>
                    <a:pt x="15" y="69"/>
                  </a:lnTo>
                  <a:lnTo>
                    <a:pt x="17" y="69"/>
                  </a:lnTo>
                  <a:lnTo>
                    <a:pt x="15" y="69"/>
                  </a:lnTo>
                  <a:lnTo>
                    <a:pt x="13" y="69"/>
                  </a:lnTo>
                  <a:lnTo>
                    <a:pt x="13" y="71"/>
                  </a:lnTo>
                  <a:lnTo>
                    <a:pt x="13" y="69"/>
                  </a:lnTo>
                  <a:lnTo>
                    <a:pt x="13" y="71"/>
                  </a:lnTo>
                  <a:lnTo>
                    <a:pt x="13" y="69"/>
                  </a:lnTo>
                  <a:lnTo>
                    <a:pt x="13" y="71"/>
                  </a:lnTo>
                  <a:lnTo>
                    <a:pt x="11" y="71"/>
                  </a:lnTo>
                  <a:lnTo>
                    <a:pt x="11" y="69"/>
                  </a:lnTo>
                  <a:lnTo>
                    <a:pt x="13" y="69"/>
                  </a:lnTo>
                  <a:lnTo>
                    <a:pt x="13" y="67"/>
                  </a:lnTo>
                  <a:lnTo>
                    <a:pt x="15" y="67"/>
                  </a:lnTo>
                  <a:lnTo>
                    <a:pt x="13" y="67"/>
                  </a:lnTo>
                  <a:lnTo>
                    <a:pt x="15" y="67"/>
                  </a:lnTo>
                  <a:lnTo>
                    <a:pt x="15" y="65"/>
                  </a:lnTo>
                  <a:lnTo>
                    <a:pt x="17" y="65"/>
                  </a:lnTo>
                  <a:lnTo>
                    <a:pt x="17" y="67"/>
                  </a:lnTo>
                  <a:lnTo>
                    <a:pt x="17" y="65"/>
                  </a:lnTo>
                  <a:lnTo>
                    <a:pt x="17" y="64"/>
                  </a:lnTo>
                  <a:lnTo>
                    <a:pt x="19" y="64"/>
                  </a:lnTo>
                  <a:lnTo>
                    <a:pt x="17" y="64"/>
                  </a:lnTo>
                  <a:lnTo>
                    <a:pt x="19" y="64"/>
                  </a:lnTo>
                  <a:lnTo>
                    <a:pt x="17" y="64"/>
                  </a:lnTo>
                  <a:lnTo>
                    <a:pt x="19" y="64"/>
                  </a:lnTo>
                  <a:lnTo>
                    <a:pt x="17" y="64"/>
                  </a:lnTo>
                  <a:lnTo>
                    <a:pt x="19" y="64"/>
                  </a:lnTo>
                  <a:lnTo>
                    <a:pt x="17" y="64"/>
                  </a:lnTo>
                  <a:lnTo>
                    <a:pt x="19" y="64"/>
                  </a:lnTo>
                  <a:lnTo>
                    <a:pt x="17" y="64"/>
                  </a:lnTo>
                  <a:lnTo>
                    <a:pt x="19" y="64"/>
                  </a:lnTo>
                  <a:lnTo>
                    <a:pt x="19" y="62"/>
                  </a:lnTo>
                  <a:lnTo>
                    <a:pt x="17" y="62"/>
                  </a:lnTo>
                  <a:lnTo>
                    <a:pt x="19" y="62"/>
                  </a:lnTo>
                  <a:lnTo>
                    <a:pt x="19" y="60"/>
                  </a:lnTo>
                  <a:lnTo>
                    <a:pt x="19" y="58"/>
                  </a:lnTo>
                  <a:lnTo>
                    <a:pt x="21" y="58"/>
                  </a:lnTo>
                  <a:lnTo>
                    <a:pt x="21" y="56"/>
                  </a:lnTo>
                  <a:lnTo>
                    <a:pt x="21" y="58"/>
                  </a:lnTo>
                  <a:lnTo>
                    <a:pt x="23" y="58"/>
                  </a:lnTo>
                  <a:lnTo>
                    <a:pt x="21" y="58"/>
                  </a:lnTo>
                  <a:lnTo>
                    <a:pt x="23" y="58"/>
                  </a:lnTo>
                  <a:lnTo>
                    <a:pt x="23" y="56"/>
                  </a:lnTo>
                  <a:lnTo>
                    <a:pt x="23" y="58"/>
                  </a:lnTo>
                  <a:lnTo>
                    <a:pt x="23" y="56"/>
                  </a:lnTo>
                  <a:lnTo>
                    <a:pt x="23" y="58"/>
                  </a:lnTo>
                  <a:lnTo>
                    <a:pt x="23" y="56"/>
                  </a:lnTo>
                  <a:lnTo>
                    <a:pt x="25" y="56"/>
                  </a:lnTo>
                  <a:lnTo>
                    <a:pt x="23" y="56"/>
                  </a:lnTo>
                  <a:lnTo>
                    <a:pt x="25" y="56"/>
                  </a:lnTo>
                  <a:lnTo>
                    <a:pt x="25" y="58"/>
                  </a:lnTo>
                  <a:lnTo>
                    <a:pt x="25" y="56"/>
                  </a:lnTo>
                  <a:lnTo>
                    <a:pt x="27" y="56"/>
                  </a:lnTo>
                  <a:lnTo>
                    <a:pt x="25" y="56"/>
                  </a:lnTo>
                  <a:lnTo>
                    <a:pt x="27" y="56"/>
                  </a:lnTo>
                  <a:lnTo>
                    <a:pt x="27" y="54"/>
                  </a:lnTo>
                  <a:lnTo>
                    <a:pt x="25" y="54"/>
                  </a:lnTo>
                  <a:lnTo>
                    <a:pt x="25" y="56"/>
                  </a:lnTo>
                  <a:lnTo>
                    <a:pt x="25" y="54"/>
                  </a:lnTo>
                  <a:lnTo>
                    <a:pt x="25" y="56"/>
                  </a:lnTo>
                  <a:lnTo>
                    <a:pt x="25" y="54"/>
                  </a:lnTo>
                  <a:lnTo>
                    <a:pt x="23" y="54"/>
                  </a:lnTo>
                  <a:lnTo>
                    <a:pt x="21" y="54"/>
                  </a:lnTo>
                  <a:lnTo>
                    <a:pt x="19" y="54"/>
                  </a:lnTo>
                  <a:lnTo>
                    <a:pt x="17" y="54"/>
                  </a:lnTo>
                  <a:lnTo>
                    <a:pt x="15" y="54"/>
                  </a:lnTo>
                  <a:lnTo>
                    <a:pt x="17" y="54"/>
                  </a:lnTo>
                  <a:lnTo>
                    <a:pt x="15" y="54"/>
                  </a:lnTo>
                  <a:lnTo>
                    <a:pt x="17" y="54"/>
                  </a:lnTo>
                  <a:lnTo>
                    <a:pt x="15" y="54"/>
                  </a:lnTo>
                  <a:lnTo>
                    <a:pt x="15" y="52"/>
                  </a:lnTo>
                  <a:lnTo>
                    <a:pt x="17" y="52"/>
                  </a:lnTo>
                  <a:lnTo>
                    <a:pt x="15" y="52"/>
                  </a:lnTo>
                  <a:lnTo>
                    <a:pt x="17" y="52"/>
                  </a:lnTo>
                  <a:lnTo>
                    <a:pt x="15" y="52"/>
                  </a:lnTo>
                  <a:lnTo>
                    <a:pt x="17" y="52"/>
                  </a:lnTo>
                  <a:lnTo>
                    <a:pt x="15" y="52"/>
                  </a:lnTo>
                  <a:lnTo>
                    <a:pt x="15" y="50"/>
                  </a:lnTo>
                  <a:lnTo>
                    <a:pt x="17" y="50"/>
                  </a:lnTo>
                  <a:lnTo>
                    <a:pt x="17" y="52"/>
                  </a:lnTo>
                  <a:lnTo>
                    <a:pt x="17" y="50"/>
                  </a:lnTo>
                  <a:lnTo>
                    <a:pt x="15" y="50"/>
                  </a:lnTo>
                  <a:lnTo>
                    <a:pt x="17" y="50"/>
                  </a:lnTo>
                  <a:lnTo>
                    <a:pt x="15" y="50"/>
                  </a:lnTo>
                  <a:lnTo>
                    <a:pt x="17" y="50"/>
                  </a:lnTo>
                  <a:lnTo>
                    <a:pt x="15" y="50"/>
                  </a:lnTo>
                  <a:lnTo>
                    <a:pt x="15" y="52"/>
                  </a:lnTo>
                  <a:lnTo>
                    <a:pt x="15" y="50"/>
                  </a:lnTo>
                  <a:lnTo>
                    <a:pt x="15" y="52"/>
                  </a:lnTo>
                  <a:lnTo>
                    <a:pt x="15" y="50"/>
                  </a:lnTo>
                  <a:lnTo>
                    <a:pt x="15" y="52"/>
                  </a:lnTo>
                  <a:lnTo>
                    <a:pt x="15" y="50"/>
                  </a:lnTo>
                  <a:lnTo>
                    <a:pt x="15" y="52"/>
                  </a:lnTo>
                  <a:lnTo>
                    <a:pt x="13" y="52"/>
                  </a:lnTo>
                  <a:lnTo>
                    <a:pt x="15" y="52"/>
                  </a:lnTo>
                  <a:lnTo>
                    <a:pt x="13" y="52"/>
                  </a:lnTo>
                  <a:lnTo>
                    <a:pt x="13" y="54"/>
                  </a:lnTo>
                  <a:lnTo>
                    <a:pt x="13" y="52"/>
                  </a:lnTo>
                  <a:lnTo>
                    <a:pt x="13" y="54"/>
                  </a:lnTo>
                  <a:lnTo>
                    <a:pt x="13" y="52"/>
                  </a:lnTo>
                  <a:lnTo>
                    <a:pt x="11" y="52"/>
                  </a:lnTo>
                  <a:lnTo>
                    <a:pt x="13" y="52"/>
                  </a:lnTo>
                  <a:lnTo>
                    <a:pt x="11" y="52"/>
                  </a:lnTo>
                  <a:lnTo>
                    <a:pt x="11" y="50"/>
                  </a:lnTo>
                  <a:lnTo>
                    <a:pt x="13" y="50"/>
                  </a:lnTo>
                  <a:lnTo>
                    <a:pt x="13" y="52"/>
                  </a:lnTo>
                  <a:lnTo>
                    <a:pt x="13" y="50"/>
                  </a:lnTo>
                  <a:lnTo>
                    <a:pt x="11" y="50"/>
                  </a:lnTo>
                  <a:lnTo>
                    <a:pt x="13" y="50"/>
                  </a:lnTo>
                  <a:lnTo>
                    <a:pt x="11" y="50"/>
                  </a:lnTo>
                  <a:lnTo>
                    <a:pt x="9" y="50"/>
                  </a:lnTo>
                  <a:lnTo>
                    <a:pt x="9" y="52"/>
                  </a:lnTo>
                  <a:lnTo>
                    <a:pt x="11" y="52"/>
                  </a:lnTo>
                  <a:lnTo>
                    <a:pt x="9" y="52"/>
                  </a:lnTo>
                  <a:lnTo>
                    <a:pt x="9" y="50"/>
                  </a:lnTo>
                  <a:lnTo>
                    <a:pt x="7" y="50"/>
                  </a:lnTo>
                  <a:lnTo>
                    <a:pt x="7" y="48"/>
                  </a:lnTo>
                  <a:lnTo>
                    <a:pt x="7" y="50"/>
                  </a:lnTo>
                  <a:lnTo>
                    <a:pt x="9" y="50"/>
                  </a:lnTo>
                  <a:lnTo>
                    <a:pt x="7" y="50"/>
                  </a:lnTo>
                  <a:lnTo>
                    <a:pt x="9" y="50"/>
                  </a:lnTo>
                  <a:lnTo>
                    <a:pt x="7" y="50"/>
                  </a:lnTo>
                  <a:lnTo>
                    <a:pt x="9" y="50"/>
                  </a:lnTo>
                  <a:lnTo>
                    <a:pt x="7" y="50"/>
                  </a:lnTo>
                  <a:lnTo>
                    <a:pt x="9" y="50"/>
                  </a:lnTo>
                  <a:lnTo>
                    <a:pt x="7" y="50"/>
                  </a:lnTo>
                  <a:lnTo>
                    <a:pt x="9" y="50"/>
                  </a:lnTo>
                  <a:lnTo>
                    <a:pt x="9" y="48"/>
                  </a:lnTo>
                  <a:lnTo>
                    <a:pt x="7" y="48"/>
                  </a:lnTo>
                  <a:lnTo>
                    <a:pt x="9" y="48"/>
                  </a:lnTo>
                  <a:lnTo>
                    <a:pt x="7" y="48"/>
                  </a:lnTo>
                  <a:lnTo>
                    <a:pt x="9" y="48"/>
                  </a:lnTo>
                  <a:lnTo>
                    <a:pt x="7" y="48"/>
                  </a:lnTo>
                  <a:lnTo>
                    <a:pt x="9" y="48"/>
                  </a:lnTo>
                  <a:lnTo>
                    <a:pt x="7" y="48"/>
                  </a:lnTo>
                  <a:lnTo>
                    <a:pt x="7" y="46"/>
                  </a:lnTo>
                  <a:lnTo>
                    <a:pt x="9" y="46"/>
                  </a:lnTo>
                  <a:lnTo>
                    <a:pt x="11" y="46"/>
                  </a:lnTo>
                  <a:lnTo>
                    <a:pt x="9" y="46"/>
                  </a:lnTo>
                  <a:lnTo>
                    <a:pt x="9" y="44"/>
                  </a:lnTo>
                  <a:lnTo>
                    <a:pt x="9" y="46"/>
                  </a:lnTo>
                  <a:lnTo>
                    <a:pt x="9" y="44"/>
                  </a:lnTo>
                  <a:lnTo>
                    <a:pt x="9" y="46"/>
                  </a:lnTo>
                  <a:lnTo>
                    <a:pt x="9" y="44"/>
                  </a:lnTo>
                  <a:lnTo>
                    <a:pt x="9" y="46"/>
                  </a:lnTo>
                  <a:lnTo>
                    <a:pt x="11" y="46"/>
                  </a:lnTo>
                  <a:lnTo>
                    <a:pt x="11" y="44"/>
                  </a:lnTo>
                  <a:lnTo>
                    <a:pt x="11" y="46"/>
                  </a:lnTo>
                  <a:lnTo>
                    <a:pt x="11" y="44"/>
                  </a:lnTo>
                  <a:lnTo>
                    <a:pt x="13" y="46"/>
                  </a:lnTo>
                  <a:lnTo>
                    <a:pt x="15" y="46"/>
                  </a:lnTo>
                  <a:lnTo>
                    <a:pt x="15" y="44"/>
                  </a:lnTo>
                  <a:lnTo>
                    <a:pt x="15" y="46"/>
                  </a:lnTo>
                  <a:lnTo>
                    <a:pt x="13" y="46"/>
                  </a:lnTo>
                  <a:lnTo>
                    <a:pt x="13" y="44"/>
                  </a:lnTo>
                  <a:lnTo>
                    <a:pt x="11" y="44"/>
                  </a:lnTo>
                  <a:lnTo>
                    <a:pt x="11" y="42"/>
                  </a:lnTo>
                  <a:lnTo>
                    <a:pt x="11" y="40"/>
                  </a:lnTo>
                  <a:lnTo>
                    <a:pt x="13" y="40"/>
                  </a:lnTo>
                  <a:lnTo>
                    <a:pt x="15" y="40"/>
                  </a:lnTo>
                  <a:lnTo>
                    <a:pt x="17" y="40"/>
                  </a:lnTo>
                  <a:lnTo>
                    <a:pt x="15" y="40"/>
                  </a:lnTo>
                  <a:lnTo>
                    <a:pt x="17" y="40"/>
                  </a:lnTo>
                  <a:lnTo>
                    <a:pt x="15" y="40"/>
                  </a:lnTo>
                  <a:lnTo>
                    <a:pt x="17" y="40"/>
                  </a:lnTo>
                  <a:lnTo>
                    <a:pt x="15" y="40"/>
                  </a:lnTo>
                  <a:lnTo>
                    <a:pt x="15" y="39"/>
                  </a:lnTo>
                  <a:lnTo>
                    <a:pt x="17" y="39"/>
                  </a:lnTo>
                  <a:lnTo>
                    <a:pt x="15" y="39"/>
                  </a:lnTo>
                  <a:lnTo>
                    <a:pt x="17" y="39"/>
                  </a:lnTo>
                  <a:lnTo>
                    <a:pt x="15" y="39"/>
                  </a:lnTo>
                  <a:lnTo>
                    <a:pt x="17" y="39"/>
                  </a:lnTo>
                  <a:lnTo>
                    <a:pt x="15" y="39"/>
                  </a:lnTo>
                  <a:lnTo>
                    <a:pt x="17" y="39"/>
                  </a:lnTo>
                  <a:lnTo>
                    <a:pt x="15" y="39"/>
                  </a:lnTo>
                  <a:lnTo>
                    <a:pt x="17" y="39"/>
                  </a:lnTo>
                  <a:lnTo>
                    <a:pt x="15" y="39"/>
                  </a:lnTo>
                  <a:lnTo>
                    <a:pt x="17" y="39"/>
                  </a:lnTo>
                  <a:lnTo>
                    <a:pt x="15" y="39"/>
                  </a:lnTo>
                  <a:lnTo>
                    <a:pt x="17" y="39"/>
                  </a:lnTo>
                  <a:lnTo>
                    <a:pt x="15" y="39"/>
                  </a:lnTo>
                  <a:lnTo>
                    <a:pt x="17" y="39"/>
                  </a:lnTo>
                  <a:lnTo>
                    <a:pt x="15" y="39"/>
                  </a:lnTo>
                  <a:lnTo>
                    <a:pt x="17" y="39"/>
                  </a:lnTo>
                  <a:lnTo>
                    <a:pt x="15" y="39"/>
                  </a:lnTo>
                  <a:lnTo>
                    <a:pt x="17" y="39"/>
                  </a:lnTo>
                  <a:lnTo>
                    <a:pt x="15" y="39"/>
                  </a:lnTo>
                  <a:lnTo>
                    <a:pt x="17" y="39"/>
                  </a:lnTo>
                  <a:lnTo>
                    <a:pt x="15" y="39"/>
                  </a:lnTo>
                  <a:lnTo>
                    <a:pt x="17" y="39"/>
                  </a:lnTo>
                  <a:lnTo>
                    <a:pt x="15" y="39"/>
                  </a:lnTo>
                  <a:lnTo>
                    <a:pt x="13" y="39"/>
                  </a:lnTo>
                  <a:lnTo>
                    <a:pt x="11" y="39"/>
                  </a:lnTo>
                  <a:lnTo>
                    <a:pt x="11" y="37"/>
                  </a:lnTo>
                  <a:lnTo>
                    <a:pt x="13" y="37"/>
                  </a:lnTo>
                  <a:lnTo>
                    <a:pt x="13" y="39"/>
                  </a:lnTo>
                  <a:lnTo>
                    <a:pt x="13" y="37"/>
                  </a:lnTo>
                  <a:lnTo>
                    <a:pt x="11" y="37"/>
                  </a:lnTo>
                  <a:lnTo>
                    <a:pt x="13" y="37"/>
                  </a:lnTo>
                  <a:lnTo>
                    <a:pt x="11" y="37"/>
                  </a:lnTo>
                  <a:lnTo>
                    <a:pt x="11" y="35"/>
                  </a:lnTo>
                  <a:lnTo>
                    <a:pt x="11" y="33"/>
                  </a:lnTo>
                  <a:lnTo>
                    <a:pt x="13" y="33"/>
                  </a:lnTo>
                  <a:lnTo>
                    <a:pt x="11" y="33"/>
                  </a:lnTo>
                  <a:lnTo>
                    <a:pt x="13" y="33"/>
                  </a:lnTo>
                  <a:lnTo>
                    <a:pt x="11" y="33"/>
                  </a:lnTo>
                  <a:lnTo>
                    <a:pt x="11" y="35"/>
                  </a:lnTo>
                  <a:lnTo>
                    <a:pt x="9" y="35"/>
                  </a:lnTo>
                  <a:lnTo>
                    <a:pt x="9" y="33"/>
                  </a:lnTo>
                  <a:lnTo>
                    <a:pt x="11" y="33"/>
                  </a:lnTo>
                  <a:lnTo>
                    <a:pt x="9" y="33"/>
                  </a:lnTo>
                  <a:lnTo>
                    <a:pt x="11" y="33"/>
                  </a:lnTo>
                  <a:lnTo>
                    <a:pt x="11" y="31"/>
                  </a:lnTo>
                  <a:lnTo>
                    <a:pt x="11" y="33"/>
                  </a:lnTo>
                  <a:lnTo>
                    <a:pt x="11" y="31"/>
                  </a:lnTo>
                  <a:lnTo>
                    <a:pt x="9" y="31"/>
                  </a:lnTo>
                  <a:lnTo>
                    <a:pt x="11" y="31"/>
                  </a:lnTo>
                  <a:lnTo>
                    <a:pt x="9" y="31"/>
                  </a:lnTo>
                  <a:lnTo>
                    <a:pt x="7" y="31"/>
                  </a:lnTo>
                  <a:lnTo>
                    <a:pt x="9" y="31"/>
                  </a:lnTo>
                  <a:lnTo>
                    <a:pt x="9" y="33"/>
                  </a:lnTo>
                  <a:lnTo>
                    <a:pt x="9" y="31"/>
                  </a:lnTo>
                  <a:lnTo>
                    <a:pt x="9" y="33"/>
                  </a:lnTo>
                  <a:lnTo>
                    <a:pt x="7" y="33"/>
                  </a:lnTo>
                  <a:lnTo>
                    <a:pt x="9" y="33"/>
                  </a:lnTo>
                  <a:lnTo>
                    <a:pt x="7" y="33"/>
                  </a:lnTo>
                  <a:lnTo>
                    <a:pt x="9" y="33"/>
                  </a:lnTo>
                  <a:lnTo>
                    <a:pt x="7" y="33"/>
                  </a:lnTo>
                  <a:lnTo>
                    <a:pt x="7" y="31"/>
                  </a:lnTo>
                  <a:lnTo>
                    <a:pt x="9" y="31"/>
                  </a:lnTo>
                  <a:lnTo>
                    <a:pt x="7" y="31"/>
                  </a:lnTo>
                  <a:lnTo>
                    <a:pt x="9" y="31"/>
                  </a:lnTo>
                  <a:lnTo>
                    <a:pt x="9" y="29"/>
                  </a:lnTo>
                  <a:lnTo>
                    <a:pt x="7" y="29"/>
                  </a:lnTo>
                  <a:lnTo>
                    <a:pt x="9" y="29"/>
                  </a:lnTo>
                  <a:lnTo>
                    <a:pt x="7" y="29"/>
                  </a:lnTo>
                  <a:lnTo>
                    <a:pt x="9" y="29"/>
                  </a:lnTo>
                  <a:lnTo>
                    <a:pt x="9" y="27"/>
                  </a:lnTo>
                  <a:lnTo>
                    <a:pt x="9" y="29"/>
                  </a:lnTo>
                  <a:lnTo>
                    <a:pt x="11" y="29"/>
                  </a:lnTo>
                  <a:lnTo>
                    <a:pt x="11" y="31"/>
                  </a:lnTo>
                  <a:lnTo>
                    <a:pt x="9" y="31"/>
                  </a:lnTo>
                  <a:lnTo>
                    <a:pt x="9" y="29"/>
                  </a:lnTo>
                  <a:lnTo>
                    <a:pt x="9" y="31"/>
                  </a:lnTo>
                  <a:lnTo>
                    <a:pt x="11" y="31"/>
                  </a:lnTo>
                  <a:lnTo>
                    <a:pt x="11" y="29"/>
                  </a:lnTo>
                  <a:lnTo>
                    <a:pt x="11" y="31"/>
                  </a:lnTo>
                  <a:lnTo>
                    <a:pt x="11" y="29"/>
                  </a:lnTo>
                  <a:lnTo>
                    <a:pt x="13" y="29"/>
                  </a:lnTo>
                  <a:lnTo>
                    <a:pt x="11" y="29"/>
                  </a:lnTo>
                  <a:lnTo>
                    <a:pt x="11" y="27"/>
                  </a:lnTo>
                  <a:lnTo>
                    <a:pt x="13" y="27"/>
                  </a:lnTo>
                  <a:lnTo>
                    <a:pt x="15" y="27"/>
                  </a:lnTo>
                  <a:lnTo>
                    <a:pt x="17" y="27"/>
                  </a:lnTo>
                  <a:lnTo>
                    <a:pt x="19" y="27"/>
                  </a:lnTo>
                  <a:lnTo>
                    <a:pt x="19" y="29"/>
                  </a:lnTo>
                  <a:lnTo>
                    <a:pt x="19" y="27"/>
                  </a:lnTo>
                  <a:lnTo>
                    <a:pt x="21" y="27"/>
                  </a:lnTo>
                  <a:lnTo>
                    <a:pt x="21" y="29"/>
                  </a:lnTo>
                  <a:lnTo>
                    <a:pt x="21" y="31"/>
                  </a:lnTo>
                  <a:lnTo>
                    <a:pt x="21" y="29"/>
                  </a:lnTo>
                  <a:lnTo>
                    <a:pt x="21" y="31"/>
                  </a:lnTo>
                  <a:lnTo>
                    <a:pt x="21" y="29"/>
                  </a:lnTo>
                  <a:lnTo>
                    <a:pt x="21" y="31"/>
                  </a:lnTo>
                  <a:lnTo>
                    <a:pt x="23" y="31"/>
                  </a:lnTo>
                  <a:lnTo>
                    <a:pt x="23" y="29"/>
                  </a:lnTo>
                  <a:lnTo>
                    <a:pt x="25" y="29"/>
                  </a:lnTo>
                  <a:lnTo>
                    <a:pt x="27" y="29"/>
                  </a:lnTo>
                  <a:lnTo>
                    <a:pt x="28" y="29"/>
                  </a:lnTo>
                  <a:lnTo>
                    <a:pt x="30" y="29"/>
                  </a:lnTo>
                  <a:lnTo>
                    <a:pt x="28" y="29"/>
                  </a:lnTo>
                  <a:lnTo>
                    <a:pt x="30" y="29"/>
                  </a:lnTo>
                  <a:lnTo>
                    <a:pt x="30" y="31"/>
                  </a:lnTo>
                  <a:lnTo>
                    <a:pt x="32" y="31"/>
                  </a:lnTo>
                  <a:lnTo>
                    <a:pt x="30" y="31"/>
                  </a:lnTo>
                  <a:lnTo>
                    <a:pt x="30" y="29"/>
                  </a:lnTo>
                  <a:lnTo>
                    <a:pt x="30" y="31"/>
                  </a:lnTo>
                  <a:lnTo>
                    <a:pt x="30" y="29"/>
                  </a:lnTo>
                  <a:lnTo>
                    <a:pt x="30" y="31"/>
                  </a:lnTo>
                  <a:lnTo>
                    <a:pt x="30" y="29"/>
                  </a:lnTo>
                  <a:lnTo>
                    <a:pt x="32" y="29"/>
                  </a:lnTo>
                  <a:lnTo>
                    <a:pt x="30" y="29"/>
                  </a:lnTo>
                  <a:lnTo>
                    <a:pt x="30" y="27"/>
                  </a:lnTo>
                  <a:lnTo>
                    <a:pt x="30" y="29"/>
                  </a:lnTo>
                  <a:lnTo>
                    <a:pt x="30" y="27"/>
                  </a:lnTo>
                  <a:lnTo>
                    <a:pt x="30" y="29"/>
                  </a:lnTo>
                  <a:lnTo>
                    <a:pt x="30" y="27"/>
                  </a:lnTo>
                  <a:lnTo>
                    <a:pt x="30" y="29"/>
                  </a:lnTo>
                  <a:lnTo>
                    <a:pt x="30" y="27"/>
                  </a:lnTo>
                  <a:lnTo>
                    <a:pt x="32" y="27"/>
                  </a:lnTo>
                  <a:lnTo>
                    <a:pt x="30" y="27"/>
                  </a:lnTo>
                  <a:lnTo>
                    <a:pt x="28" y="27"/>
                  </a:lnTo>
                  <a:lnTo>
                    <a:pt x="30" y="27"/>
                  </a:lnTo>
                  <a:lnTo>
                    <a:pt x="28" y="27"/>
                  </a:lnTo>
                  <a:lnTo>
                    <a:pt x="30" y="27"/>
                  </a:lnTo>
                  <a:lnTo>
                    <a:pt x="30" y="25"/>
                  </a:lnTo>
                  <a:lnTo>
                    <a:pt x="32" y="25"/>
                  </a:lnTo>
                  <a:lnTo>
                    <a:pt x="30" y="25"/>
                  </a:lnTo>
                  <a:lnTo>
                    <a:pt x="32" y="25"/>
                  </a:lnTo>
                  <a:lnTo>
                    <a:pt x="30" y="25"/>
                  </a:lnTo>
                  <a:lnTo>
                    <a:pt x="32" y="25"/>
                  </a:lnTo>
                  <a:lnTo>
                    <a:pt x="32" y="23"/>
                  </a:lnTo>
                  <a:lnTo>
                    <a:pt x="32" y="25"/>
                  </a:lnTo>
                  <a:lnTo>
                    <a:pt x="32" y="23"/>
                  </a:lnTo>
                  <a:lnTo>
                    <a:pt x="34" y="23"/>
                  </a:lnTo>
                  <a:lnTo>
                    <a:pt x="36" y="23"/>
                  </a:lnTo>
                  <a:lnTo>
                    <a:pt x="34" y="23"/>
                  </a:lnTo>
                  <a:lnTo>
                    <a:pt x="36" y="23"/>
                  </a:lnTo>
                  <a:lnTo>
                    <a:pt x="34" y="23"/>
                  </a:lnTo>
                  <a:lnTo>
                    <a:pt x="36" y="23"/>
                  </a:lnTo>
                  <a:lnTo>
                    <a:pt x="36" y="21"/>
                  </a:lnTo>
                  <a:lnTo>
                    <a:pt x="36" y="19"/>
                  </a:lnTo>
                  <a:lnTo>
                    <a:pt x="36" y="21"/>
                  </a:lnTo>
                  <a:lnTo>
                    <a:pt x="36" y="19"/>
                  </a:lnTo>
                  <a:lnTo>
                    <a:pt x="38" y="19"/>
                  </a:lnTo>
                  <a:lnTo>
                    <a:pt x="36" y="19"/>
                  </a:lnTo>
                  <a:lnTo>
                    <a:pt x="38" y="19"/>
                  </a:lnTo>
                  <a:lnTo>
                    <a:pt x="36" y="19"/>
                  </a:lnTo>
                  <a:lnTo>
                    <a:pt x="38" y="19"/>
                  </a:lnTo>
                  <a:lnTo>
                    <a:pt x="36" y="19"/>
                  </a:lnTo>
                  <a:lnTo>
                    <a:pt x="38" y="19"/>
                  </a:lnTo>
                  <a:lnTo>
                    <a:pt x="36" y="19"/>
                  </a:lnTo>
                  <a:lnTo>
                    <a:pt x="38" y="19"/>
                  </a:lnTo>
                  <a:lnTo>
                    <a:pt x="36" y="19"/>
                  </a:lnTo>
                  <a:lnTo>
                    <a:pt x="34" y="19"/>
                  </a:lnTo>
                  <a:lnTo>
                    <a:pt x="34" y="21"/>
                  </a:lnTo>
                  <a:lnTo>
                    <a:pt x="34" y="19"/>
                  </a:lnTo>
                  <a:lnTo>
                    <a:pt x="34" y="21"/>
                  </a:lnTo>
                  <a:lnTo>
                    <a:pt x="32" y="21"/>
                  </a:lnTo>
                  <a:lnTo>
                    <a:pt x="34" y="21"/>
                  </a:lnTo>
                  <a:lnTo>
                    <a:pt x="34" y="19"/>
                  </a:lnTo>
                  <a:lnTo>
                    <a:pt x="32" y="19"/>
                  </a:lnTo>
                  <a:lnTo>
                    <a:pt x="32" y="21"/>
                  </a:lnTo>
                  <a:lnTo>
                    <a:pt x="32" y="19"/>
                  </a:lnTo>
                  <a:lnTo>
                    <a:pt x="30" y="19"/>
                  </a:lnTo>
                  <a:lnTo>
                    <a:pt x="30" y="21"/>
                  </a:lnTo>
                  <a:lnTo>
                    <a:pt x="30" y="19"/>
                  </a:lnTo>
                  <a:lnTo>
                    <a:pt x="28" y="19"/>
                  </a:lnTo>
                  <a:lnTo>
                    <a:pt x="27" y="19"/>
                  </a:lnTo>
                  <a:lnTo>
                    <a:pt x="27" y="17"/>
                  </a:lnTo>
                  <a:lnTo>
                    <a:pt x="28" y="17"/>
                  </a:lnTo>
                  <a:lnTo>
                    <a:pt x="28" y="16"/>
                  </a:lnTo>
                  <a:lnTo>
                    <a:pt x="28" y="17"/>
                  </a:lnTo>
                  <a:lnTo>
                    <a:pt x="28" y="16"/>
                  </a:lnTo>
                  <a:lnTo>
                    <a:pt x="30" y="16"/>
                  </a:lnTo>
                  <a:lnTo>
                    <a:pt x="32" y="16"/>
                  </a:lnTo>
                  <a:lnTo>
                    <a:pt x="30" y="16"/>
                  </a:lnTo>
                  <a:lnTo>
                    <a:pt x="30" y="17"/>
                  </a:lnTo>
                  <a:lnTo>
                    <a:pt x="30" y="16"/>
                  </a:lnTo>
                  <a:lnTo>
                    <a:pt x="30" y="17"/>
                  </a:lnTo>
                  <a:lnTo>
                    <a:pt x="30" y="16"/>
                  </a:lnTo>
                  <a:lnTo>
                    <a:pt x="30" y="17"/>
                  </a:lnTo>
                  <a:lnTo>
                    <a:pt x="32" y="17"/>
                  </a:lnTo>
                  <a:lnTo>
                    <a:pt x="32" y="16"/>
                  </a:lnTo>
                  <a:lnTo>
                    <a:pt x="32" y="17"/>
                  </a:lnTo>
                  <a:lnTo>
                    <a:pt x="32" y="16"/>
                  </a:lnTo>
                  <a:lnTo>
                    <a:pt x="30" y="16"/>
                  </a:lnTo>
                  <a:lnTo>
                    <a:pt x="32" y="16"/>
                  </a:lnTo>
                  <a:lnTo>
                    <a:pt x="30" y="16"/>
                  </a:lnTo>
                  <a:lnTo>
                    <a:pt x="32" y="16"/>
                  </a:lnTo>
                  <a:lnTo>
                    <a:pt x="30" y="16"/>
                  </a:lnTo>
                  <a:lnTo>
                    <a:pt x="32" y="16"/>
                  </a:lnTo>
                  <a:lnTo>
                    <a:pt x="32" y="14"/>
                  </a:lnTo>
                  <a:lnTo>
                    <a:pt x="32" y="16"/>
                  </a:lnTo>
                  <a:lnTo>
                    <a:pt x="32" y="14"/>
                  </a:lnTo>
                  <a:lnTo>
                    <a:pt x="34" y="14"/>
                  </a:lnTo>
                  <a:lnTo>
                    <a:pt x="32" y="14"/>
                  </a:lnTo>
                  <a:lnTo>
                    <a:pt x="34" y="14"/>
                  </a:lnTo>
                  <a:lnTo>
                    <a:pt x="32" y="14"/>
                  </a:lnTo>
                  <a:lnTo>
                    <a:pt x="32" y="12"/>
                  </a:lnTo>
                  <a:lnTo>
                    <a:pt x="34" y="12"/>
                  </a:lnTo>
                  <a:lnTo>
                    <a:pt x="32" y="12"/>
                  </a:lnTo>
                  <a:lnTo>
                    <a:pt x="32" y="10"/>
                  </a:lnTo>
                  <a:lnTo>
                    <a:pt x="34" y="10"/>
                  </a:lnTo>
                  <a:lnTo>
                    <a:pt x="34" y="8"/>
                  </a:lnTo>
                  <a:lnTo>
                    <a:pt x="34" y="10"/>
                  </a:lnTo>
                  <a:lnTo>
                    <a:pt x="34" y="8"/>
                  </a:lnTo>
                  <a:lnTo>
                    <a:pt x="34" y="6"/>
                  </a:lnTo>
                  <a:lnTo>
                    <a:pt x="36" y="6"/>
                  </a:lnTo>
                  <a:lnTo>
                    <a:pt x="36" y="8"/>
                  </a:lnTo>
                  <a:lnTo>
                    <a:pt x="36" y="6"/>
                  </a:lnTo>
                  <a:lnTo>
                    <a:pt x="36" y="8"/>
                  </a:lnTo>
                  <a:lnTo>
                    <a:pt x="36" y="6"/>
                  </a:lnTo>
                  <a:lnTo>
                    <a:pt x="38" y="6"/>
                  </a:lnTo>
                  <a:lnTo>
                    <a:pt x="36" y="6"/>
                  </a:lnTo>
                  <a:lnTo>
                    <a:pt x="38" y="6"/>
                  </a:lnTo>
                  <a:lnTo>
                    <a:pt x="38" y="4"/>
                  </a:lnTo>
                  <a:lnTo>
                    <a:pt x="40" y="4"/>
                  </a:lnTo>
                  <a:lnTo>
                    <a:pt x="40" y="6"/>
                  </a:lnTo>
                  <a:lnTo>
                    <a:pt x="40" y="4"/>
                  </a:lnTo>
                  <a:lnTo>
                    <a:pt x="40" y="6"/>
                  </a:lnTo>
                  <a:lnTo>
                    <a:pt x="40" y="4"/>
                  </a:lnTo>
                  <a:lnTo>
                    <a:pt x="40" y="6"/>
                  </a:lnTo>
                  <a:lnTo>
                    <a:pt x="38" y="6"/>
                  </a:lnTo>
                  <a:lnTo>
                    <a:pt x="40" y="6"/>
                  </a:lnTo>
                  <a:lnTo>
                    <a:pt x="38" y="6"/>
                  </a:lnTo>
                  <a:lnTo>
                    <a:pt x="40" y="6"/>
                  </a:lnTo>
                  <a:lnTo>
                    <a:pt x="42" y="6"/>
                  </a:lnTo>
                  <a:lnTo>
                    <a:pt x="40" y="6"/>
                  </a:lnTo>
                  <a:lnTo>
                    <a:pt x="42" y="6"/>
                  </a:lnTo>
                  <a:lnTo>
                    <a:pt x="40" y="6"/>
                  </a:lnTo>
                  <a:lnTo>
                    <a:pt x="40" y="8"/>
                  </a:lnTo>
                  <a:lnTo>
                    <a:pt x="40" y="6"/>
                  </a:lnTo>
                  <a:lnTo>
                    <a:pt x="40" y="8"/>
                  </a:lnTo>
                  <a:lnTo>
                    <a:pt x="40" y="6"/>
                  </a:lnTo>
                  <a:lnTo>
                    <a:pt x="40" y="8"/>
                  </a:lnTo>
                  <a:lnTo>
                    <a:pt x="40" y="6"/>
                  </a:lnTo>
                  <a:lnTo>
                    <a:pt x="40" y="8"/>
                  </a:lnTo>
                  <a:lnTo>
                    <a:pt x="42" y="8"/>
                  </a:lnTo>
                  <a:lnTo>
                    <a:pt x="40" y="8"/>
                  </a:lnTo>
                  <a:lnTo>
                    <a:pt x="42" y="8"/>
                  </a:lnTo>
                  <a:lnTo>
                    <a:pt x="42" y="6"/>
                  </a:lnTo>
                  <a:lnTo>
                    <a:pt x="40" y="6"/>
                  </a:lnTo>
                  <a:lnTo>
                    <a:pt x="42" y="6"/>
                  </a:lnTo>
                  <a:lnTo>
                    <a:pt x="40" y="6"/>
                  </a:lnTo>
                  <a:lnTo>
                    <a:pt x="40" y="4"/>
                  </a:lnTo>
                  <a:lnTo>
                    <a:pt x="42" y="4"/>
                  </a:lnTo>
                  <a:lnTo>
                    <a:pt x="42" y="6"/>
                  </a:lnTo>
                  <a:lnTo>
                    <a:pt x="42" y="4"/>
                  </a:lnTo>
                  <a:lnTo>
                    <a:pt x="42" y="6"/>
                  </a:lnTo>
                  <a:lnTo>
                    <a:pt x="44" y="6"/>
                  </a:lnTo>
                  <a:lnTo>
                    <a:pt x="42" y="6"/>
                  </a:lnTo>
                  <a:lnTo>
                    <a:pt x="44" y="6"/>
                  </a:lnTo>
                  <a:lnTo>
                    <a:pt x="42" y="6"/>
                  </a:lnTo>
                  <a:lnTo>
                    <a:pt x="44" y="6"/>
                  </a:lnTo>
                  <a:lnTo>
                    <a:pt x="42" y="6"/>
                  </a:lnTo>
                  <a:lnTo>
                    <a:pt x="44" y="6"/>
                  </a:lnTo>
                  <a:lnTo>
                    <a:pt x="44" y="8"/>
                  </a:lnTo>
                  <a:lnTo>
                    <a:pt x="44" y="6"/>
                  </a:lnTo>
                  <a:lnTo>
                    <a:pt x="44" y="4"/>
                  </a:lnTo>
                  <a:lnTo>
                    <a:pt x="44" y="6"/>
                  </a:lnTo>
                  <a:lnTo>
                    <a:pt x="42" y="6"/>
                  </a:lnTo>
                  <a:lnTo>
                    <a:pt x="42" y="4"/>
                  </a:lnTo>
                  <a:lnTo>
                    <a:pt x="44" y="4"/>
                  </a:lnTo>
                  <a:lnTo>
                    <a:pt x="44" y="6"/>
                  </a:lnTo>
                  <a:lnTo>
                    <a:pt x="46" y="6"/>
                  </a:lnTo>
                  <a:lnTo>
                    <a:pt x="46" y="8"/>
                  </a:lnTo>
                  <a:lnTo>
                    <a:pt x="46" y="6"/>
                  </a:lnTo>
                  <a:lnTo>
                    <a:pt x="46" y="8"/>
                  </a:lnTo>
                  <a:lnTo>
                    <a:pt x="46" y="6"/>
                  </a:lnTo>
                  <a:lnTo>
                    <a:pt x="46" y="8"/>
                  </a:lnTo>
                  <a:lnTo>
                    <a:pt x="44" y="8"/>
                  </a:lnTo>
                  <a:lnTo>
                    <a:pt x="46" y="8"/>
                  </a:lnTo>
                  <a:lnTo>
                    <a:pt x="46" y="10"/>
                  </a:lnTo>
                  <a:lnTo>
                    <a:pt x="44" y="10"/>
                  </a:lnTo>
                  <a:lnTo>
                    <a:pt x="46" y="10"/>
                  </a:lnTo>
                  <a:lnTo>
                    <a:pt x="44" y="10"/>
                  </a:lnTo>
                  <a:lnTo>
                    <a:pt x="44" y="12"/>
                  </a:lnTo>
                  <a:lnTo>
                    <a:pt x="44" y="10"/>
                  </a:lnTo>
                  <a:lnTo>
                    <a:pt x="46" y="10"/>
                  </a:lnTo>
                  <a:lnTo>
                    <a:pt x="46" y="8"/>
                  </a:lnTo>
                  <a:lnTo>
                    <a:pt x="48" y="8"/>
                  </a:lnTo>
                  <a:lnTo>
                    <a:pt x="48" y="10"/>
                  </a:lnTo>
                  <a:lnTo>
                    <a:pt x="48" y="8"/>
                  </a:lnTo>
                  <a:lnTo>
                    <a:pt x="46" y="8"/>
                  </a:lnTo>
                  <a:lnTo>
                    <a:pt x="48" y="8"/>
                  </a:lnTo>
                  <a:lnTo>
                    <a:pt x="48" y="6"/>
                  </a:lnTo>
                  <a:lnTo>
                    <a:pt x="48" y="8"/>
                  </a:lnTo>
                  <a:lnTo>
                    <a:pt x="46" y="8"/>
                  </a:lnTo>
                  <a:lnTo>
                    <a:pt x="46" y="6"/>
                  </a:lnTo>
                  <a:lnTo>
                    <a:pt x="46" y="4"/>
                  </a:lnTo>
                  <a:lnTo>
                    <a:pt x="46" y="2"/>
                  </a:lnTo>
                  <a:lnTo>
                    <a:pt x="46" y="4"/>
                  </a:lnTo>
                  <a:lnTo>
                    <a:pt x="46" y="2"/>
                  </a:lnTo>
                  <a:lnTo>
                    <a:pt x="46" y="4"/>
                  </a:lnTo>
                  <a:lnTo>
                    <a:pt x="46" y="2"/>
                  </a:lnTo>
                  <a:lnTo>
                    <a:pt x="46" y="4"/>
                  </a:lnTo>
                  <a:lnTo>
                    <a:pt x="48" y="4"/>
                  </a:lnTo>
                  <a:lnTo>
                    <a:pt x="46" y="4"/>
                  </a:lnTo>
                  <a:lnTo>
                    <a:pt x="46" y="2"/>
                  </a:lnTo>
                  <a:lnTo>
                    <a:pt x="48" y="2"/>
                  </a:lnTo>
                  <a:lnTo>
                    <a:pt x="48" y="4"/>
                  </a:lnTo>
                  <a:lnTo>
                    <a:pt x="48" y="2"/>
                  </a:lnTo>
                  <a:lnTo>
                    <a:pt x="50" y="2"/>
                  </a:lnTo>
                  <a:lnTo>
                    <a:pt x="48" y="2"/>
                  </a:lnTo>
                  <a:lnTo>
                    <a:pt x="50" y="2"/>
                  </a:lnTo>
                  <a:lnTo>
                    <a:pt x="48" y="2"/>
                  </a:lnTo>
                  <a:lnTo>
                    <a:pt x="48" y="4"/>
                  </a:lnTo>
                  <a:lnTo>
                    <a:pt x="50" y="4"/>
                  </a:lnTo>
                  <a:lnTo>
                    <a:pt x="48" y="4"/>
                  </a:lnTo>
                  <a:lnTo>
                    <a:pt x="50" y="4"/>
                  </a:lnTo>
                  <a:lnTo>
                    <a:pt x="50" y="2"/>
                  </a:lnTo>
                  <a:lnTo>
                    <a:pt x="48" y="2"/>
                  </a:lnTo>
                  <a:lnTo>
                    <a:pt x="50" y="2"/>
                  </a:lnTo>
                  <a:lnTo>
                    <a:pt x="48" y="2"/>
                  </a:lnTo>
                  <a:lnTo>
                    <a:pt x="48" y="0"/>
                  </a:lnTo>
                  <a:lnTo>
                    <a:pt x="50" y="0"/>
                  </a:lnTo>
                  <a:lnTo>
                    <a:pt x="48" y="0"/>
                  </a:lnTo>
                  <a:lnTo>
                    <a:pt x="50" y="0"/>
                  </a:lnTo>
                  <a:lnTo>
                    <a:pt x="48" y="0"/>
                  </a:lnTo>
                  <a:lnTo>
                    <a:pt x="50" y="0"/>
                  </a:lnTo>
                  <a:lnTo>
                    <a:pt x="50" y="2"/>
                  </a:lnTo>
                  <a:lnTo>
                    <a:pt x="52" y="2"/>
                  </a:lnTo>
                  <a:lnTo>
                    <a:pt x="52" y="4"/>
                  </a:lnTo>
                  <a:lnTo>
                    <a:pt x="52" y="2"/>
                  </a:lnTo>
                  <a:lnTo>
                    <a:pt x="52" y="4"/>
                  </a:lnTo>
                  <a:lnTo>
                    <a:pt x="53" y="4"/>
                  </a:lnTo>
                  <a:lnTo>
                    <a:pt x="55" y="4"/>
                  </a:lnTo>
                  <a:lnTo>
                    <a:pt x="53" y="4"/>
                  </a:lnTo>
                  <a:lnTo>
                    <a:pt x="53" y="6"/>
                  </a:lnTo>
                  <a:lnTo>
                    <a:pt x="52" y="6"/>
                  </a:lnTo>
                  <a:lnTo>
                    <a:pt x="52" y="8"/>
                  </a:lnTo>
                  <a:lnTo>
                    <a:pt x="50" y="8"/>
                  </a:lnTo>
                  <a:close/>
                  <a:moveTo>
                    <a:pt x="9" y="35"/>
                  </a:moveTo>
                  <a:lnTo>
                    <a:pt x="11" y="35"/>
                  </a:lnTo>
                  <a:lnTo>
                    <a:pt x="11" y="37"/>
                  </a:lnTo>
                  <a:lnTo>
                    <a:pt x="9" y="37"/>
                  </a:lnTo>
                  <a:lnTo>
                    <a:pt x="11" y="37"/>
                  </a:lnTo>
                  <a:lnTo>
                    <a:pt x="9" y="37"/>
                  </a:lnTo>
                  <a:lnTo>
                    <a:pt x="11" y="37"/>
                  </a:lnTo>
                  <a:lnTo>
                    <a:pt x="9" y="37"/>
                  </a:lnTo>
                  <a:lnTo>
                    <a:pt x="11" y="37"/>
                  </a:lnTo>
                  <a:lnTo>
                    <a:pt x="9" y="37"/>
                  </a:lnTo>
                  <a:lnTo>
                    <a:pt x="11" y="37"/>
                  </a:lnTo>
                  <a:lnTo>
                    <a:pt x="9" y="37"/>
                  </a:lnTo>
                  <a:lnTo>
                    <a:pt x="11" y="37"/>
                  </a:lnTo>
                  <a:lnTo>
                    <a:pt x="9" y="37"/>
                  </a:lnTo>
                  <a:lnTo>
                    <a:pt x="11" y="37"/>
                  </a:lnTo>
                  <a:lnTo>
                    <a:pt x="11" y="39"/>
                  </a:lnTo>
                  <a:lnTo>
                    <a:pt x="11" y="37"/>
                  </a:lnTo>
                  <a:lnTo>
                    <a:pt x="11" y="39"/>
                  </a:lnTo>
                  <a:lnTo>
                    <a:pt x="9" y="39"/>
                  </a:lnTo>
                  <a:lnTo>
                    <a:pt x="9" y="37"/>
                  </a:lnTo>
                  <a:lnTo>
                    <a:pt x="9" y="39"/>
                  </a:lnTo>
                  <a:lnTo>
                    <a:pt x="9" y="37"/>
                  </a:lnTo>
                  <a:lnTo>
                    <a:pt x="9" y="39"/>
                  </a:lnTo>
                  <a:lnTo>
                    <a:pt x="9" y="37"/>
                  </a:lnTo>
                  <a:lnTo>
                    <a:pt x="7" y="37"/>
                  </a:lnTo>
                  <a:lnTo>
                    <a:pt x="5" y="37"/>
                  </a:lnTo>
                  <a:lnTo>
                    <a:pt x="7" y="37"/>
                  </a:lnTo>
                  <a:lnTo>
                    <a:pt x="5" y="37"/>
                  </a:lnTo>
                  <a:lnTo>
                    <a:pt x="7" y="37"/>
                  </a:lnTo>
                  <a:lnTo>
                    <a:pt x="7" y="35"/>
                  </a:lnTo>
                  <a:lnTo>
                    <a:pt x="9" y="35"/>
                  </a:lnTo>
                  <a:close/>
                  <a:moveTo>
                    <a:pt x="11" y="56"/>
                  </a:moveTo>
                  <a:lnTo>
                    <a:pt x="15" y="56"/>
                  </a:lnTo>
                  <a:lnTo>
                    <a:pt x="15" y="58"/>
                  </a:lnTo>
                  <a:lnTo>
                    <a:pt x="11" y="58"/>
                  </a:lnTo>
                  <a:lnTo>
                    <a:pt x="11" y="56"/>
                  </a:lnTo>
                  <a:close/>
                  <a:moveTo>
                    <a:pt x="4" y="87"/>
                  </a:moveTo>
                  <a:lnTo>
                    <a:pt x="5" y="87"/>
                  </a:lnTo>
                  <a:lnTo>
                    <a:pt x="4" y="87"/>
                  </a:lnTo>
                  <a:close/>
                  <a:moveTo>
                    <a:pt x="13" y="54"/>
                  </a:moveTo>
                  <a:lnTo>
                    <a:pt x="15" y="54"/>
                  </a:lnTo>
                  <a:lnTo>
                    <a:pt x="13" y="54"/>
                  </a:lnTo>
                  <a:close/>
                  <a:moveTo>
                    <a:pt x="30" y="10"/>
                  </a:moveTo>
                  <a:lnTo>
                    <a:pt x="32" y="10"/>
                  </a:lnTo>
                  <a:lnTo>
                    <a:pt x="32" y="12"/>
                  </a:lnTo>
                  <a:lnTo>
                    <a:pt x="30" y="12"/>
                  </a:lnTo>
                  <a:lnTo>
                    <a:pt x="30" y="10"/>
                  </a:lnTo>
                  <a:close/>
                  <a:moveTo>
                    <a:pt x="11" y="92"/>
                  </a:moveTo>
                  <a:lnTo>
                    <a:pt x="13" y="92"/>
                  </a:lnTo>
                  <a:lnTo>
                    <a:pt x="13" y="94"/>
                  </a:lnTo>
                  <a:lnTo>
                    <a:pt x="11" y="94"/>
                  </a:lnTo>
                  <a:lnTo>
                    <a:pt x="11" y="92"/>
                  </a:lnTo>
                  <a:close/>
                  <a:moveTo>
                    <a:pt x="9" y="40"/>
                  </a:moveTo>
                  <a:lnTo>
                    <a:pt x="11" y="40"/>
                  </a:lnTo>
                  <a:lnTo>
                    <a:pt x="9" y="40"/>
                  </a:lnTo>
                  <a:close/>
                  <a:moveTo>
                    <a:pt x="5" y="44"/>
                  </a:moveTo>
                  <a:lnTo>
                    <a:pt x="7" y="44"/>
                  </a:lnTo>
                  <a:lnTo>
                    <a:pt x="7" y="46"/>
                  </a:lnTo>
                  <a:lnTo>
                    <a:pt x="5" y="46"/>
                  </a:lnTo>
                  <a:lnTo>
                    <a:pt x="5" y="44"/>
                  </a:lnTo>
                  <a:close/>
                  <a:moveTo>
                    <a:pt x="15" y="58"/>
                  </a:moveTo>
                  <a:lnTo>
                    <a:pt x="17" y="58"/>
                  </a:lnTo>
                  <a:lnTo>
                    <a:pt x="15" y="58"/>
                  </a:lnTo>
                  <a:close/>
                  <a:moveTo>
                    <a:pt x="13" y="52"/>
                  </a:moveTo>
                  <a:lnTo>
                    <a:pt x="15" y="52"/>
                  </a:lnTo>
                  <a:lnTo>
                    <a:pt x="15" y="54"/>
                  </a:lnTo>
                  <a:lnTo>
                    <a:pt x="13" y="54"/>
                  </a:lnTo>
                  <a:lnTo>
                    <a:pt x="13" y="52"/>
                  </a:lnTo>
                  <a:close/>
                  <a:moveTo>
                    <a:pt x="7" y="42"/>
                  </a:moveTo>
                  <a:lnTo>
                    <a:pt x="9" y="42"/>
                  </a:lnTo>
                  <a:lnTo>
                    <a:pt x="7" y="42"/>
                  </a:lnTo>
                  <a:close/>
                  <a:moveTo>
                    <a:pt x="17" y="58"/>
                  </a:moveTo>
                  <a:lnTo>
                    <a:pt x="17" y="60"/>
                  </a:lnTo>
                  <a:lnTo>
                    <a:pt x="17" y="58"/>
                  </a:lnTo>
                  <a:close/>
                  <a:moveTo>
                    <a:pt x="5" y="94"/>
                  </a:moveTo>
                  <a:lnTo>
                    <a:pt x="7" y="94"/>
                  </a:lnTo>
                  <a:lnTo>
                    <a:pt x="5" y="94"/>
                  </a:lnTo>
                  <a:close/>
                  <a:moveTo>
                    <a:pt x="17" y="96"/>
                  </a:moveTo>
                  <a:lnTo>
                    <a:pt x="19" y="96"/>
                  </a:lnTo>
                  <a:lnTo>
                    <a:pt x="19" y="98"/>
                  </a:lnTo>
                  <a:lnTo>
                    <a:pt x="17" y="98"/>
                  </a:lnTo>
                  <a:lnTo>
                    <a:pt x="17" y="96"/>
                  </a:lnTo>
                  <a:close/>
                  <a:moveTo>
                    <a:pt x="2" y="81"/>
                  </a:moveTo>
                  <a:lnTo>
                    <a:pt x="2" y="83"/>
                  </a:lnTo>
                  <a:lnTo>
                    <a:pt x="2" y="81"/>
                  </a:lnTo>
                  <a:close/>
                  <a:moveTo>
                    <a:pt x="17" y="90"/>
                  </a:moveTo>
                  <a:lnTo>
                    <a:pt x="17" y="92"/>
                  </a:lnTo>
                  <a:lnTo>
                    <a:pt x="17" y="90"/>
                  </a:lnTo>
                  <a:close/>
                  <a:moveTo>
                    <a:pt x="11" y="50"/>
                  </a:moveTo>
                  <a:lnTo>
                    <a:pt x="11" y="52"/>
                  </a:lnTo>
                  <a:lnTo>
                    <a:pt x="11" y="50"/>
                  </a:lnTo>
                  <a:close/>
                  <a:moveTo>
                    <a:pt x="11" y="35"/>
                  </a:moveTo>
                  <a:lnTo>
                    <a:pt x="11" y="37"/>
                  </a:lnTo>
                  <a:lnTo>
                    <a:pt x="11" y="35"/>
                  </a:lnTo>
                  <a:close/>
                  <a:moveTo>
                    <a:pt x="5" y="44"/>
                  </a:moveTo>
                  <a:lnTo>
                    <a:pt x="5" y="46"/>
                  </a:lnTo>
                  <a:lnTo>
                    <a:pt x="5" y="44"/>
                  </a:lnTo>
                  <a:close/>
                  <a:moveTo>
                    <a:pt x="11" y="52"/>
                  </a:moveTo>
                  <a:lnTo>
                    <a:pt x="11" y="54"/>
                  </a:lnTo>
                  <a:lnTo>
                    <a:pt x="11" y="52"/>
                  </a:lnTo>
                  <a:close/>
                  <a:moveTo>
                    <a:pt x="67" y="48"/>
                  </a:moveTo>
                  <a:lnTo>
                    <a:pt x="69" y="48"/>
                  </a:lnTo>
                  <a:lnTo>
                    <a:pt x="67" y="48"/>
                  </a:lnTo>
                  <a:close/>
                  <a:moveTo>
                    <a:pt x="7" y="46"/>
                  </a:moveTo>
                  <a:lnTo>
                    <a:pt x="7" y="48"/>
                  </a:lnTo>
                  <a:lnTo>
                    <a:pt x="7" y="46"/>
                  </a:lnTo>
                  <a:close/>
                  <a:moveTo>
                    <a:pt x="23" y="67"/>
                  </a:moveTo>
                  <a:lnTo>
                    <a:pt x="25" y="67"/>
                  </a:lnTo>
                  <a:lnTo>
                    <a:pt x="23" y="67"/>
                  </a:lnTo>
                  <a:close/>
                  <a:moveTo>
                    <a:pt x="30" y="27"/>
                  </a:moveTo>
                  <a:lnTo>
                    <a:pt x="30" y="29"/>
                  </a:lnTo>
                  <a:lnTo>
                    <a:pt x="30" y="27"/>
                  </a:lnTo>
                  <a:close/>
                  <a:moveTo>
                    <a:pt x="5" y="33"/>
                  </a:moveTo>
                  <a:lnTo>
                    <a:pt x="7" y="33"/>
                  </a:lnTo>
                  <a:lnTo>
                    <a:pt x="5" y="33"/>
                  </a:lnTo>
                  <a:close/>
                  <a:moveTo>
                    <a:pt x="21" y="31"/>
                  </a:moveTo>
                  <a:lnTo>
                    <a:pt x="23" y="31"/>
                  </a:lnTo>
                  <a:lnTo>
                    <a:pt x="21" y="31"/>
                  </a:lnTo>
                  <a:close/>
                  <a:moveTo>
                    <a:pt x="17" y="96"/>
                  </a:moveTo>
                  <a:lnTo>
                    <a:pt x="19" y="96"/>
                  </a:lnTo>
                  <a:lnTo>
                    <a:pt x="17" y="96"/>
                  </a:lnTo>
                  <a:close/>
                  <a:moveTo>
                    <a:pt x="9" y="39"/>
                  </a:moveTo>
                  <a:lnTo>
                    <a:pt x="11" y="39"/>
                  </a:lnTo>
                  <a:lnTo>
                    <a:pt x="9" y="39"/>
                  </a:lnTo>
                  <a:close/>
                  <a:moveTo>
                    <a:pt x="15" y="96"/>
                  </a:moveTo>
                  <a:lnTo>
                    <a:pt x="17" y="96"/>
                  </a:lnTo>
                  <a:lnTo>
                    <a:pt x="15" y="96"/>
                  </a:lnTo>
                  <a:close/>
                  <a:moveTo>
                    <a:pt x="23" y="54"/>
                  </a:moveTo>
                  <a:lnTo>
                    <a:pt x="25" y="54"/>
                  </a:lnTo>
                  <a:lnTo>
                    <a:pt x="25" y="56"/>
                  </a:lnTo>
                  <a:lnTo>
                    <a:pt x="23" y="56"/>
                  </a:lnTo>
                  <a:lnTo>
                    <a:pt x="23" y="54"/>
                  </a:lnTo>
                  <a:close/>
                  <a:moveTo>
                    <a:pt x="28" y="25"/>
                  </a:moveTo>
                  <a:lnTo>
                    <a:pt x="30" y="25"/>
                  </a:lnTo>
                  <a:lnTo>
                    <a:pt x="28" y="25"/>
                  </a:lnTo>
                  <a:close/>
                  <a:moveTo>
                    <a:pt x="23" y="67"/>
                  </a:moveTo>
                  <a:lnTo>
                    <a:pt x="25" y="67"/>
                  </a:lnTo>
                  <a:lnTo>
                    <a:pt x="23" y="67"/>
                  </a:lnTo>
                  <a:close/>
                  <a:moveTo>
                    <a:pt x="23" y="67"/>
                  </a:moveTo>
                  <a:lnTo>
                    <a:pt x="25" y="67"/>
                  </a:lnTo>
                  <a:lnTo>
                    <a:pt x="25" y="69"/>
                  </a:lnTo>
                  <a:lnTo>
                    <a:pt x="23" y="69"/>
                  </a:lnTo>
                  <a:lnTo>
                    <a:pt x="23" y="67"/>
                  </a:lnTo>
                  <a:close/>
                  <a:moveTo>
                    <a:pt x="11" y="37"/>
                  </a:moveTo>
                  <a:lnTo>
                    <a:pt x="13" y="37"/>
                  </a:lnTo>
                  <a:lnTo>
                    <a:pt x="11" y="37"/>
                  </a:lnTo>
                  <a:close/>
                  <a:moveTo>
                    <a:pt x="0" y="83"/>
                  </a:moveTo>
                  <a:lnTo>
                    <a:pt x="2" y="83"/>
                  </a:lnTo>
                  <a:lnTo>
                    <a:pt x="0" y="83"/>
                  </a:lnTo>
                  <a:close/>
                  <a:moveTo>
                    <a:pt x="7" y="33"/>
                  </a:moveTo>
                  <a:lnTo>
                    <a:pt x="7" y="35"/>
                  </a:lnTo>
                  <a:lnTo>
                    <a:pt x="7" y="33"/>
                  </a:lnTo>
                  <a:close/>
                  <a:moveTo>
                    <a:pt x="13" y="52"/>
                  </a:moveTo>
                  <a:lnTo>
                    <a:pt x="13" y="54"/>
                  </a:lnTo>
                  <a:lnTo>
                    <a:pt x="13" y="52"/>
                  </a:lnTo>
                  <a:close/>
                  <a:moveTo>
                    <a:pt x="11" y="50"/>
                  </a:moveTo>
                  <a:lnTo>
                    <a:pt x="11" y="52"/>
                  </a:lnTo>
                  <a:lnTo>
                    <a:pt x="11" y="50"/>
                  </a:lnTo>
                  <a:close/>
                  <a:moveTo>
                    <a:pt x="15" y="39"/>
                  </a:moveTo>
                  <a:lnTo>
                    <a:pt x="15" y="40"/>
                  </a:lnTo>
                  <a:lnTo>
                    <a:pt x="15" y="39"/>
                  </a:lnTo>
                  <a:close/>
                  <a:moveTo>
                    <a:pt x="5" y="90"/>
                  </a:moveTo>
                  <a:lnTo>
                    <a:pt x="7" y="90"/>
                  </a:lnTo>
                  <a:lnTo>
                    <a:pt x="5" y="90"/>
                  </a:lnTo>
                  <a:close/>
                  <a:moveTo>
                    <a:pt x="0" y="83"/>
                  </a:moveTo>
                  <a:lnTo>
                    <a:pt x="2" y="83"/>
                  </a:lnTo>
                  <a:lnTo>
                    <a:pt x="0" y="83"/>
                  </a:lnTo>
                  <a:close/>
                  <a:moveTo>
                    <a:pt x="32" y="10"/>
                  </a:moveTo>
                  <a:lnTo>
                    <a:pt x="32" y="12"/>
                  </a:lnTo>
                  <a:lnTo>
                    <a:pt x="32" y="10"/>
                  </a:lnTo>
                  <a:close/>
                  <a:moveTo>
                    <a:pt x="25" y="54"/>
                  </a:moveTo>
                  <a:lnTo>
                    <a:pt x="25" y="56"/>
                  </a:lnTo>
                  <a:lnTo>
                    <a:pt x="25" y="54"/>
                  </a:lnTo>
                  <a:close/>
                  <a:moveTo>
                    <a:pt x="11" y="52"/>
                  </a:moveTo>
                  <a:lnTo>
                    <a:pt x="11" y="54"/>
                  </a:lnTo>
                  <a:lnTo>
                    <a:pt x="11" y="52"/>
                  </a:lnTo>
                  <a:close/>
                  <a:moveTo>
                    <a:pt x="5" y="48"/>
                  </a:moveTo>
                  <a:lnTo>
                    <a:pt x="7" y="48"/>
                  </a:lnTo>
                  <a:lnTo>
                    <a:pt x="5" y="48"/>
                  </a:lnTo>
                  <a:close/>
                  <a:moveTo>
                    <a:pt x="15" y="39"/>
                  </a:moveTo>
                  <a:lnTo>
                    <a:pt x="15" y="40"/>
                  </a:lnTo>
                  <a:lnTo>
                    <a:pt x="15" y="39"/>
                  </a:lnTo>
                  <a:close/>
                  <a:moveTo>
                    <a:pt x="23" y="56"/>
                  </a:moveTo>
                  <a:lnTo>
                    <a:pt x="23" y="58"/>
                  </a:lnTo>
                  <a:lnTo>
                    <a:pt x="23" y="56"/>
                  </a:lnTo>
                  <a:close/>
                  <a:moveTo>
                    <a:pt x="44" y="10"/>
                  </a:moveTo>
                  <a:lnTo>
                    <a:pt x="46" y="10"/>
                  </a:lnTo>
                  <a:lnTo>
                    <a:pt x="44" y="10"/>
                  </a:lnTo>
                  <a:close/>
                  <a:moveTo>
                    <a:pt x="32" y="10"/>
                  </a:moveTo>
                  <a:lnTo>
                    <a:pt x="32" y="12"/>
                  </a:lnTo>
                  <a:lnTo>
                    <a:pt x="32" y="10"/>
                  </a:lnTo>
                  <a:close/>
                  <a:moveTo>
                    <a:pt x="32" y="8"/>
                  </a:moveTo>
                  <a:lnTo>
                    <a:pt x="34" y="8"/>
                  </a:lnTo>
                  <a:lnTo>
                    <a:pt x="34" y="10"/>
                  </a:lnTo>
                  <a:lnTo>
                    <a:pt x="32" y="10"/>
                  </a:lnTo>
                  <a:lnTo>
                    <a:pt x="32" y="8"/>
                  </a:lnTo>
                  <a:close/>
                  <a:moveTo>
                    <a:pt x="25" y="54"/>
                  </a:moveTo>
                  <a:lnTo>
                    <a:pt x="25" y="56"/>
                  </a:lnTo>
                  <a:lnTo>
                    <a:pt x="25" y="54"/>
                  </a:lnTo>
                  <a:close/>
                  <a:moveTo>
                    <a:pt x="11" y="50"/>
                  </a:moveTo>
                  <a:lnTo>
                    <a:pt x="13" y="50"/>
                  </a:lnTo>
                  <a:lnTo>
                    <a:pt x="11" y="50"/>
                  </a:lnTo>
                  <a:close/>
                  <a:moveTo>
                    <a:pt x="13" y="39"/>
                  </a:moveTo>
                  <a:lnTo>
                    <a:pt x="15" y="39"/>
                  </a:lnTo>
                  <a:lnTo>
                    <a:pt x="13" y="39"/>
                  </a:lnTo>
                  <a:close/>
                  <a:moveTo>
                    <a:pt x="9" y="44"/>
                  </a:moveTo>
                  <a:lnTo>
                    <a:pt x="9" y="46"/>
                  </a:lnTo>
                  <a:lnTo>
                    <a:pt x="9" y="44"/>
                  </a:lnTo>
                  <a:close/>
                  <a:moveTo>
                    <a:pt x="15" y="87"/>
                  </a:moveTo>
                  <a:lnTo>
                    <a:pt x="15" y="89"/>
                  </a:lnTo>
                  <a:lnTo>
                    <a:pt x="15" y="87"/>
                  </a:lnTo>
                  <a:close/>
                  <a:moveTo>
                    <a:pt x="32" y="10"/>
                  </a:moveTo>
                  <a:lnTo>
                    <a:pt x="32" y="12"/>
                  </a:lnTo>
                  <a:lnTo>
                    <a:pt x="32" y="10"/>
                  </a:lnTo>
                  <a:close/>
                  <a:moveTo>
                    <a:pt x="13" y="52"/>
                  </a:moveTo>
                  <a:lnTo>
                    <a:pt x="13" y="54"/>
                  </a:lnTo>
                  <a:lnTo>
                    <a:pt x="13" y="52"/>
                  </a:lnTo>
                  <a:close/>
                  <a:moveTo>
                    <a:pt x="7" y="44"/>
                  </a:moveTo>
                  <a:lnTo>
                    <a:pt x="7" y="46"/>
                  </a:lnTo>
                  <a:lnTo>
                    <a:pt x="7" y="44"/>
                  </a:lnTo>
                  <a:close/>
                  <a:moveTo>
                    <a:pt x="11" y="35"/>
                  </a:moveTo>
                  <a:lnTo>
                    <a:pt x="11" y="37"/>
                  </a:lnTo>
                  <a:lnTo>
                    <a:pt x="11" y="35"/>
                  </a:lnTo>
                  <a:close/>
                  <a:moveTo>
                    <a:pt x="11" y="54"/>
                  </a:moveTo>
                  <a:lnTo>
                    <a:pt x="13" y="54"/>
                  </a:lnTo>
                  <a:lnTo>
                    <a:pt x="11" y="54"/>
                  </a:lnTo>
                  <a:close/>
                  <a:moveTo>
                    <a:pt x="9" y="89"/>
                  </a:moveTo>
                  <a:lnTo>
                    <a:pt x="9" y="90"/>
                  </a:lnTo>
                  <a:lnTo>
                    <a:pt x="9" y="89"/>
                  </a:lnTo>
                  <a:close/>
                  <a:moveTo>
                    <a:pt x="7" y="29"/>
                  </a:moveTo>
                  <a:lnTo>
                    <a:pt x="9" y="29"/>
                  </a:lnTo>
                  <a:lnTo>
                    <a:pt x="7" y="29"/>
                  </a:lnTo>
                  <a:close/>
                  <a:moveTo>
                    <a:pt x="15" y="87"/>
                  </a:moveTo>
                  <a:lnTo>
                    <a:pt x="15" y="89"/>
                  </a:lnTo>
                  <a:lnTo>
                    <a:pt x="15" y="87"/>
                  </a:lnTo>
                  <a:close/>
                  <a:moveTo>
                    <a:pt x="15" y="87"/>
                  </a:moveTo>
                  <a:lnTo>
                    <a:pt x="15" y="89"/>
                  </a:lnTo>
                  <a:lnTo>
                    <a:pt x="15" y="87"/>
                  </a:lnTo>
                  <a:close/>
                  <a:moveTo>
                    <a:pt x="44" y="4"/>
                  </a:moveTo>
                  <a:lnTo>
                    <a:pt x="44" y="6"/>
                  </a:lnTo>
                  <a:lnTo>
                    <a:pt x="44" y="4"/>
                  </a:lnTo>
                  <a:close/>
                  <a:moveTo>
                    <a:pt x="30" y="92"/>
                  </a:moveTo>
                  <a:lnTo>
                    <a:pt x="32" y="92"/>
                  </a:lnTo>
                  <a:lnTo>
                    <a:pt x="30" y="92"/>
                  </a:lnTo>
                  <a:close/>
                  <a:moveTo>
                    <a:pt x="2" y="89"/>
                  </a:moveTo>
                  <a:lnTo>
                    <a:pt x="2" y="90"/>
                  </a:lnTo>
                  <a:lnTo>
                    <a:pt x="2" y="89"/>
                  </a:lnTo>
                  <a:close/>
                  <a:moveTo>
                    <a:pt x="19" y="94"/>
                  </a:moveTo>
                  <a:lnTo>
                    <a:pt x="19" y="96"/>
                  </a:lnTo>
                  <a:lnTo>
                    <a:pt x="19" y="9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288">
              <a:extLst>
                <a:ext uri="{FF2B5EF4-FFF2-40B4-BE49-F238E27FC236}">
                  <a16:creationId xmlns:a16="http://schemas.microsoft.com/office/drawing/2014/main" id="{105C26B0-FDB3-4AD6-BB80-260BC793FCFA}"/>
                </a:ext>
              </a:extLst>
            </p:cNvPr>
            <p:cNvSpPr>
              <a:spLocks noEditPoints="1"/>
            </p:cNvSpPr>
            <p:nvPr/>
          </p:nvSpPr>
          <p:spPr bwMode="gray">
            <a:xfrm>
              <a:off x="3123642" y="3197804"/>
              <a:ext cx="9811" cy="12264"/>
            </a:xfrm>
            <a:custGeom>
              <a:avLst/>
              <a:gdLst>
                <a:gd name="T0" fmla="*/ 6 w 8"/>
                <a:gd name="T1" fmla="*/ 0 h 10"/>
                <a:gd name="T2" fmla="*/ 6 w 8"/>
                <a:gd name="T3" fmla="*/ 2 h 10"/>
                <a:gd name="T4" fmla="*/ 6 w 8"/>
                <a:gd name="T5" fmla="*/ 4 h 10"/>
                <a:gd name="T6" fmla="*/ 8 w 8"/>
                <a:gd name="T7" fmla="*/ 4 h 10"/>
                <a:gd name="T8" fmla="*/ 6 w 8"/>
                <a:gd name="T9" fmla="*/ 4 h 10"/>
                <a:gd name="T10" fmla="*/ 8 w 8"/>
                <a:gd name="T11" fmla="*/ 4 h 10"/>
                <a:gd name="T12" fmla="*/ 6 w 8"/>
                <a:gd name="T13" fmla="*/ 4 h 10"/>
                <a:gd name="T14" fmla="*/ 6 w 8"/>
                <a:gd name="T15" fmla="*/ 6 h 10"/>
                <a:gd name="T16" fmla="*/ 4 w 8"/>
                <a:gd name="T17" fmla="*/ 6 h 10"/>
                <a:gd name="T18" fmla="*/ 4 w 8"/>
                <a:gd name="T19" fmla="*/ 8 h 10"/>
                <a:gd name="T20" fmla="*/ 2 w 8"/>
                <a:gd name="T21" fmla="*/ 8 h 10"/>
                <a:gd name="T22" fmla="*/ 2 w 8"/>
                <a:gd name="T23" fmla="*/ 10 h 10"/>
                <a:gd name="T24" fmla="*/ 2 w 8"/>
                <a:gd name="T25" fmla="*/ 8 h 10"/>
                <a:gd name="T26" fmla="*/ 2 w 8"/>
                <a:gd name="T27" fmla="*/ 10 h 10"/>
                <a:gd name="T28" fmla="*/ 2 w 8"/>
                <a:gd name="T29" fmla="*/ 8 h 10"/>
                <a:gd name="T30" fmla="*/ 0 w 8"/>
                <a:gd name="T31" fmla="*/ 8 h 10"/>
                <a:gd name="T32" fmla="*/ 0 w 8"/>
                <a:gd name="T33" fmla="*/ 10 h 10"/>
                <a:gd name="T34" fmla="*/ 0 w 8"/>
                <a:gd name="T35" fmla="*/ 8 h 10"/>
                <a:gd name="T36" fmla="*/ 0 w 8"/>
                <a:gd name="T37" fmla="*/ 6 h 10"/>
                <a:gd name="T38" fmla="*/ 2 w 8"/>
                <a:gd name="T39" fmla="*/ 6 h 10"/>
                <a:gd name="T40" fmla="*/ 2 w 8"/>
                <a:gd name="T41" fmla="*/ 4 h 10"/>
                <a:gd name="T42" fmla="*/ 2 w 8"/>
                <a:gd name="T43" fmla="*/ 2 h 10"/>
                <a:gd name="T44" fmla="*/ 4 w 8"/>
                <a:gd name="T45" fmla="*/ 2 h 10"/>
                <a:gd name="T46" fmla="*/ 4 w 8"/>
                <a:gd name="T47" fmla="*/ 0 h 10"/>
                <a:gd name="T48" fmla="*/ 6 w 8"/>
                <a:gd name="T49" fmla="*/ 0 h 10"/>
                <a:gd name="T50" fmla="*/ 0 w 8"/>
                <a:gd name="T51" fmla="*/ 10 h 10"/>
                <a:gd name="T52" fmla="*/ 2 w 8"/>
                <a:gd name="T53" fmla="*/ 10 h 10"/>
                <a:gd name="T54" fmla="*/ 0 w 8"/>
                <a:gd name="T5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 h="10">
                  <a:moveTo>
                    <a:pt x="6" y="0"/>
                  </a:moveTo>
                  <a:lnTo>
                    <a:pt x="6" y="2"/>
                  </a:lnTo>
                  <a:lnTo>
                    <a:pt x="6" y="4"/>
                  </a:lnTo>
                  <a:lnTo>
                    <a:pt x="8" y="4"/>
                  </a:lnTo>
                  <a:lnTo>
                    <a:pt x="6" y="4"/>
                  </a:lnTo>
                  <a:lnTo>
                    <a:pt x="8" y="4"/>
                  </a:lnTo>
                  <a:lnTo>
                    <a:pt x="6" y="4"/>
                  </a:lnTo>
                  <a:lnTo>
                    <a:pt x="6" y="6"/>
                  </a:lnTo>
                  <a:lnTo>
                    <a:pt x="4" y="6"/>
                  </a:lnTo>
                  <a:lnTo>
                    <a:pt x="4" y="8"/>
                  </a:lnTo>
                  <a:lnTo>
                    <a:pt x="2" y="8"/>
                  </a:lnTo>
                  <a:lnTo>
                    <a:pt x="2" y="10"/>
                  </a:lnTo>
                  <a:lnTo>
                    <a:pt x="2" y="8"/>
                  </a:lnTo>
                  <a:lnTo>
                    <a:pt x="2" y="10"/>
                  </a:lnTo>
                  <a:lnTo>
                    <a:pt x="2" y="8"/>
                  </a:lnTo>
                  <a:lnTo>
                    <a:pt x="0" y="8"/>
                  </a:lnTo>
                  <a:lnTo>
                    <a:pt x="0" y="10"/>
                  </a:lnTo>
                  <a:lnTo>
                    <a:pt x="0" y="8"/>
                  </a:lnTo>
                  <a:lnTo>
                    <a:pt x="0" y="6"/>
                  </a:lnTo>
                  <a:lnTo>
                    <a:pt x="2" y="6"/>
                  </a:lnTo>
                  <a:lnTo>
                    <a:pt x="2" y="4"/>
                  </a:lnTo>
                  <a:lnTo>
                    <a:pt x="2" y="2"/>
                  </a:lnTo>
                  <a:lnTo>
                    <a:pt x="4" y="2"/>
                  </a:lnTo>
                  <a:lnTo>
                    <a:pt x="4" y="0"/>
                  </a:lnTo>
                  <a:lnTo>
                    <a:pt x="6" y="0"/>
                  </a:lnTo>
                  <a:close/>
                  <a:moveTo>
                    <a:pt x="0" y="10"/>
                  </a:moveTo>
                  <a:lnTo>
                    <a:pt x="2" y="10"/>
                  </a:lnTo>
                  <a:lnTo>
                    <a:pt x="0" y="1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289">
              <a:extLst>
                <a:ext uri="{FF2B5EF4-FFF2-40B4-BE49-F238E27FC236}">
                  <a16:creationId xmlns:a16="http://schemas.microsoft.com/office/drawing/2014/main" id="{1B898109-C6C6-4281-829F-06B6E8B7E411}"/>
                </a:ext>
              </a:extLst>
            </p:cNvPr>
            <p:cNvSpPr>
              <a:spLocks noEditPoints="1"/>
            </p:cNvSpPr>
            <p:nvPr/>
          </p:nvSpPr>
          <p:spPr bwMode="gray">
            <a:xfrm>
              <a:off x="3052512" y="2980735"/>
              <a:ext cx="188862" cy="349518"/>
            </a:xfrm>
            <a:custGeom>
              <a:avLst/>
              <a:gdLst>
                <a:gd name="T0" fmla="*/ 64 w 154"/>
                <a:gd name="T1" fmla="*/ 85 h 285"/>
                <a:gd name="T2" fmla="*/ 77 w 154"/>
                <a:gd name="T3" fmla="*/ 91 h 285"/>
                <a:gd name="T4" fmla="*/ 98 w 154"/>
                <a:gd name="T5" fmla="*/ 100 h 285"/>
                <a:gd name="T6" fmla="*/ 81 w 154"/>
                <a:gd name="T7" fmla="*/ 125 h 285"/>
                <a:gd name="T8" fmla="*/ 93 w 154"/>
                <a:gd name="T9" fmla="*/ 137 h 285"/>
                <a:gd name="T10" fmla="*/ 118 w 154"/>
                <a:gd name="T11" fmla="*/ 173 h 285"/>
                <a:gd name="T12" fmla="*/ 129 w 154"/>
                <a:gd name="T13" fmla="*/ 212 h 285"/>
                <a:gd name="T14" fmla="*/ 144 w 154"/>
                <a:gd name="T15" fmla="*/ 242 h 285"/>
                <a:gd name="T16" fmla="*/ 143 w 154"/>
                <a:gd name="T17" fmla="*/ 262 h 285"/>
                <a:gd name="T18" fmla="*/ 104 w 154"/>
                <a:gd name="T19" fmla="*/ 265 h 285"/>
                <a:gd name="T20" fmla="*/ 77 w 154"/>
                <a:gd name="T21" fmla="*/ 273 h 285"/>
                <a:gd name="T22" fmla="*/ 66 w 154"/>
                <a:gd name="T23" fmla="*/ 273 h 285"/>
                <a:gd name="T24" fmla="*/ 47 w 154"/>
                <a:gd name="T25" fmla="*/ 279 h 285"/>
                <a:gd name="T26" fmla="*/ 72 w 154"/>
                <a:gd name="T27" fmla="*/ 254 h 285"/>
                <a:gd name="T28" fmla="*/ 66 w 154"/>
                <a:gd name="T29" fmla="*/ 244 h 285"/>
                <a:gd name="T30" fmla="*/ 52 w 154"/>
                <a:gd name="T31" fmla="*/ 239 h 285"/>
                <a:gd name="T32" fmla="*/ 68 w 154"/>
                <a:gd name="T33" fmla="*/ 227 h 285"/>
                <a:gd name="T34" fmla="*/ 81 w 154"/>
                <a:gd name="T35" fmla="*/ 202 h 285"/>
                <a:gd name="T36" fmla="*/ 83 w 154"/>
                <a:gd name="T37" fmla="*/ 181 h 285"/>
                <a:gd name="T38" fmla="*/ 66 w 154"/>
                <a:gd name="T39" fmla="*/ 168 h 285"/>
                <a:gd name="T40" fmla="*/ 56 w 154"/>
                <a:gd name="T41" fmla="*/ 158 h 285"/>
                <a:gd name="T42" fmla="*/ 52 w 154"/>
                <a:gd name="T43" fmla="*/ 141 h 285"/>
                <a:gd name="T44" fmla="*/ 47 w 154"/>
                <a:gd name="T45" fmla="*/ 139 h 285"/>
                <a:gd name="T46" fmla="*/ 52 w 154"/>
                <a:gd name="T47" fmla="*/ 118 h 285"/>
                <a:gd name="T48" fmla="*/ 45 w 154"/>
                <a:gd name="T49" fmla="*/ 118 h 285"/>
                <a:gd name="T50" fmla="*/ 45 w 154"/>
                <a:gd name="T51" fmla="*/ 114 h 285"/>
                <a:gd name="T52" fmla="*/ 47 w 154"/>
                <a:gd name="T53" fmla="*/ 100 h 285"/>
                <a:gd name="T54" fmla="*/ 52 w 154"/>
                <a:gd name="T55" fmla="*/ 83 h 285"/>
                <a:gd name="T56" fmla="*/ 52 w 154"/>
                <a:gd name="T57" fmla="*/ 71 h 285"/>
                <a:gd name="T58" fmla="*/ 62 w 154"/>
                <a:gd name="T59" fmla="*/ 70 h 285"/>
                <a:gd name="T60" fmla="*/ 14 w 154"/>
                <a:gd name="T61" fmla="*/ 183 h 285"/>
                <a:gd name="T62" fmla="*/ 37 w 154"/>
                <a:gd name="T63" fmla="*/ 156 h 285"/>
                <a:gd name="T64" fmla="*/ 48 w 154"/>
                <a:gd name="T65" fmla="*/ 179 h 285"/>
                <a:gd name="T66" fmla="*/ 37 w 154"/>
                <a:gd name="T67" fmla="*/ 71 h 285"/>
                <a:gd name="T68" fmla="*/ 29 w 154"/>
                <a:gd name="T69" fmla="*/ 83 h 285"/>
                <a:gd name="T70" fmla="*/ 25 w 154"/>
                <a:gd name="T71" fmla="*/ 85 h 285"/>
                <a:gd name="T72" fmla="*/ 33 w 154"/>
                <a:gd name="T73" fmla="*/ 73 h 285"/>
                <a:gd name="T74" fmla="*/ 39 w 154"/>
                <a:gd name="T75" fmla="*/ 106 h 285"/>
                <a:gd name="T76" fmla="*/ 108 w 154"/>
                <a:gd name="T77" fmla="*/ 8 h 285"/>
                <a:gd name="T78" fmla="*/ 110 w 154"/>
                <a:gd name="T79" fmla="*/ 27 h 285"/>
                <a:gd name="T80" fmla="*/ 102 w 154"/>
                <a:gd name="T81" fmla="*/ 20 h 285"/>
                <a:gd name="T82" fmla="*/ 45 w 154"/>
                <a:gd name="T83" fmla="*/ 123 h 285"/>
                <a:gd name="T84" fmla="*/ 64 w 154"/>
                <a:gd name="T85" fmla="*/ 202 h 285"/>
                <a:gd name="T86" fmla="*/ 85 w 154"/>
                <a:gd name="T87" fmla="*/ 54 h 285"/>
                <a:gd name="T88" fmla="*/ 37 w 154"/>
                <a:gd name="T89" fmla="*/ 146 h 285"/>
                <a:gd name="T90" fmla="*/ 43 w 154"/>
                <a:gd name="T91" fmla="*/ 135 h 285"/>
                <a:gd name="T92" fmla="*/ 20 w 154"/>
                <a:gd name="T93" fmla="*/ 95 h 285"/>
                <a:gd name="T94" fmla="*/ 112 w 154"/>
                <a:gd name="T95" fmla="*/ 4 h 285"/>
                <a:gd name="T96" fmla="*/ 81 w 154"/>
                <a:gd name="T97" fmla="*/ 60 h 285"/>
                <a:gd name="T98" fmla="*/ 33 w 154"/>
                <a:gd name="T99" fmla="*/ 118 h 285"/>
                <a:gd name="T100" fmla="*/ 83 w 154"/>
                <a:gd name="T101" fmla="*/ 45 h 285"/>
                <a:gd name="T102" fmla="*/ 112 w 154"/>
                <a:gd name="T103" fmla="*/ 14 h 285"/>
                <a:gd name="T104" fmla="*/ 31 w 154"/>
                <a:gd name="T105" fmla="*/ 108 h 285"/>
                <a:gd name="T106" fmla="*/ 108 w 154"/>
                <a:gd name="T107" fmla="*/ 23 h 285"/>
                <a:gd name="T108" fmla="*/ 45 w 154"/>
                <a:gd name="T109" fmla="*/ 137 h 285"/>
                <a:gd name="T110" fmla="*/ 110 w 154"/>
                <a:gd name="T111" fmla="*/ 25 h 285"/>
                <a:gd name="T112" fmla="*/ 25 w 154"/>
                <a:gd name="T113" fmla="*/ 75 h 285"/>
                <a:gd name="T114" fmla="*/ 43 w 154"/>
                <a:gd name="T115" fmla="*/ 112 h 285"/>
                <a:gd name="T116" fmla="*/ 33 w 154"/>
                <a:gd name="T117" fmla="*/ 79 h 285"/>
                <a:gd name="T118" fmla="*/ 25 w 154"/>
                <a:gd name="T119" fmla="*/ 75 h 285"/>
                <a:gd name="T120" fmla="*/ 37 w 154"/>
                <a:gd name="T121" fmla="*/ 137 h 285"/>
                <a:gd name="T122" fmla="*/ 24 w 154"/>
                <a:gd name="T123"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 h="285">
                  <a:moveTo>
                    <a:pt x="79" y="64"/>
                  </a:moveTo>
                  <a:lnTo>
                    <a:pt x="79" y="66"/>
                  </a:lnTo>
                  <a:lnTo>
                    <a:pt x="79" y="64"/>
                  </a:lnTo>
                  <a:lnTo>
                    <a:pt x="79" y="66"/>
                  </a:lnTo>
                  <a:lnTo>
                    <a:pt x="79" y="64"/>
                  </a:lnTo>
                  <a:lnTo>
                    <a:pt x="79" y="66"/>
                  </a:lnTo>
                  <a:lnTo>
                    <a:pt x="79" y="64"/>
                  </a:lnTo>
                  <a:lnTo>
                    <a:pt x="79" y="66"/>
                  </a:lnTo>
                  <a:lnTo>
                    <a:pt x="79" y="64"/>
                  </a:lnTo>
                  <a:lnTo>
                    <a:pt x="79" y="66"/>
                  </a:lnTo>
                  <a:lnTo>
                    <a:pt x="79" y="64"/>
                  </a:lnTo>
                  <a:lnTo>
                    <a:pt x="79" y="66"/>
                  </a:lnTo>
                  <a:lnTo>
                    <a:pt x="79" y="64"/>
                  </a:lnTo>
                  <a:lnTo>
                    <a:pt x="81" y="64"/>
                  </a:lnTo>
                  <a:lnTo>
                    <a:pt x="81" y="66"/>
                  </a:lnTo>
                  <a:lnTo>
                    <a:pt x="83" y="66"/>
                  </a:lnTo>
                  <a:lnTo>
                    <a:pt x="83" y="64"/>
                  </a:lnTo>
                  <a:lnTo>
                    <a:pt x="83" y="66"/>
                  </a:lnTo>
                  <a:lnTo>
                    <a:pt x="83" y="64"/>
                  </a:lnTo>
                  <a:lnTo>
                    <a:pt x="83" y="66"/>
                  </a:lnTo>
                  <a:lnTo>
                    <a:pt x="83" y="68"/>
                  </a:lnTo>
                  <a:lnTo>
                    <a:pt x="83" y="70"/>
                  </a:lnTo>
                  <a:lnTo>
                    <a:pt x="83" y="71"/>
                  </a:lnTo>
                  <a:lnTo>
                    <a:pt x="83" y="70"/>
                  </a:lnTo>
                  <a:lnTo>
                    <a:pt x="83" y="71"/>
                  </a:lnTo>
                  <a:lnTo>
                    <a:pt x="83" y="70"/>
                  </a:lnTo>
                  <a:lnTo>
                    <a:pt x="83" y="71"/>
                  </a:lnTo>
                  <a:lnTo>
                    <a:pt x="83" y="70"/>
                  </a:lnTo>
                  <a:lnTo>
                    <a:pt x="83" y="71"/>
                  </a:lnTo>
                  <a:lnTo>
                    <a:pt x="83" y="70"/>
                  </a:lnTo>
                  <a:lnTo>
                    <a:pt x="83" y="71"/>
                  </a:lnTo>
                  <a:lnTo>
                    <a:pt x="83" y="73"/>
                  </a:lnTo>
                  <a:lnTo>
                    <a:pt x="81" y="73"/>
                  </a:lnTo>
                  <a:lnTo>
                    <a:pt x="81" y="75"/>
                  </a:lnTo>
                  <a:lnTo>
                    <a:pt x="81" y="73"/>
                  </a:lnTo>
                  <a:lnTo>
                    <a:pt x="81" y="75"/>
                  </a:lnTo>
                  <a:lnTo>
                    <a:pt x="79" y="75"/>
                  </a:lnTo>
                  <a:lnTo>
                    <a:pt x="77" y="75"/>
                  </a:lnTo>
                  <a:lnTo>
                    <a:pt x="77" y="77"/>
                  </a:lnTo>
                  <a:lnTo>
                    <a:pt x="77" y="79"/>
                  </a:lnTo>
                  <a:lnTo>
                    <a:pt x="77" y="77"/>
                  </a:lnTo>
                  <a:lnTo>
                    <a:pt x="77" y="79"/>
                  </a:lnTo>
                  <a:lnTo>
                    <a:pt x="75" y="79"/>
                  </a:lnTo>
                  <a:lnTo>
                    <a:pt x="73" y="79"/>
                  </a:lnTo>
                  <a:lnTo>
                    <a:pt x="73" y="81"/>
                  </a:lnTo>
                  <a:lnTo>
                    <a:pt x="72" y="81"/>
                  </a:lnTo>
                  <a:lnTo>
                    <a:pt x="72" y="83"/>
                  </a:lnTo>
                  <a:lnTo>
                    <a:pt x="70" y="83"/>
                  </a:lnTo>
                  <a:lnTo>
                    <a:pt x="70" y="85"/>
                  </a:lnTo>
                  <a:lnTo>
                    <a:pt x="68" y="85"/>
                  </a:lnTo>
                  <a:lnTo>
                    <a:pt x="70" y="85"/>
                  </a:lnTo>
                  <a:lnTo>
                    <a:pt x="70" y="87"/>
                  </a:lnTo>
                  <a:lnTo>
                    <a:pt x="68" y="87"/>
                  </a:lnTo>
                  <a:lnTo>
                    <a:pt x="66" y="87"/>
                  </a:lnTo>
                  <a:lnTo>
                    <a:pt x="64" y="87"/>
                  </a:lnTo>
                  <a:lnTo>
                    <a:pt x="64" y="85"/>
                  </a:lnTo>
                  <a:lnTo>
                    <a:pt x="64" y="87"/>
                  </a:lnTo>
                  <a:lnTo>
                    <a:pt x="66" y="87"/>
                  </a:lnTo>
                  <a:lnTo>
                    <a:pt x="68" y="87"/>
                  </a:lnTo>
                  <a:lnTo>
                    <a:pt x="68" y="89"/>
                  </a:lnTo>
                  <a:lnTo>
                    <a:pt x="70" y="89"/>
                  </a:lnTo>
                  <a:lnTo>
                    <a:pt x="70" y="87"/>
                  </a:lnTo>
                  <a:lnTo>
                    <a:pt x="72" y="87"/>
                  </a:lnTo>
                  <a:lnTo>
                    <a:pt x="70" y="87"/>
                  </a:lnTo>
                  <a:lnTo>
                    <a:pt x="70" y="89"/>
                  </a:lnTo>
                  <a:lnTo>
                    <a:pt x="72" y="89"/>
                  </a:lnTo>
                  <a:lnTo>
                    <a:pt x="72" y="87"/>
                  </a:lnTo>
                  <a:lnTo>
                    <a:pt x="73" y="87"/>
                  </a:lnTo>
                  <a:lnTo>
                    <a:pt x="72" y="87"/>
                  </a:lnTo>
                  <a:lnTo>
                    <a:pt x="73" y="87"/>
                  </a:lnTo>
                  <a:lnTo>
                    <a:pt x="72" y="87"/>
                  </a:lnTo>
                  <a:lnTo>
                    <a:pt x="72" y="89"/>
                  </a:lnTo>
                  <a:lnTo>
                    <a:pt x="72" y="91"/>
                  </a:lnTo>
                  <a:lnTo>
                    <a:pt x="70" y="91"/>
                  </a:lnTo>
                  <a:lnTo>
                    <a:pt x="68" y="91"/>
                  </a:lnTo>
                  <a:lnTo>
                    <a:pt x="66" y="91"/>
                  </a:lnTo>
                  <a:lnTo>
                    <a:pt x="66" y="93"/>
                  </a:lnTo>
                  <a:lnTo>
                    <a:pt x="66" y="91"/>
                  </a:lnTo>
                  <a:lnTo>
                    <a:pt x="66" y="93"/>
                  </a:lnTo>
                  <a:lnTo>
                    <a:pt x="66" y="91"/>
                  </a:lnTo>
                  <a:lnTo>
                    <a:pt x="66" y="93"/>
                  </a:lnTo>
                  <a:lnTo>
                    <a:pt x="64" y="93"/>
                  </a:lnTo>
                  <a:lnTo>
                    <a:pt x="66" y="93"/>
                  </a:lnTo>
                  <a:lnTo>
                    <a:pt x="64" y="93"/>
                  </a:lnTo>
                  <a:lnTo>
                    <a:pt x="64" y="95"/>
                  </a:lnTo>
                  <a:lnTo>
                    <a:pt x="64" y="93"/>
                  </a:lnTo>
                  <a:lnTo>
                    <a:pt x="66" y="93"/>
                  </a:lnTo>
                  <a:lnTo>
                    <a:pt x="68" y="93"/>
                  </a:lnTo>
                  <a:lnTo>
                    <a:pt x="70" y="93"/>
                  </a:lnTo>
                  <a:lnTo>
                    <a:pt x="70" y="91"/>
                  </a:lnTo>
                  <a:lnTo>
                    <a:pt x="70" y="93"/>
                  </a:lnTo>
                  <a:lnTo>
                    <a:pt x="68" y="93"/>
                  </a:lnTo>
                  <a:lnTo>
                    <a:pt x="68" y="95"/>
                  </a:lnTo>
                  <a:lnTo>
                    <a:pt x="66" y="95"/>
                  </a:lnTo>
                  <a:lnTo>
                    <a:pt x="66" y="96"/>
                  </a:lnTo>
                  <a:lnTo>
                    <a:pt x="64" y="96"/>
                  </a:lnTo>
                  <a:lnTo>
                    <a:pt x="66" y="96"/>
                  </a:lnTo>
                  <a:lnTo>
                    <a:pt x="68" y="96"/>
                  </a:lnTo>
                  <a:lnTo>
                    <a:pt x="68" y="95"/>
                  </a:lnTo>
                  <a:lnTo>
                    <a:pt x="70" y="95"/>
                  </a:lnTo>
                  <a:lnTo>
                    <a:pt x="68" y="95"/>
                  </a:lnTo>
                  <a:lnTo>
                    <a:pt x="70" y="95"/>
                  </a:lnTo>
                  <a:lnTo>
                    <a:pt x="72" y="95"/>
                  </a:lnTo>
                  <a:lnTo>
                    <a:pt x="72" y="93"/>
                  </a:lnTo>
                  <a:lnTo>
                    <a:pt x="73" y="93"/>
                  </a:lnTo>
                  <a:lnTo>
                    <a:pt x="72" y="93"/>
                  </a:lnTo>
                  <a:lnTo>
                    <a:pt x="72" y="95"/>
                  </a:lnTo>
                  <a:lnTo>
                    <a:pt x="72" y="93"/>
                  </a:lnTo>
                  <a:lnTo>
                    <a:pt x="73" y="93"/>
                  </a:lnTo>
                  <a:lnTo>
                    <a:pt x="75" y="93"/>
                  </a:lnTo>
                  <a:lnTo>
                    <a:pt x="77" y="93"/>
                  </a:lnTo>
                  <a:lnTo>
                    <a:pt x="77" y="91"/>
                  </a:lnTo>
                  <a:lnTo>
                    <a:pt x="79" y="91"/>
                  </a:lnTo>
                  <a:lnTo>
                    <a:pt x="81" y="91"/>
                  </a:lnTo>
                  <a:lnTo>
                    <a:pt x="79" y="91"/>
                  </a:lnTo>
                  <a:lnTo>
                    <a:pt x="81" y="91"/>
                  </a:lnTo>
                  <a:lnTo>
                    <a:pt x="79" y="91"/>
                  </a:lnTo>
                  <a:lnTo>
                    <a:pt x="81" y="91"/>
                  </a:lnTo>
                  <a:lnTo>
                    <a:pt x="83" y="91"/>
                  </a:lnTo>
                  <a:lnTo>
                    <a:pt x="83" y="93"/>
                  </a:lnTo>
                  <a:lnTo>
                    <a:pt x="85" y="93"/>
                  </a:lnTo>
                  <a:lnTo>
                    <a:pt x="85" y="91"/>
                  </a:lnTo>
                  <a:lnTo>
                    <a:pt x="87" y="91"/>
                  </a:lnTo>
                  <a:lnTo>
                    <a:pt x="89" y="91"/>
                  </a:lnTo>
                  <a:lnTo>
                    <a:pt x="91" y="91"/>
                  </a:lnTo>
                  <a:lnTo>
                    <a:pt x="91" y="93"/>
                  </a:lnTo>
                  <a:lnTo>
                    <a:pt x="91" y="91"/>
                  </a:lnTo>
                  <a:lnTo>
                    <a:pt x="91" y="93"/>
                  </a:lnTo>
                  <a:lnTo>
                    <a:pt x="91" y="91"/>
                  </a:lnTo>
                  <a:lnTo>
                    <a:pt x="91" y="93"/>
                  </a:lnTo>
                  <a:lnTo>
                    <a:pt x="91" y="91"/>
                  </a:lnTo>
                  <a:lnTo>
                    <a:pt x="91" y="93"/>
                  </a:lnTo>
                  <a:lnTo>
                    <a:pt x="91" y="91"/>
                  </a:lnTo>
                  <a:lnTo>
                    <a:pt x="91" y="93"/>
                  </a:lnTo>
                  <a:lnTo>
                    <a:pt x="93" y="93"/>
                  </a:lnTo>
                  <a:lnTo>
                    <a:pt x="95" y="93"/>
                  </a:lnTo>
                  <a:lnTo>
                    <a:pt x="95" y="91"/>
                  </a:lnTo>
                  <a:lnTo>
                    <a:pt x="95" y="93"/>
                  </a:lnTo>
                  <a:lnTo>
                    <a:pt x="95" y="91"/>
                  </a:lnTo>
                  <a:lnTo>
                    <a:pt x="95" y="93"/>
                  </a:lnTo>
                  <a:lnTo>
                    <a:pt x="96" y="93"/>
                  </a:lnTo>
                  <a:lnTo>
                    <a:pt x="96" y="91"/>
                  </a:lnTo>
                  <a:lnTo>
                    <a:pt x="96" y="93"/>
                  </a:lnTo>
                  <a:lnTo>
                    <a:pt x="96" y="91"/>
                  </a:lnTo>
                  <a:lnTo>
                    <a:pt x="96" y="93"/>
                  </a:lnTo>
                  <a:lnTo>
                    <a:pt x="96" y="91"/>
                  </a:lnTo>
                  <a:lnTo>
                    <a:pt x="98" y="91"/>
                  </a:lnTo>
                  <a:lnTo>
                    <a:pt x="98" y="93"/>
                  </a:lnTo>
                  <a:lnTo>
                    <a:pt x="100" y="93"/>
                  </a:lnTo>
                  <a:lnTo>
                    <a:pt x="100" y="91"/>
                  </a:lnTo>
                  <a:lnTo>
                    <a:pt x="100" y="93"/>
                  </a:lnTo>
                  <a:lnTo>
                    <a:pt x="100" y="91"/>
                  </a:lnTo>
                  <a:lnTo>
                    <a:pt x="100" y="93"/>
                  </a:lnTo>
                  <a:lnTo>
                    <a:pt x="102" y="93"/>
                  </a:lnTo>
                  <a:lnTo>
                    <a:pt x="102" y="95"/>
                  </a:lnTo>
                  <a:lnTo>
                    <a:pt x="100" y="95"/>
                  </a:lnTo>
                  <a:lnTo>
                    <a:pt x="102" y="95"/>
                  </a:lnTo>
                  <a:lnTo>
                    <a:pt x="100" y="95"/>
                  </a:lnTo>
                  <a:lnTo>
                    <a:pt x="102" y="95"/>
                  </a:lnTo>
                  <a:lnTo>
                    <a:pt x="100" y="95"/>
                  </a:lnTo>
                  <a:lnTo>
                    <a:pt x="102" y="95"/>
                  </a:lnTo>
                  <a:lnTo>
                    <a:pt x="102" y="96"/>
                  </a:lnTo>
                  <a:lnTo>
                    <a:pt x="102" y="98"/>
                  </a:lnTo>
                  <a:lnTo>
                    <a:pt x="100" y="98"/>
                  </a:lnTo>
                  <a:lnTo>
                    <a:pt x="100" y="100"/>
                  </a:lnTo>
                  <a:lnTo>
                    <a:pt x="98" y="100"/>
                  </a:lnTo>
                  <a:lnTo>
                    <a:pt x="100" y="100"/>
                  </a:lnTo>
                  <a:lnTo>
                    <a:pt x="98" y="100"/>
                  </a:lnTo>
                  <a:lnTo>
                    <a:pt x="98" y="102"/>
                  </a:lnTo>
                  <a:lnTo>
                    <a:pt x="98" y="104"/>
                  </a:lnTo>
                  <a:lnTo>
                    <a:pt x="98" y="106"/>
                  </a:lnTo>
                  <a:lnTo>
                    <a:pt x="96" y="106"/>
                  </a:lnTo>
                  <a:lnTo>
                    <a:pt x="98" y="106"/>
                  </a:lnTo>
                  <a:lnTo>
                    <a:pt x="96" y="106"/>
                  </a:lnTo>
                  <a:lnTo>
                    <a:pt x="98" y="106"/>
                  </a:lnTo>
                  <a:lnTo>
                    <a:pt x="96" y="106"/>
                  </a:lnTo>
                  <a:lnTo>
                    <a:pt x="98" y="106"/>
                  </a:lnTo>
                  <a:lnTo>
                    <a:pt x="96" y="106"/>
                  </a:lnTo>
                  <a:lnTo>
                    <a:pt x="98" y="106"/>
                  </a:lnTo>
                  <a:lnTo>
                    <a:pt x="98" y="108"/>
                  </a:lnTo>
                  <a:lnTo>
                    <a:pt x="98" y="106"/>
                  </a:lnTo>
                  <a:lnTo>
                    <a:pt x="98" y="108"/>
                  </a:lnTo>
                  <a:lnTo>
                    <a:pt x="96" y="108"/>
                  </a:lnTo>
                  <a:lnTo>
                    <a:pt x="96" y="110"/>
                  </a:lnTo>
                  <a:lnTo>
                    <a:pt x="96" y="112"/>
                  </a:lnTo>
                  <a:lnTo>
                    <a:pt x="96" y="114"/>
                  </a:lnTo>
                  <a:lnTo>
                    <a:pt x="95" y="114"/>
                  </a:lnTo>
                  <a:lnTo>
                    <a:pt x="96" y="114"/>
                  </a:lnTo>
                  <a:lnTo>
                    <a:pt x="95" y="114"/>
                  </a:lnTo>
                  <a:lnTo>
                    <a:pt x="96" y="114"/>
                  </a:lnTo>
                  <a:lnTo>
                    <a:pt x="95" y="114"/>
                  </a:lnTo>
                  <a:lnTo>
                    <a:pt x="96" y="114"/>
                  </a:lnTo>
                  <a:lnTo>
                    <a:pt x="95" y="114"/>
                  </a:lnTo>
                  <a:lnTo>
                    <a:pt x="95" y="116"/>
                  </a:lnTo>
                  <a:lnTo>
                    <a:pt x="95" y="114"/>
                  </a:lnTo>
                  <a:lnTo>
                    <a:pt x="95" y="116"/>
                  </a:lnTo>
                  <a:lnTo>
                    <a:pt x="93" y="116"/>
                  </a:lnTo>
                  <a:lnTo>
                    <a:pt x="93" y="118"/>
                  </a:lnTo>
                  <a:lnTo>
                    <a:pt x="93" y="116"/>
                  </a:lnTo>
                  <a:lnTo>
                    <a:pt x="93" y="118"/>
                  </a:lnTo>
                  <a:lnTo>
                    <a:pt x="93" y="116"/>
                  </a:lnTo>
                  <a:lnTo>
                    <a:pt x="93" y="118"/>
                  </a:lnTo>
                  <a:lnTo>
                    <a:pt x="93" y="116"/>
                  </a:lnTo>
                  <a:lnTo>
                    <a:pt x="93" y="118"/>
                  </a:lnTo>
                  <a:lnTo>
                    <a:pt x="93" y="120"/>
                  </a:lnTo>
                  <a:lnTo>
                    <a:pt x="91" y="120"/>
                  </a:lnTo>
                  <a:lnTo>
                    <a:pt x="93" y="120"/>
                  </a:lnTo>
                  <a:lnTo>
                    <a:pt x="91" y="120"/>
                  </a:lnTo>
                  <a:lnTo>
                    <a:pt x="91" y="121"/>
                  </a:lnTo>
                  <a:lnTo>
                    <a:pt x="89" y="121"/>
                  </a:lnTo>
                  <a:lnTo>
                    <a:pt x="89" y="123"/>
                  </a:lnTo>
                  <a:lnTo>
                    <a:pt x="89" y="125"/>
                  </a:lnTo>
                  <a:lnTo>
                    <a:pt x="87" y="125"/>
                  </a:lnTo>
                  <a:lnTo>
                    <a:pt x="87" y="123"/>
                  </a:lnTo>
                  <a:lnTo>
                    <a:pt x="87" y="125"/>
                  </a:lnTo>
                  <a:lnTo>
                    <a:pt x="85" y="125"/>
                  </a:lnTo>
                  <a:lnTo>
                    <a:pt x="87" y="125"/>
                  </a:lnTo>
                  <a:lnTo>
                    <a:pt x="85" y="125"/>
                  </a:lnTo>
                  <a:lnTo>
                    <a:pt x="85" y="123"/>
                  </a:lnTo>
                  <a:lnTo>
                    <a:pt x="85" y="125"/>
                  </a:lnTo>
                  <a:lnTo>
                    <a:pt x="85" y="123"/>
                  </a:lnTo>
                  <a:lnTo>
                    <a:pt x="85" y="125"/>
                  </a:lnTo>
                  <a:lnTo>
                    <a:pt x="83" y="125"/>
                  </a:lnTo>
                  <a:lnTo>
                    <a:pt x="81" y="125"/>
                  </a:lnTo>
                  <a:lnTo>
                    <a:pt x="81" y="127"/>
                  </a:lnTo>
                  <a:lnTo>
                    <a:pt x="79" y="127"/>
                  </a:lnTo>
                  <a:lnTo>
                    <a:pt x="81" y="127"/>
                  </a:lnTo>
                  <a:lnTo>
                    <a:pt x="83" y="127"/>
                  </a:lnTo>
                  <a:lnTo>
                    <a:pt x="83" y="125"/>
                  </a:lnTo>
                  <a:lnTo>
                    <a:pt x="85" y="125"/>
                  </a:lnTo>
                  <a:lnTo>
                    <a:pt x="87" y="125"/>
                  </a:lnTo>
                  <a:lnTo>
                    <a:pt x="87" y="127"/>
                  </a:lnTo>
                  <a:lnTo>
                    <a:pt x="85" y="127"/>
                  </a:lnTo>
                  <a:lnTo>
                    <a:pt x="87" y="127"/>
                  </a:lnTo>
                  <a:lnTo>
                    <a:pt x="89" y="127"/>
                  </a:lnTo>
                  <a:lnTo>
                    <a:pt x="89" y="129"/>
                  </a:lnTo>
                  <a:lnTo>
                    <a:pt x="91" y="129"/>
                  </a:lnTo>
                  <a:lnTo>
                    <a:pt x="89" y="129"/>
                  </a:lnTo>
                  <a:lnTo>
                    <a:pt x="89" y="131"/>
                  </a:lnTo>
                  <a:lnTo>
                    <a:pt x="87" y="131"/>
                  </a:lnTo>
                  <a:lnTo>
                    <a:pt x="85" y="131"/>
                  </a:lnTo>
                  <a:lnTo>
                    <a:pt x="83" y="131"/>
                  </a:lnTo>
                  <a:lnTo>
                    <a:pt x="85" y="131"/>
                  </a:lnTo>
                  <a:lnTo>
                    <a:pt x="83" y="131"/>
                  </a:lnTo>
                  <a:lnTo>
                    <a:pt x="83" y="133"/>
                  </a:lnTo>
                  <a:lnTo>
                    <a:pt x="81" y="133"/>
                  </a:lnTo>
                  <a:lnTo>
                    <a:pt x="81" y="135"/>
                  </a:lnTo>
                  <a:lnTo>
                    <a:pt x="79" y="135"/>
                  </a:lnTo>
                  <a:lnTo>
                    <a:pt x="79" y="137"/>
                  </a:lnTo>
                  <a:lnTo>
                    <a:pt x="79" y="135"/>
                  </a:lnTo>
                  <a:lnTo>
                    <a:pt x="79" y="137"/>
                  </a:lnTo>
                  <a:lnTo>
                    <a:pt x="79" y="135"/>
                  </a:lnTo>
                  <a:lnTo>
                    <a:pt x="79" y="137"/>
                  </a:lnTo>
                  <a:lnTo>
                    <a:pt x="77" y="137"/>
                  </a:lnTo>
                  <a:lnTo>
                    <a:pt x="79" y="137"/>
                  </a:lnTo>
                  <a:lnTo>
                    <a:pt x="77" y="137"/>
                  </a:lnTo>
                  <a:lnTo>
                    <a:pt x="77" y="135"/>
                  </a:lnTo>
                  <a:lnTo>
                    <a:pt x="75" y="135"/>
                  </a:lnTo>
                  <a:lnTo>
                    <a:pt x="73" y="135"/>
                  </a:lnTo>
                  <a:lnTo>
                    <a:pt x="73" y="133"/>
                  </a:lnTo>
                  <a:lnTo>
                    <a:pt x="72" y="133"/>
                  </a:lnTo>
                  <a:lnTo>
                    <a:pt x="72" y="135"/>
                  </a:lnTo>
                  <a:lnTo>
                    <a:pt x="73" y="135"/>
                  </a:lnTo>
                  <a:lnTo>
                    <a:pt x="73" y="137"/>
                  </a:lnTo>
                  <a:lnTo>
                    <a:pt x="73" y="135"/>
                  </a:lnTo>
                  <a:lnTo>
                    <a:pt x="73" y="137"/>
                  </a:lnTo>
                  <a:lnTo>
                    <a:pt x="75" y="137"/>
                  </a:lnTo>
                  <a:lnTo>
                    <a:pt x="77" y="137"/>
                  </a:lnTo>
                  <a:lnTo>
                    <a:pt x="79" y="137"/>
                  </a:lnTo>
                  <a:lnTo>
                    <a:pt x="81" y="137"/>
                  </a:lnTo>
                  <a:lnTo>
                    <a:pt x="83" y="137"/>
                  </a:lnTo>
                  <a:lnTo>
                    <a:pt x="83" y="139"/>
                  </a:lnTo>
                  <a:lnTo>
                    <a:pt x="83" y="137"/>
                  </a:lnTo>
                  <a:lnTo>
                    <a:pt x="85" y="137"/>
                  </a:lnTo>
                  <a:lnTo>
                    <a:pt x="87" y="137"/>
                  </a:lnTo>
                  <a:lnTo>
                    <a:pt x="87" y="135"/>
                  </a:lnTo>
                  <a:lnTo>
                    <a:pt x="89" y="135"/>
                  </a:lnTo>
                  <a:lnTo>
                    <a:pt x="91" y="135"/>
                  </a:lnTo>
                  <a:lnTo>
                    <a:pt x="91" y="137"/>
                  </a:lnTo>
                  <a:lnTo>
                    <a:pt x="93" y="137"/>
                  </a:lnTo>
                  <a:lnTo>
                    <a:pt x="93" y="139"/>
                  </a:lnTo>
                  <a:lnTo>
                    <a:pt x="95" y="139"/>
                  </a:lnTo>
                  <a:lnTo>
                    <a:pt x="96" y="139"/>
                  </a:lnTo>
                  <a:lnTo>
                    <a:pt x="96" y="141"/>
                  </a:lnTo>
                  <a:lnTo>
                    <a:pt x="98" y="141"/>
                  </a:lnTo>
                  <a:lnTo>
                    <a:pt x="98" y="143"/>
                  </a:lnTo>
                  <a:lnTo>
                    <a:pt x="98" y="144"/>
                  </a:lnTo>
                  <a:lnTo>
                    <a:pt x="100" y="144"/>
                  </a:lnTo>
                  <a:lnTo>
                    <a:pt x="100" y="146"/>
                  </a:lnTo>
                  <a:lnTo>
                    <a:pt x="102" y="146"/>
                  </a:lnTo>
                  <a:lnTo>
                    <a:pt x="104" y="146"/>
                  </a:lnTo>
                  <a:lnTo>
                    <a:pt x="104" y="148"/>
                  </a:lnTo>
                  <a:lnTo>
                    <a:pt x="104" y="150"/>
                  </a:lnTo>
                  <a:lnTo>
                    <a:pt x="104" y="152"/>
                  </a:lnTo>
                  <a:lnTo>
                    <a:pt x="104" y="154"/>
                  </a:lnTo>
                  <a:lnTo>
                    <a:pt x="106" y="154"/>
                  </a:lnTo>
                  <a:lnTo>
                    <a:pt x="104" y="154"/>
                  </a:lnTo>
                  <a:lnTo>
                    <a:pt x="104" y="156"/>
                  </a:lnTo>
                  <a:lnTo>
                    <a:pt x="106" y="156"/>
                  </a:lnTo>
                  <a:lnTo>
                    <a:pt x="106" y="158"/>
                  </a:lnTo>
                  <a:lnTo>
                    <a:pt x="106" y="160"/>
                  </a:lnTo>
                  <a:lnTo>
                    <a:pt x="106" y="162"/>
                  </a:lnTo>
                  <a:lnTo>
                    <a:pt x="108" y="162"/>
                  </a:lnTo>
                  <a:lnTo>
                    <a:pt x="106" y="162"/>
                  </a:lnTo>
                  <a:lnTo>
                    <a:pt x="108" y="162"/>
                  </a:lnTo>
                  <a:lnTo>
                    <a:pt x="106" y="162"/>
                  </a:lnTo>
                  <a:lnTo>
                    <a:pt x="108" y="162"/>
                  </a:lnTo>
                  <a:lnTo>
                    <a:pt x="106" y="162"/>
                  </a:lnTo>
                  <a:lnTo>
                    <a:pt x="108" y="162"/>
                  </a:lnTo>
                  <a:lnTo>
                    <a:pt x="108" y="164"/>
                  </a:lnTo>
                  <a:lnTo>
                    <a:pt x="108" y="162"/>
                  </a:lnTo>
                  <a:lnTo>
                    <a:pt x="108" y="164"/>
                  </a:lnTo>
                  <a:lnTo>
                    <a:pt x="108" y="166"/>
                  </a:lnTo>
                  <a:lnTo>
                    <a:pt x="108" y="168"/>
                  </a:lnTo>
                  <a:lnTo>
                    <a:pt x="108" y="166"/>
                  </a:lnTo>
                  <a:lnTo>
                    <a:pt x="108" y="168"/>
                  </a:lnTo>
                  <a:lnTo>
                    <a:pt x="110" y="168"/>
                  </a:lnTo>
                  <a:lnTo>
                    <a:pt x="110" y="169"/>
                  </a:lnTo>
                  <a:lnTo>
                    <a:pt x="110" y="171"/>
                  </a:lnTo>
                  <a:lnTo>
                    <a:pt x="112" y="171"/>
                  </a:lnTo>
                  <a:lnTo>
                    <a:pt x="110" y="171"/>
                  </a:lnTo>
                  <a:lnTo>
                    <a:pt x="112" y="171"/>
                  </a:lnTo>
                  <a:lnTo>
                    <a:pt x="110" y="171"/>
                  </a:lnTo>
                  <a:lnTo>
                    <a:pt x="112" y="171"/>
                  </a:lnTo>
                  <a:lnTo>
                    <a:pt x="110" y="171"/>
                  </a:lnTo>
                  <a:lnTo>
                    <a:pt x="112" y="171"/>
                  </a:lnTo>
                  <a:lnTo>
                    <a:pt x="110" y="171"/>
                  </a:lnTo>
                  <a:lnTo>
                    <a:pt x="112" y="171"/>
                  </a:lnTo>
                  <a:lnTo>
                    <a:pt x="112" y="173"/>
                  </a:lnTo>
                  <a:lnTo>
                    <a:pt x="112" y="171"/>
                  </a:lnTo>
                  <a:lnTo>
                    <a:pt x="112" y="173"/>
                  </a:lnTo>
                  <a:lnTo>
                    <a:pt x="114" y="173"/>
                  </a:lnTo>
                  <a:lnTo>
                    <a:pt x="116" y="173"/>
                  </a:lnTo>
                  <a:lnTo>
                    <a:pt x="118" y="173"/>
                  </a:lnTo>
                  <a:lnTo>
                    <a:pt x="118" y="175"/>
                  </a:lnTo>
                  <a:lnTo>
                    <a:pt x="118" y="173"/>
                  </a:lnTo>
                  <a:lnTo>
                    <a:pt x="118" y="175"/>
                  </a:lnTo>
                  <a:lnTo>
                    <a:pt x="119" y="175"/>
                  </a:lnTo>
                  <a:lnTo>
                    <a:pt x="119" y="177"/>
                  </a:lnTo>
                  <a:lnTo>
                    <a:pt x="121" y="177"/>
                  </a:lnTo>
                  <a:lnTo>
                    <a:pt x="121" y="179"/>
                  </a:lnTo>
                  <a:lnTo>
                    <a:pt x="121" y="181"/>
                  </a:lnTo>
                  <a:lnTo>
                    <a:pt x="123" y="181"/>
                  </a:lnTo>
                  <a:lnTo>
                    <a:pt x="123" y="183"/>
                  </a:lnTo>
                  <a:lnTo>
                    <a:pt x="125" y="183"/>
                  </a:lnTo>
                  <a:lnTo>
                    <a:pt x="125" y="185"/>
                  </a:lnTo>
                  <a:lnTo>
                    <a:pt x="127" y="185"/>
                  </a:lnTo>
                  <a:lnTo>
                    <a:pt x="125" y="185"/>
                  </a:lnTo>
                  <a:lnTo>
                    <a:pt x="125" y="187"/>
                  </a:lnTo>
                  <a:lnTo>
                    <a:pt x="125" y="189"/>
                  </a:lnTo>
                  <a:lnTo>
                    <a:pt x="125" y="191"/>
                  </a:lnTo>
                  <a:lnTo>
                    <a:pt x="127" y="191"/>
                  </a:lnTo>
                  <a:lnTo>
                    <a:pt x="127" y="192"/>
                  </a:lnTo>
                  <a:lnTo>
                    <a:pt x="127" y="194"/>
                  </a:lnTo>
                  <a:lnTo>
                    <a:pt x="129" y="194"/>
                  </a:lnTo>
                  <a:lnTo>
                    <a:pt x="129" y="196"/>
                  </a:lnTo>
                  <a:lnTo>
                    <a:pt x="131" y="196"/>
                  </a:lnTo>
                  <a:lnTo>
                    <a:pt x="131" y="198"/>
                  </a:lnTo>
                  <a:lnTo>
                    <a:pt x="129" y="198"/>
                  </a:lnTo>
                  <a:lnTo>
                    <a:pt x="131" y="198"/>
                  </a:lnTo>
                  <a:lnTo>
                    <a:pt x="129" y="198"/>
                  </a:lnTo>
                  <a:lnTo>
                    <a:pt x="129" y="196"/>
                  </a:lnTo>
                  <a:lnTo>
                    <a:pt x="127" y="196"/>
                  </a:lnTo>
                  <a:lnTo>
                    <a:pt x="125" y="196"/>
                  </a:lnTo>
                  <a:lnTo>
                    <a:pt x="125" y="194"/>
                  </a:lnTo>
                  <a:lnTo>
                    <a:pt x="123" y="194"/>
                  </a:lnTo>
                  <a:lnTo>
                    <a:pt x="121" y="194"/>
                  </a:lnTo>
                  <a:lnTo>
                    <a:pt x="119" y="194"/>
                  </a:lnTo>
                  <a:lnTo>
                    <a:pt x="119" y="196"/>
                  </a:lnTo>
                  <a:lnTo>
                    <a:pt x="119" y="194"/>
                  </a:lnTo>
                  <a:lnTo>
                    <a:pt x="119" y="196"/>
                  </a:lnTo>
                  <a:lnTo>
                    <a:pt x="121" y="196"/>
                  </a:lnTo>
                  <a:lnTo>
                    <a:pt x="121" y="194"/>
                  </a:lnTo>
                  <a:lnTo>
                    <a:pt x="123" y="194"/>
                  </a:lnTo>
                  <a:lnTo>
                    <a:pt x="123" y="196"/>
                  </a:lnTo>
                  <a:lnTo>
                    <a:pt x="125" y="196"/>
                  </a:lnTo>
                  <a:lnTo>
                    <a:pt x="125" y="198"/>
                  </a:lnTo>
                  <a:lnTo>
                    <a:pt x="127" y="198"/>
                  </a:lnTo>
                  <a:lnTo>
                    <a:pt x="127" y="200"/>
                  </a:lnTo>
                  <a:lnTo>
                    <a:pt x="129" y="200"/>
                  </a:lnTo>
                  <a:lnTo>
                    <a:pt x="131" y="200"/>
                  </a:lnTo>
                  <a:lnTo>
                    <a:pt x="129" y="200"/>
                  </a:lnTo>
                  <a:lnTo>
                    <a:pt x="131" y="200"/>
                  </a:lnTo>
                  <a:lnTo>
                    <a:pt x="131" y="202"/>
                  </a:lnTo>
                  <a:lnTo>
                    <a:pt x="131" y="204"/>
                  </a:lnTo>
                  <a:lnTo>
                    <a:pt x="133" y="204"/>
                  </a:lnTo>
                  <a:lnTo>
                    <a:pt x="133" y="206"/>
                  </a:lnTo>
                  <a:lnTo>
                    <a:pt x="133" y="208"/>
                  </a:lnTo>
                  <a:lnTo>
                    <a:pt x="133" y="210"/>
                  </a:lnTo>
                  <a:lnTo>
                    <a:pt x="131" y="210"/>
                  </a:lnTo>
                  <a:lnTo>
                    <a:pt x="131" y="212"/>
                  </a:lnTo>
                  <a:lnTo>
                    <a:pt x="129" y="212"/>
                  </a:lnTo>
                  <a:lnTo>
                    <a:pt x="129" y="214"/>
                  </a:lnTo>
                  <a:lnTo>
                    <a:pt x="129" y="216"/>
                  </a:lnTo>
                  <a:lnTo>
                    <a:pt x="131" y="216"/>
                  </a:lnTo>
                  <a:lnTo>
                    <a:pt x="131" y="217"/>
                  </a:lnTo>
                  <a:lnTo>
                    <a:pt x="133" y="217"/>
                  </a:lnTo>
                  <a:lnTo>
                    <a:pt x="133" y="216"/>
                  </a:lnTo>
                  <a:lnTo>
                    <a:pt x="135" y="216"/>
                  </a:lnTo>
                  <a:lnTo>
                    <a:pt x="135" y="214"/>
                  </a:lnTo>
                  <a:lnTo>
                    <a:pt x="137" y="214"/>
                  </a:lnTo>
                  <a:lnTo>
                    <a:pt x="135" y="214"/>
                  </a:lnTo>
                  <a:lnTo>
                    <a:pt x="137" y="214"/>
                  </a:lnTo>
                  <a:lnTo>
                    <a:pt x="137" y="212"/>
                  </a:lnTo>
                  <a:lnTo>
                    <a:pt x="139" y="212"/>
                  </a:lnTo>
                  <a:lnTo>
                    <a:pt x="139" y="214"/>
                  </a:lnTo>
                  <a:lnTo>
                    <a:pt x="141" y="214"/>
                  </a:lnTo>
                  <a:lnTo>
                    <a:pt x="143" y="214"/>
                  </a:lnTo>
                  <a:lnTo>
                    <a:pt x="144" y="214"/>
                  </a:lnTo>
                  <a:lnTo>
                    <a:pt x="146" y="214"/>
                  </a:lnTo>
                  <a:lnTo>
                    <a:pt x="148" y="214"/>
                  </a:lnTo>
                  <a:lnTo>
                    <a:pt x="148" y="216"/>
                  </a:lnTo>
                  <a:lnTo>
                    <a:pt x="150" y="216"/>
                  </a:lnTo>
                  <a:lnTo>
                    <a:pt x="150" y="217"/>
                  </a:lnTo>
                  <a:lnTo>
                    <a:pt x="152" y="217"/>
                  </a:lnTo>
                  <a:lnTo>
                    <a:pt x="152" y="219"/>
                  </a:lnTo>
                  <a:lnTo>
                    <a:pt x="154" y="219"/>
                  </a:lnTo>
                  <a:lnTo>
                    <a:pt x="154" y="221"/>
                  </a:lnTo>
                  <a:lnTo>
                    <a:pt x="154" y="223"/>
                  </a:lnTo>
                  <a:lnTo>
                    <a:pt x="154" y="225"/>
                  </a:lnTo>
                  <a:lnTo>
                    <a:pt x="154" y="227"/>
                  </a:lnTo>
                  <a:lnTo>
                    <a:pt x="152" y="227"/>
                  </a:lnTo>
                  <a:lnTo>
                    <a:pt x="152" y="229"/>
                  </a:lnTo>
                  <a:lnTo>
                    <a:pt x="152" y="231"/>
                  </a:lnTo>
                  <a:lnTo>
                    <a:pt x="152" y="233"/>
                  </a:lnTo>
                  <a:lnTo>
                    <a:pt x="150" y="233"/>
                  </a:lnTo>
                  <a:lnTo>
                    <a:pt x="150" y="235"/>
                  </a:lnTo>
                  <a:lnTo>
                    <a:pt x="148" y="235"/>
                  </a:lnTo>
                  <a:lnTo>
                    <a:pt x="148" y="237"/>
                  </a:lnTo>
                  <a:lnTo>
                    <a:pt x="148" y="239"/>
                  </a:lnTo>
                  <a:lnTo>
                    <a:pt x="146" y="239"/>
                  </a:lnTo>
                  <a:lnTo>
                    <a:pt x="146" y="237"/>
                  </a:lnTo>
                  <a:lnTo>
                    <a:pt x="144" y="237"/>
                  </a:lnTo>
                  <a:lnTo>
                    <a:pt x="144" y="239"/>
                  </a:lnTo>
                  <a:lnTo>
                    <a:pt x="144" y="237"/>
                  </a:lnTo>
                  <a:lnTo>
                    <a:pt x="144" y="239"/>
                  </a:lnTo>
                  <a:lnTo>
                    <a:pt x="146" y="239"/>
                  </a:lnTo>
                  <a:lnTo>
                    <a:pt x="146" y="237"/>
                  </a:lnTo>
                  <a:lnTo>
                    <a:pt x="146" y="239"/>
                  </a:lnTo>
                  <a:lnTo>
                    <a:pt x="146" y="237"/>
                  </a:lnTo>
                  <a:lnTo>
                    <a:pt x="146" y="239"/>
                  </a:lnTo>
                  <a:lnTo>
                    <a:pt x="146" y="237"/>
                  </a:lnTo>
                  <a:lnTo>
                    <a:pt x="146" y="239"/>
                  </a:lnTo>
                  <a:lnTo>
                    <a:pt x="146" y="237"/>
                  </a:lnTo>
                  <a:lnTo>
                    <a:pt x="146" y="239"/>
                  </a:lnTo>
                  <a:lnTo>
                    <a:pt x="146" y="241"/>
                  </a:lnTo>
                  <a:lnTo>
                    <a:pt x="144" y="241"/>
                  </a:lnTo>
                  <a:lnTo>
                    <a:pt x="144" y="242"/>
                  </a:lnTo>
                  <a:lnTo>
                    <a:pt x="143" y="242"/>
                  </a:lnTo>
                  <a:lnTo>
                    <a:pt x="143" y="241"/>
                  </a:lnTo>
                  <a:lnTo>
                    <a:pt x="143" y="242"/>
                  </a:lnTo>
                  <a:lnTo>
                    <a:pt x="141" y="242"/>
                  </a:lnTo>
                  <a:lnTo>
                    <a:pt x="139" y="242"/>
                  </a:lnTo>
                  <a:lnTo>
                    <a:pt x="141" y="242"/>
                  </a:lnTo>
                  <a:lnTo>
                    <a:pt x="143" y="242"/>
                  </a:lnTo>
                  <a:lnTo>
                    <a:pt x="143" y="244"/>
                  </a:lnTo>
                  <a:lnTo>
                    <a:pt x="141" y="244"/>
                  </a:lnTo>
                  <a:lnTo>
                    <a:pt x="141" y="246"/>
                  </a:lnTo>
                  <a:lnTo>
                    <a:pt x="143" y="244"/>
                  </a:lnTo>
                  <a:lnTo>
                    <a:pt x="143" y="246"/>
                  </a:lnTo>
                  <a:lnTo>
                    <a:pt x="141" y="246"/>
                  </a:lnTo>
                  <a:lnTo>
                    <a:pt x="141" y="248"/>
                  </a:lnTo>
                  <a:lnTo>
                    <a:pt x="139" y="248"/>
                  </a:lnTo>
                  <a:lnTo>
                    <a:pt x="139" y="246"/>
                  </a:lnTo>
                  <a:lnTo>
                    <a:pt x="137" y="246"/>
                  </a:lnTo>
                  <a:lnTo>
                    <a:pt x="137" y="248"/>
                  </a:lnTo>
                  <a:lnTo>
                    <a:pt x="135" y="248"/>
                  </a:lnTo>
                  <a:lnTo>
                    <a:pt x="137" y="248"/>
                  </a:lnTo>
                  <a:lnTo>
                    <a:pt x="135" y="248"/>
                  </a:lnTo>
                  <a:lnTo>
                    <a:pt x="137" y="248"/>
                  </a:lnTo>
                  <a:lnTo>
                    <a:pt x="139" y="248"/>
                  </a:lnTo>
                  <a:lnTo>
                    <a:pt x="137" y="248"/>
                  </a:lnTo>
                  <a:lnTo>
                    <a:pt x="139" y="248"/>
                  </a:lnTo>
                  <a:lnTo>
                    <a:pt x="139" y="250"/>
                  </a:lnTo>
                  <a:lnTo>
                    <a:pt x="137" y="250"/>
                  </a:lnTo>
                  <a:lnTo>
                    <a:pt x="139" y="250"/>
                  </a:lnTo>
                  <a:lnTo>
                    <a:pt x="137" y="250"/>
                  </a:lnTo>
                  <a:lnTo>
                    <a:pt x="139" y="250"/>
                  </a:lnTo>
                  <a:lnTo>
                    <a:pt x="137" y="250"/>
                  </a:lnTo>
                  <a:lnTo>
                    <a:pt x="135" y="250"/>
                  </a:lnTo>
                  <a:lnTo>
                    <a:pt x="137" y="250"/>
                  </a:lnTo>
                  <a:lnTo>
                    <a:pt x="139" y="250"/>
                  </a:lnTo>
                  <a:lnTo>
                    <a:pt x="139" y="252"/>
                  </a:lnTo>
                  <a:lnTo>
                    <a:pt x="141" y="252"/>
                  </a:lnTo>
                  <a:lnTo>
                    <a:pt x="143" y="252"/>
                  </a:lnTo>
                  <a:lnTo>
                    <a:pt x="144" y="252"/>
                  </a:lnTo>
                  <a:lnTo>
                    <a:pt x="144" y="250"/>
                  </a:lnTo>
                  <a:lnTo>
                    <a:pt x="144" y="252"/>
                  </a:lnTo>
                  <a:lnTo>
                    <a:pt x="144" y="250"/>
                  </a:lnTo>
                  <a:lnTo>
                    <a:pt x="146" y="250"/>
                  </a:lnTo>
                  <a:lnTo>
                    <a:pt x="148" y="250"/>
                  </a:lnTo>
                  <a:lnTo>
                    <a:pt x="148" y="252"/>
                  </a:lnTo>
                  <a:lnTo>
                    <a:pt x="148" y="254"/>
                  </a:lnTo>
                  <a:lnTo>
                    <a:pt x="148" y="256"/>
                  </a:lnTo>
                  <a:lnTo>
                    <a:pt x="148" y="258"/>
                  </a:lnTo>
                  <a:lnTo>
                    <a:pt x="148" y="256"/>
                  </a:lnTo>
                  <a:lnTo>
                    <a:pt x="148" y="258"/>
                  </a:lnTo>
                  <a:lnTo>
                    <a:pt x="146" y="258"/>
                  </a:lnTo>
                  <a:lnTo>
                    <a:pt x="148" y="258"/>
                  </a:lnTo>
                  <a:lnTo>
                    <a:pt x="146" y="258"/>
                  </a:lnTo>
                  <a:lnTo>
                    <a:pt x="144" y="258"/>
                  </a:lnTo>
                  <a:lnTo>
                    <a:pt x="143" y="258"/>
                  </a:lnTo>
                  <a:lnTo>
                    <a:pt x="143" y="260"/>
                  </a:lnTo>
                  <a:lnTo>
                    <a:pt x="143" y="262"/>
                  </a:lnTo>
                  <a:lnTo>
                    <a:pt x="141" y="262"/>
                  </a:lnTo>
                  <a:lnTo>
                    <a:pt x="139" y="262"/>
                  </a:lnTo>
                  <a:lnTo>
                    <a:pt x="139" y="264"/>
                  </a:lnTo>
                  <a:lnTo>
                    <a:pt x="137" y="264"/>
                  </a:lnTo>
                  <a:lnTo>
                    <a:pt x="135" y="264"/>
                  </a:lnTo>
                  <a:lnTo>
                    <a:pt x="133" y="264"/>
                  </a:lnTo>
                  <a:lnTo>
                    <a:pt x="133" y="265"/>
                  </a:lnTo>
                  <a:lnTo>
                    <a:pt x="131" y="265"/>
                  </a:lnTo>
                  <a:lnTo>
                    <a:pt x="129" y="265"/>
                  </a:lnTo>
                  <a:lnTo>
                    <a:pt x="127" y="265"/>
                  </a:lnTo>
                  <a:lnTo>
                    <a:pt x="127" y="264"/>
                  </a:lnTo>
                  <a:lnTo>
                    <a:pt x="125" y="264"/>
                  </a:lnTo>
                  <a:lnTo>
                    <a:pt x="123" y="264"/>
                  </a:lnTo>
                  <a:lnTo>
                    <a:pt x="121" y="264"/>
                  </a:lnTo>
                  <a:lnTo>
                    <a:pt x="119" y="264"/>
                  </a:lnTo>
                  <a:lnTo>
                    <a:pt x="119" y="265"/>
                  </a:lnTo>
                  <a:lnTo>
                    <a:pt x="118" y="265"/>
                  </a:lnTo>
                  <a:lnTo>
                    <a:pt x="116" y="265"/>
                  </a:lnTo>
                  <a:lnTo>
                    <a:pt x="118" y="265"/>
                  </a:lnTo>
                  <a:lnTo>
                    <a:pt x="116" y="265"/>
                  </a:lnTo>
                  <a:lnTo>
                    <a:pt x="114" y="265"/>
                  </a:lnTo>
                  <a:lnTo>
                    <a:pt x="116" y="265"/>
                  </a:lnTo>
                  <a:lnTo>
                    <a:pt x="114" y="265"/>
                  </a:lnTo>
                  <a:lnTo>
                    <a:pt x="116" y="265"/>
                  </a:lnTo>
                  <a:lnTo>
                    <a:pt x="116" y="264"/>
                  </a:lnTo>
                  <a:lnTo>
                    <a:pt x="114" y="264"/>
                  </a:lnTo>
                  <a:lnTo>
                    <a:pt x="114" y="265"/>
                  </a:lnTo>
                  <a:lnTo>
                    <a:pt x="114" y="264"/>
                  </a:lnTo>
                  <a:lnTo>
                    <a:pt x="112" y="264"/>
                  </a:lnTo>
                  <a:lnTo>
                    <a:pt x="112" y="265"/>
                  </a:lnTo>
                  <a:lnTo>
                    <a:pt x="114" y="265"/>
                  </a:lnTo>
                  <a:lnTo>
                    <a:pt x="114" y="264"/>
                  </a:lnTo>
                  <a:lnTo>
                    <a:pt x="114" y="265"/>
                  </a:lnTo>
                  <a:lnTo>
                    <a:pt x="112" y="265"/>
                  </a:lnTo>
                  <a:lnTo>
                    <a:pt x="112" y="264"/>
                  </a:lnTo>
                  <a:lnTo>
                    <a:pt x="110" y="264"/>
                  </a:lnTo>
                  <a:lnTo>
                    <a:pt x="112" y="264"/>
                  </a:lnTo>
                  <a:lnTo>
                    <a:pt x="112" y="265"/>
                  </a:lnTo>
                  <a:lnTo>
                    <a:pt x="110" y="265"/>
                  </a:lnTo>
                  <a:lnTo>
                    <a:pt x="110" y="264"/>
                  </a:lnTo>
                  <a:lnTo>
                    <a:pt x="108" y="264"/>
                  </a:lnTo>
                  <a:lnTo>
                    <a:pt x="110" y="264"/>
                  </a:lnTo>
                  <a:lnTo>
                    <a:pt x="110" y="262"/>
                  </a:lnTo>
                  <a:lnTo>
                    <a:pt x="108" y="262"/>
                  </a:lnTo>
                  <a:lnTo>
                    <a:pt x="108" y="264"/>
                  </a:lnTo>
                  <a:lnTo>
                    <a:pt x="108" y="262"/>
                  </a:lnTo>
                  <a:lnTo>
                    <a:pt x="106" y="262"/>
                  </a:lnTo>
                  <a:lnTo>
                    <a:pt x="108" y="262"/>
                  </a:lnTo>
                  <a:lnTo>
                    <a:pt x="108" y="264"/>
                  </a:lnTo>
                  <a:lnTo>
                    <a:pt x="108" y="265"/>
                  </a:lnTo>
                  <a:lnTo>
                    <a:pt x="108" y="264"/>
                  </a:lnTo>
                  <a:lnTo>
                    <a:pt x="108" y="265"/>
                  </a:lnTo>
                  <a:lnTo>
                    <a:pt x="106" y="265"/>
                  </a:lnTo>
                  <a:lnTo>
                    <a:pt x="104" y="265"/>
                  </a:lnTo>
                  <a:lnTo>
                    <a:pt x="104" y="267"/>
                  </a:lnTo>
                  <a:lnTo>
                    <a:pt x="104" y="265"/>
                  </a:lnTo>
                  <a:lnTo>
                    <a:pt x="104" y="267"/>
                  </a:lnTo>
                  <a:lnTo>
                    <a:pt x="106" y="267"/>
                  </a:lnTo>
                  <a:lnTo>
                    <a:pt x="104" y="267"/>
                  </a:lnTo>
                  <a:lnTo>
                    <a:pt x="106" y="267"/>
                  </a:lnTo>
                  <a:lnTo>
                    <a:pt x="106" y="265"/>
                  </a:lnTo>
                  <a:lnTo>
                    <a:pt x="106" y="267"/>
                  </a:lnTo>
                  <a:lnTo>
                    <a:pt x="104" y="267"/>
                  </a:lnTo>
                  <a:lnTo>
                    <a:pt x="104" y="265"/>
                  </a:lnTo>
                  <a:lnTo>
                    <a:pt x="102" y="265"/>
                  </a:lnTo>
                  <a:lnTo>
                    <a:pt x="104" y="265"/>
                  </a:lnTo>
                  <a:lnTo>
                    <a:pt x="102" y="265"/>
                  </a:lnTo>
                  <a:lnTo>
                    <a:pt x="102" y="267"/>
                  </a:lnTo>
                  <a:lnTo>
                    <a:pt x="102" y="265"/>
                  </a:lnTo>
                  <a:lnTo>
                    <a:pt x="100" y="265"/>
                  </a:lnTo>
                  <a:lnTo>
                    <a:pt x="100" y="267"/>
                  </a:lnTo>
                  <a:lnTo>
                    <a:pt x="98" y="267"/>
                  </a:lnTo>
                  <a:lnTo>
                    <a:pt x="100" y="267"/>
                  </a:lnTo>
                  <a:lnTo>
                    <a:pt x="98" y="267"/>
                  </a:lnTo>
                  <a:lnTo>
                    <a:pt x="98" y="265"/>
                  </a:lnTo>
                  <a:lnTo>
                    <a:pt x="98" y="267"/>
                  </a:lnTo>
                  <a:lnTo>
                    <a:pt x="98" y="265"/>
                  </a:lnTo>
                  <a:lnTo>
                    <a:pt x="98" y="267"/>
                  </a:lnTo>
                  <a:lnTo>
                    <a:pt x="98" y="265"/>
                  </a:lnTo>
                  <a:lnTo>
                    <a:pt x="98" y="267"/>
                  </a:lnTo>
                  <a:lnTo>
                    <a:pt x="98" y="265"/>
                  </a:lnTo>
                  <a:lnTo>
                    <a:pt x="98" y="267"/>
                  </a:lnTo>
                  <a:lnTo>
                    <a:pt x="100" y="267"/>
                  </a:lnTo>
                  <a:lnTo>
                    <a:pt x="100" y="269"/>
                  </a:lnTo>
                  <a:lnTo>
                    <a:pt x="98" y="269"/>
                  </a:lnTo>
                  <a:lnTo>
                    <a:pt x="100" y="269"/>
                  </a:lnTo>
                  <a:lnTo>
                    <a:pt x="98" y="269"/>
                  </a:lnTo>
                  <a:lnTo>
                    <a:pt x="96" y="269"/>
                  </a:lnTo>
                  <a:lnTo>
                    <a:pt x="95" y="269"/>
                  </a:lnTo>
                  <a:lnTo>
                    <a:pt x="95" y="267"/>
                  </a:lnTo>
                  <a:lnTo>
                    <a:pt x="93" y="267"/>
                  </a:lnTo>
                  <a:lnTo>
                    <a:pt x="93" y="269"/>
                  </a:lnTo>
                  <a:lnTo>
                    <a:pt x="93" y="271"/>
                  </a:lnTo>
                  <a:lnTo>
                    <a:pt x="93" y="269"/>
                  </a:lnTo>
                  <a:lnTo>
                    <a:pt x="91" y="269"/>
                  </a:lnTo>
                  <a:lnTo>
                    <a:pt x="91" y="267"/>
                  </a:lnTo>
                  <a:lnTo>
                    <a:pt x="89" y="267"/>
                  </a:lnTo>
                  <a:lnTo>
                    <a:pt x="87" y="267"/>
                  </a:lnTo>
                  <a:lnTo>
                    <a:pt x="87" y="265"/>
                  </a:lnTo>
                  <a:lnTo>
                    <a:pt x="85" y="265"/>
                  </a:lnTo>
                  <a:lnTo>
                    <a:pt x="85" y="267"/>
                  </a:lnTo>
                  <a:lnTo>
                    <a:pt x="83" y="267"/>
                  </a:lnTo>
                  <a:lnTo>
                    <a:pt x="81" y="267"/>
                  </a:lnTo>
                  <a:lnTo>
                    <a:pt x="79" y="267"/>
                  </a:lnTo>
                  <a:lnTo>
                    <a:pt x="79" y="269"/>
                  </a:lnTo>
                  <a:lnTo>
                    <a:pt x="77" y="269"/>
                  </a:lnTo>
                  <a:lnTo>
                    <a:pt x="77" y="267"/>
                  </a:lnTo>
                  <a:lnTo>
                    <a:pt x="77" y="269"/>
                  </a:lnTo>
                  <a:lnTo>
                    <a:pt x="77" y="271"/>
                  </a:lnTo>
                  <a:lnTo>
                    <a:pt x="77" y="273"/>
                  </a:lnTo>
                  <a:lnTo>
                    <a:pt x="77" y="271"/>
                  </a:lnTo>
                  <a:lnTo>
                    <a:pt x="77" y="273"/>
                  </a:lnTo>
                  <a:lnTo>
                    <a:pt x="75" y="273"/>
                  </a:lnTo>
                  <a:lnTo>
                    <a:pt x="77" y="273"/>
                  </a:lnTo>
                  <a:lnTo>
                    <a:pt x="75" y="273"/>
                  </a:lnTo>
                  <a:lnTo>
                    <a:pt x="77" y="273"/>
                  </a:lnTo>
                  <a:lnTo>
                    <a:pt x="77" y="275"/>
                  </a:lnTo>
                  <a:lnTo>
                    <a:pt x="77" y="273"/>
                  </a:lnTo>
                  <a:lnTo>
                    <a:pt x="77" y="275"/>
                  </a:lnTo>
                  <a:lnTo>
                    <a:pt x="75" y="275"/>
                  </a:lnTo>
                  <a:lnTo>
                    <a:pt x="75" y="277"/>
                  </a:lnTo>
                  <a:lnTo>
                    <a:pt x="73" y="277"/>
                  </a:lnTo>
                  <a:lnTo>
                    <a:pt x="73" y="279"/>
                  </a:lnTo>
                  <a:lnTo>
                    <a:pt x="73" y="277"/>
                  </a:lnTo>
                  <a:lnTo>
                    <a:pt x="73" y="279"/>
                  </a:lnTo>
                  <a:lnTo>
                    <a:pt x="72" y="279"/>
                  </a:lnTo>
                  <a:lnTo>
                    <a:pt x="72" y="277"/>
                  </a:lnTo>
                  <a:lnTo>
                    <a:pt x="72" y="275"/>
                  </a:lnTo>
                  <a:lnTo>
                    <a:pt x="72" y="277"/>
                  </a:lnTo>
                  <a:lnTo>
                    <a:pt x="72" y="275"/>
                  </a:lnTo>
                  <a:lnTo>
                    <a:pt x="70" y="275"/>
                  </a:lnTo>
                  <a:lnTo>
                    <a:pt x="70" y="277"/>
                  </a:lnTo>
                  <a:lnTo>
                    <a:pt x="70" y="275"/>
                  </a:lnTo>
                  <a:lnTo>
                    <a:pt x="70" y="277"/>
                  </a:lnTo>
                  <a:lnTo>
                    <a:pt x="70" y="275"/>
                  </a:lnTo>
                  <a:lnTo>
                    <a:pt x="70" y="277"/>
                  </a:lnTo>
                  <a:lnTo>
                    <a:pt x="70" y="275"/>
                  </a:lnTo>
                  <a:lnTo>
                    <a:pt x="70" y="277"/>
                  </a:lnTo>
                  <a:lnTo>
                    <a:pt x="70" y="275"/>
                  </a:lnTo>
                  <a:lnTo>
                    <a:pt x="70" y="277"/>
                  </a:lnTo>
                  <a:lnTo>
                    <a:pt x="70" y="275"/>
                  </a:lnTo>
                  <a:lnTo>
                    <a:pt x="70" y="277"/>
                  </a:lnTo>
                  <a:lnTo>
                    <a:pt x="70" y="275"/>
                  </a:lnTo>
                  <a:lnTo>
                    <a:pt x="70" y="277"/>
                  </a:lnTo>
                  <a:lnTo>
                    <a:pt x="70" y="275"/>
                  </a:lnTo>
                  <a:lnTo>
                    <a:pt x="70" y="277"/>
                  </a:lnTo>
                  <a:lnTo>
                    <a:pt x="70" y="275"/>
                  </a:lnTo>
                  <a:lnTo>
                    <a:pt x="68" y="275"/>
                  </a:lnTo>
                  <a:lnTo>
                    <a:pt x="70" y="275"/>
                  </a:lnTo>
                  <a:lnTo>
                    <a:pt x="68" y="275"/>
                  </a:lnTo>
                  <a:lnTo>
                    <a:pt x="68" y="273"/>
                  </a:lnTo>
                  <a:lnTo>
                    <a:pt x="68" y="275"/>
                  </a:lnTo>
                  <a:lnTo>
                    <a:pt x="66" y="275"/>
                  </a:lnTo>
                  <a:lnTo>
                    <a:pt x="68" y="275"/>
                  </a:lnTo>
                  <a:lnTo>
                    <a:pt x="66" y="275"/>
                  </a:lnTo>
                  <a:lnTo>
                    <a:pt x="68" y="275"/>
                  </a:lnTo>
                  <a:lnTo>
                    <a:pt x="66" y="275"/>
                  </a:lnTo>
                  <a:lnTo>
                    <a:pt x="68" y="275"/>
                  </a:lnTo>
                  <a:lnTo>
                    <a:pt x="66" y="275"/>
                  </a:lnTo>
                  <a:lnTo>
                    <a:pt x="68" y="275"/>
                  </a:lnTo>
                  <a:lnTo>
                    <a:pt x="66" y="275"/>
                  </a:lnTo>
                  <a:lnTo>
                    <a:pt x="66" y="273"/>
                  </a:lnTo>
                  <a:lnTo>
                    <a:pt x="68" y="273"/>
                  </a:lnTo>
                  <a:lnTo>
                    <a:pt x="66" y="273"/>
                  </a:lnTo>
                  <a:lnTo>
                    <a:pt x="68" y="273"/>
                  </a:lnTo>
                  <a:lnTo>
                    <a:pt x="66" y="273"/>
                  </a:lnTo>
                  <a:lnTo>
                    <a:pt x="68" y="273"/>
                  </a:lnTo>
                  <a:lnTo>
                    <a:pt x="66" y="273"/>
                  </a:lnTo>
                  <a:lnTo>
                    <a:pt x="66" y="275"/>
                  </a:lnTo>
                  <a:lnTo>
                    <a:pt x="66" y="273"/>
                  </a:lnTo>
                  <a:lnTo>
                    <a:pt x="66" y="275"/>
                  </a:lnTo>
                  <a:lnTo>
                    <a:pt x="68" y="275"/>
                  </a:lnTo>
                  <a:lnTo>
                    <a:pt x="66" y="275"/>
                  </a:lnTo>
                  <a:lnTo>
                    <a:pt x="64" y="275"/>
                  </a:lnTo>
                  <a:lnTo>
                    <a:pt x="62" y="275"/>
                  </a:lnTo>
                  <a:lnTo>
                    <a:pt x="60" y="275"/>
                  </a:lnTo>
                  <a:lnTo>
                    <a:pt x="58" y="275"/>
                  </a:lnTo>
                  <a:lnTo>
                    <a:pt x="58" y="277"/>
                  </a:lnTo>
                  <a:lnTo>
                    <a:pt x="56" y="277"/>
                  </a:lnTo>
                  <a:lnTo>
                    <a:pt x="56" y="279"/>
                  </a:lnTo>
                  <a:lnTo>
                    <a:pt x="54" y="279"/>
                  </a:lnTo>
                  <a:lnTo>
                    <a:pt x="56" y="279"/>
                  </a:lnTo>
                  <a:lnTo>
                    <a:pt x="54" y="279"/>
                  </a:lnTo>
                  <a:lnTo>
                    <a:pt x="54" y="277"/>
                  </a:lnTo>
                  <a:lnTo>
                    <a:pt x="54" y="279"/>
                  </a:lnTo>
                  <a:lnTo>
                    <a:pt x="54" y="277"/>
                  </a:lnTo>
                  <a:lnTo>
                    <a:pt x="54" y="279"/>
                  </a:lnTo>
                  <a:lnTo>
                    <a:pt x="54" y="281"/>
                  </a:lnTo>
                  <a:lnTo>
                    <a:pt x="52" y="281"/>
                  </a:lnTo>
                  <a:lnTo>
                    <a:pt x="54" y="281"/>
                  </a:lnTo>
                  <a:lnTo>
                    <a:pt x="52" y="281"/>
                  </a:lnTo>
                  <a:lnTo>
                    <a:pt x="54" y="281"/>
                  </a:lnTo>
                  <a:lnTo>
                    <a:pt x="52" y="281"/>
                  </a:lnTo>
                  <a:lnTo>
                    <a:pt x="54" y="281"/>
                  </a:lnTo>
                  <a:lnTo>
                    <a:pt x="54" y="283"/>
                  </a:lnTo>
                  <a:lnTo>
                    <a:pt x="52" y="283"/>
                  </a:lnTo>
                  <a:lnTo>
                    <a:pt x="52" y="285"/>
                  </a:lnTo>
                  <a:lnTo>
                    <a:pt x="52" y="283"/>
                  </a:lnTo>
                  <a:lnTo>
                    <a:pt x="52" y="285"/>
                  </a:lnTo>
                  <a:lnTo>
                    <a:pt x="52" y="283"/>
                  </a:lnTo>
                  <a:lnTo>
                    <a:pt x="52" y="285"/>
                  </a:lnTo>
                  <a:lnTo>
                    <a:pt x="52" y="283"/>
                  </a:lnTo>
                  <a:lnTo>
                    <a:pt x="52" y="285"/>
                  </a:lnTo>
                  <a:lnTo>
                    <a:pt x="52" y="283"/>
                  </a:lnTo>
                  <a:lnTo>
                    <a:pt x="50" y="283"/>
                  </a:lnTo>
                  <a:lnTo>
                    <a:pt x="50" y="281"/>
                  </a:lnTo>
                  <a:lnTo>
                    <a:pt x="50" y="283"/>
                  </a:lnTo>
                  <a:lnTo>
                    <a:pt x="50" y="281"/>
                  </a:lnTo>
                  <a:lnTo>
                    <a:pt x="48" y="281"/>
                  </a:lnTo>
                  <a:lnTo>
                    <a:pt x="48" y="279"/>
                  </a:lnTo>
                  <a:lnTo>
                    <a:pt x="47" y="279"/>
                  </a:lnTo>
                  <a:lnTo>
                    <a:pt x="47" y="281"/>
                  </a:lnTo>
                  <a:lnTo>
                    <a:pt x="45" y="281"/>
                  </a:lnTo>
                  <a:lnTo>
                    <a:pt x="47" y="281"/>
                  </a:lnTo>
                  <a:lnTo>
                    <a:pt x="45" y="283"/>
                  </a:lnTo>
                  <a:lnTo>
                    <a:pt x="45" y="281"/>
                  </a:lnTo>
                  <a:lnTo>
                    <a:pt x="45" y="283"/>
                  </a:lnTo>
                  <a:lnTo>
                    <a:pt x="45" y="281"/>
                  </a:lnTo>
                  <a:lnTo>
                    <a:pt x="45" y="283"/>
                  </a:lnTo>
                  <a:lnTo>
                    <a:pt x="45" y="281"/>
                  </a:lnTo>
                  <a:lnTo>
                    <a:pt x="45" y="279"/>
                  </a:lnTo>
                  <a:lnTo>
                    <a:pt x="45" y="281"/>
                  </a:lnTo>
                  <a:lnTo>
                    <a:pt x="45" y="279"/>
                  </a:lnTo>
                  <a:lnTo>
                    <a:pt x="47" y="279"/>
                  </a:lnTo>
                  <a:lnTo>
                    <a:pt x="47" y="277"/>
                  </a:lnTo>
                  <a:lnTo>
                    <a:pt x="47" y="279"/>
                  </a:lnTo>
                  <a:lnTo>
                    <a:pt x="47" y="277"/>
                  </a:lnTo>
                  <a:lnTo>
                    <a:pt x="48" y="277"/>
                  </a:lnTo>
                  <a:lnTo>
                    <a:pt x="48" y="279"/>
                  </a:lnTo>
                  <a:lnTo>
                    <a:pt x="48" y="277"/>
                  </a:lnTo>
                  <a:lnTo>
                    <a:pt x="50" y="277"/>
                  </a:lnTo>
                  <a:lnTo>
                    <a:pt x="50" y="275"/>
                  </a:lnTo>
                  <a:lnTo>
                    <a:pt x="52" y="275"/>
                  </a:lnTo>
                  <a:lnTo>
                    <a:pt x="50" y="275"/>
                  </a:lnTo>
                  <a:lnTo>
                    <a:pt x="52" y="275"/>
                  </a:lnTo>
                  <a:lnTo>
                    <a:pt x="50" y="275"/>
                  </a:lnTo>
                  <a:lnTo>
                    <a:pt x="52" y="275"/>
                  </a:lnTo>
                  <a:lnTo>
                    <a:pt x="50" y="275"/>
                  </a:lnTo>
                  <a:lnTo>
                    <a:pt x="52" y="275"/>
                  </a:lnTo>
                  <a:lnTo>
                    <a:pt x="50" y="275"/>
                  </a:lnTo>
                  <a:lnTo>
                    <a:pt x="52" y="275"/>
                  </a:lnTo>
                  <a:lnTo>
                    <a:pt x="52" y="273"/>
                  </a:lnTo>
                  <a:lnTo>
                    <a:pt x="54" y="273"/>
                  </a:lnTo>
                  <a:lnTo>
                    <a:pt x="52" y="273"/>
                  </a:lnTo>
                  <a:lnTo>
                    <a:pt x="54" y="273"/>
                  </a:lnTo>
                  <a:lnTo>
                    <a:pt x="54" y="271"/>
                  </a:lnTo>
                  <a:lnTo>
                    <a:pt x="54" y="269"/>
                  </a:lnTo>
                  <a:lnTo>
                    <a:pt x="54" y="271"/>
                  </a:lnTo>
                  <a:lnTo>
                    <a:pt x="54" y="269"/>
                  </a:lnTo>
                  <a:lnTo>
                    <a:pt x="54" y="271"/>
                  </a:lnTo>
                  <a:lnTo>
                    <a:pt x="54" y="269"/>
                  </a:lnTo>
                  <a:lnTo>
                    <a:pt x="56" y="269"/>
                  </a:lnTo>
                  <a:lnTo>
                    <a:pt x="56" y="271"/>
                  </a:lnTo>
                  <a:lnTo>
                    <a:pt x="56" y="269"/>
                  </a:lnTo>
                  <a:lnTo>
                    <a:pt x="58" y="269"/>
                  </a:lnTo>
                  <a:lnTo>
                    <a:pt x="58" y="267"/>
                  </a:lnTo>
                  <a:lnTo>
                    <a:pt x="60" y="267"/>
                  </a:lnTo>
                  <a:lnTo>
                    <a:pt x="60" y="265"/>
                  </a:lnTo>
                  <a:lnTo>
                    <a:pt x="62" y="265"/>
                  </a:lnTo>
                  <a:lnTo>
                    <a:pt x="62" y="264"/>
                  </a:lnTo>
                  <a:lnTo>
                    <a:pt x="62" y="262"/>
                  </a:lnTo>
                  <a:lnTo>
                    <a:pt x="62" y="260"/>
                  </a:lnTo>
                  <a:lnTo>
                    <a:pt x="64" y="260"/>
                  </a:lnTo>
                  <a:lnTo>
                    <a:pt x="66" y="260"/>
                  </a:lnTo>
                  <a:lnTo>
                    <a:pt x="66" y="258"/>
                  </a:lnTo>
                  <a:lnTo>
                    <a:pt x="66" y="260"/>
                  </a:lnTo>
                  <a:lnTo>
                    <a:pt x="68" y="260"/>
                  </a:lnTo>
                  <a:lnTo>
                    <a:pt x="68" y="258"/>
                  </a:lnTo>
                  <a:lnTo>
                    <a:pt x="66" y="258"/>
                  </a:lnTo>
                  <a:lnTo>
                    <a:pt x="66" y="256"/>
                  </a:lnTo>
                  <a:lnTo>
                    <a:pt x="68" y="256"/>
                  </a:lnTo>
                  <a:lnTo>
                    <a:pt x="68" y="254"/>
                  </a:lnTo>
                  <a:lnTo>
                    <a:pt x="68" y="256"/>
                  </a:lnTo>
                  <a:lnTo>
                    <a:pt x="68" y="254"/>
                  </a:lnTo>
                  <a:lnTo>
                    <a:pt x="68" y="256"/>
                  </a:lnTo>
                  <a:lnTo>
                    <a:pt x="68" y="254"/>
                  </a:lnTo>
                  <a:lnTo>
                    <a:pt x="70" y="254"/>
                  </a:lnTo>
                  <a:lnTo>
                    <a:pt x="70" y="256"/>
                  </a:lnTo>
                  <a:lnTo>
                    <a:pt x="70" y="254"/>
                  </a:lnTo>
                  <a:lnTo>
                    <a:pt x="72" y="254"/>
                  </a:lnTo>
                  <a:lnTo>
                    <a:pt x="73" y="254"/>
                  </a:lnTo>
                  <a:lnTo>
                    <a:pt x="75" y="254"/>
                  </a:lnTo>
                  <a:lnTo>
                    <a:pt x="77" y="254"/>
                  </a:lnTo>
                  <a:lnTo>
                    <a:pt x="77" y="256"/>
                  </a:lnTo>
                  <a:lnTo>
                    <a:pt x="79" y="256"/>
                  </a:lnTo>
                  <a:lnTo>
                    <a:pt x="81" y="256"/>
                  </a:lnTo>
                  <a:lnTo>
                    <a:pt x="81" y="254"/>
                  </a:lnTo>
                  <a:lnTo>
                    <a:pt x="83" y="254"/>
                  </a:lnTo>
                  <a:lnTo>
                    <a:pt x="83" y="256"/>
                  </a:lnTo>
                  <a:lnTo>
                    <a:pt x="83" y="254"/>
                  </a:lnTo>
                  <a:lnTo>
                    <a:pt x="83" y="256"/>
                  </a:lnTo>
                  <a:lnTo>
                    <a:pt x="83" y="254"/>
                  </a:lnTo>
                  <a:lnTo>
                    <a:pt x="85" y="254"/>
                  </a:lnTo>
                  <a:lnTo>
                    <a:pt x="83" y="254"/>
                  </a:lnTo>
                  <a:lnTo>
                    <a:pt x="85" y="254"/>
                  </a:lnTo>
                  <a:lnTo>
                    <a:pt x="83" y="254"/>
                  </a:lnTo>
                  <a:lnTo>
                    <a:pt x="83" y="252"/>
                  </a:lnTo>
                  <a:lnTo>
                    <a:pt x="85" y="252"/>
                  </a:lnTo>
                  <a:lnTo>
                    <a:pt x="85" y="250"/>
                  </a:lnTo>
                  <a:lnTo>
                    <a:pt x="87" y="250"/>
                  </a:lnTo>
                  <a:lnTo>
                    <a:pt x="87" y="248"/>
                  </a:lnTo>
                  <a:lnTo>
                    <a:pt x="89" y="248"/>
                  </a:lnTo>
                  <a:lnTo>
                    <a:pt x="89" y="246"/>
                  </a:lnTo>
                  <a:lnTo>
                    <a:pt x="91" y="246"/>
                  </a:lnTo>
                  <a:lnTo>
                    <a:pt x="91" y="244"/>
                  </a:lnTo>
                  <a:lnTo>
                    <a:pt x="91" y="242"/>
                  </a:lnTo>
                  <a:lnTo>
                    <a:pt x="91" y="244"/>
                  </a:lnTo>
                  <a:lnTo>
                    <a:pt x="89" y="244"/>
                  </a:lnTo>
                  <a:lnTo>
                    <a:pt x="89" y="246"/>
                  </a:lnTo>
                  <a:lnTo>
                    <a:pt x="87" y="246"/>
                  </a:lnTo>
                  <a:lnTo>
                    <a:pt x="85" y="246"/>
                  </a:lnTo>
                  <a:lnTo>
                    <a:pt x="85" y="248"/>
                  </a:lnTo>
                  <a:lnTo>
                    <a:pt x="85" y="246"/>
                  </a:lnTo>
                  <a:lnTo>
                    <a:pt x="85" y="248"/>
                  </a:lnTo>
                  <a:lnTo>
                    <a:pt x="83" y="248"/>
                  </a:lnTo>
                  <a:lnTo>
                    <a:pt x="81" y="248"/>
                  </a:lnTo>
                  <a:lnTo>
                    <a:pt x="81" y="250"/>
                  </a:lnTo>
                  <a:lnTo>
                    <a:pt x="81" y="248"/>
                  </a:lnTo>
                  <a:lnTo>
                    <a:pt x="81" y="250"/>
                  </a:lnTo>
                  <a:lnTo>
                    <a:pt x="79" y="250"/>
                  </a:lnTo>
                  <a:lnTo>
                    <a:pt x="77" y="250"/>
                  </a:lnTo>
                  <a:lnTo>
                    <a:pt x="75" y="250"/>
                  </a:lnTo>
                  <a:lnTo>
                    <a:pt x="75" y="248"/>
                  </a:lnTo>
                  <a:lnTo>
                    <a:pt x="73" y="248"/>
                  </a:lnTo>
                  <a:lnTo>
                    <a:pt x="73" y="246"/>
                  </a:lnTo>
                  <a:lnTo>
                    <a:pt x="72" y="246"/>
                  </a:lnTo>
                  <a:lnTo>
                    <a:pt x="70" y="246"/>
                  </a:lnTo>
                  <a:lnTo>
                    <a:pt x="68" y="246"/>
                  </a:lnTo>
                  <a:lnTo>
                    <a:pt x="66" y="246"/>
                  </a:lnTo>
                  <a:lnTo>
                    <a:pt x="66" y="248"/>
                  </a:lnTo>
                  <a:lnTo>
                    <a:pt x="66" y="246"/>
                  </a:lnTo>
                  <a:lnTo>
                    <a:pt x="64" y="246"/>
                  </a:lnTo>
                  <a:lnTo>
                    <a:pt x="66" y="246"/>
                  </a:lnTo>
                  <a:lnTo>
                    <a:pt x="64" y="246"/>
                  </a:lnTo>
                  <a:lnTo>
                    <a:pt x="66" y="246"/>
                  </a:lnTo>
                  <a:lnTo>
                    <a:pt x="66" y="244"/>
                  </a:lnTo>
                  <a:lnTo>
                    <a:pt x="64" y="244"/>
                  </a:lnTo>
                  <a:lnTo>
                    <a:pt x="64" y="242"/>
                  </a:lnTo>
                  <a:lnTo>
                    <a:pt x="64" y="244"/>
                  </a:lnTo>
                  <a:lnTo>
                    <a:pt x="64" y="242"/>
                  </a:lnTo>
                  <a:lnTo>
                    <a:pt x="62" y="242"/>
                  </a:lnTo>
                  <a:lnTo>
                    <a:pt x="60" y="242"/>
                  </a:lnTo>
                  <a:lnTo>
                    <a:pt x="60" y="244"/>
                  </a:lnTo>
                  <a:lnTo>
                    <a:pt x="58" y="244"/>
                  </a:lnTo>
                  <a:lnTo>
                    <a:pt x="56" y="244"/>
                  </a:lnTo>
                  <a:lnTo>
                    <a:pt x="56" y="246"/>
                  </a:lnTo>
                  <a:lnTo>
                    <a:pt x="54" y="246"/>
                  </a:lnTo>
                  <a:lnTo>
                    <a:pt x="54" y="244"/>
                  </a:lnTo>
                  <a:lnTo>
                    <a:pt x="54" y="246"/>
                  </a:lnTo>
                  <a:lnTo>
                    <a:pt x="54" y="244"/>
                  </a:lnTo>
                  <a:lnTo>
                    <a:pt x="54" y="246"/>
                  </a:lnTo>
                  <a:lnTo>
                    <a:pt x="54" y="244"/>
                  </a:lnTo>
                  <a:lnTo>
                    <a:pt x="52" y="244"/>
                  </a:lnTo>
                  <a:lnTo>
                    <a:pt x="54" y="244"/>
                  </a:lnTo>
                  <a:lnTo>
                    <a:pt x="56" y="244"/>
                  </a:lnTo>
                  <a:lnTo>
                    <a:pt x="56" y="242"/>
                  </a:lnTo>
                  <a:lnTo>
                    <a:pt x="54" y="242"/>
                  </a:lnTo>
                  <a:lnTo>
                    <a:pt x="54" y="244"/>
                  </a:lnTo>
                  <a:lnTo>
                    <a:pt x="54" y="242"/>
                  </a:lnTo>
                  <a:lnTo>
                    <a:pt x="52" y="242"/>
                  </a:lnTo>
                  <a:lnTo>
                    <a:pt x="52" y="244"/>
                  </a:lnTo>
                  <a:lnTo>
                    <a:pt x="52" y="242"/>
                  </a:lnTo>
                  <a:lnTo>
                    <a:pt x="50" y="242"/>
                  </a:lnTo>
                  <a:lnTo>
                    <a:pt x="52" y="242"/>
                  </a:lnTo>
                  <a:lnTo>
                    <a:pt x="50" y="242"/>
                  </a:lnTo>
                  <a:lnTo>
                    <a:pt x="52" y="242"/>
                  </a:lnTo>
                  <a:lnTo>
                    <a:pt x="52" y="241"/>
                  </a:lnTo>
                  <a:lnTo>
                    <a:pt x="52" y="239"/>
                  </a:lnTo>
                  <a:lnTo>
                    <a:pt x="52" y="241"/>
                  </a:lnTo>
                  <a:lnTo>
                    <a:pt x="52" y="239"/>
                  </a:lnTo>
                  <a:lnTo>
                    <a:pt x="52" y="241"/>
                  </a:lnTo>
                  <a:lnTo>
                    <a:pt x="52" y="239"/>
                  </a:lnTo>
                  <a:lnTo>
                    <a:pt x="52" y="241"/>
                  </a:lnTo>
                  <a:lnTo>
                    <a:pt x="52" y="239"/>
                  </a:lnTo>
                  <a:lnTo>
                    <a:pt x="52" y="241"/>
                  </a:lnTo>
                  <a:lnTo>
                    <a:pt x="52" y="239"/>
                  </a:lnTo>
                  <a:lnTo>
                    <a:pt x="52" y="241"/>
                  </a:lnTo>
                  <a:lnTo>
                    <a:pt x="52" y="239"/>
                  </a:lnTo>
                  <a:lnTo>
                    <a:pt x="52" y="241"/>
                  </a:lnTo>
                  <a:lnTo>
                    <a:pt x="52" y="239"/>
                  </a:lnTo>
                  <a:lnTo>
                    <a:pt x="52" y="241"/>
                  </a:lnTo>
                  <a:lnTo>
                    <a:pt x="52" y="239"/>
                  </a:lnTo>
                  <a:lnTo>
                    <a:pt x="52" y="241"/>
                  </a:lnTo>
                  <a:lnTo>
                    <a:pt x="52" y="239"/>
                  </a:lnTo>
                  <a:lnTo>
                    <a:pt x="52" y="241"/>
                  </a:lnTo>
                  <a:lnTo>
                    <a:pt x="52" y="239"/>
                  </a:lnTo>
                  <a:lnTo>
                    <a:pt x="50" y="239"/>
                  </a:lnTo>
                  <a:lnTo>
                    <a:pt x="50" y="241"/>
                  </a:lnTo>
                  <a:lnTo>
                    <a:pt x="50" y="239"/>
                  </a:lnTo>
                  <a:lnTo>
                    <a:pt x="50" y="241"/>
                  </a:lnTo>
                  <a:lnTo>
                    <a:pt x="50" y="239"/>
                  </a:lnTo>
                  <a:lnTo>
                    <a:pt x="52" y="239"/>
                  </a:lnTo>
                  <a:lnTo>
                    <a:pt x="52" y="237"/>
                  </a:lnTo>
                  <a:lnTo>
                    <a:pt x="54" y="237"/>
                  </a:lnTo>
                  <a:lnTo>
                    <a:pt x="52" y="237"/>
                  </a:lnTo>
                  <a:lnTo>
                    <a:pt x="54" y="237"/>
                  </a:lnTo>
                  <a:lnTo>
                    <a:pt x="52" y="237"/>
                  </a:lnTo>
                  <a:lnTo>
                    <a:pt x="54" y="237"/>
                  </a:lnTo>
                  <a:lnTo>
                    <a:pt x="52" y="237"/>
                  </a:lnTo>
                  <a:lnTo>
                    <a:pt x="54" y="237"/>
                  </a:lnTo>
                  <a:lnTo>
                    <a:pt x="52" y="237"/>
                  </a:lnTo>
                  <a:lnTo>
                    <a:pt x="54" y="237"/>
                  </a:lnTo>
                  <a:lnTo>
                    <a:pt x="54" y="235"/>
                  </a:lnTo>
                  <a:lnTo>
                    <a:pt x="54" y="237"/>
                  </a:lnTo>
                  <a:lnTo>
                    <a:pt x="54" y="235"/>
                  </a:lnTo>
                  <a:lnTo>
                    <a:pt x="54" y="237"/>
                  </a:lnTo>
                  <a:lnTo>
                    <a:pt x="54" y="235"/>
                  </a:lnTo>
                  <a:lnTo>
                    <a:pt x="54" y="237"/>
                  </a:lnTo>
                  <a:lnTo>
                    <a:pt x="54" y="235"/>
                  </a:lnTo>
                  <a:lnTo>
                    <a:pt x="54" y="237"/>
                  </a:lnTo>
                  <a:lnTo>
                    <a:pt x="54" y="235"/>
                  </a:lnTo>
                  <a:lnTo>
                    <a:pt x="54" y="237"/>
                  </a:lnTo>
                  <a:lnTo>
                    <a:pt x="54" y="235"/>
                  </a:lnTo>
                  <a:lnTo>
                    <a:pt x="54" y="237"/>
                  </a:lnTo>
                  <a:lnTo>
                    <a:pt x="54" y="235"/>
                  </a:lnTo>
                  <a:lnTo>
                    <a:pt x="54" y="237"/>
                  </a:lnTo>
                  <a:lnTo>
                    <a:pt x="54" y="235"/>
                  </a:lnTo>
                  <a:lnTo>
                    <a:pt x="54" y="237"/>
                  </a:lnTo>
                  <a:lnTo>
                    <a:pt x="54" y="235"/>
                  </a:lnTo>
                  <a:lnTo>
                    <a:pt x="54" y="237"/>
                  </a:lnTo>
                  <a:lnTo>
                    <a:pt x="54" y="235"/>
                  </a:lnTo>
                  <a:lnTo>
                    <a:pt x="54" y="237"/>
                  </a:lnTo>
                  <a:lnTo>
                    <a:pt x="54" y="235"/>
                  </a:lnTo>
                  <a:lnTo>
                    <a:pt x="54" y="237"/>
                  </a:lnTo>
                  <a:lnTo>
                    <a:pt x="54" y="235"/>
                  </a:lnTo>
                  <a:lnTo>
                    <a:pt x="54" y="237"/>
                  </a:lnTo>
                  <a:lnTo>
                    <a:pt x="54" y="235"/>
                  </a:lnTo>
                  <a:lnTo>
                    <a:pt x="54" y="237"/>
                  </a:lnTo>
                  <a:lnTo>
                    <a:pt x="56" y="237"/>
                  </a:lnTo>
                  <a:lnTo>
                    <a:pt x="56" y="235"/>
                  </a:lnTo>
                  <a:lnTo>
                    <a:pt x="56" y="237"/>
                  </a:lnTo>
                  <a:lnTo>
                    <a:pt x="56" y="235"/>
                  </a:lnTo>
                  <a:lnTo>
                    <a:pt x="56" y="237"/>
                  </a:lnTo>
                  <a:lnTo>
                    <a:pt x="58" y="237"/>
                  </a:lnTo>
                  <a:lnTo>
                    <a:pt x="58" y="235"/>
                  </a:lnTo>
                  <a:lnTo>
                    <a:pt x="56" y="235"/>
                  </a:lnTo>
                  <a:lnTo>
                    <a:pt x="58" y="235"/>
                  </a:lnTo>
                  <a:lnTo>
                    <a:pt x="56" y="235"/>
                  </a:lnTo>
                  <a:lnTo>
                    <a:pt x="58" y="235"/>
                  </a:lnTo>
                  <a:lnTo>
                    <a:pt x="58" y="233"/>
                  </a:lnTo>
                  <a:lnTo>
                    <a:pt x="60" y="233"/>
                  </a:lnTo>
                  <a:lnTo>
                    <a:pt x="62" y="233"/>
                  </a:lnTo>
                  <a:lnTo>
                    <a:pt x="64" y="233"/>
                  </a:lnTo>
                  <a:lnTo>
                    <a:pt x="64" y="231"/>
                  </a:lnTo>
                  <a:lnTo>
                    <a:pt x="66" y="231"/>
                  </a:lnTo>
                  <a:lnTo>
                    <a:pt x="66" y="229"/>
                  </a:lnTo>
                  <a:lnTo>
                    <a:pt x="68" y="229"/>
                  </a:lnTo>
                  <a:lnTo>
                    <a:pt x="68" y="227"/>
                  </a:lnTo>
                  <a:lnTo>
                    <a:pt x="68" y="225"/>
                  </a:lnTo>
                  <a:lnTo>
                    <a:pt x="70" y="225"/>
                  </a:lnTo>
                  <a:lnTo>
                    <a:pt x="68" y="225"/>
                  </a:lnTo>
                  <a:lnTo>
                    <a:pt x="68" y="223"/>
                  </a:lnTo>
                  <a:lnTo>
                    <a:pt x="70" y="223"/>
                  </a:lnTo>
                  <a:lnTo>
                    <a:pt x="68" y="223"/>
                  </a:lnTo>
                  <a:lnTo>
                    <a:pt x="68" y="221"/>
                  </a:lnTo>
                  <a:lnTo>
                    <a:pt x="68" y="219"/>
                  </a:lnTo>
                  <a:lnTo>
                    <a:pt x="70" y="219"/>
                  </a:lnTo>
                  <a:lnTo>
                    <a:pt x="68" y="219"/>
                  </a:lnTo>
                  <a:lnTo>
                    <a:pt x="68" y="217"/>
                  </a:lnTo>
                  <a:lnTo>
                    <a:pt x="68" y="216"/>
                  </a:lnTo>
                  <a:lnTo>
                    <a:pt x="68" y="217"/>
                  </a:lnTo>
                  <a:lnTo>
                    <a:pt x="68" y="216"/>
                  </a:lnTo>
                  <a:lnTo>
                    <a:pt x="68" y="214"/>
                  </a:lnTo>
                  <a:lnTo>
                    <a:pt x="70" y="214"/>
                  </a:lnTo>
                  <a:lnTo>
                    <a:pt x="68" y="214"/>
                  </a:lnTo>
                  <a:lnTo>
                    <a:pt x="66" y="214"/>
                  </a:lnTo>
                  <a:lnTo>
                    <a:pt x="64" y="214"/>
                  </a:lnTo>
                  <a:lnTo>
                    <a:pt x="64" y="216"/>
                  </a:lnTo>
                  <a:lnTo>
                    <a:pt x="62" y="216"/>
                  </a:lnTo>
                  <a:lnTo>
                    <a:pt x="62" y="217"/>
                  </a:lnTo>
                  <a:lnTo>
                    <a:pt x="60" y="217"/>
                  </a:lnTo>
                  <a:lnTo>
                    <a:pt x="60" y="216"/>
                  </a:lnTo>
                  <a:lnTo>
                    <a:pt x="60" y="217"/>
                  </a:lnTo>
                  <a:lnTo>
                    <a:pt x="58" y="217"/>
                  </a:lnTo>
                  <a:lnTo>
                    <a:pt x="58" y="216"/>
                  </a:lnTo>
                  <a:lnTo>
                    <a:pt x="60" y="216"/>
                  </a:lnTo>
                  <a:lnTo>
                    <a:pt x="60" y="214"/>
                  </a:lnTo>
                  <a:lnTo>
                    <a:pt x="62" y="214"/>
                  </a:lnTo>
                  <a:lnTo>
                    <a:pt x="62" y="212"/>
                  </a:lnTo>
                  <a:lnTo>
                    <a:pt x="64" y="212"/>
                  </a:lnTo>
                  <a:lnTo>
                    <a:pt x="64" y="210"/>
                  </a:lnTo>
                  <a:lnTo>
                    <a:pt x="66" y="210"/>
                  </a:lnTo>
                  <a:lnTo>
                    <a:pt x="66" y="208"/>
                  </a:lnTo>
                  <a:lnTo>
                    <a:pt x="68" y="208"/>
                  </a:lnTo>
                  <a:lnTo>
                    <a:pt x="68" y="206"/>
                  </a:lnTo>
                  <a:lnTo>
                    <a:pt x="70" y="206"/>
                  </a:lnTo>
                  <a:lnTo>
                    <a:pt x="72" y="206"/>
                  </a:lnTo>
                  <a:lnTo>
                    <a:pt x="72" y="204"/>
                  </a:lnTo>
                  <a:lnTo>
                    <a:pt x="73" y="204"/>
                  </a:lnTo>
                  <a:lnTo>
                    <a:pt x="73" y="206"/>
                  </a:lnTo>
                  <a:lnTo>
                    <a:pt x="73" y="204"/>
                  </a:lnTo>
                  <a:lnTo>
                    <a:pt x="73" y="206"/>
                  </a:lnTo>
                  <a:lnTo>
                    <a:pt x="75" y="206"/>
                  </a:lnTo>
                  <a:lnTo>
                    <a:pt x="75" y="204"/>
                  </a:lnTo>
                  <a:lnTo>
                    <a:pt x="77" y="204"/>
                  </a:lnTo>
                  <a:lnTo>
                    <a:pt x="79" y="204"/>
                  </a:lnTo>
                  <a:lnTo>
                    <a:pt x="81" y="204"/>
                  </a:lnTo>
                  <a:lnTo>
                    <a:pt x="81" y="206"/>
                  </a:lnTo>
                  <a:lnTo>
                    <a:pt x="83" y="206"/>
                  </a:lnTo>
                  <a:lnTo>
                    <a:pt x="81" y="206"/>
                  </a:lnTo>
                  <a:lnTo>
                    <a:pt x="83" y="206"/>
                  </a:lnTo>
                  <a:lnTo>
                    <a:pt x="83" y="204"/>
                  </a:lnTo>
                  <a:lnTo>
                    <a:pt x="81" y="204"/>
                  </a:lnTo>
                  <a:lnTo>
                    <a:pt x="81" y="202"/>
                  </a:lnTo>
                  <a:lnTo>
                    <a:pt x="83" y="202"/>
                  </a:lnTo>
                  <a:lnTo>
                    <a:pt x="85" y="202"/>
                  </a:lnTo>
                  <a:lnTo>
                    <a:pt x="85" y="204"/>
                  </a:lnTo>
                  <a:lnTo>
                    <a:pt x="85" y="206"/>
                  </a:lnTo>
                  <a:lnTo>
                    <a:pt x="87" y="206"/>
                  </a:lnTo>
                  <a:lnTo>
                    <a:pt x="87" y="204"/>
                  </a:lnTo>
                  <a:lnTo>
                    <a:pt x="87" y="206"/>
                  </a:lnTo>
                  <a:lnTo>
                    <a:pt x="87" y="204"/>
                  </a:lnTo>
                  <a:lnTo>
                    <a:pt x="89" y="204"/>
                  </a:lnTo>
                  <a:lnTo>
                    <a:pt x="87" y="204"/>
                  </a:lnTo>
                  <a:lnTo>
                    <a:pt x="89" y="204"/>
                  </a:lnTo>
                  <a:lnTo>
                    <a:pt x="87" y="204"/>
                  </a:lnTo>
                  <a:lnTo>
                    <a:pt x="85" y="204"/>
                  </a:lnTo>
                  <a:lnTo>
                    <a:pt x="85" y="202"/>
                  </a:lnTo>
                  <a:lnTo>
                    <a:pt x="83" y="202"/>
                  </a:lnTo>
                  <a:lnTo>
                    <a:pt x="83" y="200"/>
                  </a:lnTo>
                  <a:lnTo>
                    <a:pt x="83" y="198"/>
                  </a:lnTo>
                  <a:lnTo>
                    <a:pt x="83" y="196"/>
                  </a:lnTo>
                  <a:lnTo>
                    <a:pt x="85" y="196"/>
                  </a:lnTo>
                  <a:lnTo>
                    <a:pt x="85" y="194"/>
                  </a:lnTo>
                  <a:lnTo>
                    <a:pt x="83" y="194"/>
                  </a:lnTo>
                  <a:lnTo>
                    <a:pt x="83" y="192"/>
                  </a:lnTo>
                  <a:lnTo>
                    <a:pt x="83" y="191"/>
                  </a:lnTo>
                  <a:lnTo>
                    <a:pt x="83" y="189"/>
                  </a:lnTo>
                  <a:lnTo>
                    <a:pt x="83" y="191"/>
                  </a:lnTo>
                  <a:lnTo>
                    <a:pt x="85" y="191"/>
                  </a:lnTo>
                  <a:lnTo>
                    <a:pt x="85" y="189"/>
                  </a:lnTo>
                  <a:lnTo>
                    <a:pt x="87" y="189"/>
                  </a:lnTo>
                  <a:lnTo>
                    <a:pt x="85" y="189"/>
                  </a:lnTo>
                  <a:lnTo>
                    <a:pt x="87" y="189"/>
                  </a:lnTo>
                  <a:lnTo>
                    <a:pt x="85" y="189"/>
                  </a:lnTo>
                  <a:lnTo>
                    <a:pt x="87" y="189"/>
                  </a:lnTo>
                  <a:lnTo>
                    <a:pt x="87" y="187"/>
                  </a:lnTo>
                  <a:lnTo>
                    <a:pt x="85" y="187"/>
                  </a:lnTo>
                  <a:lnTo>
                    <a:pt x="87" y="187"/>
                  </a:lnTo>
                  <a:lnTo>
                    <a:pt x="85" y="187"/>
                  </a:lnTo>
                  <a:lnTo>
                    <a:pt x="87" y="187"/>
                  </a:lnTo>
                  <a:lnTo>
                    <a:pt x="85" y="187"/>
                  </a:lnTo>
                  <a:lnTo>
                    <a:pt x="85" y="189"/>
                  </a:lnTo>
                  <a:lnTo>
                    <a:pt x="85" y="187"/>
                  </a:lnTo>
                  <a:lnTo>
                    <a:pt x="85" y="185"/>
                  </a:lnTo>
                  <a:lnTo>
                    <a:pt x="85" y="187"/>
                  </a:lnTo>
                  <a:lnTo>
                    <a:pt x="87" y="187"/>
                  </a:lnTo>
                  <a:lnTo>
                    <a:pt x="87" y="185"/>
                  </a:lnTo>
                  <a:lnTo>
                    <a:pt x="87" y="183"/>
                  </a:lnTo>
                  <a:lnTo>
                    <a:pt x="85" y="183"/>
                  </a:lnTo>
                  <a:lnTo>
                    <a:pt x="85" y="185"/>
                  </a:lnTo>
                  <a:lnTo>
                    <a:pt x="85" y="183"/>
                  </a:lnTo>
                  <a:lnTo>
                    <a:pt x="85" y="185"/>
                  </a:lnTo>
                  <a:lnTo>
                    <a:pt x="85" y="183"/>
                  </a:lnTo>
                  <a:lnTo>
                    <a:pt x="83" y="183"/>
                  </a:lnTo>
                  <a:lnTo>
                    <a:pt x="85" y="183"/>
                  </a:lnTo>
                  <a:lnTo>
                    <a:pt x="83" y="183"/>
                  </a:lnTo>
                  <a:lnTo>
                    <a:pt x="85" y="183"/>
                  </a:lnTo>
                  <a:lnTo>
                    <a:pt x="83" y="183"/>
                  </a:lnTo>
                  <a:lnTo>
                    <a:pt x="83" y="181"/>
                  </a:lnTo>
                  <a:lnTo>
                    <a:pt x="83" y="183"/>
                  </a:lnTo>
                  <a:lnTo>
                    <a:pt x="83" y="181"/>
                  </a:lnTo>
                  <a:lnTo>
                    <a:pt x="83" y="183"/>
                  </a:lnTo>
                  <a:lnTo>
                    <a:pt x="83" y="181"/>
                  </a:lnTo>
                  <a:lnTo>
                    <a:pt x="83" y="183"/>
                  </a:lnTo>
                  <a:lnTo>
                    <a:pt x="83" y="181"/>
                  </a:lnTo>
                  <a:lnTo>
                    <a:pt x="83" y="183"/>
                  </a:lnTo>
                  <a:lnTo>
                    <a:pt x="83" y="185"/>
                  </a:lnTo>
                  <a:lnTo>
                    <a:pt x="81" y="185"/>
                  </a:lnTo>
                  <a:lnTo>
                    <a:pt x="81" y="187"/>
                  </a:lnTo>
                  <a:lnTo>
                    <a:pt x="81" y="185"/>
                  </a:lnTo>
                  <a:lnTo>
                    <a:pt x="81" y="187"/>
                  </a:lnTo>
                  <a:lnTo>
                    <a:pt x="81" y="185"/>
                  </a:lnTo>
                  <a:lnTo>
                    <a:pt x="81" y="183"/>
                  </a:lnTo>
                  <a:lnTo>
                    <a:pt x="81" y="181"/>
                  </a:lnTo>
                  <a:lnTo>
                    <a:pt x="81" y="183"/>
                  </a:lnTo>
                  <a:lnTo>
                    <a:pt x="81" y="181"/>
                  </a:lnTo>
                  <a:lnTo>
                    <a:pt x="81" y="183"/>
                  </a:lnTo>
                  <a:lnTo>
                    <a:pt x="79" y="183"/>
                  </a:lnTo>
                  <a:lnTo>
                    <a:pt x="79" y="181"/>
                  </a:lnTo>
                  <a:lnTo>
                    <a:pt x="77" y="181"/>
                  </a:lnTo>
                  <a:lnTo>
                    <a:pt x="77" y="179"/>
                  </a:lnTo>
                  <a:lnTo>
                    <a:pt x="77" y="177"/>
                  </a:lnTo>
                  <a:lnTo>
                    <a:pt x="75" y="177"/>
                  </a:lnTo>
                  <a:lnTo>
                    <a:pt x="75" y="175"/>
                  </a:lnTo>
                  <a:lnTo>
                    <a:pt x="75" y="173"/>
                  </a:lnTo>
                  <a:lnTo>
                    <a:pt x="75" y="171"/>
                  </a:lnTo>
                  <a:lnTo>
                    <a:pt x="77" y="171"/>
                  </a:lnTo>
                  <a:lnTo>
                    <a:pt x="77" y="169"/>
                  </a:lnTo>
                  <a:lnTo>
                    <a:pt x="77" y="168"/>
                  </a:lnTo>
                  <a:lnTo>
                    <a:pt x="77" y="166"/>
                  </a:lnTo>
                  <a:lnTo>
                    <a:pt x="79" y="166"/>
                  </a:lnTo>
                  <a:lnTo>
                    <a:pt x="81" y="166"/>
                  </a:lnTo>
                  <a:lnTo>
                    <a:pt x="79" y="166"/>
                  </a:lnTo>
                  <a:lnTo>
                    <a:pt x="79" y="164"/>
                  </a:lnTo>
                  <a:lnTo>
                    <a:pt x="81" y="164"/>
                  </a:lnTo>
                  <a:lnTo>
                    <a:pt x="83" y="164"/>
                  </a:lnTo>
                  <a:lnTo>
                    <a:pt x="81" y="164"/>
                  </a:lnTo>
                  <a:lnTo>
                    <a:pt x="79" y="164"/>
                  </a:lnTo>
                  <a:lnTo>
                    <a:pt x="77" y="164"/>
                  </a:lnTo>
                  <a:lnTo>
                    <a:pt x="77" y="162"/>
                  </a:lnTo>
                  <a:lnTo>
                    <a:pt x="77" y="164"/>
                  </a:lnTo>
                  <a:lnTo>
                    <a:pt x="75" y="164"/>
                  </a:lnTo>
                  <a:lnTo>
                    <a:pt x="75" y="162"/>
                  </a:lnTo>
                  <a:lnTo>
                    <a:pt x="75" y="164"/>
                  </a:lnTo>
                  <a:lnTo>
                    <a:pt x="75" y="166"/>
                  </a:lnTo>
                  <a:lnTo>
                    <a:pt x="73" y="166"/>
                  </a:lnTo>
                  <a:lnTo>
                    <a:pt x="72" y="166"/>
                  </a:lnTo>
                  <a:lnTo>
                    <a:pt x="72" y="168"/>
                  </a:lnTo>
                  <a:lnTo>
                    <a:pt x="70" y="168"/>
                  </a:lnTo>
                  <a:lnTo>
                    <a:pt x="68" y="168"/>
                  </a:lnTo>
                  <a:lnTo>
                    <a:pt x="70" y="168"/>
                  </a:lnTo>
                  <a:lnTo>
                    <a:pt x="68" y="168"/>
                  </a:lnTo>
                  <a:lnTo>
                    <a:pt x="66" y="168"/>
                  </a:lnTo>
                  <a:lnTo>
                    <a:pt x="68" y="168"/>
                  </a:lnTo>
                  <a:lnTo>
                    <a:pt x="66" y="168"/>
                  </a:lnTo>
                  <a:lnTo>
                    <a:pt x="66" y="166"/>
                  </a:lnTo>
                  <a:lnTo>
                    <a:pt x="66" y="168"/>
                  </a:lnTo>
                  <a:lnTo>
                    <a:pt x="66" y="166"/>
                  </a:lnTo>
                  <a:lnTo>
                    <a:pt x="66" y="168"/>
                  </a:lnTo>
                  <a:lnTo>
                    <a:pt x="66" y="166"/>
                  </a:lnTo>
                  <a:lnTo>
                    <a:pt x="66" y="168"/>
                  </a:lnTo>
                  <a:lnTo>
                    <a:pt x="66" y="166"/>
                  </a:lnTo>
                  <a:lnTo>
                    <a:pt x="66" y="168"/>
                  </a:lnTo>
                  <a:lnTo>
                    <a:pt x="66" y="166"/>
                  </a:lnTo>
                  <a:lnTo>
                    <a:pt x="66" y="168"/>
                  </a:lnTo>
                  <a:lnTo>
                    <a:pt x="66" y="166"/>
                  </a:lnTo>
                  <a:lnTo>
                    <a:pt x="64" y="166"/>
                  </a:lnTo>
                  <a:lnTo>
                    <a:pt x="64" y="168"/>
                  </a:lnTo>
                  <a:lnTo>
                    <a:pt x="64" y="169"/>
                  </a:lnTo>
                  <a:lnTo>
                    <a:pt x="64" y="171"/>
                  </a:lnTo>
                  <a:lnTo>
                    <a:pt x="64" y="169"/>
                  </a:lnTo>
                  <a:lnTo>
                    <a:pt x="64" y="171"/>
                  </a:lnTo>
                  <a:lnTo>
                    <a:pt x="64" y="169"/>
                  </a:lnTo>
                  <a:lnTo>
                    <a:pt x="64" y="171"/>
                  </a:lnTo>
                  <a:lnTo>
                    <a:pt x="64" y="169"/>
                  </a:lnTo>
                  <a:lnTo>
                    <a:pt x="64" y="171"/>
                  </a:lnTo>
                  <a:lnTo>
                    <a:pt x="64" y="169"/>
                  </a:lnTo>
                  <a:lnTo>
                    <a:pt x="62" y="169"/>
                  </a:lnTo>
                  <a:lnTo>
                    <a:pt x="60" y="169"/>
                  </a:lnTo>
                  <a:lnTo>
                    <a:pt x="60" y="168"/>
                  </a:lnTo>
                  <a:lnTo>
                    <a:pt x="60" y="169"/>
                  </a:lnTo>
                  <a:lnTo>
                    <a:pt x="60" y="168"/>
                  </a:lnTo>
                  <a:lnTo>
                    <a:pt x="58" y="168"/>
                  </a:lnTo>
                  <a:lnTo>
                    <a:pt x="58" y="166"/>
                  </a:lnTo>
                  <a:lnTo>
                    <a:pt x="56" y="166"/>
                  </a:lnTo>
                  <a:lnTo>
                    <a:pt x="56" y="168"/>
                  </a:lnTo>
                  <a:lnTo>
                    <a:pt x="56" y="169"/>
                  </a:lnTo>
                  <a:lnTo>
                    <a:pt x="56" y="171"/>
                  </a:lnTo>
                  <a:lnTo>
                    <a:pt x="54" y="171"/>
                  </a:lnTo>
                  <a:lnTo>
                    <a:pt x="54" y="169"/>
                  </a:lnTo>
                  <a:lnTo>
                    <a:pt x="56" y="169"/>
                  </a:lnTo>
                  <a:lnTo>
                    <a:pt x="54" y="169"/>
                  </a:lnTo>
                  <a:lnTo>
                    <a:pt x="56" y="169"/>
                  </a:lnTo>
                  <a:lnTo>
                    <a:pt x="54" y="169"/>
                  </a:lnTo>
                  <a:lnTo>
                    <a:pt x="56" y="169"/>
                  </a:lnTo>
                  <a:lnTo>
                    <a:pt x="54" y="169"/>
                  </a:lnTo>
                  <a:lnTo>
                    <a:pt x="56" y="169"/>
                  </a:lnTo>
                  <a:lnTo>
                    <a:pt x="54" y="169"/>
                  </a:lnTo>
                  <a:lnTo>
                    <a:pt x="54" y="168"/>
                  </a:lnTo>
                  <a:lnTo>
                    <a:pt x="52" y="168"/>
                  </a:lnTo>
                  <a:lnTo>
                    <a:pt x="52" y="166"/>
                  </a:lnTo>
                  <a:lnTo>
                    <a:pt x="52" y="164"/>
                  </a:lnTo>
                  <a:lnTo>
                    <a:pt x="52" y="162"/>
                  </a:lnTo>
                  <a:lnTo>
                    <a:pt x="54" y="162"/>
                  </a:lnTo>
                  <a:lnTo>
                    <a:pt x="54" y="164"/>
                  </a:lnTo>
                  <a:lnTo>
                    <a:pt x="54" y="166"/>
                  </a:lnTo>
                  <a:lnTo>
                    <a:pt x="54" y="164"/>
                  </a:lnTo>
                  <a:lnTo>
                    <a:pt x="54" y="162"/>
                  </a:lnTo>
                  <a:lnTo>
                    <a:pt x="54" y="160"/>
                  </a:lnTo>
                  <a:lnTo>
                    <a:pt x="54" y="158"/>
                  </a:lnTo>
                  <a:lnTo>
                    <a:pt x="56" y="158"/>
                  </a:lnTo>
                  <a:lnTo>
                    <a:pt x="56" y="156"/>
                  </a:lnTo>
                  <a:lnTo>
                    <a:pt x="58" y="156"/>
                  </a:lnTo>
                  <a:lnTo>
                    <a:pt x="58" y="154"/>
                  </a:lnTo>
                  <a:lnTo>
                    <a:pt x="56" y="154"/>
                  </a:lnTo>
                  <a:lnTo>
                    <a:pt x="58" y="154"/>
                  </a:lnTo>
                  <a:lnTo>
                    <a:pt x="58" y="152"/>
                  </a:lnTo>
                  <a:lnTo>
                    <a:pt x="60" y="152"/>
                  </a:lnTo>
                  <a:lnTo>
                    <a:pt x="60" y="150"/>
                  </a:lnTo>
                  <a:lnTo>
                    <a:pt x="60" y="148"/>
                  </a:lnTo>
                  <a:lnTo>
                    <a:pt x="60" y="146"/>
                  </a:lnTo>
                  <a:lnTo>
                    <a:pt x="58" y="146"/>
                  </a:lnTo>
                  <a:lnTo>
                    <a:pt x="58" y="144"/>
                  </a:lnTo>
                  <a:lnTo>
                    <a:pt x="56" y="144"/>
                  </a:lnTo>
                  <a:lnTo>
                    <a:pt x="56" y="143"/>
                  </a:lnTo>
                  <a:lnTo>
                    <a:pt x="56" y="144"/>
                  </a:lnTo>
                  <a:lnTo>
                    <a:pt x="56" y="143"/>
                  </a:lnTo>
                  <a:lnTo>
                    <a:pt x="56" y="141"/>
                  </a:lnTo>
                  <a:lnTo>
                    <a:pt x="56" y="139"/>
                  </a:lnTo>
                  <a:lnTo>
                    <a:pt x="58" y="139"/>
                  </a:lnTo>
                  <a:lnTo>
                    <a:pt x="58" y="137"/>
                  </a:lnTo>
                  <a:lnTo>
                    <a:pt x="58" y="139"/>
                  </a:lnTo>
                  <a:lnTo>
                    <a:pt x="60" y="139"/>
                  </a:lnTo>
                  <a:lnTo>
                    <a:pt x="62" y="139"/>
                  </a:lnTo>
                  <a:lnTo>
                    <a:pt x="60" y="139"/>
                  </a:lnTo>
                  <a:lnTo>
                    <a:pt x="60" y="137"/>
                  </a:lnTo>
                  <a:lnTo>
                    <a:pt x="58" y="137"/>
                  </a:lnTo>
                  <a:lnTo>
                    <a:pt x="58" y="135"/>
                  </a:lnTo>
                  <a:lnTo>
                    <a:pt x="56" y="135"/>
                  </a:lnTo>
                  <a:lnTo>
                    <a:pt x="58" y="135"/>
                  </a:lnTo>
                  <a:lnTo>
                    <a:pt x="58" y="137"/>
                  </a:lnTo>
                  <a:lnTo>
                    <a:pt x="56" y="137"/>
                  </a:lnTo>
                  <a:lnTo>
                    <a:pt x="56" y="135"/>
                  </a:lnTo>
                  <a:lnTo>
                    <a:pt x="56" y="133"/>
                  </a:lnTo>
                  <a:lnTo>
                    <a:pt x="58" y="133"/>
                  </a:lnTo>
                  <a:lnTo>
                    <a:pt x="58" y="131"/>
                  </a:lnTo>
                  <a:lnTo>
                    <a:pt x="58" y="133"/>
                  </a:lnTo>
                  <a:lnTo>
                    <a:pt x="56" y="133"/>
                  </a:lnTo>
                  <a:lnTo>
                    <a:pt x="56" y="135"/>
                  </a:lnTo>
                  <a:lnTo>
                    <a:pt x="56" y="133"/>
                  </a:lnTo>
                  <a:lnTo>
                    <a:pt x="56" y="135"/>
                  </a:lnTo>
                  <a:lnTo>
                    <a:pt x="56" y="137"/>
                  </a:lnTo>
                  <a:lnTo>
                    <a:pt x="56" y="139"/>
                  </a:lnTo>
                  <a:lnTo>
                    <a:pt x="54" y="141"/>
                  </a:lnTo>
                  <a:lnTo>
                    <a:pt x="54" y="139"/>
                  </a:lnTo>
                  <a:lnTo>
                    <a:pt x="54" y="137"/>
                  </a:lnTo>
                  <a:lnTo>
                    <a:pt x="52" y="137"/>
                  </a:lnTo>
                  <a:lnTo>
                    <a:pt x="54" y="137"/>
                  </a:lnTo>
                  <a:lnTo>
                    <a:pt x="52" y="137"/>
                  </a:lnTo>
                  <a:lnTo>
                    <a:pt x="54" y="137"/>
                  </a:lnTo>
                  <a:lnTo>
                    <a:pt x="54" y="139"/>
                  </a:lnTo>
                  <a:lnTo>
                    <a:pt x="52" y="139"/>
                  </a:lnTo>
                  <a:lnTo>
                    <a:pt x="52" y="137"/>
                  </a:lnTo>
                  <a:lnTo>
                    <a:pt x="52" y="139"/>
                  </a:lnTo>
                  <a:lnTo>
                    <a:pt x="50" y="139"/>
                  </a:lnTo>
                  <a:lnTo>
                    <a:pt x="52" y="139"/>
                  </a:lnTo>
                  <a:lnTo>
                    <a:pt x="52" y="141"/>
                  </a:lnTo>
                  <a:lnTo>
                    <a:pt x="50" y="141"/>
                  </a:lnTo>
                  <a:lnTo>
                    <a:pt x="50" y="139"/>
                  </a:lnTo>
                  <a:lnTo>
                    <a:pt x="50" y="137"/>
                  </a:lnTo>
                  <a:lnTo>
                    <a:pt x="50" y="139"/>
                  </a:lnTo>
                  <a:lnTo>
                    <a:pt x="50" y="137"/>
                  </a:lnTo>
                  <a:lnTo>
                    <a:pt x="50" y="135"/>
                  </a:lnTo>
                  <a:lnTo>
                    <a:pt x="52" y="135"/>
                  </a:lnTo>
                  <a:lnTo>
                    <a:pt x="52" y="133"/>
                  </a:lnTo>
                  <a:lnTo>
                    <a:pt x="54" y="133"/>
                  </a:lnTo>
                  <a:lnTo>
                    <a:pt x="54" y="131"/>
                  </a:lnTo>
                  <a:lnTo>
                    <a:pt x="56" y="131"/>
                  </a:lnTo>
                  <a:lnTo>
                    <a:pt x="56" y="129"/>
                  </a:lnTo>
                  <a:lnTo>
                    <a:pt x="54" y="129"/>
                  </a:lnTo>
                  <a:lnTo>
                    <a:pt x="54" y="131"/>
                  </a:lnTo>
                  <a:lnTo>
                    <a:pt x="52" y="131"/>
                  </a:lnTo>
                  <a:lnTo>
                    <a:pt x="52" y="133"/>
                  </a:lnTo>
                  <a:lnTo>
                    <a:pt x="50" y="133"/>
                  </a:lnTo>
                  <a:lnTo>
                    <a:pt x="50" y="135"/>
                  </a:lnTo>
                  <a:lnTo>
                    <a:pt x="50" y="137"/>
                  </a:lnTo>
                  <a:lnTo>
                    <a:pt x="48" y="137"/>
                  </a:lnTo>
                  <a:lnTo>
                    <a:pt x="48" y="135"/>
                  </a:lnTo>
                  <a:lnTo>
                    <a:pt x="48" y="137"/>
                  </a:lnTo>
                  <a:lnTo>
                    <a:pt x="48" y="139"/>
                  </a:lnTo>
                  <a:lnTo>
                    <a:pt x="48" y="141"/>
                  </a:lnTo>
                  <a:lnTo>
                    <a:pt x="50" y="141"/>
                  </a:lnTo>
                  <a:lnTo>
                    <a:pt x="50" y="143"/>
                  </a:lnTo>
                  <a:lnTo>
                    <a:pt x="48" y="143"/>
                  </a:lnTo>
                  <a:lnTo>
                    <a:pt x="48" y="144"/>
                  </a:lnTo>
                  <a:lnTo>
                    <a:pt x="48" y="146"/>
                  </a:lnTo>
                  <a:lnTo>
                    <a:pt x="48" y="144"/>
                  </a:lnTo>
                  <a:lnTo>
                    <a:pt x="48" y="146"/>
                  </a:lnTo>
                  <a:lnTo>
                    <a:pt x="48" y="148"/>
                  </a:lnTo>
                  <a:lnTo>
                    <a:pt x="47" y="148"/>
                  </a:lnTo>
                  <a:lnTo>
                    <a:pt x="47" y="150"/>
                  </a:lnTo>
                  <a:lnTo>
                    <a:pt x="47" y="152"/>
                  </a:lnTo>
                  <a:lnTo>
                    <a:pt x="47" y="154"/>
                  </a:lnTo>
                  <a:lnTo>
                    <a:pt x="45" y="154"/>
                  </a:lnTo>
                  <a:lnTo>
                    <a:pt x="43" y="154"/>
                  </a:lnTo>
                  <a:lnTo>
                    <a:pt x="43" y="152"/>
                  </a:lnTo>
                  <a:lnTo>
                    <a:pt x="45" y="152"/>
                  </a:lnTo>
                  <a:lnTo>
                    <a:pt x="45" y="150"/>
                  </a:lnTo>
                  <a:lnTo>
                    <a:pt x="45" y="148"/>
                  </a:lnTo>
                  <a:lnTo>
                    <a:pt x="45" y="146"/>
                  </a:lnTo>
                  <a:lnTo>
                    <a:pt x="45" y="144"/>
                  </a:lnTo>
                  <a:lnTo>
                    <a:pt x="47" y="144"/>
                  </a:lnTo>
                  <a:lnTo>
                    <a:pt x="47" y="143"/>
                  </a:lnTo>
                  <a:lnTo>
                    <a:pt x="48" y="143"/>
                  </a:lnTo>
                  <a:lnTo>
                    <a:pt x="48" y="141"/>
                  </a:lnTo>
                  <a:lnTo>
                    <a:pt x="48" y="143"/>
                  </a:lnTo>
                  <a:lnTo>
                    <a:pt x="48" y="141"/>
                  </a:lnTo>
                  <a:lnTo>
                    <a:pt x="47" y="141"/>
                  </a:lnTo>
                  <a:lnTo>
                    <a:pt x="47" y="143"/>
                  </a:lnTo>
                  <a:lnTo>
                    <a:pt x="45" y="143"/>
                  </a:lnTo>
                  <a:lnTo>
                    <a:pt x="45" y="141"/>
                  </a:lnTo>
                  <a:lnTo>
                    <a:pt x="45" y="139"/>
                  </a:lnTo>
                  <a:lnTo>
                    <a:pt x="47" y="139"/>
                  </a:lnTo>
                  <a:lnTo>
                    <a:pt x="45" y="139"/>
                  </a:lnTo>
                  <a:lnTo>
                    <a:pt x="47" y="139"/>
                  </a:lnTo>
                  <a:lnTo>
                    <a:pt x="45" y="139"/>
                  </a:lnTo>
                  <a:lnTo>
                    <a:pt x="45" y="137"/>
                  </a:lnTo>
                  <a:lnTo>
                    <a:pt x="47" y="137"/>
                  </a:lnTo>
                  <a:lnTo>
                    <a:pt x="47" y="135"/>
                  </a:lnTo>
                  <a:lnTo>
                    <a:pt x="47" y="137"/>
                  </a:lnTo>
                  <a:lnTo>
                    <a:pt x="47" y="135"/>
                  </a:lnTo>
                  <a:lnTo>
                    <a:pt x="47" y="137"/>
                  </a:lnTo>
                  <a:lnTo>
                    <a:pt x="47" y="135"/>
                  </a:lnTo>
                  <a:lnTo>
                    <a:pt x="47" y="137"/>
                  </a:lnTo>
                  <a:lnTo>
                    <a:pt x="47" y="135"/>
                  </a:lnTo>
                  <a:lnTo>
                    <a:pt x="47" y="137"/>
                  </a:lnTo>
                  <a:lnTo>
                    <a:pt x="45" y="137"/>
                  </a:lnTo>
                  <a:lnTo>
                    <a:pt x="45" y="139"/>
                  </a:lnTo>
                  <a:lnTo>
                    <a:pt x="45" y="137"/>
                  </a:lnTo>
                  <a:lnTo>
                    <a:pt x="45" y="135"/>
                  </a:lnTo>
                  <a:lnTo>
                    <a:pt x="45" y="137"/>
                  </a:lnTo>
                  <a:lnTo>
                    <a:pt x="45" y="135"/>
                  </a:lnTo>
                  <a:lnTo>
                    <a:pt x="47" y="135"/>
                  </a:lnTo>
                  <a:lnTo>
                    <a:pt x="47" y="133"/>
                  </a:lnTo>
                  <a:lnTo>
                    <a:pt x="47" y="135"/>
                  </a:lnTo>
                  <a:lnTo>
                    <a:pt x="47" y="133"/>
                  </a:lnTo>
                  <a:lnTo>
                    <a:pt x="47" y="135"/>
                  </a:lnTo>
                  <a:lnTo>
                    <a:pt x="47" y="133"/>
                  </a:lnTo>
                  <a:lnTo>
                    <a:pt x="47" y="135"/>
                  </a:lnTo>
                  <a:lnTo>
                    <a:pt x="47" y="133"/>
                  </a:lnTo>
                  <a:lnTo>
                    <a:pt x="47" y="131"/>
                  </a:lnTo>
                  <a:lnTo>
                    <a:pt x="47" y="133"/>
                  </a:lnTo>
                  <a:lnTo>
                    <a:pt x="47" y="131"/>
                  </a:lnTo>
                  <a:lnTo>
                    <a:pt x="47" y="129"/>
                  </a:lnTo>
                  <a:lnTo>
                    <a:pt x="47" y="131"/>
                  </a:lnTo>
                  <a:lnTo>
                    <a:pt x="47" y="129"/>
                  </a:lnTo>
                  <a:lnTo>
                    <a:pt x="48" y="129"/>
                  </a:lnTo>
                  <a:lnTo>
                    <a:pt x="47" y="129"/>
                  </a:lnTo>
                  <a:lnTo>
                    <a:pt x="48" y="129"/>
                  </a:lnTo>
                  <a:lnTo>
                    <a:pt x="47" y="129"/>
                  </a:lnTo>
                  <a:lnTo>
                    <a:pt x="47" y="127"/>
                  </a:lnTo>
                  <a:lnTo>
                    <a:pt x="48" y="127"/>
                  </a:lnTo>
                  <a:lnTo>
                    <a:pt x="47" y="127"/>
                  </a:lnTo>
                  <a:lnTo>
                    <a:pt x="48" y="127"/>
                  </a:lnTo>
                  <a:lnTo>
                    <a:pt x="47" y="127"/>
                  </a:lnTo>
                  <a:lnTo>
                    <a:pt x="47" y="125"/>
                  </a:lnTo>
                  <a:lnTo>
                    <a:pt x="48" y="125"/>
                  </a:lnTo>
                  <a:lnTo>
                    <a:pt x="48" y="123"/>
                  </a:lnTo>
                  <a:lnTo>
                    <a:pt x="50" y="123"/>
                  </a:lnTo>
                  <a:lnTo>
                    <a:pt x="50" y="121"/>
                  </a:lnTo>
                  <a:lnTo>
                    <a:pt x="50" y="123"/>
                  </a:lnTo>
                  <a:lnTo>
                    <a:pt x="48" y="123"/>
                  </a:lnTo>
                  <a:lnTo>
                    <a:pt x="48" y="121"/>
                  </a:lnTo>
                  <a:lnTo>
                    <a:pt x="50" y="121"/>
                  </a:lnTo>
                  <a:lnTo>
                    <a:pt x="50" y="120"/>
                  </a:lnTo>
                  <a:lnTo>
                    <a:pt x="52" y="120"/>
                  </a:lnTo>
                  <a:lnTo>
                    <a:pt x="52" y="118"/>
                  </a:lnTo>
                  <a:lnTo>
                    <a:pt x="52" y="120"/>
                  </a:lnTo>
                  <a:lnTo>
                    <a:pt x="52" y="118"/>
                  </a:lnTo>
                  <a:lnTo>
                    <a:pt x="52" y="120"/>
                  </a:lnTo>
                  <a:lnTo>
                    <a:pt x="52" y="118"/>
                  </a:lnTo>
                  <a:lnTo>
                    <a:pt x="54" y="118"/>
                  </a:lnTo>
                  <a:lnTo>
                    <a:pt x="52" y="118"/>
                  </a:lnTo>
                  <a:lnTo>
                    <a:pt x="54" y="118"/>
                  </a:lnTo>
                  <a:lnTo>
                    <a:pt x="56" y="118"/>
                  </a:lnTo>
                  <a:lnTo>
                    <a:pt x="54" y="118"/>
                  </a:lnTo>
                  <a:lnTo>
                    <a:pt x="56" y="118"/>
                  </a:lnTo>
                  <a:lnTo>
                    <a:pt x="54" y="118"/>
                  </a:lnTo>
                  <a:lnTo>
                    <a:pt x="52" y="118"/>
                  </a:lnTo>
                  <a:lnTo>
                    <a:pt x="50" y="118"/>
                  </a:lnTo>
                  <a:lnTo>
                    <a:pt x="52" y="118"/>
                  </a:lnTo>
                  <a:lnTo>
                    <a:pt x="52" y="116"/>
                  </a:lnTo>
                  <a:lnTo>
                    <a:pt x="54" y="116"/>
                  </a:lnTo>
                  <a:lnTo>
                    <a:pt x="54" y="114"/>
                  </a:lnTo>
                  <a:lnTo>
                    <a:pt x="52" y="114"/>
                  </a:lnTo>
                  <a:lnTo>
                    <a:pt x="54" y="114"/>
                  </a:lnTo>
                  <a:lnTo>
                    <a:pt x="52" y="114"/>
                  </a:lnTo>
                  <a:lnTo>
                    <a:pt x="54" y="114"/>
                  </a:lnTo>
                  <a:lnTo>
                    <a:pt x="52" y="114"/>
                  </a:lnTo>
                  <a:lnTo>
                    <a:pt x="50" y="114"/>
                  </a:lnTo>
                  <a:lnTo>
                    <a:pt x="52" y="114"/>
                  </a:lnTo>
                  <a:lnTo>
                    <a:pt x="52" y="116"/>
                  </a:lnTo>
                  <a:lnTo>
                    <a:pt x="50" y="116"/>
                  </a:lnTo>
                  <a:lnTo>
                    <a:pt x="52" y="116"/>
                  </a:lnTo>
                  <a:lnTo>
                    <a:pt x="50" y="116"/>
                  </a:lnTo>
                  <a:lnTo>
                    <a:pt x="52" y="116"/>
                  </a:lnTo>
                  <a:lnTo>
                    <a:pt x="52" y="118"/>
                  </a:lnTo>
                  <a:lnTo>
                    <a:pt x="50" y="118"/>
                  </a:lnTo>
                  <a:lnTo>
                    <a:pt x="50" y="120"/>
                  </a:lnTo>
                  <a:lnTo>
                    <a:pt x="50" y="118"/>
                  </a:lnTo>
                  <a:lnTo>
                    <a:pt x="50" y="120"/>
                  </a:lnTo>
                  <a:lnTo>
                    <a:pt x="48" y="120"/>
                  </a:lnTo>
                  <a:lnTo>
                    <a:pt x="48" y="121"/>
                  </a:lnTo>
                  <a:lnTo>
                    <a:pt x="48" y="120"/>
                  </a:lnTo>
                  <a:lnTo>
                    <a:pt x="47" y="120"/>
                  </a:lnTo>
                  <a:lnTo>
                    <a:pt x="47" y="121"/>
                  </a:lnTo>
                  <a:lnTo>
                    <a:pt x="48" y="121"/>
                  </a:lnTo>
                  <a:lnTo>
                    <a:pt x="47" y="121"/>
                  </a:lnTo>
                  <a:lnTo>
                    <a:pt x="47" y="123"/>
                  </a:lnTo>
                  <a:lnTo>
                    <a:pt x="45" y="123"/>
                  </a:lnTo>
                  <a:lnTo>
                    <a:pt x="43" y="123"/>
                  </a:lnTo>
                  <a:lnTo>
                    <a:pt x="43" y="121"/>
                  </a:lnTo>
                  <a:lnTo>
                    <a:pt x="45" y="121"/>
                  </a:lnTo>
                  <a:lnTo>
                    <a:pt x="43" y="121"/>
                  </a:lnTo>
                  <a:lnTo>
                    <a:pt x="43" y="123"/>
                  </a:lnTo>
                  <a:lnTo>
                    <a:pt x="43" y="121"/>
                  </a:lnTo>
                  <a:lnTo>
                    <a:pt x="43" y="123"/>
                  </a:lnTo>
                  <a:lnTo>
                    <a:pt x="43" y="121"/>
                  </a:lnTo>
                  <a:lnTo>
                    <a:pt x="41" y="121"/>
                  </a:lnTo>
                  <a:lnTo>
                    <a:pt x="41" y="120"/>
                  </a:lnTo>
                  <a:lnTo>
                    <a:pt x="43" y="120"/>
                  </a:lnTo>
                  <a:lnTo>
                    <a:pt x="43" y="118"/>
                  </a:lnTo>
                  <a:lnTo>
                    <a:pt x="45" y="118"/>
                  </a:lnTo>
                  <a:lnTo>
                    <a:pt x="45" y="120"/>
                  </a:lnTo>
                  <a:lnTo>
                    <a:pt x="45" y="118"/>
                  </a:lnTo>
                  <a:lnTo>
                    <a:pt x="45" y="120"/>
                  </a:lnTo>
                  <a:lnTo>
                    <a:pt x="45" y="118"/>
                  </a:lnTo>
                  <a:lnTo>
                    <a:pt x="45" y="120"/>
                  </a:lnTo>
                  <a:lnTo>
                    <a:pt x="45" y="118"/>
                  </a:lnTo>
                  <a:lnTo>
                    <a:pt x="45" y="120"/>
                  </a:lnTo>
                  <a:lnTo>
                    <a:pt x="47" y="120"/>
                  </a:lnTo>
                  <a:lnTo>
                    <a:pt x="47" y="118"/>
                  </a:lnTo>
                  <a:lnTo>
                    <a:pt x="45" y="118"/>
                  </a:lnTo>
                  <a:lnTo>
                    <a:pt x="45" y="120"/>
                  </a:lnTo>
                  <a:lnTo>
                    <a:pt x="45" y="118"/>
                  </a:lnTo>
                  <a:lnTo>
                    <a:pt x="45" y="120"/>
                  </a:lnTo>
                  <a:lnTo>
                    <a:pt x="45" y="118"/>
                  </a:lnTo>
                  <a:lnTo>
                    <a:pt x="43" y="118"/>
                  </a:lnTo>
                  <a:lnTo>
                    <a:pt x="45" y="118"/>
                  </a:lnTo>
                  <a:lnTo>
                    <a:pt x="43" y="118"/>
                  </a:lnTo>
                  <a:lnTo>
                    <a:pt x="43" y="120"/>
                  </a:lnTo>
                  <a:lnTo>
                    <a:pt x="41" y="120"/>
                  </a:lnTo>
                  <a:lnTo>
                    <a:pt x="41" y="118"/>
                  </a:lnTo>
                  <a:lnTo>
                    <a:pt x="41" y="120"/>
                  </a:lnTo>
                  <a:lnTo>
                    <a:pt x="41" y="118"/>
                  </a:lnTo>
                  <a:lnTo>
                    <a:pt x="41" y="120"/>
                  </a:lnTo>
                  <a:lnTo>
                    <a:pt x="41" y="118"/>
                  </a:lnTo>
                  <a:lnTo>
                    <a:pt x="41" y="120"/>
                  </a:lnTo>
                  <a:lnTo>
                    <a:pt x="41" y="118"/>
                  </a:lnTo>
                  <a:lnTo>
                    <a:pt x="41" y="120"/>
                  </a:lnTo>
                  <a:lnTo>
                    <a:pt x="41" y="118"/>
                  </a:lnTo>
                  <a:lnTo>
                    <a:pt x="41" y="120"/>
                  </a:lnTo>
                  <a:lnTo>
                    <a:pt x="41" y="118"/>
                  </a:lnTo>
                  <a:lnTo>
                    <a:pt x="41" y="120"/>
                  </a:lnTo>
                  <a:lnTo>
                    <a:pt x="41" y="118"/>
                  </a:lnTo>
                  <a:lnTo>
                    <a:pt x="41" y="120"/>
                  </a:lnTo>
                  <a:lnTo>
                    <a:pt x="41" y="118"/>
                  </a:lnTo>
                  <a:lnTo>
                    <a:pt x="41" y="120"/>
                  </a:lnTo>
                  <a:lnTo>
                    <a:pt x="39" y="120"/>
                  </a:lnTo>
                  <a:lnTo>
                    <a:pt x="39" y="118"/>
                  </a:lnTo>
                  <a:lnTo>
                    <a:pt x="37" y="118"/>
                  </a:lnTo>
                  <a:lnTo>
                    <a:pt x="37" y="116"/>
                  </a:lnTo>
                  <a:lnTo>
                    <a:pt x="37" y="118"/>
                  </a:lnTo>
                  <a:lnTo>
                    <a:pt x="37" y="116"/>
                  </a:lnTo>
                  <a:lnTo>
                    <a:pt x="37" y="118"/>
                  </a:lnTo>
                  <a:lnTo>
                    <a:pt x="37" y="116"/>
                  </a:lnTo>
                  <a:lnTo>
                    <a:pt x="37" y="118"/>
                  </a:lnTo>
                  <a:lnTo>
                    <a:pt x="37" y="116"/>
                  </a:lnTo>
                  <a:lnTo>
                    <a:pt x="39" y="116"/>
                  </a:lnTo>
                  <a:lnTo>
                    <a:pt x="41" y="116"/>
                  </a:lnTo>
                  <a:lnTo>
                    <a:pt x="41" y="118"/>
                  </a:lnTo>
                  <a:lnTo>
                    <a:pt x="41" y="116"/>
                  </a:lnTo>
                  <a:lnTo>
                    <a:pt x="43" y="116"/>
                  </a:lnTo>
                  <a:lnTo>
                    <a:pt x="43" y="118"/>
                  </a:lnTo>
                  <a:lnTo>
                    <a:pt x="43" y="116"/>
                  </a:lnTo>
                  <a:lnTo>
                    <a:pt x="41" y="116"/>
                  </a:lnTo>
                  <a:lnTo>
                    <a:pt x="43" y="116"/>
                  </a:lnTo>
                  <a:lnTo>
                    <a:pt x="45" y="116"/>
                  </a:lnTo>
                  <a:lnTo>
                    <a:pt x="43" y="116"/>
                  </a:lnTo>
                  <a:lnTo>
                    <a:pt x="43" y="114"/>
                  </a:lnTo>
                  <a:lnTo>
                    <a:pt x="45" y="114"/>
                  </a:lnTo>
                  <a:lnTo>
                    <a:pt x="43" y="114"/>
                  </a:lnTo>
                  <a:lnTo>
                    <a:pt x="45" y="114"/>
                  </a:lnTo>
                  <a:lnTo>
                    <a:pt x="43" y="114"/>
                  </a:lnTo>
                  <a:lnTo>
                    <a:pt x="41" y="114"/>
                  </a:lnTo>
                  <a:lnTo>
                    <a:pt x="41" y="112"/>
                  </a:lnTo>
                  <a:lnTo>
                    <a:pt x="43" y="112"/>
                  </a:lnTo>
                  <a:lnTo>
                    <a:pt x="43" y="114"/>
                  </a:lnTo>
                  <a:lnTo>
                    <a:pt x="43" y="112"/>
                  </a:lnTo>
                  <a:lnTo>
                    <a:pt x="43" y="114"/>
                  </a:lnTo>
                  <a:lnTo>
                    <a:pt x="43" y="112"/>
                  </a:lnTo>
                  <a:lnTo>
                    <a:pt x="43" y="110"/>
                  </a:lnTo>
                  <a:lnTo>
                    <a:pt x="45" y="110"/>
                  </a:lnTo>
                  <a:lnTo>
                    <a:pt x="45" y="112"/>
                  </a:lnTo>
                  <a:lnTo>
                    <a:pt x="45" y="110"/>
                  </a:lnTo>
                  <a:lnTo>
                    <a:pt x="47" y="110"/>
                  </a:lnTo>
                  <a:lnTo>
                    <a:pt x="45" y="110"/>
                  </a:lnTo>
                  <a:lnTo>
                    <a:pt x="45" y="108"/>
                  </a:lnTo>
                  <a:lnTo>
                    <a:pt x="43" y="108"/>
                  </a:lnTo>
                  <a:lnTo>
                    <a:pt x="45" y="108"/>
                  </a:lnTo>
                  <a:lnTo>
                    <a:pt x="43" y="108"/>
                  </a:lnTo>
                  <a:lnTo>
                    <a:pt x="45" y="108"/>
                  </a:lnTo>
                  <a:lnTo>
                    <a:pt x="45" y="106"/>
                  </a:lnTo>
                  <a:lnTo>
                    <a:pt x="47" y="106"/>
                  </a:lnTo>
                  <a:lnTo>
                    <a:pt x="47" y="108"/>
                  </a:lnTo>
                  <a:lnTo>
                    <a:pt x="48" y="108"/>
                  </a:lnTo>
                  <a:lnTo>
                    <a:pt x="48" y="106"/>
                  </a:lnTo>
                  <a:lnTo>
                    <a:pt x="48" y="108"/>
                  </a:lnTo>
                  <a:lnTo>
                    <a:pt x="48" y="106"/>
                  </a:lnTo>
                  <a:lnTo>
                    <a:pt x="48" y="108"/>
                  </a:lnTo>
                  <a:lnTo>
                    <a:pt x="47" y="108"/>
                  </a:lnTo>
                  <a:lnTo>
                    <a:pt x="47" y="106"/>
                  </a:lnTo>
                  <a:lnTo>
                    <a:pt x="45" y="106"/>
                  </a:lnTo>
                  <a:lnTo>
                    <a:pt x="45" y="104"/>
                  </a:lnTo>
                  <a:lnTo>
                    <a:pt x="47" y="104"/>
                  </a:lnTo>
                  <a:lnTo>
                    <a:pt x="45" y="104"/>
                  </a:lnTo>
                  <a:lnTo>
                    <a:pt x="47" y="104"/>
                  </a:lnTo>
                  <a:lnTo>
                    <a:pt x="47" y="102"/>
                  </a:lnTo>
                  <a:lnTo>
                    <a:pt x="47" y="104"/>
                  </a:lnTo>
                  <a:lnTo>
                    <a:pt x="48" y="104"/>
                  </a:lnTo>
                  <a:lnTo>
                    <a:pt x="48" y="102"/>
                  </a:lnTo>
                  <a:lnTo>
                    <a:pt x="47" y="102"/>
                  </a:lnTo>
                  <a:lnTo>
                    <a:pt x="48" y="102"/>
                  </a:lnTo>
                  <a:lnTo>
                    <a:pt x="47" y="102"/>
                  </a:lnTo>
                  <a:lnTo>
                    <a:pt x="45" y="102"/>
                  </a:lnTo>
                  <a:lnTo>
                    <a:pt x="45" y="100"/>
                  </a:lnTo>
                  <a:lnTo>
                    <a:pt x="45" y="102"/>
                  </a:lnTo>
                  <a:lnTo>
                    <a:pt x="45" y="100"/>
                  </a:lnTo>
                  <a:lnTo>
                    <a:pt x="47" y="100"/>
                  </a:lnTo>
                  <a:lnTo>
                    <a:pt x="48" y="100"/>
                  </a:lnTo>
                  <a:lnTo>
                    <a:pt x="48" y="98"/>
                  </a:lnTo>
                  <a:lnTo>
                    <a:pt x="47" y="98"/>
                  </a:lnTo>
                  <a:lnTo>
                    <a:pt x="47" y="100"/>
                  </a:lnTo>
                  <a:lnTo>
                    <a:pt x="47" y="98"/>
                  </a:lnTo>
                  <a:lnTo>
                    <a:pt x="47" y="100"/>
                  </a:lnTo>
                  <a:lnTo>
                    <a:pt x="47" y="98"/>
                  </a:lnTo>
                  <a:lnTo>
                    <a:pt x="47" y="100"/>
                  </a:lnTo>
                  <a:lnTo>
                    <a:pt x="45" y="100"/>
                  </a:lnTo>
                  <a:lnTo>
                    <a:pt x="47" y="100"/>
                  </a:lnTo>
                  <a:lnTo>
                    <a:pt x="47" y="98"/>
                  </a:lnTo>
                  <a:lnTo>
                    <a:pt x="45" y="98"/>
                  </a:lnTo>
                  <a:lnTo>
                    <a:pt x="45" y="100"/>
                  </a:lnTo>
                  <a:lnTo>
                    <a:pt x="43" y="100"/>
                  </a:lnTo>
                  <a:lnTo>
                    <a:pt x="43" y="98"/>
                  </a:lnTo>
                  <a:lnTo>
                    <a:pt x="43" y="100"/>
                  </a:lnTo>
                  <a:lnTo>
                    <a:pt x="43" y="98"/>
                  </a:lnTo>
                  <a:lnTo>
                    <a:pt x="43" y="96"/>
                  </a:lnTo>
                  <a:lnTo>
                    <a:pt x="43" y="95"/>
                  </a:lnTo>
                  <a:lnTo>
                    <a:pt x="45" y="95"/>
                  </a:lnTo>
                  <a:lnTo>
                    <a:pt x="45" y="96"/>
                  </a:lnTo>
                  <a:lnTo>
                    <a:pt x="45" y="95"/>
                  </a:lnTo>
                  <a:lnTo>
                    <a:pt x="45" y="96"/>
                  </a:lnTo>
                  <a:lnTo>
                    <a:pt x="47" y="96"/>
                  </a:lnTo>
                  <a:lnTo>
                    <a:pt x="47" y="95"/>
                  </a:lnTo>
                  <a:lnTo>
                    <a:pt x="47" y="96"/>
                  </a:lnTo>
                  <a:lnTo>
                    <a:pt x="47" y="95"/>
                  </a:lnTo>
                  <a:lnTo>
                    <a:pt x="45" y="95"/>
                  </a:lnTo>
                  <a:lnTo>
                    <a:pt x="45" y="93"/>
                  </a:lnTo>
                  <a:lnTo>
                    <a:pt x="43" y="93"/>
                  </a:lnTo>
                  <a:lnTo>
                    <a:pt x="43" y="91"/>
                  </a:lnTo>
                  <a:lnTo>
                    <a:pt x="45" y="91"/>
                  </a:lnTo>
                  <a:lnTo>
                    <a:pt x="43" y="91"/>
                  </a:lnTo>
                  <a:lnTo>
                    <a:pt x="43" y="89"/>
                  </a:lnTo>
                  <a:lnTo>
                    <a:pt x="43" y="87"/>
                  </a:lnTo>
                  <a:lnTo>
                    <a:pt x="45" y="87"/>
                  </a:lnTo>
                  <a:lnTo>
                    <a:pt x="45" y="89"/>
                  </a:lnTo>
                  <a:lnTo>
                    <a:pt x="47" y="89"/>
                  </a:lnTo>
                  <a:lnTo>
                    <a:pt x="47" y="87"/>
                  </a:lnTo>
                  <a:lnTo>
                    <a:pt x="45" y="87"/>
                  </a:lnTo>
                  <a:lnTo>
                    <a:pt x="45" y="85"/>
                  </a:lnTo>
                  <a:lnTo>
                    <a:pt x="47" y="85"/>
                  </a:lnTo>
                  <a:lnTo>
                    <a:pt x="47" y="87"/>
                  </a:lnTo>
                  <a:lnTo>
                    <a:pt x="48" y="87"/>
                  </a:lnTo>
                  <a:lnTo>
                    <a:pt x="48" y="85"/>
                  </a:lnTo>
                  <a:lnTo>
                    <a:pt x="50" y="85"/>
                  </a:lnTo>
                  <a:lnTo>
                    <a:pt x="50" y="87"/>
                  </a:lnTo>
                  <a:lnTo>
                    <a:pt x="52" y="87"/>
                  </a:lnTo>
                  <a:lnTo>
                    <a:pt x="50" y="87"/>
                  </a:lnTo>
                  <a:lnTo>
                    <a:pt x="50" y="85"/>
                  </a:lnTo>
                  <a:lnTo>
                    <a:pt x="48" y="85"/>
                  </a:lnTo>
                  <a:lnTo>
                    <a:pt x="50" y="85"/>
                  </a:lnTo>
                  <a:lnTo>
                    <a:pt x="52" y="85"/>
                  </a:lnTo>
                  <a:lnTo>
                    <a:pt x="52" y="87"/>
                  </a:lnTo>
                  <a:lnTo>
                    <a:pt x="54" y="87"/>
                  </a:lnTo>
                  <a:lnTo>
                    <a:pt x="54" y="89"/>
                  </a:lnTo>
                  <a:lnTo>
                    <a:pt x="54" y="87"/>
                  </a:lnTo>
                  <a:lnTo>
                    <a:pt x="52" y="87"/>
                  </a:lnTo>
                  <a:lnTo>
                    <a:pt x="52" y="85"/>
                  </a:lnTo>
                  <a:lnTo>
                    <a:pt x="52" y="83"/>
                  </a:lnTo>
                  <a:lnTo>
                    <a:pt x="52" y="85"/>
                  </a:lnTo>
                  <a:lnTo>
                    <a:pt x="52" y="83"/>
                  </a:lnTo>
                  <a:lnTo>
                    <a:pt x="52" y="85"/>
                  </a:lnTo>
                  <a:lnTo>
                    <a:pt x="52" y="83"/>
                  </a:lnTo>
                  <a:lnTo>
                    <a:pt x="50" y="83"/>
                  </a:lnTo>
                  <a:lnTo>
                    <a:pt x="50" y="81"/>
                  </a:lnTo>
                  <a:lnTo>
                    <a:pt x="48" y="81"/>
                  </a:lnTo>
                  <a:lnTo>
                    <a:pt x="48" y="79"/>
                  </a:lnTo>
                  <a:lnTo>
                    <a:pt x="48" y="81"/>
                  </a:lnTo>
                  <a:lnTo>
                    <a:pt x="48" y="79"/>
                  </a:lnTo>
                  <a:lnTo>
                    <a:pt x="48" y="81"/>
                  </a:lnTo>
                  <a:lnTo>
                    <a:pt x="48" y="79"/>
                  </a:lnTo>
                  <a:lnTo>
                    <a:pt x="48" y="81"/>
                  </a:lnTo>
                  <a:lnTo>
                    <a:pt x="48" y="79"/>
                  </a:lnTo>
                  <a:lnTo>
                    <a:pt x="48" y="81"/>
                  </a:lnTo>
                  <a:lnTo>
                    <a:pt x="48" y="79"/>
                  </a:lnTo>
                  <a:lnTo>
                    <a:pt x="48" y="81"/>
                  </a:lnTo>
                  <a:lnTo>
                    <a:pt x="50" y="81"/>
                  </a:lnTo>
                  <a:lnTo>
                    <a:pt x="48" y="81"/>
                  </a:lnTo>
                  <a:lnTo>
                    <a:pt x="50" y="81"/>
                  </a:lnTo>
                  <a:lnTo>
                    <a:pt x="48" y="81"/>
                  </a:lnTo>
                  <a:lnTo>
                    <a:pt x="50" y="81"/>
                  </a:lnTo>
                  <a:lnTo>
                    <a:pt x="48" y="81"/>
                  </a:lnTo>
                  <a:lnTo>
                    <a:pt x="50" y="81"/>
                  </a:lnTo>
                  <a:lnTo>
                    <a:pt x="50" y="79"/>
                  </a:lnTo>
                  <a:lnTo>
                    <a:pt x="50" y="77"/>
                  </a:lnTo>
                  <a:lnTo>
                    <a:pt x="50" y="79"/>
                  </a:lnTo>
                  <a:lnTo>
                    <a:pt x="50" y="77"/>
                  </a:lnTo>
                  <a:lnTo>
                    <a:pt x="48" y="77"/>
                  </a:lnTo>
                  <a:lnTo>
                    <a:pt x="48" y="75"/>
                  </a:lnTo>
                  <a:lnTo>
                    <a:pt x="48" y="77"/>
                  </a:lnTo>
                  <a:lnTo>
                    <a:pt x="48" y="75"/>
                  </a:lnTo>
                  <a:lnTo>
                    <a:pt x="50" y="75"/>
                  </a:lnTo>
                  <a:lnTo>
                    <a:pt x="50" y="77"/>
                  </a:lnTo>
                  <a:lnTo>
                    <a:pt x="50" y="75"/>
                  </a:lnTo>
                  <a:lnTo>
                    <a:pt x="50" y="77"/>
                  </a:lnTo>
                  <a:lnTo>
                    <a:pt x="50" y="75"/>
                  </a:lnTo>
                  <a:lnTo>
                    <a:pt x="52" y="75"/>
                  </a:lnTo>
                  <a:lnTo>
                    <a:pt x="50" y="75"/>
                  </a:lnTo>
                  <a:lnTo>
                    <a:pt x="52" y="75"/>
                  </a:lnTo>
                  <a:lnTo>
                    <a:pt x="50" y="75"/>
                  </a:lnTo>
                  <a:lnTo>
                    <a:pt x="52" y="75"/>
                  </a:lnTo>
                  <a:lnTo>
                    <a:pt x="52" y="77"/>
                  </a:lnTo>
                  <a:lnTo>
                    <a:pt x="52" y="75"/>
                  </a:lnTo>
                  <a:lnTo>
                    <a:pt x="54" y="75"/>
                  </a:lnTo>
                  <a:lnTo>
                    <a:pt x="52" y="75"/>
                  </a:lnTo>
                  <a:lnTo>
                    <a:pt x="54" y="75"/>
                  </a:lnTo>
                  <a:lnTo>
                    <a:pt x="54" y="77"/>
                  </a:lnTo>
                  <a:lnTo>
                    <a:pt x="56" y="77"/>
                  </a:lnTo>
                  <a:lnTo>
                    <a:pt x="56" y="75"/>
                  </a:lnTo>
                  <a:lnTo>
                    <a:pt x="54" y="75"/>
                  </a:lnTo>
                  <a:lnTo>
                    <a:pt x="56" y="75"/>
                  </a:lnTo>
                  <a:lnTo>
                    <a:pt x="54" y="75"/>
                  </a:lnTo>
                  <a:lnTo>
                    <a:pt x="52" y="75"/>
                  </a:lnTo>
                  <a:lnTo>
                    <a:pt x="54" y="75"/>
                  </a:lnTo>
                  <a:lnTo>
                    <a:pt x="52" y="75"/>
                  </a:lnTo>
                  <a:lnTo>
                    <a:pt x="54" y="75"/>
                  </a:lnTo>
                  <a:lnTo>
                    <a:pt x="52" y="75"/>
                  </a:lnTo>
                  <a:lnTo>
                    <a:pt x="52" y="73"/>
                  </a:lnTo>
                  <a:lnTo>
                    <a:pt x="52" y="71"/>
                  </a:lnTo>
                  <a:lnTo>
                    <a:pt x="54" y="71"/>
                  </a:lnTo>
                  <a:lnTo>
                    <a:pt x="54" y="73"/>
                  </a:lnTo>
                  <a:lnTo>
                    <a:pt x="54" y="71"/>
                  </a:lnTo>
                  <a:lnTo>
                    <a:pt x="52" y="71"/>
                  </a:lnTo>
                  <a:lnTo>
                    <a:pt x="54" y="71"/>
                  </a:lnTo>
                  <a:lnTo>
                    <a:pt x="52" y="71"/>
                  </a:lnTo>
                  <a:lnTo>
                    <a:pt x="54" y="71"/>
                  </a:lnTo>
                  <a:lnTo>
                    <a:pt x="52" y="71"/>
                  </a:lnTo>
                  <a:lnTo>
                    <a:pt x="54" y="71"/>
                  </a:lnTo>
                  <a:lnTo>
                    <a:pt x="52" y="71"/>
                  </a:lnTo>
                  <a:lnTo>
                    <a:pt x="54" y="71"/>
                  </a:lnTo>
                  <a:lnTo>
                    <a:pt x="54" y="70"/>
                  </a:lnTo>
                  <a:lnTo>
                    <a:pt x="54" y="71"/>
                  </a:lnTo>
                  <a:lnTo>
                    <a:pt x="54" y="70"/>
                  </a:lnTo>
                  <a:lnTo>
                    <a:pt x="52" y="70"/>
                  </a:lnTo>
                  <a:lnTo>
                    <a:pt x="54" y="70"/>
                  </a:lnTo>
                  <a:lnTo>
                    <a:pt x="52" y="70"/>
                  </a:lnTo>
                  <a:lnTo>
                    <a:pt x="54" y="70"/>
                  </a:lnTo>
                  <a:lnTo>
                    <a:pt x="52" y="70"/>
                  </a:lnTo>
                  <a:lnTo>
                    <a:pt x="52" y="68"/>
                  </a:lnTo>
                  <a:lnTo>
                    <a:pt x="54" y="68"/>
                  </a:lnTo>
                  <a:lnTo>
                    <a:pt x="54" y="66"/>
                  </a:lnTo>
                  <a:lnTo>
                    <a:pt x="56" y="66"/>
                  </a:lnTo>
                  <a:lnTo>
                    <a:pt x="58" y="66"/>
                  </a:lnTo>
                  <a:lnTo>
                    <a:pt x="58" y="68"/>
                  </a:lnTo>
                  <a:lnTo>
                    <a:pt x="58" y="66"/>
                  </a:lnTo>
                  <a:lnTo>
                    <a:pt x="58" y="68"/>
                  </a:lnTo>
                  <a:lnTo>
                    <a:pt x="58" y="66"/>
                  </a:lnTo>
                  <a:lnTo>
                    <a:pt x="58" y="68"/>
                  </a:lnTo>
                  <a:lnTo>
                    <a:pt x="58" y="66"/>
                  </a:lnTo>
                  <a:lnTo>
                    <a:pt x="58" y="68"/>
                  </a:lnTo>
                  <a:lnTo>
                    <a:pt x="60" y="68"/>
                  </a:lnTo>
                  <a:lnTo>
                    <a:pt x="58" y="68"/>
                  </a:lnTo>
                  <a:lnTo>
                    <a:pt x="60" y="68"/>
                  </a:lnTo>
                  <a:lnTo>
                    <a:pt x="60" y="70"/>
                  </a:lnTo>
                  <a:lnTo>
                    <a:pt x="60" y="68"/>
                  </a:lnTo>
                  <a:lnTo>
                    <a:pt x="60" y="70"/>
                  </a:lnTo>
                  <a:lnTo>
                    <a:pt x="58" y="70"/>
                  </a:lnTo>
                  <a:lnTo>
                    <a:pt x="60" y="70"/>
                  </a:lnTo>
                  <a:lnTo>
                    <a:pt x="60" y="68"/>
                  </a:lnTo>
                  <a:lnTo>
                    <a:pt x="60" y="66"/>
                  </a:lnTo>
                  <a:lnTo>
                    <a:pt x="62" y="66"/>
                  </a:lnTo>
                  <a:lnTo>
                    <a:pt x="62" y="68"/>
                  </a:lnTo>
                  <a:lnTo>
                    <a:pt x="62" y="66"/>
                  </a:lnTo>
                  <a:lnTo>
                    <a:pt x="62" y="68"/>
                  </a:lnTo>
                  <a:lnTo>
                    <a:pt x="62" y="66"/>
                  </a:lnTo>
                  <a:lnTo>
                    <a:pt x="62" y="68"/>
                  </a:lnTo>
                  <a:lnTo>
                    <a:pt x="62" y="66"/>
                  </a:lnTo>
                  <a:lnTo>
                    <a:pt x="62" y="68"/>
                  </a:lnTo>
                  <a:lnTo>
                    <a:pt x="64" y="68"/>
                  </a:lnTo>
                  <a:lnTo>
                    <a:pt x="64" y="70"/>
                  </a:lnTo>
                  <a:lnTo>
                    <a:pt x="64" y="68"/>
                  </a:lnTo>
                  <a:lnTo>
                    <a:pt x="64" y="70"/>
                  </a:lnTo>
                  <a:lnTo>
                    <a:pt x="62" y="70"/>
                  </a:lnTo>
                  <a:lnTo>
                    <a:pt x="62" y="71"/>
                  </a:lnTo>
                  <a:lnTo>
                    <a:pt x="62" y="70"/>
                  </a:lnTo>
                  <a:lnTo>
                    <a:pt x="64" y="70"/>
                  </a:lnTo>
                  <a:lnTo>
                    <a:pt x="64" y="68"/>
                  </a:lnTo>
                  <a:lnTo>
                    <a:pt x="66" y="68"/>
                  </a:lnTo>
                  <a:lnTo>
                    <a:pt x="68" y="68"/>
                  </a:lnTo>
                  <a:lnTo>
                    <a:pt x="70" y="68"/>
                  </a:lnTo>
                  <a:lnTo>
                    <a:pt x="70" y="66"/>
                  </a:lnTo>
                  <a:lnTo>
                    <a:pt x="70" y="68"/>
                  </a:lnTo>
                  <a:lnTo>
                    <a:pt x="72" y="68"/>
                  </a:lnTo>
                  <a:lnTo>
                    <a:pt x="70" y="68"/>
                  </a:lnTo>
                  <a:lnTo>
                    <a:pt x="72" y="68"/>
                  </a:lnTo>
                  <a:lnTo>
                    <a:pt x="73" y="68"/>
                  </a:lnTo>
                  <a:lnTo>
                    <a:pt x="73" y="66"/>
                  </a:lnTo>
                  <a:lnTo>
                    <a:pt x="75" y="66"/>
                  </a:lnTo>
                  <a:lnTo>
                    <a:pt x="77" y="66"/>
                  </a:lnTo>
                  <a:lnTo>
                    <a:pt x="79" y="66"/>
                  </a:lnTo>
                  <a:lnTo>
                    <a:pt x="77" y="66"/>
                  </a:lnTo>
                  <a:lnTo>
                    <a:pt x="79" y="66"/>
                  </a:lnTo>
                  <a:lnTo>
                    <a:pt x="77" y="66"/>
                  </a:lnTo>
                  <a:lnTo>
                    <a:pt x="77" y="64"/>
                  </a:lnTo>
                  <a:lnTo>
                    <a:pt x="79" y="64"/>
                  </a:lnTo>
                  <a:close/>
                  <a:moveTo>
                    <a:pt x="37" y="185"/>
                  </a:moveTo>
                  <a:lnTo>
                    <a:pt x="35" y="185"/>
                  </a:lnTo>
                  <a:lnTo>
                    <a:pt x="35" y="187"/>
                  </a:lnTo>
                  <a:lnTo>
                    <a:pt x="33" y="187"/>
                  </a:lnTo>
                  <a:lnTo>
                    <a:pt x="33" y="185"/>
                  </a:lnTo>
                  <a:lnTo>
                    <a:pt x="33" y="187"/>
                  </a:lnTo>
                  <a:lnTo>
                    <a:pt x="31" y="187"/>
                  </a:lnTo>
                  <a:lnTo>
                    <a:pt x="31" y="185"/>
                  </a:lnTo>
                  <a:lnTo>
                    <a:pt x="31" y="183"/>
                  </a:lnTo>
                  <a:lnTo>
                    <a:pt x="29" y="183"/>
                  </a:lnTo>
                  <a:lnTo>
                    <a:pt x="27" y="183"/>
                  </a:lnTo>
                  <a:lnTo>
                    <a:pt x="27" y="181"/>
                  </a:lnTo>
                  <a:lnTo>
                    <a:pt x="27" y="179"/>
                  </a:lnTo>
                  <a:lnTo>
                    <a:pt x="27" y="177"/>
                  </a:lnTo>
                  <a:lnTo>
                    <a:pt x="25" y="177"/>
                  </a:lnTo>
                  <a:lnTo>
                    <a:pt x="24" y="177"/>
                  </a:lnTo>
                  <a:lnTo>
                    <a:pt x="25" y="177"/>
                  </a:lnTo>
                  <a:lnTo>
                    <a:pt x="24" y="177"/>
                  </a:lnTo>
                  <a:lnTo>
                    <a:pt x="24" y="179"/>
                  </a:lnTo>
                  <a:lnTo>
                    <a:pt x="22" y="179"/>
                  </a:lnTo>
                  <a:lnTo>
                    <a:pt x="22" y="181"/>
                  </a:lnTo>
                  <a:lnTo>
                    <a:pt x="24" y="181"/>
                  </a:lnTo>
                  <a:lnTo>
                    <a:pt x="24" y="183"/>
                  </a:lnTo>
                  <a:lnTo>
                    <a:pt x="22" y="183"/>
                  </a:lnTo>
                  <a:lnTo>
                    <a:pt x="22" y="185"/>
                  </a:lnTo>
                  <a:lnTo>
                    <a:pt x="22" y="183"/>
                  </a:lnTo>
                  <a:lnTo>
                    <a:pt x="22" y="185"/>
                  </a:lnTo>
                  <a:lnTo>
                    <a:pt x="20" y="185"/>
                  </a:lnTo>
                  <a:lnTo>
                    <a:pt x="22" y="185"/>
                  </a:lnTo>
                  <a:lnTo>
                    <a:pt x="20" y="185"/>
                  </a:lnTo>
                  <a:lnTo>
                    <a:pt x="20" y="183"/>
                  </a:lnTo>
                  <a:lnTo>
                    <a:pt x="20" y="185"/>
                  </a:lnTo>
                  <a:lnTo>
                    <a:pt x="18" y="185"/>
                  </a:lnTo>
                  <a:lnTo>
                    <a:pt x="16" y="185"/>
                  </a:lnTo>
                  <a:lnTo>
                    <a:pt x="16" y="183"/>
                  </a:lnTo>
                  <a:lnTo>
                    <a:pt x="14" y="183"/>
                  </a:lnTo>
                  <a:lnTo>
                    <a:pt x="12" y="183"/>
                  </a:lnTo>
                  <a:lnTo>
                    <a:pt x="14" y="183"/>
                  </a:lnTo>
                  <a:lnTo>
                    <a:pt x="12" y="183"/>
                  </a:lnTo>
                  <a:lnTo>
                    <a:pt x="12" y="181"/>
                  </a:lnTo>
                  <a:lnTo>
                    <a:pt x="12" y="179"/>
                  </a:lnTo>
                  <a:lnTo>
                    <a:pt x="10" y="179"/>
                  </a:lnTo>
                  <a:lnTo>
                    <a:pt x="10" y="177"/>
                  </a:lnTo>
                  <a:lnTo>
                    <a:pt x="8" y="177"/>
                  </a:lnTo>
                  <a:lnTo>
                    <a:pt x="8" y="175"/>
                  </a:lnTo>
                  <a:lnTo>
                    <a:pt x="10" y="175"/>
                  </a:lnTo>
                  <a:lnTo>
                    <a:pt x="10" y="173"/>
                  </a:lnTo>
                  <a:lnTo>
                    <a:pt x="12" y="173"/>
                  </a:lnTo>
                  <a:lnTo>
                    <a:pt x="12" y="175"/>
                  </a:lnTo>
                  <a:lnTo>
                    <a:pt x="12" y="173"/>
                  </a:lnTo>
                  <a:lnTo>
                    <a:pt x="12" y="175"/>
                  </a:lnTo>
                  <a:lnTo>
                    <a:pt x="12" y="173"/>
                  </a:lnTo>
                  <a:lnTo>
                    <a:pt x="14" y="173"/>
                  </a:lnTo>
                  <a:lnTo>
                    <a:pt x="14" y="175"/>
                  </a:lnTo>
                  <a:lnTo>
                    <a:pt x="14" y="173"/>
                  </a:lnTo>
                  <a:lnTo>
                    <a:pt x="16" y="173"/>
                  </a:lnTo>
                  <a:lnTo>
                    <a:pt x="16" y="171"/>
                  </a:lnTo>
                  <a:lnTo>
                    <a:pt x="16" y="173"/>
                  </a:lnTo>
                  <a:lnTo>
                    <a:pt x="16" y="171"/>
                  </a:lnTo>
                  <a:lnTo>
                    <a:pt x="14" y="171"/>
                  </a:lnTo>
                  <a:lnTo>
                    <a:pt x="12" y="171"/>
                  </a:lnTo>
                  <a:lnTo>
                    <a:pt x="12" y="169"/>
                  </a:lnTo>
                  <a:lnTo>
                    <a:pt x="14" y="169"/>
                  </a:lnTo>
                  <a:lnTo>
                    <a:pt x="16" y="169"/>
                  </a:lnTo>
                  <a:lnTo>
                    <a:pt x="18" y="169"/>
                  </a:lnTo>
                  <a:lnTo>
                    <a:pt x="18" y="168"/>
                  </a:lnTo>
                  <a:lnTo>
                    <a:pt x="18" y="166"/>
                  </a:lnTo>
                  <a:lnTo>
                    <a:pt x="20" y="166"/>
                  </a:lnTo>
                  <a:lnTo>
                    <a:pt x="20" y="164"/>
                  </a:lnTo>
                  <a:lnTo>
                    <a:pt x="20" y="162"/>
                  </a:lnTo>
                  <a:lnTo>
                    <a:pt x="22" y="162"/>
                  </a:lnTo>
                  <a:lnTo>
                    <a:pt x="22" y="160"/>
                  </a:lnTo>
                  <a:lnTo>
                    <a:pt x="22" y="162"/>
                  </a:lnTo>
                  <a:lnTo>
                    <a:pt x="24" y="162"/>
                  </a:lnTo>
                  <a:lnTo>
                    <a:pt x="25" y="162"/>
                  </a:lnTo>
                  <a:lnTo>
                    <a:pt x="25" y="160"/>
                  </a:lnTo>
                  <a:lnTo>
                    <a:pt x="25" y="158"/>
                  </a:lnTo>
                  <a:lnTo>
                    <a:pt x="27" y="158"/>
                  </a:lnTo>
                  <a:lnTo>
                    <a:pt x="29" y="158"/>
                  </a:lnTo>
                  <a:lnTo>
                    <a:pt x="31" y="158"/>
                  </a:lnTo>
                  <a:lnTo>
                    <a:pt x="31" y="156"/>
                  </a:lnTo>
                  <a:lnTo>
                    <a:pt x="33" y="156"/>
                  </a:lnTo>
                  <a:lnTo>
                    <a:pt x="35" y="156"/>
                  </a:lnTo>
                  <a:lnTo>
                    <a:pt x="33" y="156"/>
                  </a:lnTo>
                  <a:lnTo>
                    <a:pt x="35" y="156"/>
                  </a:lnTo>
                  <a:lnTo>
                    <a:pt x="33" y="156"/>
                  </a:lnTo>
                  <a:lnTo>
                    <a:pt x="35" y="156"/>
                  </a:lnTo>
                  <a:lnTo>
                    <a:pt x="33" y="156"/>
                  </a:lnTo>
                  <a:lnTo>
                    <a:pt x="35" y="156"/>
                  </a:lnTo>
                  <a:lnTo>
                    <a:pt x="37" y="156"/>
                  </a:lnTo>
                  <a:lnTo>
                    <a:pt x="37" y="158"/>
                  </a:lnTo>
                  <a:lnTo>
                    <a:pt x="37" y="156"/>
                  </a:lnTo>
                  <a:lnTo>
                    <a:pt x="37" y="158"/>
                  </a:lnTo>
                  <a:lnTo>
                    <a:pt x="37" y="156"/>
                  </a:lnTo>
                  <a:lnTo>
                    <a:pt x="39" y="156"/>
                  </a:lnTo>
                  <a:lnTo>
                    <a:pt x="39" y="158"/>
                  </a:lnTo>
                  <a:lnTo>
                    <a:pt x="39" y="160"/>
                  </a:lnTo>
                  <a:lnTo>
                    <a:pt x="39" y="158"/>
                  </a:lnTo>
                  <a:lnTo>
                    <a:pt x="39" y="160"/>
                  </a:lnTo>
                  <a:lnTo>
                    <a:pt x="39" y="162"/>
                  </a:lnTo>
                  <a:lnTo>
                    <a:pt x="41" y="162"/>
                  </a:lnTo>
                  <a:lnTo>
                    <a:pt x="41" y="164"/>
                  </a:lnTo>
                  <a:lnTo>
                    <a:pt x="43" y="164"/>
                  </a:lnTo>
                  <a:lnTo>
                    <a:pt x="43" y="166"/>
                  </a:lnTo>
                  <a:lnTo>
                    <a:pt x="43" y="168"/>
                  </a:lnTo>
                  <a:lnTo>
                    <a:pt x="45" y="168"/>
                  </a:lnTo>
                  <a:lnTo>
                    <a:pt x="43" y="168"/>
                  </a:lnTo>
                  <a:lnTo>
                    <a:pt x="43" y="166"/>
                  </a:lnTo>
                  <a:lnTo>
                    <a:pt x="45" y="166"/>
                  </a:lnTo>
                  <a:lnTo>
                    <a:pt x="45" y="168"/>
                  </a:lnTo>
                  <a:lnTo>
                    <a:pt x="45" y="169"/>
                  </a:lnTo>
                  <a:lnTo>
                    <a:pt x="43" y="169"/>
                  </a:lnTo>
                  <a:lnTo>
                    <a:pt x="43" y="171"/>
                  </a:lnTo>
                  <a:lnTo>
                    <a:pt x="41" y="171"/>
                  </a:lnTo>
                  <a:lnTo>
                    <a:pt x="43" y="171"/>
                  </a:lnTo>
                  <a:lnTo>
                    <a:pt x="41" y="171"/>
                  </a:lnTo>
                  <a:lnTo>
                    <a:pt x="41" y="173"/>
                  </a:lnTo>
                  <a:lnTo>
                    <a:pt x="41" y="171"/>
                  </a:lnTo>
                  <a:lnTo>
                    <a:pt x="43" y="171"/>
                  </a:lnTo>
                  <a:lnTo>
                    <a:pt x="41" y="171"/>
                  </a:lnTo>
                  <a:lnTo>
                    <a:pt x="41" y="173"/>
                  </a:lnTo>
                  <a:lnTo>
                    <a:pt x="41" y="171"/>
                  </a:lnTo>
                  <a:lnTo>
                    <a:pt x="41" y="173"/>
                  </a:lnTo>
                  <a:lnTo>
                    <a:pt x="41" y="171"/>
                  </a:lnTo>
                  <a:lnTo>
                    <a:pt x="43" y="171"/>
                  </a:lnTo>
                  <a:lnTo>
                    <a:pt x="45" y="171"/>
                  </a:lnTo>
                  <a:lnTo>
                    <a:pt x="47" y="171"/>
                  </a:lnTo>
                  <a:lnTo>
                    <a:pt x="45" y="171"/>
                  </a:lnTo>
                  <a:lnTo>
                    <a:pt x="47" y="171"/>
                  </a:lnTo>
                  <a:lnTo>
                    <a:pt x="47" y="173"/>
                  </a:lnTo>
                  <a:lnTo>
                    <a:pt x="48" y="173"/>
                  </a:lnTo>
                  <a:lnTo>
                    <a:pt x="48" y="175"/>
                  </a:lnTo>
                  <a:lnTo>
                    <a:pt x="48" y="177"/>
                  </a:lnTo>
                  <a:lnTo>
                    <a:pt x="48" y="175"/>
                  </a:lnTo>
                  <a:lnTo>
                    <a:pt x="48" y="177"/>
                  </a:lnTo>
                  <a:lnTo>
                    <a:pt x="48" y="179"/>
                  </a:lnTo>
                  <a:lnTo>
                    <a:pt x="47" y="179"/>
                  </a:lnTo>
                  <a:lnTo>
                    <a:pt x="48" y="179"/>
                  </a:lnTo>
                  <a:lnTo>
                    <a:pt x="47" y="179"/>
                  </a:lnTo>
                  <a:lnTo>
                    <a:pt x="48" y="179"/>
                  </a:lnTo>
                  <a:lnTo>
                    <a:pt x="47" y="179"/>
                  </a:lnTo>
                  <a:lnTo>
                    <a:pt x="48" y="179"/>
                  </a:lnTo>
                  <a:lnTo>
                    <a:pt x="47" y="179"/>
                  </a:lnTo>
                  <a:lnTo>
                    <a:pt x="48" y="179"/>
                  </a:lnTo>
                  <a:lnTo>
                    <a:pt x="47" y="179"/>
                  </a:lnTo>
                  <a:lnTo>
                    <a:pt x="48" y="179"/>
                  </a:lnTo>
                  <a:lnTo>
                    <a:pt x="47" y="179"/>
                  </a:lnTo>
                  <a:lnTo>
                    <a:pt x="48" y="179"/>
                  </a:lnTo>
                  <a:lnTo>
                    <a:pt x="47" y="179"/>
                  </a:lnTo>
                  <a:lnTo>
                    <a:pt x="48" y="179"/>
                  </a:lnTo>
                  <a:lnTo>
                    <a:pt x="47" y="179"/>
                  </a:lnTo>
                  <a:lnTo>
                    <a:pt x="48" y="179"/>
                  </a:lnTo>
                  <a:lnTo>
                    <a:pt x="47" y="179"/>
                  </a:lnTo>
                  <a:lnTo>
                    <a:pt x="48" y="179"/>
                  </a:lnTo>
                  <a:lnTo>
                    <a:pt x="47" y="179"/>
                  </a:lnTo>
                  <a:lnTo>
                    <a:pt x="47" y="177"/>
                  </a:lnTo>
                  <a:lnTo>
                    <a:pt x="47" y="175"/>
                  </a:lnTo>
                  <a:lnTo>
                    <a:pt x="47" y="177"/>
                  </a:lnTo>
                  <a:lnTo>
                    <a:pt x="47" y="175"/>
                  </a:lnTo>
                  <a:lnTo>
                    <a:pt x="47" y="173"/>
                  </a:lnTo>
                  <a:lnTo>
                    <a:pt x="47" y="175"/>
                  </a:lnTo>
                  <a:lnTo>
                    <a:pt x="47" y="173"/>
                  </a:lnTo>
                  <a:lnTo>
                    <a:pt x="47" y="175"/>
                  </a:lnTo>
                  <a:lnTo>
                    <a:pt x="47" y="173"/>
                  </a:lnTo>
                  <a:lnTo>
                    <a:pt x="45" y="173"/>
                  </a:lnTo>
                  <a:lnTo>
                    <a:pt x="45" y="175"/>
                  </a:lnTo>
                  <a:lnTo>
                    <a:pt x="47" y="175"/>
                  </a:lnTo>
                  <a:lnTo>
                    <a:pt x="45" y="175"/>
                  </a:lnTo>
                  <a:lnTo>
                    <a:pt x="45" y="177"/>
                  </a:lnTo>
                  <a:lnTo>
                    <a:pt x="45" y="175"/>
                  </a:lnTo>
                  <a:lnTo>
                    <a:pt x="47" y="175"/>
                  </a:lnTo>
                  <a:lnTo>
                    <a:pt x="45" y="175"/>
                  </a:lnTo>
                  <a:lnTo>
                    <a:pt x="47" y="175"/>
                  </a:lnTo>
                  <a:lnTo>
                    <a:pt x="47" y="177"/>
                  </a:lnTo>
                  <a:lnTo>
                    <a:pt x="45" y="177"/>
                  </a:lnTo>
                  <a:lnTo>
                    <a:pt x="45" y="179"/>
                  </a:lnTo>
                  <a:lnTo>
                    <a:pt x="45" y="177"/>
                  </a:lnTo>
                  <a:lnTo>
                    <a:pt x="45" y="179"/>
                  </a:lnTo>
                  <a:lnTo>
                    <a:pt x="47" y="179"/>
                  </a:lnTo>
                  <a:lnTo>
                    <a:pt x="47" y="177"/>
                  </a:lnTo>
                  <a:lnTo>
                    <a:pt x="47" y="179"/>
                  </a:lnTo>
                  <a:lnTo>
                    <a:pt x="47" y="181"/>
                  </a:lnTo>
                  <a:lnTo>
                    <a:pt x="45" y="181"/>
                  </a:lnTo>
                  <a:lnTo>
                    <a:pt x="47" y="181"/>
                  </a:lnTo>
                  <a:lnTo>
                    <a:pt x="45" y="181"/>
                  </a:lnTo>
                  <a:lnTo>
                    <a:pt x="45" y="183"/>
                  </a:lnTo>
                  <a:lnTo>
                    <a:pt x="45" y="181"/>
                  </a:lnTo>
                  <a:lnTo>
                    <a:pt x="43" y="181"/>
                  </a:lnTo>
                  <a:lnTo>
                    <a:pt x="43" y="183"/>
                  </a:lnTo>
                  <a:lnTo>
                    <a:pt x="41" y="183"/>
                  </a:lnTo>
                  <a:lnTo>
                    <a:pt x="43" y="183"/>
                  </a:lnTo>
                  <a:lnTo>
                    <a:pt x="43" y="185"/>
                  </a:lnTo>
                  <a:lnTo>
                    <a:pt x="41" y="185"/>
                  </a:lnTo>
                  <a:lnTo>
                    <a:pt x="41" y="187"/>
                  </a:lnTo>
                  <a:lnTo>
                    <a:pt x="39" y="187"/>
                  </a:lnTo>
                  <a:lnTo>
                    <a:pt x="37" y="187"/>
                  </a:lnTo>
                  <a:lnTo>
                    <a:pt x="37" y="185"/>
                  </a:lnTo>
                  <a:lnTo>
                    <a:pt x="37" y="187"/>
                  </a:lnTo>
                  <a:lnTo>
                    <a:pt x="37" y="185"/>
                  </a:lnTo>
                  <a:close/>
                  <a:moveTo>
                    <a:pt x="37" y="68"/>
                  </a:moveTo>
                  <a:lnTo>
                    <a:pt x="37" y="70"/>
                  </a:lnTo>
                  <a:lnTo>
                    <a:pt x="37" y="71"/>
                  </a:lnTo>
                  <a:lnTo>
                    <a:pt x="37" y="70"/>
                  </a:lnTo>
                  <a:lnTo>
                    <a:pt x="37" y="71"/>
                  </a:lnTo>
                  <a:lnTo>
                    <a:pt x="37" y="73"/>
                  </a:lnTo>
                  <a:lnTo>
                    <a:pt x="37" y="75"/>
                  </a:lnTo>
                  <a:lnTo>
                    <a:pt x="37" y="73"/>
                  </a:lnTo>
                  <a:lnTo>
                    <a:pt x="37" y="75"/>
                  </a:lnTo>
                  <a:lnTo>
                    <a:pt x="35" y="75"/>
                  </a:lnTo>
                  <a:lnTo>
                    <a:pt x="35" y="77"/>
                  </a:lnTo>
                  <a:lnTo>
                    <a:pt x="35" y="75"/>
                  </a:lnTo>
                  <a:lnTo>
                    <a:pt x="35" y="77"/>
                  </a:lnTo>
                  <a:lnTo>
                    <a:pt x="37" y="77"/>
                  </a:lnTo>
                  <a:lnTo>
                    <a:pt x="37" y="75"/>
                  </a:lnTo>
                  <a:lnTo>
                    <a:pt x="39" y="75"/>
                  </a:lnTo>
                  <a:lnTo>
                    <a:pt x="37" y="75"/>
                  </a:lnTo>
                  <a:lnTo>
                    <a:pt x="39" y="75"/>
                  </a:lnTo>
                  <a:lnTo>
                    <a:pt x="37" y="75"/>
                  </a:lnTo>
                  <a:lnTo>
                    <a:pt x="37" y="77"/>
                  </a:lnTo>
                  <a:lnTo>
                    <a:pt x="37" y="75"/>
                  </a:lnTo>
                  <a:lnTo>
                    <a:pt x="37" y="77"/>
                  </a:lnTo>
                  <a:lnTo>
                    <a:pt x="35" y="77"/>
                  </a:lnTo>
                  <a:lnTo>
                    <a:pt x="37" y="77"/>
                  </a:lnTo>
                  <a:lnTo>
                    <a:pt x="35" y="77"/>
                  </a:lnTo>
                  <a:lnTo>
                    <a:pt x="35" y="79"/>
                  </a:lnTo>
                  <a:lnTo>
                    <a:pt x="33" y="79"/>
                  </a:lnTo>
                  <a:lnTo>
                    <a:pt x="35" y="79"/>
                  </a:lnTo>
                  <a:lnTo>
                    <a:pt x="33" y="79"/>
                  </a:lnTo>
                  <a:lnTo>
                    <a:pt x="33" y="81"/>
                  </a:lnTo>
                  <a:lnTo>
                    <a:pt x="31" y="81"/>
                  </a:lnTo>
                  <a:lnTo>
                    <a:pt x="33" y="81"/>
                  </a:lnTo>
                  <a:lnTo>
                    <a:pt x="33" y="79"/>
                  </a:lnTo>
                  <a:lnTo>
                    <a:pt x="33" y="81"/>
                  </a:lnTo>
                  <a:lnTo>
                    <a:pt x="33" y="79"/>
                  </a:lnTo>
                  <a:lnTo>
                    <a:pt x="35" y="79"/>
                  </a:lnTo>
                  <a:lnTo>
                    <a:pt x="33" y="79"/>
                  </a:lnTo>
                  <a:lnTo>
                    <a:pt x="35" y="79"/>
                  </a:lnTo>
                  <a:lnTo>
                    <a:pt x="33" y="79"/>
                  </a:lnTo>
                  <a:lnTo>
                    <a:pt x="35" y="79"/>
                  </a:lnTo>
                  <a:lnTo>
                    <a:pt x="35" y="81"/>
                  </a:lnTo>
                  <a:lnTo>
                    <a:pt x="35" y="79"/>
                  </a:lnTo>
                  <a:lnTo>
                    <a:pt x="35" y="81"/>
                  </a:lnTo>
                  <a:lnTo>
                    <a:pt x="33" y="81"/>
                  </a:lnTo>
                  <a:lnTo>
                    <a:pt x="35" y="81"/>
                  </a:lnTo>
                  <a:lnTo>
                    <a:pt x="35" y="83"/>
                  </a:lnTo>
                  <a:lnTo>
                    <a:pt x="33" y="83"/>
                  </a:lnTo>
                  <a:lnTo>
                    <a:pt x="31" y="83"/>
                  </a:lnTo>
                  <a:lnTo>
                    <a:pt x="33" y="83"/>
                  </a:lnTo>
                  <a:lnTo>
                    <a:pt x="33" y="85"/>
                  </a:lnTo>
                  <a:lnTo>
                    <a:pt x="31" y="85"/>
                  </a:lnTo>
                  <a:lnTo>
                    <a:pt x="31" y="83"/>
                  </a:lnTo>
                  <a:lnTo>
                    <a:pt x="31" y="85"/>
                  </a:lnTo>
                  <a:lnTo>
                    <a:pt x="33" y="85"/>
                  </a:lnTo>
                  <a:lnTo>
                    <a:pt x="31" y="85"/>
                  </a:lnTo>
                  <a:lnTo>
                    <a:pt x="33" y="85"/>
                  </a:lnTo>
                  <a:lnTo>
                    <a:pt x="31" y="85"/>
                  </a:lnTo>
                  <a:lnTo>
                    <a:pt x="31" y="83"/>
                  </a:lnTo>
                  <a:lnTo>
                    <a:pt x="31" y="85"/>
                  </a:lnTo>
                  <a:lnTo>
                    <a:pt x="29" y="85"/>
                  </a:lnTo>
                  <a:lnTo>
                    <a:pt x="29" y="83"/>
                  </a:lnTo>
                  <a:lnTo>
                    <a:pt x="29" y="81"/>
                  </a:lnTo>
                  <a:lnTo>
                    <a:pt x="31" y="81"/>
                  </a:lnTo>
                  <a:lnTo>
                    <a:pt x="29" y="81"/>
                  </a:lnTo>
                  <a:lnTo>
                    <a:pt x="31" y="81"/>
                  </a:lnTo>
                  <a:lnTo>
                    <a:pt x="29" y="81"/>
                  </a:lnTo>
                  <a:lnTo>
                    <a:pt x="29" y="83"/>
                  </a:lnTo>
                  <a:lnTo>
                    <a:pt x="29" y="85"/>
                  </a:lnTo>
                  <a:lnTo>
                    <a:pt x="31" y="85"/>
                  </a:lnTo>
                  <a:lnTo>
                    <a:pt x="29" y="85"/>
                  </a:lnTo>
                  <a:lnTo>
                    <a:pt x="31" y="85"/>
                  </a:lnTo>
                  <a:lnTo>
                    <a:pt x="29" y="85"/>
                  </a:lnTo>
                  <a:lnTo>
                    <a:pt x="31" y="85"/>
                  </a:lnTo>
                  <a:lnTo>
                    <a:pt x="31" y="87"/>
                  </a:lnTo>
                  <a:lnTo>
                    <a:pt x="29" y="87"/>
                  </a:lnTo>
                  <a:lnTo>
                    <a:pt x="29" y="85"/>
                  </a:lnTo>
                  <a:lnTo>
                    <a:pt x="29" y="87"/>
                  </a:lnTo>
                  <a:lnTo>
                    <a:pt x="27" y="87"/>
                  </a:lnTo>
                  <a:lnTo>
                    <a:pt x="29" y="87"/>
                  </a:lnTo>
                  <a:lnTo>
                    <a:pt x="27" y="87"/>
                  </a:lnTo>
                  <a:lnTo>
                    <a:pt x="29" y="87"/>
                  </a:lnTo>
                  <a:lnTo>
                    <a:pt x="27" y="87"/>
                  </a:lnTo>
                  <a:lnTo>
                    <a:pt x="29" y="87"/>
                  </a:lnTo>
                  <a:lnTo>
                    <a:pt x="29" y="89"/>
                  </a:lnTo>
                  <a:lnTo>
                    <a:pt x="27" y="89"/>
                  </a:lnTo>
                  <a:lnTo>
                    <a:pt x="29" y="89"/>
                  </a:lnTo>
                  <a:lnTo>
                    <a:pt x="27" y="89"/>
                  </a:lnTo>
                  <a:lnTo>
                    <a:pt x="29" y="89"/>
                  </a:lnTo>
                  <a:lnTo>
                    <a:pt x="27" y="89"/>
                  </a:lnTo>
                  <a:lnTo>
                    <a:pt x="27" y="87"/>
                  </a:lnTo>
                  <a:lnTo>
                    <a:pt x="27" y="89"/>
                  </a:lnTo>
                  <a:lnTo>
                    <a:pt x="25" y="89"/>
                  </a:lnTo>
                  <a:lnTo>
                    <a:pt x="27" y="89"/>
                  </a:lnTo>
                  <a:lnTo>
                    <a:pt x="25" y="89"/>
                  </a:lnTo>
                  <a:lnTo>
                    <a:pt x="27" y="89"/>
                  </a:lnTo>
                  <a:lnTo>
                    <a:pt x="27" y="91"/>
                  </a:lnTo>
                  <a:lnTo>
                    <a:pt x="27" y="89"/>
                  </a:lnTo>
                  <a:lnTo>
                    <a:pt x="27" y="91"/>
                  </a:lnTo>
                  <a:lnTo>
                    <a:pt x="25" y="91"/>
                  </a:lnTo>
                  <a:lnTo>
                    <a:pt x="27" y="91"/>
                  </a:lnTo>
                  <a:lnTo>
                    <a:pt x="25" y="91"/>
                  </a:lnTo>
                  <a:lnTo>
                    <a:pt x="25" y="89"/>
                  </a:lnTo>
                  <a:lnTo>
                    <a:pt x="24" y="89"/>
                  </a:lnTo>
                  <a:lnTo>
                    <a:pt x="24" y="87"/>
                  </a:lnTo>
                  <a:lnTo>
                    <a:pt x="24" y="89"/>
                  </a:lnTo>
                  <a:lnTo>
                    <a:pt x="25" y="89"/>
                  </a:lnTo>
                  <a:lnTo>
                    <a:pt x="24" y="87"/>
                  </a:lnTo>
                  <a:lnTo>
                    <a:pt x="25" y="87"/>
                  </a:lnTo>
                  <a:lnTo>
                    <a:pt x="27" y="87"/>
                  </a:lnTo>
                  <a:lnTo>
                    <a:pt x="25" y="87"/>
                  </a:lnTo>
                  <a:lnTo>
                    <a:pt x="27" y="87"/>
                  </a:lnTo>
                  <a:lnTo>
                    <a:pt x="25" y="87"/>
                  </a:lnTo>
                  <a:lnTo>
                    <a:pt x="25" y="85"/>
                  </a:lnTo>
                  <a:lnTo>
                    <a:pt x="27" y="85"/>
                  </a:lnTo>
                  <a:lnTo>
                    <a:pt x="25" y="85"/>
                  </a:lnTo>
                  <a:lnTo>
                    <a:pt x="25" y="83"/>
                  </a:lnTo>
                  <a:lnTo>
                    <a:pt x="25" y="85"/>
                  </a:lnTo>
                  <a:lnTo>
                    <a:pt x="25" y="83"/>
                  </a:lnTo>
                  <a:lnTo>
                    <a:pt x="25" y="85"/>
                  </a:lnTo>
                  <a:lnTo>
                    <a:pt x="25" y="83"/>
                  </a:lnTo>
                  <a:lnTo>
                    <a:pt x="24" y="83"/>
                  </a:lnTo>
                  <a:lnTo>
                    <a:pt x="25" y="83"/>
                  </a:lnTo>
                  <a:lnTo>
                    <a:pt x="25" y="81"/>
                  </a:lnTo>
                  <a:lnTo>
                    <a:pt x="27" y="81"/>
                  </a:lnTo>
                  <a:lnTo>
                    <a:pt x="25" y="81"/>
                  </a:lnTo>
                  <a:lnTo>
                    <a:pt x="24" y="81"/>
                  </a:lnTo>
                  <a:lnTo>
                    <a:pt x="24" y="79"/>
                  </a:lnTo>
                  <a:lnTo>
                    <a:pt x="24" y="77"/>
                  </a:lnTo>
                  <a:lnTo>
                    <a:pt x="24" y="79"/>
                  </a:lnTo>
                  <a:lnTo>
                    <a:pt x="24" y="77"/>
                  </a:lnTo>
                  <a:lnTo>
                    <a:pt x="25" y="77"/>
                  </a:lnTo>
                  <a:lnTo>
                    <a:pt x="25" y="75"/>
                  </a:lnTo>
                  <a:lnTo>
                    <a:pt x="25" y="77"/>
                  </a:lnTo>
                  <a:lnTo>
                    <a:pt x="25" y="75"/>
                  </a:lnTo>
                  <a:lnTo>
                    <a:pt x="25" y="77"/>
                  </a:lnTo>
                  <a:lnTo>
                    <a:pt x="25" y="75"/>
                  </a:lnTo>
                  <a:lnTo>
                    <a:pt x="25" y="77"/>
                  </a:lnTo>
                  <a:lnTo>
                    <a:pt x="25" y="75"/>
                  </a:lnTo>
                  <a:lnTo>
                    <a:pt x="25" y="77"/>
                  </a:lnTo>
                  <a:lnTo>
                    <a:pt x="27" y="77"/>
                  </a:lnTo>
                  <a:lnTo>
                    <a:pt x="25" y="77"/>
                  </a:lnTo>
                  <a:lnTo>
                    <a:pt x="27" y="77"/>
                  </a:lnTo>
                  <a:lnTo>
                    <a:pt x="25" y="77"/>
                  </a:lnTo>
                  <a:lnTo>
                    <a:pt x="27" y="77"/>
                  </a:lnTo>
                  <a:lnTo>
                    <a:pt x="29" y="77"/>
                  </a:lnTo>
                  <a:lnTo>
                    <a:pt x="29" y="75"/>
                  </a:lnTo>
                  <a:lnTo>
                    <a:pt x="29" y="77"/>
                  </a:lnTo>
                  <a:lnTo>
                    <a:pt x="29" y="75"/>
                  </a:lnTo>
                  <a:lnTo>
                    <a:pt x="27" y="75"/>
                  </a:lnTo>
                  <a:lnTo>
                    <a:pt x="29" y="75"/>
                  </a:lnTo>
                  <a:lnTo>
                    <a:pt x="27" y="75"/>
                  </a:lnTo>
                  <a:lnTo>
                    <a:pt x="29" y="75"/>
                  </a:lnTo>
                  <a:lnTo>
                    <a:pt x="27" y="75"/>
                  </a:lnTo>
                  <a:lnTo>
                    <a:pt x="29" y="75"/>
                  </a:lnTo>
                  <a:lnTo>
                    <a:pt x="27" y="75"/>
                  </a:lnTo>
                  <a:lnTo>
                    <a:pt x="29" y="75"/>
                  </a:lnTo>
                  <a:lnTo>
                    <a:pt x="27" y="75"/>
                  </a:lnTo>
                  <a:lnTo>
                    <a:pt x="29" y="75"/>
                  </a:lnTo>
                  <a:lnTo>
                    <a:pt x="27" y="75"/>
                  </a:lnTo>
                  <a:lnTo>
                    <a:pt x="29" y="75"/>
                  </a:lnTo>
                  <a:lnTo>
                    <a:pt x="27" y="75"/>
                  </a:lnTo>
                  <a:lnTo>
                    <a:pt x="29" y="75"/>
                  </a:lnTo>
                  <a:lnTo>
                    <a:pt x="27" y="75"/>
                  </a:lnTo>
                  <a:lnTo>
                    <a:pt x="29" y="75"/>
                  </a:lnTo>
                  <a:lnTo>
                    <a:pt x="29" y="73"/>
                  </a:lnTo>
                  <a:lnTo>
                    <a:pt x="29" y="75"/>
                  </a:lnTo>
                  <a:lnTo>
                    <a:pt x="29" y="73"/>
                  </a:lnTo>
                  <a:lnTo>
                    <a:pt x="29" y="75"/>
                  </a:lnTo>
                  <a:lnTo>
                    <a:pt x="29" y="73"/>
                  </a:lnTo>
                  <a:lnTo>
                    <a:pt x="29" y="75"/>
                  </a:lnTo>
                  <a:lnTo>
                    <a:pt x="29" y="73"/>
                  </a:lnTo>
                  <a:lnTo>
                    <a:pt x="31" y="73"/>
                  </a:lnTo>
                  <a:lnTo>
                    <a:pt x="33" y="73"/>
                  </a:lnTo>
                  <a:lnTo>
                    <a:pt x="33" y="71"/>
                  </a:lnTo>
                  <a:lnTo>
                    <a:pt x="33" y="70"/>
                  </a:lnTo>
                  <a:lnTo>
                    <a:pt x="35" y="70"/>
                  </a:lnTo>
                  <a:lnTo>
                    <a:pt x="37" y="70"/>
                  </a:lnTo>
                  <a:lnTo>
                    <a:pt x="35" y="70"/>
                  </a:lnTo>
                  <a:lnTo>
                    <a:pt x="37" y="70"/>
                  </a:lnTo>
                  <a:lnTo>
                    <a:pt x="37" y="68"/>
                  </a:lnTo>
                  <a:lnTo>
                    <a:pt x="37" y="70"/>
                  </a:lnTo>
                  <a:lnTo>
                    <a:pt x="37" y="68"/>
                  </a:lnTo>
                  <a:close/>
                  <a:moveTo>
                    <a:pt x="35" y="91"/>
                  </a:moveTo>
                  <a:lnTo>
                    <a:pt x="37" y="91"/>
                  </a:lnTo>
                  <a:lnTo>
                    <a:pt x="37" y="93"/>
                  </a:lnTo>
                  <a:lnTo>
                    <a:pt x="37" y="95"/>
                  </a:lnTo>
                  <a:lnTo>
                    <a:pt x="39" y="95"/>
                  </a:lnTo>
                  <a:lnTo>
                    <a:pt x="39" y="96"/>
                  </a:lnTo>
                  <a:lnTo>
                    <a:pt x="39" y="98"/>
                  </a:lnTo>
                  <a:lnTo>
                    <a:pt x="37" y="98"/>
                  </a:lnTo>
                  <a:lnTo>
                    <a:pt x="37" y="100"/>
                  </a:lnTo>
                  <a:lnTo>
                    <a:pt x="37" y="98"/>
                  </a:lnTo>
                  <a:lnTo>
                    <a:pt x="39" y="98"/>
                  </a:lnTo>
                  <a:lnTo>
                    <a:pt x="39" y="100"/>
                  </a:lnTo>
                  <a:lnTo>
                    <a:pt x="39" y="102"/>
                  </a:lnTo>
                  <a:lnTo>
                    <a:pt x="37" y="102"/>
                  </a:lnTo>
                  <a:lnTo>
                    <a:pt x="39" y="102"/>
                  </a:lnTo>
                  <a:lnTo>
                    <a:pt x="41" y="102"/>
                  </a:lnTo>
                  <a:lnTo>
                    <a:pt x="41" y="104"/>
                  </a:lnTo>
                  <a:lnTo>
                    <a:pt x="43" y="104"/>
                  </a:lnTo>
                  <a:lnTo>
                    <a:pt x="43" y="102"/>
                  </a:lnTo>
                  <a:lnTo>
                    <a:pt x="43" y="104"/>
                  </a:lnTo>
                  <a:lnTo>
                    <a:pt x="43" y="102"/>
                  </a:lnTo>
                  <a:lnTo>
                    <a:pt x="45" y="102"/>
                  </a:lnTo>
                  <a:lnTo>
                    <a:pt x="45" y="104"/>
                  </a:lnTo>
                  <a:lnTo>
                    <a:pt x="45" y="106"/>
                  </a:lnTo>
                  <a:lnTo>
                    <a:pt x="43" y="106"/>
                  </a:lnTo>
                  <a:lnTo>
                    <a:pt x="43" y="108"/>
                  </a:lnTo>
                  <a:lnTo>
                    <a:pt x="41" y="108"/>
                  </a:lnTo>
                  <a:lnTo>
                    <a:pt x="41" y="110"/>
                  </a:lnTo>
                  <a:lnTo>
                    <a:pt x="41" y="108"/>
                  </a:lnTo>
                  <a:lnTo>
                    <a:pt x="41" y="110"/>
                  </a:lnTo>
                  <a:lnTo>
                    <a:pt x="39" y="110"/>
                  </a:lnTo>
                  <a:lnTo>
                    <a:pt x="41" y="110"/>
                  </a:lnTo>
                  <a:lnTo>
                    <a:pt x="39" y="110"/>
                  </a:lnTo>
                  <a:lnTo>
                    <a:pt x="41" y="110"/>
                  </a:lnTo>
                  <a:lnTo>
                    <a:pt x="39" y="110"/>
                  </a:lnTo>
                  <a:lnTo>
                    <a:pt x="39" y="108"/>
                  </a:lnTo>
                  <a:lnTo>
                    <a:pt x="41" y="108"/>
                  </a:lnTo>
                  <a:lnTo>
                    <a:pt x="41" y="106"/>
                  </a:lnTo>
                  <a:lnTo>
                    <a:pt x="43" y="106"/>
                  </a:lnTo>
                  <a:lnTo>
                    <a:pt x="43" y="104"/>
                  </a:lnTo>
                  <a:lnTo>
                    <a:pt x="43" y="106"/>
                  </a:lnTo>
                  <a:lnTo>
                    <a:pt x="41" y="106"/>
                  </a:lnTo>
                  <a:lnTo>
                    <a:pt x="41" y="104"/>
                  </a:lnTo>
                  <a:lnTo>
                    <a:pt x="39" y="104"/>
                  </a:lnTo>
                  <a:lnTo>
                    <a:pt x="41" y="104"/>
                  </a:lnTo>
                  <a:lnTo>
                    <a:pt x="39" y="104"/>
                  </a:lnTo>
                  <a:lnTo>
                    <a:pt x="39" y="106"/>
                  </a:lnTo>
                  <a:lnTo>
                    <a:pt x="39" y="104"/>
                  </a:lnTo>
                  <a:lnTo>
                    <a:pt x="37" y="104"/>
                  </a:lnTo>
                  <a:lnTo>
                    <a:pt x="37" y="106"/>
                  </a:lnTo>
                  <a:lnTo>
                    <a:pt x="35" y="106"/>
                  </a:lnTo>
                  <a:lnTo>
                    <a:pt x="35" y="104"/>
                  </a:lnTo>
                  <a:lnTo>
                    <a:pt x="37" y="104"/>
                  </a:lnTo>
                  <a:lnTo>
                    <a:pt x="35" y="104"/>
                  </a:lnTo>
                  <a:lnTo>
                    <a:pt x="33" y="104"/>
                  </a:lnTo>
                  <a:lnTo>
                    <a:pt x="33" y="102"/>
                  </a:lnTo>
                  <a:lnTo>
                    <a:pt x="33" y="104"/>
                  </a:lnTo>
                  <a:lnTo>
                    <a:pt x="33" y="102"/>
                  </a:lnTo>
                  <a:lnTo>
                    <a:pt x="33" y="100"/>
                  </a:lnTo>
                  <a:lnTo>
                    <a:pt x="33" y="102"/>
                  </a:lnTo>
                  <a:lnTo>
                    <a:pt x="33" y="100"/>
                  </a:lnTo>
                  <a:lnTo>
                    <a:pt x="35" y="100"/>
                  </a:lnTo>
                  <a:lnTo>
                    <a:pt x="35" y="102"/>
                  </a:lnTo>
                  <a:lnTo>
                    <a:pt x="35" y="100"/>
                  </a:lnTo>
                  <a:lnTo>
                    <a:pt x="33" y="100"/>
                  </a:lnTo>
                  <a:lnTo>
                    <a:pt x="33" y="98"/>
                  </a:lnTo>
                  <a:lnTo>
                    <a:pt x="33" y="100"/>
                  </a:lnTo>
                  <a:lnTo>
                    <a:pt x="33" y="98"/>
                  </a:lnTo>
                  <a:lnTo>
                    <a:pt x="33" y="100"/>
                  </a:lnTo>
                  <a:lnTo>
                    <a:pt x="33" y="98"/>
                  </a:lnTo>
                  <a:lnTo>
                    <a:pt x="33" y="100"/>
                  </a:lnTo>
                  <a:lnTo>
                    <a:pt x="33" y="98"/>
                  </a:lnTo>
                  <a:lnTo>
                    <a:pt x="33" y="100"/>
                  </a:lnTo>
                  <a:lnTo>
                    <a:pt x="31" y="100"/>
                  </a:lnTo>
                  <a:lnTo>
                    <a:pt x="29" y="100"/>
                  </a:lnTo>
                  <a:lnTo>
                    <a:pt x="29" y="98"/>
                  </a:lnTo>
                  <a:lnTo>
                    <a:pt x="29" y="96"/>
                  </a:lnTo>
                  <a:lnTo>
                    <a:pt x="31" y="96"/>
                  </a:lnTo>
                  <a:lnTo>
                    <a:pt x="29" y="96"/>
                  </a:lnTo>
                  <a:lnTo>
                    <a:pt x="31" y="96"/>
                  </a:lnTo>
                  <a:lnTo>
                    <a:pt x="31" y="98"/>
                  </a:lnTo>
                  <a:lnTo>
                    <a:pt x="31" y="96"/>
                  </a:lnTo>
                  <a:lnTo>
                    <a:pt x="31" y="95"/>
                  </a:lnTo>
                  <a:lnTo>
                    <a:pt x="31" y="96"/>
                  </a:lnTo>
                  <a:lnTo>
                    <a:pt x="31" y="95"/>
                  </a:lnTo>
                  <a:lnTo>
                    <a:pt x="31" y="93"/>
                  </a:lnTo>
                  <a:lnTo>
                    <a:pt x="31" y="95"/>
                  </a:lnTo>
                  <a:lnTo>
                    <a:pt x="33" y="95"/>
                  </a:lnTo>
                  <a:lnTo>
                    <a:pt x="33" y="96"/>
                  </a:lnTo>
                  <a:lnTo>
                    <a:pt x="35" y="96"/>
                  </a:lnTo>
                  <a:lnTo>
                    <a:pt x="33" y="96"/>
                  </a:lnTo>
                  <a:lnTo>
                    <a:pt x="35" y="96"/>
                  </a:lnTo>
                  <a:lnTo>
                    <a:pt x="33" y="96"/>
                  </a:lnTo>
                  <a:lnTo>
                    <a:pt x="35" y="96"/>
                  </a:lnTo>
                  <a:lnTo>
                    <a:pt x="35" y="98"/>
                  </a:lnTo>
                  <a:lnTo>
                    <a:pt x="35" y="96"/>
                  </a:lnTo>
                  <a:lnTo>
                    <a:pt x="35" y="95"/>
                  </a:lnTo>
                  <a:lnTo>
                    <a:pt x="35" y="93"/>
                  </a:lnTo>
                  <a:lnTo>
                    <a:pt x="33" y="93"/>
                  </a:lnTo>
                  <a:lnTo>
                    <a:pt x="35" y="93"/>
                  </a:lnTo>
                  <a:lnTo>
                    <a:pt x="35" y="91"/>
                  </a:lnTo>
                  <a:close/>
                  <a:moveTo>
                    <a:pt x="108" y="6"/>
                  </a:moveTo>
                  <a:lnTo>
                    <a:pt x="108" y="8"/>
                  </a:lnTo>
                  <a:lnTo>
                    <a:pt x="108" y="10"/>
                  </a:lnTo>
                  <a:lnTo>
                    <a:pt x="108" y="12"/>
                  </a:lnTo>
                  <a:lnTo>
                    <a:pt x="108" y="14"/>
                  </a:lnTo>
                  <a:lnTo>
                    <a:pt x="110" y="12"/>
                  </a:lnTo>
                  <a:lnTo>
                    <a:pt x="110" y="14"/>
                  </a:lnTo>
                  <a:lnTo>
                    <a:pt x="110" y="12"/>
                  </a:lnTo>
                  <a:lnTo>
                    <a:pt x="110" y="14"/>
                  </a:lnTo>
                  <a:lnTo>
                    <a:pt x="110" y="12"/>
                  </a:lnTo>
                  <a:lnTo>
                    <a:pt x="108" y="12"/>
                  </a:lnTo>
                  <a:lnTo>
                    <a:pt x="110" y="12"/>
                  </a:lnTo>
                  <a:lnTo>
                    <a:pt x="110" y="14"/>
                  </a:lnTo>
                  <a:lnTo>
                    <a:pt x="112" y="14"/>
                  </a:lnTo>
                  <a:lnTo>
                    <a:pt x="110" y="14"/>
                  </a:lnTo>
                  <a:lnTo>
                    <a:pt x="112" y="14"/>
                  </a:lnTo>
                  <a:lnTo>
                    <a:pt x="110" y="14"/>
                  </a:lnTo>
                  <a:lnTo>
                    <a:pt x="112" y="14"/>
                  </a:lnTo>
                  <a:lnTo>
                    <a:pt x="110" y="14"/>
                  </a:lnTo>
                  <a:lnTo>
                    <a:pt x="112" y="14"/>
                  </a:lnTo>
                  <a:lnTo>
                    <a:pt x="110" y="14"/>
                  </a:lnTo>
                  <a:lnTo>
                    <a:pt x="112" y="14"/>
                  </a:lnTo>
                  <a:lnTo>
                    <a:pt x="110" y="14"/>
                  </a:lnTo>
                  <a:lnTo>
                    <a:pt x="112" y="14"/>
                  </a:lnTo>
                  <a:lnTo>
                    <a:pt x="112" y="16"/>
                  </a:lnTo>
                  <a:lnTo>
                    <a:pt x="112" y="14"/>
                  </a:lnTo>
                  <a:lnTo>
                    <a:pt x="112" y="12"/>
                  </a:lnTo>
                  <a:lnTo>
                    <a:pt x="112" y="14"/>
                  </a:lnTo>
                  <a:lnTo>
                    <a:pt x="112" y="12"/>
                  </a:lnTo>
                  <a:lnTo>
                    <a:pt x="112" y="14"/>
                  </a:lnTo>
                  <a:lnTo>
                    <a:pt x="112" y="16"/>
                  </a:lnTo>
                  <a:lnTo>
                    <a:pt x="112" y="14"/>
                  </a:lnTo>
                  <a:lnTo>
                    <a:pt x="112" y="16"/>
                  </a:lnTo>
                  <a:lnTo>
                    <a:pt x="110" y="16"/>
                  </a:lnTo>
                  <a:lnTo>
                    <a:pt x="112" y="16"/>
                  </a:lnTo>
                  <a:lnTo>
                    <a:pt x="112" y="18"/>
                  </a:lnTo>
                  <a:lnTo>
                    <a:pt x="112" y="20"/>
                  </a:lnTo>
                  <a:lnTo>
                    <a:pt x="112" y="18"/>
                  </a:lnTo>
                  <a:lnTo>
                    <a:pt x="112" y="20"/>
                  </a:lnTo>
                  <a:lnTo>
                    <a:pt x="110" y="20"/>
                  </a:lnTo>
                  <a:lnTo>
                    <a:pt x="112" y="20"/>
                  </a:lnTo>
                  <a:lnTo>
                    <a:pt x="110" y="20"/>
                  </a:lnTo>
                  <a:lnTo>
                    <a:pt x="110" y="18"/>
                  </a:lnTo>
                  <a:lnTo>
                    <a:pt x="112" y="18"/>
                  </a:lnTo>
                  <a:lnTo>
                    <a:pt x="110" y="18"/>
                  </a:lnTo>
                  <a:lnTo>
                    <a:pt x="110" y="20"/>
                  </a:lnTo>
                  <a:lnTo>
                    <a:pt x="110" y="22"/>
                  </a:lnTo>
                  <a:lnTo>
                    <a:pt x="110" y="20"/>
                  </a:lnTo>
                  <a:lnTo>
                    <a:pt x="112" y="20"/>
                  </a:lnTo>
                  <a:lnTo>
                    <a:pt x="112" y="22"/>
                  </a:lnTo>
                  <a:lnTo>
                    <a:pt x="110" y="22"/>
                  </a:lnTo>
                  <a:lnTo>
                    <a:pt x="110" y="23"/>
                  </a:lnTo>
                  <a:lnTo>
                    <a:pt x="110" y="25"/>
                  </a:lnTo>
                  <a:lnTo>
                    <a:pt x="110" y="27"/>
                  </a:lnTo>
                  <a:lnTo>
                    <a:pt x="110" y="25"/>
                  </a:lnTo>
                  <a:lnTo>
                    <a:pt x="110" y="27"/>
                  </a:lnTo>
                  <a:lnTo>
                    <a:pt x="110" y="25"/>
                  </a:lnTo>
                  <a:lnTo>
                    <a:pt x="110" y="27"/>
                  </a:lnTo>
                  <a:lnTo>
                    <a:pt x="110" y="29"/>
                  </a:lnTo>
                  <a:lnTo>
                    <a:pt x="110" y="27"/>
                  </a:lnTo>
                  <a:lnTo>
                    <a:pt x="110" y="29"/>
                  </a:lnTo>
                  <a:lnTo>
                    <a:pt x="108" y="29"/>
                  </a:lnTo>
                  <a:lnTo>
                    <a:pt x="110" y="29"/>
                  </a:lnTo>
                  <a:lnTo>
                    <a:pt x="110" y="31"/>
                  </a:lnTo>
                  <a:lnTo>
                    <a:pt x="110" y="29"/>
                  </a:lnTo>
                  <a:lnTo>
                    <a:pt x="108" y="29"/>
                  </a:lnTo>
                  <a:lnTo>
                    <a:pt x="108" y="27"/>
                  </a:lnTo>
                  <a:lnTo>
                    <a:pt x="108" y="25"/>
                  </a:lnTo>
                  <a:lnTo>
                    <a:pt x="108" y="23"/>
                  </a:lnTo>
                  <a:lnTo>
                    <a:pt x="110" y="23"/>
                  </a:lnTo>
                  <a:lnTo>
                    <a:pt x="110" y="22"/>
                  </a:lnTo>
                  <a:lnTo>
                    <a:pt x="108" y="22"/>
                  </a:lnTo>
                  <a:lnTo>
                    <a:pt x="110" y="22"/>
                  </a:lnTo>
                  <a:lnTo>
                    <a:pt x="108" y="22"/>
                  </a:lnTo>
                  <a:lnTo>
                    <a:pt x="110" y="22"/>
                  </a:lnTo>
                  <a:lnTo>
                    <a:pt x="108" y="22"/>
                  </a:lnTo>
                  <a:lnTo>
                    <a:pt x="110" y="22"/>
                  </a:lnTo>
                  <a:lnTo>
                    <a:pt x="108" y="22"/>
                  </a:lnTo>
                  <a:lnTo>
                    <a:pt x="110" y="22"/>
                  </a:lnTo>
                  <a:lnTo>
                    <a:pt x="110" y="20"/>
                  </a:lnTo>
                  <a:lnTo>
                    <a:pt x="108" y="20"/>
                  </a:lnTo>
                  <a:lnTo>
                    <a:pt x="110" y="20"/>
                  </a:lnTo>
                  <a:lnTo>
                    <a:pt x="108" y="20"/>
                  </a:lnTo>
                  <a:lnTo>
                    <a:pt x="108" y="22"/>
                  </a:lnTo>
                  <a:lnTo>
                    <a:pt x="108" y="20"/>
                  </a:lnTo>
                  <a:lnTo>
                    <a:pt x="110" y="20"/>
                  </a:lnTo>
                  <a:lnTo>
                    <a:pt x="110" y="18"/>
                  </a:lnTo>
                  <a:lnTo>
                    <a:pt x="110" y="20"/>
                  </a:lnTo>
                  <a:lnTo>
                    <a:pt x="108" y="20"/>
                  </a:lnTo>
                  <a:lnTo>
                    <a:pt x="108" y="18"/>
                  </a:lnTo>
                  <a:lnTo>
                    <a:pt x="108" y="20"/>
                  </a:lnTo>
                  <a:lnTo>
                    <a:pt x="108" y="18"/>
                  </a:lnTo>
                  <a:lnTo>
                    <a:pt x="106" y="18"/>
                  </a:lnTo>
                  <a:lnTo>
                    <a:pt x="108" y="18"/>
                  </a:lnTo>
                  <a:lnTo>
                    <a:pt x="108" y="20"/>
                  </a:lnTo>
                  <a:lnTo>
                    <a:pt x="108" y="22"/>
                  </a:lnTo>
                  <a:lnTo>
                    <a:pt x="106" y="22"/>
                  </a:lnTo>
                  <a:lnTo>
                    <a:pt x="106" y="20"/>
                  </a:lnTo>
                  <a:lnTo>
                    <a:pt x="106" y="22"/>
                  </a:lnTo>
                  <a:lnTo>
                    <a:pt x="106" y="20"/>
                  </a:lnTo>
                  <a:lnTo>
                    <a:pt x="106" y="22"/>
                  </a:lnTo>
                  <a:lnTo>
                    <a:pt x="106" y="20"/>
                  </a:lnTo>
                  <a:lnTo>
                    <a:pt x="104" y="20"/>
                  </a:lnTo>
                  <a:lnTo>
                    <a:pt x="106" y="20"/>
                  </a:lnTo>
                  <a:lnTo>
                    <a:pt x="104" y="20"/>
                  </a:lnTo>
                  <a:lnTo>
                    <a:pt x="106" y="20"/>
                  </a:lnTo>
                  <a:lnTo>
                    <a:pt x="104" y="20"/>
                  </a:lnTo>
                  <a:lnTo>
                    <a:pt x="102" y="20"/>
                  </a:lnTo>
                  <a:lnTo>
                    <a:pt x="104" y="20"/>
                  </a:lnTo>
                  <a:lnTo>
                    <a:pt x="102" y="20"/>
                  </a:lnTo>
                  <a:lnTo>
                    <a:pt x="104" y="20"/>
                  </a:lnTo>
                  <a:lnTo>
                    <a:pt x="102" y="20"/>
                  </a:lnTo>
                  <a:lnTo>
                    <a:pt x="104" y="20"/>
                  </a:lnTo>
                  <a:lnTo>
                    <a:pt x="102" y="20"/>
                  </a:lnTo>
                  <a:lnTo>
                    <a:pt x="104" y="20"/>
                  </a:lnTo>
                  <a:lnTo>
                    <a:pt x="102" y="20"/>
                  </a:lnTo>
                  <a:lnTo>
                    <a:pt x="102" y="18"/>
                  </a:lnTo>
                  <a:lnTo>
                    <a:pt x="104" y="18"/>
                  </a:lnTo>
                  <a:lnTo>
                    <a:pt x="102" y="18"/>
                  </a:lnTo>
                  <a:lnTo>
                    <a:pt x="104" y="18"/>
                  </a:lnTo>
                  <a:lnTo>
                    <a:pt x="102" y="18"/>
                  </a:lnTo>
                  <a:lnTo>
                    <a:pt x="104" y="18"/>
                  </a:lnTo>
                  <a:lnTo>
                    <a:pt x="102" y="18"/>
                  </a:lnTo>
                  <a:lnTo>
                    <a:pt x="104" y="18"/>
                  </a:lnTo>
                  <a:lnTo>
                    <a:pt x="102" y="18"/>
                  </a:lnTo>
                  <a:lnTo>
                    <a:pt x="104" y="18"/>
                  </a:lnTo>
                  <a:lnTo>
                    <a:pt x="106" y="18"/>
                  </a:lnTo>
                  <a:lnTo>
                    <a:pt x="106" y="16"/>
                  </a:lnTo>
                  <a:lnTo>
                    <a:pt x="106" y="18"/>
                  </a:lnTo>
                  <a:lnTo>
                    <a:pt x="106" y="16"/>
                  </a:lnTo>
                  <a:lnTo>
                    <a:pt x="108" y="16"/>
                  </a:lnTo>
                  <a:lnTo>
                    <a:pt x="108" y="18"/>
                  </a:lnTo>
                  <a:lnTo>
                    <a:pt x="108" y="16"/>
                  </a:lnTo>
                  <a:lnTo>
                    <a:pt x="110" y="16"/>
                  </a:lnTo>
                  <a:lnTo>
                    <a:pt x="108" y="16"/>
                  </a:lnTo>
                  <a:lnTo>
                    <a:pt x="108" y="14"/>
                  </a:lnTo>
                  <a:lnTo>
                    <a:pt x="108" y="16"/>
                  </a:lnTo>
                  <a:lnTo>
                    <a:pt x="108" y="14"/>
                  </a:lnTo>
                  <a:lnTo>
                    <a:pt x="106" y="14"/>
                  </a:lnTo>
                  <a:lnTo>
                    <a:pt x="106" y="12"/>
                  </a:lnTo>
                  <a:lnTo>
                    <a:pt x="108" y="12"/>
                  </a:lnTo>
                  <a:lnTo>
                    <a:pt x="106" y="12"/>
                  </a:lnTo>
                  <a:lnTo>
                    <a:pt x="104" y="12"/>
                  </a:lnTo>
                  <a:lnTo>
                    <a:pt x="104" y="10"/>
                  </a:lnTo>
                  <a:lnTo>
                    <a:pt x="104" y="12"/>
                  </a:lnTo>
                  <a:lnTo>
                    <a:pt x="104" y="10"/>
                  </a:lnTo>
                  <a:lnTo>
                    <a:pt x="104" y="12"/>
                  </a:lnTo>
                  <a:lnTo>
                    <a:pt x="104" y="10"/>
                  </a:lnTo>
                  <a:lnTo>
                    <a:pt x="104" y="12"/>
                  </a:lnTo>
                  <a:lnTo>
                    <a:pt x="104" y="10"/>
                  </a:lnTo>
                  <a:lnTo>
                    <a:pt x="106" y="10"/>
                  </a:lnTo>
                  <a:lnTo>
                    <a:pt x="106" y="12"/>
                  </a:lnTo>
                  <a:lnTo>
                    <a:pt x="106" y="10"/>
                  </a:lnTo>
                  <a:lnTo>
                    <a:pt x="108" y="10"/>
                  </a:lnTo>
                  <a:lnTo>
                    <a:pt x="106" y="10"/>
                  </a:lnTo>
                  <a:lnTo>
                    <a:pt x="106" y="8"/>
                  </a:lnTo>
                  <a:lnTo>
                    <a:pt x="106" y="10"/>
                  </a:lnTo>
                  <a:lnTo>
                    <a:pt x="106" y="8"/>
                  </a:lnTo>
                  <a:lnTo>
                    <a:pt x="108" y="8"/>
                  </a:lnTo>
                  <a:lnTo>
                    <a:pt x="106" y="8"/>
                  </a:lnTo>
                  <a:lnTo>
                    <a:pt x="108" y="8"/>
                  </a:lnTo>
                  <a:lnTo>
                    <a:pt x="106" y="8"/>
                  </a:lnTo>
                  <a:lnTo>
                    <a:pt x="108" y="8"/>
                  </a:lnTo>
                  <a:lnTo>
                    <a:pt x="108" y="6"/>
                  </a:lnTo>
                  <a:close/>
                  <a:moveTo>
                    <a:pt x="39" y="120"/>
                  </a:moveTo>
                  <a:lnTo>
                    <a:pt x="39" y="121"/>
                  </a:lnTo>
                  <a:lnTo>
                    <a:pt x="41" y="121"/>
                  </a:lnTo>
                  <a:lnTo>
                    <a:pt x="41" y="123"/>
                  </a:lnTo>
                  <a:lnTo>
                    <a:pt x="43" y="123"/>
                  </a:lnTo>
                  <a:lnTo>
                    <a:pt x="45" y="123"/>
                  </a:lnTo>
                  <a:lnTo>
                    <a:pt x="45" y="125"/>
                  </a:lnTo>
                  <a:lnTo>
                    <a:pt x="45" y="127"/>
                  </a:lnTo>
                  <a:lnTo>
                    <a:pt x="45" y="125"/>
                  </a:lnTo>
                  <a:lnTo>
                    <a:pt x="45" y="127"/>
                  </a:lnTo>
                  <a:lnTo>
                    <a:pt x="45" y="125"/>
                  </a:lnTo>
                  <a:lnTo>
                    <a:pt x="45" y="127"/>
                  </a:lnTo>
                  <a:lnTo>
                    <a:pt x="43" y="127"/>
                  </a:lnTo>
                  <a:lnTo>
                    <a:pt x="45" y="127"/>
                  </a:lnTo>
                  <a:lnTo>
                    <a:pt x="43" y="127"/>
                  </a:lnTo>
                  <a:lnTo>
                    <a:pt x="43" y="129"/>
                  </a:lnTo>
                  <a:lnTo>
                    <a:pt x="43" y="127"/>
                  </a:lnTo>
                  <a:lnTo>
                    <a:pt x="41" y="127"/>
                  </a:lnTo>
                  <a:lnTo>
                    <a:pt x="43" y="127"/>
                  </a:lnTo>
                  <a:lnTo>
                    <a:pt x="41" y="127"/>
                  </a:lnTo>
                  <a:lnTo>
                    <a:pt x="41" y="129"/>
                  </a:lnTo>
                  <a:lnTo>
                    <a:pt x="41" y="127"/>
                  </a:lnTo>
                  <a:lnTo>
                    <a:pt x="41" y="129"/>
                  </a:lnTo>
                  <a:lnTo>
                    <a:pt x="39" y="129"/>
                  </a:lnTo>
                  <a:lnTo>
                    <a:pt x="37" y="129"/>
                  </a:lnTo>
                  <a:lnTo>
                    <a:pt x="39" y="129"/>
                  </a:lnTo>
                  <a:lnTo>
                    <a:pt x="37" y="129"/>
                  </a:lnTo>
                  <a:lnTo>
                    <a:pt x="35" y="129"/>
                  </a:lnTo>
                  <a:lnTo>
                    <a:pt x="37" y="129"/>
                  </a:lnTo>
                  <a:lnTo>
                    <a:pt x="35" y="129"/>
                  </a:lnTo>
                  <a:lnTo>
                    <a:pt x="35" y="127"/>
                  </a:lnTo>
                  <a:lnTo>
                    <a:pt x="37" y="127"/>
                  </a:lnTo>
                  <a:lnTo>
                    <a:pt x="35" y="127"/>
                  </a:lnTo>
                  <a:lnTo>
                    <a:pt x="37" y="127"/>
                  </a:lnTo>
                  <a:lnTo>
                    <a:pt x="37" y="129"/>
                  </a:lnTo>
                  <a:lnTo>
                    <a:pt x="37" y="127"/>
                  </a:lnTo>
                  <a:lnTo>
                    <a:pt x="39" y="127"/>
                  </a:lnTo>
                  <a:lnTo>
                    <a:pt x="41" y="127"/>
                  </a:lnTo>
                  <a:lnTo>
                    <a:pt x="41" y="125"/>
                  </a:lnTo>
                  <a:lnTo>
                    <a:pt x="41" y="127"/>
                  </a:lnTo>
                  <a:lnTo>
                    <a:pt x="41" y="125"/>
                  </a:lnTo>
                  <a:lnTo>
                    <a:pt x="39" y="125"/>
                  </a:lnTo>
                  <a:lnTo>
                    <a:pt x="39" y="127"/>
                  </a:lnTo>
                  <a:lnTo>
                    <a:pt x="37" y="127"/>
                  </a:lnTo>
                  <a:lnTo>
                    <a:pt x="37" y="125"/>
                  </a:lnTo>
                  <a:lnTo>
                    <a:pt x="39" y="125"/>
                  </a:lnTo>
                  <a:lnTo>
                    <a:pt x="39" y="123"/>
                  </a:lnTo>
                  <a:lnTo>
                    <a:pt x="39" y="125"/>
                  </a:lnTo>
                  <a:lnTo>
                    <a:pt x="39" y="123"/>
                  </a:lnTo>
                  <a:lnTo>
                    <a:pt x="41" y="123"/>
                  </a:lnTo>
                  <a:lnTo>
                    <a:pt x="39" y="123"/>
                  </a:lnTo>
                  <a:lnTo>
                    <a:pt x="37" y="123"/>
                  </a:lnTo>
                  <a:lnTo>
                    <a:pt x="35" y="123"/>
                  </a:lnTo>
                  <a:lnTo>
                    <a:pt x="35" y="121"/>
                  </a:lnTo>
                  <a:lnTo>
                    <a:pt x="37" y="121"/>
                  </a:lnTo>
                  <a:lnTo>
                    <a:pt x="35" y="121"/>
                  </a:lnTo>
                  <a:lnTo>
                    <a:pt x="37" y="121"/>
                  </a:lnTo>
                  <a:lnTo>
                    <a:pt x="37" y="120"/>
                  </a:lnTo>
                  <a:lnTo>
                    <a:pt x="37" y="121"/>
                  </a:lnTo>
                  <a:lnTo>
                    <a:pt x="37" y="120"/>
                  </a:lnTo>
                  <a:lnTo>
                    <a:pt x="39" y="120"/>
                  </a:lnTo>
                  <a:close/>
                  <a:moveTo>
                    <a:pt x="64" y="202"/>
                  </a:moveTo>
                  <a:lnTo>
                    <a:pt x="66" y="202"/>
                  </a:lnTo>
                  <a:lnTo>
                    <a:pt x="66" y="204"/>
                  </a:lnTo>
                  <a:lnTo>
                    <a:pt x="66" y="202"/>
                  </a:lnTo>
                  <a:lnTo>
                    <a:pt x="66" y="204"/>
                  </a:lnTo>
                  <a:lnTo>
                    <a:pt x="66" y="206"/>
                  </a:lnTo>
                  <a:lnTo>
                    <a:pt x="66" y="204"/>
                  </a:lnTo>
                  <a:lnTo>
                    <a:pt x="66" y="206"/>
                  </a:lnTo>
                  <a:lnTo>
                    <a:pt x="66" y="204"/>
                  </a:lnTo>
                  <a:lnTo>
                    <a:pt x="68" y="204"/>
                  </a:lnTo>
                  <a:lnTo>
                    <a:pt x="70" y="204"/>
                  </a:lnTo>
                  <a:lnTo>
                    <a:pt x="68" y="204"/>
                  </a:lnTo>
                  <a:lnTo>
                    <a:pt x="68" y="206"/>
                  </a:lnTo>
                  <a:lnTo>
                    <a:pt x="66" y="208"/>
                  </a:lnTo>
                  <a:lnTo>
                    <a:pt x="64" y="208"/>
                  </a:lnTo>
                  <a:lnTo>
                    <a:pt x="64" y="210"/>
                  </a:lnTo>
                  <a:lnTo>
                    <a:pt x="64" y="208"/>
                  </a:lnTo>
                  <a:lnTo>
                    <a:pt x="64" y="210"/>
                  </a:lnTo>
                  <a:lnTo>
                    <a:pt x="64" y="208"/>
                  </a:lnTo>
                  <a:lnTo>
                    <a:pt x="62" y="208"/>
                  </a:lnTo>
                  <a:lnTo>
                    <a:pt x="62" y="206"/>
                  </a:lnTo>
                  <a:lnTo>
                    <a:pt x="60" y="206"/>
                  </a:lnTo>
                  <a:lnTo>
                    <a:pt x="62" y="206"/>
                  </a:lnTo>
                  <a:lnTo>
                    <a:pt x="60" y="206"/>
                  </a:lnTo>
                  <a:lnTo>
                    <a:pt x="62" y="206"/>
                  </a:lnTo>
                  <a:lnTo>
                    <a:pt x="60" y="206"/>
                  </a:lnTo>
                  <a:lnTo>
                    <a:pt x="62" y="206"/>
                  </a:lnTo>
                  <a:lnTo>
                    <a:pt x="60" y="206"/>
                  </a:lnTo>
                  <a:lnTo>
                    <a:pt x="62" y="206"/>
                  </a:lnTo>
                  <a:lnTo>
                    <a:pt x="60" y="206"/>
                  </a:lnTo>
                  <a:lnTo>
                    <a:pt x="62" y="206"/>
                  </a:lnTo>
                  <a:lnTo>
                    <a:pt x="60" y="206"/>
                  </a:lnTo>
                  <a:lnTo>
                    <a:pt x="60" y="204"/>
                  </a:lnTo>
                  <a:lnTo>
                    <a:pt x="60" y="206"/>
                  </a:lnTo>
                  <a:lnTo>
                    <a:pt x="62" y="206"/>
                  </a:lnTo>
                  <a:lnTo>
                    <a:pt x="62" y="204"/>
                  </a:lnTo>
                  <a:lnTo>
                    <a:pt x="60" y="204"/>
                  </a:lnTo>
                  <a:lnTo>
                    <a:pt x="62" y="204"/>
                  </a:lnTo>
                  <a:lnTo>
                    <a:pt x="62" y="202"/>
                  </a:lnTo>
                  <a:lnTo>
                    <a:pt x="64" y="202"/>
                  </a:lnTo>
                  <a:lnTo>
                    <a:pt x="62" y="202"/>
                  </a:lnTo>
                  <a:lnTo>
                    <a:pt x="64" y="202"/>
                  </a:lnTo>
                  <a:close/>
                  <a:moveTo>
                    <a:pt x="81" y="50"/>
                  </a:moveTo>
                  <a:lnTo>
                    <a:pt x="83" y="50"/>
                  </a:lnTo>
                  <a:lnTo>
                    <a:pt x="83" y="52"/>
                  </a:lnTo>
                  <a:lnTo>
                    <a:pt x="83" y="50"/>
                  </a:lnTo>
                  <a:lnTo>
                    <a:pt x="83" y="52"/>
                  </a:lnTo>
                  <a:lnTo>
                    <a:pt x="85" y="52"/>
                  </a:lnTo>
                  <a:lnTo>
                    <a:pt x="83" y="52"/>
                  </a:lnTo>
                  <a:lnTo>
                    <a:pt x="85" y="52"/>
                  </a:lnTo>
                  <a:lnTo>
                    <a:pt x="85" y="54"/>
                  </a:lnTo>
                  <a:lnTo>
                    <a:pt x="83" y="54"/>
                  </a:lnTo>
                  <a:lnTo>
                    <a:pt x="85" y="54"/>
                  </a:lnTo>
                  <a:lnTo>
                    <a:pt x="85" y="56"/>
                  </a:lnTo>
                  <a:lnTo>
                    <a:pt x="85" y="54"/>
                  </a:lnTo>
                  <a:lnTo>
                    <a:pt x="85" y="56"/>
                  </a:lnTo>
                  <a:lnTo>
                    <a:pt x="85" y="54"/>
                  </a:lnTo>
                  <a:lnTo>
                    <a:pt x="85" y="56"/>
                  </a:lnTo>
                  <a:lnTo>
                    <a:pt x="87" y="56"/>
                  </a:lnTo>
                  <a:lnTo>
                    <a:pt x="85" y="56"/>
                  </a:lnTo>
                  <a:lnTo>
                    <a:pt x="87" y="56"/>
                  </a:lnTo>
                  <a:lnTo>
                    <a:pt x="85" y="56"/>
                  </a:lnTo>
                  <a:lnTo>
                    <a:pt x="87" y="56"/>
                  </a:lnTo>
                  <a:lnTo>
                    <a:pt x="87" y="54"/>
                  </a:lnTo>
                  <a:lnTo>
                    <a:pt x="87" y="56"/>
                  </a:lnTo>
                  <a:lnTo>
                    <a:pt x="87" y="58"/>
                  </a:lnTo>
                  <a:lnTo>
                    <a:pt x="87" y="56"/>
                  </a:lnTo>
                  <a:lnTo>
                    <a:pt x="89" y="56"/>
                  </a:lnTo>
                  <a:lnTo>
                    <a:pt x="87" y="56"/>
                  </a:lnTo>
                  <a:lnTo>
                    <a:pt x="87" y="58"/>
                  </a:lnTo>
                  <a:lnTo>
                    <a:pt x="85" y="58"/>
                  </a:lnTo>
                  <a:lnTo>
                    <a:pt x="87" y="58"/>
                  </a:lnTo>
                  <a:lnTo>
                    <a:pt x="87" y="60"/>
                  </a:lnTo>
                  <a:lnTo>
                    <a:pt x="85" y="60"/>
                  </a:lnTo>
                  <a:lnTo>
                    <a:pt x="85" y="62"/>
                  </a:lnTo>
                  <a:lnTo>
                    <a:pt x="85" y="60"/>
                  </a:lnTo>
                  <a:lnTo>
                    <a:pt x="83" y="60"/>
                  </a:lnTo>
                  <a:lnTo>
                    <a:pt x="85" y="60"/>
                  </a:lnTo>
                  <a:lnTo>
                    <a:pt x="83" y="60"/>
                  </a:lnTo>
                  <a:lnTo>
                    <a:pt x="85" y="60"/>
                  </a:lnTo>
                  <a:lnTo>
                    <a:pt x="85" y="58"/>
                  </a:lnTo>
                  <a:lnTo>
                    <a:pt x="85" y="56"/>
                  </a:lnTo>
                  <a:lnTo>
                    <a:pt x="83" y="56"/>
                  </a:lnTo>
                  <a:lnTo>
                    <a:pt x="85" y="56"/>
                  </a:lnTo>
                  <a:lnTo>
                    <a:pt x="83" y="56"/>
                  </a:lnTo>
                  <a:lnTo>
                    <a:pt x="83" y="58"/>
                  </a:lnTo>
                  <a:lnTo>
                    <a:pt x="81" y="58"/>
                  </a:lnTo>
                  <a:lnTo>
                    <a:pt x="81" y="56"/>
                  </a:lnTo>
                  <a:lnTo>
                    <a:pt x="81" y="58"/>
                  </a:lnTo>
                  <a:lnTo>
                    <a:pt x="81" y="56"/>
                  </a:lnTo>
                  <a:lnTo>
                    <a:pt x="79" y="56"/>
                  </a:lnTo>
                  <a:lnTo>
                    <a:pt x="81" y="56"/>
                  </a:lnTo>
                  <a:lnTo>
                    <a:pt x="79" y="56"/>
                  </a:lnTo>
                  <a:lnTo>
                    <a:pt x="79" y="54"/>
                  </a:lnTo>
                  <a:lnTo>
                    <a:pt x="79" y="52"/>
                  </a:lnTo>
                  <a:lnTo>
                    <a:pt x="79" y="50"/>
                  </a:lnTo>
                  <a:lnTo>
                    <a:pt x="81" y="50"/>
                  </a:lnTo>
                  <a:close/>
                  <a:moveTo>
                    <a:pt x="39" y="139"/>
                  </a:moveTo>
                  <a:lnTo>
                    <a:pt x="39" y="141"/>
                  </a:lnTo>
                  <a:lnTo>
                    <a:pt x="39" y="143"/>
                  </a:lnTo>
                  <a:lnTo>
                    <a:pt x="39" y="144"/>
                  </a:lnTo>
                  <a:lnTo>
                    <a:pt x="41" y="144"/>
                  </a:lnTo>
                  <a:lnTo>
                    <a:pt x="39" y="144"/>
                  </a:lnTo>
                  <a:lnTo>
                    <a:pt x="39" y="146"/>
                  </a:lnTo>
                  <a:lnTo>
                    <a:pt x="39" y="144"/>
                  </a:lnTo>
                  <a:lnTo>
                    <a:pt x="39" y="146"/>
                  </a:lnTo>
                  <a:lnTo>
                    <a:pt x="39" y="144"/>
                  </a:lnTo>
                  <a:lnTo>
                    <a:pt x="39" y="146"/>
                  </a:lnTo>
                  <a:lnTo>
                    <a:pt x="39" y="144"/>
                  </a:lnTo>
                  <a:lnTo>
                    <a:pt x="39" y="146"/>
                  </a:lnTo>
                  <a:lnTo>
                    <a:pt x="39" y="144"/>
                  </a:lnTo>
                  <a:lnTo>
                    <a:pt x="39" y="146"/>
                  </a:lnTo>
                  <a:lnTo>
                    <a:pt x="37" y="146"/>
                  </a:lnTo>
                  <a:lnTo>
                    <a:pt x="37" y="148"/>
                  </a:lnTo>
                  <a:lnTo>
                    <a:pt x="35" y="148"/>
                  </a:lnTo>
                  <a:lnTo>
                    <a:pt x="35" y="146"/>
                  </a:lnTo>
                  <a:lnTo>
                    <a:pt x="37" y="146"/>
                  </a:lnTo>
                  <a:lnTo>
                    <a:pt x="37" y="144"/>
                  </a:lnTo>
                  <a:lnTo>
                    <a:pt x="35" y="144"/>
                  </a:lnTo>
                  <a:lnTo>
                    <a:pt x="35" y="143"/>
                  </a:lnTo>
                  <a:lnTo>
                    <a:pt x="37" y="143"/>
                  </a:lnTo>
                  <a:lnTo>
                    <a:pt x="35" y="143"/>
                  </a:lnTo>
                  <a:lnTo>
                    <a:pt x="35" y="144"/>
                  </a:lnTo>
                  <a:lnTo>
                    <a:pt x="33" y="144"/>
                  </a:lnTo>
                  <a:lnTo>
                    <a:pt x="33" y="143"/>
                  </a:lnTo>
                  <a:lnTo>
                    <a:pt x="33" y="141"/>
                  </a:lnTo>
                  <a:lnTo>
                    <a:pt x="35" y="141"/>
                  </a:lnTo>
                  <a:lnTo>
                    <a:pt x="35" y="139"/>
                  </a:lnTo>
                  <a:lnTo>
                    <a:pt x="35" y="141"/>
                  </a:lnTo>
                  <a:lnTo>
                    <a:pt x="37" y="141"/>
                  </a:lnTo>
                  <a:lnTo>
                    <a:pt x="37" y="139"/>
                  </a:lnTo>
                  <a:lnTo>
                    <a:pt x="39" y="139"/>
                  </a:lnTo>
                  <a:close/>
                  <a:moveTo>
                    <a:pt x="50" y="144"/>
                  </a:moveTo>
                  <a:lnTo>
                    <a:pt x="52" y="144"/>
                  </a:lnTo>
                  <a:lnTo>
                    <a:pt x="52" y="146"/>
                  </a:lnTo>
                  <a:lnTo>
                    <a:pt x="52" y="148"/>
                  </a:lnTo>
                  <a:lnTo>
                    <a:pt x="54" y="148"/>
                  </a:lnTo>
                  <a:lnTo>
                    <a:pt x="52" y="148"/>
                  </a:lnTo>
                  <a:lnTo>
                    <a:pt x="54" y="148"/>
                  </a:lnTo>
                  <a:lnTo>
                    <a:pt x="54" y="150"/>
                  </a:lnTo>
                  <a:lnTo>
                    <a:pt x="52" y="150"/>
                  </a:lnTo>
                  <a:lnTo>
                    <a:pt x="52" y="152"/>
                  </a:lnTo>
                  <a:lnTo>
                    <a:pt x="50" y="150"/>
                  </a:lnTo>
                  <a:lnTo>
                    <a:pt x="50" y="148"/>
                  </a:lnTo>
                  <a:lnTo>
                    <a:pt x="48" y="148"/>
                  </a:lnTo>
                  <a:lnTo>
                    <a:pt x="48" y="146"/>
                  </a:lnTo>
                  <a:lnTo>
                    <a:pt x="48" y="144"/>
                  </a:lnTo>
                  <a:lnTo>
                    <a:pt x="50" y="144"/>
                  </a:lnTo>
                  <a:close/>
                  <a:moveTo>
                    <a:pt x="45" y="133"/>
                  </a:moveTo>
                  <a:lnTo>
                    <a:pt x="45" y="135"/>
                  </a:lnTo>
                  <a:lnTo>
                    <a:pt x="43" y="135"/>
                  </a:lnTo>
                  <a:lnTo>
                    <a:pt x="43" y="137"/>
                  </a:lnTo>
                  <a:lnTo>
                    <a:pt x="43" y="139"/>
                  </a:lnTo>
                  <a:lnTo>
                    <a:pt x="43" y="141"/>
                  </a:lnTo>
                  <a:lnTo>
                    <a:pt x="43" y="139"/>
                  </a:lnTo>
                  <a:lnTo>
                    <a:pt x="41" y="139"/>
                  </a:lnTo>
                  <a:lnTo>
                    <a:pt x="41" y="141"/>
                  </a:lnTo>
                  <a:lnTo>
                    <a:pt x="41" y="143"/>
                  </a:lnTo>
                  <a:lnTo>
                    <a:pt x="39" y="143"/>
                  </a:lnTo>
                  <a:lnTo>
                    <a:pt x="39" y="141"/>
                  </a:lnTo>
                  <a:lnTo>
                    <a:pt x="39" y="139"/>
                  </a:lnTo>
                  <a:lnTo>
                    <a:pt x="41" y="139"/>
                  </a:lnTo>
                  <a:lnTo>
                    <a:pt x="41" y="137"/>
                  </a:lnTo>
                  <a:lnTo>
                    <a:pt x="41" y="139"/>
                  </a:lnTo>
                  <a:lnTo>
                    <a:pt x="41" y="137"/>
                  </a:lnTo>
                  <a:lnTo>
                    <a:pt x="41" y="139"/>
                  </a:lnTo>
                  <a:lnTo>
                    <a:pt x="41" y="137"/>
                  </a:lnTo>
                  <a:lnTo>
                    <a:pt x="41" y="135"/>
                  </a:lnTo>
                  <a:lnTo>
                    <a:pt x="43" y="135"/>
                  </a:lnTo>
                  <a:lnTo>
                    <a:pt x="43" y="133"/>
                  </a:lnTo>
                  <a:lnTo>
                    <a:pt x="43" y="135"/>
                  </a:lnTo>
                  <a:lnTo>
                    <a:pt x="43" y="133"/>
                  </a:lnTo>
                  <a:lnTo>
                    <a:pt x="45" y="133"/>
                  </a:lnTo>
                  <a:close/>
                  <a:moveTo>
                    <a:pt x="108" y="265"/>
                  </a:moveTo>
                  <a:lnTo>
                    <a:pt x="110" y="265"/>
                  </a:lnTo>
                  <a:lnTo>
                    <a:pt x="108" y="265"/>
                  </a:lnTo>
                  <a:lnTo>
                    <a:pt x="110" y="265"/>
                  </a:lnTo>
                  <a:lnTo>
                    <a:pt x="108" y="265"/>
                  </a:lnTo>
                  <a:lnTo>
                    <a:pt x="110" y="265"/>
                  </a:lnTo>
                  <a:lnTo>
                    <a:pt x="108" y="265"/>
                  </a:lnTo>
                  <a:lnTo>
                    <a:pt x="110" y="265"/>
                  </a:lnTo>
                  <a:lnTo>
                    <a:pt x="112" y="265"/>
                  </a:lnTo>
                  <a:lnTo>
                    <a:pt x="112" y="267"/>
                  </a:lnTo>
                  <a:lnTo>
                    <a:pt x="110" y="267"/>
                  </a:lnTo>
                  <a:lnTo>
                    <a:pt x="110" y="269"/>
                  </a:lnTo>
                  <a:lnTo>
                    <a:pt x="108" y="269"/>
                  </a:lnTo>
                  <a:lnTo>
                    <a:pt x="108" y="267"/>
                  </a:lnTo>
                  <a:lnTo>
                    <a:pt x="106" y="267"/>
                  </a:lnTo>
                  <a:lnTo>
                    <a:pt x="104" y="267"/>
                  </a:lnTo>
                  <a:lnTo>
                    <a:pt x="106" y="267"/>
                  </a:lnTo>
                  <a:lnTo>
                    <a:pt x="106" y="265"/>
                  </a:lnTo>
                  <a:lnTo>
                    <a:pt x="108" y="265"/>
                  </a:lnTo>
                  <a:close/>
                  <a:moveTo>
                    <a:pt x="24" y="91"/>
                  </a:moveTo>
                  <a:lnTo>
                    <a:pt x="24" y="93"/>
                  </a:lnTo>
                  <a:lnTo>
                    <a:pt x="24" y="91"/>
                  </a:lnTo>
                  <a:lnTo>
                    <a:pt x="24" y="93"/>
                  </a:lnTo>
                  <a:lnTo>
                    <a:pt x="25" y="93"/>
                  </a:lnTo>
                  <a:lnTo>
                    <a:pt x="24" y="93"/>
                  </a:lnTo>
                  <a:lnTo>
                    <a:pt x="24" y="95"/>
                  </a:lnTo>
                  <a:lnTo>
                    <a:pt x="24" y="93"/>
                  </a:lnTo>
                  <a:lnTo>
                    <a:pt x="22" y="93"/>
                  </a:lnTo>
                  <a:lnTo>
                    <a:pt x="24" y="93"/>
                  </a:lnTo>
                  <a:lnTo>
                    <a:pt x="22" y="93"/>
                  </a:lnTo>
                  <a:lnTo>
                    <a:pt x="24" y="93"/>
                  </a:lnTo>
                  <a:lnTo>
                    <a:pt x="22" y="93"/>
                  </a:lnTo>
                  <a:lnTo>
                    <a:pt x="24" y="93"/>
                  </a:lnTo>
                  <a:lnTo>
                    <a:pt x="22" y="93"/>
                  </a:lnTo>
                  <a:lnTo>
                    <a:pt x="24" y="93"/>
                  </a:lnTo>
                  <a:lnTo>
                    <a:pt x="22" y="93"/>
                  </a:lnTo>
                  <a:lnTo>
                    <a:pt x="24" y="93"/>
                  </a:lnTo>
                  <a:lnTo>
                    <a:pt x="24" y="95"/>
                  </a:lnTo>
                  <a:lnTo>
                    <a:pt x="24" y="93"/>
                  </a:lnTo>
                  <a:lnTo>
                    <a:pt x="24" y="95"/>
                  </a:lnTo>
                  <a:lnTo>
                    <a:pt x="24" y="93"/>
                  </a:lnTo>
                  <a:lnTo>
                    <a:pt x="24" y="95"/>
                  </a:lnTo>
                  <a:lnTo>
                    <a:pt x="24" y="93"/>
                  </a:lnTo>
                  <a:lnTo>
                    <a:pt x="24" y="95"/>
                  </a:lnTo>
                  <a:lnTo>
                    <a:pt x="24" y="96"/>
                  </a:lnTo>
                  <a:lnTo>
                    <a:pt x="22" y="96"/>
                  </a:lnTo>
                  <a:lnTo>
                    <a:pt x="24" y="96"/>
                  </a:lnTo>
                  <a:lnTo>
                    <a:pt x="22" y="96"/>
                  </a:lnTo>
                  <a:lnTo>
                    <a:pt x="24" y="96"/>
                  </a:lnTo>
                  <a:lnTo>
                    <a:pt x="22" y="96"/>
                  </a:lnTo>
                  <a:lnTo>
                    <a:pt x="20" y="96"/>
                  </a:lnTo>
                  <a:lnTo>
                    <a:pt x="20" y="95"/>
                  </a:lnTo>
                  <a:lnTo>
                    <a:pt x="20" y="96"/>
                  </a:lnTo>
                  <a:lnTo>
                    <a:pt x="20" y="95"/>
                  </a:lnTo>
                  <a:lnTo>
                    <a:pt x="20" y="96"/>
                  </a:lnTo>
                  <a:lnTo>
                    <a:pt x="20" y="95"/>
                  </a:lnTo>
                  <a:lnTo>
                    <a:pt x="22" y="95"/>
                  </a:lnTo>
                  <a:lnTo>
                    <a:pt x="20" y="95"/>
                  </a:lnTo>
                  <a:lnTo>
                    <a:pt x="22" y="95"/>
                  </a:lnTo>
                  <a:lnTo>
                    <a:pt x="20" y="95"/>
                  </a:lnTo>
                  <a:lnTo>
                    <a:pt x="18" y="95"/>
                  </a:lnTo>
                  <a:lnTo>
                    <a:pt x="18" y="93"/>
                  </a:lnTo>
                  <a:lnTo>
                    <a:pt x="18" y="95"/>
                  </a:lnTo>
                  <a:lnTo>
                    <a:pt x="18" y="93"/>
                  </a:lnTo>
                  <a:lnTo>
                    <a:pt x="20" y="93"/>
                  </a:lnTo>
                  <a:lnTo>
                    <a:pt x="20" y="91"/>
                  </a:lnTo>
                  <a:lnTo>
                    <a:pt x="20" y="93"/>
                  </a:lnTo>
                  <a:lnTo>
                    <a:pt x="20" y="91"/>
                  </a:lnTo>
                  <a:lnTo>
                    <a:pt x="22" y="91"/>
                  </a:lnTo>
                  <a:lnTo>
                    <a:pt x="22" y="93"/>
                  </a:lnTo>
                  <a:lnTo>
                    <a:pt x="20" y="93"/>
                  </a:lnTo>
                  <a:lnTo>
                    <a:pt x="22" y="93"/>
                  </a:lnTo>
                  <a:lnTo>
                    <a:pt x="22" y="91"/>
                  </a:lnTo>
                  <a:lnTo>
                    <a:pt x="24" y="91"/>
                  </a:lnTo>
                  <a:close/>
                  <a:moveTo>
                    <a:pt x="20" y="98"/>
                  </a:moveTo>
                  <a:lnTo>
                    <a:pt x="22" y="98"/>
                  </a:lnTo>
                  <a:lnTo>
                    <a:pt x="22" y="100"/>
                  </a:lnTo>
                  <a:lnTo>
                    <a:pt x="22" y="102"/>
                  </a:lnTo>
                  <a:lnTo>
                    <a:pt x="22" y="100"/>
                  </a:lnTo>
                  <a:lnTo>
                    <a:pt x="22" y="102"/>
                  </a:lnTo>
                  <a:lnTo>
                    <a:pt x="22" y="100"/>
                  </a:lnTo>
                  <a:lnTo>
                    <a:pt x="22" y="102"/>
                  </a:lnTo>
                  <a:lnTo>
                    <a:pt x="22" y="100"/>
                  </a:lnTo>
                  <a:lnTo>
                    <a:pt x="22" y="102"/>
                  </a:lnTo>
                  <a:lnTo>
                    <a:pt x="24" y="102"/>
                  </a:lnTo>
                  <a:lnTo>
                    <a:pt x="22" y="102"/>
                  </a:lnTo>
                  <a:lnTo>
                    <a:pt x="22" y="104"/>
                  </a:lnTo>
                  <a:lnTo>
                    <a:pt x="20" y="104"/>
                  </a:lnTo>
                  <a:lnTo>
                    <a:pt x="22" y="104"/>
                  </a:lnTo>
                  <a:lnTo>
                    <a:pt x="20" y="104"/>
                  </a:lnTo>
                  <a:lnTo>
                    <a:pt x="22" y="104"/>
                  </a:lnTo>
                  <a:lnTo>
                    <a:pt x="22" y="106"/>
                  </a:lnTo>
                  <a:lnTo>
                    <a:pt x="20" y="106"/>
                  </a:lnTo>
                  <a:lnTo>
                    <a:pt x="22" y="106"/>
                  </a:lnTo>
                  <a:lnTo>
                    <a:pt x="22" y="108"/>
                  </a:lnTo>
                  <a:lnTo>
                    <a:pt x="22" y="106"/>
                  </a:lnTo>
                  <a:lnTo>
                    <a:pt x="22" y="108"/>
                  </a:lnTo>
                  <a:lnTo>
                    <a:pt x="20" y="108"/>
                  </a:lnTo>
                  <a:lnTo>
                    <a:pt x="20" y="106"/>
                  </a:lnTo>
                  <a:lnTo>
                    <a:pt x="20" y="104"/>
                  </a:lnTo>
                  <a:lnTo>
                    <a:pt x="20" y="102"/>
                  </a:lnTo>
                  <a:lnTo>
                    <a:pt x="20" y="100"/>
                  </a:lnTo>
                  <a:lnTo>
                    <a:pt x="20" y="98"/>
                  </a:lnTo>
                  <a:lnTo>
                    <a:pt x="20" y="100"/>
                  </a:lnTo>
                  <a:lnTo>
                    <a:pt x="20" y="98"/>
                  </a:lnTo>
                  <a:close/>
                  <a:moveTo>
                    <a:pt x="112" y="4"/>
                  </a:moveTo>
                  <a:lnTo>
                    <a:pt x="114" y="4"/>
                  </a:lnTo>
                  <a:lnTo>
                    <a:pt x="112" y="4"/>
                  </a:lnTo>
                  <a:lnTo>
                    <a:pt x="114" y="4"/>
                  </a:lnTo>
                  <a:lnTo>
                    <a:pt x="112" y="4"/>
                  </a:lnTo>
                  <a:lnTo>
                    <a:pt x="114" y="4"/>
                  </a:lnTo>
                  <a:lnTo>
                    <a:pt x="114" y="6"/>
                  </a:lnTo>
                  <a:lnTo>
                    <a:pt x="114" y="4"/>
                  </a:lnTo>
                  <a:lnTo>
                    <a:pt x="114" y="6"/>
                  </a:lnTo>
                  <a:lnTo>
                    <a:pt x="114" y="8"/>
                  </a:lnTo>
                  <a:lnTo>
                    <a:pt x="114" y="6"/>
                  </a:lnTo>
                  <a:lnTo>
                    <a:pt x="112" y="6"/>
                  </a:lnTo>
                  <a:lnTo>
                    <a:pt x="112" y="8"/>
                  </a:lnTo>
                  <a:lnTo>
                    <a:pt x="114" y="8"/>
                  </a:lnTo>
                  <a:lnTo>
                    <a:pt x="112" y="8"/>
                  </a:lnTo>
                  <a:lnTo>
                    <a:pt x="114" y="8"/>
                  </a:lnTo>
                  <a:lnTo>
                    <a:pt x="114" y="10"/>
                  </a:lnTo>
                  <a:lnTo>
                    <a:pt x="112" y="10"/>
                  </a:lnTo>
                  <a:lnTo>
                    <a:pt x="114" y="10"/>
                  </a:lnTo>
                  <a:lnTo>
                    <a:pt x="112" y="10"/>
                  </a:lnTo>
                  <a:lnTo>
                    <a:pt x="114" y="10"/>
                  </a:lnTo>
                  <a:lnTo>
                    <a:pt x="112" y="10"/>
                  </a:lnTo>
                  <a:lnTo>
                    <a:pt x="114" y="10"/>
                  </a:lnTo>
                  <a:lnTo>
                    <a:pt x="112" y="10"/>
                  </a:lnTo>
                  <a:lnTo>
                    <a:pt x="114" y="10"/>
                  </a:lnTo>
                  <a:lnTo>
                    <a:pt x="114" y="12"/>
                  </a:lnTo>
                  <a:lnTo>
                    <a:pt x="112" y="12"/>
                  </a:lnTo>
                  <a:lnTo>
                    <a:pt x="114" y="12"/>
                  </a:lnTo>
                  <a:lnTo>
                    <a:pt x="112" y="12"/>
                  </a:lnTo>
                  <a:lnTo>
                    <a:pt x="114" y="12"/>
                  </a:lnTo>
                  <a:lnTo>
                    <a:pt x="112" y="12"/>
                  </a:lnTo>
                  <a:lnTo>
                    <a:pt x="114" y="12"/>
                  </a:lnTo>
                  <a:lnTo>
                    <a:pt x="112" y="12"/>
                  </a:lnTo>
                  <a:lnTo>
                    <a:pt x="112" y="10"/>
                  </a:lnTo>
                  <a:lnTo>
                    <a:pt x="112" y="12"/>
                  </a:lnTo>
                  <a:lnTo>
                    <a:pt x="110" y="12"/>
                  </a:lnTo>
                  <a:lnTo>
                    <a:pt x="110" y="10"/>
                  </a:lnTo>
                  <a:lnTo>
                    <a:pt x="110" y="8"/>
                  </a:lnTo>
                  <a:lnTo>
                    <a:pt x="110" y="10"/>
                  </a:lnTo>
                  <a:lnTo>
                    <a:pt x="110" y="8"/>
                  </a:lnTo>
                  <a:lnTo>
                    <a:pt x="110" y="10"/>
                  </a:lnTo>
                  <a:lnTo>
                    <a:pt x="110" y="8"/>
                  </a:lnTo>
                  <a:lnTo>
                    <a:pt x="110" y="10"/>
                  </a:lnTo>
                  <a:lnTo>
                    <a:pt x="110" y="8"/>
                  </a:lnTo>
                  <a:lnTo>
                    <a:pt x="110" y="6"/>
                  </a:lnTo>
                  <a:lnTo>
                    <a:pt x="112" y="6"/>
                  </a:lnTo>
                  <a:lnTo>
                    <a:pt x="112" y="8"/>
                  </a:lnTo>
                  <a:lnTo>
                    <a:pt x="112" y="6"/>
                  </a:lnTo>
                  <a:lnTo>
                    <a:pt x="112" y="4"/>
                  </a:lnTo>
                  <a:close/>
                  <a:moveTo>
                    <a:pt x="79" y="56"/>
                  </a:moveTo>
                  <a:lnTo>
                    <a:pt x="79" y="58"/>
                  </a:lnTo>
                  <a:lnTo>
                    <a:pt x="81" y="58"/>
                  </a:lnTo>
                  <a:lnTo>
                    <a:pt x="81" y="60"/>
                  </a:lnTo>
                  <a:lnTo>
                    <a:pt x="81" y="62"/>
                  </a:lnTo>
                  <a:lnTo>
                    <a:pt x="81" y="60"/>
                  </a:lnTo>
                  <a:lnTo>
                    <a:pt x="83" y="60"/>
                  </a:lnTo>
                  <a:lnTo>
                    <a:pt x="81" y="60"/>
                  </a:lnTo>
                  <a:lnTo>
                    <a:pt x="81" y="62"/>
                  </a:lnTo>
                  <a:lnTo>
                    <a:pt x="81" y="60"/>
                  </a:lnTo>
                  <a:lnTo>
                    <a:pt x="81" y="62"/>
                  </a:lnTo>
                  <a:lnTo>
                    <a:pt x="81" y="60"/>
                  </a:lnTo>
                  <a:lnTo>
                    <a:pt x="81" y="62"/>
                  </a:lnTo>
                  <a:lnTo>
                    <a:pt x="79" y="62"/>
                  </a:lnTo>
                  <a:lnTo>
                    <a:pt x="79" y="60"/>
                  </a:lnTo>
                  <a:lnTo>
                    <a:pt x="79" y="58"/>
                  </a:lnTo>
                  <a:lnTo>
                    <a:pt x="77" y="58"/>
                  </a:lnTo>
                  <a:lnTo>
                    <a:pt x="77" y="56"/>
                  </a:lnTo>
                  <a:lnTo>
                    <a:pt x="79" y="56"/>
                  </a:lnTo>
                  <a:close/>
                  <a:moveTo>
                    <a:pt x="114" y="0"/>
                  </a:moveTo>
                  <a:lnTo>
                    <a:pt x="118" y="0"/>
                  </a:lnTo>
                  <a:lnTo>
                    <a:pt x="118" y="6"/>
                  </a:lnTo>
                  <a:lnTo>
                    <a:pt x="114" y="6"/>
                  </a:lnTo>
                  <a:lnTo>
                    <a:pt x="114" y="0"/>
                  </a:lnTo>
                  <a:close/>
                  <a:moveTo>
                    <a:pt x="52" y="139"/>
                  </a:moveTo>
                  <a:lnTo>
                    <a:pt x="54" y="139"/>
                  </a:lnTo>
                  <a:lnTo>
                    <a:pt x="54" y="144"/>
                  </a:lnTo>
                  <a:lnTo>
                    <a:pt x="52" y="144"/>
                  </a:lnTo>
                  <a:lnTo>
                    <a:pt x="52" y="139"/>
                  </a:lnTo>
                  <a:close/>
                  <a:moveTo>
                    <a:pt x="33" y="108"/>
                  </a:moveTo>
                  <a:lnTo>
                    <a:pt x="37" y="108"/>
                  </a:lnTo>
                  <a:lnTo>
                    <a:pt x="37" y="112"/>
                  </a:lnTo>
                  <a:lnTo>
                    <a:pt x="33" y="112"/>
                  </a:lnTo>
                  <a:lnTo>
                    <a:pt x="33" y="108"/>
                  </a:lnTo>
                  <a:close/>
                  <a:moveTo>
                    <a:pt x="20" y="96"/>
                  </a:moveTo>
                  <a:lnTo>
                    <a:pt x="24" y="96"/>
                  </a:lnTo>
                  <a:lnTo>
                    <a:pt x="24" y="100"/>
                  </a:lnTo>
                  <a:lnTo>
                    <a:pt x="20" y="100"/>
                  </a:lnTo>
                  <a:lnTo>
                    <a:pt x="20" y="96"/>
                  </a:lnTo>
                  <a:close/>
                  <a:moveTo>
                    <a:pt x="139" y="250"/>
                  </a:moveTo>
                  <a:lnTo>
                    <a:pt x="143" y="250"/>
                  </a:lnTo>
                  <a:lnTo>
                    <a:pt x="143" y="252"/>
                  </a:lnTo>
                  <a:lnTo>
                    <a:pt x="139" y="252"/>
                  </a:lnTo>
                  <a:lnTo>
                    <a:pt x="139" y="250"/>
                  </a:lnTo>
                  <a:close/>
                  <a:moveTo>
                    <a:pt x="29" y="121"/>
                  </a:moveTo>
                  <a:lnTo>
                    <a:pt x="29" y="123"/>
                  </a:lnTo>
                  <a:lnTo>
                    <a:pt x="27" y="123"/>
                  </a:lnTo>
                  <a:lnTo>
                    <a:pt x="29" y="123"/>
                  </a:lnTo>
                  <a:lnTo>
                    <a:pt x="27" y="123"/>
                  </a:lnTo>
                  <a:lnTo>
                    <a:pt x="29" y="123"/>
                  </a:lnTo>
                  <a:lnTo>
                    <a:pt x="27" y="123"/>
                  </a:lnTo>
                  <a:lnTo>
                    <a:pt x="29" y="123"/>
                  </a:lnTo>
                  <a:lnTo>
                    <a:pt x="27" y="123"/>
                  </a:lnTo>
                  <a:lnTo>
                    <a:pt x="27" y="125"/>
                  </a:lnTo>
                  <a:lnTo>
                    <a:pt x="25" y="125"/>
                  </a:lnTo>
                  <a:lnTo>
                    <a:pt x="25" y="123"/>
                  </a:lnTo>
                  <a:lnTo>
                    <a:pt x="27" y="123"/>
                  </a:lnTo>
                  <a:lnTo>
                    <a:pt x="27" y="121"/>
                  </a:lnTo>
                  <a:lnTo>
                    <a:pt x="29" y="121"/>
                  </a:lnTo>
                  <a:lnTo>
                    <a:pt x="27" y="121"/>
                  </a:lnTo>
                  <a:lnTo>
                    <a:pt x="29" y="121"/>
                  </a:lnTo>
                  <a:lnTo>
                    <a:pt x="29" y="123"/>
                  </a:lnTo>
                  <a:lnTo>
                    <a:pt x="29" y="121"/>
                  </a:lnTo>
                  <a:lnTo>
                    <a:pt x="29" y="123"/>
                  </a:lnTo>
                  <a:lnTo>
                    <a:pt x="29" y="121"/>
                  </a:lnTo>
                  <a:close/>
                  <a:moveTo>
                    <a:pt x="33" y="118"/>
                  </a:moveTo>
                  <a:lnTo>
                    <a:pt x="33" y="120"/>
                  </a:lnTo>
                  <a:lnTo>
                    <a:pt x="33" y="121"/>
                  </a:lnTo>
                  <a:lnTo>
                    <a:pt x="33" y="120"/>
                  </a:lnTo>
                  <a:lnTo>
                    <a:pt x="33" y="121"/>
                  </a:lnTo>
                  <a:lnTo>
                    <a:pt x="33" y="120"/>
                  </a:lnTo>
                  <a:lnTo>
                    <a:pt x="33" y="121"/>
                  </a:lnTo>
                  <a:lnTo>
                    <a:pt x="31" y="121"/>
                  </a:lnTo>
                  <a:lnTo>
                    <a:pt x="33" y="121"/>
                  </a:lnTo>
                  <a:lnTo>
                    <a:pt x="31" y="121"/>
                  </a:lnTo>
                  <a:lnTo>
                    <a:pt x="29" y="121"/>
                  </a:lnTo>
                  <a:lnTo>
                    <a:pt x="31" y="121"/>
                  </a:lnTo>
                  <a:lnTo>
                    <a:pt x="29" y="121"/>
                  </a:lnTo>
                  <a:lnTo>
                    <a:pt x="31" y="121"/>
                  </a:lnTo>
                  <a:lnTo>
                    <a:pt x="31" y="120"/>
                  </a:lnTo>
                  <a:lnTo>
                    <a:pt x="33" y="120"/>
                  </a:lnTo>
                  <a:lnTo>
                    <a:pt x="31" y="120"/>
                  </a:lnTo>
                  <a:lnTo>
                    <a:pt x="33" y="120"/>
                  </a:lnTo>
                  <a:lnTo>
                    <a:pt x="33" y="118"/>
                  </a:lnTo>
                  <a:lnTo>
                    <a:pt x="33" y="120"/>
                  </a:lnTo>
                  <a:lnTo>
                    <a:pt x="33" y="118"/>
                  </a:lnTo>
                  <a:lnTo>
                    <a:pt x="33" y="120"/>
                  </a:lnTo>
                  <a:lnTo>
                    <a:pt x="33" y="118"/>
                  </a:lnTo>
                  <a:close/>
                  <a:moveTo>
                    <a:pt x="39" y="96"/>
                  </a:moveTo>
                  <a:lnTo>
                    <a:pt x="41" y="96"/>
                  </a:lnTo>
                  <a:lnTo>
                    <a:pt x="41" y="100"/>
                  </a:lnTo>
                  <a:lnTo>
                    <a:pt x="39" y="100"/>
                  </a:lnTo>
                  <a:lnTo>
                    <a:pt x="39" y="96"/>
                  </a:lnTo>
                  <a:close/>
                  <a:moveTo>
                    <a:pt x="18" y="108"/>
                  </a:moveTo>
                  <a:lnTo>
                    <a:pt x="20" y="108"/>
                  </a:lnTo>
                  <a:lnTo>
                    <a:pt x="20" y="112"/>
                  </a:lnTo>
                  <a:lnTo>
                    <a:pt x="18" y="112"/>
                  </a:lnTo>
                  <a:lnTo>
                    <a:pt x="18" y="108"/>
                  </a:lnTo>
                  <a:close/>
                  <a:moveTo>
                    <a:pt x="93" y="47"/>
                  </a:moveTo>
                  <a:lnTo>
                    <a:pt x="91" y="47"/>
                  </a:lnTo>
                  <a:lnTo>
                    <a:pt x="91" y="48"/>
                  </a:lnTo>
                  <a:lnTo>
                    <a:pt x="91" y="47"/>
                  </a:lnTo>
                  <a:lnTo>
                    <a:pt x="91" y="48"/>
                  </a:lnTo>
                  <a:lnTo>
                    <a:pt x="89" y="48"/>
                  </a:lnTo>
                  <a:lnTo>
                    <a:pt x="89" y="50"/>
                  </a:lnTo>
                  <a:lnTo>
                    <a:pt x="89" y="48"/>
                  </a:lnTo>
                  <a:lnTo>
                    <a:pt x="89" y="47"/>
                  </a:lnTo>
                  <a:lnTo>
                    <a:pt x="89" y="48"/>
                  </a:lnTo>
                  <a:lnTo>
                    <a:pt x="89" y="47"/>
                  </a:lnTo>
                  <a:lnTo>
                    <a:pt x="91" y="47"/>
                  </a:lnTo>
                  <a:lnTo>
                    <a:pt x="89" y="47"/>
                  </a:lnTo>
                  <a:lnTo>
                    <a:pt x="91" y="47"/>
                  </a:lnTo>
                  <a:lnTo>
                    <a:pt x="89" y="47"/>
                  </a:lnTo>
                  <a:lnTo>
                    <a:pt x="91" y="47"/>
                  </a:lnTo>
                  <a:lnTo>
                    <a:pt x="89" y="47"/>
                  </a:lnTo>
                  <a:lnTo>
                    <a:pt x="91" y="47"/>
                  </a:lnTo>
                  <a:lnTo>
                    <a:pt x="93" y="47"/>
                  </a:lnTo>
                  <a:close/>
                  <a:moveTo>
                    <a:pt x="83" y="45"/>
                  </a:moveTo>
                  <a:lnTo>
                    <a:pt x="87" y="45"/>
                  </a:lnTo>
                  <a:lnTo>
                    <a:pt x="87" y="48"/>
                  </a:lnTo>
                  <a:lnTo>
                    <a:pt x="83" y="48"/>
                  </a:lnTo>
                  <a:lnTo>
                    <a:pt x="83" y="45"/>
                  </a:lnTo>
                  <a:close/>
                  <a:moveTo>
                    <a:pt x="83" y="48"/>
                  </a:moveTo>
                  <a:lnTo>
                    <a:pt x="85" y="48"/>
                  </a:lnTo>
                  <a:lnTo>
                    <a:pt x="85" y="50"/>
                  </a:lnTo>
                  <a:lnTo>
                    <a:pt x="83" y="50"/>
                  </a:lnTo>
                  <a:lnTo>
                    <a:pt x="83" y="48"/>
                  </a:lnTo>
                  <a:close/>
                  <a:moveTo>
                    <a:pt x="114" y="8"/>
                  </a:moveTo>
                  <a:lnTo>
                    <a:pt x="118" y="8"/>
                  </a:lnTo>
                  <a:lnTo>
                    <a:pt x="118" y="10"/>
                  </a:lnTo>
                  <a:lnTo>
                    <a:pt x="114" y="10"/>
                  </a:lnTo>
                  <a:lnTo>
                    <a:pt x="114" y="8"/>
                  </a:lnTo>
                  <a:close/>
                  <a:moveTo>
                    <a:pt x="37" y="133"/>
                  </a:moveTo>
                  <a:lnTo>
                    <a:pt x="39" y="133"/>
                  </a:lnTo>
                  <a:lnTo>
                    <a:pt x="39" y="137"/>
                  </a:lnTo>
                  <a:lnTo>
                    <a:pt x="37" y="137"/>
                  </a:lnTo>
                  <a:lnTo>
                    <a:pt x="37" y="133"/>
                  </a:lnTo>
                  <a:close/>
                  <a:moveTo>
                    <a:pt x="89" y="50"/>
                  </a:moveTo>
                  <a:lnTo>
                    <a:pt x="91" y="50"/>
                  </a:lnTo>
                  <a:lnTo>
                    <a:pt x="91" y="52"/>
                  </a:lnTo>
                  <a:lnTo>
                    <a:pt x="89" y="52"/>
                  </a:lnTo>
                  <a:lnTo>
                    <a:pt x="89" y="50"/>
                  </a:lnTo>
                  <a:close/>
                  <a:moveTo>
                    <a:pt x="112" y="20"/>
                  </a:moveTo>
                  <a:lnTo>
                    <a:pt x="112" y="23"/>
                  </a:lnTo>
                  <a:lnTo>
                    <a:pt x="112" y="20"/>
                  </a:lnTo>
                  <a:close/>
                  <a:moveTo>
                    <a:pt x="37" y="112"/>
                  </a:moveTo>
                  <a:lnTo>
                    <a:pt x="39" y="112"/>
                  </a:lnTo>
                  <a:lnTo>
                    <a:pt x="39" y="114"/>
                  </a:lnTo>
                  <a:lnTo>
                    <a:pt x="37" y="114"/>
                  </a:lnTo>
                  <a:lnTo>
                    <a:pt x="37" y="112"/>
                  </a:lnTo>
                  <a:close/>
                  <a:moveTo>
                    <a:pt x="87" y="48"/>
                  </a:moveTo>
                  <a:lnTo>
                    <a:pt x="89" y="48"/>
                  </a:lnTo>
                  <a:lnTo>
                    <a:pt x="89" y="50"/>
                  </a:lnTo>
                  <a:lnTo>
                    <a:pt x="87" y="50"/>
                  </a:lnTo>
                  <a:lnTo>
                    <a:pt x="87" y="48"/>
                  </a:lnTo>
                  <a:close/>
                  <a:moveTo>
                    <a:pt x="85" y="52"/>
                  </a:moveTo>
                  <a:lnTo>
                    <a:pt x="87" y="52"/>
                  </a:lnTo>
                  <a:lnTo>
                    <a:pt x="87" y="54"/>
                  </a:lnTo>
                  <a:lnTo>
                    <a:pt x="85" y="54"/>
                  </a:lnTo>
                  <a:lnTo>
                    <a:pt x="85" y="52"/>
                  </a:lnTo>
                  <a:close/>
                  <a:moveTo>
                    <a:pt x="39" y="102"/>
                  </a:moveTo>
                  <a:lnTo>
                    <a:pt x="41" y="102"/>
                  </a:lnTo>
                  <a:lnTo>
                    <a:pt x="39" y="102"/>
                  </a:lnTo>
                  <a:close/>
                  <a:moveTo>
                    <a:pt x="27" y="75"/>
                  </a:moveTo>
                  <a:lnTo>
                    <a:pt x="29" y="75"/>
                  </a:lnTo>
                  <a:lnTo>
                    <a:pt x="29" y="77"/>
                  </a:lnTo>
                  <a:lnTo>
                    <a:pt x="27" y="77"/>
                  </a:lnTo>
                  <a:lnTo>
                    <a:pt x="27" y="75"/>
                  </a:lnTo>
                  <a:close/>
                  <a:moveTo>
                    <a:pt x="47" y="121"/>
                  </a:moveTo>
                  <a:lnTo>
                    <a:pt x="48" y="121"/>
                  </a:lnTo>
                  <a:lnTo>
                    <a:pt x="48" y="125"/>
                  </a:lnTo>
                  <a:lnTo>
                    <a:pt x="47" y="125"/>
                  </a:lnTo>
                  <a:lnTo>
                    <a:pt x="47" y="121"/>
                  </a:lnTo>
                  <a:close/>
                  <a:moveTo>
                    <a:pt x="112" y="14"/>
                  </a:moveTo>
                  <a:lnTo>
                    <a:pt x="116" y="14"/>
                  </a:lnTo>
                  <a:lnTo>
                    <a:pt x="116" y="16"/>
                  </a:lnTo>
                  <a:lnTo>
                    <a:pt x="112" y="16"/>
                  </a:lnTo>
                  <a:lnTo>
                    <a:pt x="112" y="14"/>
                  </a:lnTo>
                  <a:close/>
                  <a:moveTo>
                    <a:pt x="106" y="14"/>
                  </a:moveTo>
                  <a:lnTo>
                    <a:pt x="108" y="14"/>
                  </a:lnTo>
                  <a:lnTo>
                    <a:pt x="108" y="16"/>
                  </a:lnTo>
                  <a:lnTo>
                    <a:pt x="106" y="16"/>
                  </a:lnTo>
                  <a:lnTo>
                    <a:pt x="106" y="14"/>
                  </a:lnTo>
                  <a:close/>
                  <a:moveTo>
                    <a:pt x="37" y="123"/>
                  </a:moveTo>
                  <a:lnTo>
                    <a:pt x="39" y="123"/>
                  </a:lnTo>
                  <a:lnTo>
                    <a:pt x="39" y="125"/>
                  </a:lnTo>
                  <a:lnTo>
                    <a:pt x="37" y="125"/>
                  </a:lnTo>
                  <a:lnTo>
                    <a:pt x="37" y="123"/>
                  </a:lnTo>
                  <a:close/>
                  <a:moveTo>
                    <a:pt x="24" y="85"/>
                  </a:moveTo>
                  <a:lnTo>
                    <a:pt x="25" y="85"/>
                  </a:lnTo>
                  <a:lnTo>
                    <a:pt x="25" y="87"/>
                  </a:lnTo>
                  <a:lnTo>
                    <a:pt x="24" y="87"/>
                  </a:lnTo>
                  <a:lnTo>
                    <a:pt x="24" y="85"/>
                  </a:lnTo>
                  <a:close/>
                  <a:moveTo>
                    <a:pt x="45" y="131"/>
                  </a:moveTo>
                  <a:lnTo>
                    <a:pt x="45" y="133"/>
                  </a:lnTo>
                  <a:lnTo>
                    <a:pt x="45" y="131"/>
                  </a:lnTo>
                  <a:close/>
                  <a:moveTo>
                    <a:pt x="96" y="22"/>
                  </a:moveTo>
                  <a:lnTo>
                    <a:pt x="98" y="22"/>
                  </a:lnTo>
                  <a:lnTo>
                    <a:pt x="98" y="23"/>
                  </a:lnTo>
                  <a:lnTo>
                    <a:pt x="96" y="23"/>
                  </a:lnTo>
                  <a:lnTo>
                    <a:pt x="96" y="22"/>
                  </a:lnTo>
                  <a:close/>
                  <a:moveTo>
                    <a:pt x="45" y="129"/>
                  </a:moveTo>
                  <a:lnTo>
                    <a:pt x="47" y="129"/>
                  </a:lnTo>
                  <a:lnTo>
                    <a:pt x="47" y="131"/>
                  </a:lnTo>
                  <a:lnTo>
                    <a:pt x="45" y="131"/>
                  </a:lnTo>
                  <a:lnTo>
                    <a:pt x="45" y="129"/>
                  </a:lnTo>
                  <a:close/>
                  <a:moveTo>
                    <a:pt x="35" y="154"/>
                  </a:moveTo>
                  <a:lnTo>
                    <a:pt x="37" y="154"/>
                  </a:lnTo>
                  <a:lnTo>
                    <a:pt x="37" y="156"/>
                  </a:lnTo>
                  <a:lnTo>
                    <a:pt x="35" y="156"/>
                  </a:lnTo>
                  <a:lnTo>
                    <a:pt x="35" y="154"/>
                  </a:lnTo>
                  <a:close/>
                  <a:moveTo>
                    <a:pt x="45" y="127"/>
                  </a:moveTo>
                  <a:lnTo>
                    <a:pt x="47" y="127"/>
                  </a:lnTo>
                  <a:lnTo>
                    <a:pt x="47" y="129"/>
                  </a:lnTo>
                  <a:lnTo>
                    <a:pt x="45" y="129"/>
                  </a:lnTo>
                  <a:lnTo>
                    <a:pt x="45" y="127"/>
                  </a:lnTo>
                  <a:close/>
                  <a:moveTo>
                    <a:pt x="43" y="144"/>
                  </a:moveTo>
                  <a:lnTo>
                    <a:pt x="45" y="144"/>
                  </a:lnTo>
                  <a:lnTo>
                    <a:pt x="45" y="146"/>
                  </a:lnTo>
                  <a:lnTo>
                    <a:pt x="43" y="146"/>
                  </a:lnTo>
                  <a:lnTo>
                    <a:pt x="43" y="144"/>
                  </a:lnTo>
                  <a:close/>
                  <a:moveTo>
                    <a:pt x="79" y="183"/>
                  </a:moveTo>
                  <a:lnTo>
                    <a:pt x="81" y="183"/>
                  </a:lnTo>
                  <a:lnTo>
                    <a:pt x="81" y="187"/>
                  </a:lnTo>
                  <a:lnTo>
                    <a:pt x="79" y="187"/>
                  </a:lnTo>
                  <a:lnTo>
                    <a:pt x="79" y="183"/>
                  </a:lnTo>
                  <a:close/>
                  <a:moveTo>
                    <a:pt x="47" y="125"/>
                  </a:moveTo>
                  <a:lnTo>
                    <a:pt x="48" y="125"/>
                  </a:lnTo>
                  <a:lnTo>
                    <a:pt x="48" y="127"/>
                  </a:lnTo>
                  <a:lnTo>
                    <a:pt x="47" y="127"/>
                  </a:lnTo>
                  <a:lnTo>
                    <a:pt x="47" y="125"/>
                  </a:lnTo>
                  <a:close/>
                  <a:moveTo>
                    <a:pt x="31" y="108"/>
                  </a:moveTo>
                  <a:lnTo>
                    <a:pt x="33" y="108"/>
                  </a:lnTo>
                  <a:lnTo>
                    <a:pt x="31" y="108"/>
                  </a:lnTo>
                  <a:close/>
                  <a:moveTo>
                    <a:pt x="22" y="91"/>
                  </a:moveTo>
                  <a:lnTo>
                    <a:pt x="24" y="91"/>
                  </a:lnTo>
                  <a:lnTo>
                    <a:pt x="22" y="91"/>
                  </a:lnTo>
                  <a:close/>
                  <a:moveTo>
                    <a:pt x="24" y="81"/>
                  </a:moveTo>
                  <a:lnTo>
                    <a:pt x="24" y="83"/>
                  </a:lnTo>
                  <a:lnTo>
                    <a:pt x="24" y="81"/>
                  </a:lnTo>
                  <a:close/>
                  <a:moveTo>
                    <a:pt x="41" y="95"/>
                  </a:moveTo>
                  <a:lnTo>
                    <a:pt x="41" y="96"/>
                  </a:lnTo>
                  <a:lnTo>
                    <a:pt x="41" y="95"/>
                  </a:lnTo>
                  <a:close/>
                  <a:moveTo>
                    <a:pt x="81" y="60"/>
                  </a:moveTo>
                  <a:lnTo>
                    <a:pt x="83" y="60"/>
                  </a:lnTo>
                  <a:lnTo>
                    <a:pt x="81" y="60"/>
                  </a:lnTo>
                  <a:close/>
                  <a:moveTo>
                    <a:pt x="85" y="45"/>
                  </a:moveTo>
                  <a:lnTo>
                    <a:pt x="87" y="45"/>
                  </a:lnTo>
                  <a:lnTo>
                    <a:pt x="87" y="47"/>
                  </a:lnTo>
                  <a:lnTo>
                    <a:pt x="85" y="47"/>
                  </a:lnTo>
                  <a:lnTo>
                    <a:pt x="85" y="45"/>
                  </a:lnTo>
                  <a:close/>
                  <a:moveTo>
                    <a:pt x="102" y="16"/>
                  </a:moveTo>
                  <a:lnTo>
                    <a:pt x="104" y="16"/>
                  </a:lnTo>
                  <a:lnTo>
                    <a:pt x="102" y="16"/>
                  </a:lnTo>
                  <a:close/>
                  <a:moveTo>
                    <a:pt x="22" y="89"/>
                  </a:moveTo>
                  <a:lnTo>
                    <a:pt x="24" y="89"/>
                  </a:lnTo>
                  <a:lnTo>
                    <a:pt x="22" y="89"/>
                  </a:lnTo>
                  <a:close/>
                  <a:moveTo>
                    <a:pt x="104" y="39"/>
                  </a:moveTo>
                  <a:lnTo>
                    <a:pt x="104" y="41"/>
                  </a:lnTo>
                  <a:lnTo>
                    <a:pt x="104" y="39"/>
                  </a:lnTo>
                  <a:close/>
                  <a:moveTo>
                    <a:pt x="33" y="127"/>
                  </a:moveTo>
                  <a:lnTo>
                    <a:pt x="35" y="127"/>
                  </a:lnTo>
                  <a:lnTo>
                    <a:pt x="35" y="129"/>
                  </a:lnTo>
                  <a:lnTo>
                    <a:pt x="33" y="129"/>
                  </a:lnTo>
                  <a:lnTo>
                    <a:pt x="33" y="127"/>
                  </a:lnTo>
                  <a:close/>
                  <a:moveTo>
                    <a:pt x="93" y="43"/>
                  </a:moveTo>
                  <a:lnTo>
                    <a:pt x="93" y="45"/>
                  </a:lnTo>
                  <a:lnTo>
                    <a:pt x="93" y="43"/>
                  </a:lnTo>
                  <a:close/>
                  <a:moveTo>
                    <a:pt x="22" y="96"/>
                  </a:moveTo>
                  <a:lnTo>
                    <a:pt x="24" y="96"/>
                  </a:lnTo>
                  <a:lnTo>
                    <a:pt x="22" y="96"/>
                  </a:lnTo>
                  <a:close/>
                  <a:moveTo>
                    <a:pt x="108" y="22"/>
                  </a:moveTo>
                  <a:lnTo>
                    <a:pt x="108" y="25"/>
                  </a:lnTo>
                  <a:lnTo>
                    <a:pt x="108" y="22"/>
                  </a:lnTo>
                  <a:close/>
                  <a:moveTo>
                    <a:pt x="29" y="87"/>
                  </a:moveTo>
                  <a:lnTo>
                    <a:pt x="31" y="87"/>
                  </a:lnTo>
                  <a:lnTo>
                    <a:pt x="29" y="87"/>
                  </a:lnTo>
                  <a:close/>
                  <a:moveTo>
                    <a:pt x="2" y="87"/>
                  </a:moveTo>
                  <a:lnTo>
                    <a:pt x="2" y="89"/>
                  </a:lnTo>
                  <a:lnTo>
                    <a:pt x="2" y="87"/>
                  </a:lnTo>
                  <a:close/>
                  <a:moveTo>
                    <a:pt x="16" y="114"/>
                  </a:moveTo>
                  <a:lnTo>
                    <a:pt x="16" y="116"/>
                  </a:lnTo>
                  <a:lnTo>
                    <a:pt x="16" y="114"/>
                  </a:lnTo>
                  <a:close/>
                  <a:moveTo>
                    <a:pt x="22" y="96"/>
                  </a:moveTo>
                  <a:lnTo>
                    <a:pt x="24" y="96"/>
                  </a:lnTo>
                  <a:lnTo>
                    <a:pt x="22" y="96"/>
                  </a:lnTo>
                  <a:close/>
                  <a:moveTo>
                    <a:pt x="35" y="285"/>
                  </a:moveTo>
                  <a:lnTo>
                    <a:pt x="37" y="285"/>
                  </a:lnTo>
                  <a:lnTo>
                    <a:pt x="35" y="285"/>
                  </a:lnTo>
                  <a:close/>
                  <a:moveTo>
                    <a:pt x="108" y="23"/>
                  </a:moveTo>
                  <a:lnTo>
                    <a:pt x="110" y="23"/>
                  </a:lnTo>
                  <a:lnTo>
                    <a:pt x="110" y="25"/>
                  </a:lnTo>
                  <a:lnTo>
                    <a:pt x="108" y="25"/>
                  </a:lnTo>
                  <a:lnTo>
                    <a:pt x="108" y="23"/>
                  </a:lnTo>
                  <a:close/>
                  <a:moveTo>
                    <a:pt x="16" y="96"/>
                  </a:moveTo>
                  <a:lnTo>
                    <a:pt x="18" y="96"/>
                  </a:lnTo>
                  <a:lnTo>
                    <a:pt x="16" y="96"/>
                  </a:lnTo>
                  <a:close/>
                  <a:moveTo>
                    <a:pt x="37" y="114"/>
                  </a:moveTo>
                  <a:lnTo>
                    <a:pt x="37" y="116"/>
                  </a:lnTo>
                  <a:lnTo>
                    <a:pt x="37" y="114"/>
                  </a:lnTo>
                  <a:close/>
                  <a:moveTo>
                    <a:pt x="37" y="135"/>
                  </a:moveTo>
                  <a:lnTo>
                    <a:pt x="37" y="137"/>
                  </a:lnTo>
                  <a:lnTo>
                    <a:pt x="37" y="135"/>
                  </a:lnTo>
                  <a:close/>
                  <a:moveTo>
                    <a:pt x="100" y="144"/>
                  </a:moveTo>
                  <a:lnTo>
                    <a:pt x="102" y="144"/>
                  </a:lnTo>
                  <a:lnTo>
                    <a:pt x="100" y="144"/>
                  </a:lnTo>
                  <a:close/>
                  <a:moveTo>
                    <a:pt x="35" y="123"/>
                  </a:moveTo>
                  <a:lnTo>
                    <a:pt x="37" y="123"/>
                  </a:lnTo>
                  <a:lnTo>
                    <a:pt x="35" y="123"/>
                  </a:lnTo>
                  <a:close/>
                  <a:moveTo>
                    <a:pt x="18" y="112"/>
                  </a:moveTo>
                  <a:lnTo>
                    <a:pt x="18" y="114"/>
                  </a:lnTo>
                  <a:lnTo>
                    <a:pt x="18" y="112"/>
                  </a:lnTo>
                  <a:close/>
                  <a:moveTo>
                    <a:pt x="79" y="56"/>
                  </a:moveTo>
                  <a:lnTo>
                    <a:pt x="81" y="56"/>
                  </a:lnTo>
                  <a:lnTo>
                    <a:pt x="79" y="56"/>
                  </a:lnTo>
                  <a:close/>
                  <a:moveTo>
                    <a:pt x="106" y="16"/>
                  </a:moveTo>
                  <a:lnTo>
                    <a:pt x="106" y="18"/>
                  </a:lnTo>
                  <a:lnTo>
                    <a:pt x="106" y="16"/>
                  </a:lnTo>
                  <a:close/>
                  <a:moveTo>
                    <a:pt x="81" y="64"/>
                  </a:moveTo>
                  <a:lnTo>
                    <a:pt x="83" y="64"/>
                  </a:lnTo>
                  <a:lnTo>
                    <a:pt x="81" y="64"/>
                  </a:lnTo>
                  <a:close/>
                  <a:moveTo>
                    <a:pt x="22" y="98"/>
                  </a:moveTo>
                  <a:lnTo>
                    <a:pt x="24" y="98"/>
                  </a:lnTo>
                  <a:lnTo>
                    <a:pt x="24" y="100"/>
                  </a:lnTo>
                  <a:lnTo>
                    <a:pt x="22" y="100"/>
                  </a:lnTo>
                  <a:lnTo>
                    <a:pt x="22" y="98"/>
                  </a:lnTo>
                  <a:close/>
                  <a:moveTo>
                    <a:pt x="45" y="87"/>
                  </a:moveTo>
                  <a:lnTo>
                    <a:pt x="47" y="87"/>
                  </a:lnTo>
                  <a:lnTo>
                    <a:pt x="45" y="87"/>
                  </a:lnTo>
                  <a:close/>
                  <a:moveTo>
                    <a:pt x="112" y="22"/>
                  </a:moveTo>
                  <a:lnTo>
                    <a:pt x="114" y="22"/>
                  </a:lnTo>
                  <a:lnTo>
                    <a:pt x="112" y="22"/>
                  </a:lnTo>
                  <a:close/>
                  <a:moveTo>
                    <a:pt x="52" y="71"/>
                  </a:moveTo>
                  <a:lnTo>
                    <a:pt x="52" y="73"/>
                  </a:lnTo>
                  <a:lnTo>
                    <a:pt x="52" y="71"/>
                  </a:lnTo>
                  <a:close/>
                  <a:moveTo>
                    <a:pt x="83" y="183"/>
                  </a:moveTo>
                  <a:lnTo>
                    <a:pt x="85" y="183"/>
                  </a:lnTo>
                  <a:lnTo>
                    <a:pt x="85" y="185"/>
                  </a:lnTo>
                  <a:lnTo>
                    <a:pt x="83" y="185"/>
                  </a:lnTo>
                  <a:lnTo>
                    <a:pt x="83" y="183"/>
                  </a:lnTo>
                  <a:close/>
                  <a:moveTo>
                    <a:pt x="83" y="50"/>
                  </a:moveTo>
                  <a:lnTo>
                    <a:pt x="85" y="50"/>
                  </a:lnTo>
                  <a:lnTo>
                    <a:pt x="85" y="52"/>
                  </a:lnTo>
                  <a:lnTo>
                    <a:pt x="83" y="52"/>
                  </a:lnTo>
                  <a:lnTo>
                    <a:pt x="83" y="50"/>
                  </a:lnTo>
                  <a:close/>
                  <a:moveTo>
                    <a:pt x="45" y="137"/>
                  </a:moveTo>
                  <a:lnTo>
                    <a:pt x="45" y="139"/>
                  </a:lnTo>
                  <a:lnTo>
                    <a:pt x="45" y="137"/>
                  </a:lnTo>
                  <a:close/>
                  <a:moveTo>
                    <a:pt x="81" y="58"/>
                  </a:moveTo>
                  <a:lnTo>
                    <a:pt x="81" y="60"/>
                  </a:lnTo>
                  <a:lnTo>
                    <a:pt x="81" y="58"/>
                  </a:lnTo>
                  <a:close/>
                  <a:moveTo>
                    <a:pt x="108" y="22"/>
                  </a:moveTo>
                  <a:lnTo>
                    <a:pt x="110" y="22"/>
                  </a:lnTo>
                  <a:lnTo>
                    <a:pt x="110" y="23"/>
                  </a:lnTo>
                  <a:lnTo>
                    <a:pt x="108" y="23"/>
                  </a:lnTo>
                  <a:lnTo>
                    <a:pt x="108" y="22"/>
                  </a:lnTo>
                  <a:close/>
                  <a:moveTo>
                    <a:pt x="56" y="143"/>
                  </a:moveTo>
                  <a:lnTo>
                    <a:pt x="56" y="144"/>
                  </a:lnTo>
                  <a:lnTo>
                    <a:pt x="56" y="143"/>
                  </a:lnTo>
                  <a:close/>
                  <a:moveTo>
                    <a:pt x="54" y="148"/>
                  </a:moveTo>
                  <a:lnTo>
                    <a:pt x="54" y="150"/>
                  </a:lnTo>
                  <a:lnTo>
                    <a:pt x="54" y="148"/>
                  </a:lnTo>
                  <a:close/>
                  <a:moveTo>
                    <a:pt x="35" y="283"/>
                  </a:moveTo>
                  <a:lnTo>
                    <a:pt x="35" y="285"/>
                  </a:lnTo>
                  <a:lnTo>
                    <a:pt x="35" y="283"/>
                  </a:lnTo>
                  <a:close/>
                  <a:moveTo>
                    <a:pt x="114" y="6"/>
                  </a:moveTo>
                  <a:lnTo>
                    <a:pt x="116" y="6"/>
                  </a:lnTo>
                  <a:lnTo>
                    <a:pt x="114" y="6"/>
                  </a:lnTo>
                  <a:close/>
                  <a:moveTo>
                    <a:pt x="50" y="239"/>
                  </a:moveTo>
                  <a:lnTo>
                    <a:pt x="50" y="241"/>
                  </a:lnTo>
                  <a:lnTo>
                    <a:pt x="50" y="239"/>
                  </a:lnTo>
                  <a:close/>
                  <a:moveTo>
                    <a:pt x="87" y="48"/>
                  </a:moveTo>
                  <a:lnTo>
                    <a:pt x="89" y="48"/>
                  </a:lnTo>
                  <a:lnTo>
                    <a:pt x="87" y="48"/>
                  </a:lnTo>
                  <a:close/>
                  <a:moveTo>
                    <a:pt x="16" y="114"/>
                  </a:moveTo>
                  <a:lnTo>
                    <a:pt x="18" y="114"/>
                  </a:lnTo>
                  <a:lnTo>
                    <a:pt x="16" y="114"/>
                  </a:lnTo>
                  <a:close/>
                  <a:moveTo>
                    <a:pt x="41" y="112"/>
                  </a:moveTo>
                  <a:lnTo>
                    <a:pt x="43" y="112"/>
                  </a:lnTo>
                  <a:lnTo>
                    <a:pt x="43" y="114"/>
                  </a:lnTo>
                  <a:lnTo>
                    <a:pt x="41" y="114"/>
                  </a:lnTo>
                  <a:lnTo>
                    <a:pt x="41" y="112"/>
                  </a:lnTo>
                  <a:close/>
                  <a:moveTo>
                    <a:pt x="35" y="283"/>
                  </a:moveTo>
                  <a:lnTo>
                    <a:pt x="37" y="283"/>
                  </a:lnTo>
                  <a:lnTo>
                    <a:pt x="37" y="285"/>
                  </a:lnTo>
                  <a:lnTo>
                    <a:pt x="35" y="285"/>
                  </a:lnTo>
                  <a:lnTo>
                    <a:pt x="35" y="283"/>
                  </a:lnTo>
                  <a:close/>
                  <a:moveTo>
                    <a:pt x="48" y="85"/>
                  </a:moveTo>
                  <a:lnTo>
                    <a:pt x="48" y="87"/>
                  </a:lnTo>
                  <a:lnTo>
                    <a:pt x="48" y="85"/>
                  </a:lnTo>
                  <a:close/>
                  <a:moveTo>
                    <a:pt x="58" y="244"/>
                  </a:moveTo>
                  <a:lnTo>
                    <a:pt x="60" y="244"/>
                  </a:lnTo>
                  <a:lnTo>
                    <a:pt x="58" y="244"/>
                  </a:lnTo>
                  <a:close/>
                  <a:moveTo>
                    <a:pt x="41" y="120"/>
                  </a:moveTo>
                  <a:lnTo>
                    <a:pt x="43" y="120"/>
                  </a:lnTo>
                  <a:lnTo>
                    <a:pt x="41" y="120"/>
                  </a:lnTo>
                  <a:close/>
                  <a:moveTo>
                    <a:pt x="24" y="89"/>
                  </a:moveTo>
                  <a:lnTo>
                    <a:pt x="25" y="89"/>
                  </a:lnTo>
                  <a:lnTo>
                    <a:pt x="24" y="89"/>
                  </a:lnTo>
                  <a:close/>
                  <a:moveTo>
                    <a:pt x="110" y="25"/>
                  </a:moveTo>
                  <a:lnTo>
                    <a:pt x="112" y="25"/>
                  </a:lnTo>
                  <a:lnTo>
                    <a:pt x="110" y="25"/>
                  </a:lnTo>
                  <a:close/>
                  <a:moveTo>
                    <a:pt x="137" y="250"/>
                  </a:moveTo>
                  <a:lnTo>
                    <a:pt x="139" y="250"/>
                  </a:lnTo>
                  <a:lnTo>
                    <a:pt x="137" y="250"/>
                  </a:lnTo>
                  <a:close/>
                  <a:moveTo>
                    <a:pt x="116" y="14"/>
                  </a:moveTo>
                  <a:lnTo>
                    <a:pt x="118" y="14"/>
                  </a:lnTo>
                  <a:lnTo>
                    <a:pt x="116" y="14"/>
                  </a:lnTo>
                  <a:close/>
                  <a:moveTo>
                    <a:pt x="50" y="85"/>
                  </a:moveTo>
                  <a:lnTo>
                    <a:pt x="52" y="85"/>
                  </a:lnTo>
                  <a:lnTo>
                    <a:pt x="50" y="85"/>
                  </a:lnTo>
                  <a:close/>
                  <a:moveTo>
                    <a:pt x="24" y="89"/>
                  </a:moveTo>
                  <a:lnTo>
                    <a:pt x="25" y="89"/>
                  </a:lnTo>
                  <a:lnTo>
                    <a:pt x="25" y="91"/>
                  </a:lnTo>
                  <a:lnTo>
                    <a:pt x="24" y="91"/>
                  </a:lnTo>
                  <a:lnTo>
                    <a:pt x="24" y="89"/>
                  </a:lnTo>
                  <a:close/>
                  <a:moveTo>
                    <a:pt x="35" y="85"/>
                  </a:moveTo>
                  <a:lnTo>
                    <a:pt x="35" y="87"/>
                  </a:lnTo>
                  <a:lnTo>
                    <a:pt x="35" y="85"/>
                  </a:lnTo>
                  <a:close/>
                  <a:moveTo>
                    <a:pt x="33" y="83"/>
                  </a:moveTo>
                  <a:lnTo>
                    <a:pt x="35" y="83"/>
                  </a:lnTo>
                  <a:lnTo>
                    <a:pt x="33" y="83"/>
                  </a:lnTo>
                  <a:close/>
                  <a:moveTo>
                    <a:pt x="20" y="110"/>
                  </a:moveTo>
                  <a:lnTo>
                    <a:pt x="22" y="110"/>
                  </a:lnTo>
                  <a:lnTo>
                    <a:pt x="20" y="110"/>
                  </a:lnTo>
                  <a:close/>
                  <a:moveTo>
                    <a:pt x="39" y="96"/>
                  </a:moveTo>
                  <a:lnTo>
                    <a:pt x="41" y="96"/>
                  </a:lnTo>
                  <a:lnTo>
                    <a:pt x="39" y="96"/>
                  </a:lnTo>
                  <a:close/>
                  <a:moveTo>
                    <a:pt x="43" y="129"/>
                  </a:moveTo>
                  <a:lnTo>
                    <a:pt x="45" y="129"/>
                  </a:lnTo>
                  <a:lnTo>
                    <a:pt x="45" y="131"/>
                  </a:lnTo>
                  <a:lnTo>
                    <a:pt x="43" y="131"/>
                  </a:lnTo>
                  <a:lnTo>
                    <a:pt x="43" y="129"/>
                  </a:lnTo>
                  <a:close/>
                  <a:moveTo>
                    <a:pt x="112" y="16"/>
                  </a:moveTo>
                  <a:lnTo>
                    <a:pt x="114" y="16"/>
                  </a:lnTo>
                  <a:lnTo>
                    <a:pt x="112" y="16"/>
                  </a:lnTo>
                  <a:close/>
                  <a:moveTo>
                    <a:pt x="43" y="50"/>
                  </a:moveTo>
                  <a:lnTo>
                    <a:pt x="43" y="52"/>
                  </a:lnTo>
                  <a:lnTo>
                    <a:pt x="43" y="50"/>
                  </a:lnTo>
                  <a:close/>
                  <a:moveTo>
                    <a:pt x="47" y="83"/>
                  </a:moveTo>
                  <a:lnTo>
                    <a:pt x="47" y="85"/>
                  </a:lnTo>
                  <a:lnTo>
                    <a:pt x="47" y="83"/>
                  </a:lnTo>
                  <a:close/>
                  <a:moveTo>
                    <a:pt x="119" y="194"/>
                  </a:moveTo>
                  <a:lnTo>
                    <a:pt x="119" y="196"/>
                  </a:lnTo>
                  <a:lnTo>
                    <a:pt x="119" y="194"/>
                  </a:lnTo>
                  <a:close/>
                  <a:moveTo>
                    <a:pt x="35" y="283"/>
                  </a:moveTo>
                  <a:lnTo>
                    <a:pt x="35" y="285"/>
                  </a:lnTo>
                  <a:lnTo>
                    <a:pt x="35" y="283"/>
                  </a:lnTo>
                  <a:close/>
                  <a:moveTo>
                    <a:pt x="37" y="125"/>
                  </a:moveTo>
                  <a:lnTo>
                    <a:pt x="39" y="125"/>
                  </a:lnTo>
                  <a:lnTo>
                    <a:pt x="37" y="125"/>
                  </a:lnTo>
                  <a:close/>
                  <a:moveTo>
                    <a:pt x="137" y="250"/>
                  </a:moveTo>
                  <a:lnTo>
                    <a:pt x="139" y="250"/>
                  </a:lnTo>
                  <a:lnTo>
                    <a:pt x="137" y="250"/>
                  </a:lnTo>
                  <a:close/>
                  <a:moveTo>
                    <a:pt x="0" y="87"/>
                  </a:moveTo>
                  <a:lnTo>
                    <a:pt x="2" y="87"/>
                  </a:lnTo>
                  <a:lnTo>
                    <a:pt x="0" y="87"/>
                  </a:lnTo>
                  <a:close/>
                  <a:moveTo>
                    <a:pt x="25" y="75"/>
                  </a:moveTo>
                  <a:lnTo>
                    <a:pt x="27" y="75"/>
                  </a:lnTo>
                  <a:lnTo>
                    <a:pt x="27" y="77"/>
                  </a:lnTo>
                  <a:lnTo>
                    <a:pt x="25" y="77"/>
                  </a:lnTo>
                  <a:lnTo>
                    <a:pt x="25" y="75"/>
                  </a:lnTo>
                  <a:close/>
                  <a:moveTo>
                    <a:pt x="50" y="242"/>
                  </a:moveTo>
                  <a:lnTo>
                    <a:pt x="50" y="244"/>
                  </a:lnTo>
                  <a:lnTo>
                    <a:pt x="50" y="242"/>
                  </a:lnTo>
                  <a:close/>
                  <a:moveTo>
                    <a:pt x="20" y="110"/>
                  </a:moveTo>
                  <a:lnTo>
                    <a:pt x="22" y="110"/>
                  </a:lnTo>
                  <a:lnTo>
                    <a:pt x="20" y="110"/>
                  </a:lnTo>
                  <a:close/>
                  <a:moveTo>
                    <a:pt x="39" y="123"/>
                  </a:moveTo>
                  <a:lnTo>
                    <a:pt x="39" y="125"/>
                  </a:lnTo>
                  <a:lnTo>
                    <a:pt x="39" y="123"/>
                  </a:lnTo>
                  <a:close/>
                  <a:moveTo>
                    <a:pt x="85" y="58"/>
                  </a:moveTo>
                  <a:lnTo>
                    <a:pt x="85" y="60"/>
                  </a:lnTo>
                  <a:lnTo>
                    <a:pt x="85" y="58"/>
                  </a:lnTo>
                  <a:close/>
                  <a:moveTo>
                    <a:pt x="108" y="22"/>
                  </a:moveTo>
                  <a:lnTo>
                    <a:pt x="108" y="23"/>
                  </a:lnTo>
                  <a:lnTo>
                    <a:pt x="108" y="22"/>
                  </a:lnTo>
                  <a:close/>
                  <a:moveTo>
                    <a:pt x="45" y="175"/>
                  </a:moveTo>
                  <a:lnTo>
                    <a:pt x="47" y="175"/>
                  </a:lnTo>
                  <a:lnTo>
                    <a:pt x="47" y="177"/>
                  </a:lnTo>
                  <a:lnTo>
                    <a:pt x="45" y="177"/>
                  </a:lnTo>
                  <a:lnTo>
                    <a:pt x="45" y="175"/>
                  </a:lnTo>
                  <a:close/>
                  <a:moveTo>
                    <a:pt x="27" y="89"/>
                  </a:moveTo>
                  <a:lnTo>
                    <a:pt x="29" y="89"/>
                  </a:lnTo>
                  <a:lnTo>
                    <a:pt x="27" y="89"/>
                  </a:lnTo>
                  <a:close/>
                  <a:moveTo>
                    <a:pt x="37" y="146"/>
                  </a:moveTo>
                  <a:lnTo>
                    <a:pt x="39" y="146"/>
                  </a:lnTo>
                  <a:lnTo>
                    <a:pt x="37" y="146"/>
                  </a:lnTo>
                  <a:close/>
                  <a:moveTo>
                    <a:pt x="47" y="131"/>
                  </a:moveTo>
                  <a:lnTo>
                    <a:pt x="47" y="133"/>
                  </a:lnTo>
                  <a:lnTo>
                    <a:pt x="47" y="131"/>
                  </a:lnTo>
                  <a:close/>
                  <a:moveTo>
                    <a:pt x="41" y="102"/>
                  </a:moveTo>
                  <a:lnTo>
                    <a:pt x="43" y="102"/>
                  </a:lnTo>
                  <a:lnTo>
                    <a:pt x="41" y="102"/>
                  </a:lnTo>
                  <a:close/>
                  <a:moveTo>
                    <a:pt x="108" y="10"/>
                  </a:moveTo>
                  <a:lnTo>
                    <a:pt x="110" y="10"/>
                  </a:lnTo>
                  <a:lnTo>
                    <a:pt x="108" y="10"/>
                  </a:lnTo>
                  <a:close/>
                  <a:moveTo>
                    <a:pt x="112" y="12"/>
                  </a:moveTo>
                  <a:lnTo>
                    <a:pt x="112" y="14"/>
                  </a:lnTo>
                  <a:lnTo>
                    <a:pt x="112" y="12"/>
                  </a:lnTo>
                  <a:close/>
                  <a:moveTo>
                    <a:pt x="85" y="45"/>
                  </a:moveTo>
                  <a:lnTo>
                    <a:pt x="87" y="45"/>
                  </a:lnTo>
                  <a:lnTo>
                    <a:pt x="85" y="45"/>
                  </a:lnTo>
                  <a:close/>
                  <a:moveTo>
                    <a:pt x="106" y="8"/>
                  </a:moveTo>
                  <a:lnTo>
                    <a:pt x="108" y="8"/>
                  </a:lnTo>
                  <a:lnTo>
                    <a:pt x="106" y="8"/>
                  </a:lnTo>
                  <a:close/>
                  <a:moveTo>
                    <a:pt x="24" y="93"/>
                  </a:moveTo>
                  <a:lnTo>
                    <a:pt x="24" y="95"/>
                  </a:lnTo>
                  <a:lnTo>
                    <a:pt x="24" y="93"/>
                  </a:lnTo>
                  <a:close/>
                  <a:moveTo>
                    <a:pt x="24" y="93"/>
                  </a:moveTo>
                  <a:lnTo>
                    <a:pt x="25" y="93"/>
                  </a:lnTo>
                  <a:lnTo>
                    <a:pt x="24" y="93"/>
                  </a:lnTo>
                  <a:close/>
                  <a:moveTo>
                    <a:pt x="41" y="112"/>
                  </a:moveTo>
                  <a:lnTo>
                    <a:pt x="43" y="112"/>
                  </a:lnTo>
                  <a:lnTo>
                    <a:pt x="41" y="112"/>
                  </a:lnTo>
                  <a:close/>
                  <a:moveTo>
                    <a:pt x="24" y="93"/>
                  </a:moveTo>
                  <a:lnTo>
                    <a:pt x="25" y="93"/>
                  </a:lnTo>
                  <a:lnTo>
                    <a:pt x="24" y="93"/>
                  </a:lnTo>
                  <a:close/>
                  <a:moveTo>
                    <a:pt x="20" y="98"/>
                  </a:moveTo>
                  <a:lnTo>
                    <a:pt x="20" y="100"/>
                  </a:lnTo>
                  <a:lnTo>
                    <a:pt x="20" y="98"/>
                  </a:lnTo>
                  <a:close/>
                  <a:moveTo>
                    <a:pt x="41" y="118"/>
                  </a:moveTo>
                  <a:lnTo>
                    <a:pt x="41" y="120"/>
                  </a:lnTo>
                  <a:lnTo>
                    <a:pt x="41" y="118"/>
                  </a:lnTo>
                  <a:close/>
                  <a:moveTo>
                    <a:pt x="58" y="70"/>
                  </a:moveTo>
                  <a:lnTo>
                    <a:pt x="60" y="70"/>
                  </a:lnTo>
                  <a:lnTo>
                    <a:pt x="58" y="70"/>
                  </a:lnTo>
                  <a:close/>
                  <a:moveTo>
                    <a:pt x="22" y="98"/>
                  </a:moveTo>
                  <a:lnTo>
                    <a:pt x="22" y="100"/>
                  </a:lnTo>
                  <a:lnTo>
                    <a:pt x="22" y="98"/>
                  </a:lnTo>
                  <a:close/>
                  <a:moveTo>
                    <a:pt x="48" y="81"/>
                  </a:moveTo>
                  <a:lnTo>
                    <a:pt x="48" y="83"/>
                  </a:lnTo>
                  <a:lnTo>
                    <a:pt x="48" y="81"/>
                  </a:lnTo>
                  <a:close/>
                  <a:moveTo>
                    <a:pt x="110" y="10"/>
                  </a:moveTo>
                  <a:lnTo>
                    <a:pt x="110" y="12"/>
                  </a:lnTo>
                  <a:lnTo>
                    <a:pt x="110" y="10"/>
                  </a:lnTo>
                  <a:close/>
                  <a:moveTo>
                    <a:pt x="106" y="12"/>
                  </a:moveTo>
                  <a:lnTo>
                    <a:pt x="106" y="14"/>
                  </a:lnTo>
                  <a:lnTo>
                    <a:pt x="106" y="12"/>
                  </a:lnTo>
                  <a:close/>
                  <a:moveTo>
                    <a:pt x="81" y="135"/>
                  </a:moveTo>
                  <a:lnTo>
                    <a:pt x="83" y="135"/>
                  </a:lnTo>
                  <a:lnTo>
                    <a:pt x="83" y="137"/>
                  </a:lnTo>
                  <a:lnTo>
                    <a:pt x="81" y="137"/>
                  </a:lnTo>
                  <a:lnTo>
                    <a:pt x="81" y="135"/>
                  </a:lnTo>
                  <a:close/>
                  <a:moveTo>
                    <a:pt x="22" y="96"/>
                  </a:moveTo>
                  <a:lnTo>
                    <a:pt x="24" y="96"/>
                  </a:lnTo>
                  <a:lnTo>
                    <a:pt x="22" y="96"/>
                  </a:lnTo>
                  <a:close/>
                  <a:moveTo>
                    <a:pt x="79" y="127"/>
                  </a:moveTo>
                  <a:lnTo>
                    <a:pt x="81" y="127"/>
                  </a:lnTo>
                  <a:lnTo>
                    <a:pt x="79" y="127"/>
                  </a:lnTo>
                  <a:close/>
                  <a:moveTo>
                    <a:pt x="104" y="265"/>
                  </a:moveTo>
                  <a:lnTo>
                    <a:pt x="106" y="265"/>
                  </a:lnTo>
                  <a:lnTo>
                    <a:pt x="106" y="267"/>
                  </a:lnTo>
                  <a:lnTo>
                    <a:pt x="104" y="267"/>
                  </a:lnTo>
                  <a:lnTo>
                    <a:pt x="104" y="265"/>
                  </a:lnTo>
                  <a:close/>
                  <a:moveTo>
                    <a:pt x="35" y="79"/>
                  </a:moveTo>
                  <a:lnTo>
                    <a:pt x="35" y="81"/>
                  </a:lnTo>
                  <a:lnTo>
                    <a:pt x="35" y="79"/>
                  </a:lnTo>
                  <a:close/>
                  <a:moveTo>
                    <a:pt x="22" y="98"/>
                  </a:moveTo>
                  <a:lnTo>
                    <a:pt x="24" y="98"/>
                  </a:lnTo>
                  <a:lnTo>
                    <a:pt x="22" y="98"/>
                  </a:lnTo>
                  <a:close/>
                  <a:moveTo>
                    <a:pt x="22" y="100"/>
                  </a:moveTo>
                  <a:lnTo>
                    <a:pt x="22" y="102"/>
                  </a:lnTo>
                  <a:lnTo>
                    <a:pt x="22" y="100"/>
                  </a:lnTo>
                  <a:close/>
                  <a:moveTo>
                    <a:pt x="18" y="112"/>
                  </a:moveTo>
                  <a:lnTo>
                    <a:pt x="18" y="114"/>
                  </a:lnTo>
                  <a:lnTo>
                    <a:pt x="18" y="112"/>
                  </a:lnTo>
                  <a:close/>
                  <a:moveTo>
                    <a:pt x="33" y="79"/>
                  </a:moveTo>
                  <a:lnTo>
                    <a:pt x="35" y="79"/>
                  </a:lnTo>
                  <a:lnTo>
                    <a:pt x="33" y="79"/>
                  </a:lnTo>
                  <a:close/>
                  <a:moveTo>
                    <a:pt x="22" y="98"/>
                  </a:moveTo>
                  <a:lnTo>
                    <a:pt x="22" y="100"/>
                  </a:lnTo>
                  <a:lnTo>
                    <a:pt x="22" y="98"/>
                  </a:lnTo>
                  <a:close/>
                  <a:moveTo>
                    <a:pt x="20" y="106"/>
                  </a:moveTo>
                  <a:lnTo>
                    <a:pt x="22" y="106"/>
                  </a:lnTo>
                  <a:lnTo>
                    <a:pt x="20" y="106"/>
                  </a:lnTo>
                  <a:close/>
                  <a:moveTo>
                    <a:pt x="106" y="16"/>
                  </a:moveTo>
                  <a:lnTo>
                    <a:pt x="106" y="18"/>
                  </a:lnTo>
                  <a:lnTo>
                    <a:pt x="106" y="16"/>
                  </a:lnTo>
                  <a:close/>
                  <a:moveTo>
                    <a:pt x="52" y="71"/>
                  </a:moveTo>
                  <a:lnTo>
                    <a:pt x="54" y="71"/>
                  </a:lnTo>
                  <a:lnTo>
                    <a:pt x="52" y="71"/>
                  </a:lnTo>
                  <a:close/>
                  <a:moveTo>
                    <a:pt x="33" y="120"/>
                  </a:moveTo>
                  <a:lnTo>
                    <a:pt x="33" y="121"/>
                  </a:lnTo>
                  <a:lnTo>
                    <a:pt x="33" y="120"/>
                  </a:lnTo>
                  <a:close/>
                  <a:moveTo>
                    <a:pt x="47" y="173"/>
                  </a:moveTo>
                  <a:lnTo>
                    <a:pt x="47" y="175"/>
                  </a:lnTo>
                  <a:lnTo>
                    <a:pt x="47" y="173"/>
                  </a:lnTo>
                  <a:close/>
                  <a:moveTo>
                    <a:pt x="41" y="106"/>
                  </a:moveTo>
                  <a:lnTo>
                    <a:pt x="43" y="106"/>
                  </a:lnTo>
                  <a:lnTo>
                    <a:pt x="41" y="106"/>
                  </a:lnTo>
                  <a:close/>
                  <a:moveTo>
                    <a:pt x="52" y="73"/>
                  </a:moveTo>
                  <a:lnTo>
                    <a:pt x="52" y="75"/>
                  </a:lnTo>
                  <a:lnTo>
                    <a:pt x="52" y="73"/>
                  </a:lnTo>
                  <a:close/>
                  <a:moveTo>
                    <a:pt x="45" y="175"/>
                  </a:moveTo>
                  <a:lnTo>
                    <a:pt x="47" y="175"/>
                  </a:lnTo>
                  <a:lnTo>
                    <a:pt x="45" y="175"/>
                  </a:lnTo>
                  <a:close/>
                  <a:moveTo>
                    <a:pt x="29" y="110"/>
                  </a:moveTo>
                  <a:lnTo>
                    <a:pt x="31" y="110"/>
                  </a:lnTo>
                  <a:lnTo>
                    <a:pt x="31" y="112"/>
                  </a:lnTo>
                  <a:lnTo>
                    <a:pt x="29" y="112"/>
                  </a:lnTo>
                  <a:lnTo>
                    <a:pt x="29" y="110"/>
                  </a:lnTo>
                  <a:close/>
                  <a:moveTo>
                    <a:pt x="37" y="52"/>
                  </a:moveTo>
                  <a:lnTo>
                    <a:pt x="39" y="52"/>
                  </a:lnTo>
                  <a:lnTo>
                    <a:pt x="37" y="52"/>
                  </a:lnTo>
                  <a:close/>
                  <a:moveTo>
                    <a:pt x="106" y="14"/>
                  </a:moveTo>
                  <a:lnTo>
                    <a:pt x="108" y="14"/>
                  </a:lnTo>
                  <a:lnTo>
                    <a:pt x="106" y="14"/>
                  </a:lnTo>
                  <a:close/>
                  <a:moveTo>
                    <a:pt x="62" y="70"/>
                  </a:moveTo>
                  <a:lnTo>
                    <a:pt x="64" y="70"/>
                  </a:lnTo>
                  <a:lnTo>
                    <a:pt x="62" y="70"/>
                  </a:lnTo>
                  <a:close/>
                  <a:moveTo>
                    <a:pt x="20" y="96"/>
                  </a:moveTo>
                  <a:lnTo>
                    <a:pt x="22" y="96"/>
                  </a:lnTo>
                  <a:lnTo>
                    <a:pt x="20" y="96"/>
                  </a:lnTo>
                  <a:close/>
                  <a:moveTo>
                    <a:pt x="24" y="93"/>
                  </a:moveTo>
                  <a:lnTo>
                    <a:pt x="25" y="93"/>
                  </a:lnTo>
                  <a:lnTo>
                    <a:pt x="24" y="93"/>
                  </a:lnTo>
                  <a:close/>
                  <a:moveTo>
                    <a:pt x="79" y="135"/>
                  </a:moveTo>
                  <a:lnTo>
                    <a:pt x="79" y="137"/>
                  </a:lnTo>
                  <a:lnTo>
                    <a:pt x="79" y="135"/>
                  </a:lnTo>
                  <a:close/>
                  <a:moveTo>
                    <a:pt x="22" y="96"/>
                  </a:moveTo>
                  <a:lnTo>
                    <a:pt x="22" y="98"/>
                  </a:lnTo>
                  <a:lnTo>
                    <a:pt x="22" y="96"/>
                  </a:lnTo>
                  <a:close/>
                  <a:moveTo>
                    <a:pt x="25" y="75"/>
                  </a:moveTo>
                  <a:lnTo>
                    <a:pt x="27" y="75"/>
                  </a:lnTo>
                  <a:lnTo>
                    <a:pt x="25" y="75"/>
                  </a:lnTo>
                  <a:close/>
                  <a:moveTo>
                    <a:pt x="45" y="175"/>
                  </a:moveTo>
                  <a:lnTo>
                    <a:pt x="47" y="175"/>
                  </a:lnTo>
                  <a:lnTo>
                    <a:pt x="45" y="175"/>
                  </a:lnTo>
                  <a:close/>
                  <a:moveTo>
                    <a:pt x="45" y="135"/>
                  </a:moveTo>
                  <a:lnTo>
                    <a:pt x="45" y="137"/>
                  </a:lnTo>
                  <a:lnTo>
                    <a:pt x="45" y="135"/>
                  </a:lnTo>
                  <a:close/>
                  <a:moveTo>
                    <a:pt x="39" y="144"/>
                  </a:moveTo>
                  <a:lnTo>
                    <a:pt x="41" y="144"/>
                  </a:lnTo>
                  <a:lnTo>
                    <a:pt x="39" y="144"/>
                  </a:lnTo>
                  <a:close/>
                  <a:moveTo>
                    <a:pt x="45" y="129"/>
                  </a:moveTo>
                  <a:lnTo>
                    <a:pt x="45" y="131"/>
                  </a:lnTo>
                  <a:lnTo>
                    <a:pt x="45" y="129"/>
                  </a:lnTo>
                  <a:close/>
                  <a:moveTo>
                    <a:pt x="22" y="98"/>
                  </a:moveTo>
                  <a:lnTo>
                    <a:pt x="24" y="98"/>
                  </a:lnTo>
                  <a:lnTo>
                    <a:pt x="22" y="98"/>
                  </a:lnTo>
                  <a:close/>
                  <a:moveTo>
                    <a:pt x="37" y="123"/>
                  </a:moveTo>
                  <a:lnTo>
                    <a:pt x="39" y="123"/>
                  </a:lnTo>
                  <a:lnTo>
                    <a:pt x="37" y="123"/>
                  </a:lnTo>
                  <a:close/>
                  <a:moveTo>
                    <a:pt x="52" y="73"/>
                  </a:moveTo>
                  <a:lnTo>
                    <a:pt x="52" y="75"/>
                  </a:lnTo>
                  <a:lnTo>
                    <a:pt x="52" y="73"/>
                  </a:lnTo>
                  <a:close/>
                  <a:moveTo>
                    <a:pt x="22" y="100"/>
                  </a:moveTo>
                  <a:lnTo>
                    <a:pt x="22" y="102"/>
                  </a:lnTo>
                  <a:lnTo>
                    <a:pt x="22" y="100"/>
                  </a:lnTo>
                  <a:close/>
                  <a:moveTo>
                    <a:pt x="62" y="275"/>
                  </a:moveTo>
                  <a:lnTo>
                    <a:pt x="64" y="275"/>
                  </a:lnTo>
                  <a:lnTo>
                    <a:pt x="62" y="275"/>
                  </a:lnTo>
                  <a:close/>
                  <a:moveTo>
                    <a:pt x="116" y="0"/>
                  </a:moveTo>
                  <a:lnTo>
                    <a:pt x="118" y="0"/>
                  </a:lnTo>
                  <a:lnTo>
                    <a:pt x="116" y="0"/>
                  </a:lnTo>
                  <a:close/>
                  <a:moveTo>
                    <a:pt x="29" y="110"/>
                  </a:moveTo>
                  <a:lnTo>
                    <a:pt x="29" y="112"/>
                  </a:lnTo>
                  <a:lnTo>
                    <a:pt x="29" y="110"/>
                  </a:lnTo>
                  <a:close/>
                  <a:moveTo>
                    <a:pt x="112" y="20"/>
                  </a:moveTo>
                  <a:lnTo>
                    <a:pt x="112" y="22"/>
                  </a:lnTo>
                  <a:lnTo>
                    <a:pt x="112" y="20"/>
                  </a:lnTo>
                  <a:close/>
                  <a:moveTo>
                    <a:pt x="25" y="81"/>
                  </a:moveTo>
                  <a:lnTo>
                    <a:pt x="25" y="83"/>
                  </a:lnTo>
                  <a:lnTo>
                    <a:pt x="25" y="81"/>
                  </a:lnTo>
                  <a:close/>
                  <a:moveTo>
                    <a:pt x="20" y="106"/>
                  </a:moveTo>
                  <a:lnTo>
                    <a:pt x="22" y="106"/>
                  </a:lnTo>
                  <a:lnTo>
                    <a:pt x="20" y="106"/>
                  </a:lnTo>
                  <a:close/>
                  <a:moveTo>
                    <a:pt x="20" y="96"/>
                  </a:moveTo>
                  <a:lnTo>
                    <a:pt x="22" y="96"/>
                  </a:lnTo>
                  <a:lnTo>
                    <a:pt x="20" y="96"/>
                  </a:lnTo>
                  <a:close/>
                  <a:moveTo>
                    <a:pt x="24" y="93"/>
                  </a:moveTo>
                  <a:lnTo>
                    <a:pt x="24" y="95"/>
                  </a:lnTo>
                  <a:lnTo>
                    <a:pt x="24" y="93"/>
                  </a:lnTo>
                  <a:close/>
                  <a:moveTo>
                    <a:pt x="39" y="144"/>
                  </a:moveTo>
                  <a:lnTo>
                    <a:pt x="39" y="146"/>
                  </a:lnTo>
                  <a:lnTo>
                    <a:pt x="39" y="144"/>
                  </a:lnTo>
                  <a:close/>
                  <a:moveTo>
                    <a:pt x="22" y="98"/>
                  </a:moveTo>
                  <a:lnTo>
                    <a:pt x="22" y="100"/>
                  </a:lnTo>
                  <a:lnTo>
                    <a:pt x="22" y="98"/>
                  </a:lnTo>
                  <a:close/>
                  <a:moveTo>
                    <a:pt x="37" y="135"/>
                  </a:moveTo>
                  <a:lnTo>
                    <a:pt x="37" y="137"/>
                  </a:lnTo>
                  <a:lnTo>
                    <a:pt x="37" y="135"/>
                  </a:lnTo>
                  <a:close/>
                  <a:moveTo>
                    <a:pt x="50" y="75"/>
                  </a:moveTo>
                  <a:lnTo>
                    <a:pt x="52" y="75"/>
                  </a:lnTo>
                  <a:lnTo>
                    <a:pt x="50" y="75"/>
                  </a:lnTo>
                  <a:close/>
                  <a:moveTo>
                    <a:pt x="33" y="79"/>
                  </a:moveTo>
                  <a:lnTo>
                    <a:pt x="33" y="81"/>
                  </a:lnTo>
                  <a:lnTo>
                    <a:pt x="33" y="79"/>
                  </a:lnTo>
                  <a:close/>
                  <a:moveTo>
                    <a:pt x="29" y="87"/>
                  </a:moveTo>
                  <a:lnTo>
                    <a:pt x="29" y="89"/>
                  </a:lnTo>
                  <a:lnTo>
                    <a:pt x="29" y="87"/>
                  </a:lnTo>
                  <a:close/>
                  <a:moveTo>
                    <a:pt x="24" y="91"/>
                  </a:moveTo>
                  <a:lnTo>
                    <a:pt x="24" y="93"/>
                  </a:lnTo>
                  <a:lnTo>
                    <a:pt x="24" y="91"/>
                  </a:lnTo>
                  <a:close/>
                  <a:moveTo>
                    <a:pt x="24" y="89"/>
                  </a:moveTo>
                  <a:lnTo>
                    <a:pt x="25" y="89"/>
                  </a:lnTo>
                  <a:lnTo>
                    <a:pt x="24" y="89"/>
                  </a:lnTo>
                  <a:close/>
                  <a:moveTo>
                    <a:pt x="45" y="133"/>
                  </a:moveTo>
                  <a:lnTo>
                    <a:pt x="47" y="133"/>
                  </a:lnTo>
                  <a:lnTo>
                    <a:pt x="45" y="133"/>
                  </a:lnTo>
                  <a:close/>
                  <a:moveTo>
                    <a:pt x="27" y="75"/>
                  </a:moveTo>
                  <a:lnTo>
                    <a:pt x="27" y="77"/>
                  </a:lnTo>
                  <a:lnTo>
                    <a:pt x="27" y="75"/>
                  </a:lnTo>
                  <a:close/>
                  <a:moveTo>
                    <a:pt x="50" y="133"/>
                  </a:moveTo>
                  <a:lnTo>
                    <a:pt x="50" y="135"/>
                  </a:lnTo>
                  <a:lnTo>
                    <a:pt x="50" y="133"/>
                  </a:lnTo>
                  <a:close/>
                  <a:moveTo>
                    <a:pt x="45" y="179"/>
                  </a:moveTo>
                  <a:lnTo>
                    <a:pt x="47" y="179"/>
                  </a:lnTo>
                  <a:lnTo>
                    <a:pt x="45" y="179"/>
                  </a:lnTo>
                  <a:close/>
                  <a:moveTo>
                    <a:pt x="47" y="127"/>
                  </a:moveTo>
                  <a:lnTo>
                    <a:pt x="47" y="129"/>
                  </a:lnTo>
                  <a:lnTo>
                    <a:pt x="47" y="127"/>
                  </a:lnTo>
                  <a:close/>
                  <a:moveTo>
                    <a:pt x="116" y="0"/>
                  </a:moveTo>
                  <a:lnTo>
                    <a:pt x="118" y="0"/>
                  </a:lnTo>
                  <a:lnTo>
                    <a:pt x="116" y="0"/>
                  </a:lnTo>
                  <a:close/>
                  <a:moveTo>
                    <a:pt x="47" y="127"/>
                  </a:moveTo>
                  <a:lnTo>
                    <a:pt x="47" y="129"/>
                  </a:lnTo>
                  <a:lnTo>
                    <a:pt x="47" y="127"/>
                  </a:lnTo>
                  <a:close/>
                  <a:moveTo>
                    <a:pt x="24" y="91"/>
                  </a:moveTo>
                  <a:lnTo>
                    <a:pt x="25" y="91"/>
                  </a:lnTo>
                  <a:lnTo>
                    <a:pt x="24" y="91"/>
                  </a:lnTo>
                  <a:close/>
                  <a:moveTo>
                    <a:pt x="48" y="239"/>
                  </a:moveTo>
                  <a:lnTo>
                    <a:pt x="48" y="241"/>
                  </a:lnTo>
                  <a:lnTo>
                    <a:pt x="48" y="239"/>
                  </a:lnTo>
                  <a:close/>
                  <a:moveTo>
                    <a:pt x="33" y="79"/>
                  </a:moveTo>
                  <a:lnTo>
                    <a:pt x="35" y="79"/>
                  </a:lnTo>
                  <a:lnTo>
                    <a:pt x="33" y="79"/>
                  </a:lnTo>
                  <a:close/>
                  <a:moveTo>
                    <a:pt x="37" y="123"/>
                  </a:moveTo>
                  <a:lnTo>
                    <a:pt x="37" y="125"/>
                  </a:lnTo>
                  <a:lnTo>
                    <a:pt x="37" y="123"/>
                  </a:lnTo>
                  <a:close/>
                  <a:moveTo>
                    <a:pt x="24" y="91"/>
                  </a:moveTo>
                  <a:lnTo>
                    <a:pt x="25" y="91"/>
                  </a:lnTo>
                  <a:lnTo>
                    <a:pt x="24" y="91"/>
                  </a:lnTo>
                  <a:close/>
                  <a:moveTo>
                    <a:pt x="35" y="114"/>
                  </a:moveTo>
                  <a:lnTo>
                    <a:pt x="37" y="114"/>
                  </a:lnTo>
                  <a:lnTo>
                    <a:pt x="35" y="114"/>
                  </a:lnTo>
                  <a:close/>
                  <a:moveTo>
                    <a:pt x="24" y="91"/>
                  </a:moveTo>
                  <a:lnTo>
                    <a:pt x="25" y="91"/>
                  </a:lnTo>
                  <a:lnTo>
                    <a:pt x="24" y="91"/>
                  </a:lnTo>
                  <a:close/>
                  <a:moveTo>
                    <a:pt x="29" y="110"/>
                  </a:moveTo>
                  <a:lnTo>
                    <a:pt x="31" y="110"/>
                  </a:lnTo>
                  <a:lnTo>
                    <a:pt x="31" y="112"/>
                  </a:lnTo>
                  <a:lnTo>
                    <a:pt x="29" y="112"/>
                  </a:lnTo>
                  <a:lnTo>
                    <a:pt x="29" y="110"/>
                  </a:lnTo>
                  <a:close/>
                  <a:moveTo>
                    <a:pt x="29" y="121"/>
                  </a:moveTo>
                  <a:lnTo>
                    <a:pt x="31" y="121"/>
                  </a:lnTo>
                  <a:lnTo>
                    <a:pt x="29" y="121"/>
                  </a:lnTo>
                  <a:close/>
                  <a:moveTo>
                    <a:pt x="106" y="16"/>
                  </a:moveTo>
                  <a:lnTo>
                    <a:pt x="106" y="18"/>
                  </a:lnTo>
                  <a:lnTo>
                    <a:pt x="106" y="16"/>
                  </a:lnTo>
                  <a:close/>
                  <a:moveTo>
                    <a:pt x="22" y="98"/>
                  </a:moveTo>
                  <a:lnTo>
                    <a:pt x="22" y="100"/>
                  </a:lnTo>
                  <a:lnTo>
                    <a:pt x="22" y="98"/>
                  </a:lnTo>
                  <a:close/>
                  <a:moveTo>
                    <a:pt x="16" y="75"/>
                  </a:moveTo>
                  <a:lnTo>
                    <a:pt x="18" y="75"/>
                  </a:lnTo>
                  <a:lnTo>
                    <a:pt x="16" y="75"/>
                  </a:lnTo>
                  <a:close/>
                  <a:moveTo>
                    <a:pt x="22" y="100"/>
                  </a:moveTo>
                  <a:lnTo>
                    <a:pt x="22" y="102"/>
                  </a:lnTo>
                  <a:lnTo>
                    <a:pt x="22" y="100"/>
                  </a:lnTo>
                  <a:close/>
                  <a:moveTo>
                    <a:pt x="41" y="100"/>
                  </a:moveTo>
                  <a:lnTo>
                    <a:pt x="41" y="102"/>
                  </a:lnTo>
                  <a:lnTo>
                    <a:pt x="41" y="100"/>
                  </a:lnTo>
                  <a:close/>
                  <a:moveTo>
                    <a:pt x="68" y="206"/>
                  </a:moveTo>
                  <a:lnTo>
                    <a:pt x="68" y="208"/>
                  </a:lnTo>
                  <a:lnTo>
                    <a:pt x="68" y="206"/>
                  </a:lnTo>
                  <a:close/>
                  <a:moveTo>
                    <a:pt x="22" y="98"/>
                  </a:moveTo>
                  <a:lnTo>
                    <a:pt x="24" y="98"/>
                  </a:lnTo>
                  <a:lnTo>
                    <a:pt x="22" y="98"/>
                  </a:lnTo>
                  <a:close/>
                  <a:moveTo>
                    <a:pt x="22" y="93"/>
                  </a:moveTo>
                  <a:lnTo>
                    <a:pt x="24" y="93"/>
                  </a:lnTo>
                  <a:lnTo>
                    <a:pt x="22" y="93"/>
                  </a:lnTo>
                  <a:close/>
                  <a:moveTo>
                    <a:pt x="22" y="98"/>
                  </a:moveTo>
                  <a:lnTo>
                    <a:pt x="22" y="100"/>
                  </a:lnTo>
                  <a:lnTo>
                    <a:pt x="22" y="98"/>
                  </a:lnTo>
                  <a:close/>
                  <a:moveTo>
                    <a:pt x="22" y="98"/>
                  </a:moveTo>
                  <a:lnTo>
                    <a:pt x="24" y="98"/>
                  </a:lnTo>
                  <a:lnTo>
                    <a:pt x="22" y="98"/>
                  </a:lnTo>
                  <a:close/>
                  <a:moveTo>
                    <a:pt x="37" y="135"/>
                  </a:moveTo>
                  <a:lnTo>
                    <a:pt x="37" y="137"/>
                  </a:lnTo>
                  <a:lnTo>
                    <a:pt x="37" y="135"/>
                  </a:lnTo>
                  <a:close/>
                  <a:moveTo>
                    <a:pt x="45" y="133"/>
                  </a:moveTo>
                  <a:lnTo>
                    <a:pt x="47" y="133"/>
                  </a:lnTo>
                  <a:lnTo>
                    <a:pt x="45" y="133"/>
                  </a:lnTo>
                  <a:close/>
                  <a:moveTo>
                    <a:pt x="37" y="135"/>
                  </a:moveTo>
                  <a:lnTo>
                    <a:pt x="37" y="137"/>
                  </a:lnTo>
                  <a:lnTo>
                    <a:pt x="37" y="135"/>
                  </a:lnTo>
                  <a:close/>
                  <a:moveTo>
                    <a:pt x="29" y="121"/>
                  </a:moveTo>
                  <a:lnTo>
                    <a:pt x="31" y="121"/>
                  </a:lnTo>
                  <a:lnTo>
                    <a:pt x="29" y="121"/>
                  </a:lnTo>
                  <a:close/>
                  <a:moveTo>
                    <a:pt x="95" y="114"/>
                  </a:moveTo>
                  <a:lnTo>
                    <a:pt x="95" y="116"/>
                  </a:lnTo>
                  <a:lnTo>
                    <a:pt x="95" y="11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290">
              <a:extLst>
                <a:ext uri="{FF2B5EF4-FFF2-40B4-BE49-F238E27FC236}">
                  <a16:creationId xmlns:a16="http://schemas.microsoft.com/office/drawing/2014/main" id="{2D8E69E2-5F6E-40EE-B642-3D36D600F803}"/>
                </a:ext>
              </a:extLst>
            </p:cNvPr>
            <p:cNvSpPr>
              <a:spLocks noEditPoints="1"/>
            </p:cNvSpPr>
            <p:nvPr/>
          </p:nvSpPr>
          <p:spPr bwMode="gray">
            <a:xfrm>
              <a:off x="3161660" y="3335158"/>
              <a:ext cx="8585" cy="8585"/>
            </a:xfrm>
            <a:custGeom>
              <a:avLst/>
              <a:gdLst>
                <a:gd name="T0" fmla="*/ 0 w 7"/>
                <a:gd name="T1" fmla="*/ 5 h 7"/>
                <a:gd name="T2" fmla="*/ 2 w 7"/>
                <a:gd name="T3" fmla="*/ 5 h 7"/>
                <a:gd name="T4" fmla="*/ 2 w 7"/>
                <a:gd name="T5" fmla="*/ 7 h 7"/>
                <a:gd name="T6" fmla="*/ 0 w 7"/>
                <a:gd name="T7" fmla="*/ 7 h 7"/>
                <a:gd name="T8" fmla="*/ 0 w 7"/>
                <a:gd name="T9" fmla="*/ 5 h 7"/>
                <a:gd name="T10" fmla="*/ 6 w 7"/>
                <a:gd name="T11" fmla="*/ 0 h 7"/>
                <a:gd name="T12" fmla="*/ 7 w 7"/>
                <a:gd name="T13" fmla="*/ 0 h 7"/>
                <a:gd name="T14" fmla="*/ 7 w 7"/>
                <a:gd name="T15" fmla="*/ 1 h 7"/>
                <a:gd name="T16" fmla="*/ 6 w 7"/>
                <a:gd name="T17" fmla="*/ 1 h 7"/>
                <a:gd name="T18" fmla="*/ 6 w 7"/>
                <a:gd name="T19" fmla="*/ 0 h 7"/>
                <a:gd name="T20" fmla="*/ 4 w 7"/>
                <a:gd name="T21" fmla="*/ 5 h 7"/>
                <a:gd name="T22" fmla="*/ 6 w 7"/>
                <a:gd name="T23" fmla="*/ 5 h 7"/>
                <a:gd name="T24" fmla="*/ 6 w 7"/>
                <a:gd name="T25" fmla="*/ 7 h 7"/>
                <a:gd name="T26" fmla="*/ 4 w 7"/>
                <a:gd name="T27" fmla="*/ 7 h 7"/>
                <a:gd name="T28" fmla="*/ 4 w 7"/>
                <a:gd name="T2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7">
                  <a:moveTo>
                    <a:pt x="0" y="5"/>
                  </a:moveTo>
                  <a:lnTo>
                    <a:pt x="2" y="5"/>
                  </a:lnTo>
                  <a:lnTo>
                    <a:pt x="2" y="7"/>
                  </a:lnTo>
                  <a:lnTo>
                    <a:pt x="0" y="7"/>
                  </a:lnTo>
                  <a:lnTo>
                    <a:pt x="0" y="5"/>
                  </a:lnTo>
                  <a:close/>
                  <a:moveTo>
                    <a:pt x="6" y="0"/>
                  </a:moveTo>
                  <a:lnTo>
                    <a:pt x="7" y="0"/>
                  </a:lnTo>
                  <a:lnTo>
                    <a:pt x="7" y="1"/>
                  </a:lnTo>
                  <a:lnTo>
                    <a:pt x="6" y="1"/>
                  </a:lnTo>
                  <a:lnTo>
                    <a:pt x="6" y="0"/>
                  </a:lnTo>
                  <a:close/>
                  <a:moveTo>
                    <a:pt x="4" y="5"/>
                  </a:moveTo>
                  <a:lnTo>
                    <a:pt x="6" y="5"/>
                  </a:lnTo>
                  <a:lnTo>
                    <a:pt x="6" y="7"/>
                  </a:lnTo>
                  <a:lnTo>
                    <a:pt x="4" y="7"/>
                  </a:lnTo>
                  <a:lnTo>
                    <a:pt x="4" y="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Rectangle 291">
              <a:extLst>
                <a:ext uri="{FF2B5EF4-FFF2-40B4-BE49-F238E27FC236}">
                  <a16:creationId xmlns:a16="http://schemas.microsoft.com/office/drawing/2014/main" id="{BEDFFECC-8404-40D6-8066-1514AA008D65}"/>
                </a:ext>
              </a:extLst>
            </p:cNvPr>
            <p:cNvSpPr>
              <a:spLocks noChangeArrowheads="1"/>
            </p:cNvSpPr>
            <p:nvPr/>
          </p:nvSpPr>
          <p:spPr bwMode="gray">
            <a:xfrm>
              <a:off x="3169018" y="3348648"/>
              <a:ext cx="3680" cy="2453"/>
            </a:xfrm>
            <a:prstGeom prst="rect">
              <a:avLst/>
            </a:prstGeom>
            <a:solidFill>
              <a:srgbClr val="D0D0D0"/>
            </a:solidFill>
            <a:ln w="6350">
              <a:solidFill>
                <a:schemeClr val="tx1">
                  <a:alpha val="38000"/>
                </a:schemeClr>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292">
              <a:extLst>
                <a:ext uri="{FF2B5EF4-FFF2-40B4-BE49-F238E27FC236}">
                  <a16:creationId xmlns:a16="http://schemas.microsoft.com/office/drawing/2014/main" id="{3026E484-4A62-4B37-B791-97376BC44B11}"/>
                </a:ext>
              </a:extLst>
            </p:cNvPr>
            <p:cNvSpPr>
              <a:spLocks noEditPoints="1"/>
            </p:cNvSpPr>
            <p:nvPr/>
          </p:nvSpPr>
          <p:spPr bwMode="gray">
            <a:xfrm>
              <a:off x="2647808" y="3530151"/>
              <a:ext cx="450081" cy="268577"/>
            </a:xfrm>
            <a:custGeom>
              <a:avLst/>
              <a:gdLst>
                <a:gd name="T0" fmla="*/ 344 w 367"/>
                <a:gd name="T1" fmla="*/ 98 h 219"/>
                <a:gd name="T2" fmla="*/ 336 w 367"/>
                <a:gd name="T3" fmla="*/ 98 h 219"/>
                <a:gd name="T4" fmla="*/ 329 w 367"/>
                <a:gd name="T5" fmla="*/ 98 h 219"/>
                <a:gd name="T6" fmla="*/ 329 w 367"/>
                <a:gd name="T7" fmla="*/ 94 h 219"/>
                <a:gd name="T8" fmla="*/ 329 w 367"/>
                <a:gd name="T9" fmla="*/ 83 h 219"/>
                <a:gd name="T10" fmla="*/ 330 w 367"/>
                <a:gd name="T11" fmla="*/ 77 h 219"/>
                <a:gd name="T12" fmla="*/ 329 w 367"/>
                <a:gd name="T13" fmla="*/ 71 h 219"/>
                <a:gd name="T14" fmla="*/ 329 w 367"/>
                <a:gd name="T15" fmla="*/ 71 h 219"/>
                <a:gd name="T16" fmla="*/ 323 w 367"/>
                <a:gd name="T17" fmla="*/ 69 h 219"/>
                <a:gd name="T18" fmla="*/ 325 w 367"/>
                <a:gd name="T19" fmla="*/ 67 h 219"/>
                <a:gd name="T20" fmla="*/ 325 w 367"/>
                <a:gd name="T21" fmla="*/ 67 h 219"/>
                <a:gd name="T22" fmla="*/ 321 w 367"/>
                <a:gd name="T23" fmla="*/ 67 h 219"/>
                <a:gd name="T24" fmla="*/ 321 w 367"/>
                <a:gd name="T25" fmla="*/ 60 h 219"/>
                <a:gd name="T26" fmla="*/ 325 w 367"/>
                <a:gd name="T27" fmla="*/ 52 h 219"/>
                <a:gd name="T28" fmla="*/ 329 w 367"/>
                <a:gd name="T29" fmla="*/ 40 h 219"/>
                <a:gd name="T30" fmla="*/ 330 w 367"/>
                <a:gd name="T31" fmla="*/ 31 h 219"/>
                <a:gd name="T32" fmla="*/ 330 w 367"/>
                <a:gd name="T33" fmla="*/ 19 h 219"/>
                <a:gd name="T34" fmla="*/ 329 w 367"/>
                <a:gd name="T35" fmla="*/ 13 h 219"/>
                <a:gd name="T36" fmla="*/ 332 w 367"/>
                <a:gd name="T37" fmla="*/ 2 h 219"/>
                <a:gd name="T38" fmla="*/ 338 w 367"/>
                <a:gd name="T39" fmla="*/ 4 h 219"/>
                <a:gd name="T40" fmla="*/ 342 w 367"/>
                <a:gd name="T41" fmla="*/ 8 h 219"/>
                <a:gd name="T42" fmla="*/ 348 w 367"/>
                <a:gd name="T43" fmla="*/ 6 h 219"/>
                <a:gd name="T44" fmla="*/ 355 w 367"/>
                <a:gd name="T45" fmla="*/ 6 h 219"/>
                <a:gd name="T46" fmla="*/ 359 w 367"/>
                <a:gd name="T47" fmla="*/ 6 h 219"/>
                <a:gd name="T48" fmla="*/ 361 w 367"/>
                <a:gd name="T49" fmla="*/ 8 h 219"/>
                <a:gd name="T50" fmla="*/ 363 w 367"/>
                <a:gd name="T51" fmla="*/ 10 h 219"/>
                <a:gd name="T52" fmla="*/ 367 w 367"/>
                <a:gd name="T53" fmla="*/ 13 h 219"/>
                <a:gd name="T54" fmla="*/ 363 w 367"/>
                <a:gd name="T55" fmla="*/ 17 h 219"/>
                <a:gd name="T56" fmla="*/ 357 w 367"/>
                <a:gd name="T57" fmla="*/ 23 h 219"/>
                <a:gd name="T58" fmla="*/ 357 w 367"/>
                <a:gd name="T59" fmla="*/ 27 h 219"/>
                <a:gd name="T60" fmla="*/ 357 w 367"/>
                <a:gd name="T61" fmla="*/ 35 h 219"/>
                <a:gd name="T62" fmla="*/ 357 w 367"/>
                <a:gd name="T63" fmla="*/ 42 h 219"/>
                <a:gd name="T64" fmla="*/ 350 w 367"/>
                <a:gd name="T65" fmla="*/ 50 h 219"/>
                <a:gd name="T66" fmla="*/ 354 w 367"/>
                <a:gd name="T67" fmla="*/ 58 h 219"/>
                <a:gd name="T68" fmla="*/ 352 w 367"/>
                <a:gd name="T69" fmla="*/ 67 h 219"/>
                <a:gd name="T70" fmla="*/ 354 w 367"/>
                <a:gd name="T71" fmla="*/ 77 h 219"/>
                <a:gd name="T72" fmla="*/ 355 w 367"/>
                <a:gd name="T73" fmla="*/ 79 h 219"/>
                <a:gd name="T74" fmla="*/ 352 w 367"/>
                <a:gd name="T75" fmla="*/ 83 h 219"/>
                <a:gd name="T76" fmla="*/ 348 w 367"/>
                <a:gd name="T77" fmla="*/ 90 h 219"/>
                <a:gd name="T78" fmla="*/ 83 w 367"/>
                <a:gd name="T79" fmla="*/ 84 h 219"/>
                <a:gd name="T80" fmla="*/ 85 w 367"/>
                <a:gd name="T81" fmla="*/ 83 h 219"/>
                <a:gd name="T82" fmla="*/ 87 w 367"/>
                <a:gd name="T83" fmla="*/ 84 h 219"/>
                <a:gd name="T84" fmla="*/ 85 w 367"/>
                <a:gd name="T85" fmla="*/ 86 h 219"/>
                <a:gd name="T86" fmla="*/ 208 w 367"/>
                <a:gd name="T87" fmla="*/ 173 h 219"/>
                <a:gd name="T88" fmla="*/ 211 w 367"/>
                <a:gd name="T89" fmla="*/ 177 h 219"/>
                <a:gd name="T90" fmla="*/ 206 w 367"/>
                <a:gd name="T91" fmla="*/ 175 h 219"/>
                <a:gd name="T92" fmla="*/ 46 w 367"/>
                <a:gd name="T93" fmla="*/ 73 h 219"/>
                <a:gd name="T94" fmla="*/ 41 w 367"/>
                <a:gd name="T95" fmla="*/ 71 h 219"/>
                <a:gd name="T96" fmla="*/ 62 w 367"/>
                <a:gd name="T97" fmla="*/ 69 h 219"/>
                <a:gd name="T98" fmla="*/ 60 w 367"/>
                <a:gd name="T99" fmla="*/ 67 h 219"/>
                <a:gd name="T100" fmla="*/ 48 w 367"/>
                <a:gd name="T101" fmla="*/ 69 h 219"/>
                <a:gd name="T102" fmla="*/ 46 w 367"/>
                <a:gd name="T103" fmla="*/ 67 h 219"/>
                <a:gd name="T104" fmla="*/ 0 w 367"/>
                <a:gd name="T105" fmla="*/ 52 h 219"/>
                <a:gd name="T106" fmla="*/ 89 w 367"/>
                <a:gd name="T107" fmla="*/ 100 h 219"/>
                <a:gd name="T108" fmla="*/ 219 w 367"/>
                <a:gd name="T109" fmla="*/ 169 h 219"/>
                <a:gd name="T110" fmla="*/ 325 w 367"/>
                <a:gd name="T111" fmla="*/ 63 h 219"/>
                <a:gd name="T112" fmla="*/ 217 w 367"/>
                <a:gd name="T113" fmla="*/ 169 h 219"/>
                <a:gd name="T114" fmla="*/ 219 w 367"/>
                <a:gd name="T115" fmla="*/ 167 h 219"/>
                <a:gd name="T116" fmla="*/ 215 w 367"/>
                <a:gd name="T117" fmla="*/ 17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7" h="219">
                  <a:moveTo>
                    <a:pt x="350" y="94"/>
                  </a:moveTo>
                  <a:lnTo>
                    <a:pt x="350" y="96"/>
                  </a:lnTo>
                  <a:lnTo>
                    <a:pt x="350" y="94"/>
                  </a:lnTo>
                  <a:lnTo>
                    <a:pt x="350" y="96"/>
                  </a:lnTo>
                  <a:lnTo>
                    <a:pt x="348" y="96"/>
                  </a:lnTo>
                  <a:lnTo>
                    <a:pt x="346" y="96"/>
                  </a:lnTo>
                  <a:lnTo>
                    <a:pt x="346" y="98"/>
                  </a:lnTo>
                  <a:lnTo>
                    <a:pt x="344" y="98"/>
                  </a:lnTo>
                  <a:lnTo>
                    <a:pt x="344" y="100"/>
                  </a:lnTo>
                  <a:lnTo>
                    <a:pt x="342" y="100"/>
                  </a:lnTo>
                  <a:lnTo>
                    <a:pt x="342" y="98"/>
                  </a:lnTo>
                  <a:lnTo>
                    <a:pt x="340" y="98"/>
                  </a:lnTo>
                  <a:lnTo>
                    <a:pt x="338" y="98"/>
                  </a:lnTo>
                  <a:lnTo>
                    <a:pt x="340" y="98"/>
                  </a:lnTo>
                  <a:lnTo>
                    <a:pt x="338" y="98"/>
                  </a:lnTo>
                  <a:lnTo>
                    <a:pt x="336" y="98"/>
                  </a:lnTo>
                  <a:lnTo>
                    <a:pt x="336" y="96"/>
                  </a:lnTo>
                  <a:lnTo>
                    <a:pt x="336" y="98"/>
                  </a:lnTo>
                  <a:lnTo>
                    <a:pt x="334" y="98"/>
                  </a:lnTo>
                  <a:lnTo>
                    <a:pt x="334" y="96"/>
                  </a:lnTo>
                  <a:lnTo>
                    <a:pt x="332" y="96"/>
                  </a:lnTo>
                  <a:lnTo>
                    <a:pt x="330" y="96"/>
                  </a:lnTo>
                  <a:lnTo>
                    <a:pt x="330" y="98"/>
                  </a:lnTo>
                  <a:lnTo>
                    <a:pt x="329" y="98"/>
                  </a:lnTo>
                  <a:lnTo>
                    <a:pt x="327" y="98"/>
                  </a:lnTo>
                  <a:lnTo>
                    <a:pt x="327" y="96"/>
                  </a:lnTo>
                  <a:lnTo>
                    <a:pt x="329" y="96"/>
                  </a:lnTo>
                  <a:lnTo>
                    <a:pt x="327" y="96"/>
                  </a:lnTo>
                  <a:lnTo>
                    <a:pt x="329" y="96"/>
                  </a:lnTo>
                  <a:lnTo>
                    <a:pt x="329" y="94"/>
                  </a:lnTo>
                  <a:lnTo>
                    <a:pt x="329" y="92"/>
                  </a:lnTo>
                  <a:lnTo>
                    <a:pt x="329" y="94"/>
                  </a:lnTo>
                  <a:lnTo>
                    <a:pt x="329" y="92"/>
                  </a:lnTo>
                  <a:lnTo>
                    <a:pt x="329" y="90"/>
                  </a:lnTo>
                  <a:lnTo>
                    <a:pt x="329" y="88"/>
                  </a:lnTo>
                  <a:lnTo>
                    <a:pt x="329" y="86"/>
                  </a:lnTo>
                  <a:lnTo>
                    <a:pt x="329" y="88"/>
                  </a:lnTo>
                  <a:lnTo>
                    <a:pt x="329" y="86"/>
                  </a:lnTo>
                  <a:lnTo>
                    <a:pt x="329" y="84"/>
                  </a:lnTo>
                  <a:lnTo>
                    <a:pt x="329" y="83"/>
                  </a:lnTo>
                  <a:lnTo>
                    <a:pt x="329" y="81"/>
                  </a:lnTo>
                  <a:lnTo>
                    <a:pt x="329" y="83"/>
                  </a:lnTo>
                  <a:lnTo>
                    <a:pt x="329" y="81"/>
                  </a:lnTo>
                  <a:lnTo>
                    <a:pt x="329" y="83"/>
                  </a:lnTo>
                  <a:lnTo>
                    <a:pt x="329" y="81"/>
                  </a:lnTo>
                  <a:lnTo>
                    <a:pt x="329" y="79"/>
                  </a:lnTo>
                  <a:lnTo>
                    <a:pt x="329" y="77"/>
                  </a:lnTo>
                  <a:lnTo>
                    <a:pt x="330" y="77"/>
                  </a:lnTo>
                  <a:lnTo>
                    <a:pt x="330" y="75"/>
                  </a:lnTo>
                  <a:lnTo>
                    <a:pt x="329" y="75"/>
                  </a:lnTo>
                  <a:lnTo>
                    <a:pt x="329" y="73"/>
                  </a:lnTo>
                  <a:lnTo>
                    <a:pt x="329" y="71"/>
                  </a:lnTo>
                  <a:lnTo>
                    <a:pt x="327" y="71"/>
                  </a:lnTo>
                  <a:lnTo>
                    <a:pt x="329" y="71"/>
                  </a:lnTo>
                  <a:lnTo>
                    <a:pt x="329" y="73"/>
                  </a:lnTo>
                  <a:lnTo>
                    <a:pt x="329" y="71"/>
                  </a:lnTo>
                  <a:lnTo>
                    <a:pt x="329" y="73"/>
                  </a:lnTo>
                  <a:lnTo>
                    <a:pt x="329" y="71"/>
                  </a:lnTo>
                  <a:lnTo>
                    <a:pt x="329" y="73"/>
                  </a:lnTo>
                  <a:lnTo>
                    <a:pt x="330" y="73"/>
                  </a:lnTo>
                  <a:lnTo>
                    <a:pt x="330" y="71"/>
                  </a:lnTo>
                  <a:lnTo>
                    <a:pt x="329" y="71"/>
                  </a:lnTo>
                  <a:lnTo>
                    <a:pt x="330" y="71"/>
                  </a:lnTo>
                  <a:lnTo>
                    <a:pt x="329" y="71"/>
                  </a:lnTo>
                  <a:lnTo>
                    <a:pt x="330" y="71"/>
                  </a:lnTo>
                  <a:lnTo>
                    <a:pt x="329" y="71"/>
                  </a:lnTo>
                  <a:lnTo>
                    <a:pt x="327" y="71"/>
                  </a:lnTo>
                  <a:lnTo>
                    <a:pt x="325" y="71"/>
                  </a:lnTo>
                  <a:lnTo>
                    <a:pt x="325" y="73"/>
                  </a:lnTo>
                  <a:lnTo>
                    <a:pt x="323" y="73"/>
                  </a:lnTo>
                  <a:lnTo>
                    <a:pt x="323" y="71"/>
                  </a:lnTo>
                  <a:lnTo>
                    <a:pt x="323" y="69"/>
                  </a:lnTo>
                  <a:lnTo>
                    <a:pt x="323" y="67"/>
                  </a:lnTo>
                  <a:lnTo>
                    <a:pt x="323" y="69"/>
                  </a:lnTo>
                  <a:lnTo>
                    <a:pt x="323" y="67"/>
                  </a:lnTo>
                  <a:lnTo>
                    <a:pt x="325" y="67"/>
                  </a:lnTo>
                  <a:lnTo>
                    <a:pt x="325" y="69"/>
                  </a:lnTo>
                  <a:lnTo>
                    <a:pt x="325" y="67"/>
                  </a:lnTo>
                  <a:lnTo>
                    <a:pt x="325" y="69"/>
                  </a:lnTo>
                  <a:lnTo>
                    <a:pt x="325" y="67"/>
                  </a:lnTo>
                  <a:lnTo>
                    <a:pt x="325" y="69"/>
                  </a:lnTo>
                  <a:lnTo>
                    <a:pt x="325" y="67"/>
                  </a:lnTo>
                  <a:lnTo>
                    <a:pt x="327" y="67"/>
                  </a:lnTo>
                  <a:lnTo>
                    <a:pt x="325" y="67"/>
                  </a:lnTo>
                  <a:lnTo>
                    <a:pt x="327" y="67"/>
                  </a:lnTo>
                  <a:lnTo>
                    <a:pt x="327" y="69"/>
                  </a:lnTo>
                  <a:lnTo>
                    <a:pt x="327" y="67"/>
                  </a:lnTo>
                  <a:lnTo>
                    <a:pt x="325" y="67"/>
                  </a:lnTo>
                  <a:lnTo>
                    <a:pt x="327" y="67"/>
                  </a:lnTo>
                  <a:lnTo>
                    <a:pt x="327" y="65"/>
                  </a:lnTo>
                  <a:lnTo>
                    <a:pt x="327" y="63"/>
                  </a:lnTo>
                  <a:lnTo>
                    <a:pt x="325" y="63"/>
                  </a:lnTo>
                  <a:lnTo>
                    <a:pt x="325" y="65"/>
                  </a:lnTo>
                  <a:lnTo>
                    <a:pt x="325" y="67"/>
                  </a:lnTo>
                  <a:lnTo>
                    <a:pt x="323" y="67"/>
                  </a:lnTo>
                  <a:lnTo>
                    <a:pt x="321" y="67"/>
                  </a:lnTo>
                  <a:lnTo>
                    <a:pt x="319" y="67"/>
                  </a:lnTo>
                  <a:lnTo>
                    <a:pt x="319" y="65"/>
                  </a:lnTo>
                  <a:lnTo>
                    <a:pt x="319" y="67"/>
                  </a:lnTo>
                  <a:lnTo>
                    <a:pt x="319" y="65"/>
                  </a:lnTo>
                  <a:lnTo>
                    <a:pt x="319" y="63"/>
                  </a:lnTo>
                  <a:lnTo>
                    <a:pt x="321" y="63"/>
                  </a:lnTo>
                  <a:lnTo>
                    <a:pt x="321" y="61"/>
                  </a:lnTo>
                  <a:lnTo>
                    <a:pt x="321" y="60"/>
                  </a:lnTo>
                  <a:lnTo>
                    <a:pt x="321" y="58"/>
                  </a:lnTo>
                  <a:lnTo>
                    <a:pt x="321" y="56"/>
                  </a:lnTo>
                  <a:lnTo>
                    <a:pt x="321" y="54"/>
                  </a:lnTo>
                  <a:lnTo>
                    <a:pt x="321" y="56"/>
                  </a:lnTo>
                  <a:lnTo>
                    <a:pt x="321" y="54"/>
                  </a:lnTo>
                  <a:lnTo>
                    <a:pt x="323" y="54"/>
                  </a:lnTo>
                  <a:lnTo>
                    <a:pt x="323" y="52"/>
                  </a:lnTo>
                  <a:lnTo>
                    <a:pt x="325" y="52"/>
                  </a:lnTo>
                  <a:lnTo>
                    <a:pt x="325" y="50"/>
                  </a:lnTo>
                  <a:lnTo>
                    <a:pt x="325" y="48"/>
                  </a:lnTo>
                  <a:lnTo>
                    <a:pt x="327" y="48"/>
                  </a:lnTo>
                  <a:lnTo>
                    <a:pt x="327" y="46"/>
                  </a:lnTo>
                  <a:lnTo>
                    <a:pt x="327" y="44"/>
                  </a:lnTo>
                  <a:lnTo>
                    <a:pt x="327" y="42"/>
                  </a:lnTo>
                  <a:lnTo>
                    <a:pt x="329" y="42"/>
                  </a:lnTo>
                  <a:lnTo>
                    <a:pt x="329" y="40"/>
                  </a:lnTo>
                  <a:lnTo>
                    <a:pt x="329" y="38"/>
                  </a:lnTo>
                  <a:lnTo>
                    <a:pt x="327" y="38"/>
                  </a:lnTo>
                  <a:lnTo>
                    <a:pt x="329" y="38"/>
                  </a:lnTo>
                  <a:lnTo>
                    <a:pt x="329" y="36"/>
                  </a:lnTo>
                  <a:lnTo>
                    <a:pt x="329" y="35"/>
                  </a:lnTo>
                  <a:lnTo>
                    <a:pt x="329" y="33"/>
                  </a:lnTo>
                  <a:lnTo>
                    <a:pt x="330" y="33"/>
                  </a:lnTo>
                  <a:lnTo>
                    <a:pt x="330" y="31"/>
                  </a:lnTo>
                  <a:lnTo>
                    <a:pt x="330" y="29"/>
                  </a:lnTo>
                  <a:lnTo>
                    <a:pt x="330" y="27"/>
                  </a:lnTo>
                  <a:lnTo>
                    <a:pt x="330" y="25"/>
                  </a:lnTo>
                  <a:lnTo>
                    <a:pt x="330" y="23"/>
                  </a:lnTo>
                  <a:lnTo>
                    <a:pt x="332" y="23"/>
                  </a:lnTo>
                  <a:lnTo>
                    <a:pt x="330" y="23"/>
                  </a:lnTo>
                  <a:lnTo>
                    <a:pt x="330" y="21"/>
                  </a:lnTo>
                  <a:lnTo>
                    <a:pt x="330" y="19"/>
                  </a:lnTo>
                  <a:lnTo>
                    <a:pt x="330" y="17"/>
                  </a:lnTo>
                  <a:lnTo>
                    <a:pt x="330" y="15"/>
                  </a:lnTo>
                  <a:lnTo>
                    <a:pt x="330" y="17"/>
                  </a:lnTo>
                  <a:lnTo>
                    <a:pt x="330" y="15"/>
                  </a:lnTo>
                  <a:lnTo>
                    <a:pt x="329" y="15"/>
                  </a:lnTo>
                  <a:lnTo>
                    <a:pt x="330" y="15"/>
                  </a:lnTo>
                  <a:lnTo>
                    <a:pt x="330" y="13"/>
                  </a:lnTo>
                  <a:lnTo>
                    <a:pt x="329" y="13"/>
                  </a:lnTo>
                  <a:lnTo>
                    <a:pt x="329" y="11"/>
                  </a:lnTo>
                  <a:lnTo>
                    <a:pt x="329" y="10"/>
                  </a:lnTo>
                  <a:lnTo>
                    <a:pt x="329" y="8"/>
                  </a:lnTo>
                  <a:lnTo>
                    <a:pt x="329" y="6"/>
                  </a:lnTo>
                  <a:lnTo>
                    <a:pt x="330" y="6"/>
                  </a:lnTo>
                  <a:lnTo>
                    <a:pt x="330" y="4"/>
                  </a:lnTo>
                  <a:lnTo>
                    <a:pt x="332" y="4"/>
                  </a:lnTo>
                  <a:lnTo>
                    <a:pt x="332" y="2"/>
                  </a:lnTo>
                  <a:lnTo>
                    <a:pt x="334" y="2"/>
                  </a:lnTo>
                  <a:lnTo>
                    <a:pt x="336" y="2"/>
                  </a:lnTo>
                  <a:lnTo>
                    <a:pt x="338" y="2"/>
                  </a:lnTo>
                  <a:lnTo>
                    <a:pt x="338" y="0"/>
                  </a:lnTo>
                  <a:lnTo>
                    <a:pt x="338" y="2"/>
                  </a:lnTo>
                  <a:lnTo>
                    <a:pt x="340" y="2"/>
                  </a:lnTo>
                  <a:lnTo>
                    <a:pt x="340" y="4"/>
                  </a:lnTo>
                  <a:lnTo>
                    <a:pt x="338" y="4"/>
                  </a:lnTo>
                  <a:lnTo>
                    <a:pt x="338" y="6"/>
                  </a:lnTo>
                  <a:lnTo>
                    <a:pt x="338" y="8"/>
                  </a:lnTo>
                  <a:lnTo>
                    <a:pt x="340" y="8"/>
                  </a:lnTo>
                  <a:lnTo>
                    <a:pt x="340" y="6"/>
                  </a:lnTo>
                  <a:lnTo>
                    <a:pt x="342" y="6"/>
                  </a:lnTo>
                  <a:lnTo>
                    <a:pt x="340" y="6"/>
                  </a:lnTo>
                  <a:lnTo>
                    <a:pt x="342" y="6"/>
                  </a:lnTo>
                  <a:lnTo>
                    <a:pt x="342" y="8"/>
                  </a:lnTo>
                  <a:lnTo>
                    <a:pt x="342" y="6"/>
                  </a:lnTo>
                  <a:lnTo>
                    <a:pt x="344" y="6"/>
                  </a:lnTo>
                  <a:lnTo>
                    <a:pt x="346" y="6"/>
                  </a:lnTo>
                  <a:lnTo>
                    <a:pt x="348" y="6"/>
                  </a:lnTo>
                  <a:lnTo>
                    <a:pt x="346" y="6"/>
                  </a:lnTo>
                  <a:lnTo>
                    <a:pt x="346" y="8"/>
                  </a:lnTo>
                  <a:lnTo>
                    <a:pt x="348" y="8"/>
                  </a:lnTo>
                  <a:lnTo>
                    <a:pt x="348" y="6"/>
                  </a:lnTo>
                  <a:lnTo>
                    <a:pt x="350" y="6"/>
                  </a:lnTo>
                  <a:lnTo>
                    <a:pt x="350" y="8"/>
                  </a:lnTo>
                  <a:lnTo>
                    <a:pt x="352" y="8"/>
                  </a:lnTo>
                  <a:lnTo>
                    <a:pt x="352" y="6"/>
                  </a:lnTo>
                  <a:lnTo>
                    <a:pt x="354" y="6"/>
                  </a:lnTo>
                  <a:lnTo>
                    <a:pt x="354" y="4"/>
                  </a:lnTo>
                  <a:lnTo>
                    <a:pt x="354" y="6"/>
                  </a:lnTo>
                  <a:lnTo>
                    <a:pt x="355" y="6"/>
                  </a:lnTo>
                  <a:lnTo>
                    <a:pt x="355" y="4"/>
                  </a:lnTo>
                  <a:lnTo>
                    <a:pt x="355" y="6"/>
                  </a:lnTo>
                  <a:lnTo>
                    <a:pt x="355" y="4"/>
                  </a:lnTo>
                  <a:lnTo>
                    <a:pt x="355" y="6"/>
                  </a:lnTo>
                  <a:lnTo>
                    <a:pt x="357" y="6"/>
                  </a:lnTo>
                  <a:lnTo>
                    <a:pt x="357" y="4"/>
                  </a:lnTo>
                  <a:lnTo>
                    <a:pt x="359" y="4"/>
                  </a:lnTo>
                  <a:lnTo>
                    <a:pt x="359" y="6"/>
                  </a:lnTo>
                  <a:lnTo>
                    <a:pt x="361" y="6"/>
                  </a:lnTo>
                  <a:lnTo>
                    <a:pt x="361" y="4"/>
                  </a:lnTo>
                  <a:lnTo>
                    <a:pt x="361" y="6"/>
                  </a:lnTo>
                  <a:lnTo>
                    <a:pt x="363" y="6"/>
                  </a:lnTo>
                  <a:lnTo>
                    <a:pt x="361" y="6"/>
                  </a:lnTo>
                  <a:lnTo>
                    <a:pt x="363" y="6"/>
                  </a:lnTo>
                  <a:lnTo>
                    <a:pt x="363" y="8"/>
                  </a:lnTo>
                  <a:lnTo>
                    <a:pt x="361" y="8"/>
                  </a:lnTo>
                  <a:lnTo>
                    <a:pt x="363" y="8"/>
                  </a:lnTo>
                  <a:lnTo>
                    <a:pt x="361" y="8"/>
                  </a:lnTo>
                  <a:lnTo>
                    <a:pt x="363" y="8"/>
                  </a:lnTo>
                  <a:lnTo>
                    <a:pt x="361" y="8"/>
                  </a:lnTo>
                  <a:lnTo>
                    <a:pt x="361" y="10"/>
                  </a:lnTo>
                  <a:lnTo>
                    <a:pt x="363" y="10"/>
                  </a:lnTo>
                  <a:lnTo>
                    <a:pt x="361" y="10"/>
                  </a:lnTo>
                  <a:lnTo>
                    <a:pt x="363" y="10"/>
                  </a:lnTo>
                  <a:lnTo>
                    <a:pt x="361" y="10"/>
                  </a:lnTo>
                  <a:lnTo>
                    <a:pt x="363" y="10"/>
                  </a:lnTo>
                  <a:lnTo>
                    <a:pt x="363" y="11"/>
                  </a:lnTo>
                  <a:lnTo>
                    <a:pt x="363" y="10"/>
                  </a:lnTo>
                  <a:lnTo>
                    <a:pt x="365" y="10"/>
                  </a:lnTo>
                  <a:lnTo>
                    <a:pt x="365" y="11"/>
                  </a:lnTo>
                  <a:lnTo>
                    <a:pt x="367" y="11"/>
                  </a:lnTo>
                  <a:lnTo>
                    <a:pt x="367" y="13"/>
                  </a:lnTo>
                  <a:lnTo>
                    <a:pt x="365" y="13"/>
                  </a:lnTo>
                  <a:lnTo>
                    <a:pt x="365" y="15"/>
                  </a:lnTo>
                  <a:lnTo>
                    <a:pt x="365" y="17"/>
                  </a:lnTo>
                  <a:lnTo>
                    <a:pt x="365" y="15"/>
                  </a:lnTo>
                  <a:lnTo>
                    <a:pt x="365" y="17"/>
                  </a:lnTo>
                  <a:lnTo>
                    <a:pt x="363" y="17"/>
                  </a:lnTo>
                  <a:lnTo>
                    <a:pt x="363" y="19"/>
                  </a:lnTo>
                  <a:lnTo>
                    <a:pt x="363" y="17"/>
                  </a:lnTo>
                  <a:lnTo>
                    <a:pt x="363" y="19"/>
                  </a:lnTo>
                  <a:lnTo>
                    <a:pt x="363" y="17"/>
                  </a:lnTo>
                  <a:lnTo>
                    <a:pt x="363" y="19"/>
                  </a:lnTo>
                  <a:lnTo>
                    <a:pt x="361" y="19"/>
                  </a:lnTo>
                  <a:lnTo>
                    <a:pt x="359" y="19"/>
                  </a:lnTo>
                  <a:lnTo>
                    <a:pt x="359" y="21"/>
                  </a:lnTo>
                  <a:lnTo>
                    <a:pt x="359" y="23"/>
                  </a:lnTo>
                  <a:lnTo>
                    <a:pt x="357" y="23"/>
                  </a:lnTo>
                  <a:lnTo>
                    <a:pt x="359" y="23"/>
                  </a:lnTo>
                  <a:lnTo>
                    <a:pt x="357" y="23"/>
                  </a:lnTo>
                  <a:lnTo>
                    <a:pt x="357" y="25"/>
                  </a:lnTo>
                  <a:lnTo>
                    <a:pt x="359" y="25"/>
                  </a:lnTo>
                  <a:lnTo>
                    <a:pt x="359" y="27"/>
                  </a:lnTo>
                  <a:lnTo>
                    <a:pt x="357" y="27"/>
                  </a:lnTo>
                  <a:lnTo>
                    <a:pt x="359" y="27"/>
                  </a:lnTo>
                  <a:lnTo>
                    <a:pt x="357" y="27"/>
                  </a:lnTo>
                  <a:lnTo>
                    <a:pt x="357" y="29"/>
                  </a:lnTo>
                  <a:lnTo>
                    <a:pt x="359" y="29"/>
                  </a:lnTo>
                  <a:lnTo>
                    <a:pt x="359" y="31"/>
                  </a:lnTo>
                  <a:lnTo>
                    <a:pt x="357" y="31"/>
                  </a:lnTo>
                  <a:lnTo>
                    <a:pt x="357" y="33"/>
                  </a:lnTo>
                  <a:lnTo>
                    <a:pt x="359" y="33"/>
                  </a:lnTo>
                  <a:lnTo>
                    <a:pt x="357" y="33"/>
                  </a:lnTo>
                  <a:lnTo>
                    <a:pt x="357" y="35"/>
                  </a:lnTo>
                  <a:lnTo>
                    <a:pt x="359" y="35"/>
                  </a:lnTo>
                  <a:lnTo>
                    <a:pt x="359" y="36"/>
                  </a:lnTo>
                  <a:lnTo>
                    <a:pt x="357" y="36"/>
                  </a:lnTo>
                  <a:lnTo>
                    <a:pt x="357" y="38"/>
                  </a:lnTo>
                  <a:lnTo>
                    <a:pt x="355" y="38"/>
                  </a:lnTo>
                  <a:lnTo>
                    <a:pt x="355" y="40"/>
                  </a:lnTo>
                  <a:lnTo>
                    <a:pt x="357" y="40"/>
                  </a:lnTo>
                  <a:lnTo>
                    <a:pt x="357" y="42"/>
                  </a:lnTo>
                  <a:lnTo>
                    <a:pt x="357" y="44"/>
                  </a:lnTo>
                  <a:lnTo>
                    <a:pt x="357" y="46"/>
                  </a:lnTo>
                  <a:lnTo>
                    <a:pt x="355" y="46"/>
                  </a:lnTo>
                  <a:lnTo>
                    <a:pt x="355" y="48"/>
                  </a:lnTo>
                  <a:lnTo>
                    <a:pt x="355" y="50"/>
                  </a:lnTo>
                  <a:lnTo>
                    <a:pt x="354" y="50"/>
                  </a:lnTo>
                  <a:lnTo>
                    <a:pt x="352" y="50"/>
                  </a:lnTo>
                  <a:lnTo>
                    <a:pt x="350" y="50"/>
                  </a:lnTo>
                  <a:lnTo>
                    <a:pt x="348" y="50"/>
                  </a:lnTo>
                  <a:lnTo>
                    <a:pt x="350" y="50"/>
                  </a:lnTo>
                  <a:lnTo>
                    <a:pt x="350" y="52"/>
                  </a:lnTo>
                  <a:lnTo>
                    <a:pt x="352" y="52"/>
                  </a:lnTo>
                  <a:lnTo>
                    <a:pt x="352" y="54"/>
                  </a:lnTo>
                  <a:lnTo>
                    <a:pt x="352" y="56"/>
                  </a:lnTo>
                  <a:lnTo>
                    <a:pt x="352" y="58"/>
                  </a:lnTo>
                  <a:lnTo>
                    <a:pt x="354" y="58"/>
                  </a:lnTo>
                  <a:lnTo>
                    <a:pt x="354" y="60"/>
                  </a:lnTo>
                  <a:lnTo>
                    <a:pt x="355" y="60"/>
                  </a:lnTo>
                  <a:lnTo>
                    <a:pt x="355" y="61"/>
                  </a:lnTo>
                  <a:lnTo>
                    <a:pt x="355" y="63"/>
                  </a:lnTo>
                  <a:lnTo>
                    <a:pt x="355" y="65"/>
                  </a:lnTo>
                  <a:lnTo>
                    <a:pt x="354" y="65"/>
                  </a:lnTo>
                  <a:lnTo>
                    <a:pt x="354" y="67"/>
                  </a:lnTo>
                  <a:lnTo>
                    <a:pt x="352" y="67"/>
                  </a:lnTo>
                  <a:lnTo>
                    <a:pt x="352" y="69"/>
                  </a:lnTo>
                  <a:lnTo>
                    <a:pt x="352" y="71"/>
                  </a:lnTo>
                  <a:lnTo>
                    <a:pt x="352" y="73"/>
                  </a:lnTo>
                  <a:lnTo>
                    <a:pt x="350" y="73"/>
                  </a:lnTo>
                  <a:lnTo>
                    <a:pt x="352" y="73"/>
                  </a:lnTo>
                  <a:lnTo>
                    <a:pt x="352" y="75"/>
                  </a:lnTo>
                  <a:lnTo>
                    <a:pt x="354" y="75"/>
                  </a:lnTo>
                  <a:lnTo>
                    <a:pt x="354" y="77"/>
                  </a:lnTo>
                  <a:lnTo>
                    <a:pt x="355" y="77"/>
                  </a:lnTo>
                  <a:lnTo>
                    <a:pt x="357" y="77"/>
                  </a:lnTo>
                  <a:lnTo>
                    <a:pt x="355" y="77"/>
                  </a:lnTo>
                  <a:lnTo>
                    <a:pt x="355" y="79"/>
                  </a:lnTo>
                  <a:lnTo>
                    <a:pt x="355" y="81"/>
                  </a:lnTo>
                  <a:lnTo>
                    <a:pt x="355" y="79"/>
                  </a:lnTo>
                  <a:lnTo>
                    <a:pt x="355" y="81"/>
                  </a:lnTo>
                  <a:lnTo>
                    <a:pt x="355" y="79"/>
                  </a:lnTo>
                  <a:lnTo>
                    <a:pt x="355" y="81"/>
                  </a:lnTo>
                  <a:lnTo>
                    <a:pt x="355" y="79"/>
                  </a:lnTo>
                  <a:lnTo>
                    <a:pt x="354" y="79"/>
                  </a:lnTo>
                  <a:lnTo>
                    <a:pt x="354" y="81"/>
                  </a:lnTo>
                  <a:lnTo>
                    <a:pt x="354" y="79"/>
                  </a:lnTo>
                  <a:lnTo>
                    <a:pt x="354" y="81"/>
                  </a:lnTo>
                  <a:lnTo>
                    <a:pt x="352" y="81"/>
                  </a:lnTo>
                  <a:lnTo>
                    <a:pt x="352" y="83"/>
                  </a:lnTo>
                  <a:lnTo>
                    <a:pt x="352" y="84"/>
                  </a:lnTo>
                  <a:lnTo>
                    <a:pt x="350" y="84"/>
                  </a:lnTo>
                  <a:lnTo>
                    <a:pt x="350" y="86"/>
                  </a:lnTo>
                  <a:lnTo>
                    <a:pt x="348" y="86"/>
                  </a:lnTo>
                  <a:lnTo>
                    <a:pt x="350" y="86"/>
                  </a:lnTo>
                  <a:lnTo>
                    <a:pt x="348" y="86"/>
                  </a:lnTo>
                  <a:lnTo>
                    <a:pt x="348" y="88"/>
                  </a:lnTo>
                  <a:lnTo>
                    <a:pt x="348" y="90"/>
                  </a:lnTo>
                  <a:lnTo>
                    <a:pt x="350" y="90"/>
                  </a:lnTo>
                  <a:lnTo>
                    <a:pt x="348" y="90"/>
                  </a:lnTo>
                  <a:lnTo>
                    <a:pt x="350" y="90"/>
                  </a:lnTo>
                  <a:lnTo>
                    <a:pt x="350" y="92"/>
                  </a:lnTo>
                  <a:lnTo>
                    <a:pt x="350" y="94"/>
                  </a:lnTo>
                  <a:close/>
                  <a:moveTo>
                    <a:pt x="81" y="83"/>
                  </a:moveTo>
                  <a:lnTo>
                    <a:pt x="83" y="83"/>
                  </a:lnTo>
                  <a:lnTo>
                    <a:pt x="83" y="84"/>
                  </a:lnTo>
                  <a:lnTo>
                    <a:pt x="85" y="84"/>
                  </a:lnTo>
                  <a:lnTo>
                    <a:pt x="85" y="83"/>
                  </a:lnTo>
                  <a:lnTo>
                    <a:pt x="85" y="84"/>
                  </a:lnTo>
                  <a:lnTo>
                    <a:pt x="85" y="83"/>
                  </a:lnTo>
                  <a:lnTo>
                    <a:pt x="85" y="84"/>
                  </a:lnTo>
                  <a:lnTo>
                    <a:pt x="85" y="83"/>
                  </a:lnTo>
                  <a:lnTo>
                    <a:pt x="85" y="84"/>
                  </a:lnTo>
                  <a:lnTo>
                    <a:pt x="85" y="83"/>
                  </a:lnTo>
                  <a:lnTo>
                    <a:pt x="85" y="84"/>
                  </a:lnTo>
                  <a:lnTo>
                    <a:pt x="87" y="84"/>
                  </a:lnTo>
                  <a:lnTo>
                    <a:pt x="87" y="83"/>
                  </a:lnTo>
                  <a:lnTo>
                    <a:pt x="87" y="84"/>
                  </a:lnTo>
                  <a:lnTo>
                    <a:pt x="87" y="83"/>
                  </a:lnTo>
                  <a:lnTo>
                    <a:pt x="87" y="84"/>
                  </a:lnTo>
                  <a:lnTo>
                    <a:pt x="87" y="83"/>
                  </a:lnTo>
                  <a:lnTo>
                    <a:pt x="87" y="84"/>
                  </a:lnTo>
                  <a:lnTo>
                    <a:pt x="87" y="83"/>
                  </a:lnTo>
                  <a:lnTo>
                    <a:pt x="89" y="83"/>
                  </a:lnTo>
                  <a:lnTo>
                    <a:pt x="91" y="83"/>
                  </a:lnTo>
                  <a:lnTo>
                    <a:pt x="91" y="84"/>
                  </a:lnTo>
                  <a:lnTo>
                    <a:pt x="89" y="84"/>
                  </a:lnTo>
                  <a:lnTo>
                    <a:pt x="87" y="84"/>
                  </a:lnTo>
                  <a:lnTo>
                    <a:pt x="87" y="86"/>
                  </a:lnTo>
                  <a:lnTo>
                    <a:pt x="85" y="86"/>
                  </a:lnTo>
                  <a:lnTo>
                    <a:pt x="85" y="84"/>
                  </a:lnTo>
                  <a:lnTo>
                    <a:pt x="83" y="84"/>
                  </a:lnTo>
                  <a:lnTo>
                    <a:pt x="81" y="84"/>
                  </a:lnTo>
                  <a:lnTo>
                    <a:pt x="79" y="84"/>
                  </a:lnTo>
                  <a:lnTo>
                    <a:pt x="79" y="83"/>
                  </a:lnTo>
                  <a:lnTo>
                    <a:pt x="81" y="83"/>
                  </a:lnTo>
                  <a:close/>
                  <a:moveTo>
                    <a:pt x="206" y="173"/>
                  </a:moveTo>
                  <a:lnTo>
                    <a:pt x="208" y="173"/>
                  </a:lnTo>
                  <a:lnTo>
                    <a:pt x="210" y="173"/>
                  </a:lnTo>
                  <a:lnTo>
                    <a:pt x="211" y="173"/>
                  </a:lnTo>
                  <a:lnTo>
                    <a:pt x="211" y="175"/>
                  </a:lnTo>
                  <a:lnTo>
                    <a:pt x="213" y="175"/>
                  </a:lnTo>
                  <a:lnTo>
                    <a:pt x="211" y="175"/>
                  </a:lnTo>
                  <a:lnTo>
                    <a:pt x="211" y="177"/>
                  </a:lnTo>
                  <a:lnTo>
                    <a:pt x="210" y="177"/>
                  </a:lnTo>
                  <a:lnTo>
                    <a:pt x="211" y="177"/>
                  </a:lnTo>
                  <a:lnTo>
                    <a:pt x="210" y="177"/>
                  </a:lnTo>
                  <a:lnTo>
                    <a:pt x="211" y="177"/>
                  </a:lnTo>
                  <a:lnTo>
                    <a:pt x="210" y="177"/>
                  </a:lnTo>
                  <a:lnTo>
                    <a:pt x="208" y="177"/>
                  </a:lnTo>
                  <a:lnTo>
                    <a:pt x="208" y="175"/>
                  </a:lnTo>
                  <a:lnTo>
                    <a:pt x="206" y="175"/>
                  </a:lnTo>
                  <a:lnTo>
                    <a:pt x="208" y="175"/>
                  </a:lnTo>
                  <a:lnTo>
                    <a:pt x="206" y="175"/>
                  </a:lnTo>
                  <a:lnTo>
                    <a:pt x="206" y="173"/>
                  </a:lnTo>
                  <a:close/>
                  <a:moveTo>
                    <a:pt x="43" y="69"/>
                  </a:moveTo>
                  <a:lnTo>
                    <a:pt x="43" y="71"/>
                  </a:lnTo>
                  <a:lnTo>
                    <a:pt x="45" y="71"/>
                  </a:lnTo>
                  <a:lnTo>
                    <a:pt x="46" y="71"/>
                  </a:lnTo>
                  <a:lnTo>
                    <a:pt x="46" y="73"/>
                  </a:lnTo>
                  <a:lnTo>
                    <a:pt x="46" y="71"/>
                  </a:lnTo>
                  <a:lnTo>
                    <a:pt x="46" y="73"/>
                  </a:lnTo>
                  <a:lnTo>
                    <a:pt x="46" y="71"/>
                  </a:lnTo>
                  <a:lnTo>
                    <a:pt x="46" y="73"/>
                  </a:lnTo>
                  <a:lnTo>
                    <a:pt x="48" y="73"/>
                  </a:lnTo>
                  <a:lnTo>
                    <a:pt x="46" y="73"/>
                  </a:lnTo>
                  <a:lnTo>
                    <a:pt x="45" y="73"/>
                  </a:lnTo>
                  <a:lnTo>
                    <a:pt x="43" y="73"/>
                  </a:lnTo>
                  <a:lnTo>
                    <a:pt x="41" y="73"/>
                  </a:lnTo>
                  <a:lnTo>
                    <a:pt x="41" y="71"/>
                  </a:lnTo>
                  <a:lnTo>
                    <a:pt x="41" y="69"/>
                  </a:lnTo>
                  <a:lnTo>
                    <a:pt x="43" y="69"/>
                  </a:lnTo>
                  <a:close/>
                  <a:moveTo>
                    <a:pt x="60" y="65"/>
                  </a:moveTo>
                  <a:lnTo>
                    <a:pt x="62" y="65"/>
                  </a:lnTo>
                  <a:lnTo>
                    <a:pt x="62" y="67"/>
                  </a:lnTo>
                  <a:lnTo>
                    <a:pt x="62" y="69"/>
                  </a:lnTo>
                  <a:lnTo>
                    <a:pt x="62" y="67"/>
                  </a:lnTo>
                  <a:lnTo>
                    <a:pt x="62" y="69"/>
                  </a:lnTo>
                  <a:lnTo>
                    <a:pt x="60" y="69"/>
                  </a:lnTo>
                  <a:lnTo>
                    <a:pt x="60" y="67"/>
                  </a:lnTo>
                  <a:lnTo>
                    <a:pt x="60" y="69"/>
                  </a:lnTo>
                  <a:lnTo>
                    <a:pt x="60" y="67"/>
                  </a:lnTo>
                  <a:lnTo>
                    <a:pt x="60" y="69"/>
                  </a:lnTo>
                  <a:lnTo>
                    <a:pt x="60" y="67"/>
                  </a:lnTo>
                  <a:lnTo>
                    <a:pt x="60" y="69"/>
                  </a:lnTo>
                  <a:lnTo>
                    <a:pt x="60" y="67"/>
                  </a:lnTo>
                  <a:lnTo>
                    <a:pt x="58" y="67"/>
                  </a:lnTo>
                  <a:lnTo>
                    <a:pt x="58" y="65"/>
                  </a:lnTo>
                  <a:lnTo>
                    <a:pt x="60" y="65"/>
                  </a:lnTo>
                  <a:close/>
                  <a:moveTo>
                    <a:pt x="45" y="65"/>
                  </a:moveTo>
                  <a:lnTo>
                    <a:pt x="45" y="67"/>
                  </a:lnTo>
                  <a:lnTo>
                    <a:pt x="46" y="67"/>
                  </a:lnTo>
                  <a:lnTo>
                    <a:pt x="48" y="67"/>
                  </a:lnTo>
                  <a:lnTo>
                    <a:pt x="48" y="69"/>
                  </a:lnTo>
                  <a:lnTo>
                    <a:pt x="50" y="69"/>
                  </a:lnTo>
                  <a:lnTo>
                    <a:pt x="52" y="69"/>
                  </a:lnTo>
                  <a:lnTo>
                    <a:pt x="52" y="71"/>
                  </a:lnTo>
                  <a:lnTo>
                    <a:pt x="50" y="71"/>
                  </a:lnTo>
                  <a:lnTo>
                    <a:pt x="50" y="69"/>
                  </a:lnTo>
                  <a:lnTo>
                    <a:pt x="48" y="69"/>
                  </a:lnTo>
                  <a:lnTo>
                    <a:pt x="46" y="69"/>
                  </a:lnTo>
                  <a:lnTo>
                    <a:pt x="46" y="67"/>
                  </a:lnTo>
                  <a:lnTo>
                    <a:pt x="45" y="67"/>
                  </a:lnTo>
                  <a:lnTo>
                    <a:pt x="45" y="65"/>
                  </a:lnTo>
                  <a:close/>
                  <a:moveTo>
                    <a:pt x="37" y="69"/>
                  </a:moveTo>
                  <a:lnTo>
                    <a:pt x="39" y="69"/>
                  </a:lnTo>
                  <a:lnTo>
                    <a:pt x="39" y="71"/>
                  </a:lnTo>
                  <a:lnTo>
                    <a:pt x="37" y="71"/>
                  </a:lnTo>
                  <a:lnTo>
                    <a:pt x="37" y="69"/>
                  </a:lnTo>
                  <a:close/>
                  <a:moveTo>
                    <a:pt x="0" y="52"/>
                  </a:moveTo>
                  <a:lnTo>
                    <a:pt x="2" y="52"/>
                  </a:lnTo>
                  <a:lnTo>
                    <a:pt x="2" y="54"/>
                  </a:lnTo>
                  <a:lnTo>
                    <a:pt x="0" y="54"/>
                  </a:lnTo>
                  <a:lnTo>
                    <a:pt x="0" y="52"/>
                  </a:lnTo>
                  <a:close/>
                  <a:moveTo>
                    <a:pt x="89" y="98"/>
                  </a:moveTo>
                  <a:lnTo>
                    <a:pt x="92" y="98"/>
                  </a:lnTo>
                  <a:lnTo>
                    <a:pt x="92" y="100"/>
                  </a:lnTo>
                  <a:lnTo>
                    <a:pt x="89" y="100"/>
                  </a:lnTo>
                  <a:lnTo>
                    <a:pt x="89" y="98"/>
                  </a:lnTo>
                  <a:close/>
                  <a:moveTo>
                    <a:pt x="46" y="60"/>
                  </a:moveTo>
                  <a:lnTo>
                    <a:pt x="48" y="60"/>
                  </a:lnTo>
                  <a:lnTo>
                    <a:pt x="48" y="61"/>
                  </a:lnTo>
                  <a:lnTo>
                    <a:pt x="46" y="61"/>
                  </a:lnTo>
                  <a:lnTo>
                    <a:pt x="46" y="60"/>
                  </a:lnTo>
                  <a:close/>
                  <a:moveTo>
                    <a:pt x="217" y="169"/>
                  </a:moveTo>
                  <a:lnTo>
                    <a:pt x="219" y="169"/>
                  </a:lnTo>
                  <a:lnTo>
                    <a:pt x="217" y="169"/>
                  </a:lnTo>
                  <a:close/>
                  <a:moveTo>
                    <a:pt x="2" y="48"/>
                  </a:moveTo>
                  <a:lnTo>
                    <a:pt x="4" y="48"/>
                  </a:lnTo>
                  <a:lnTo>
                    <a:pt x="2" y="48"/>
                  </a:lnTo>
                  <a:close/>
                  <a:moveTo>
                    <a:pt x="215" y="179"/>
                  </a:moveTo>
                  <a:lnTo>
                    <a:pt x="217" y="179"/>
                  </a:lnTo>
                  <a:lnTo>
                    <a:pt x="215" y="179"/>
                  </a:lnTo>
                  <a:close/>
                  <a:moveTo>
                    <a:pt x="325" y="63"/>
                  </a:moveTo>
                  <a:lnTo>
                    <a:pt x="327" y="63"/>
                  </a:lnTo>
                  <a:lnTo>
                    <a:pt x="327" y="65"/>
                  </a:lnTo>
                  <a:lnTo>
                    <a:pt x="325" y="65"/>
                  </a:lnTo>
                  <a:lnTo>
                    <a:pt x="325" y="63"/>
                  </a:lnTo>
                  <a:close/>
                  <a:moveTo>
                    <a:pt x="225" y="219"/>
                  </a:moveTo>
                  <a:lnTo>
                    <a:pt x="227" y="219"/>
                  </a:lnTo>
                  <a:lnTo>
                    <a:pt x="225" y="219"/>
                  </a:lnTo>
                  <a:close/>
                  <a:moveTo>
                    <a:pt x="217" y="169"/>
                  </a:moveTo>
                  <a:lnTo>
                    <a:pt x="219" y="169"/>
                  </a:lnTo>
                  <a:lnTo>
                    <a:pt x="219" y="171"/>
                  </a:lnTo>
                  <a:lnTo>
                    <a:pt x="217" y="171"/>
                  </a:lnTo>
                  <a:lnTo>
                    <a:pt x="217" y="169"/>
                  </a:lnTo>
                  <a:close/>
                  <a:moveTo>
                    <a:pt x="85" y="86"/>
                  </a:moveTo>
                  <a:lnTo>
                    <a:pt x="87" y="86"/>
                  </a:lnTo>
                  <a:lnTo>
                    <a:pt x="85" y="86"/>
                  </a:lnTo>
                  <a:close/>
                  <a:moveTo>
                    <a:pt x="219" y="167"/>
                  </a:moveTo>
                  <a:lnTo>
                    <a:pt x="219" y="169"/>
                  </a:lnTo>
                  <a:lnTo>
                    <a:pt x="219" y="167"/>
                  </a:lnTo>
                  <a:close/>
                  <a:moveTo>
                    <a:pt x="319" y="65"/>
                  </a:moveTo>
                  <a:lnTo>
                    <a:pt x="319" y="67"/>
                  </a:lnTo>
                  <a:lnTo>
                    <a:pt x="319" y="65"/>
                  </a:lnTo>
                  <a:close/>
                  <a:moveTo>
                    <a:pt x="215" y="177"/>
                  </a:moveTo>
                  <a:lnTo>
                    <a:pt x="215" y="179"/>
                  </a:lnTo>
                  <a:lnTo>
                    <a:pt x="215" y="17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293">
              <a:extLst>
                <a:ext uri="{FF2B5EF4-FFF2-40B4-BE49-F238E27FC236}">
                  <a16:creationId xmlns:a16="http://schemas.microsoft.com/office/drawing/2014/main" id="{843FA9C4-0350-4673-A35D-7C9F7CE34830}"/>
                </a:ext>
              </a:extLst>
            </p:cNvPr>
            <p:cNvSpPr>
              <a:spLocks noEditPoints="1"/>
            </p:cNvSpPr>
            <p:nvPr/>
          </p:nvSpPr>
          <p:spPr bwMode="gray">
            <a:xfrm>
              <a:off x="2883272" y="3489681"/>
              <a:ext cx="402252" cy="360555"/>
            </a:xfrm>
            <a:custGeom>
              <a:avLst/>
              <a:gdLst>
                <a:gd name="T0" fmla="*/ 250 w 328"/>
                <a:gd name="T1" fmla="*/ 16 h 294"/>
                <a:gd name="T2" fmla="*/ 265 w 328"/>
                <a:gd name="T3" fmla="*/ 23 h 294"/>
                <a:gd name="T4" fmla="*/ 282 w 328"/>
                <a:gd name="T5" fmla="*/ 23 h 294"/>
                <a:gd name="T6" fmla="*/ 302 w 328"/>
                <a:gd name="T7" fmla="*/ 29 h 294"/>
                <a:gd name="T8" fmla="*/ 313 w 328"/>
                <a:gd name="T9" fmla="*/ 29 h 294"/>
                <a:gd name="T10" fmla="*/ 313 w 328"/>
                <a:gd name="T11" fmla="*/ 31 h 294"/>
                <a:gd name="T12" fmla="*/ 313 w 328"/>
                <a:gd name="T13" fmla="*/ 37 h 294"/>
                <a:gd name="T14" fmla="*/ 298 w 328"/>
                <a:gd name="T15" fmla="*/ 50 h 294"/>
                <a:gd name="T16" fmla="*/ 284 w 328"/>
                <a:gd name="T17" fmla="*/ 54 h 294"/>
                <a:gd name="T18" fmla="*/ 277 w 328"/>
                <a:gd name="T19" fmla="*/ 60 h 294"/>
                <a:gd name="T20" fmla="*/ 273 w 328"/>
                <a:gd name="T21" fmla="*/ 66 h 294"/>
                <a:gd name="T22" fmla="*/ 267 w 328"/>
                <a:gd name="T23" fmla="*/ 77 h 294"/>
                <a:gd name="T24" fmla="*/ 263 w 328"/>
                <a:gd name="T25" fmla="*/ 94 h 294"/>
                <a:gd name="T26" fmla="*/ 257 w 328"/>
                <a:gd name="T27" fmla="*/ 110 h 294"/>
                <a:gd name="T28" fmla="*/ 252 w 328"/>
                <a:gd name="T29" fmla="*/ 121 h 294"/>
                <a:gd name="T30" fmla="*/ 236 w 328"/>
                <a:gd name="T31" fmla="*/ 133 h 294"/>
                <a:gd name="T32" fmla="*/ 211 w 328"/>
                <a:gd name="T33" fmla="*/ 137 h 294"/>
                <a:gd name="T34" fmla="*/ 185 w 328"/>
                <a:gd name="T35" fmla="*/ 148 h 294"/>
                <a:gd name="T36" fmla="*/ 175 w 328"/>
                <a:gd name="T37" fmla="*/ 141 h 294"/>
                <a:gd name="T38" fmla="*/ 163 w 328"/>
                <a:gd name="T39" fmla="*/ 129 h 294"/>
                <a:gd name="T40" fmla="*/ 156 w 328"/>
                <a:gd name="T41" fmla="*/ 123 h 294"/>
                <a:gd name="T42" fmla="*/ 163 w 328"/>
                <a:gd name="T43" fmla="*/ 114 h 294"/>
                <a:gd name="T44" fmla="*/ 163 w 328"/>
                <a:gd name="T45" fmla="*/ 96 h 294"/>
                <a:gd name="T46" fmla="*/ 165 w 328"/>
                <a:gd name="T47" fmla="*/ 77 h 294"/>
                <a:gd name="T48" fmla="*/ 165 w 328"/>
                <a:gd name="T49" fmla="*/ 60 h 294"/>
                <a:gd name="T50" fmla="*/ 173 w 328"/>
                <a:gd name="T51" fmla="*/ 50 h 294"/>
                <a:gd name="T52" fmla="*/ 169 w 328"/>
                <a:gd name="T53" fmla="*/ 41 h 294"/>
                <a:gd name="T54" fmla="*/ 162 w 328"/>
                <a:gd name="T55" fmla="*/ 39 h 294"/>
                <a:gd name="T56" fmla="*/ 146 w 328"/>
                <a:gd name="T57" fmla="*/ 41 h 294"/>
                <a:gd name="T58" fmla="*/ 137 w 328"/>
                <a:gd name="T59" fmla="*/ 33 h 294"/>
                <a:gd name="T60" fmla="*/ 138 w 328"/>
                <a:gd name="T61" fmla="*/ 25 h 294"/>
                <a:gd name="T62" fmla="*/ 135 w 328"/>
                <a:gd name="T63" fmla="*/ 23 h 294"/>
                <a:gd name="T64" fmla="*/ 133 w 328"/>
                <a:gd name="T65" fmla="*/ 16 h 294"/>
                <a:gd name="T66" fmla="*/ 138 w 328"/>
                <a:gd name="T67" fmla="*/ 12 h 294"/>
                <a:gd name="T68" fmla="*/ 144 w 328"/>
                <a:gd name="T69" fmla="*/ 8 h 294"/>
                <a:gd name="T70" fmla="*/ 146 w 328"/>
                <a:gd name="T71" fmla="*/ 4 h 294"/>
                <a:gd name="T72" fmla="*/ 154 w 328"/>
                <a:gd name="T73" fmla="*/ 4 h 294"/>
                <a:gd name="T74" fmla="*/ 165 w 328"/>
                <a:gd name="T75" fmla="*/ 6 h 294"/>
                <a:gd name="T76" fmla="*/ 181 w 328"/>
                <a:gd name="T77" fmla="*/ 6 h 294"/>
                <a:gd name="T78" fmla="*/ 202 w 328"/>
                <a:gd name="T79" fmla="*/ 10 h 294"/>
                <a:gd name="T80" fmla="*/ 210 w 328"/>
                <a:gd name="T81" fmla="*/ 8 h 294"/>
                <a:gd name="T82" fmla="*/ 219 w 328"/>
                <a:gd name="T83" fmla="*/ 8 h 294"/>
                <a:gd name="T84" fmla="*/ 233 w 328"/>
                <a:gd name="T85" fmla="*/ 12 h 294"/>
                <a:gd name="T86" fmla="*/ 236 w 328"/>
                <a:gd name="T87" fmla="*/ 10 h 294"/>
                <a:gd name="T88" fmla="*/ 315 w 328"/>
                <a:gd name="T89" fmla="*/ 79 h 294"/>
                <a:gd name="T90" fmla="*/ 307 w 328"/>
                <a:gd name="T91" fmla="*/ 89 h 294"/>
                <a:gd name="T92" fmla="*/ 304 w 328"/>
                <a:gd name="T93" fmla="*/ 87 h 294"/>
                <a:gd name="T94" fmla="*/ 29 w 328"/>
                <a:gd name="T95" fmla="*/ 279 h 294"/>
                <a:gd name="T96" fmla="*/ 21 w 328"/>
                <a:gd name="T97" fmla="*/ 288 h 294"/>
                <a:gd name="T98" fmla="*/ 25 w 328"/>
                <a:gd name="T99" fmla="*/ 279 h 294"/>
                <a:gd name="T100" fmla="*/ 56 w 328"/>
                <a:gd name="T101" fmla="*/ 287 h 294"/>
                <a:gd name="T102" fmla="*/ 62 w 328"/>
                <a:gd name="T103" fmla="*/ 275 h 294"/>
                <a:gd name="T104" fmla="*/ 37 w 328"/>
                <a:gd name="T105" fmla="*/ 287 h 294"/>
                <a:gd name="T106" fmla="*/ 66 w 328"/>
                <a:gd name="T107" fmla="*/ 273 h 294"/>
                <a:gd name="T108" fmla="*/ 327 w 328"/>
                <a:gd name="T109" fmla="*/ 79 h 294"/>
                <a:gd name="T110" fmla="*/ 4 w 328"/>
                <a:gd name="T111" fmla="*/ 275 h 294"/>
                <a:gd name="T112" fmla="*/ 290 w 328"/>
                <a:gd name="T113" fmla="*/ 93 h 294"/>
                <a:gd name="T114" fmla="*/ 16 w 328"/>
                <a:gd name="T115" fmla="*/ 285 h 294"/>
                <a:gd name="T116" fmla="*/ 286 w 328"/>
                <a:gd name="T117" fmla="*/ 98 h 294"/>
                <a:gd name="T118" fmla="*/ 223 w 328"/>
                <a:gd name="T119" fmla="*/ 162 h 294"/>
                <a:gd name="T120" fmla="*/ 256 w 328"/>
                <a:gd name="T121" fmla="*/ 117 h 294"/>
                <a:gd name="T122" fmla="*/ 284 w 328"/>
                <a:gd name="T123" fmla="*/ 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294">
                  <a:moveTo>
                    <a:pt x="240" y="10"/>
                  </a:moveTo>
                  <a:lnTo>
                    <a:pt x="240" y="12"/>
                  </a:lnTo>
                  <a:lnTo>
                    <a:pt x="240" y="10"/>
                  </a:lnTo>
                  <a:lnTo>
                    <a:pt x="242" y="10"/>
                  </a:lnTo>
                  <a:lnTo>
                    <a:pt x="242" y="12"/>
                  </a:lnTo>
                  <a:lnTo>
                    <a:pt x="244" y="12"/>
                  </a:lnTo>
                  <a:lnTo>
                    <a:pt x="242" y="12"/>
                  </a:lnTo>
                  <a:lnTo>
                    <a:pt x="244" y="12"/>
                  </a:lnTo>
                  <a:lnTo>
                    <a:pt x="246" y="12"/>
                  </a:lnTo>
                  <a:lnTo>
                    <a:pt x="246" y="14"/>
                  </a:lnTo>
                  <a:lnTo>
                    <a:pt x="244" y="14"/>
                  </a:lnTo>
                  <a:lnTo>
                    <a:pt x="244" y="16"/>
                  </a:lnTo>
                  <a:lnTo>
                    <a:pt x="246" y="16"/>
                  </a:lnTo>
                  <a:lnTo>
                    <a:pt x="246" y="14"/>
                  </a:lnTo>
                  <a:lnTo>
                    <a:pt x="248" y="14"/>
                  </a:lnTo>
                  <a:lnTo>
                    <a:pt x="248" y="16"/>
                  </a:lnTo>
                  <a:lnTo>
                    <a:pt x="246" y="16"/>
                  </a:lnTo>
                  <a:lnTo>
                    <a:pt x="248" y="16"/>
                  </a:lnTo>
                  <a:lnTo>
                    <a:pt x="250" y="16"/>
                  </a:lnTo>
                  <a:lnTo>
                    <a:pt x="250" y="18"/>
                  </a:lnTo>
                  <a:lnTo>
                    <a:pt x="250" y="16"/>
                  </a:lnTo>
                  <a:lnTo>
                    <a:pt x="250" y="18"/>
                  </a:lnTo>
                  <a:lnTo>
                    <a:pt x="252" y="18"/>
                  </a:lnTo>
                  <a:lnTo>
                    <a:pt x="254" y="18"/>
                  </a:lnTo>
                  <a:lnTo>
                    <a:pt x="256" y="18"/>
                  </a:lnTo>
                  <a:lnTo>
                    <a:pt x="256" y="20"/>
                  </a:lnTo>
                  <a:lnTo>
                    <a:pt x="257" y="20"/>
                  </a:lnTo>
                  <a:lnTo>
                    <a:pt x="257" y="21"/>
                  </a:lnTo>
                  <a:lnTo>
                    <a:pt x="259" y="20"/>
                  </a:lnTo>
                  <a:lnTo>
                    <a:pt x="259" y="21"/>
                  </a:lnTo>
                  <a:lnTo>
                    <a:pt x="261" y="21"/>
                  </a:lnTo>
                  <a:lnTo>
                    <a:pt x="261" y="20"/>
                  </a:lnTo>
                  <a:lnTo>
                    <a:pt x="261" y="21"/>
                  </a:lnTo>
                  <a:lnTo>
                    <a:pt x="263" y="21"/>
                  </a:lnTo>
                  <a:lnTo>
                    <a:pt x="265" y="21"/>
                  </a:lnTo>
                  <a:lnTo>
                    <a:pt x="265" y="23"/>
                  </a:lnTo>
                  <a:lnTo>
                    <a:pt x="267" y="23"/>
                  </a:lnTo>
                  <a:lnTo>
                    <a:pt x="265" y="23"/>
                  </a:lnTo>
                  <a:lnTo>
                    <a:pt x="267" y="23"/>
                  </a:lnTo>
                  <a:lnTo>
                    <a:pt x="269" y="23"/>
                  </a:lnTo>
                  <a:lnTo>
                    <a:pt x="269" y="21"/>
                  </a:lnTo>
                  <a:lnTo>
                    <a:pt x="269" y="23"/>
                  </a:lnTo>
                  <a:lnTo>
                    <a:pt x="271" y="23"/>
                  </a:lnTo>
                  <a:lnTo>
                    <a:pt x="273" y="23"/>
                  </a:lnTo>
                  <a:lnTo>
                    <a:pt x="275" y="23"/>
                  </a:lnTo>
                  <a:lnTo>
                    <a:pt x="277" y="23"/>
                  </a:lnTo>
                  <a:lnTo>
                    <a:pt x="277" y="21"/>
                  </a:lnTo>
                  <a:lnTo>
                    <a:pt x="275" y="21"/>
                  </a:lnTo>
                  <a:lnTo>
                    <a:pt x="277" y="21"/>
                  </a:lnTo>
                  <a:lnTo>
                    <a:pt x="275" y="21"/>
                  </a:lnTo>
                  <a:lnTo>
                    <a:pt x="275" y="20"/>
                  </a:lnTo>
                  <a:lnTo>
                    <a:pt x="277" y="20"/>
                  </a:lnTo>
                  <a:lnTo>
                    <a:pt x="279" y="20"/>
                  </a:lnTo>
                  <a:lnTo>
                    <a:pt x="279" y="21"/>
                  </a:lnTo>
                  <a:lnTo>
                    <a:pt x="281" y="21"/>
                  </a:lnTo>
                  <a:lnTo>
                    <a:pt x="282" y="21"/>
                  </a:lnTo>
                  <a:lnTo>
                    <a:pt x="282" y="23"/>
                  </a:lnTo>
                  <a:lnTo>
                    <a:pt x="284" y="23"/>
                  </a:lnTo>
                  <a:lnTo>
                    <a:pt x="286" y="23"/>
                  </a:lnTo>
                  <a:lnTo>
                    <a:pt x="286" y="25"/>
                  </a:lnTo>
                  <a:lnTo>
                    <a:pt x="286" y="27"/>
                  </a:lnTo>
                  <a:lnTo>
                    <a:pt x="288" y="27"/>
                  </a:lnTo>
                  <a:lnTo>
                    <a:pt x="286" y="27"/>
                  </a:lnTo>
                  <a:lnTo>
                    <a:pt x="286" y="29"/>
                  </a:lnTo>
                  <a:lnTo>
                    <a:pt x="288" y="29"/>
                  </a:lnTo>
                  <a:lnTo>
                    <a:pt x="288" y="27"/>
                  </a:lnTo>
                  <a:lnTo>
                    <a:pt x="290" y="27"/>
                  </a:lnTo>
                  <a:lnTo>
                    <a:pt x="292" y="27"/>
                  </a:lnTo>
                  <a:lnTo>
                    <a:pt x="294" y="27"/>
                  </a:lnTo>
                  <a:lnTo>
                    <a:pt x="294" y="29"/>
                  </a:lnTo>
                  <a:lnTo>
                    <a:pt x="296" y="29"/>
                  </a:lnTo>
                  <a:lnTo>
                    <a:pt x="298" y="29"/>
                  </a:lnTo>
                  <a:lnTo>
                    <a:pt x="300" y="29"/>
                  </a:lnTo>
                  <a:lnTo>
                    <a:pt x="300" y="27"/>
                  </a:lnTo>
                  <a:lnTo>
                    <a:pt x="300" y="29"/>
                  </a:lnTo>
                  <a:lnTo>
                    <a:pt x="302" y="29"/>
                  </a:lnTo>
                  <a:lnTo>
                    <a:pt x="302" y="31"/>
                  </a:lnTo>
                  <a:lnTo>
                    <a:pt x="302" y="29"/>
                  </a:lnTo>
                  <a:lnTo>
                    <a:pt x="304" y="31"/>
                  </a:lnTo>
                  <a:lnTo>
                    <a:pt x="304" y="29"/>
                  </a:lnTo>
                  <a:lnTo>
                    <a:pt x="305" y="29"/>
                  </a:lnTo>
                  <a:lnTo>
                    <a:pt x="305" y="31"/>
                  </a:lnTo>
                  <a:lnTo>
                    <a:pt x="305" y="29"/>
                  </a:lnTo>
                  <a:lnTo>
                    <a:pt x="305" y="31"/>
                  </a:lnTo>
                  <a:lnTo>
                    <a:pt x="305" y="29"/>
                  </a:lnTo>
                  <a:lnTo>
                    <a:pt x="307" y="29"/>
                  </a:lnTo>
                  <a:lnTo>
                    <a:pt x="307" y="27"/>
                  </a:lnTo>
                  <a:lnTo>
                    <a:pt x="309" y="27"/>
                  </a:lnTo>
                  <a:lnTo>
                    <a:pt x="311" y="27"/>
                  </a:lnTo>
                  <a:lnTo>
                    <a:pt x="311" y="29"/>
                  </a:lnTo>
                  <a:lnTo>
                    <a:pt x="313" y="29"/>
                  </a:lnTo>
                  <a:lnTo>
                    <a:pt x="311" y="29"/>
                  </a:lnTo>
                  <a:lnTo>
                    <a:pt x="313" y="29"/>
                  </a:lnTo>
                  <a:lnTo>
                    <a:pt x="311" y="29"/>
                  </a:lnTo>
                  <a:lnTo>
                    <a:pt x="313" y="29"/>
                  </a:lnTo>
                  <a:lnTo>
                    <a:pt x="311" y="29"/>
                  </a:lnTo>
                  <a:lnTo>
                    <a:pt x="313" y="29"/>
                  </a:lnTo>
                  <a:lnTo>
                    <a:pt x="311" y="29"/>
                  </a:lnTo>
                  <a:lnTo>
                    <a:pt x="313" y="29"/>
                  </a:lnTo>
                  <a:lnTo>
                    <a:pt x="311" y="29"/>
                  </a:lnTo>
                  <a:lnTo>
                    <a:pt x="313" y="29"/>
                  </a:lnTo>
                  <a:lnTo>
                    <a:pt x="311" y="29"/>
                  </a:lnTo>
                  <a:lnTo>
                    <a:pt x="313" y="29"/>
                  </a:lnTo>
                  <a:lnTo>
                    <a:pt x="311" y="29"/>
                  </a:lnTo>
                  <a:lnTo>
                    <a:pt x="313" y="29"/>
                  </a:lnTo>
                  <a:lnTo>
                    <a:pt x="311" y="29"/>
                  </a:lnTo>
                  <a:lnTo>
                    <a:pt x="313" y="29"/>
                  </a:lnTo>
                  <a:lnTo>
                    <a:pt x="311" y="29"/>
                  </a:lnTo>
                  <a:lnTo>
                    <a:pt x="313" y="29"/>
                  </a:lnTo>
                  <a:lnTo>
                    <a:pt x="313" y="31"/>
                  </a:lnTo>
                  <a:lnTo>
                    <a:pt x="313" y="29"/>
                  </a:lnTo>
                  <a:lnTo>
                    <a:pt x="313" y="31"/>
                  </a:lnTo>
                  <a:lnTo>
                    <a:pt x="313" y="29"/>
                  </a:lnTo>
                  <a:lnTo>
                    <a:pt x="313" y="31"/>
                  </a:lnTo>
                  <a:lnTo>
                    <a:pt x="315" y="31"/>
                  </a:lnTo>
                  <a:lnTo>
                    <a:pt x="313" y="31"/>
                  </a:lnTo>
                  <a:lnTo>
                    <a:pt x="315" y="31"/>
                  </a:lnTo>
                  <a:lnTo>
                    <a:pt x="313" y="31"/>
                  </a:lnTo>
                  <a:lnTo>
                    <a:pt x="315" y="31"/>
                  </a:lnTo>
                  <a:lnTo>
                    <a:pt x="313" y="31"/>
                  </a:lnTo>
                  <a:lnTo>
                    <a:pt x="315" y="31"/>
                  </a:lnTo>
                  <a:lnTo>
                    <a:pt x="313" y="31"/>
                  </a:lnTo>
                  <a:lnTo>
                    <a:pt x="315" y="31"/>
                  </a:lnTo>
                  <a:lnTo>
                    <a:pt x="313" y="31"/>
                  </a:lnTo>
                  <a:lnTo>
                    <a:pt x="313" y="33"/>
                  </a:lnTo>
                  <a:lnTo>
                    <a:pt x="313" y="31"/>
                  </a:lnTo>
                  <a:lnTo>
                    <a:pt x="313" y="33"/>
                  </a:lnTo>
                  <a:lnTo>
                    <a:pt x="313" y="31"/>
                  </a:lnTo>
                  <a:lnTo>
                    <a:pt x="311" y="31"/>
                  </a:lnTo>
                  <a:lnTo>
                    <a:pt x="311" y="33"/>
                  </a:lnTo>
                  <a:lnTo>
                    <a:pt x="311" y="35"/>
                  </a:lnTo>
                  <a:lnTo>
                    <a:pt x="313" y="35"/>
                  </a:lnTo>
                  <a:lnTo>
                    <a:pt x="313" y="37"/>
                  </a:lnTo>
                  <a:lnTo>
                    <a:pt x="313" y="39"/>
                  </a:lnTo>
                  <a:lnTo>
                    <a:pt x="311" y="39"/>
                  </a:lnTo>
                  <a:lnTo>
                    <a:pt x="311" y="41"/>
                  </a:lnTo>
                  <a:lnTo>
                    <a:pt x="309" y="41"/>
                  </a:lnTo>
                  <a:lnTo>
                    <a:pt x="311" y="41"/>
                  </a:lnTo>
                  <a:lnTo>
                    <a:pt x="309" y="41"/>
                  </a:lnTo>
                  <a:lnTo>
                    <a:pt x="309" y="43"/>
                  </a:lnTo>
                  <a:lnTo>
                    <a:pt x="307" y="43"/>
                  </a:lnTo>
                  <a:lnTo>
                    <a:pt x="307" y="44"/>
                  </a:lnTo>
                  <a:lnTo>
                    <a:pt x="305" y="44"/>
                  </a:lnTo>
                  <a:lnTo>
                    <a:pt x="304" y="44"/>
                  </a:lnTo>
                  <a:lnTo>
                    <a:pt x="304" y="46"/>
                  </a:lnTo>
                  <a:lnTo>
                    <a:pt x="302" y="46"/>
                  </a:lnTo>
                  <a:lnTo>
                    <a:pt x="304" y="46"/>
                  </a:lnTo>
                  <a:lnTo>
                    <a:pt x="302" y="46"/>
                  </a:lnTo>
                  <a:lnTo>
                    <a:pt x="300" y="46"/>
                  </a:lnTo>
                  <a:lnTo>
                    <a:pt x="300" y="48"/>
                  </a:lnTo>
                  <a:lnTo>
                    <a:pt x="298" y="48"/>
                  </a:lnTo>
                  <a:lnTo>
                    <a:pt x="298" y="50"/>
                  </a:lnTo>
                  <a:lnTo>
                    <a:pt x="298" y="48"/>
                  </a:lnTo>
                  <a:lnTo>
                    <a:pt x="298" y="50"/>
                  </a:lnTo>
                  <a:lnTo>
                    <a:pt x="298" y="48"/>
                  </a:lnTo>
                  <a:lnTo>
                    <a:pt x="298" y="50"/>
                  </a:lnTo>
                  <a:lnTo>
                    <a:pt x="298" y="48"/>
                  </a:lnTo>
                  <a:lnTo>
                    <a:pt x="298" y="50"/>
                  </a:lnTo>
                  <a:lnTo>
                    <a:pt x="296" y="50"/>
                  </a:lnTo>
                  <a:lnTo>
                    <a:pt x="296" y="52"/>
                  </a:lnTo>
                  <a:lnTo>
                    <a:pt x="294" y="52"/>
                  </a:lnTo>
                  <a:lnTo>
                    <a:pt x="292" y="52"/>
                  </a:lnTo>
                  <a:lnTo>
                    <a:pt x="290" y="52"/>
                  </a:lnTo>
                  <a:lnTo>
                    <a:pt x="288" y="52"/>
                  </a:lnTo>
                  <a:lnTo>
                    <a:pt x="288" y="54"/>
                  </a:lnTo>
                  <a:lnTo>
                    <a:pt x="288" y="52"/>
                  </a:lnTo>
                  <a:lnTo>
                    <a:pt x="288" y="54"/>
                  </a:lnTo>
                  <a:lnTo>
                    <a:pt x="286" y="54"/>
                  </a:lnTo>
                  <a:lnTo>
                    <a:pt x="284" y="54"/>
                  </a:lnTo>
                  <a:lnTo>
                    <a:pt x="282" y="54"/>
                  </a:lnTo>
                  <a:lnTo>
                    <a:pt x="284" y="54"/>
                  </a:lnTo>
                  <a:lnTo>
                    <a:pt x="282" y="54"/>
                  </a:lnTo>
                  <a:lnTo>
                    <a:pt x="282" y="56"/>
                  </a:lnTo>
                  <a:lnTo>
                    <a:pt x="282" y="54"/>
                  </a:lnTo>
                  <a:lnTo>
                    <a:pt x="282" y="56"/>
                  </a:lnTo>
                  <a:lnTo>
                    <a:pt x="281" y="56"/>
                  </a:lnTo>
                  <a:lnTo>
                    <a:pt x="282" y="56"/>
                  </a:lnTo>
                  <a:lnTo>
                    <a:pt x="281" y="56"/>
                  </a:lnTo>
                  <a:lnTo>
                    <a:pt x="279" y="56"/>
                  </a:lnTo>
                  <a:lnTo>
                    <a:pt x="279" y="58"/>
                  </a:lnTo>
                  <a:lnTo>
                    <a:pt x="277" y="58"/>
                  </a:lnTo>
                  <a:lnTo>
                    <a:pt x="279" y="58"/>
                  </a:lnTo>
                  <a:lnTo>
                    <a:pt x="277" y="58"/>
                  </a:lnTo>
                  <a:lnTo>
                    <a:pt x="279" y="58"/>
                  </a:lnTo>
                  <a:lnTo>
                    <a:pt x="277" y="58"/>
                  </a:lnTo>
                  <a:lnTo>
                    <a:pt x="279" y="58"/>
                  </a:lnTo>
                  <a:lnTo>
                    <a:pt x="277" y="58"/>
                  </a:lnTo>
                  <a:lnTo>
                    <a:pt x="277" y="60"/>
                  </a:lnTo>
                  <a:lnTo>
                    <a:pt x="277" y="58"/>
                  </a:lnTo>
                  <a:lnTo>
                    <a:pt x="277" y="60"/>
                  </a:lnTo>
                  <a:lnTo>
                    <a:pt x="277" y="62"/>
                  </a:lnTo>
                  <a:lnTo>
                    <a:pt x="277" y="60"/>
                  </a:lnTo>
                  <a:lnTo>
                    <a:pt x="277" y="62"/>
                  </a:lnTo>
                  <a:lnTo>
                    <a:pt x="277" y="60"/>
                  </a:lnTo>
                  <a:lnTo>
                    <a:pt x="277" y="62"/>
                  </a:lnTo>
                  <a:lnTo>
                    <a:pt x="279" y="62"/>
                  </a:lnTo>
                  <a:lnTo>
                    <a:pt x="279" y="64"/>
                  </a:lnTo>
                  <a:lnTo>
                    <a:pt x="277" y="64"/>
                  </a:lnTo>
                  <a:lnTo>
                    <a:pt x="277" y="66"/>
                  </a:lnTo>
                  <a:lnTo>
                    <a:pt x="275" y="66"/>
                  </a:lnTo>
                  <a:lnTo>
                    <a:pt x="275" y="64"/>
                  </a:lnTo>
                  <a:lnTo>
                    <a:pt x="277" y="64"/>
                  </a:lnTo>
                  <a:lnTo>
                    <a:pt x="275" y="64"/>
                  </a:lnTo>
                  <a:lnTo>
                    <a:pt x="275" y="66"/>
                  </a:lnTo>
                  <a:lnTo>
                    <a:pt x="275" y="64"/>
                  </a:lnTo>
                  <a:lnTo>
                    <a:pt x="275" y="66"/>
                  </a:lnTo>
                  <a:lnTo>
                    <a:pt x="275" y="64"/>
                  </a:lnTo>
                  <a:lnTo>
                    <a:pt x="275" y="66"/>
                  </a:lnTo>
                  <a:lnTo>
                    <a:pt x="273" y="66"/>
                  </a:lnTo>
                  <a:lnTo>
                    <a:pt x="273" y="68"/>
                  </a:lnTo>
                  <a:lnTo>
                    <a:pt x="273" y="66"/>
                  </a:lnTo>
                  <a:lnTo>
                    <a:pt x="273" y="68"/>
                  </a:lnTo>
                  <a:lnTo>
                    <a:pt x="271" y="68"/>
                  </a:lnTo>
                  <a:lnTo>
                    <a:pt x="271" y="69"/>
                  </a:lnTo>
                  <a:lnTo>
                    <a:pt x="273" y="69"/>
                  </a:lnTo>
                  <a:lnTo>
                    <a:pt x="271" y="69"/>
                  </a:lnTo>
                  <a:lnTo>
                    <a:pt x="271" y="71"/>
                  </a:lnTo>
                  <a:lnTo>
                    <a:pt x="269" y="71"/>
                  </a:lnTo>
                  <a:lnTo>
                    <a:pt x="269" y="73"/>
                  </a:lnTo>
                  <a:lnTo>
                    <a:pt x="267" y="73"/>
                  </a:lnTo>
                  <a:lnTo>
                    <a:pt x="267" y="75"/>
                  </a:lnTo>
                  <a:lnTo>
                    <a:pt x="267" y="77"/>
                  </a:lnTo>
                  <a:lnTo>
                    <a:pt x="267" y="75"/>
                  </a:lnTo>
                  <a:lnTo>
                    <a:pt x="267" y="77"/>
                  </a:lnTo>
                  <a:lnTo>
                    <a:pt x="267" y="75"/>
                  </a:lnTo>
                  <a:lnTo>
                    <a:pt x="267" y="77"/>
                  </a:lnTo>
                  <a:lnTo>
                    <a:pt x="265" y="77"/>
                  </a:lnTo>
                  <a:lnTo>
                    <a:pt x="267" y="77"/>
                  </a:lnTo>
                  <a:lnTo>
                    <a:pt x="265" y="77"/>
                  </a:lnTo>
                  <a:lnTo>
                    <a:pt x="267" y="77"/>
                  </a:lnTo>
                  <a:lnTo>
                    <a:pt x="265" y="77"/>
                  </a:lnTo>
                  <a:lnTo>
                    <a:pt x="267" y="77"/>
                  </a:lnTo>
                  <a:lnTo>
                    <a:pt x="265" y="77"/>
                  </a:lnTo>
                  <a:lnTo>
                    <a:pt x="267" y="77"/>
                  </a:lnTo>
                  <a:lnTo>
                    <a:pt x="265" y="77"/>
                  </a:lnTo>
                  <a:lnTo>
                    <a:pt x="265" y="79"/>
                  </a:lnTo>
                  <a:lnTo>
                    <a:pt x="263" y="79"/>
                  </a:lnTo>
                  <a:lnTo>
                    <a:pt x="263" y="81"/>
                  </a:lnTo>
                  <a:lnTo>
                    <a:pt x="263" y="83"/>
                  </a:lnTo>
                  <a:lnTo>
                    <a:pt x="261" y="83"/>
                  </a:lnTo>
                  <a:lnTo>
                    <a:pt x="261" y="85"/>
                  </a:lnTo>
                  <a:lnTo>
                    <a:pt x="261" y="87"/>
                  </a:lnTo>
                  <a:lnTo>
                    <a:pt x="261" y="89"/>
                  </a:lnTo>
                  <a:lnTo>
                    <a:pt x="261" y="91"/>
                  </a:lnTo>
                  <a:lnTo>
                    <a:pt x="263" y="91"/>
                  </a:lnTo>
                  <a:lnTo>
                    <a:pt x="263" y="93"/>
                  </a:lnTo>
                  <a:lnTo>
                    <a:pt x="263" y="94"/>
                  </a:lnTo>
                  <a:lnTo>
                    <a:pt x="263" y="96"/>
                  </a:lnTo>
                  <a:lnTo>
                    <a:pt x="265" y="96"/>
                  </a:lnTo>
                  <a:lnTo>
                    <a:pt x="267" y="96"/>
                  </a:lnTo>
                  <a:lnTo>
                    <a:pt x="267" y="98"/>
                  </a:lnTo>
                  <a:lnTo>
                    <a:pt x="269" y="98"/>
                  </a:lnTo>
                  <a:lnTo>
                    <a:pt x="269" y="100"/>
                  </a:lnTo>
                  <a:lnTo>
                    <a:pt x="267" y="100"/>
                  </a:lnTo>
                  <a:lnTo>
                    <a:pt x="267" y="102"/>
                  </a:lnTo>
                  <a:lnTo>
                    <a:pt x="265" y="102"/>
                  </a:lnTo>
                  <a:lnTo>
                    <a:pt x="265" y="104"/>
                  </a:lnTo>
                  <a:lnTo>
                    <a:pt x="263" y="104"/>
                  </a:lnTo>
                  <a:lnTo>
                    <a:pt x="261" y="104"/>
                  </a:lnTo>
                  <a:lnTo>
                    <a:pt x="261" y="106"/>
                  </a:lnTo>
                  <a:lnTo>
                    <a:pt x="259" y="106"/>
                  </a:lnTo>
                  <a:lnTo>
                    <a:pt x="259" y="108"/>
                  </a:lnTo>
                  <a:lnTo>
                    <a:pt x="259" y="106"/>
                  </a:lnTo>
                  <a:lnTo>
                    <a:pt x="259" y="108"/>
                  </a:lnTo>
                  <a:lnTo>
                    <a:pt x="257" y="108"/>
                  </a:lnTo>
                  <a:lnTo>
                    <a:pt x="257" y="110"/>
                  </a:lnTo>
                  <a:lnTo>
                    <a:pt x="259" y="110"/>
                  </a:lnTo>
                  <a:lnTo>
                    <a:pt x="257" y="110"/>
                  </a:lnTo>
                  <a:lnTo>
                    <a:pt x="259" y="110"/>
                  </a:lnTo>
                  <a:lnTo>
                    <a:pt x="257" y="110"/>
                  </a:lnTo>
                  <a:lnTo>
                    <a:pt x="257" y="112"/>
                  </a:lnTo>
                  <a:lnTo>
                    <a:pt x="256" y="112"/>
                  </a:lnTo>
                  <a:lnTo>
                    <a:pt x="257" y="112"/>
                  </a:lnTo>
                  <a:lnTo>
                    <a:pt x="256" y="112"/>
                  </a:lnTo>
                  <a:lnTo>
                    <a:pt x="257" y="112"/>
                  </a:lnTo>
                  <a:lnTo>
                    <a:pt x="256" y="112"/>
                  </a:lnTo>
                  <a:lnTo>
                    <a:pt x="256" y="114"/>
                  </a:lnTo>
                  <a:lnTo>
                    <a:pt x="256" y="116"/>
                  </a:lnTo>
                  <a:lnTo>
                    <a:pt x="256" y="117"/>
                  </a:lnTo>
                  <a:lnTo>
                    <a:pt x="254" y="117"/>
                  </a:lnTo>
                  <a:lnTo>
                    <a:pt x="254" y="119"/>
                  </a:lnTo>
                  <a:lnTo>
                    <a:pt x="256" y="119"/>
                  </a:lnTo>
                  <a:lnTo>
                    <a:pt x="256" y="121"/>
                  </a:lnTo>
                  <a:lnTo>
                    <a:pt x="254" y="121"/>
                  </a:lnTo>
                  <a:lnTo>
                    <a:pt x="252" y="121"/>
                  </a:lnTo>
                  <a:lnTo>
                    <a:pt x="250" y="121"/>
                  </a:lnTo>
                  <a:lnTo>
                    <a:pt x="248" y="121"/>
                  </a:lnTo>
                  <a:lnTo>
                    <a:pt x="246" y="121"/>
                  </a:lnTo>
                  <a:lnTo>
                    <a:pt x="246" y="123"/>
                  </a:lnTo>
                  <a:lnTo>
                    <a:pt x="244" y="123"/>
                  </a:lnTo>
                  <a:lnTo>
                    <a:pt x="242" y="125"/>
                  </a:lnTo>
                  <a:lnTo>
                    <a:pt x="244" y="125"/>
                  </a:lnTo>
                  <a:lnTo>
                    <a:pt x="242" y="125"/>
                  </a:lnTo>
                  <a:lnTo>
                    <a:pt x="244" y="125"/>
                  </a:lnTo>
                  <a:lnTo>
                    <a:pt x="242" y="125"/>
                  </a:lnTo>
                  <a:lnTo>
                    <a:pt x="240" y="125"/>
                  </a:lnTo>
                  <a:lnTo>
                    <a:pt x="240" y="127"/>
                  </a:lnTo>
                  <a:lnTo>
                    <a:pt x="240" y="129"/>
                  </a:lnTo>
                  <a:lnTo>
                    <a:pt x="238" y="129"/>
                  </a:lnTo>
                  <a:lnTo>
                    <a:pt x="238" y="131"/>
                  </a:lnTo>
                  <a:lnTo>
                    <a:pt x="238" y="133"/>
                  </a:lnTo>
                  <a:lnTo>
                    <a:pt x="236" y="133"/>
                  </a:lnTo>
                  <a:lnTo>
                    <a:pt x="238" y="133"/>
                  </a:lnTo>
                  <a:lnTo>
                    <a:pt x="236" y="133"/>
                  </a:lnTo>
                  <a:lnTo>
                    <a:pt x="236" y="135"/>
                  </a:lnTo>
                  <a:lnTo>
                    <a:pt x="236" y="137"/>
                  </a:lnTo>
                  <a:lnTo>
                    <a:pt x="234" y="137"/>
                  </a:lnTo>
                  <a:lnTo>
                    <a:pt x="233" y="137"/>
                  </a:lnTo>
                  <a:lnTo>
                    <a:pt x="233" y="135"/>
                  </a:lnTo>
                  <a:lnTo>
                    <a:pt x="231" y="135"/>
                  </a:lnTo>
                  <a:lnTo>
                    <a:pt x="229" y="135"/>
                  </a:lnTo>
                  <a:lnTo>
                    <a:pt x="229" y="137"/>
                  </a:lnTo>
                  <a:lnTo>
                    <a:pt x="227" y="137"/>
                  </a:lnTo>
                  <a:lnTo>
                    <a:pt x="225" y="137"/>
                  </a:lnTo>
                  <a:lnTo>
                    <a:pt x="223" y="137"/>
                  </a:lnTo>
                  <a:lnTo>
                    <a:pt x="221" y="137"/>
                  </a:lnTo>
                  <a:lnTo>
                    <a:pt x="219" y="137"/>
                  </a:lnTo>
                  <a:lnTo>
                    <a:pt x="217" y="137"/>
                  </a:lnTo>
                  <a:lnTo>
                    <a:pt x="215" y="137"/>
                  </a:lnTo>
                  <a:lnTo>
                    <a:pt x="213" y="137"/>
                  </a:lnTo>
                  <a:lnTo>
                    <a:pt x="215" y="137"/>
                  </a:lnTo>
                  <a:lnTo>
                    <a:pt x="213" y="137"/>
                  </a:lnTo>
                  <a:lnTo>
                    <a:pt x="211" y="137"/>
                  </a:lnTo>
                  <a:lnTo>
                    <a:pt x="210" y="137"/>
                  </a:lnTo>
                  <a:lnTo>
                    <a:pt x="208" y="137"/>
                  </a:lnTo>
                  <a:lnTo>
                    <a:pt x="206" y="137"/>
                  </a:lnTo>
                  <a:lnTo>
                    <a:pt x="204" y="137"/>
                  </a:lnTo>
                  <a:lnTo>
                    <a:pt x="202" y="137"/>
                  </a:lnTo>
                  <a:lnTo>
                    <a:pt x="200" y="139"/>
                  </a:lnTo>
                  <a:lnTo>
                    <a:pt x="198" y="139"/>
                  </a:lnTo>
                  <a:lnTo>
                    <a:pt x="198" y="141"/>
                  </a:lnTo>
                  <a:lnTo>
                    <a:pt x="196" y="141"/>
                  </a:lnTo>
                  <a:lnTo>
                    <a:pt x="194" y="141"/>
                  </a:lnTo>
                  <a:lnTo>
                    <a:pt x="192" y="141"/>
                  </a:lnTo>
                  <a:lnTo>
                    <a:pt x="192" y="142"/>
                  </a:lnTo>
                  <a:lnTo>
                    <a:pt x="190" y="142"/>
                  </a:lnTo>
                  <a:lnTo>
                    <a:pt x="190" y="144"/>
                  </a:lnTo>
                  <a:lnTo>
                    <a:pt x="188" y="144"/>
                  </a:lnTo>
                  <a:lnTo>
                    <a:pt x="188" y="146"/>
                  </a:lnTo>
                  <a:lnTo>
                    <a:pt x="186" y="146"/>
                  </a:lnTo>
                  <a:lnTo>
                    <a:pt x="186" y="148"/>
                  </a:lnTo>
                  <a:lnTo>
                    <a:pt x="185" y="148"/>
                  </a:lnTo>
                  <a:lnTo>
                    <a:pt x="185" y="150"/>
                  </a:lnTo>
                  <a:lnTo>
                    <a:pt x="183" y="150"/>
                  </a:lnTo>
                  <a:lnTo>
                    <a:pt x="183" y="148"/>
                  </a:lnTo>
                  <a:lnTo>
                    <a:pt x="181" y="148"/>
                  </a:lnTo>
                  <a:lnTo>
                    <a:pt x="181" y="146"/>
                  </a:lnTo>
                  <a:lnTo>
                    <a:pt x="179" y="146"/>
                  </a:lnTo>
                  <a:lnTo>
                    <a:pt x="177" y="146"/>
                  </a:lnTo>
                  <a:lnTo>
                    <a:pt x="177" y="144"/>
                  </a:lnTo>
                  <a:lnTo>
                    <a:pt x="175" y="144"/>
                  </a:lnTo>
                  <a:lnTo>
                    <a:pt x="175" y="142"/>
                  </a:lnTo>
                  <a:lnTo>
                    <a:pt x="175" y="141"/>
                  </a:lnTo>
                  <a:lnTo>
                    <a:pt x="173" y="141"/>
                  </a:lnTo>
                  <a:lnTo>
                    <a:pt x="175" y="141"/>
                  </a:lnTo>
                  <a:lnTo>
                    <a:pt x="173" y="141"/>
                  </a:lnTo>
                  <a:lnTo>
                    <a:pt x="175" y="141"/>
                  </a:lnTo>
                  <a:lnTo>
                    <a:pt x="173" y="141"/>
                  </a:lnTo>
                  <a:lnTo>
                    <a:pt x="175" y="141"/>
                  </a:lnTo>
                  <a:lnTo>
                    <a:pt x="175" y="142"/>
                  </a:lnTo>
                  <a:lnTo>
                    <a:pt x="175" y="141"/>
                  </a:lnTo>
                  <a:lnTo>
                    <a:pt x="175" y="139"/>
                  </a:lnTo>
                  <a:lnTo>
                    <a:pt x="173" y="139"/>
                  </a:lnTo>
                  <a:lnTo>
                    <a:pt x="173" y="137"/>
                  </a:lnTo>
                  <a:lnTo>
                    <a:pt x="171" y="137"/>
                  </a:lnTo>
                  <a:lnTo>
                    <a:pt x="173" y="137"/>
                  </a:lnTo>
                  <a:lnTo>
                    <a:pt x="173" y="135"/>
                  </a:lnTo>
                  <a:lnTo>
                    <a:pt x="171" y="135"/>
                  </a:lnTo>
                  <a:lnTo>
                    <a:pt x="171" y="133"/>
                  </a:lnTo>
                  <a:lnTo>
                    <a:pt x="169" y="131"/>
                  </a:lnTo>
                  <a:lnTo>
                    <a:pt x="167" y="131"/>
                  </a:lnTo>
                  <a:lnTo>
                    <a:pt x="167" y="129"/>
                  </a:lnTo>
                  <a:lnTo>
                    <a:pt x="165" y="129"/>
                  </a:lnTo>
                  <a:lnTo>
                    <a:pt x="165" y="127"/>
                  </a:lnTo>
                  <a:lnTo>
                    <a:pt x="165" y="129"/>
                  </a:lnTo>
                  <a:lnTo>
                    <a:pt x="165" y="127"/>
                  </a:lnTo>
                  <a:lnTo>
                    <a:pt x="165" y="129"/>
                  </a:lnTo>
                  <a:lnTo>
                    <a:pt x="165" y="127"/>
                  </a:lnTo>
                  <a:lnTo>
                    <a:pt x="163" y="127"/>
                  </a:lnTo>
                  <a:lnTo>
                    <a:pt x="163" y="129"/>
                  </a:lnTo>
                  <a:lnTo>
                    <a:pt x="163" y="127"/>
                  </a:lnTo>
                  <a:lnTo>
                    <a:pt x="162" y="127"/>
                  </a:lnTo>
                  <a:lnTo>
                    <a:pt x="163" y="127"/>
                  </a:lnTo>
                  <a:lnTo>
                    <a:pt x="162" y="127"/>
                  </a:lnTo>
                  <a:lnTo>
                    <a:pt x="160" y="127"/>
                  </a:lnTo>
                  <a:lnTo>
                    <a:pt x="160" y="129"/>
                  </a:lnTo>
                  <a:lnTo>
                    <a:pt x="160" y="127"/>
                  </a:lnTo>
                  <a:lnTo>
                    <a:pt x="160" y="129"/>
                  </a:lnTo>
                  <a:lnTo>
                    <a:pt x="160" y="127"/>
                  </a:lnTo>
                  <a:lnTo>
                    <a:pt x="158" y="127"/>
                  </a:lnTo>
                  <a:lnTo>
                    <a:pt x="160" y="127"/>
                  </a:lnTo>
                  <a:lnTo>
                    <a:pt x="158" y="127"/>
                  </a:lnTo>
                  <a:lnTo>
                    <a:pt x="158" y="129"/>
                  </a:lnTo>
                  <a:lnTo>
                    <a:pt x="158" y="127"/>
                  </a:lnTo>
                  <a:lnTo>
                    <a:pt x="158" y="129"/>
                  </a:lnTo>
                  <a:lnTo>
                    <a:pt x="158" y="127"/>
                  </a:lnTo>
                  <a:lnTo>
                    <a:pt x="158" y="125"/>
                  </a:lnTo>
                  <a:lnTo>
                    <a:pt x="158" y="123"/>
                  </a:lnTo>
                  <a:lnTo>
                    <a:pt x="156" y="123"/>
                  </a:lnTo>
                  <a:lnTo>
                    <a:pt x="158" y="123"/>
                  </a:lnTo>
                  <a:lnTo>
                    <a:pt x="156" y="123"/>
                  </a:lnTo>
                  <a:lnTo>
                    <a:pt x="156" y="121"/>
                  </a:lnTo>
                  <a:lnTo>
                    <a:pt x="156" y="119"/>
                  </a:lnTo>
                  <a:lnTo>
                    <a:pt x="158" y="119"/>
                  </a:lnTo>
                  <a:lnTo>
                    <a:pt x="156" y="119"/>
                  </a:lnTo>
                  <a:lnTo>
                    <a:pt x="158" y="119"/>
                  </a:lnTo>
                  <a:lnTo>
                    <a:pt x="158" y="117"/>
                  </a:lnTo>
                  <a:lnTo>
                    <a:pt x="160" y="117"/>
                  </a:lnTo>
                  <a:lnTo>
                    <a:pt x="160" y="116"/>
                  </a:lnTo>
                  <a:lnTo>
                    <a:pt x="160" y="114"/>
                  </a:lnTo>
                  <a:lnTo>
                    <a:pt x="162" y="114"/>
                  </a:lnTo>
                  <a:lnTo>
                    <a:pt x="162" y="112"/>
                  </a:lnTo>
                  <a:lnTo>
                    <a:pt x="162" y="114"/>
                  </a:lnTo>
                  <a:lnTo>
                    <a:pt x="162" y="112"/>
                  </a:lnTo>
                  <a:lnTo>
                    <a:pt x="163" y="112"/>
                  </a:lnTo>
                  <a:lnTo>
                    <a:pt x="163" y="114"/>
                  </a:lnTo>
                  <a:lnTo>
                    <a:pt x="163" y="112"/>
                  </a:lnTo>
                  <a:lnTo>
                    <a:pt x="163" y="114"/>
                  </a:lnTo>
                  <a:lnTo>
                    <a:pt x="163" y="112"/>
                  </a:lnTo>
                  <a:lnTo>
                    <a:pt x="163" y="114"/>
                  </a:lnTo>
                  <a:lnTo>
                    <a:pt x="163" y="112"/>
                  </a:lnTo>
                  <a:lnTo>
                    <a:pt x="163" y="110"/>
                  </a:lnTo>
                  <a:lnTo>
                    <a:pt x="165" y="110"/>
                  </a:lnTo>
                  <a:lnTo>
                    <a:pt x="163" y="110"/>
                  </a:lnTo>
                  <a:lnTo>
                    <a:pt x="162" y="110"/>
                  </a:lnTo>
                  <a:lnTo>
                    <a:pt x="162" y="108"/>
                  </a:lnTo>
                  <a:lnTo>
                    <a:pt x="160" y="108"/>
                  </a:lnTo>
                  <a:lnTo>
                    <a:pt x="160" y="106"/>
                  </a:lnTo>
                  <a:lnTo>
                    <a:pt x="158" y="106"/>
                  </a:lnTo>
                  <a:lnTo>
                    <a:pt x="160" y="106"/>
                  </a:lnTo>
                  <a:lnTo>
                    <a:pt x="160" y="104"/>
                  </a:lnTo>
                  <a:lnTo>
                    <a:pt x="160" y="102"/>
                  </a:lnTo>
                  <a:lnTo>
                    <a:pt x="160" y="100"/>
                  </a:lnTo>
                  <a:lnTo>
                    <a:pt x="162" y="100"/>
                  </a:lnTo>
                  <a:lnTo>
                    <a:pt x="162" y="98"/>
                  </a:lnTo>
                  <a:lnTo>
                    <a:pt x="163" y="98"/>
                  </a:lnTo>
                  <a:lnTo>
                    <a:pt x="163" y="96"/>
                  </a:lnTo>
                  <a:lnTo>
                    <a:pt x="163" y="94"/>
                  </a:lnTo>
                  <a:lnTo>
                    <a:pt x="163" y="93"/>
                  </a:lnTo>
                  <a:lnTo>
                    <a:pt x="162" y="93"/>
                  </a:lnTo>
                  <a:lnTo>
                    <a:pt x="162" y="91"/>
                  </a:lnTo>
                  <a:lnTo>
                    <a:pt x="160" y="91"/>
                  </a:lnTo>
                  <a:lnTo>
                    <a:pt x="160" y="89"/>
                  </a:lnTo>
                  <a:lnTo>
                    <a:pt x="160" y="87"/>
                  </a:lnTo>
                  <a:lnTo>
                    <a:pt x="160" y="85"/>
                  </a:lnTo>
                  <a:lnTo>
                    <a:pt x="158" y="85"/>
                  </a:lnTo>
                  <a:lnTo>
                    <a:pt x="158" y="83"/>
                  </a:lnTo>
                  <a:lnTo>
                    <a:pt x="156" y="83"/>
                  </a:lnTo>
                  <a:lnTo>
                    <a:pt x="158" y="83"/>
                  </a:lnTo>
                  <a:lnTo>
                    <a:pt x="160" y="83"/>
                  </a:lnTo>
                  <a:lnTo>
                    <a:pt x="162" y="83"/>
                  </a:lnTo>
                  <a:lnTo>
                    <a:pt x="163" y="83"/>
                  </a:lnTo>
                  <a:lnTo>
                    <a:pt x="163" y="81"/>
                  </a:lnTo>
                  <a:lnTo>
                    <a:pt x="163" y="79"/>
                  </a:lnTo>
                  <a:lnTo>
                    <a:pt x="165" y="79"/>
                  </a:lnTo>
                  <a:lnTo>
                    <a:pt x="165" y="77"/>
                  </a:lnTo>
                  <a:lnTo>
                    <a:pt x="165" y="75"/>
                  </a:lnTo>
                  <a:lnTo>
                    <a:pt x="165" y="73"/>
                  </a:lnTo>
                  <a:lnTo>
                    <a:pt x="163" y="73"/>
                  </a:lnTo>
                  <a:lnTo>
                    <a:pt x="163" y="71"/>
                  </a:lnTo>
                  <a:lnTo>
                    <a:pt x="165" y="71"/>
                  </a:lnTo>
                  <a:lnTo>
                    <a:pt x="165" y="69"/>
                  </a:lnTo>
                  <a:lnTo>
                    <a:pt x="167" y="69"/>
                  </a:lnTo>
                  <a:lnTo>
                    <a:pt x="167" y="68"/>
                  </a:lnTo>
                  <a:lnTo>
                    <a:pt x="165" y="68"/>
                  </a:lnTo>
                  <a:lnTo>
                    <a:pt x="165" y="66"/>
                  </a:lnTo>
                  <a:lnTo>
                    <a:pt x="167" y="66"/>
                  </a:lnTo>
                  <a:lnTo>
                    <a:pt x="165" y="66"/>
                  </a:lnTo>
                  <a:lnTo>
                    <a:pt x="165" y="64"/>
                  </a:lnTo>
                  <a:lnTo>
                    <a:pt x="167" y="64"/>
                  </a:lnTo>
                  <a:lnTo>
                    <a:pt x="167" y="62"/>
                  </a:lnTo>
                  <a:lnTo>
                    <a:pt x="165" y="62"/>
                  </a:lnTo>
                  <a:lnTo>
                    <a:pt x="165" y="60"/>
                  </a:lnTo>
                  <a:lnTo>
                    <a:pt x="167" y="60"/>
                  </a:lnTo>
                  <a:lnTo>
                    <a:pt x="165" y="60"/>
                  </a:lnTo>
                  <a:lnTo>
                    <a:pt x="167" y="60"/>
                  </a:lnTo>
                  <a:lnTo>
                    <a:pt x="167" y="58"/>
                  </a:lnTo>
                  <a:lnTo>
                    <a:pt x="165" y="58"/>
                  </a:lnTo>
                  <a:lnTo>
                    <a:pt x="165" y="56"/>
                  </a:lnTo>
                  <a:lnTo>
                    <a:pt x="167" y="56"/>
                  </a:lnTo>
                  <a:lnTo>
                    <a:pt x="165" y="56"/>
                  </a:lnTo>
                  <a:lnTo>
                    <a:pt x="167" y="56"/>
                  </a:lnTo>
                  <a:lnTo>
                    <a:pt x="167" y="54"/>
                  </a:lnTo>
                  <a:lnTo>
                    <a:pt x="167" y="52"/>
                  </a:lnTo>
                  <a:lnTo>
                    <a:pt x="169" y="52"/>
                  </a:lnTo>
                  <a:lnTo>
                    <a:pt x="171" y="52"/>
                  </a:lnTo>
                  <a:lnTo>
                    <a:pt x="171" y="50"/>
                  </a:lnTo>
                  <a:lnTo>
                    <a:pt x="171" y="52"/>
                  </a:lnTo>
                  <a:lnTo>
                    <a:pt x="171" y="50"/>
                  </a:lnTo>
                  <a:lnTo>
                    <a:pt x="171" y="52"/>
                  </a:lnTo>
                  <a:lnTo>
                    <a:pt x="171" y="50"/>
                  </a:lnTo>
                  <a:lnTo>
                    <a:pt x="173" y="50"/>
                  </a:lnTo>
                  <a:lnTo>
                    <a:pt x="173" y="48"/>
                  </a:lnTo>
                  <a:lnTo>
                    <a:pt x="173" y="50"/>
                  </a:lnTo>
                  <a:lnTo>
                    <a:pt x="173" y="48"/>
                  </a:lnTo>
                  <a:lnTo>
                    <a:pt x="173" y="46"/>
                  </a:lnTo>
                  <a:lnTo>
                    <a:pt x="175" y="46"/>
                  </a:lnTo>
                  <a:lnTo>
                    <a:pt x="175" y="44"/>
                  </a:lnTo>
                  <a:lnTo>
                    <a:pt x="173" y="44"/>
                  </a:lnTo>
                  <a:lnTo>
                    <a:pt x="173" y="43"/>
                  </a:lnTo>
                  <a:lnTo>
                    <a:pt x="171" y="43"/>
                  </a:lnTo>
                  <a:lnTo>
                    <a:pt x="171" y="44"/>
                  </a:lnTo>
                  <a:lnTo>
                    <a:pt x="171" y="43"/>
                  </a:lnTo>
                  <a:lnTo>
                    <a:pt x="169" y="43"/>
                  </a:lnTo>
                  <a:lnTo>
                    <a:pt x="171" y="43"/>
                  </a:lnTo>
                  <a:lnTo>
                    <a:pt x="169" y="43"/>
                  </a:lnTo>
                  <a:lnTo>
                    <a:pt x="171" y="43"/>
                  </a:lnTo>
                  <a:lnTo>
                    <a:pt x="169" y="43"/>
                  </a:lnTo>
                  <a:lnTo>
                    <a:pt x="169" y="41"/>
                  </a:lnTo>
                  <a:lnTo>
                    <a:pt x="171" y="41"/>
                  </a:lnTo>
                  <a:lnTo>
                    <a:pt x="169" y="41"/>
                  </a:lnTo>
                  <a:lnTo>
                    <a:pt x="171" y="41"/>
                  </a:lnTo>
                  <a:lnTo>
                    <a:pt x="169" y="41"/>
                  </a:lnTo>
                  <a:lnTo>
                    <a:pt x="171" y="41"/>
                  </a:lnTo>
                  <a:lnTo>
                    <a:pt x="171" y="39"/>
                  </a:lnTo>
                  <a:lnTo>
                    <a:pt x="169" y="39"/>
                  </a:lnTo>
                  <a:lnTo>
                    <a:pt x="171" y="39"/>
                  </a:lnTo>
                  <a:lnTo>
                    <a:pt x="169" y="39"/>
                  </a:lnTo>
                  <a:lnTo>
                    <a:pt x="169" y="37"/>
                  </a:lnTo>
                  <a:lnTo>
                    <a:pt x="169" y="39"/>
                  </a:lnTo>
                  <a:lnTo>
                    <a:pt x="167" y="39"/>
                  </a:lnTo>
                  <a:lnTo>
                    <a:pt x="167" y="37"/>
                  </a:lnTo>
                  <a:lnTo>
                    <a:pt x="165" y="37"/>
                  </a:lnTo>
                  <a:lnTo>
                    <a:pt x="165" y="39"/>
                  </a:lnTo>
                  <a:lnTo>
                    <a:pt x="163" y="39"/>
                  </a:lnTo>
                  <a:lnTo>
                    <a:pt x="163" y="37"/>
                  </a:lnTo>
                  <a:lnTo>
                    <a:pt x="163" y="39"/>
                  </a:lnTo>
                  <a:lnTo>
                    <a:pt x="163" y="37"/>
                  </a:lnTo>
                  <a:lnTo>
                    <a:pt x="163" y="39"/>
                  </a:lnTo>
                  <a:lnTo>
                    <a:pt x="162" y="39"/>
                  </a:lnTo>
                  <a:lnTo>
                    <a:pt x="162" y="37"/>
                  </a:lnTo>
                  <a:lnTo>
                    <a:pt x="162" y="39"/>
                  </a:lnTo>
                  <a:lnTo>
                    <a:pt x="160" y="39"/>
                  </a:lnTo>
                  <a:lnTo>
                    <a:pt x="160" y="41"/>
                  </a:lnTo>
                  <a:lnTo>
                    <a:pt x="158" y="41"/>
                  </a:lnTo>
                  <a:lnTo>
                    <a:pt x="158" y="39"/>
                  </a:lnTo>
                  <a:lnTo>
                    <a:pt x="156" y="39"/>
                  </a:lnTo>
                  <a:lnTo>
                    <a:pt x="156" y="41"/>
                  </a:lnTo>
                  <a:lnTo>
                    <a:pt x="154" y="41"/>
                  </a:lnTo>
                  <a:lnTo>
                    <a:pt x="154" y="39"/>
                  </a:lnTo>
                  <a:lnTo>
                    <a:pt x="156" y="39"/>
                  </a:lnTo>
                  <a:lnTo>
                    <a:pt x="154" y="39"/>
                  </a:lnTo>
                  <a:lnTo>
                    <a:pt x="152" y="39"/>
                  </a:lnTo>
                  <a:lnTo>
                    <a:pt x="150" y="39"/>
                  </a:lnTo>
                  <a:lnTo>
                    <a:pt x="150" y="41"/>
                  </a:lnTo>
                  <a:lnTo>
                    <a:pt x="150" y="39"/>
                  </a:lnTo>
                  <a:lnTo>
                    <a:pt x="148" y="39"/>
                  </a:lnTo>
                  <a:lnTo>
                    <a:pt x="150" y="39"/>
                  </a:lnTo>
                  <a:lnTo>
                    <a:pt x="148" y="39"/>
                  </a:lnTo>
                  <a:lnTo>
                    <a:pt x="148" y="41"/>
                  </a:lnTo>
                  <a:lnTo>
                    <a:pt x="146" y="41"/>
                  </a:lnTo>
                  <a:lnTo>
                    <a:pt x="146" y="39"/>
                  </a:lnTo>
                  <a:lnTo>
                    <a:pt x="146" y="37"/>
                  </a:lnTo>
                  <a:lnTo>
                    <a:pt x="148" y="37"/>
                  </a:lnTo>
                  <a:lnTo>
                    <a:pt x="148" y="35"/>
                  </a:lnTo>
                  <a:lnTo>
                    <a:pt x="146" y="35"/>
                  </a:lnTo>
                  <a:lnTo>
                    <a:pt x="146" y="33"/>
                  </a:lnTo>
                  <a:lnTo>
                    <a:pt x="146" y="35"/>
                  </a:lnTo>
                  <a:lnTo>
                    <a:pt x="144" y="35"/>
                  </a:lnTo>
                  <a:lnTo>
                    <a:pt x="142" y="35"/>
                  </a:lnTo>
                  <a:lnTo>
                    <a:pt x="140" y="35"/>
                  </a:lnTo>
                  <a:lnTo>
                    <a:pt x="140" y="37"/>
                  </a:lnTo>
                  <a:lnTo>
                    <a:pt x="138" y="37"/>
                  </a:lnTo>
                  <a:lnTo>
                    <a:pt x="138" y="39"/>
                  </a:lnTo>
                  <a:lnTo>
                    <a:pt x="137" y="39"/>
                  </a:lnTo>
                  <a:lnTo>
                    <a:pt x="137" y="37"/>
                  </a:lnTo>
                  <a:lnTo>
                    <a:pt x="137" y="35"/>
                  </a:lnTo>
                  <a:lnTo>
                    <a:pt x="137" y="33"/>
                  </a:lnTo>
                  <a:lnTo>
                    <a:pt x="138" y="33"/>
                  </a:lnTo>
                  <a:lnTo>
                    <a:pt x="137" y="33"/>
                  </a:lnTo>
                  <a:lnTo>
                    <a:pt x="138" y="33"/>
                  </a:lnTo>
                  <a:lnTo>
                    <a:pt x="138" y="31"/>
                  </a:lnTo>
                  <a:lnTo>
                    <a:pt x="140" y="31"/>
                  </a:lnTo>
                  <a:lnTo>
                    <a:pt x="140" y="29"/>
                  </a:lnTo>
                  <a:lnTo>
                    <a:pt x="140" y="31"/>
                  </a:lnTo>
                  <a:lnTo>
                    <a:pt x="138" y="31"/>
                  </a:lnTo>
                  <a:lnTo>
                    <a:pt x="137" y="31"/>
                  </a:lnTo>
                  <a:lnTo>
                    <a:pt x="137" y="29"/>
                  </a:lnTo>
                  <a:lnTo>
                    <a:pt x="137" y="31"/>
                  </a:lnTo>
                  <a:lnTo>
                    <a:pt x="138" y="31"/>
                  </a:lnTo>
                  <a:lnTo>
                    <a:pt x="138" y="29"/>
                  </a:lnTo>
                  <a:lnTo>
                    <a:pt x="137" y="29"/>
                  </a:lnTo>
                  <a:lnTo>
                    <a:pt x="137" y="27"/>
                  </a:lnTo>
                  <a:lnTo>
                    <a:pt x="135" y="27"/>
                  </a:lnTo>
                  <a:lnTo>
                    <a:pt x="137" y="27"/>
                  </a:lnTo>
                  <a:lnTo>
                    <a:pt x="137" y="25"/>
                  </a:lnTo>
                  <a:lnTo>
                    <a:pt x="138" y="25"/>
                  </a:lnTo>
                  <a:lnTo>
                    <a:pt x="137" y="25"/>
                  </a:lnTo>
                  <a:lnTo>
                    <a:pt x="138" y="25"/>
                  </a:lnTo>
                  <a:lnTo>
                    <a:pt x="138" y="23"/>
                  </a:lnTo>
                  <a:lnTo>
                    <a:pt x="137" y="23"/>
                  </a:lnTo>
                  <a:lnTo>
                    <a:pt x="137" y="25"/>
                  </a:lnTo>
                  <a:lnTo>
                    <a:pt x="137" y="23"/>
                  </a:lnTo>
                  <a:lnTo>
                    <a:pt x="137" y="25"/>
                  </a:lnTo>
                  <a:lnTo>
                    <a:pt x="135" y="25"/>
                  </a:lnTo>
                  <a:lnTo>
                    <a:pt x="135" y="27"/>
                  </a:lnTo>
                  <a:lnTo>
                    <a:pt x="133" y="27"/>
                  </a:lnTo>
                  <a:lnTo>
                    <a:pt x="135" y="27"/>
                  </a:lnTo>
                  <a:lnTo>
                    <a:pt x="133" y="27"/>
                  </a:lnTo>
                  <a:lnTo>
                    <a:pt x="133" y="25"/>
                  </a:lnTo>
                  <a:lnTo>
                    <a:pt x="135" y="25"/>
                  </a:lnTo>
                  <a:lnTo>
                    <a:pt x="133" y="25"/>
                  </a:lnTo>
                  <a:lnTo>
                    <a:pt x="133" y="23"/>
                  </a:lnTo>
                  <a:lnTo>
                    <a:pt x="135" y="23"/>
                  </a:lnTo>
                  <a:lnTo>
                    <a:pt x="133" y="23"/>
                  </a:lnTo>
                  <a:lnTo>
                    <a:pt x="135" y="23"/>
                  </a:lnTo>
                  <a:lnTo>
                    <a:pt x="133" y="23"/>
                  </a:lnTo>
                  <a:lnTo>
                    <a:pt x="135" y="23"/>
                  </a:lnTo>
                  <a:lnTo>
                    <a:pt x="135" y="21"/>
                  </a:lnTo>
                  <a:lnTo>
                    <a:pt x="135" y="23"/>
                  </a:lnTo>
                  <a:lnTo>
                    <a:pt x="135" y="21"/>
                  </a:lnTo>
                  <a:lnTo>
                    <a:pt x="137" y="21"/>
                  </a:lnTo>
                  <a:lnTo>
                    <a:pt x="137" y="20"/>
                  </a:lnTo>
                  <a:lnTo>
                    <a:pt x="137" y="21"/>
                  </a:lnTo>
                  <a:lnTo>
                    <a:pt x="135" y="21"/>
                  </a:lnTo>
                  <a:lnTo>
                    <a:pt x="133" y="21"/>
                  </a:lnTo>
                  <a:lnTo>
                    <a:pt x="133" y="20"/>
                  </a:lnTo>
                  <a:lnTo>
                    <a:pt x="133" y="18"/>
                  </a:lnTo>
                  <a:lnTo>
                    <a:pt x="131" y="18"/>
                  </a:lnTo>
                  <a:lnTo>
                    <a:pt x="131" y="20"/>
                  </a:lnTo>
                  <a:lnTo>
                    <a:pt x="131" y="18"/>
                  </a:lnTo>
                  <a:lnTo>
                    <a:pt x="131" y="20"/>
                  </a:lnTo>
                  <a:lnTo>
                    <a:pt x="131" y="18"/>
                  </a:lnTo>
                  <a:lnTo>
                    <a:pt x="131" y="16"/>
                  </a:lnTo>
                  <a:lnTo>
                    <a:pt x="131" y="14"/>
                  </a:lnTo>
                  <a:lnTo>
                    <a:pt x="131" y="16"/>
                  </a:lnTo>
                  <a:lnTo>
                    <a:pt x="133" y="16"/>
                  </a:lnTo>
                  <a:lnTo>
                    <a:pt x="133" y="14"/>
                  </a:lnTo>
                  <a:lnTo>
                    <a:pt x="131" y="14"/>
                  </a:lnTo>
                  <a:lnTo>
                    <a:pt x="133" y="14"/>
                  </a:lnTo>
                  <a:lnTo>
                    <a:pt x="135" y="14"/>
                  </a:lnTo>
                  <a:lnTo>
                    <a:pt x="135" y="12"/>
                  </a:lnTo>
                  <a:lnTo>
                    <a:pt x="137" y="12"/>
                  </a:lnTo>
                  <a:lnTo>
                    <a:pt x="135" y="12"/>
                  </a:lnTo>
                  <a:lnTo>
                    <a:pt x="137" y="12"/>
                  </a:lnTo>
                  <a:lnTo>
                    <a:pt x="135" y="12"/>
                  </a:lnTo>
                  <a:lnTo>
                    <a:pt x="135" y="10"/>
                  </a:lnTo>
                  <a:lnTo>
                    <a:pt x="135" y="12"/>
                  </a:lnTo>
                  <a:lnTo>
                    <a:pt x="135" y="10"/>
                  </a:lnTo>
                  <a:lnTo>
                    <a:pt x="137" y="10"/>
                  </a:lnTo>
                  <a:lnTo>
                    <a:pt x="135" y="10"/>
                  </a:lnTo>
                  <a:lnTo>
                    <a:pt x="137" y="10"/>
                  </a:lnTo>
                  <a:lnTo>
                    <a:pt x="137" y="12"/>
                  </a:lnTo>
                  <a:lnTo>
                    <a:pt x="137" y="10"/>
                  </a:lnTo>
                  <a:lnTo>
                    <a:pt x="137" y="12"/>
                  </a:lnTo>
                  <a:lnTo>
                    <a:pt x="138" y="12"/>
                  </a:lnTo>
                  <a:lnTo>
                    <a:pt x="138" y="10"/>
                  </a:lnTo>
                  <a:lnTo>
                    <a:pt x="140" y="10"/>
                  </a:lnTo>
                  <a:lnTo>
                    <a:pt x="142" y="10"/>
                  </a:lnTo>
                  <a:lnTo>
                    <a:pt x="140" y="10"/>
                  </a:lnTo>
                  <a:lnTo>
                    <a:pt x="142" y="10"/>
                  </a:lnTo>
                  <a:lnTo>
                    <a:pt x="144" y="10"/>
                  </a:lnTo>
                  <a:lnTo>
                    <a:pt x="142" y="10"/>
                  </a:lnTo>
                  <a:lnTo>
                    <a:pt x="144" y="10"/>
                  </a:lnTo>
                  <a:lnTo>
                    <a:pt x="142" y="10"/>
                  </a:lnTo>
                  <a:lnTo>
                    <a:pt x="144" y="10"/>
                  </a:lnTo>
                  <a:lnTo>
                    <a:pt x="142" y="10"/>
                  </a:lnTo>
                  <a:lnTo>
                    <a:pt x="144" y="10"/>
                  </a:lnTo>
                  <a:lnTo>
                    <a:pt x="142" y="10"/>
                  </a:lnTo>
                  <a:lnTo>
                    <a:pt x="144" y="10"/>
                  </a:lnTo>
                  <a:lnTo>
                    <a:pt x="142" y="10"/>
                  </a:lnTo>
                  <a:lnTo>
                    <a:pt x="144" y="10"/>
                  </a:lnTo>
                  <a:lnTo>
                    <a:pt x="144" y="8"/>
                  </a:lnTo>
                  <a:lnTo>
                    <a:pt x="144" y="10"/>
                  </a:lnTo>
                  <a:lnTo>
                    <a:pt x="144" y="8"/>
                  </a:lnTo>
                  <a:lnTo>
                    <a:pt x="144" y="10"/>
                  </a:lnTo>
                  <a:lnTo>
                    <a:pt x="146" y="10"/>
                  </a:lnTo>
                  <a:lnTo>
                    <a:pt x="144" y="10"/>
                  </a:lnTo>
                  <a:lnTo>
                    <a:pt x="146" y="10"/>
                  </a:lnTo>
                  <a:lnTo>
                    <a:pt x="146" y="12"/>
                  </a:lnTo>
                  <a:lnTo>
                    <a:pt x="146" y="10"/>
                  </a:lnTo>
                  <a:lnTo>
                    <a:pt x="146" y="8"/>
                  </a:lnTo>
                  <a:lnTo>
                    <a:pt x="144" y="8"/>
                  </a:lnTo>
                  <a:lnTo>
                    <a:pt x="146" y="8"/>
                  </a:lnTo>
                  <a:lnTo>
                    <a:pt x="146" y="6"/>
                  </a:lnTo>
                  <a:lnTo>
                    <a:pt x="146" y="8"/>
                  </a:lnTo>
                  <a:lnTo>
                    <a:pt x="144" y="8"/>
                  </a:lnTo>
                  <a:lnTo>
                    <a:pt x="146" y="8"/>
                  </a:lnTo>
                  <a:lnTo>
                    <a:pt x="144" y="8"/>
                  </a:lnTo>
                  <a:lnTo>
                    <a:pt x="146" y="8"/>
                  </a:lnTo>
                  <a:lnTo>
                    <a:pt x="144" y="8"/>
                  </a:lnTo>
                  <a:lnTo>
                    <a:pt x="144" y="6"/>
                  </a:lnTo>
                  <a:lnTo>
                    <a:pt x="146" y="6"/>
                  </a:lnTo>
                  <a:lnTo>
                    <a:pt x="146" y="4"/>
                  </a:lnTo>
                  <a:lnTo>
                    <a:pt x="148" y="4"/>
                  </a:lnTo>
                  <a:lnTo>
                    <a:pt x="148" y="2"/>
                  </a:lnTo>
                  <a:lnTo>
                    <a:pt x="150" y="2"/>
                  </a:lnTo>
                  <a:lnTo>
                    <a:pt x="152" y="2"/>
                  </a:lnTo>
                  <a:lnTo>
                    <a:pt x="150" y="2"/>
                  </a:lnTo>
                  <a:lnTo>
                    <a:pt x="150" y="4"/>
                  </a:lnTo>
                  <a:lnTo>
                    <a:pt x="152" y="4"/>
                  </a:lnTo>
                  <a:lnTo>
                    <a:pt x="150" y="4"/>
                  </a:lnTo>
                  <a:lnTo>
                    <a:pt x="152" y="2"/>
                  </a:lnTo>
                  <a:lnTo>
                    <a:pt x="150" y="2"/>
                  </a:lnTo>
                  <a:lnTo>
                    <a:pt x="152" y="2"/>
                  </a:lnTo>
                  <a:lnTo>
                    <a:pt x="150" y="2"/>
                  </a:lnTo>
                  <a:lnTo>
                    <a:pt x="152" y="2"/>
                  </a:lnTo>
                  <a:lnTo>
                    <a:pt x="154" y="2"/>
                  </a:lnTo>
                  <a:lnTo>
                    <a:pt x="154" y="0"/>
                  </a:lnTo>
                  <a:lnTo>
                    <a:pt x="154" y="2"/>
                  </a:lnTo>
                  <a:lnTo>
                    <a:pt x="154" y="4"/>
                  </a:lnTo>
                  <a:lnTo>
                    <a:pt x="156" y="4"/>
                  </a:lnTo>
                  <a:lnTo>
                    <a:pt x="154" y="4"/>
                  </a:lnTo>
                  <a:lnTo>
                    <a:pt x="156" y="4"/>
                  </a:lnTo>
                  <a:lnTo>
                    <a:pt x="154" y="4"/>
                  </a:lnTo>
                  <a:lnTo>
                    <a:pt x="156" y="4"/>
                  </a:lnTo>
                  <a:lnTo>
                    <a:pt x="154" y="4"/>
                  </a:lnTo>
                  <a:lnTo>
                    <a:pt x="156" y="4"/>
                  </a:lnTo>
                  <a:lnTo>
                    <a:pt x="156" y="2"/>
                  </a:lnTo>
                  <a:lnTo>
                    <a:pt x="158" y="2"/>
                  </a:lnTo>
                  <a:lnTo>
                    <a:pt x="156" y="2"/>
                  </a:lnTo>
                  <a:lnTo>
                    <a:pt x="158" y="2"/>
                  </a:lnTo>
                  <a:lnTo>
                    <a:pt x="158" y="4"/>
                  </a:lnTo>
                  <a:lnTo>
                    <a:pt x="160" y="4"/>
                  </a:lnTo>
                  <a:lnTo>
                    <a:pt x="160" y="6"/>
                  </a:lnTo>
                  <a:lnTo>
                    <a:pt x="162" y="6"/>
                  </a:lnTo>
                  <a:lnTo>
                    <a:pt x="163" y="6"/>
                  </a:lnTo>
                  <a:lnTo>
                    <a:pt x="162" y="6"/>
                  </a:lnTo>
                  <a:lnTo>
                    <a:pt x="163" y="6"/>
                  </a:lnTo>
                  <a:lnTo>
                    <a:pt x="163" y="8"/>
                  </a:lnTo>
                  <a:lnTo>
                    <a:pt x="163" y="6"/>
                  </a:lnTo>
                  <a:lnTo>
                    <a:pt x="165" y="6"/>
                  </a:lnTo>
                  <a:lnTo>
                    <a:pt x="167" y="6"/>
                  </a:lnTo>
                  <a:lnTo>
                    <a:pt x="169" y="6"/>
                  </a:lnTo>
                  <a:lnTo>
                    <a:pt x="171" y="6"/>
                  </a:lnTo>
                  <a:lnTo>
                    <a:pt x="173" y="6"/>
                  </a:lnTo>
                  <a:lnTo>
                    <a:pt x="175" y="6"/>
                  </a:lnTo>
                  <a:lnTo>
                    <a:pt x="175" y="4"/>
                  </a:lnTo>
                  <a:lnTo>
                    <a:pt x="175" y="6"/>
                  </a:lnTo>
                  <a:lnTo>
                    <a:pt x="177" y="6"/>
                  </a:lnTo>
                  <a:lnTo>
                    <a:pt x="179" y="6"/>
                  </a:lnTo>
                  <a:lnTo>
                    <a:pt x="179" y="4"/>
                  </a:lnTo>
                  <a:lnTo>
                    <a:pt x="179" y="6"/>
                  </a:lnTo>
                  <a:lnTo>
                    <a:pt x="179" y="4"/>
                  </a:lnTo>
                  <a:lnTo>
                    <a:pt x="181" y="4"/>
                  </a:lnTo>
                  <a:lnTo>
                    <a:pt x="183" y="4"/>
                  </a:lnTo>
                  <a:lnTo>
                    <a:pt x="183" y="6"/>
                  </a:lnTo>
                  <a:lnTo>
                    <a:pt x="181" y="4"/>
                  </a:lnTo>
                  <a:lnTo>
                    <a:pt x="181" y="6"/>
                  </a:lnTo>
                  <a:lnTo>
                    <a:pt x="183" y="6"/>
                  </a:lnTo>
                  <a:lnTo>
                    <a:pt x="181" y="6"/>
                  </a:lnTo>
                  <a:lnTo>
                    <a:pt x="183" y="6"/>
                  </a:lnTo>
                  <a:lnTo>
                    <a:pt x="185" y="6"/>
                  </a:lnTo>
                  <a:lnTo>
                    <a:pt x="186" y="6"/>
                  </a:lnTo>
                  <a:lnTo>
                    <a:pt x="188" y="6"/>
                  </a:lnTo>
                  <a:lnTo>
                    <a:pt x="188" y="8"/>
                  </a:lnTo>
                  <a:lnTo>
                    <a:pt x="190" y="8"/>
                  </a:lnTo>
                  <a:lnTo>
                    <a:pt x="192" y="8"/>
                  </a:lnTo>
                  <a:lnTo>
                    <a:pt x="194" y="8"/>
                  </a:lnTo>
                  <a:lnTo>
                    <a:pt x="196" y="8"/>
                  </a:lnTo>
                  <a:lnTo>
                    <a:pt x="198" y="8"/>
                  </a:lnTo>
                  <a:lnTo>
                    <a:pt x="198" y="10"/>
                  </a:lnTo>
                  <a:lnTo>
                    <a:pt x="198" y="8"/>
                  </a:lnTo>
                  <a:lnTo>
                    <a:pt x="198" y="10"/>
                  </a:lnTo>
                  <a:lnTo>
                    <a:pt x="200" y="10"/>
                  </a:lnTo>
                  <a:lnTo>
                    <a:pt x="200" y="8"/>
                  </a:lnTo>
                  <a:lnTo>
                    <a:pt x="200" y="10"/>
                  </a:lnTo>
                  <a:lnTo>
                    <a:pt x="202" y="10"/>
                  </a:lnTo>
                  <a:lnTo>
                    <a:pt x="202" y="8"/>
                  </a:lnTo>
                  <a:lnTo>
                    <a:pt x="202" y="10"/>
                  </a:lnTo>
                  <a:lnTo>
                    <a:pt x="204" y="10"/>
                  </a:lnTo>
                  <a:lnTo>
                    <a:pt x="204" y="8"/>
                  </a:lnTo>
                  <a:lnTo>
                    <a:pt x="204" y="10"/>
                  </a:lnTo>
                  <a:lnTo>
                    <a:pt x="204" y="8"/>
                  </a:lnTo>
                  <a:lnTo>
                    <a:pt x="204" y="10"/>
                  </a:lnTo>
                  <a:lnTo>
                    <a:pt x="204" y="8"/>
                  </a:lnTo>
                  <a:lnTo>
                    <a:pt x="206" y="8"/>
                  </a:lnTo>
                  <a:lnTo>
                    <a:pt x="208" y="8"/>
                  </a:lnTo>
                  <a:lnTo>
                    <a:pt x="210" y="8"/>
                  </a:lnTo>
                  <a:lnTo>
                    <a:pt x="210" y="6"/>
                  </a:lnTo>
                  <a:lnTo>
                    <a:pt x="210" y="8"/>
                  </a:lnTo>
                  <a:lnTo>
                    <a:pt x="211" y="8"/>
                  </a:lnTo>
                  <a:lnTo>
                    <a:pt x="210" y="8"/>
                  </a:lnTo>
                  <a:lnTo>
                    <a:pt x="210" y="10"/>
                  </a:lnTo>
                  <a:lnTo>
                    <a:pt x="210" y="8"/>
                  </a:lnTo>
                  <a:lnTo>
                    <a:pt x="210" y="10"/>
                  </a:lnTo>
                  <a:lnTo>
                    <a:pt x="211" y="10"/>
                  </a:lnTo>
                  <a:lnTo>
                    <a:pt x="211" y="8"/>
                  </a:lnTo>
                  <a:lnTo>
                    <a:pt x="210" y="8"/>
                  </a:lnTo>
                  <a:lnTo>
                    <a:pt x="210" y="10"/>
                  </a:lnTo>
                  <a:lnTo>
                    <a:pt x="210" y="8"/>
                  </a:lnTo>
                  <a:lnTo>
                    <a:pt x="211" y="8"/>
                  </a:lnTo>
                  <a:lnTo>
                    <a:pt x="210" y="8"/>
                  </a:lnTo>
                  <a:lnTo>
                    <a:pt x="211" y="8"/>
                  </a:lnTo>
                  <a:lnTo>
                    <a:pt x="213" y="8"/>
                  </a:lnTo>
                  <a:lnTo>
                    <a:pt x="213" y="6"/>
                  </a:lnTo>
                  <a:lnTo>
                    <a:pt x="213" y="8"/>
                  </a:lnTo>
                  <a:lnTo>
                    <a:pt x="213" y="6"/>
                  </a:lnTo>
                  <a:lnTo>
                    <a:pt x="213" y="8"/>
                  </a:lnTo>
                  <a:lnTo>
                    <a:pt x="215" y="8"/>
                  </a:lnTo>
                  <a:lnTo>
                    <a:pt x="215" y="6"/>
                  </a:lnTo>
                  <a:lnTo>
                    <a:pt x="215" y="8"/>
                  </a:lnTo>
                  <a:lnTo>
                    <a:pt x="215" y="10"/>
                  </a:lnTo>
                  <a:lnTo>
                    <a:pt x="215" y="8"/>
                  </a:lnTo>
                  <a:lnTo>
                    <a:pt x="217" y="8"/>
                  </a:lnTo>
                  <a:lnTo>
                    <a:pt x="217" y="10"/>
                  </a:lnTo>
                  <a:lnTo>
                    <a:pt x="217" y="8"/>
                  </a:lnTo>
                  <a:lnTo>
                    <a:pt x="219" y="8"/>
                  </a:lnTo>
                  <a:lnTo>
                    <a:pt x="219" y="10"/>
                  </a:lnTo>
                  <a:lnTo>
                    <a:pt x="221" y="10"/>
                  </a:lnTo>
                  <a:lnTo>
                    <a:pt x="223" y="10"/>
                  </a:lnTo>
                  <a:lnTo>
                    <a:pt x="223" y="12"/>
                  </a:lnTo>
                  <a:lnTo>
                    <a:pt x="223" y="10"/>
                  </a:lnTo>
                  <a:lnTo>
                    <a:pt x="221" y="10"/>
                  </a:lnTo>
                  <a:lnTo>
                    <a:pt x="223" y="10"/>
                  </a:lnTo>
                  <a:lnTo>
                    <a:pt x="223" y="8"/>
                  </a:lnTo>
                  <a:lnTo>
                    <a:pt x="225" y="8"/>
                  </a:lnTo>
                  <a:lnTo>
                    <a:pt x="227" y="8"/>
                  </a:lnTo>
                  <a:lnTo>
                    <a:pt x="227" y="10"/>
                  </a:lnTo>
                  <a:lnTo>
                    <a:pt x="227" y="8"/>
                  </a:lnTo>
                  <a:lnTo>
                    <a:pt x="227" y="10"/>
                  </a:lnTo>
                  <a:lnTo>
                    <a:pt x="229" y="10"/>
                  </a:lnTo>
                  <a:lnTo>
                    <a:pt x="231" y="10"/>
                  </a:lnTo>
                  <a:lnTo>
                    <a:pt x="229" y="10"/>
                  </a:lnTo>
                  <a:lnTo>
                    <a:pt x="231" y="10"/>
                  </a:lnTo>
                  <a:lnTo>
                    <a:pt x="231" y="12"/>
                  </a:lnTo>
                  <a:lnTo>
                    <a:pt x="233" y="12"/>
                  </a:lnTo>
                  <a:lnTo>
                    <a:pt x="233" y="10"/>
                  </a:lnTo>
                  <a:lnTo>
                    <a:pt x="233" y="12"/>
                  </a:lnTo>
                  <a:lnTo>
                    <a:pt x="233" y="10"/>
                  </a:lnTo>
                  <a:lnTo>
                    <a:pt x="233" y="12"/>
                  </a:lnTo>
                  <a:lnTo>
                    <a:pt x="233" y="10"/>
                  </a:lnTo>
                  <a:lnTo>
                    <a:pt x="234" y="10"/>
                  </a:lnTo>
                  <a:lnTo>
                    <a:pt x="234" y="12"/>
                  </a:lnTo>
                  <a:lnTo>
                    <a:pt x="234" y="10"/>
                  </a:lnTo>
                  <a:lnTo>
                    <a:pt x="234" y="12"/>
                  </a:lnTo>
                  <a:lnTo>
                    <a:pt x="234" y="10"/>
                  </a:lnTo>
                  <a:lnTo>
                    <a:pt x="234" y="12"/>
                  </a:lnTo>
                  <a:lnTo>
                    <a:pt x="234" y="10"/>
                  </a:lnTo>
                  <a:lnTo>
                    <a:pt x="234" y="12"/>
                  </a:lnTo>
                  <a:lnTo>
                    <a:pt x="234" y="10"/>
                  </a:lnTo>
                  <a:lnTo>
                    <a:pt x="236" y="10"/>
                  </a:lnTo>
                  <a:lnTo>
                    <a:pt x="238" y="10"/>
                  </a:lnTo>
                  <a:lnTo>
                    <a:pt x="236" y="10"/>
                  </a:lnTo>
                  <a:lnTo>
                    <a:pt x="238" y="10"/>
                  </a:lnTo>
                  <a:lnTo>
                    <a:pt x="236" y="10"/>
                  </a:lnTo>
                  <a:lnTo>
                    <a:pt x="238" y="10"/>
                  </a:lnTo>
                  <a:lnTo>
                    <a:pt x="236" y="10"/>
                  </a:lnTo>
                  <a:lnTo>
                    <a:pt x="238" y="10"/>
                  </a:lnTo>
                  <a:lnTo>
                    <a:pt x="240" y="10"/>
                  </a:lnTo>
                  <a:close/>
                  <a:moveTo>
                    <a:pt x="313" y="77"/>
                  </a:moveTo>
                  <a:lnTo>
                    <a:pt x="311" y="77"/>
                  </a:lnTo>
                  <a:lnTo>
                    <a:pt x="313" y="77"/>
                  </a:lnTo>
                  <a:lnTo>
                    <a:pt x="311" y="77"/>
                  </a:lnTo>
                  <a:lnTo>
                    <a:pt x="311" y="79"/>
                  </a:lnTo>
                  <a:lnTo>
                    <a:pt x="311" y="77"/>
                  </a:lnTo>
                  <a:lnTo>
                    <a:pt x="313" y="77"/>
                  </a:lnTo>
                  <a:lnTo>
                    <a:pt x="313" y="79"/>
                  </a:lnTo>
                  <a:lnTo>
                    <a:pt x="311" y="79"/>
                  </a:lnTo>
                  <a:lnTo>
                    <a:pt x="311" y="81"/>
                  </a:lnTo>
                  <a:lnTo>
                    <a:pt x="313" y="81"/>
                  </a:lnTo>
                  <a:lnTo>
                    <a:pt x="311" y="81"/>
                  </a:lnTo>
                  <a:lnTo>
                    <a:pt x="313" y="81"/>
                  </a:lnTo>
                  <a:lnTo>
                    <a:pt x="315" y="81"/>
                  </a:lnTo>
                  <a:lnTo>
                    <a:pt x="315" y="79"/>
                  </a:lnTo>
                  <a:lnTo>
                    <a:pt x="315" y="81"/>
                  </a:lnTo>
                  <a:lnTo>
                    <a:pt x="317" y="81"/>
                  </a:lnTo>
                  <a:lnTo>
                    <a:pt x="317" y="83"/>
                  </a:lnTo>
                  <a:lnTo>
                    <a:pt x="315" y="83"/>
                  </a:lnTo>
                  <a:lnTo>
                    <a:pt x="315" y="85"/>
                  </a:lnTo>
                  <a:lnTo>
                    <a:pt x="313" y="85"/>
                  </a:lnTo>
                  <a:lnTo>
                    <a:pt x="313" y="87"/>
                  </a:lnTo>
                  <a:lnTo>
                    <a:pt x="313" y="89"/>
                  </a:lnTo>
                  <a:lnTo>
                    <a:pt x="313" y="87"/>
                  </a:lnTo>
                  <a:lnTo>
                    <a:pt x="313" y="89"/>
                  </a:lnTo>
                  <a:lnTo>
                    <a:pt x="311" y="89"/>
                  </a:lnTo>
                  <a:lnTo>
                    <a:pt x="309" y="89"/>
                  </a:lnTo>
                  <a:lnTo>
                    <a:pt x="307" y="89"/>
                  </a:lnTo>
                  <a:lnTo>
                    <a:pt x="307" y="87"/>
                  </a:lnTo>
                  <a:lnTo>
                    <a:pt x="307" y="89"/>
                  </a:lnTo>
                  <a:lnTo>
                    <a:pt x="307" y="87"/>
                  </a:lnTo>
                  <a:lnTo>
                    <a:pt x="307" y="89"/>
                  </a:lnTo>
                  <a:lnTo>
                    <a:pt x="307" y="87"/>
                  </a:lnTo>
                  <a:lnTo>
                    <a:pt x="307" y="89"/>
                  </a:lnTo>
                  <a:lnTo>
                    <a:pt x="307" y="87"/>
                  </a:lnTo>
                  <a:lnTo>
                    <a:pt x="305" y="87"/>
                  </a:lnTo>
                  <a:lnTo>
                    <a:pt x="305" y="85"/>
                  </a:lnTo>
                  <a:lnTo>
                    <a:pt x="304" y="85"/>
                  </a:lnTo>
                  <a:lnTo>
                    <a:pt x="305" y="85"/>
                  </a:lnTo>
                  <a:lnTo>
                    <a:pt x="305" y="83"/>
                  </a:lnTo>
                  <a:lnTo>
                    <a:pt x="305" y="85"/>
                  </a:lnTo>
                  <a:lnTo>
                    <a:pt x="304" y="85"/>
                  </a:lnTo>
                  <a:lnTo>
                    <a:pt x="304" y="83"/>
                  </a:lnTo>
                  <a:lnTo>
                    <a:pt x="305" y="83"/>
                  </a:lnTo>
                  <a:lnTo>
                    <a:pt x="304" y="83"/>
                  </a:lnTo>
                  <a:lnTo>
                    <a:pt x="304" y="85"/>
                  </a:lnTo>
                  <a:lnTo>
                    <a:pt x="305" y="85"/>
                  </a:lnTo>
                  <a:lnTo>
                    <a:pt x="304" y="85"/>
                  </a:lnTo>
                  <a:lnTo>
                    <a:pt x="305" y="85"/>
                  </a:lnTo>
                  <a:lnTo>
                    <a:pt x="304" y="85"/>
                  </a:lnTo>
                  <a:lnTo>
                    <a:pt x="304" y="87"/>
                  </a:lnTo>
                  <a:lnTo>
                    <a:pt x="302" y="87"/>
                  </a:lnTo>
                  <a:lnTo>
                    <a:pt x="304" y="87"/>
                  </a:lnTo>
                  <a:lnTo>
                    <a:pt x="302" y="87"/>
                  </a:lnTo>
                  <a:lnTo>
                    <a:pt x="302" y="85"/>
                  </a:lnTo>
                  <a:lnTo>
                    <a:pt x="300" y="85"/>
                  </a:lnTo>
                  <a:lnTo>
                    <a:pt x="302" y="85"/>
                  </a:lnTo>
                  <a:lnTo>
                    <a:pt x="300" y="85"/>
                  </a:lnTo>
                  <a:lnTo>
                    <a:pt x="300" y="83"/>
                  </a:lnTo>
                  <a:lnTo>
                    <a:pt x="302" y="83"/>
                  </a:lnTo>
                  <a:lnTo>
                    <a:pt x="302" y="81"/>
                  </a:lnTo>
                  <a:lnTo>
                    <a:pt x="304" y="81"/>
                  </a:lnTo>
                  <a:lnTo>
                    <a:pt x="305" y="81"/>
                  </a:lnTo>
                  <a:lnTo>
                    <a:pt x="305" y="79"/>
                  </a:lnTo>
                  <a:lnTo>
                    <a:pt x="307" y="79"/>
                  </a:lnTo>
                  <a:lnTo>
                    <a:pt x="307" y="77"/>
                  </a:lnTo>
                  <a:lnTo>
                    <a:pt x="309" y="77"/>
                  </a:lnTo>
                  <a:lnTo>
                    <a:pt x="311" y="77"/>
                  </a:lnTo>
                  <a:lnTo>
                    <a:pt x="309" y="77"/>
                  </a:lnTo>
                  <a:lnTo>
                    <a:pt x="311" y="77"/>
                  </a:lnTo>
                  <a:lnTo>
                    <a:pt x="313" y="77"/>
                  </a:lnTo>
                  <a:close/>
                  <a:moveTo>
                    <a:pt x="29" y="279"/>
                  </a:moveTo>
                  <a:lnTo>
                    <a:pt x="31" y="279"/>
                  </a:lnTo>
                  <a:lnTo>
                    <a:pt x="29" y="279"/>
                  </a:lnTo>
                  <a:lnTo>
                    <a:pt x="31" y="279"/>
                  </a:lnTo>
                  <a:lnTo>
                    <a:pt x="29" y="279"/>
                  </a:lnTo>
                  <a:lnTo>
                    <a:pt x="31" y="279"/>
                  </a:lnTo>
                  <a:lnTo>
                    <a:pt x="29" y="279"/>
                  </a:lnTo>
                  <a:lnTo>
                    <a:pt x="31" y="279"/>
                  </a:lnTo>
                  <a:lnTo>
                    <a:pt x="29" y="279"/>
                  </a:lnTo>
                  <a:lnTo>
                    <a:pt x="29" y="281"/>
                  </a:lnTo>
                  <a:lnTo>
                    <a:pt x="29" y="279"/>
                  </a:lnTo>
                  <a:lnTo>
                    <a:pt x="29" y="281"/>
                  </a:lnTo>
                  <a:lnTo>
                    <a:pt x="27" y="281"/>
                  </a:lnTo>
                  <a:lnTo>
                    <a:pt x="27" y="283"/>
                  </a:lnTo>
                  <a:lnTo>
                    <a:pt x="27" y="285"/>
                  </a:lnTo>
                  <a:lnTo>
                    <a:pt x="25" y="285"/>
                  </a:lnTo>
                  <a:lnTo>
                    <a:pt x="25" y="287"/>
                  </a:lnTo>
                  <a:lnTo>
                    <a:pt x="23" y="287"/>
                  </a:lnTo>
                  <a:lnTo>
                    <a:pt x="23" y="288"/>
                  </a:lnTo>
                  <a:lnTo>
                    <a:pt x="21" y="288"/>
                  </a:lnTo>
                  <a:lnTo>
                    <a:pt x="21" y="287"/>
                  </a:lnTo>
                  <a:lnTo>
                    <a:pt x="21" y="288"/>
                  </a:lnTo>
                  <a:lnTo>
                    <a:pt x="21" y="287"/>
                  </a:lnTo>
                  <a:lnTo>
                    <a:pt x="19" y="287"/>
                  </a:lnTo>
                  <a:lnTo>
                    <a:pt x="19" y="285"/>
                  </a:lnTo>
                  <a:lnTo>
                    <a:pt x="19" y="283"/>
                  </a:lnTo>
                  <a:lnTo>
                    <a:pt x="18" y="283"/>
                  </a:lnTo>
                  <a:lnTo>
                    <a:pt x="19" y="283"/>
                  </a:lnTo>
                  <a:lnTo>
                    <a:pt x="19" y="281"/>
                  </a:lnTo>
                  <a:lnTo>
                    <a:pt x="19" y="283"/>
                  </a:lnTo>
                  <a:lnTo>
                    <a:pt x="19" y="281"/>
                  </a:lnTo>
                  <a:lnTo>
                    <a:pt x="19" y="283"/>
                  </a:lnTo>
                  <a:lnTo>
                    <a:pt x="21" y="283"/>
                  </a:lnTo>
                  <a:lnTo>
                    <a:pt x="21" y="281"/>
                  </a:lnTo>
                  <a:lnTo>
                    <a:pt x="21" y="283"/>
                  </a:lnTo>
                  <a:lnTo>
                    <a:pt x="21" y="281"/>
                  </a:lnTo>
                  <a:lnTo>
                    <a:pt x="23" y="281"/>
                  </a:lnTo>
                  <a:lnTo>
                    <a:pt x="25" y="281"/>
                  </a:lnTo>
                  <a:lnTo>
                    <a:pt x="25" y="279"/>
                  </a:lnTo>
                  <a:lnTo>
                    <a:pt x="27" y="279"/>
                  </a:lnTo>
                  <a:lnTo>
                    <a:pt x="29" y="279"/>
                  </a:lnTo>
                  <a:close/>
                  <a:moveTo>
                    <a:pt x="64" y="275"/>
                  </a:moveTo>
                  <a:lnTo>
                    <a:pt x="64" y="277"/>
                  </a:lnTo>
                  <a:lnTo>
                    <a:pt x="64" y="279"/>
                  </a:lnTo>
                  <a:lnTo>
                    <a:pt x="64" y="281"/>
                  </a:lnTo>
                  <a:lnTo>
                    <a:pt x="64" y="283"/>
                  </a:lnTo>
                  <a:lnTo>
                    <a:pt x="64" y="281"/>
                  </a:lnTo>
                  <a:lnTo>
                    <a:pt x="64" y="283"/>
                  </a:lnTo>
                  <a:lnTo>
                    <a:pt x="62" y="283"/>
                  </a:lnTo>
                  <a:lnTo>
                    <a:pt x="64" y="283"/>
                  </a:lnTo>
                  <a:lnTo>
                    <a:pt x="62" y="283"/>
                  </a:lnTo>
                  <a:lnTo>
                    <a:pt x="62" y="285"/>
                  </a:lnTo>
                  <a:lnTo>
                    <a:pt x="60" y="285"/>
                  </a:lnTo>
                  <a:lnTo>
                    <a:pt x="62" y="285"/>
                  </a:lnTo>
                  <a:lnTo>
                    <a:pt x="60" y="285"/>
                  </a:lnTo>
                  <a:lnTo>
                    <a:pt x="58" y="285"/>
                  </a:lnTo>
                  <a:lnTo>
                    <a:pt x="58" y="287"/>
                  </a:lnTo>
                  <a:lnTo>
                    <a:pt x="56" y="287"/>
                  </a:lnTo>
                  <a:lnTo>
                    <a:pt x="56" y="288"/>
                  </a:lnTo>
                  <a:lnTo>
                    <a:pt x="56" y="287"/>
                  </a:lnTo>
                  <a:lnTo>
                    <a:pt x="54" y="287"/>
                  </a:lnTo>
                  <a:lnTo>
                    <a:pt x="56" y="287"/>
                  </a:lnTo>
                  <a:lnTo>
                    <a:pt x="56" y="285"/>
                  </a:lnTo>
                  <a:lnTo>
                    <a:pt x="58" y="285"/>
                  </a:lnTo>
                  <a:lnTo>
                    <a:pt x="58" y="283"/>
                  </a:lnTo>
                  <a:lnTo>
                    <a:pt x="60" y="283"/>
                  </a:lnTo>
                  <a:lnTo>
                    <a:pt x="60" y="281"/>
                  </a:lnTo>
                  <a:lnTo>
                    <a:pt x="58" y="281"/>
                  </a:lnTo>
                  <a:lnTo>
                    <a:pt x="60" y="281"/>
                  </a:lnTo>
                  <a:lnTo>
                    <a:pt x="58" y="281"/>
                  </a:lnTo>
                  <a:lnTo>
                    <a:pt x="60" y="281"/>
                  </a:lnTo>
                  <a:lnTo>
                    <a:pt x="58" y="281"/>
                  </a:lnTo>
                  <a:lnTo>
                    <a:pt x="60" y="281"/>
                  </a:lnTo>
                  <a:lnTo>
                    <a:pt x="60" y="279"/>
                  </a:lnTo>
                  <a:lnTo>
                    <a:pt x="60" y="277"/>
                  </a:lnTo>
                  <a:lnTo>
                    <a:pt x="62" y="277"/>
                  </a:lnTo>
                  <a:lnTo>
                    <a:pt x="62" y="275"/>
                  </a:lnTo>
                  <a:lnTo>
                    <a:pt x="64" y="275"/>
                  </a:lnTo>
                  <a:close/>
                  <a:moveTo>
                    <a:pt x="41" y="285"/>
                  </a:moveTo>
                  <a:lnTo>
                    <a:pt x="41" y="287"/>
                  </a:lnTo>
                  <a:lnTo>
                    <a:pt x="41" y="288"/>
                  </a:lnTo>
                  <a:lnTo>
                    <a:pt x="41" y="290"/>
                  </a:lnTo>
                  <a:lnTo>
                    <a:pt x="41" y="288"/>
                  </a:lnTo>
                  <a:lnTo>
                    <a:pt x="41" y="290"/>
                  </a:lnTo>
                  <a:lnTo>
                    <a:pt x="41" y="292"/>
                  </a:lnTo>
                  <a:lnTo>
                    <a:pt x="39" y="292"/>
                  </a:lnTo>
                  <a:lnTo>
                    <a:pt x="37" y="292"/>
                  </a:lnTo>
                  <a:lnTo>
                    <a:pt x="35" y="292"/>
                  </a:lnTo>
                  <a:lnTo>
                    <a:pt x="35" y="290"/>
                  </a:lnTo>
                  <a:lnTo>
                    <a:pt x="35" y="292"/>
                  </a:lnTo>
                  <a:lnTo>
                    <a:pt x="35" y="290"/>
                  </a:lnTo>
                  <a:lnTo>
                    <a:pt x="35" y="288"/>
                  </a:lnTo>
                  <a:lnTo>
                    <a:pt x="35" y="287"/>
                  </a:lnTo>
                  <a:lnTo>
                    <a:pt x="37" y="287"/>
                  </a:lnTo>
                  <a:lnTo>
                    <a:pt x="37" y="285"/>
                  </a:lnTo>
                  <a:lnTo>
                    <a:pt x="37" y="287"/>
                  </a:lnTo>
                  <a:lnTo>
                    <a:pt x="37" y="285"/>
                  </a:lnTo>
                  <a:lnTo>
                    <a:pt x="37" y="287"/>
                  </a:lnTo>
                  <a:lnTo>
                    <a:pt x="37" y="285"/>
                  </a:lnTo>
                  <a:lnTo>
                    <a:pt x="37" y="287"/>
                  </a:lnTo>
                  <a:lnTo>
                    <a:pt x="39" y="287"/>
                  </a:lnTo>
                  <a:lnTo>
                    <a:pt x="41" y="287"/>
                  </a:lnTo>
                  <a:lnTo>
                    <a:pt x="41" y="285"/>
                  </a:lnTo>
                  <a:lnTo>
                    <a:pt x="41" y="287"/>
                  </a:lnTo>
                  <a:lnTo>
                    <a:pt x="41" y="285"/>
                  </a:lnTo>
                  <a:close/>
                  <a:moveTo>
                    <a:pt x="69" y="267"/>
                  </a:moveTo>
                  <a:lnTo>
                    <a:pt x="69" y="269"/>
                  </a:lnTo>
                  <a:lnTo>
                    <a:pt x="69" y="271"/>
                  </a:lnTo>
                  <a:lnTo>
                    <a:pt x="67" y="271"/>
                  </a:lnTo>
                  <a:lnTo>
                    <a:pt x="67" y="273"/>
                  </a:lnTo>
                  <a:lnTo>
                    <a:pt x="67" y="271"/>
                  </a:lnTo>
                  <a:lnTo>
                    <a:pt x="67" y="273"/>
                  </a:lnTo>
                  <a:lnTo>
                    <a:pt x="67" y="271"/>
                  </a:lnTo>
                  <a:lnTo>
                    <a:pt x="67" y="273"/>
                  </a:lnTo>
                  <a:lnTo>
                    <a:pt x="66" y="273"/>
                  </a:lnTo>
                  <a:lnTo>
                    <a:pt x="64" y="273"/>
                  </a:lnTo>
                  <a:lnTo>
                    <a:pt x="64" y="275"/>
                  </a:lnTo>
                  <a:lnTo>
                    <a:pt x="64" y="273"/>
                  </a:lnTo>
                  <a:lnTo>
                    <a:pt x="64" y="271"/>
                  </a:lnTo>
                  <a:lnTo>
                    <a:pt x="66" y="271"/>
                  </a:lnTo>
                  <a:lnTo>
                    <a:pt x="66" y="269"/>
                  </a:lnTo>
                  <a:lnTo>
                    <a:pt x="66" y="271"/>
                  </a:lnTo>
                  <a:lnTo>
                    <a:pt x="66" y="269"/>
                  </a:lnTo>
                  <a:lnTo>
                    <a:pt x="67" y="269"/>
                  </a:lnTo>
                  <a:lnTo>
                    <a:pt x="67" y="267"/>
                  </a:lnTo>
                  <a:lnTo>
                    <a:pt x="69" y="267"/>
                  </a:lnTo>
                  <a:close/>
                  <a:moveTo>
                    <a:pt x="327" y="73"/>
                  </a:moveTo>
                  <a:lnTo>
                    <a:pt x="327" y="75"/>
                  </a:lnTo>
                  <a:lnTo>
                    <a:pt x="328" y="75"/>
                  </a:lnTo>
                  <a:lnTo>
                    <a:pt x="328" y="77"/>
                  </a:lnTo>
                  <a:lnTo>
                    <a:pt x="328" y="79"/>
                  </a:lnTo>
                  <a:lnTo>
                    <a:pt x="328" y="77"/>
                  </a:lnTo>
                  <a:lnTo>
                    <a:pt x="328" y="79"/>
                  </a:lnTo>
                  <a:lnTo>
                    <a:pt x="327" y="79"/>
                  </a:lnTo>
                  <a:lnTo>
                    <a:pt x="327" y="77"/>
                  </a:lnTo>
                  <a:lnTo>
                    <a:pt x="327" y="79"/>
                  </a:lnTo>
                  <a:lnTo>
                    <a:pt x="327" y="77"/>
                  </a:lnTo>
                  <a:lnTo>
                    <a:pt x="325" y="77"/>
                  </a:lnTo>
                  <a:lnTo>
                    <a:pt x="323" y="77"/>
                  </a:lnTo>
                  <a:lnTo>
                    <a:pt x="321" y="77"/>
                  </a:lnTo>
                  <a:lnTo>
                    <a:pt x="323" y="77"/>
                  </a:lnTo>
                  <a:lnTo>
                    <a:pt x="323" y="75"/>
                  </a:lnTo>
                  <a:lnTo>
                    <a:pt x="321" y="75"/>
                  </a:lnTo>
                  <a:lnTo>
                    <a:pt x="323" y="75"/>
                  </a:lnTo>
                  <a:lnTo>
                    <a:pt x="325" y="75"/>
                  </a:lnTo>
                  <a:lnTo>
                    <a:pt x="327" y="75"/>
                  </a:lnTo>
                  <a:lnTo>
                    <a:pt x="327" y="73"/>
                  </a:lnTo>
                  <a:lnTo>
                    <a:pt x="327" y="75"/>
                  </a:lnTo>
                  <a:lnTo>
                    <a:pt x="327" y="73"/>
                  </a:lnTo>
                  <a:lnTo>
                    <a:pt x="325" y="73"/>
                  </a:lnTo>
                  <a:lnTo>
                    <a:pt x="327" y="73"/>
                  </a:lnTo>
                  <a:close/>
                  <a:moveTo>
                    <a:pt x="4" y="273"/>
                  </a:moveTo>
                  <a:lnTo>
                    <a:pt x="4" y="275"/>
                  </a:lnTo>
                  <a:lnTo>
                    <a:pt x="6" y="275"/>
                  </a:lnTo>
                  <a:lnTo>
                    <a:pt x="6" y="277"/>
                  </a:lnTo>
                  <a:lnTo>
                    <a:pt x="6" y="279"/>
                  </a:lnTo>
                  <a:lnTo>
                    <a:pt x="6" y="281"/>
                  </a:lnTo>
                  <a:lnTo>
                    <a:pt x="4" y="281"/>
                  </a:lnTo>
                  <a:lnTo>
                    <a:pt x="4" y="279"/>
                  </a:lnTo>
                  <a:lnTo>
                    <a:pt x="4" y="281"/>
                  </a:lnTo>
                  <a:lnTo>
                    <a:pt x="4" y="279"/>
                  </a:lnTo>
                  <a:lnTo>
                    <a:pt x="4" y="277"/>
                  </a:lnTo>
                  <a:lnTo>
                    <a:pt x="2" y="277"/>
                  </a:lnTo>
                  <a:lnTo>
                    <a:pt x="4" y="277"/>
                  </a:lnTo>
                  <a:lnTo>
                    <a:pt x="2" y="277"/>
                  </a:lnTo>
                  <a:lnTo>
                    <a:pt x="2" y="275"/>
                  </a:lnTo>
                  <a:lnTo>
                    <a:pt x="4" y="275"/>
                  </a:lnTo>
                  <a:lnTo>
                    <a:pt x="4" y="273"/>
                  </a:lnTo>
                  <a:lnTo>
                    <a:pt x="4" y="275"/>
                  </a:lnTo>
                  <a:lnTo>
                    <a:pt x="4" y="273"/>
                  </a:lnTo>
                  <a:close/>
                  <a:moveTo>
                    <a:pt x="288" y="93"/>
                  </a:moveTo>
                  <a:lnTo>
                    <a:pt x="290" y="93"/>
                  </a:lnTo>
                  <a:lnTo>
                    <a:pt x="288" y="93"/>
                  </a:lnTo>
                  <a:lnTo>
                    <a:pt x="290" y="93"/>
                  </a:lnTo>
                  <a:lnTo>
                    <a:pt x="288" y="93"/>
                  </a:lnTo>
                  <a:lnTo>
                    <a:pt x="290" y="93"/>
                  </a:lnTo>
                  <a:lnTo>
                    <a:pt x="290" y="94"/>
                  </a:lnTo>
                  <a:lnTo>
                    <a:pt x="288" y="94"/>
                  </a:lnTo>
                  <a:lnTo>
                    <a:pt x="288" y="96"/>
                  </a:lnTo>
                  <a:lnTo>
                    <a:pt x="286" y="96"/>
                  </a:lnTo>
                  <a:lnTo>
                    <a:pt x="288" y="96"/>
                  </a:lnTo>
                  <a:lnTo>
                    <a:pt x="286" y="96"/>
                  </a:lnTo>
                  <a:lnTo>
                    <a:pt x="286" y="98"/>
                  </a:lnTo>
                  <a:lnTo>
                    <a:pt x="286" y="96"/>
                  </a:lnTo>
                  <a:lnTo>
                    <a:pt x="284" y="96"/>
                  </a:lnTo>
                  <a:lnTo>
                    <a:pt x="284" y="94"/>
                  </a:lnTo>
                  <a:lnTo>
                    <a:pt x="286" y="94"/>
                  </a:lnTo>
                  <a:lnTo>
                    <a:pt x="286" y="93"/>
                  </a:lnTo>
                  <a:lnTo>
                    <a:pt x="288" y="93"/>
                  </a:lnTo>
                  <a:close/>
                  <a:moveTo>
                    <a:pt x="14" y="285"/>
                  </a:moveTo>
                  <a:lnTo>
                    <a:pt x="16" y="285"/>
                  </a:lnTo>
                  <a:lnTo>
                    <a:pt x="16" y="287"/>
                  </a:lnTo>
                  <a:lnTo>
                    <a:pt x="16" y="288"/>
                  </a:lnTo>
                  <a:lnTo>
                    <a:pt x="14" y="288"/>
                  </a:lnTo>
                  <a:lnTo>
                    <a:pt x="14" y="287"/>
                  </a:lnTo>
                  <a:lnTo>
                    <a:pt x="14" y="288"/>
                  </a:lnTo>
                  <a:lnTo>
                    <a:pt x="14" y="287"/>
                  </a:lnTo>
                  <a:lnTo>
                    <a:pt x="12" y="287"/>
                  </a:lnTo>
                  <a:lnTo>
                    <a:pt x="12" y="285"/>
                  </a:lnTo>
                  <a:lnTo>
                    <a:pt x="14" y="285"/>
                  </a:lnTo>
                  <a:close/>
                  <a:moveTo>
                    <a:pt x="4" y="290"/>
                  </a:moveTo>
                  <a:lnTo>
                    <a:pt x="4" y="292"/>
                  </a:lnTo>
                  <a:lnTo>
                    <a:pt x="4" y="294"/>
                  </a:lnTo>
                  <a:lnTo>
                    <a:pt x="2" y="294"/>
                  </a:lnTo>
                  <a:lnTo>
                    <a:pt x="2" y="292"/>
                  </a:lnTo>
                  <a:lnTo>
                    <a:pt x="0" y="292"/>
                  </a:lnTo>
                  <a:lnTo>
                    <a:pt x="2" y="292"/>
                  </a:lnTo>
                  <a:lnTo>
                    <a:pt x="2" y="290"/>
                  </a:lnTo>
                  <a:lnTo>
                    <a:pt x="4" y="290"/>
                  </a:lnTo>
                  <a:close/>
                  <a:moveTo>
                    <a:pt x="286" y="98"/>
                  </a:moveTo>
                  <a:lnTo>
                    <a:pt x="288" y="98"/>
                  </a:lnTo>
                  <a:lnTo>
                    <a:pt x="288" y="102"/>
                  </a:lnTo>
                  <a:lnTo>
                    <a:pt x="286" y="102"/>
                  </a:lnTo>
                  <a:lnTo>
                    <a:pt x="286" y="98"/>
                  </a:lnTo>
                  <a:close/>
                  <a:moveTo>
                    <a:pt x="67" y="267"/>
                  </a:moveTo>
                  <a:lnTo>
                    <a:pt x="69" y="267"/>
                  </a:lnTo>
                  <a:lnTo>
                    <a:pt x="67" y="267"/>
                  </a:lnTo>
                  <a:close/>
                  <a:moveTo>
                    <a:pt x="186" y="152"/>
                  </a:moveTo>
                  <a:lnTo>
                    <a:pt x="188" y="152"/>
                  </a:lnTo>
                  <a:lnTo>
                    <a:pt x="186" y="152"/>
                  </a:lnTo>
                  <a:close/>
                  <a:moveTo>
                    <a:pt x="163" y="127"/>
                  </a:moveTo>
                  <a:lnTo>
                    <a:pt x="165" y="127"/>
                  </a:lnTo>
                  <a:lnTo>
                    <a:pt x="165" y="129"/>
                  </a:lnTo>
                  <a:lnTo>
                    <a:pt x="163" y="129"/>
                  </a:lnTo>
                  <a:lnTo>
                    <a:pt x="163" y="127"/>
                  </a:lnTo>
                  <a:close/>
                  <a:moveTo>
                    <a:pt x="294" y="27"/>
                  </a:moveTo>
                  <a:lnTo>
                    <a:pt x="296" y="27"/>
                  </a:lnTo>
                  <a:lnTo>
                    <a:pt x="294" y="27"/>
                  </a:lnTo>
                  <a:close/>
                  <a:moveTo>
                    <a:pt x="223" y="162"/>
                  </a:moveTo>
                  <a:lnTo>
                    <a:pt x="223" y="164"/>
                  </a:lnTo>
                  <a:lnTo>
                    <a:pt x="223" y="162"/>
                  </a:lnTo>
                  <a:close/>
                  <a:moveTo>
                    <a:pt x="309" y="91"/>
                  </a:moveTo>
                  <a:lnTo>
                    <a:pt x="309" y="93"/>
                  </a:lnTo>
                  <a:lnTo>
                    <a:pt x="309" y="91"/>
                  </a:lnTo>
                  <a:close/>
                  <a:moveTo>
                    <a:pt x="158" y="127"/>
                  </a:moveTo>
                  <a:lnTo>
                    <a:pt x="160" y="127"/>
                  </a:lnTo>
                  <a:lnTo>
                    <a:pt x="160" y="129"/>
                  </a:lnTo>
                  <a:lnTo>
                    <a:pt x="158" y="129"/>
                  </a:lnTo>
                  <a:lnTo>
                    <a:pt x="158" y="127"/>
                  </a:lnTo>
                  <a:close/>
                  <a:moveTo>
                    <a:pt x="67" y="265"/>
                  </a:moveTo>
                  <a:lnTo>
                    <a:pt x="69" y="265"/>
                  </a:lnTo>
                  <a:lnTo>
                    <a:pt x="67" y="265"/>
                  </a:lnTo>
                  <a:close/>
                  <a:moveTo>
                    <a:pt x="137" y="25"/>
                  </a:moveTo>
                  <a:lnTo>
                    <a:pt x="137" y="27"/>
                  </a:lnTo>
                  <a:lnTo>
                    <a:pt x="137" y="25"/>
                  </a:lnTo>
                  <a:close/>
                  <a:moveTo>
                    <a:pt x="256" y="117"/>
                  </a:moveTo>
                  <a:lnTo>
                    <a:pt x="256" y="119"/>
                  </a:lnTo>
                  <a:lnTo>
                    <a:pt x="256" y="117"/>
                  </a:lnTo>
                  <a:close/>
                  <a:moveTo>
                    <a:pt x="64" y="275"/>
                  </a:moveTo>
                  <a:lnTo>
                    <a:pt x="64" y="277"/>
                  </a:lnTo>
                  <a:lnTo>
                    <a:pt x="64" y="275"/>
                  </a:lnTo>
                  <a:close/>
                  <a:moveTo>
                    <a:pt x="135" y="31"/>
                  </a:moveTo>
                  <a:lnTo>
                    <a:pt x="137" y="31"/>
                  </a:lnTo>
                  <a:lnTo>
                    <a:pt x="137" y="33"/>
                  </a:lnTo>
                  <a:lnTo>
                    <a:pt x="135" y="33"/>
                  </a:lnTo>
                  <a:lnTo>
                    <a:pt x="135" y="31"/>
                  </a:lnTo>
                  <a:close/>
                  <a:moveTo>
                    <a:pt x="135" y="33"/>
                  </a:moveTo>
                  <a:lnTo>
                    <a:pt x="137" y="33"/>
                  </a:lnTo>
                  <a:lnTo>
                    <a:pt x="135" y="33"/>
                  </a:lnTo>
                  <a:close/>
                  <a:moveTo>
                    <a:pt x="254" y="119"/>
                  </a:moveTo>
                  <a:lnTo>
                    <a:pt x="256" y="119"/>
                  </a:lnTo>
                  <a:lnTo>
                    <a:pt x="254" y="119"/>
                  </a:lnTo>
                  <a:close/>
                  <a:moveTo>
                    <a:pt x="282" y="96"/>
                  </a:moveTo>
                  <a:lnTo>
                    <a:pt x="284" y="96"/>
                  </a:lnTo>
                  <a:lnTo>
                    <a:pt x="282" y="96"/>
                  </a:lnTo>
                  <a:close/>
                  <a:moveTo>
                    <a:pt x="282" y="94"/>
                  </a:moveTo>
                  <a:lnTo>
                    <a:pt x="284" y="94"/>
                  </a:lnTo>
                  <a:lnTo>
                    <a:pt x="284" y="96"/>
                  </a:lnTo>
                  <a:lnTo>
                    <a:pt x="282" y="96"/>
                  </a:lnTo>
                  <a:lnTo>
                    <a:pt x="282" y="94"/>
                  </a:lnTo>
                  <a:close/>
                  <a:moveTo>
                    <a:pt x="313" y="35"/>
                  </a:moveTo>
                  <a:lnTo>
                    <a:pt x="313" y="37"/>
                  </a:lnTo>
                  <a:lnTo>
                    <a:pt x="313" y="35"/>
                  </a:lnTo>
                  <a:close/>
                  <a:moveTo>
                    <a:pt x="137" y="33"/>
                  </a:moveTo>
                  <a:lnTo>
                    <a:pt x="137" y="35"/>
                  </a:lnTo>
                  <a:lnTo>
                    <a:pt x="137" y="33"/>
                  </a:lnTo>
                  <a:close/>
                  <a:moveTo>
                    <a:pt x="137" y="33"/>
                  </a:moveTo>
                  <a:lnTo>
                    <a:pt x="137" y="35"/>
                  </a:lnTo>
                  <a:lnTo>
                    <a:pt x="137" y="33"/>
                  </a:lnTo>
                  <a:close/>
                  <a:moveTo>
                    <a:pt x="282" y="94"/>
                  </a:moveTo>
                  <a:lnTo>
                    <a:pt x="282" y="96"/>
                  </a:lnTo>
                  <a:lnTo>
                    <a:pt x="282" y="9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Rectangle 294">
              <a:extLst>
                <a:ext uri="{FF2B5EF4-FFF2-40B4-BE49-F238E27FC236}">
                  <a16:creationId xmlns:a16="http://schemas.microsoft.com/office/drawing/2014/main" id="{D2FE5518-C260-4E1C-B61C-07C3ED7ED90C}"/>
                </a:ext>
              </a:extLst>
            </p:cNvPr>
            <p:cNvSpPr>
              <a:spLocks noChangeArrowheads="1"/>
            </p:cNvSpPr>
            <p:nvPr/>
          </p:nvSpPr>
          <p:spPr bwMode="gray">
            <a:xfrm>
              <a:off x="3111378" y="3668732"/>
              <a:ext cx="2453" cy="2453"/>
            </a:xfrm>
            <a:prstGeom prst="rect">
              <a:avLst/>
            </a:prstGeom>
            <a:solidFill>
              <a:srgbClr val="D0D0D0"/>
            </a:solidFill>
            <a:ln w="6350">
              <a:solidFill>
                <a:schemeClr val="tx1">
                  <a:alpha val="38000"/>
                </a:schemeClr>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295">
              <a:extLst>
                <a:ext uri="{FF2B5EF4-FFF2-40B4-BE49-F238E27FC236}">
                  <a16:creationId xmlns:a16="http://schemas.microsoft.com/office/drawing/2014/main" id="{F2CC5ACF-5086-4836-ADDB-0B60A1477F0D}"/>
                </a:ext>
              </a:extLst>
            </p:cNvPr>
            <p:cNvSpPr>
              <a:spLocks/>
            </p:cNvSpPr>
            <p:nvPr/>
          </p:nvSpPr>
          <p:spPr bwMode="gray">
            <a:xfrm>
              <a:off x="2972797" y="3676090"/>
              <a:ext cx="219522" cy="174145"/>
            </a:xfrm>
            <a:custGeom>
              <a:avLst/>
              <a:gdLst>
                <a:gd name="T0" fmla="*/ 117 w 179"/>
                <a:gd name="T1" fmla="*/ 6 h 142"/>
                <a:gd name="T2" fmla="*/ 123 w 179"/>
                <a:gd name="T3" fmla="*/ 12 h 142"/>
                <a:gd name="T4" fmla="*/ 131 w 179"/>
                <a:gd name="T5" fmla="*/ 14 h 142"/>
                <a:gd name="T6" fmla="*/ 137 w 179"/>
                <a:gd name="T7" fmla="*/ 12 h 142"/>
                <a:gd name="T8" fmla="*/ 140 w 179"/>
                <a:gd name="T9" fmla="*/ 12 h 142"/>
                <a:gd name="T10" fmla="*/ 148 w 179"/>
                <a:gd name="T11" fmla="*/ 12 h 142"/>
                <a:gd name="T12" fmla="*/ 148 w 179"/>
                <a:gd name="T13" fmla="*/ 8 h 142"/>
                <a:gd name="T14" fmla="*/ 152 w 179"/>
                <a:gd name="T15" fmla="*/ 12 h 142"/>
                <a:gd name="T16" fmla="*/ 154 w 179"/>
                <a:gd name="T17" fmla="*/ 14 h 142"/>
                <a:gd name="T18" fmla="*/ 161 w 179"/>
                <a:gd name="T19" fmla="*/ 14 h 142"/>
                <a:gd name="T20" fmla="*/ 165 w 179"/>
                <a:gd name="T21" fmla="*/ 17 h 142"/>
                <a:gd name="T22" fmla="*/ 167 w 179"/>
                <a:gd name="T23" fmla="*/ 25 h 142"/>
                <a:gd name="T24" fmla="*/ 169 w 179"/>
                <a:gd name="T25" fmla="*/ 33 h 142"/>
                <a:gd name="T26" fmla="*/ 169 w 179"/>
                <a:gd name="T27" fmla="*/ 38 h 142"/>
                <a:gd name="T28" fmla="*/ 171 w 179"/>
                <a:gd name="T29" fmla="*/ 48 h 142"/>
                <a:gd name="T30" fmla="*/ 177 w 179"/>
                <a:gd name="T31" fmla="*/ 58 h 142"/>
                <a:gd name="T32" fmla="*/ 175 w 179"/>
                <a:gd name="T33" fmla="*/ 63 h 142"/>
                <a:gd name="T34" fmla="*/ 175 w 179"/>
                <a:gd name="T35" fmla="*/ 67 h 142"/>
                <a:gd name="T36" fmla="*/ 165 w 179"/>
                <a:gd name="T37" fmla="*/ 65 h 142"/>
                <a:gd name="T38" fmla="*/ 158 w 179"/>
                <a:gd name="T39" fmla="*/ 65 h 142"/>
                <a:gd name="T40" fmla="*/ 150 w 179"/>
                <a:gd name="T41" fmla="*/ 69 h 142"/>
                <a:gd name="T42" fmla="*/ 144 w 179"/>
                <a:gd name="T43" fmla="*/ 73 h 142"/>
                <a:gd name="T44" fmla="*/ 138 w 179"/>
                <a:gd name="T45" fmla="*/ 81 h 142"/>
                <a:gd name="T46" fmla="*/ 138 w 179"/>
                <a:gd name="T47" fmla="*/ 85 h 142"/>
                <a:gd name="T48" fmla="*/ 138 w 179"/>
                <a:gd name="T49" fmla="*/ 85 h 142"/>
                <a:gd name="T50" fmla="*/ 137 w 179"/>
                <a:gd name="T51" fmla="*/ 92 h 142"/>
                <a:gd name="T52" fmla="*/ 119 w 179"/>
                <a:gd name="T53" fmla="*/ 102 h 142"/>
                <a:gd name="T54" fmla="*/ 113 w 179"/>
                <a:gd name="T55" fmla="*/ 108 h 142"/>
                <a:gd name="T56" fmla="*/ 110 w 179"/>
                <a:gd name="T57" fmla="*/ 111 h 142"/>
                <a:gd name="T58" fmla="*/ 102 w 179"/>
                <a:gd name="T59" fmla="*/ 111 h 142"/>
                <a:gd name="T60" fmla="*/ 90 w 179"/>
                <a:gd name="T61" fmla="*/ 111 h 142"/>
                <a:gd name="T62" fmla="*/ 81 w 179"/>
                <a:gd name="T63" fmla="*/ 113 h 142"/>
                <a:gd name="T64" fmla="*/ 75 w 179"/>
                <a:gd name="T65" fmla="*/ 119 h 142"/>
                <a:gd name="T66" fmla="*/ 65 w 179"/>
                <a:gd name="T67" fmla="*/ 125 h 142"/>
                <a:gd name="T68" fmla="*/ 37 w 179"/>
                <a:gd name="T69" fmla="*/ 142 h 142"/>
                <a:gd name="T70" fmla="*/ 4 w 179"/>
                <a:gd name="T71" fmla="*/ 142 h 142"/>
                <a:gd name="T72" fmla="*/ 4 w 179"/>
                <a:gd name="T73" fmla="*/ 136 h 142"/>
                <a:gd name="T74" fmla="*/ 14 w 179"/>
                <a:gd name="T75" fmla="*/ 135 h 142"/>
                <a:gd name="T76" fmla="*/ 14 w 179"/>
                <a:gd name="T77" fmla="*/ 135 h 142"/>
                <a:gd name="T78" fmla="*/ 23 w 179"/>
                <a:gd name="T79" fmla="*/ 133 h 142"/>
                <a:gd name="T80" fmla="*/ 29 w 179"/>
                <a:gd name="T81" fmla="*/ 127 h 142"/>
                <a:gd name="T82" fmla="*/ 35 w 179"/>
                <a:gd name="T83" fmla="*/ 121 h 142"/>
                <a:gd name="T84" fmla="*/ 41 w 179"/>
                <a:gd name="T85" fmla="*/ 115 h 142"/>
                <a:gd name="T86" fmla="*/ 46 w 179"/>
                <a:gd name="T87" fmla="*/ 110 h 142"/>
                <a:gd name="T88" fmla="*/ 50 w 179"/>
                <a:gd name="T89" fmla="*/ 102 h 142"/>
                <a:gd name="T90" fmla="*/ 50 w 179"/>
                <a:gd name="T91" fmla="*/ 94 h 142"/>
                <a:gd name="T92" fmla="*/ 50 w 179"/>
                <a:gd name="T93" fmla="*/ 87 h 142"/>
                <a:gd name="T94" fmla="*/ 50 w 179"/>
                <a:gd name="T95" fmla="*/ 79 h 142"/>
                <a:gd name="T96" fmla="*/ 52 w 179"/>
                <a:gd name="T97" fmla="*/ 73 h 142"/>
                <a:gd name="T98" fmla="*/ 58 w 179"/>
                <a:gd name="T99" fmla="*/ 65 h 142"/>
                <a:gd name="T100" fmla="*/ 60 w 179"/>
                <a:gd name="T101" fmla="*/ 56 h 142"/>
                <a:gd name="T102" fmla="*/ 65 w 179"/>
                <a:gd name="T103" fmla="*/ 50 h 142"/>
                <a:gd name="T104" fmla="*/ 67 w 179"/>
                <a:gd name="T105" fmla="*/ 48 h 142"/>
                <a:gd name="T106" fmla="*/ 71 w 179"/>
                <a:gd name="T107" fmla="*/ 44 h 142"/>
                <a:gd name="T108" fmla="*/ 81 w 179"/>
                <a:gd name="T109" fmla="*/ 42 h 142"/>
                <a:gd name="T110" fmla="*/ 83 w 179"/>
                <a:gd name="T111" fmla="*/ 40 h 142"/>
                <a:gd name="T112" fmla="*/ 90 w 179"/>
                <a:gd name="T113" fmla="*/ 37 h 142"/>
                <a:gd name="T114" fmla="*/ 94 w 179"/>
                <a:gd name="T115" fmla="*/ 29 h 142"/>
                <a:gd name="T116" fmla="*/ 98 w 179"/>
                <a:gd name="T117" fmla="*/ 25 h 142"/>
                <a:gd name="T118" fmla="*/ 102 w 179"/>
                <a:gd name="T119" fmla="*/ 17 h 142"/>
                <a:gd name="T120" fmla="*/ 104 w 179"/>
                <a:gd name="T121" fmla="*/ 12 h 142"/>
                <a:gd name="T122" fmla="*/ 106 w 179"/>
                <a:gd name="T123" fmla="*/ 2 h 142"/>
                <a:gd name="T124" fmla="*/ 112 w 179"/>
                <a:gd name="T12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9" h="142">
                  <a:moveTo>
                    <a:pt x="113" y="0"/>
                  </a:moveTo>
                  <a:lnTo>
                    <a:pt x="115" y="0"/>
                  </a:lnTo>
                  <a:lnTo>
                    <a:pt x="115" y="2"/>
                  </a:lnTo>
                  <a:lnTo>
                    <a:pt x="115" y="4"/>
                  </a:lnTo>
                  <a:lnTo>
                    <a:pt x="115" y="6"/>
                  </a:lnTo>
                  <a:lnTo>
                    <a:pt x="117" y="6"/>
                  </a:lnTo>
                  <a:lnTo>
                    <a:pt x="117" y="8"/>
                  </a:lnTo>
                  <a:lnTo>
                    <a:pt x="119" y="8"/>
                  </a:lnTo>
                  <a:lnTo>
                    <a:pt x="119" y="10"/>
                  </a:lnTo>
                  <a:lnTo>
                    <a:pt x="121" y="10"/>
                  </a:lnTo>
                  <a:lnTo>
                    <a:pt x="121" y="12"/>
                  </a:lnTo>
                  <a:lnTo>
                    <a:pt x="123" y="12"/>
                  </a:lnTo>
                  <a:lnTo>
                    <a:pt x="125" y="12"/>
                  </a:lnTo>
                  <a:lnTo>
                    <a:pt x="125" y="14"/>
                  </a:lnTo>
                  <a:lnTo>
                    <a:pt x="125" y="12"/>
                  </a:lnTo>
                  <a:lnTo>
                    <a:pt x="127" y="14"/>
                  </a:lnTo>
                  <a:lnTo>
                    <a:pt x="129" y="14"/>
                  </a:lnTo>
                  <a:lnTo>
                    <a:pt x="131" y="14"/>
                  </a:lnTo>
                  <a:lnTo>
                    <a:pt x="131" y="12"/>
                  </a:lnTo>
                  <a:lnTo>
                    <a:pt x="133" y="12"/>
                  </a:lnTo>
                  <a:lnTo>
                    <a:pt x="135" y="12"/>
                  </a:lnTo>
                  <a:lnTo>
                    <a:pt x="137" y="12"/>
                  </a:lnTo>
                  <a:lnTo>
                    <a:pt x="135" y="12"/>
                  </a:lnTo>
                  <a:lnTo>
                    <a:pt x="137" y="12"/>
                  </a:lnTo>
                  <a:lnTo>
                    <a:pt x="135" y="12"/>
                  </a:lnTo>
                  <a:lnTo>
                    <a:pt x="137" y="12"/>
                  </a:lnTo>
                  <a:lnTo>
                    <a:pt x="135" y="12"/>
                  </a:lnTo>
                  <a:lnTo>
                    <a:pt x="137" y="12"/>
                  </a:lnTo>
                  <a:lnTo>
                    <a:pt x="138" y="12"/>
                  </a:lnTo>
                  <a:lnTo>
                    <a:pt x="140" y="12"/>
                  </a:lnTo>
                  <a:lnTo>
                    <a:pt x="142" y="12"/>
                  </a:lnTo>
                  <a:lnTo>
                    <a:pt x="144" y="12"/>
                  </a:lnTo>
                  <a:lnTo>
                    <a:pt x="144" y="14"/>
                  </a:lnTo>
                  <a:lnTo>
                    <a:pt x="144" y="12"/>
                  </a:lnTo>
                  <a:lnTo>
                    <a:pt x="146" y="12"/>
                  </a:lnTo>
                  <a:lnTo>
                    <a:pt x="148" y="12"/>
                  </a:lnTo>
                  <a:lnTo>
                    <a:pt x="146" y="12"/>
                  </a:lnTo>
                  <a:lnTo>
                    <a:pt x="148" y="12"/>
                  </a:lnTo>
                  <a:lnTo>
                    <a:pt x="148" y="10"/>
                  </a:lnTo>
                  <a:lnTo>
                    <a:pt x="150" y="10"/>
                  </a:lnTo>
                  <a:lnTo>
                    <a:pt x="148" y="10"/>
                  </a:lnTo>
                  <a:lnTo>
                    <a:pt x="148" y="8"/>
                  </a:lnTo>
                  <a:lnTo>
                    <a:pt x="150" y="8"/>
                  </a:lnTo>
                  <a:lnTo>
                    <a:pt x="150" y="10"/>
                  </a:lnTo>
                  <a:lnTo>
                    <a:pt x="150" y="8"/>
                  </a:lnTo>
                  <a:lnTo>
                    <a:pt x="150" y="10"/>
                  </a:lnTo>
                  <a:lnTo>
                    <a:pt x="150" y="12"/>
                  </a:lnTo>
                  <a:lnTo>
                    <a:pt x="152" y="12"/>
                  </a:lnTo>
                  <a:lnTo>
                    <a:pt x="150" y="12"/>
                  </a:lnTo>
                  <a:lnTo>
                    <a:pt x="150" y="14"/>
                  </a:lnTo>
                  <a:lnTo>
                    <a:pt x="152" y="14"/>
                  </a:lnTo>
                  <a:lnTo>
                    <a:pt x="152" y="12"/>
                  </a:lnTo>
                  <a:lnTo>
                    <a:pt x="152" y="14"/>
                  </a:lnTo>
                  <a:lnTo>
                    <a:pt x="154" y="14"/>
                  </a:lnTo>
                  <a:lnTo>
                    <a:pt x="156" y="14"/>
                  </a:lnTo>
                  <a:lnTo>
                    <a:pt x="156" y="15"/>
                  </a:lnTo>
                  <a:lnTo>
                    <a:pt x="156" y="14"/>
                  </a:lnTo>
                  <a:lnTo>
                    <a:pt x="158" y="14"/>
                  </a:lnTo>
                  <a:lnTo>
                    <a:pt x="160" y="14"/>
                  </a:lnTo>
                  <a:lnTo>
                    <a:pt x="161" y="14"/>
                  </a:lnTo>
                  <a:lnTo>
                    <a:pt x="161" y="15"/>
                  </a:lnTo>
                  <a:lnTo>
                    <a:pt x="160" y="15"/>
                  </a:lnTo>
                  <a:lnTo>
                    <a:pt x="161" y="15"/>
                  </a:lnTo>
                  <a:lnTo>
                    <a:pt x="161" y="17"/>
                  </a:lnTo>
                  <a:lnTo>
                    <a:pt x="163" y="17"/>
                  </a:lnTo>
                  <a:lnTo>
                    <a:pt x="165" y="17"/>
                  </a:lnTo>
                  <a:lnTo>
                    <a:pt x="165" y="19"/>
                  </a:lnTo>
                  <a:lnTo>
                    <a:pt x="167" y="19"/>
                  </a:lnTo>
                  <a:lnTo>
                    <a:pt x="167" y="21"/>
                  </a:lnTo>
                  <a:lnTo>
                    <a:pt x="165" y="23"/>
                  </a:lnTo>
                  <a:lnTo>
                    <a:pt x="167" y="23"/>
                  </a:lnTo>
                  <a:lnTo>
                    <a:pt x="167" y="25"/>
                  </a:lnTo>
                  <a:lnTo>
                    <a:pt x="169" y="25"/>
                  </a:lnTo>
                  <a:lnTo>
                    <a:pt x="167" y="25"/>
                  </a:lnTo>
                  <a:lnTo>
                    <a:pt x="167" y="27"/>
                  </a:lnTo>
                  <a:lnTo>
                    <a:pt x="167" y="29"/>
                  </a:lnTo>
                  <a:lnTo>
                    <a:pt x="169" y="31"/>
                  </a:lnTo>
                  <a:lnTo>
                    <a:pt x="169" y="33"/>
                  </a:lnTo>
                  <a:lnTo>
                    <a:pt x="169" y="35"/>
                  </a:lnTo>
                  <a:lnTo>
                    <a:pt x="167" y="37"/>
                  </a:lnTo>
                  <a:lnTo>
                    <a:pt x="169" y="38"/>
                  </a:lnTo>
                  <a:lnTo>
                    <a:pt x="167" y="38"/>
                  </a:lnTo>
                  <a:lnTo>
                    <a:pt x="167" y="40"/>
                  </a:lnTo>
                  <a:lnTo>
                    <a:pt x="169" y="38"/>
                  </a:lnTo>
                  <a:lnTo>
                    <a:pt x="169" y="40"/>
                  </a:lnTo>
                  <a:lnTo>
                    <a:pt x="169" y="42"/>
                  </a:lnTo>
                  <a:lnTo>
                    <a:pt x="169" y="44"/>
                  </a:lnTo>
                  <a:lnTo>
                    <a:pt x="169" y="46"/>
                  </a:lnTo>
                  <a:lnTo>
                    <a:pt x="169" y="48"/>
                  </a:lnTo>
                  <a:lnTo>
                    <a:pt x="171" y="48"/>
                  </a:lnTo>
                  <a:lnTo>
                    <a:pt x="171" y="50"/>
                  </a:lnTo>
                  <a:lnTo>
                    <a:pt x="171" y="52"/>
                  </a:lnTo>
                  <a:lnTo>
                    <a:pt x="173" y="56"/>
                  </a:lnTo>
                  <a:lnTo>
                    <a:pt x="175" y="56"/>
                  </a:lnTo>
                  <a:lnTo>
                    <a:pt x="175" y="58"/>
                  </a:lnTo>
                  <a:lnTo>
                    <a:pt x="177" y="58"/>
                  </a:lnTo>
                  <a:lnTo>
                    <a:pt x="177" y="60"/>
                  </a:lnTo>
                  <a:lnTo>
                    <a:pt x="179" y="60"/>
                  </a:lnTo>
                  <a:lnTo>
                    <a:pt x="177" y="60"/>
                  </a:lnTo>
                  <a:lnTo>
                    <a:pt x="177" y="62"/>
                  </a:lnTo>
                  <a:lnTo>
                    <a:pt x="175" y="62"/>
                  </a:lnTo>
                  <a:lnTo>
                    <a:pt x="175" y="63"/>
                  </a:lnTo>
                  <a:lnTo>
                    <a:pt x="175" y="65"/>
                  </a:lnTo>
                  <a:lnTo>
                    <a:pt x="173" y="65"/>
                  </a:lnTo>
                  <a:lnTo>
                    <a:pt x="175" y="65"/>
                  </a:lnTo>
                  <a:lnTo>
                    <a:pt x="177" y="65"/>
                  </a:lnTo>
                  <a:lnTo>
                    <a:pt x="177" y="67"/>
                  </a:lnTo>
                  <a:lnTo>
                    <a:pt x="175" y="67"/>
                  </a:lnTo>
                  <a:lnTo>
                    <a:pt x="173" y="67"/>
                  </a:lnTo>
                  <a:lnTo>
                    <a:pt x="171" y="67"/>
                  </a:lnTo>
                  <a:lnTo>
                    <a:pt x="169" y="67"/>
                  </a:lnTo>
                  <a:lnTo>
                    <a:pt x="167" y="67"/>
                  </a:lnTo>
                  <a:lnTo>
                    <a:pt x="167" y="65"/>
                  </a:lnTo>
                  <a:lnTo>
                    <a:pt x="165" y="65"/>
                  </a:lnTo>
                  <a:lnTo>
                    <a:pt x="163" y="65"/>
                  </a:lnTo>
                  <a:lnTo>
                    <a:pt x="161" y="65"/>
                  </a:lnTo>
                  <a:lnTo>
                    <a:pt x="160" y="65"/>
                  </a:lnTo>
                  <a:lnTo>
                    <a:pt x="160" y="67"/>
                  </a:lnTo>
                  <a:lnTo>
                    <a:pt x="160" y="65"/>
                  </a:lnTo>
                  <a:lnTo>
                    <a:pt x="158" y="65"/>
                  </a:lnTo>
                  <a:lnTo>
                    <a:pt x="156" y="65"/>
                  </a:lnTo>
                  <a:lnTo>
                    <a:pt x="156" y="67"/>
                  </a:lnTo>
                  <a:lnTo>
                    <a:pt x="154" y="67"/>
                  </a:lnTo>
                  <a:lnTo>
                    <a:pt x="152" y="67"/>
                  </a:lnTo>
                  <a:lnTo>
                    <a:pt x="150" y="67"/>
                  </a:lnTo>
                  <a:lnTo>
                    <a:pt x="150" y="69"/>
                  </a:lnTo>
                  <a:lnTo>
                    <a:pt x="152" y="69"/>
                  </a:lnTo>
                  <a:lnTo>
                    <a:pt x="152" y="71"/>
                  </a:lnTo>
                  <a:lnTo>
                    <a:pt x="152" y="73"/>
                  </a:lnTo>
                  <a:lnTo>
                    <a:pt x="150" y="73"/>
                  </a:lnTo>
                  <a:lnTo>
                    <a:pt x="146" y="73"/>
                  </a:lnTo>
                  <a:lnTo>
                    <a:pt x="144" y="73"/>
                  </a:lnTo>
                  <a:lnTo>
                    <a:pt x="140" y="75"/>
                  </a:lnTo>
                  <a:lnTo>
                    <a:pt x="138" y="77"/>
                  </a:lnTo>
                  <a:lnTo>
                    <a:pt x="138" y="79"/>
                  </a:lnTo>
                  <a:lnTo>
                    <a:pt x="140" y="79"/>
                  </a:lnTo>
                  <a:lnTo>
                    <a:pt x="138" y="79"/>
                  </a:lnTo>
                  <a:lnTo>
                    <a:pt x="138" y="81"/>
                  </a:lnTo>
                  <a:lnTo>
                    <a:pt x="138" y="79"/>
                  </a:lnTo>
                  <a:lnTo>
                    <a:pt x="138" y="81"/>
                  </a:lnTo>
                  <a:lnTo>
                    <a:pt x="138" y="83"/>
                  </a:lnTo>
                  <a:lnTo>
                    <a:pt x="138" y="85"/>
                  </a:lnTo>
                  <a:lnTo>
                    <a:pt x="138" y="83"/>
                  </a:lnTo>
                  <a:lnTo>
                    <a:pt x="138" y="85"/>
                  </a:lnTo>
                  <a:lnTo>
                    <a:pt x="138" y="83"/>
                  </a:lnTo>
                  <a:lnTo>
                    <a:pt x="138" y="85"/>
                  </a:lnTo>
                  <a:lnTo>
                    <a:pt x="138" y="83"/>
                  </a:lnTo>
                  <a:lnTo>
                    <a:pt x="138" y="85"/>
                  </a:lnTo>
                  <a:lnTo>
                    <a:pt x="140" y="85"/>
                  </a:lnTo>
                  <a:lnTo>
                    <a:pt x="138" y="85"/>
                  </a:lnTo>
                  <a:lnTo>
                    <a:pt x="140" y="85"/>
                  </a:lnTo>
                  <a:lnTo>
                    <a:pt x="140" y="87"/>
                  </a:lnTo>
                  <a:lnTo>
                    <a:pt x="140" y="88"/>
                  </a:lnTo>
                  <a:lnTo>
                    <a:pt x="138" y="88"/>
                  </a:lnTo>
                  <a:lnTo>
                    <a:pt x="138" y="90"/>
                  </a:lnTo>
                  <a:lnTo>
                    <a:pt x="137" y="92"/>
                  </a:lnTo>
                  <a:lnTo>
                    <a:pt x="135" y="92"/>
                  </a:lnTo>
                  <a:lnTo>
                    <a:pt x="135" y="94"/>
                  </a:lnTo>
                  <a:lnTo>
                    <a:pt x="133" y="94"/>
                  </a:lnTo>
                  <a:lnTo>
                    <a:pt x="131" y="94"/>
                  </a:lnTo>
                  <a:lnTo>
                    <a:pt x="125" y="98"/>
                  </a:lnTo>
                  <a:lnTo>
                    <a:pt x="119" y="102"/>
                  </a:lnTo>
                  <a:lnTo>
                    <a:pt x="117" y="102"/>
                  </a:lnTo>
                  <a:lnTo>
                    <a:pt x="117" y="104"/>
                  </a:lnTo>
                  <a:lnTo>
                    <a:pt x="115" y="104"/>
                  </a:lnTo>
                  <a:lnTo>
                    <a:pt x="115" y="106"/>
                  </a:lnTo>
                  <a:lnTo>
                    <a:pt x="115" y="108"/>
                  </a:lnTo>
                  <a:lnTo>
                    <a:pt x="113" y="108"/>
                  </a:lnTo>
                  <a:lnTo>
                    <a:pt x="113" y="110"/>
                  </a:lnTo>
                  <a:lnTo>
                    <a:pt x="112" y="110"/>
                  </a:lnTo>
                  <a:lnTo>
                    <a:pt x="112" y="111"/>
                  </a:lnTo>
                  <a:lnTo>
                    <a:pt x="110" y="111"/>
                  </a:lnTo>
                  <a:lnTo>
                    <a:pt x="110" y="110"/>
                  </a:lnTo>
                  <a:lnTo>
                    <a:pt x="110" y="111"/>
                  </a:lnTo>
                  <a:lnTo>
                    <a:pt x="110" y="110"/>
                  </a:lnTo>
                  <a:lnTo>
                    <a:pt x="108" y="110"/>
                  </a:lnTo>
                  <a:lnTo>
                    <a:pt x="108" y="111"/>
                  </a:lnTo>
                  <a:lnTo>
                    <a:pt x="106" y="111"/>
                  </a:lnTo>
                  <a:lnTo>
                    <a:pt x="104" y="111"/>
                  </a:lnTo>
                  <a:lnTo>
                    <a:pt x="102" y="111"/>
                  </a:lnTo>
                  <a:lnTo>
                    <a:pt x="100" y="111"/>
                  </a:lnTo>
                  <a:lnTo>
                    <a:pt x="98" y="111"/>
                  </a:lnTo>
                  <a:lnTo>
                    <a:pt x="96" y="111"/>
                  </a:lnTo>
                  <a:lnTo>
                    <a:pt x="94" y="111"/>
                  </a:lnTo>
                  <a:lnTo>
                    <a:pt x="92" y="111"/>
                  </a:lnTo>
                  <a:lnTo>
                    <a:pt x="90" y="111"/>
                  </a:lnTo>
                  <a:lnTo>
                    <a:pt x="89" y="111"/>
                  </a:lnTo>
                  <a:lnTo>
                    <a:pt x="87" y="111"/>
                  </a:lnTo>
                  <a:lnTo>
                    <a:pt x="87" y="113"/>
                  </a:lnTo>
                  <a:lnTo>
                    <a:pt x="85" y="113"/>
                  </a:lnTo>
                  <a:lnTo>
                    <a:pt x="83" y="113"/>
                  </a:lnTo>
                  <a:lnTo>
                    <a:pt x="81" y="113"/>
                  </a:lnTo>
                  <a:lnTo>
                    <a:pt x="81" y="115"/>
                  </a:lnTo>
                  <a:lnTo>
                    <a:pt x="79" y="115"/>
                  </a:lnTo>
                  <a:lnTo>
                    <a:pt x="77" y="115"/>
                  </a:lnTo>
                  <a:lnTo>
                    <a:pt x="77" y="117"/>
                  </a:lnTo>
                  <a:lnTo>
                    <a:pt x="75" y="117"/>
                  </a:lnTo>
                  <a:lnTo>
                    <a:pt x="75" y="119"/>
                  </a:lnTo>
                  <a:lnTo>
                    <a:pt x="73" y="119"/>
                  </a:lnTo>
                  <a:lnTo>
                    <a:pt x="71" y="121"/>
                  </a:lnTo>
                  <a:lnTo>
                    <a:pt x="69" y="123"/>
                  </a:lnTo>
                  <a:lnTo>
                    <a:pt x="67" y="123"/>
                  </a:lnTo>
                  <a:lnTo>
                    <a:pt x="67" y="125"/>
                  </a:lnTo>
                  <a:lnTo>
                    <a:pt x="65" y="125"/>
                  </a:lnTo>
                  <a:lnTo>
                    <a:pt x="65" y="131"/>
                  </a:lnTo>
                  <a:lnTo>
                    <a:pt x="65" y="136"/>
                  </a:lnTo>
                  <a:lnTo>
                    <a:pt x="65" y="142"/>
                  </a:lnTo>
                  <a:lnTo>
                    <a:pt x="58" y="142"/>
                  </a:lnTo>
                  <a:lnTo>
                    <a:pt x="44" y="142"/>
                  </a:lnTo>
                  <a:lnTo>
                    <a:pt x="37" y="142"/>
                  </a:lnTo>
                  <a:lnTo>
                    <a:pt x="31" y="142"/>
                  </a:lnTo>
                  <a:lnTo>
                    <a:pt x="23" y="142"/>
                  </a:lnTo>
                  <a:lnTo>
                    <a:pt x="19" y="142"/>
                  </a:lnTo>
                  <a:lnTo>
                    <a:pt x="18" y="142"/>
                  </a:lnTo>
                  <a:lnTo>
                    <a:pt x="8" y="142"/>
                  </a:lnTo>
                  <a:lnTo>
                    <a:pt x="4" y="142"/>
                  </a:lnTo>
                  <a:lnTo>
                    <a:pt x="0" y="142"/>
                  </a:lnTo>
                  <a:lnTo>
                    <a:pt x="0" y="140"/>
                  </a:lnTo>
                  <a:lnTo>
                    <a:pt x="2" y="140"/>
                  </a:lnTo>
                  <a:lnTo>
                    <a:pt x="2" y="138"/>
                  </a:lnTo>
                  <a:lnTo>
                    <a:pt x="4" y="138"/>
                  </a:lnTo>
                  <a:lnTo>
                    <a:pt x="4" y="136"/>
                  </a:lnTo>
                  <a:lnTo>
                    <a:pt x="6" y="136"/>
                  </a:lnTo>
                  <a:lnTo>
                    <a:pt x="8" y="136"/>
                  </a:lnTo>
                  <a:lnTo>
                    <a:pt x="10" y="136"/>
                  </a:lnTo>
                  <a:lnTo>
                    <a:pt x="12" y="136"/>
                  </a:lnTo>
                  <a:lnTo>
                    <a:pt x="14" y="136"/>
                  </a:lnTo>
                  <a:lnTo>
                    <a:pt x="14" y="135"/>
                  </a:lnTo>
                  <a:lnTo>
                    <a:pt x="14" y="136"/>
                  </a:lnTo>
                  <a:lnTo>
                    <a:pt x="14" y="135"/>
                  </a:lnTo>
                  <a:lnTo>
                    <a:pt x="14" y="136"/>
                  </a:lnTo>
                  <a:lnTo>
                    <a:pt x="12" y="136"/>
                  </a:lnTo>
                  <a:lnTo>
                    <a:pt x="14" y="136"/>
                  </a:lnTo>
                  <a:lnTo>
                    <a:pt x="14" y="135"/>
                  </a:lnTo>
                  <a:lnTo>
                    <a:pt x="16" y="135"/>
                  </a:lnTo>
                  <a:lnTo>
                    <a:pt x="18" y="135"/>
                  </a:lnTo>
                  <a:lnTo>
                    <a:pt x="19" y="135"/>
                  </a:lnTo>
                  <a:lnTo>
                    <a:pt x="19" y="133"/>
                  </a:lnTo>
                  <a:lnTo>
                    <a:pt x="21" y="133"/>
                  </a:lnTo>
                  <a:lnTo>
                    <a:pt x="23" y="133"/>
                  </a:lnTo>
                  <a:lnTo>
                    <a:pt x="23" y="131"/>
                  </a:lnTo>
                  <a:lnTo>
                    <a:pt x="25" y="131"/>
                  </a:lnTo>
                  <a:lnTo>
                    <a:pt x="25" y="129"/>
                  </a:lnTo>
                  <a:lnTo>
                    <a:pt x="27" y="129"/>
                  </a:lnTo>
                  <a:lnTo>
                    <a:pt x="27" y="127"/>
                  </a:lnTo>
                  <a:lnTo>
                    <a:pt x="29" y="127"/>
                  </a:lnTo>
                  <a:lnTo>
                    <a:pt x="29" y="125"/>
                  </a:lnTo>
                  <a:lnTo>
                    <a:pt x="31" y="125"/>
                  </a:lnTo>
                  <a:lnTo>
                    <a:pt x="31" y="123"/>
                  </a:lnTo>
                  <a:lnTo>
                    <a:pt x="33" y="123"/>
                  </a:lnTo>
                  <a:lnTo>
                    <a:pt x="35" y="123"/>
                  </a:lnTo>
                  <a:lnTo>
                    <a:pt x="35" y="121"/>
                  </a:lnTo>
                  <a:lnTo>
                    <a:pt x="37" y="121"/>
                  </a:lnTo>
                  <a:lnTo>
                    <a:pt x="39" y="121"/>
                  </a:lnTo>
                  <a:lnTo>
                    <a:pt x="39" y="119"/>
                  </a:lnTo>
                  <a:lnTo>
                    <a:pt x="41" y="119"/>
                  </a:lnTo>
                  <a:lnTo>
                    <a:pt x="41" y="117"/>
                  </a:lnTo>
                  <a:lnTo>
                    <a:pt x="41" y="115"/>
                  </a:lnTo>
                  <a:lnTo>
                    <a:pt x="42" y="115"/>
                  </a:lnTo>
                  <a:lnTo>
                    <a:pt x="44" y="115"/>
                  </a:lnTo>
                  <a:lnTo>
                    <a:pt x="44" y="113"/>
                  </a:lnTo>
                  <a:lnTo>
                    <a:pt x="44" y="111"/>
                  </a:lnTo>
                  <a:lnTo>
                    <a:pt x="46" y="111"/>
                  </a:lnTo>
                  <a:lnTo>
                    <a:pt x="46" y="110"/>
                  </a:lnTo>
                  <a:lnTo>
                    <a:pt x="46" y="108"/>
                  </a:lnTo>
                  <a:lnTo>
                    <a:pt x="48" y="108"/>
                  </a:lnTo>
                  <a:lnTo>
                    <a:pt x="48" y="106"/>
                  </a:lnTo>
                  <a:lnTo>
                    <a:pt x="50" y="106"/>
                  </a:lnTo>
                  <a:lnTo>
                    <a:pt x="50" y="104"/>
                  </a:lnTo>
                  <a:lnTo>
                    <a:pt x="50" y="102"/>
                  </a:lnTo>
                  <a:lnTo>
                    <a:pt x="52" y="102"/>
                  </a:lnTo>
                  <a:lnTo>
                    <a:pt x="52" y="100"/>
                  </a:lnTo>
                  <a:lnTo>
                    <a:pt x="52" y="98"/>
                  </a:lnTo>
                  <a:lnTo>
                    <a:pt x="52" y="96"/>
                  </a:lnTo>
                  <a:lnTo>
                    <a:pt x="52" y="94"/>
                  </a:lnTo>
                  <a:lnTo>
                    <a:pt x="50" y="94"/>
                  </a:lnTo>
                  <a:lnTo>
                    <a:pt x="50" y="92"/>
                  </a:lnTo>
                  <a:lnTo>
                    <a:pt x="48" y="92"/>
                  </a:lnTo>
                  <a:lnTo>
                    <a:pt x="48" y="90"/>
                  </a:lnTo>
                  <a:lnTo>
                    <a:pt x="50" y="90"/>
                  </a:lnTo>
                  <a:lnTo>
                    <a:pt x="50" y="88"/>
                  </a:lnTo>
                  <a:lnTo>
                    <a:pt x="50" y="87"/>
                  </a:lnTo>
                  <a:lnTo>
                    <a:pt x="50" y="85"/>
                  </a:lnTo>
                  <a:lnTo>
                    <a:pt x="48" y="85"/>
                  </a:lnTo>
                  <a:lnTo>
                    <a:pt x="48" y="83"/>
                  </a:lnTo>
                  <a:lnTo>
                    <a:pt x="50" y="83"/>
                  </a:lnTo>
                  <a:lnTo>
                    <a:pt x="50" y="81"/>
                  </a:lnTo>
                  <a:lnTo>
                    <a:pt x="50" y="79"/>
                  </a:lnTo>
                  <a:lnTo>
                    <a:pt x="48" y="79"/>
                  </a:lnTo>
                  <a:lnTo>
                    <a:pt x="50" y="79"/>
                  </a:lnTo>
                  <a:lnTo>
                    <a:pt x="50" y="77"/>
                  </a:lnTo>
                  <a:lnTo>
                    <a:pt x="50" y="75"/>
                  </a:lnTo>
                  <a:lnTo>
                    <a:pt x="52" y="75"/>
                  </a:lnTo>
                  <a:lnTo>
                    <a:pt x="52" y="73"/>
                  </a:lnTo>
                  <a:lnTo>
                    <a:pt x="52" y="71"/>
                  </a:lnTo>
                  <a:lnTo>
                    <a:pt x="54" y="71"/>
                  </a:lnTo>
                  <a:lnTo>
                    <a:pt x="54" y="69"/>
                  </a:lnTo>
                  <a:lnTo>
                    <a:pt x="56" y="69"/>
                  </a:lnTo>
                  <a:lnTo>
                    <a:pt x="56" y="67"/>
                  </a:lnTo>
                  <a:lnTo>
                    <a:pt x="58" y="65"/>
                  </a:lnTo>
                  <a:lnTo>
                    <a:pt x="58" y="63"/>
                  </a:lnTo>
                  <a:lnTo>
                    <a:pt x="58" y="62"/>
                  </a:lnTo>
                  <a:lnTo>
                    <a:pt x="58" y="60"/>
                  </a:lnTo>
                  <a:lnTo>
                    <a:pt x="58" y="58"/>
                  </a:lnTo>
                  <a:lnTo>
                    <a:pt x="60" y="58"/>
                  </a:lnTo>
                  <a:lnTo>
                    <a:pt x="60" y="56"/>
                  </a:lnTo>
                  <a:lnTo>
                    <a:pt x="62" y="56"/>
                  </a:lnTo>
                  <a:lnTo>
                    <a:pt x="62" y="54"/>
                  </a:lnTo>
                  <a:lnTo>
                    <a:pt x="64" y="54"/>
                  </a:lnTo>
                  <a:lnTo>
                    <a:pt x="64" y="52"/>
                  </a:lnTo>
                  <a:lnTo>
                    <a:pt x="65" y="52"/>
                  </a:lnTo>
                  <a:lnTo>
                    <a:pt x="65" y="50"/>
                  </a:lnTo>
                  <a:lnTo>
                    <a:pt x="67" y="50"/>
                  </a:lnTo>
                  <a:lnTo>
                    <a:pt x="67" y="48"/>
                  </a:lnTo>
                  <a:lnTo>
                    <a:pt x="67" y="50"/>
                  </a:lnTo>
                  <a:lnTo>
                    <a:pt x="67" y="48"/>
                  </a:lnTo>
                  <a:lnTo>
                    <a:pt x="67" y="50"/>
                  </a:lnTo>
                  <a:lnTo>
                    <a:pt x="67" y="48"/>
                  </a:lnTo>
                  <a:lnTo>
                    <a:pt x="67" y="50"/>
                  </a:lnTo>
                  <a:lnTo>
                    <a:pt x="67" y="48"/>
                  </a:lnTo>
                  <a:lnTo>
                    <a:pt x="67" y="46"/>
                  </a:lnTo>
                  <a:lnTo>
                    <a:pt x="69" y="46"/>
                  </a:lnTo>
                  <a:lnTo>
                    <a:pt x="71" y="46"/>
                  </a:lnTo>
                  <a:lnTo>
                    <a:pt x="71" y="44"/>
                  </a:lnTo>
                  <a:lnTo>
                    <a:pt x="73" y="44"/>
                  </a:lnTo>
                  <a:lnTo>
                    <a:pt x="75" y="44"/>
                  </a:lnTo>
                  <a:lnTo>
                    <a:pt x="75" y="42"/>
                  </a:lnTo>
                  <a:lnTo>
                    <a:pt x="77" y="42"/>
                  </a:lnTo>
                  <a:lnTo>
                    <a:pt x="79" y="42"/>
                  </a:lnTo>
                  <a:lnTo>
                    <a:pt x="81" y="42"/>
                  </a:lnTo>
                  <a:lnTo>
                    <a:pt x="81" y="40"/>
                  </a:lnTo>
                  <a:lnTo>
                    <a:pt x="83" y="40"/>
                  </a:lnTo>
                  <a:lnTo>
                    <a:pt x="81" y="40"/>
                  </a:lnTo>
                  <a:lnTo>
                    <a:pt x="83" y="40"/>
                  </a:lnTo>
                  <a:lnTo>
                    <a:pt x="81" y="40"/>
                  </a:lnTo>
                  <a:lnTo>
                    <a:pt x="83" y="40"/>
                  </a:lnTo>
                  <a:lnTo>
                    <a:pt x="85" y="40"/>
                  </a:lnTo>
                  <a:lnTo>
                    <a:pt x="85" y="38"/>
                  </a:lnTo>
                  <a:lnTo>
                    <a:pt x="87" y="38"/>
                  </a:lnTo>
                  <a:lnTo>
                    <a:pt x="87" y="37"/>
                  </a:lnTo>
                  <a:lnTo>
                    <a:pt x="89" y="37"/>
                  </a:lnTo>
                  <a:lnTo>
                    <a:pt x="90" y="37"/>
                  </a:lnTo>
                  <a:lnTo>
                    <a:pt x="90" y="35"/>
                  </a:lnTo>
                  <a:lnTo>
                    <a:pt x="92" y="35"/>
                  </a:lnTo>
                  <a:lnTo>
                    <a:pt x="92" y="33"/>
                  </a:lnTo>
                  <a:lnTo>
                    <a:pt x="94" y="33"/>
                  </a:lnTo>
                  <a:lnTo>
                    <a:pt x="94" y="31"/>
                  </a:lnTo>
                  <a:lnTo>
                    <a:pt x="94" y="29"/>
                  </a:lnTo>
                  <a:lnTo>
                    <a:pt x="96" y="29"/>
                  </a:lnTo>
                  <a:lnTo>
                    <a:pt x="94" y="29"/>
                  </a:lnTo>
                  <a:lnTo>
                    <a:pt x="96" y="29"/>
                  </a:lnTo>
                  <a:lnTo>
                    <a:pt x="96" y="27"/>
                  </a:lnTo>
                  <a:lnTo>
                    <a:pt x="96" y="25"/>
                  </a:lnTo>
                  <a:lnTo>
                    <a:pt x="98" y="25"/>
                  </a:lnTo>
                  <a:lnTo>
                    <a:pt x="98" y="23"/>
                  </a:lnTo>
                  <a:lnTo>
                    <a:pt x="98" y="21"/>
                  </a:lnTo>
                  <a:lnTo>
                    <a:pt x="100" y="21"/>
                  </a:lnTo>
                  <a:lnTo>
                    <a:pt x="100" y="19"/>
                  </a:lnTo>
                  <a:lnTo>
                    <a:pt x="100" y="17"/>
                  </a:lnTo>
                  <a:lnTo>
                    <a:pt x="102" y="17"/>
                  </a:lnTo>
                  <a:lnTo>
                    <a:pt x="102" y="15"/>
                  </a:lnTo>
                  <a:lnTo>
                    <a:pt x="102" y="14"/>
                  </a:lnTo>
                  <a:lnTo>
                    <a:pt x="102" y="12"/>
                  </a:lnTo>
                  <a:lnTo>
                    <a:pt x="104" y="12"/>
                  </a:lnTo>
                  <a:lnTo>
                    <a:pt x="102" y="12"/>
                  </a:lnTo>
                  <a:lnTo>
                    <a:pt x="104" y="12"/>
                  </a:lnTo>
                  <a:lnTo>
                    <a:pt x="104" y="10"/>
                  </a:lnTo>
                  <a:lnTo>
                    <a:pt x="104" y="8"/>
                  </a:lnTo>
                  <a:lnTo>
                    <a:pt x="106" y="8"/>
                  </a:lnTo>
                  <a:lnTo>
                    <a:pt x="106" y="6"/>
                  </a:lnTo>
                  <a:lnTo>
                    <a:pt x="106" y="4"/>
                  </a:lnTo>
                  <a:lnTo>
                    <a:pt x="106" y="2"/>
                  </a:lnTo>
                  <a:lnTo>
                    <a:pt x="108" y="2"/>
                  </a:lnTo>
                  <a:lnTo>
                    <a:pt x="110" y="2"/>
                  </a:lnTo>
                  <a:lnTo>
                    <a:pt x="110" y="0"/>
                  </a:lnTo>
                  <a:lnTo>
                    <a:pt x="110" y="2"/>
                  </a:lnTo>
                  <a:lnTo>
                    <a:pt x="110" y="0"/>
                  </a:lnTo>
                  <a:lnTo>
                    <a:pt x="112" y="0"/>
                  </a:lnTo>
                  <a:lnTo>
                    <a:pt x="112" y="2"/>
                  </a:lnTo>
                  <a:lnTo>
                    <a:pt x="112" y="0"/>
                  </a:lnTo>
                  <a:lnTo>
                    <a:pt x="113"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96">
              <a:extLst>
                <a:ext uri="{FF2B5EF4-FFF2-40B4-BE49-F238E27FC236}">
                  <a16:creationId xmlns:a16="http://schemas.microsoft.com/office/drawing/2014/main" id="{37512EC1-270D-4816-802B-1AAD938237D2}"/>
                </a:ext>
              </a:extLst>
            </p:cNvPr>
            <p:cNvSpPr>
              <a:spLocks/>
            </p:cNvSpPr>
            <p:nvPr/>
          </p:nvSpPr>
          <p:spPr bwMode="gray">
            <a:xfrm>
              <a:off x="2902894" y="3850236"/>
              <a:ext cx="149618" cy="134901"/>
            </a:xfrm>
            <a:custGeom>
              <a:avLst/>
              <a:gdLst>
                <a:gd name="T0" fmla="*/ 0 w 122"/>
                <a:gd name="T1" fmla="*/ 106 h 110"/>
                <a:gd name="T2" fmla="*/ 0 w 122"/>
                <a:gd name="T3" fmla="*/ 104 h 110"/>
                <a:gd name="T4" fmla="*/ 2 w 122"/>
                <a:gd name="T5" fmla="*/ 100 h 110"/>
                <a:gd name="T6" fmla="*/ 2 w 122"/>
                <a:gd name="T7" fmla="*/ 94 h 110"/>
                <a:gd name="T8" fmla="*/ 3 w 122"/>
                <a:gd name="T9" fmla="*/ 90 h 110"/>
                <a:gd name="T10" fmla="*/ 5 w 122"/>
                <a:gd name="T11" fmla="*/ 87 h 110"/>
                <a:gd name="T12" fmla="*/ 9 w 122"/>
                <a:gd name="T13" fmla="*/ 85 h 110"/>
                <a:gd name="T14" fmla="*/ 11 w 122"/>
                <a:gd name="T15" fmla="*/ 81 h 110"/>
                <a:gd name="T16" fmla="*/ 13 w 122"/>
                <a:gd name="T17" fmla="*/ 77 h 110"/>
                <a:gd name="T18" fmla="*/ 15 w 122"/>
                <a:gd name="T19" fmla="*/ 73 h 110"/>
                <a:gd name="T20" fmla="*/ 17 w 122"/>
                <a:gd name="T21" fmla="*/ 69 h 110"/>
                <a:gd name="T22" fmla="*/ 19 w 122"/>
                <a:gd name="T23" fmla="*/ 66 h 110"/>
                <a:gd name="T24" fmla="*/ 21 w 122"/>
                <a:gd name="T25" fmla="*/ 62 h 110"/>
                <a:gd name="T26" fmla="*/ 19 w 122"/>
                <a:gd name="T27" fmla="*/ 62 h 110"/>
                <a:gd name="T28" fmla="*/ 17 w 122"/>
                <a:gd name="T29" fmla="*/ 66 h 110"/>
                <a:gd name="T30" fmla="*/ 17 w 122"/>
                <a:gd name="T31" fmla="*/ 64 h 110"/>
                <a:gd name="T32" fmla="*/ 19 w 122"/>
                <a:gd name="T33" fmla="*/ 60 h 110"/>
                <a:gd name="T34" fmla="*/ 23 w 122"/>
                <a:gd name="T35" fmla="*/ 56 h 110"/>
                <a:gd name="T36" fmla="*/ 27 w 122"/>
                <a:gd name="T37" fmla="*/ 54 h 110"/>
                <a:gd name="T38" fmla="*/ 28 w 122"/>
                <a:gd name="T39" fmla="*/ 50 h 110"/>
                <a:gd name="T40" fmla="*/ 32 w 122"/>
                <a:gd name="T41" fmla="*/ 48 h 110"/>
                <a:gd name="T42" fmla="*/ 32 w 122"/>
                <a:gd name="T43" fmla="*/ 42 h 110"/>
                <a:gd name="T44" fmla="*/ 34 w 122"/>
                <a:gd name="T45" fmla="*/ 39 h 110"/>
                <a:gd name="T46" fmla="*/ 34 w 122"/>
                <a:gd name="T47" fmla="*/ 33 h 110"/>
                <a:gd name="T48" fmla="*/ 36 w 122"/>
                <a:gd name="T49" fmla="*/ 29 h 110"/>
                <a:gd name="T50" fmla="*/ 38 w 122"/>
                <a:gd name="T51" fmla="*/ 25 h 110"/>
                <a:gd name="T52" fmla="*/ 40 w 122"/>
                <a:gd name="T53" fmla="*/ 21 h 110"/>
                <a:gd name="T54" fmla="*/ 44 w 122"/>
                <a:gd name="T55" fmla="*/ 19 h 110"/>
                <a:gd name="T56" fmla="*/ 48 w 122"/>
                <a:gd name="T57" fmla="*/ 17 h 110"/>
                <a:gd name="T58" fmla="*/ 51 w 122"/>
                <a:gd name="T59" fmla="*/ 16 h 110"/>
                <a:gd name="T60" fmla="*/ 53 w 122"/>
                <a:gd name="T61" fmla="*/ 12 h 110"/>
                <a:gd name="T62" fmla="*/ 55 w 122"/>
                <a:gd name="T63" fmla="*/ 8 h 110"/>
                <a:gd name="T64" fmla="*/ 55 w 122"/>
                <a:gd name="T65" fmla="*/ 2 h 110"/>
                <a:gd name="T66" fmla="*/ 61 w 122"/>
                <a:gd name="T67" fmla="*/ 0 h 110"/>
                <a:gd name="T68" fmla="*/ 76 w 122"/>
                <a:gd name="T69" fmla="*/ 0 h 110"/>
                <a:gd name="T70" fmla="*/ 94 w 122"/>
                <a:gd name="T71" fmla="*/ 0 h 110"/>
                <a:gd name="T72" fmla="*/ 122 w 122"/>
                <a:gd name="T73" fmla="*/ 0 h 110"/>
                <a:gd name="T74" fmla="*/ 122 w 122"/>
                <a:gd name="T75" fmla="*/ 17 h 110"/>
                <a:gd name="T76" fmla="*/ 75 w 122"/>
                <a:gd name="T77" fmla="*/ 27 h 110"/>
                <a:gd name="T78" fmla="*/ 75 w 122"/>
                <a:gd name="T79" fmla="*/ 67 h 110"/>
                <a:gd name="T80" fmla="*/ 69 w 122"/>
                <a:gd name="T81" fmla="*/ 71 h 110"/>
                <a:gd name="T82" fmla="*/ 61 w 122"/>
                <a:gd name="T83" fmla="*/ 73 h 110"/>
                <a:gd name="T84" fmla="*/ 57 w 122"/>
                <a:gd name="T85" fmla="*/ 77 h 110"/>
                <a:gd name="T86" fmla="*/ 59 w 122"/>
                <a:gd name="T87" fmla="*/ 96 h 110"/>
                <a:gd name="T88" fmla="*/ 42 w 122"/>
                <a:gd name="T89" fmla="*/ 102 h 110"/>
                <a:gd name="T90" fmla="*/ 2 w 122"/>
                <a:gd name="T91" fmla="*/ 102 h 110"/>
                <a:gd name="T92" fmla="*/ 0 w 122"/>
                <a:gd name="T93" fmla="*/ 10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 h="110">
                  <a:moveTo>
                    <a:pt x="0" y="110"/>
                  </a:moveTo>
                  <a:lnTo>
                    <a:pt x="0" y="108"/>
                  </a:lnTo>
                  <a:lnTo>
                    <a:pt x="0" y="106"/>
                  </a:lnTo>
                  <a:lnTo>
                    <a:pt x="0" y="104"/>
                  </a:lnTo>
                  <a:lnTo>
                    <a:pt x="2" y="104"/>
                  </a:lnTo>
                  <a:lnTo>
                    <a:pt x="0" y="104"/>
                  </a:lnTo>
                  <a:lnTo>
                    <a:pt x="2" y="104"/>
                  </a:lnTo>
                  <a:lnTo>
                    <a:pt x="2" y="102"/>
                  </a:lnTo>
                  <a:lnTo>
                    <a:pt x="2" y="100"/>
                  </a:lnTo>
                  <a:lnTo>
                    <a:pt x="2" y="98"/>
                  </a:lnTo>
                  <a:lnTo>
                    <a:pt x="2" y="96"/>
                  </a:lnTo>
                  <a:lnTo>
                    <a:pt x="2" y="94"/>
                  </a:lnTo>
                  <a:lnTo>
                    <a:pt x="2" y="92"/>
                  </a:lnTo>
                  <a:lnTo>
                    <a:pt x="3" y="92"/>
                  </a:lnTo>
                  <a:lnTo>
                    <a:pt x="3" y="90"/>
                  </a:lnTo>
                  <a:lnTo>
                    <a:pt x="3" y="89"/>
                  </a:lnTo>
                  <a:lnTo>
                    <a:pt x="5" y="89"/>
                  </a:lnTo>
                  <a:lnTo>
                    <a:pt x="5" y="87"/>
                  </a:lnTo>
                  <a:lnTo>
                    <a:pt x="7" y="87"/>
                  </a:lnTo>
                  <a:lnTo>
                    <a:pt x="9" y="87"/>
                  </a:lnTo>
                  <a:lnTo>
                    <a:pt x="9" y="85"/>
                  </a:lnTo>
                  <a:lnTo>
                    <a:pt x="9" y="83"/>
                  </a:lnTo>
                  <a:lnTo>
                    <a:pt x="11" y="83"/>
                  </a:lnTo>
                  <a:lnTo>
                    <a:pt x="11" y="81"/>
                  </a:lnTo>
                  <a:lnTo>
                    <a:pt x="11" y="79"/>
                  </a:lnTo>
                  <a:lnTo>
                    <a:pt x="11" y="77"/>
                  </a:lnTo>
                  <a:lnTo>
                    <a:pt x="13" y="77"/>
                  </a:lnTo>
                  <a:lnTo>
                    <a:pt x="13" y="75"/>
                  </a:lnTo>
                  <a:lnTo>
                    <a:pt x="13" y="73"/>
                  </a:lnTo>
                  <a:lnTo>
                    <a:pt x="15" y="73"/>
                  </a:lnTo>
                  <a:lnTo>
                    <a:pt x="15" y="71"/>
                  </a:lnTo>
                  <a:lnTo>
                    <a:pt x="15" y="69"/>
                  </a:lnTo>
                  <a:lnTo>
                    <a:pt x="17" y="69"/>
                  </a:lnTo>
                  <a:lnTo>
                    <a:pt x="17" y="67"/>
                  </a:lnTo>
                  <a:lnTo>
                    <a:pt x="17" y="66"/>
                  </a:lnTo>
                  <a:lnTo>
                    <a:pt x="19" y="66"/>
                  </a:lnTo>
                  <a:lnTo>
                    <a:pt x="19" y="64"/>
                  </a:lnTo>
                  <a:lnTo>
                    <a:pt x="19" y="62"/>
                  </a:lnTo>
                  <a:lnTo>
                    <a:pt x="21" y="62"/>
                  </a:lnTo>
                  <a:lnTo>
                    <a:pt x="19" y="62"/>
                  </a:lnTo>
                  <a:lnTo>
                    <a:pt x="19" y="60"/>
                  </a:lnTo>
                  <a:lnTo>
                    <a:pt x="19" y="62"/>
                  </a:lnTo>
                  <a:lnTo>
                    <a:pt x="17" y="62"/>
                  </a:lnTo>
                  <a:lnTo>
                    <a:pt x="17" y="64"/>
                  </a:lnTo>
                  <a:lnTo>
                    <a:pt x="17" y="66"/>
                  </a:lnTo>
                  <a:lnTo>
                    <a:pt x="15" y="66"/>
                  </a:lnTo>
                  <a:lnTo>
                    <a:pt x="17" y="66"/>
                  </a:lnTo>
                  <a:lnTo>
                    <a:pt x="17" y="64"/>
                  </a:lnTo>
                  <a:lnTo>
                    <a:pt x="17" y="62"/>
                  </a:lnTo>
                  <a:lnTo>
                    <a:pt x="19" y="62"/>
                  </a:lnTo>
                  <a:lnTo>
                    <a:pt x="19" y="60"/>
                  </a:lnTo>
                  <a:lnTo>
                    <a:pt x="21" y="60"/>
                  </a:lnTo>
                  <a:lnTo>
                    <a:pt x="23" y="58"/>
                  </a:lnTo>
                  <a:lnTo>
                    <a:pt x="23" y="56"/>
                  </a:lnTo>
                  <a:lnTo>
                    <a:pt x="25" y="56"/>
                  </a:lnTo>
                  <a:lnTo>
                    <a:pt x="25" y="54"/>
                  </a:lnTo>
                  <a:lnTo>
                    <a:pt x="27" y="54"/>
                  </a:lnTo>
                  <a:lnTo>
                    <a:pt x="27" y="52"/>
                  </a:lnTo>
                  <a:lnTo>
                    <a:pt x="28" y="52"/>
                  </a:lnTo>
                  <a:lnTo>
                    <a:pt x="28" y="50"/>
                  </a:lnTo>
                  <a:lnTo>
                    <a:pt x="30" y="50"/>
                  </a:lnTo>
                  <a:lnTo>
                    <a:pt x="30" y="48"/>
                  </a:lnTo>
                  <a:lnTo>
                    <a:pt x="32" y="48"/>
                  </a:lnTo>
                  <a:lnTo>
                    <a:pt x="32" y="46"/>
                  </a:lnTo>
                  <a:lnTo>
                    <a:pt x="32" y="44"/>
                  </a:lnTo>
                  <a:lnTo>
                    <a:pt x="32" y="42"/>
                  </a:lnTo>
                  <a:lnTo>
                    <a:pt x="32" y="41"/>
                  </a:lnTo>
                  <a:lnTo>
                    <a:pt x="32" y="39"/>
                  </a:lnTo>
                  <a:lnTo>
                    <a:pt x="34" y="39"/>
                  </a:lnTo>
                  <a:lnTo>
                    <a:pt x="34" y="37"/>
                  </a:lnTo>
                  <a:lnTo>
                    <a:pt x="34" y="35"/>
                  </a:lnTo>
                  <a:lnTo>
                    <a:pt x="34" y="33"/>
                  </a:lnTo>
                  <a:lnTo>
                    <a:pt x="36" y="33"/>
                  </a:lnTo>
                  <a:lnTo>
                    <a:pt x="36" y="31"/>
                  </a:lnTo>
                  <a:lnTo>
                    <a:pt x="36" y="29"/>
                  </a:lnTo>
                  <a:lnTo>
                    <a:pt x="38" y="29"/>
                  </a:lnTo>
                  <a:lnTo>
                    <a:pt x="38" y="27"/>
                  </a:lnTo>
                  <a:lnTo>
                    <a:pt x="38" y="25"/>
                  </a:lnTo>
                  <a:lnTo>
                    <a:pt x="38" y="23"/>
                  </a:lnTo>
                  <a:lnTo>
                    <a:pt x="40" y="23"/>
                  </a:lnTo>
                  <a:lnTo>
                    <a:pt x="40" y="21"/>
                  </a:lnTo>
                  <a:lnTo>
                    <a:pt x="42" y="21"/>
                  </a:lnTo>
                  <a:lnTo>
                    <a:pt x="42" y="19"/>
                  </a:lnTo>
                  <a:lnTo>
                    <a:pt x="44" y="19"/>
                  </a:lnTo>
                  <a:lnTo>
                    <a:pt x="46" y="19"/>
                  </a:lnTo>
                  <a:lnTo>
                    <a:pt x="48" y="19"/>
                  </a:lnTo>
                  <a:lnTo>
                    <a:pt x="48" y="17"/>
                  </a:lnTo>
                  <a:lnTo>
                    <a:pt x="50" y="17"/>
                  </a:lnTo>
                  <a:lnTo>
                    <a:pt x="50" y="16"/>
                  </a:lnTo>
                  <a:lnTo>
                    <a:pt x="51" y="16"/>
                  </a:lnTo>
                  <a:lnTo>
                    <a:pt x="51" y="14"/>
                  </a:lnTo>
                  <a:lnTo>
                    <a:pt x="53" y="14"/>
                  </a:lnTo>
                  <a:lnTo>
                    <a:pt x="53" y="12"/>
                  </a:lnTo>
                  <a:lnTo>
                    <a:pt x="53" y="10"/>
                  </a:lnTo>
                  <a:lnTo>
                    <a:pt x="53" y="8"/>
                  </a:lnTo>
                  <a:lnTo>
                    <a:pt x="55" y="8"/>
                  </a:lnTo>
                  <a:lnTo>
                    <a:pt x="55" y="6"/>
                  </a:lnTo>
                  <a:lnTo>
                    <a:pt x="55" y="4"/>
                  </a:lnTo>
                  <a:lnTo>
                    <a:pt x="55" y="2"/>
                  </a:lnTo>
                  <a:lnTo>
                    <a:pt x="57" y="2"/>
                  </a:lnTo>
                  <a:lnTo>
                    <a:pt x="57" y="0"/>
                  </a:lnTo>
                  <a:lnTo>
                    <a:pt x="61" y="0"/>
                  </a:lnTo>
                  <a:lnTo>
                    <a:pt x="65" y="0"/>
                  </a:lnTo>
                  <a:lnTo>
                    <a:pt x="75" y="0"/>
                  </a:lnTo>
                  <a:lnTo>
                    <a:pt x="76" y="0"/>
                  </a:lnTo>
                  <a:lnTo>
                    <a:pt x="80" y="0"/>
                  </a:lnTo>
                  <a:lnTo>
                    <a:pt x="88" y="0"/>
                  </a:lnTo>
                  <a:lnTo>
                    <a:pt x="94" y="0"/>
                  </a:lnTo>
                  <a:lnTo>
                    <a:pt x="101" y="0"/>
                  </a:lnTo>
                  <a:lnTo>
                    <a:pt x="115" y="0"/>
                  </a:lnTo>
                  <a:lnTo>
                    <a:pt x="122" y="0"/>
                  </a:lnTo>
                  <a:lnTo>
                    <a:pt x="122" y="6"/>
                  </a:lnTo>
                  <a:lnTo>
                    <a:pt x="122" y="12"/>
                  </a:lnTo>
                  <a:lnTo>
                    <a:pt x="122" y="17"/>
                  </a:lnTo>
                  <a:lnTo>
                    <a:pt x="122" y="27"/>
                  </a:lnTo>
                  <a:lnTo>
                    <a:pt x="92" y="27"/>
                  </a:lnTo>
                  <a:lnTo>
                    <a:pt x="75" y="27"/>
                  </a:lnTo>
                  <a:lnTo>
                    <a:pt x="75" y="44"/>
                  </a:lnTo>
                  <a:lnTo>
                    <a:pt x="75" y="52"/>
                  </a:lnTo>
                  <a:lnTo>
                    <a:pt x="75" y="67"/>
                  </a:lnTo>
                  <a:lnTo>
                    <a:pt x="73" y="69"/>
                  </a:lnTo>
                  <a:lnTo>
                    <a:pt x="69" y="69"/>
                  </a:lnTo>
                  <a:lnTo>
                    <a:pt x="69" y="71"/>
                  </a:lnTo>
                  <a:lnTo>
                    <a:pt x="67" y="71"/>
                  </a:lnTo>
                  <a:lnTo>
                    <a:pt x="65" y="71"/>
                  </a:lnTo>
                  <a:lnTo>
                    <a:pt x="61" y="73"/>
                  </a:lnTo>
                  <a:lnTo>
                    <a:pt x="61" y="75"/>
                  </a:lnTo>
                  <a:lnTo>
                    <a:pt x="59" y="75"/>
                  </a:lnTo>
                  <a:lnTo>
                    <a:pt x="57" y="77"/>
                  </a:lnTo>
                  <a:lnTo>
                    <a:pt x="57" y="79"/>
                  </a:lnTo>
                  <a:lnTo>
                    <a:pt x="57" y="81"/>
                  </a:lnTo>
                  <a:lnTo>
                    <a:pt x="59" y="96"/>
                  </a:lnTo>
                  <a:lnTo>
                    <a:pt x="59" y="98"/>
                  </a:lnTo>
                  <a:lnTo>
                    <a:pt x="59" y="102"/>
                  </a:lnTo>
                  <a:lnTo>
                    <a:pt x="42" y="102"/>
                  </a:lnTo>
                  <a:lnTo>
                    <a:pt x="34" y="102"/>
                  </a:lnTo>
                  <a:lnTo>
                    <a:pt x="19" y="102"/>
                  </a:lnTo>
                  <a:lnTo>
                    <a:pt x="2" y="102"/>
                  </a:lnTo>
                  <a:lnTo>
                    <a:pt x="2" y="104"/>
                  </a:lnTo>
                  <a:lnTo>
                    <a:pt x="2" y="106"/>
                  </a:lnTo>
                  <a:lnTo>
                    <a:pt x="0" y="108"/>
                  </a:lnTo>
                  <a:lnTo>
                    <a:pt x="0" y="11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97">
              <a:extLst>
                <a:ext uri="{FF2B5EF4-FFF2-40B4-BE49-F238E27FC236}">
                  <a16:creationId xmlns:a16="http://schemas.microsoft.com/office/drawing/2014/main" id="{28823521-DC79-4558-AD1C-148F1F6E2905}"/>
                </a:ext>
              </a:extLst>
            </p:cNvPr>
            <p:cNvSpPr>
              <a:spLocks noEditPoints="1"/>
            </p:cNvSpPr>
            <p:nvPr/>
          </p:nvSpPr>
          <p:spPr bwMode="gray">
            <a:xfrm>
              <a:off x="2909026" y="4138434"/>
              <a:ext cx="55187" cy="31886"/>
            </a:xfrm>
            <a:custGeom>
              <a:avLst/>
              <a:gdLst>
                <a:gd name="T0" fmla="*/ 41 w 45"/>
                <a:gd name="T1" fmla="*/ 5 h 26"/>
                <a:gd name="T2" fmla="*/ 45 w 45"/>
                <a:gd name="T3" fmla="*/ 13 h 26"/>
                <a:gd name="T4" fmla="*/ 43 w 45"/>
                <a:gd name="T5" fmla="*/ 15 h 26"/>
                <a:gd name="T6" fmla="*/ 33 w 45"/>
                <a:gd name="T7" fmla="*/ 17 h 26"/>
                <a:gd name="T8" fmla="*/ 27 w 45"/>
                <a:gd name="T9" fmla="*/ 25 h 26"/>
                <a:gd name="T10" fmla="*/ 25 w 45"/>
                <a:gd name="T11" fmla="*/ 23 h 26"/>
                <a:gd name="T12" fmla="*/ 23 w 45"/>
                <a:gd name="T13" fmla="*/ 25 h 26"/>
                <a:gd name="T14" fmla="*/ 22 w 45"/>
                <a:gd name="T15" fmla="*/ 23 h 26"/>
                <a:gd name="T16" fmla="*/ 20 w 45"/>
                <a:gd name="T17" fmla="*/ 23 h 26"/>
                <a:gd name="T18" fmla="*/ 20 w 45"/>
                <a:gd name="T19" fmla="*/ 19 h 26"/>
                <a:gd name="T20" fmla="*/ 20 w 45"/>
                <a:gd name="T21" fmla="*/ 17 h 26"/>
                <a:gd name="T22" fmla="*/ 20 w 45"/>
                <a:gd name="T23" fmla="*/ 17 h 26"/>
                <a:gd name="T24" fmla="*/ 22 w 45"/>
                <a:gd name="T25" fmla="*/ 15 h 26"/>
                <a:gd name="T26" fmla="*/ 23 w 45"/>
                <a:gd name="T27" fmla="*/ 17 h 26"/>
                <a:gd name="T28" fmla="*/ 25 w 45"/>
                <a:gd name="T29" fmla="*/ 15 h 26"/>
                <a:gd name="T30" fmla="*/ 23 w 45"/>
                <a:gd name="T31" fmla="*/ 17 h 26"/>
                <a:gd name="T32" fmla="*/ 25 w 45"/>
                <a:gd name="T33" fmla="*/ 15 h 26"/>
                <a:gd name="T34" fmla="*/ 25 w 45"/>
                <a:gd name="T35" fmla="*/ 15 h 26"/>
                <a:gd name="T36" fmla="*/ 22 w 45"/>
                <a:gd name="T37" fmla="*/ 15 h 26"/>
                <a:gd name="T38" fmla="*/ 23 w 45"/>
                <a:gd name="T39" fmla="*/ 15 h 26"/>
                <a:gd name="T40" fmla="*/ 22 w 45"/>
                <a:gd name="T41" fmla="*/ 13 h 26"/>
                <a:gd name="T42" fmla="*/ 20 w 45"/>
                <a:gd name="T43" fmla="*/ 15 h 26"/>
                <a:gd name="T44" fmla="*/ 18 w 45"/>
                <a:gd name="T45" fmla="*/ 15 h 26"/>
                <a:gd name="T46" fmla="*/ 22 w 45"/>
                <a:gd name="T47" fmla="*/ 11 h 26"/>
                <a:gd name="T48" fmla="*/ 22 w 45"/>
                <a:gd name="T49" fmla="*/ 11 h 26"/>
                <a:gd name="T50" fmla="*/ 16 w 45"/>
                <a:gd name="T51" fmla="*/ 13 h 26"/>
                <a:gd name="T52" fmla="*/ 12 w 45"/>
                <a:gd name="T53" fmla="*/ 9 h 26"/>
                <a:gd name="T54" fmla="*/ 6 w 45"/>
                <a:gd name="T55" fmla="*/ 7 h 26"/>
                <a:gd name="T56" fmla="*/ 6 w 45"/>
                <a:gd name="T57" fmla="*/ 7 h 26"/>
                <a:gd name="T58" fmla="*/ 0 w 45"/>
                <a:gd name="T59" fmla="*/ 5 h 26"/>
                <a:gd name="T60" fmla="*/ 6 w 45"/>
                <a:gd name="T61" fmla="*/ 3 h 26"/>
                <a:gd name="T62" fmla="*/ 18 w 45"/>
                <a:gd name="T63" fmla="*/ 3 h 26"/>
                <a:gd name="T64" fmla="*/ 25 w 45"/>
                <a:gd name="T65" fmla="*/ 0 h 26"/>
                <a:gd name="T66" fmla="*/ 41 w 45"/>
                <a:gd name="T67" fmla="*/ 0 h 26"/>
                <a:gd name="T68" fmla="*/ 8 w 45"/>
                <a:gd name="T69" fmla="*/ 25 h 26"/>
                <a:gd name="T70" fmla="*/ 8 w 45"/>
                <a:gd name="T71" fmla="*/ 11 h 26"/>
                <a:gd name="T72" fmla="*/ 4 w 45"/>
                <a:gd name="T73" fmla="*/ 15 h 26"/>
                <a:gd name="T74" fmla="*/ 16 w 45"/>
                <a:gd name="T75" fmla="*/ 21 h 26"/>
                <a:gd name="T76" fmla="*/ 12 w 45"/>
                <a:gd name="T77" fmla="*/ 21 h 26"/>
                <a:gd name="T78" fmla="*/ 16 w 45"/>
                <a:gd name="T79" fmla="*/ 15 h 26"/>
                <a:gd name="T80" fmla="*/ 8 w 45"/>
                <a:gd name="T81" fmla="*/ 21 h 26"/>
                <a:gd name="T82" fmla="*/ 10 w 45"/>
                <a:gd name="T83" fmla="*/ 21 h 26"/>
                <a:gd name="T84" fmla="*/ 12 w 45"/>
                <a:gd name="T85" fmla="*/ 21 h 26"/>
                <a:gd name="T86" fmla="*/ 8 w 45"/>
                <a:gd name="T87" fmla="*/ 19 h 26"/>
                <a:gd name="T88" fmla="*/ 10 w 45"/>
                <a:gd name="T89" fmla="*/ 19 h 26"/>
                <a:gd name="T90" fmla="*/ 14 w 45"/>
                <a:gd name="T91" fmla="*/ 17 h 26"/>
                <a:gd name="T92" fmla="*/ 14 w 45"/>
                <a:gd name="T93" fmla="*/ 19 h 26"/>
                <a:gd name="T94" fmla="*/ 12 w 45"/>
                <a:gd name="T95" fmla="*/ 19 h 26"/>
                <a:gd name="T96" fmla="*/ 12 w 45"/>
                <a:gd name="T97" fmla="*/ 11 h 26"/>
                <a:gd name="T98" fmla="*/ 12 w 45"/>
                <a:gd name="T99" fmla="*/ 11 h 26"/>
                <a:gd name="T100" fmla="*/ 4 w 45"/>
                <a:gd name="T101" fmla="*/ 21 h 26"/>
                <a:gd name="T102" fmla="*/ 10 w 45"/>
                <a:gd name="T103" fmla="*/ 19 h 26"/>
                <a:gd name="T104" fmla="*/ 12 w 45"/>
                <a:gd name="T105" fmla="*/ 13 h 26"/>
                <a:gd name="T106" fmla="*/ 14 w 45"/>
                <a:gd name="T107" fmla="*/ 21 h 26"/>
                <a:gd name="T108" fmla="*/ 22 w 45"/>
                <a:gd name="T109" fmla="*/ 23 h 26"/>
                <a:gd name="T110" fmla="*/ 10 w 45"/>
                <a:gd name="T111"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 h="26">
                  <a:moveTo>
                    <a:pt x="45" y="0"/>
                  </a:moveTo>
                  <a:lnTo>
                    <a:pt x="45" y="1"/>
                  </a:lnTo>
                  <a:lnTo>
                    <a:pt x="45" y="3"/>
                  </a:lnTo>
                  <a:lnTo>
                    <a:pt x="45" y="5"/>
                  </a:lnTo>
                  <a:lnTo>
                    <a:pt x="43" y="5"/>
                  </a:lnTo>
                  <a:lnTo>
                    <a:pt x="41" y="5"/>
                  </a:lnTo>
                  <a:lnTo>
                    <a:pt x="41" y="7"/>
                  </a:lnTo>
                  <a:lnTo>
                    <a:pt x="43" y="7"/>
                  </a:lnTo>
                  <a:lnTo>
                    <a:pt x="43" y="9"/>
                  </a:lnTo>
                  <a:lnTo>
                    <a:pt x="45" y="9"/>
                  </a:lnTo>
                  <a:lnTo>
                    <a:pt x="45" y="11"/>
                  </a:lnTo>
                  <a:lnTo>
                    <a:pt x="45" y="13"/>
                  </a:lnTo>
                  <a:lnTo>
                    <a:pt x="45" y="15"/>
                  </a:lnTo>
                  <a:lnTo>
                    <a:pt x="43" y="15"/>
                  </a:lnTo>
                  <a:lnTo>
                    <a:pt x="43" y="13"/>
                  </a:lnTo>
                  <a:lnTo>
                    <a:pt x="43" y="15"/>
                  </a:lnTo>
                  <a:lnTo>
                    <a:pt x="43" y="13"/>
                  </a:lnTo>
                  <a:lnTo>
                    <a:pt x="43" y="15"/>
                  </a:lnTo>
                  <a:lnTo>
                    <a:pt x="41" y="15"/>
                  </a:lnTo>
                  <a:lnTo>
                    <a:pt x="39" y="15"/>
                  </a:lnTo>
                  <a:lnTo>
                    <a:pt x="37" y="15"/>
                  </a:lnTo>
                  <a:lnTo>
                    <a:pt x="35" y="15"/>
                  </a:lnTo>
                  <a:lnTo>
                    <a:pt x="35" y="17"/>
                  </a:lnTo>
                  <a:lnTo>
                    <a:pt x="33" y="17"/>
                  </a:lnTo>
                  <a:lnTo>
                    <a:pt x="31" y="17"/>
                  </a:lnTo>
                  <a:lnTo>
                    <a:pt x="29" y="17"/>
                  </a:lnTo>
                  <a:lnTo>
                    <a:pt x="29" y="19"/>
                  </a:lnTo>
                  <a:lnTo>
                    <a:pt x="27" y="21"/>
                  </a:lnTo>
                  <a:lnTo>
                    <a:pt x="27" y="23"/>
                  </a:lnTo>
                  <a:lnTo>
                    <a:pt x="27" y="25"/>
                  </a:lnTo>
                  <a:lnTo>
                    <a:pt x="25" y="25"/>
                  </a:lnTo>
                  <a:lnTo>
                    <a:pt x="25" y="26"/>
                  </a:lnTo>
                  <a:lnTo>
                    <a:pt x="23" y="26"/>
                  </a:lnTo>
                  <a:lnTo>
                    <a:pt x="23" y="25"/>
                  </a:lnTo>
                  <a:lnTo>
                    <a:pt x="23" y="23"/>
                  </a:lnTo>
                  <a:lnTo>
                    <a:pt x="25" y="23"/>
                  </a:lnTo>
                  <a:lnTo>
                    <a:pt x="25" y="21"/>
                  </a:lnTo>
                  <a:lnTo>
                    <a:pt x="27" y="21"/>
                  </a:lnTo>
                  <a:lnTo>
                    <a:pt x="25" y="21"/>
                  </a:lnTo>
                  <a:lnTo>
                    <a:pt x="25" y="23"/>
                  </a:lnTo>
                  <a:lnTo>
                    <a:pt x="23" y="23"/>
                  </a:lnTo>
                  <a:lnTo>
                    <a:pt x="23" y="25"/>
                  </a:lnTo>
                  <a:lnTo>
                    <a:pt x="22" y="25"/>
                  </a:lnTo>
                  <a:lnTo>
                    <a:pt x="22" y="23"/>
                  </a:lnTo>
                  <a:lnTo>
                    <a:pt x="23" y="23"/>
                  </a:lnTo>
                  <a:lnTo>
                    <a:pt x="22" y="23"/>
                  </a:lnTo>
                  <a:lnTo>
                    <a:pt x="23" y="23"/>
                  </a:lnTo>
                  <a:lnTo>
                    <a:pt x="22" y="23"/>
                  </a:lnTo>
                  <a:lnTo>
                    <a:pt x="23" y="23"/>
                  </a:lnTo>
                  <a:lnTo>
                    <a:pt x="22" y="21"/>
                  </a:lnTo>
                  <a:lnTo>
                    <a:pt x="23" y="21"/>
                  </a:lnTo>
                  <a:lnTo>
                    <a:pt x="22" y="21"/>
                  </a:lnTo>
                  <a:lnTo>
                    <a:pt x="22" y="23"/>
                  </a:lnTo>
                  <a:lnTo>
                    <a:pt x="20" y="23"/>
                  </a:lnTo>
                  <a:lnTo>
                    <a:pt x="20" y="21"/>
                  </a:lnTo>
                  <a:lnTo>
                    <a:pt x="22" y="21"/>
                  </a:lnTo>
                  <a:lnTo>
                    <a:pt x="20" y="21"/>
                  </a:lnTo>
                  <a:lnTo>
                    <a:pt x="20" y="19"/>
                  </a:lnTo>
                  <a:lnTo>
                    <a:pt x="22" y="19"/>
                  </a:lnTo>
                  <a:lnTo>
                    <a:pt x="20" y="19"/>
                  </a:lnTo>
                  <a:lnTo>
                    <a:pt x="22" y="19"/>
                  </a:lnTo>
                  <a:lnTo>
                    <a:pt x="22" y="17"/>
                  </a:lnTo>
                  <a:lnTo>
                    <a:pt x="20" y="19"/>
                  </a:lnTo>
                  <a:lnTo>
                    <a:pt x="18" y="19"/>
                  </a:lnTo>
                  <a:lnTo>
                    <a:pt x="20" y="19"/>
                  </a:lnTo>
                  <a:lnTo>
                    <a:pt x="20" y="17"/>
                  </a:lnTo>
                  <a:lnTo>
                    <a:pt x="18" y="17"/>
                  </a:lnTo>
                  <a:lnTo>
                    <a:pt x="20" y="17"/>
                  </a:lnTo>
                  <a:lnTo>
                    <a:pt x="22" y="17"/>
                  </a:lnTo>
                  <a:lnTo>
                    <a:pt x="20" y="17"/>
                  </a:lnTo>
                  <a:lnTo>
                    <a:pt x="22" y="17"/>
                  </a:lnTo>
                  <a:lnTo>
                    <a:pt x="20" y="17"/>
                  </a:lnTo>
                  <a:lnTo>
                    <a:pt x="22" y="17"/>
                  </a:lnTo>
                  <a:lnTo>
                    <a:pt x="20" y="17"/>
                  </a:lnTo>
                  <a:lnTo>
                    <a:pt x="22" y="17"/>
                  </a:lnTo>
                  <a:lnTo>
                    <a:pt x="22" y="15"/>
                  </a:lnTo>
                  <a:lnTo>
                    <a:pt x="22" y="17"/>
                  </a:lnTo>
                  <a:lnTo>
                    <a:pt x="22" y="15"/>
                  </a:lnTo>
                  <a:lnTo>
                    <a:pt x="22" y="17"/>
                  </a:lnTo>
                  <a:lnTo>
                    <a:pt x="22" y="15"/>
                  </a:lnTo>
                  <a:lnTo>
                    <a:pt x="23" y="15"/>
                  </a:lnTo>
                  <a:lnTo>
                    <a:pt x="22" y="15"/>
                  </a:lnTo>
                  <a:lnTo>
                    <a:pt x="23" y="15"/>
                  </a:lnTo>
                  <a:lnTo>
                    <a:pt x="23" y="17"/>
                  </a:lnTo>
                  <a:lnTo>
                    <a:pt x="23" y="15"/>
                  </a:lnTo>
                  <a:lnTo>
                    <a:pt x="23" y="17"/>
                  </a:lnTo>
                  <a:lnTo>
                    <a:pt x="23" y="15"/>
                  </a:lnTo>
                  <a:lnTo>
                    <a:pt x="25" y="15"/>
                  </a:lnTo>
                  <a:lnTo>
                    <a:pt x="23" y="15"/>
                  </a:lnTo>
                  <a:lnTo>
                    <a:pt x="25" y="15"/>
                  </a:lnTo>
                  <a:lnTo>
                    <a:pt x="23" y="15"/>
                  </a:lnTo>
                  <a:lnTo>
                    <a:pt x="23" y="17"/>
                  </a:lnTo>
                  <a:lnTo>
                    <a:pt x="23" y="15"/>
                  </a:lnTo>
                  <a:lnTo>
                    <a:pt x="23" y="17"/>
                  </a:lnTo>
                  <a:lnTo>
                    <a:pt x="23" y="15"/>
                  </a:lnTo>
                  <a:lnTo>
                    <a:pt x="23" y="17"/>
                  </a:lnTo>
                  <a:lnTo>
                    <a:pt x="25" y="17"/>
                  </a:lnTo>
                  <a:lnTo>
                    <a:pt x="25" y="15"/>
                  </a:lnTo>
                  <a:lnTo>
                    <a:pt x="25" y="17"/>
                  </a:lnTo>
                  <a:lnTo>
                    <a:pt x="25" y="15"/>
                  </a:lnTo>
                  <a:lnTo>
                    <a:pt x="25" y="17"/>
                  </a:lnTo>
                  <a:lnTo>
                    <a:pt x="25" y="15"/>
                  </a:lnTo>
                  <a:lnTo>
                    <a:pt x="25" y="17"/>
                  </a:lnTo>
                  <a:lnTo>
                    <a:pt x="25" y="15"/>
                  </a:lnTo>
                  <a:lnTo>
                    <a:pt x="25" y="17"/>
                  </a:lnTo>
                  <a:lnTo>
                    <a:pt x="25" y="15"/>
                  </a:lnTo>
                  <a:lnTo>
                    <a:pt x="23" y="15"/>
                  </a:lnTo>
                  <a:lnTo>
                    <a:pt x="25" y="15"/>
                  </a:lnTo>
                  <a:lnTo>
                    <a:pt x="23" y="15"/>
                  </a:lnTo>
                  <a:lnTo>
                    <a:pt x="22" y="15"/>
                  </a:lnTo>
                  <a:lnTo>
                    <a:pt x="23" y="15"/>
                  </a:lnTo>
                  <a:lnTo>
                    <a:pt x="22" y="15"/>
                  </a:lnTo>
                  <a:lnTo>
                    <a:pt x="23" y="15"/>
                  </a:lnTo>
                  <a:lnTo>
                    <a:pt x="22" y="15"/>
                  </a:lnTo>
                  <a:lnTo>
                    <a:pt x="23" y="15"/>
                  </a:lnTo>
                  <a:lnTo>
                    <a:pt x="23" y="13"/>
                  </a:lnTo>
                  <a:lnTo>
                    <a:pt x="22" y="13"/>
                  </a:lnTo>
                  <a:lnTo>
                    <a:pt x="23" y="13"/>
                  </a:lnTo>
                  <a:lnTo>
                    <a:pt x="22" y="13"/>
                  </a:lnTo>
                  <a:lnTo>
                    <a:pt x="23" y="15"/>
                  </a:lnTo>
                  <a:lnTo>
                    <a:pt x="22" y="15"/>
                  </a:lnTo>
                  <a:lnTo>
                    <a:pt x="22" y="13"/>
                  </a:lnTo>
                  <a:lnTo>
                    <a:pt x="22" y="15"/>
                  </a:lnTo>
                  <a:lnTo>
                    <a:pt x="22" y="13"/>
                  </a:lnTo>
                  <a:lnTo>
                    <a:pt x="22" y="15"/>
                  </a:lnTo>
                  <a:lnTo>
                    <a:pt x="22" y="13"/>
                  </a:lnTo>
                  <a:lnTo>
                    <a:pt x="22" y="15"/>
                  </a:lnTo>
                  <a:lnTo>
                    <a:pt x="20" y="15"/>
                  </a:lnTo>
                  <a:lnTo>
                    <a:pt x="20" y="17"/>
                  </a:lnTo>
                  <a:lnTo>
                    <a:pt x="20" y="15"/>
                  </a:lnTo>
                  <a:lnTo>
                    <a:pt x="20" y="17"/>
                  </a:lnTo>
                  <a:lnTo>
                    <a:pt x="20" y="15"/>
                  </a:lnTo>
                  <a:lnTo>
                    <a:pt x="20" y="17"/>
                  </a:lnTo>
                  <a:lnTo>
                    <a:pt x="20" y="15"/>
                  </a:lnTo>
                  <a:lnTo>
                    <a:pt x="18" y="15"/>
                  </a:lnTo>
                  <a:lnTo>
                    <a:pt x="20" y="15"/>
                  </a:lnTo>
                  <a:lnTo>
                    <a:pt x="20" y="13"/>
                  </a:lnTo>
                  <a:lnTo>
                    <a:pt x="18" y="15"/>
                  </a:lnTo>
                  <a:lnTo>
                    <a:pt x="18" y="13"/>
                  </a:lnTo>
                  <a:lnTo>
                    <a:pt x="18" y="15"/>
                  </a:lnTo>
                  <a:lnTo>
                    <a:pt x="18" y="13"/>
                  </a:lnTo>
                  <a:lnTo>
                    <a:pt x="20" y="13"/>
                  </a:lnTo>
                  <a:lnTo>
                    <a:pt x="20" y="11"/>
                  </a:lnTo>
                  <a:lnTo>
                    <a:pt x="22" y="11"/>
                  </a:lnTo>
                  <a:lnTo>
                    <a:pt x="23" y="11"/>
                  </a:lnTo>
                  <a:lnTo>
                    <a:pt x="25" y="11"/>
                  </a:lnTo>
                  <a:lnTo>
                    <a:pt x="25" y="9"/>
                  </a:lnTo>
                  <a:lnTo>
                    <a:pt x="23" y="9"/>
                  </a:lnTo>
                  <a:lnTo>
                    <a:pt x="23" y="11"/>
                  </a:lnTo>
                  <a:lnTo>
                    <a:pt x="22" y="11"/>
                  </a:lnTo>
                  <a:lnTo>
                    <a:pt x="22" y="9"/>
                  </a:lnTo>
                  <a:lnTo>
                    <a:pt x="20" y="9"/>
                  </a:lnTo>
                  <a:lnTo>
                    <a:pt x="20" y="11"/>
                  </a:lnTo>
                  <a:lnTo>
                    <a:pt x="18" y="11"/>
                  </a:lnTo>
                  <a:lnTo>
                    <a:pt x="18" y="13"/>
                  </a:lnTo>
                  <a:lnTo>
                    <a:pt x="16" y="13"/>
                  </a:lnTo>
                  <a:lnTo>
                    <a:pt x="14" y="13"/>
                  </a:lnTo>
                  <a:lnTo>
                    <a:pt x="12" y="13"/>
                  </a:lnTo>
                  <a:lnTo>
                    <a:pt x="12" y="11"/>
                  </a:lnTo>
                  <a:lnTo>
                    <a:pt x="14" y="11"/>
                  </a:lnTo>
                  <a:lnTo>
                    <a:pt x="14" y="9"/>
                  </a:lnTo>
                  <a:lnTo>
                    <a:pt x="12" y="9"/>
                  </a:lnTo>
                  <a:lnTo>
                    <a:pt x="12" y="11"/>
                  </a:lnTo>
                  <a:lnTo>
                    <a:pt x="10" y="11"/>
                  </a:lnTo>
                  <a:lnTo>
                    <a:pt x="8" y="11"/>
                  </a:lnTo>
                  <a:lnTo>
                    <a:pt x="8" y="9"/>
                  </a:lnTo>
                  <a:lnTo>
                    <a:pt x="6" y="9"/>
                  </a:lnTo>
                  <a:lnTo>
                    <a:pt x="6" y="7"/>
                  </a:lnTo>
                  <a:lnTo>
                    <a:pt x="8" y="7"/>
                  </a:lnTo>
                  <a:lnTo>
                    <a:pt x="8" y="5"/>
                  </a:lnTo>
                  <a:lnTo>
                    <a:pt x="6" y="5"/>
                  </a:lnTo>
                  <a:lnTo>
                    <a:pt x="6" y="7"/>
                  </a:lnTo>
                  <a:lnTo>
                    <a:pt x="6" y="5"/>
                  </a:lnTo>
                  <a:lnTo>
                    <a:pt x="6" y="7"/>
                  </a:lnTo>
                  <a:lnTo>
                    <a:pt x="4" y="7"/>
                  </a:lnTo>
                  <a:lnTo>
                    <a:pt x="6" y="7"/>
                  </a:lnTo>
                  <a:lnTo>
                    <a:pt x="4" y="7"/>
                  </a:lnTo>
                  <a:lnTo>
                    <a:pt x="4" y="5"/>
                  </a:lnTo>
                  <a:lnTo>
                    <a:pt x="2" y="5"/>
                  </a:lnTo>
                  <a:lnTo>
                    <a:pt x="0" y="5"/>
                  </a:lnTo>
                  <a:lnTo>
                    <a:pt x="0" y="3"/>
                  </a:lnTo>
                  <a:lnTo>
                    <a:pt x="0" y="5"/>
                  </a:lnTo>
                  <a:lnTo>
                    <a:pt x="0" y="3"/>
                  </a:lnTo>
                  <a:lnTo>
                    <a:pt x="2" y="3"/>
                  </a:lnTo>
                  <a:lnTo>
                    <a:pt x="4" y="3"/>
                  </a:lnTo>
                  <a:lnTo>
                    <a:pt x="6" y="3"/>
                  </a:lnTo>
                  <a:lnTo>
                    <a:pt x="8" y="3"/>
                  </a:lnTo>
                  <a:lnTo>
                    <a:pt x="10" y="3"/>
                  </a:lnTo>
                  <a:lnTo>
                    <a:pt x="12" y="3"/>
                  </a:lnTo>
                  <a:lnTo>
                    <a:pt x="14" y="3"/>
                  </a:lnTo>
                  <a:lnTo>
                    <a:pt x="16" y="3"/>
                  </a:lnTo>
                  <a:lnTo>
                    <a:pt x="18" y="3"/>
                  </a:lnTo>
                  <a:lnTo>
                    <a:pt x="18" y="1"/>
                  </a:lnTo>
                  <a:lnTo>
                    <a:pt x="20" y="1"/>
                  </a:lnTo>
                  <a:lnTo>
                    <a:pt x="22" y="1"/>
                  </a:lnTo>
                  <a:lnTo>
                    <a:pt x="22" y="0"/>
                  </a:lnTo>
                  <a:lnTo>
                    <a:pt x="23" y="0"/>
                  </a:lnTo>
                  <a:lnTo>
                    <a:pt x="25" y="0"/>
                  </a:lnTo>
                  <a:lnTo>
                    <a:pt x="27" y="0"/>
                  </a:lnTo>
                  <a:lnTo>
                    <a:pt x="31" y="0"/>
                  </a:lnTo>
                  <a:lnTo>
                    <a:pt x="35" y="0"/>
                  </a:lnTo>
                  <a:lnTo>
                    <a:pt x="37" y="0"/>
                  </a:lnTo>
                  <a:lnTo>
                    <a:pt x="39" y="0"/>
                  </a:lnTo>
                  <a:lnTo>
                    <a:pt x="41" y="0"/>
                  </a:lnTo>
                  <a:lnTo>
                    <a:pt x="43" y="0"/>
                  </a:lnTo>
                  <a:lnTo>
                    <a:pt x="45" y="0"/>
                  </a:lnTo>
                  <a:close/>
                  <a:moveTo>
                    <a:pt x="8" y="21"/>
                  </a:moveTo>
                  <a:lnTo>
                    <a:pt x="10" y="21"/>
                  </a:lnTo>
                  <a:lnTo>
                    <a:pt x="10" y="25"/>
                  </a:lnTo>
                  <a:lnTo>
                    <a:pt x="8" y="25"/>
                  </a:lnTo>
                  <a:lnTo>
                    <a:pt x="8" y="21"/>
                  </a:lnTo>
                  <a:close/>
                  <a:moveTo>
                    <a:pt x="8" y="11"/>
                  </a:moveTo>
                  <a:lnTo>
                    <a:pt x="12" y="11"/>
                  </a:lnTo>
                  <a:lnTo>
                    <a:pt x="12" y="13"/>
                  </a:lnTo>
                  <a:lnTo>
                    <a:pt x="8" y="13"/>
                  </a:lnTo>
                  <a:lnTo>
                    <a:pt x="8" y="11"/>
                  </a:lnTo>
                  <a:close/>
                  <a:moveTo>
                    <a:pt x="10" y="17"/>
                  </a:moveTo>
                  <a:lnTo>
                    <a:pt x="12" y="17"/>
                  </a:lnTo>
                  <a:lnTo>
                    <a:pt x="12" y="19"/>
                  </a:lnTo>
                  <a:lnTo>
                    <a:pt x="10" y="19"/>
                  </a:lnTo>
                  <a:lnTo>
                    <a:pt x="10" y="17"/>
                  </a:lnTo>
                  <a:close/>
                  <a:moveTo>
                    <a:pt x="4" y="15"/>
                  </a:moveTo>
                  <a:lnTo>
                    <a:pt x="8" y="15"/>
                  </a:lnTo>
                  <a:lnTo>
                    <a:pt x="8" y="17"/>
                  </a:lnTo>
                  <a:lnTo>
                    <a:pt x="4" y="17"/>
                  </a:lnTo>
                  <a:lnTo>
                    <a:pt x="4" y="15"/>
                  </a:lnTo>
                  <a:close/>
                  <a:moveTo>
                    <a:pt x="14" y="21"/>
                  </a:moveTo>
                  <a:lnTo>
                    <a:pt x="16" y="21"/>
                  </a:lnTo>
                  <a:lnTo>
                    <a:pt x="16" y="23"/>
                  </a:lnTo>
                  <a:lnTo>
                    <a:pt x="14" y="23"/>
                  </a:lnTo>
                  <a:lnTo>
                    <a:pt x="14" y="21"/>
                  </a:lnTo>
                  <a:close/>
                  <a:moveTo>
                    <a:pt x="12" y="21"/>
                  </a:moveTo>
                  <a:lnTo>
                    <a:pt x="12" y="25"/>
                  </a:lnTo>
                  <a:lnTo>
                    <a:pt x="12" y="21"/>
                  </a:lnTo>
                  <a:close/>
                  <a:moveTo>
                    <a:pt x="6" y="9"/>
                  </a:moveTo>
                  <a:lnTo>
                    <a:pt x="8" y="9"/>
                  </a:lnTo>
                  <a:lnTo>
                    <a:pt x="8" y="11"/>
                  </a:lnTo>
                  <a:lnTo>
                    <a:pt x="6" y="11"/>
                  </a:lnTo>
                  <a:lnTo>
                    <a:pt x="6" y="9"/>
                  </a:lnTo>
                  <a:close/>
                  <a:moveTo>
                    <a:pt x="16" y="15"/>
                  </a:moveTo>
                  <a:lnTo>
                    <a:pt x="20" y="15"/>
                  </a:lnTo>
                  <a:lnTo>
                    <a:pt x="20" y="17"/>
                  </a:lnTo>
                  <a:lnTo>
                    <a:pt x="16" y="17"/>
                  </a:lnTo>
                  <a:lnTo>
                    <a:pt x="16" y="15"/>
                  </a:lnTo>
                  <a:close/>
                  <a:moveTo>
                    <a:pt x="6" y="21"/>
                  </a:moveTo>
                  <a:lnTo>
                    <a:pt x="8" y="21"/>
                  </a:lnTo>
                  <a:lnTo>
                    <a:pt x="6" y="21"/>
                  </a:lnTo>
                  <a:close/>
                  <a:moveTo>
                    <a:pt x="10" y="21"/>
                  </a:moveTo>
                  <a:lnTo>
                    <a:pt x="12" y="21"/>
                  </a:lnTo>
                  <a:lnTo>
                    <a:pt x="12" y="23"/>
                  </a:lnTo>
                  <a:lnTo>
                    <a:pt x="10" y="23"/>
                  </a:lnTo>
                  <a:lnTo>
                    <a:pt x="10" y="21"/>
                  </a:lnTo>
                  <a:close/>
                  <a:moveTo>
                    <a:pt x="6" y="17"/>
                  </a:moveTo>
                  <a:lnTo>
                    <a:pt x="8" y="17"/>
                  </a:lnTo>
                  <a:lnTo>
                    <a:pt x="8" y="19"/>
                  </a:lnTo>
                  <a:lnTo>
                    <a:pt x="6" y="19"/>
                  </a:lnTo>
                  <a:lnTo>
                    <a:pt x="6" y="17"/>
                  </a:lnTo>
                  <a:close/>
                  <a:moveTo>
                    <a:pt x="12" y="21"/>
                  </a:moveTo>
                  <a:lnTo>
                    <a:pt x="14" y="21"/>
                  </a:lnTo>
                  <a:lnTo>
                    <a:pt x="12" y="21"/>
                  </a:lnTo>
                  <a:close/>
                  <a:moveTo>
                    <a:pt x="12" y="15"/>
                  </a:moveTo>
                  <a:lnTo>
                    <a:pt x="12" y="17"/>
                  </a:lnTo>
                  <a:lnTo>
                    <a:pt x="12" y="15"/>
                  </a:lnTo>
                  <a:close/>
                  <a:moveTo>
                    <a:pt x="8" y="19"/>
                  </a:moveTo>
                  <a:lnTo>
                    <a:pt x="10" y="19"/>
                  </a:lnTo>
                  <a:lnTo>
                    <a:pt x="10" y="21"/>
                  </a:lnTo>
                  <a:lnTo>
                    <a:pt x="8" y="21"/>
                  </a:lnTo>
                  <a:lnTo>
                    <a:pt x="8" y="19"/>
                  </a:lnTo>
                  <a:close/>
                  <a:moveTo>
                    <a:pt x="8" y="19"/>
                  </a:moveTo>
                  <a:lnTo>
                    <a:pt x="10" y="19"/>
                  </a:lnTo>
                  <a:lnTo>
                    <a:pt x="8" y="19"/>
                  </a:lnTo>
                  <a:close/>
                  <a:moveTo>
                    <a:pt x="14" y="17"/>
                  </a:moveTo>
                  <a:lnTo>
                    <a:pt x="16" y="17"/>
                  </a:lnTo>
                  <a:lnTo>
                    <a:pt x="16" y="19"/>
                  </a:lnTo>
                  <a:lnTo>
                    <a:pt x="14" y="19"/>
                  </a:lnTo>
                  <a:lnTo>
                    <a:pt x="14" y="17"/>
                  </a:lnTo>
                  <a:close/>
                  <a:moveTo>
                    <a:pt x="10" y="15"/>
                  </a:moveTo>
                  <a:lnTo>
                    <a:pt x="12" y="15"/>
                  </a:lnTo>
                  <a:lnTo>
                    <a:pt x="12" y="17"/>
                  </a:lnTo>
                  <a:lnTo>
                    <a:pt x="10" y="17"/>
                  </a:lnTo>
                  <a:lnTo>
                    <a:pt x="10" y="15"/>
                  </a:lnTo>
                  <a:close/>
                  <a:moveTo>
                    <a:pt x="14" y="19"/>
                  </a:moveTo>
                  <a:lnTo>
                    <a:pt x="14" y="21"/>
                  </a:lnTo>
                  <a:lnTo>
                    <a:pt x="14" y="19"/>
                  </a:lnTo>
                  <a:close/>
                  <a:moveTo>
                    <a:pt x="20" y="21"/>
                  </a:moveTo>
                  <a:lnTo>
                    <a:pt x="22" y="21"/>
                  </a:lnTo>
                  <a:lnTo>
                    <a:pt x="20" y="21"/>
                  </a:lnTo>
                  <a:close/>
                  <a:moveTo>
                    <a:pt x="12" y="19"/>
                  </a:moveTo>
                  <a:lnTo>
                    <a:pt x="14" y="19"/>
                  </a:lnTo>
                  <a:lnTo>
                    <a:pt x="12" y="19"/>
                  </a:lnTo>
                  <a:close/>
                  <a:moveTo>
                    <a:pt x="12" y="9"/>
                  </a:moveTo>
                  <a:lnTo>
                    <a:pt x="14" y="9"/>
                  </a:lnTo>
                  <a:lnTo>
                    <a:pt x="14" y="11"/>
                  </a:lnTo>
                  <a:lnTo>
                    <a:pt x="12" y="11"/>
                  </a:lnTo>
                  <a:lnTo>
                    <a:pt x="12" y="9"/>
                  </a:lnTo>
                  <a:close/>
                  <a:moveTo>
                    <a:pt x="10" y="25"/>
                  </a:moveTo>
                  <a:lnTo>
                    <a:pt x="12" y="25"/>
                  </a:lnTo>
                  <a:lnTo>
                    <a:pt x="10" y="25"/>
                  </a:lnTo>
                  <a:close/>
                  <a:moveTo>
                    <a:pt x="10" y="11"/>
                  </a:moveTo>
                  <a:lnTo>
                    <a:pt x="12" y="11"/>
                  </a:lnTo>
                  <a:lnTo>
                    <a:pt x="12" y="13"/>
                  </a:lnTo>
                  <a:lnTo>
                    <a:pt x="10" y="13"/>
                  </a:lnTo>
                  <a:lnTo>
                    <a:pt x="10" y="11"/>
                  </a:lnTo>
                  <a:close/>
                  <a:moveTo>
                    <a:pt x="4" y="21"/>
                  </a:moveTo>
                  <a:lnTo>
                    <a:pt x="6" y="21"/>
                  </a:lnTo>
                  <a:lnTo>
                    <a:pt x="4" y="21"/>
                  </a:lnTo>
                  <a:close/>
                  <a:moveTo>
                    <a:pt x="10" y="11"/>
                  </a:moveTo>
                  <a:lnTo>
                    <a:pt x="12" y="11"/>
                  </a:lnTo>
                  <a:lnTo>
                    <a:pt x="10" y="11"/>
                  </a:lnTo>
                  <a:close/>
                  <a:moveTo>
                    <a:pt x="10" y="19"/>
                  </a:moveTo>
                  <a:lnTo>
                    <a:pt x="12" y="19"/>
                  </a:lnTo>
                  <a:lnTo>
                    <a:pt x="10" y="19"/>
                  </a:lnTo>
                  <a:close/>
                  <a:moveTo>
                    <a:pt x="16" y="13"/>
                  </a:moveTo>
                  <a:lnTo>
                    <a:pt x="16" y="15"/>
                  </a:lnTo>
                  <a:lnTo>
                    <a:pt x="16" y="13"/>
                  </a:lnTo>
                  <a:close/>
                  <a:moveTo>
                    <a:pt x="12" y="13"/>
                  </a:moveTo>
                  <a:lnTo>
                    <a:pt x="14" y="13"/>
                  </a:lnTo>
                  <a:lnTo>
                    <a:pt x="12" y="13"/>
                  </a:lnTo>
                  <a:close/>
                  <a:moveTo>
                    <a:pt x="22" y="23"/>
                  </a:moveTo>
                  <a:lnTo>
                    <a:pt x="23" y="23"/>
                  </a:lnTo>
                  <a:lnTo>
                    <a:pt x="22" y="23"/>
                  </a:lnTo>
                  <a:close/>
                  <a:moveTo>
                    <a:pt x="14" y="21"/>
                  </a:moveTo>
                  <a:lnTo>
                    <a:pt x="16" y="21"/>
                  </a:lnTo>
                  <a:lnTo>
                    <a:pt x="14" y="21"/>
                  </a:lnTo>
                  <a:close/>
                  <a:moveTo>
                    <a:pt x="10" y="25"/>
                  </a:moveTo>
                  <a:lnTo>
                    <a:pt x="12" y="25"/>
                  </a:lnTo>
                  <a:lnTo>
                    <a:pt x="10" y="25"/>
                  </a:lnTo>
                  <a:close/>
                  <a:moveTo>
                    <a:pt x="22" y="23"/>
                  </a:moveTo>
                  <a:lnTo>
                    <a:pt x="23" y="23"/>
                  </a:lnTo>
                  <a:lnTo>
                    <a:pt x="22" y="23"/>
                  </a:lnTo>
                  <a:close/>
                  <a:moveTo>
                    <a:pt x="12" y="21"/>
                  </a:moveTo>
                  <a:lnTo>
                    <a:pt x="12" y="23"/>
                  </a:lnTo>
                  <a:lnTo>
                    <a:pt x="12" y="21"/>
                  </a:lnTo>
                  <a:close/>
                  <a:moveTo>
                    <a:pt x="8" y="21"/>
                  </a:moveTo>
                  <a:lnTo>
                    <a:pt x="10" y="21"/>
                  </a:lnTo>
                  <a:lnTo>
                    <a:pt x="10" y="23"/>
                  </a:lnTo>
                  <a:lnTo>
                    <a:pt x="8" y="23"/>
                  </a:lnTo>
                  <a:lnTo>
                    <a:pt x="8" y="21"/>
                  </a:lnTo>
                  <a:close/>
                  <a:moveTo>
                    <a:pt x="12" y="19"/>
                  </a:moveTo>
                  <a:lnTo>
                    <a:pt x="12" y="21"/>
                  </a:lnTo>
                  <a:lnTo>
                    <a:pt x="12" y="1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98">
              <a:extLst>
                <a:ext uri="{FF2B5EF4-FFF2-40B4-BE49-F238E27FC236}">
                  <a16:creationId xmlns:a16="http://schemas.microsoft.com/office/drawing/2014/main" id="{B7DAAF42-2C82-46C7-BC43-BB482A1BCB2E}"/>
                </a:ext>
              </a:extLst>
            </p:cNvPr>
            <p:cNvSpPr>
              <a:spLocks/>
            </p:cNvSpPr>
            <p:nvPr/>
          </p:nvSpPr>
          <p:spPr bwMode="gray">
            <a:xfrm>
              <a:off x="2906573" y="4116359"/>
              <a:ext cx="55187" cy="14717"/>
            </a:xfrm>
            <a:custGeom>
              <a:avLst/>
              <a:gdLst>
                <a:gd name="T0" fmla="*/ 2 w 45"/>
                <a:gd name="T1" fmla="*/ 10 h 12"/>
                <a:gd name="T2" fmla="*/ 0 w 45"/>
                <a:gd name="T3" fmla="*/ 8 h 12"/>
                <a:gd name="T4" fmla="*/ 2 w 45"/>
                <a:gd name="T5" fmla="*/ 6 h 12"/>
                <a:gd name="T6" fmla="*/ 4 w 45"/>
                <a:gd name="T7" fmla="*/ 4 h 12"/>
                <a:gd name="T8" fmla="*/ 8 w 45"/>
                <a:gd name="T9" fmla="*/ 4 h 12"/>
                <a:gd name="T10" fmla="*/ 12 w 45"/>
                <a:gd name="T11" fmla="*/ 4 h 12"/>
                <a:gd name="T12" fmla="*/ 16 w 45"/>
                <a:gd name="T13" fmla="*/ 4 h 12"/>
                <a:gd name="T14" fmla="*/ 20 w 45"/>
                <a:gd name="T15" fmla="*/ 4 h 12"/>
                <a:gd name="T16" fmla="*/ 22 w 45"/>
                <a:gd name="T17" fmla="*/ 0 h 12"/>
                <a:gd name="T18" fmla="*/ 24 w 45"/>
                <a:gd name="T19" fmla="*/ 2 h 12"/>
                <a:gd name="T20" fmla="*/ 25 w 45"/>
                <a:gd name="T21" fmla="*/ 0 h 12"/>
                <a:gd name="T22" fmla="*/ 29 w 45"/>
                <a:gd name="T23" fmla="*/ 0 h 12"/>
                <a:gd name="T24" fmla="*/ 31 w 45"/>
                <a:gd name="T25" fmla="*/ 4 h 12"/>
                <a:gd name="T26" fmla="*/ 33 w 45"/>
                <a:gd name="T27" fmla="*/ 2 h 12"/>
                <a:gd name="T28" fmla="*/ 35 w 45"/>
                <a:gd name="T29" fmla="*/ 4 h 12"/>
                <a:gd name="T30" fmla="*/ 37 w 45"/>
                <a:gd name="T31" fmla="*/ 6 h 12"/>
                <a:gd name="T32" fmla="*/ 39 w 45"/>
                <a:gd name="T33" fmla="*/ 4 h 12"/>
                <a:gd name="T34" fmla="*/ 43 w 45"/>
                <a:gd name="T35" fmla="*/ 4 h 12"/>
                <a:gd name="T36" fmla="*/ 45 w 45"/>
                <a:gd name="T37" fmla="*/ 6 h 12"/>
                <a:gd name="T38" fmla="*/ 43 w 45"/>
                <a:gd name="T39" fmla="*/ 8 h 12"/>
                <a:gd name="T40" fmla="*/ 41 w 45"/>
                <a:gd name="T41" fmla="*/ 10 h 12"/>
                <a:gd name="T42" fmla="*/ 39 w 45"/>
                <a:gd name="T43" fmla="*/ 8 h 12"/>
                <a:gd name="T44" fmla="*/ 37 w 45"/>
                <a:gd name="T45" fmla="*/ 10 h 12"/>
                <a:gd name="T46" fmla="*/ 35 w 45"/>
                <a:gd name="T47" fmla="*/ 8 h 12"/>
                <a:gd name="T48" fmla="*/ 31 w 45"/>
                <a:gd name="T49" fmla="*/ 8 h 12"/>
                <a:gd name="T50" fmla="*/ 29 w 45"/>
                <a:gd name="T51" fmla="*/ 6 h 12"/>
                <a:gd name="T52" fmla="*/ 27 w 45"/>
                <a:gd name="T53" fmla="*/ 4 h 12"/>
                <a:gd name="T54" fmla="*/ 25 w 45"/>
                <a:gd name="T55" fmla="*/ 6 h 12"/>
                <a:gd name="T56" fmla="*/ 24 w 45"/>
                <a:gd name="T57" fmla="*/ 8 h 12"/>
                <a:gd name="T58" fmla="*/ 22 w 45"/>
                <a:gd name="T59" fmla="*/ 6 h 12"/>
                <a:gd name="T60" fmla="*/ 20 w 45"/>
                <a:gd name="T61" fmla="*/ 8 h 12"/>
                <a:gd name="T62" fmla="*/ 16 w 45"/>
                <a:gd name="T63" fmla="*/ 8 h 12"/>
                <a:gd name="T64" fmla="*/ 14 w 45"/>
                <a:gd name="T65" fmla="*/ 10 h 12"/>
                <a:gd name="T66" fmla="*/ 10 w 45"/>
                <a:gd name="T67" fmla="*/ 10 h 12"/>
                <a:gd name="T68" fmla="*/ 6 w 45"/>
                <a:gd name="T69" fmla="*/ 10 h 12"/>
                <a:gd name="T70" fmla="*/ 2 w 45"/>
                <a:gd name="T71" fmla="*/ 10 h 12"/>
                <a:gd name="T72" fmla="*/ 2 w 45"/>
                <a:gd name="T73"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5" h="12">
                  <a:moveTo>
                    <a:pt x="2" y="12"/>
                  </a:moveTo>
                  <a:lnTo>
                    <a:pt x="2" y="10"/>
                  </a:lnTo>
                  <a:lnTo>
                    <a:pt x="0" y="10"/>
                  </a:lnTo>
                  <a:lnTo>
                    <a:pt x="0" y="8"/>
                  </a:lnTo>
                  <a:lnTo>
                    <a:pt x="0" y="6"/>
                  </a:lnTo>
                  <a:lnTo>
                    <a:pt x="2" y="6"/>
                  </a:lnTo>
                  <a:lnTo>
                    <a:pt x="4" y="6"/>
                  </a:lnTo>
                  <a:lnTo>
                    <a:pt x="4" y="4"/>
                  </a:lnTo>
                  <a:lnTo>
                    <a:pt x="6" y="4"/>
                  </a:lnTo>
                  <a:lnTo>
                    <a:pt x="8" y="4"/>
                  </a:lnTo>
                  <a:lnTo>
                    <a:pt x="10" y="4"/>
                  </a:lnTo>
                  <a:lnTo>
                    <a:pt x="12" y="4"/>
                  </a:lnTo>
                  <a:lnTo>
                    <a:pt x="14" y="4"/>
                  </a:lnTo>
                  <a:lnTo>
                    <a:pt x="16" y="4"/>
                  </a:lnTo>
                  <a:lnTo>
                    <a:pt x="18" y="4"/>
                  </a:lnTo>
                  <a:lnTo>
                    <a:pt x="20" y="4"/>
                  </a:lnTo>
                  <a:lnTo>
                    <a:pt x="22" y="2"/>
                  </a:lnTo>
                  <a:lnTo>
                    <a:pt x="22" y="0"/>
                  </a:lnTo>
                  <a:lnTo>
                    <a:pt x="24" y="0"/>
                  </a:lnTo>
                  <a:lnTo>
                    <a:pt x="24" y="2"/>
                  </a:lnTo>
                  <a:lnTo>
                    <a:pt x="24" y="0"/>
                  </a:lnTo>
                  <a:lnTo>
                    <a:pt x="25" y="0"/>
                  </a:lnTo>
                  <a:lnTo>
                    <a:pt x="27" y="0"/>
                  </a:lnTo>
                  <a:lnTo>
                    <a:pt x="29" y="0"/>
                  </a:lnTo>
                  <a:lnTo>
                    <a:pt x="31" y="2"/>
                  </a:lnTo>
                  <a:lnTo>
                    <a:pt x="31" y="4"/>
                  </a:lnTo>
                  <a:lnTo>
                    <a:pt x="31" y="2"/>
                  </a:lnTo>
                  <a:lnTo>
                    <a:pt x="33" y="2"/>
                  </a:lnTo>
                  <a:lnTo>
                    <a:pt x="35" y="2"/>
                  </a:lnTo>
                  <a:lnTo>
                    <a:pt x="35" y="4"/>
                  </a:lnTo>
                  <a:lnTo>
                    <a:pt x="37" y="4"/>
                  </a:lnTo>
                  <a:lnTo>
                    <a:pt x="37" y="6"/>
                  </a:lnTo>
                  <a:lnTo>
                    <a:pt x="39" y="6"/>
                  </a:lnTo>
                  <a:lnTo>
                    <a:pt x="39" y="4"/>
                  </a:lnTo>
                  <a:lnTo>
                    <a:pt x="41" y="4"/>
                  </a:lnTo>
                  <a:lnTo>
                    <a:pt x="43" y="4"/>
                  </a:lnTo>
                  <a:lnTo>
                    <a:pt x="45" y="4"/>
                  </a:lnTo>
                  <a:lnTo>
                    <a:pt x="45" y="6"/>
                  </a:lnTo>
                  <a:lnTo>
                    <a:pt x="45" y="8"/>
                  </a:lnTo>
                  <a:lnTo>
                    <a:pt x="43" y="8"/>
                  </a:lnTo>
                  <a:lnTo>
                    <a:pt x="41" y="8"/>
                  </a:lnTo>
                  <a:lnTo>
                    <a:pt x="41" y="10"/>
                  </a:lnTo>
                  <a:lnTo>
                    <a:pt x="39" y="10"/>
                  </a:lnTo>
                  <a:lnTo>
                    <a:pt x="39" y="8"/>
                  </a:lnTo>
                  <a:lnTo>
                    <a:pt x="39" y="10"/>
                  </a:lnTo>
                  <a:lnTo>
                    <a:pt x="37" y="10"/>
                  </a:lnTo>
                  <a:lnTo>
                    <a:pt x="37" y="8"/>
                  </a:lnTo>
                  <a:lnTo>
                    <a:pt x="35" y="8"/>
                  </a:lnTo>
                  <a:lnTo>
                    <a:pt x="33" y="8"/>
                  </a:lnTo>
                  <a:lnTo>
                    <a:pt x="31" y="8"/>
                  </a:lnTo>
                  <a:lnTo>
                    <a:pt x="31" y="6"/>
                  </a:lnTo>
                  <a:lnTo>
                    <a:pt x="29" y="6"/>
                  </a:lnTo>
                  <a:lnTo>
                    <a:pt x="27" y="6"/>
                  </a:lnTo>
                  <a:lnTo>
                    <a:pt x="27" y="4"/>
                  </a:lnTo>
                  <a:lnTo>
                    <a:pt x="25" y="4"/>
                  </a:lnTo>
                  <a:lnTo>
                    <a:pt x="25" y="6"/>
                  </a:lnTo>
                  <a:lnTo>
                    <a:pt x="24" y="6"/>
                  </a:lnTo>
                  <a:lnTo>
                    <a:pt x="24" y="8"/>
                  </a:lnTo>
                  <a:lnTo>
                    <a:pt x="22" y="8"/>
                  </a:lnTo>
                  <a:lnTo>
                    <a:pt x="22" y="6"/>
                  </a:lnTo>
                  <a:lnTo>
                    <a:pt x="20" y="6"/>
                  </a:lnTo>
                  <a:lnTo>
                    <a:pt x="20" y="8"/>
                  </a:lnTo>
                  <a:lnTo>
                    <a:pt x="18" y="8"/>
                  </a:lnTo>
                  <a:lnTo>
                    <a:pt x="16" y="8"/>
                  </a:lnTo>
                  <a:lnTo>
                    <a:pt x="16" y="10"/>
                  </a:lnTo>
                  <a:lnTo>
                    <a:pt x="14" y="10"/>
                  </a:lnTo>
                  <a:lnTo>
                    <a:pt x="12" y="10"/>
                  </a:lnTo>
                  <a:lnTo>
                    <a:pt x="10" y="10"/>
                  </a:lnTo>
                  <a:lnTo>
                    <a:pt x="8" y="10"/>
                  </a:lnTo>
                  <a:lnTo>
                    <a:pt x="6" y="10"/>
                  </a:lnTo>
                  <a:lnTo>
                    <a:pt x="4" y="10"/>
                  </a:lnTo>
                  <a:lnTo>
                    <a:pt x="2" y="10"/>
                  </a:lnTo>
                  <a:lnTo>
                    <a:pt x="2" y="12"/>
                  </a:lnTo>
                  <a:lnTo>
                    <a:pt x="2" y="10"/>
                  </a:lnTo>
                  <a:lnTo>
                    <a:pt x="2" y="1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99">
              <a:extLst>
                <a:ext uri="{FF2B5EF4-FFF2-40B4-BE49-F238E27FC236}">
                  <a16:creationId xmlns:a16="http://schemas.microsoft.com/office/drawing/2014/main" id="{623D826D-02B2-45B7-AA28-A3BFE3299598}"/>
                </a:ext>
              </a:extLst>
            </p:cNvPr>
            <p:cNvSpPr>
              <a:spLocks noEditPoints="1"/>
            </p:cNvSpPr>
            <p:nvPr/>
          </p:nvSpPr>
          <p:spPr bwMode="gray">
            <a:xfrm>
              <a:off x="2895536" y="4062399"/>
              <a:ext cx="110374" cy="82168"/>
            </a:xfrm>
            <a:custGeom>
              <a:avLst/>
              <a:gdLst>
                <a:gd name="T0" fmla="*/ 79 w 90"/>
                <a:gd name="T1" fmla="*/ 35 h 67"/>
                <a:gd name="T2" fmla="*/ 81 w 90"/>
                <a:gd name="T3" fmla="*/ 44 h 67"/>
                <a:gd name="T4" fmla="*/ 82 w 90"/>
                <a:gd name="T5" fmla="*/ 50 h 67"/>
                <a:gd name="T6" fmla="*/ 88 w 90"/>
                <a:gd name="T7" fmla="*/ 52 h 67"/>
                <a:gd name="T8" fmla="*/ 88 w 90"/>
                <a:gd name="T9" fmla="*/ 58 h 67"/>
                <a:gd name="T10" fmla="*/ 88 w 90"/>
                <a:gd name="T11" fmla="*/ 58 h 67"/>
                <a:gd name="T12" fmla="*/ 90 w 90"/>
                <a:gd name="T13" fmla="*/ 60 h 67"/>
                <a:gd name="T14" fmla="*/ 88 w 90"/>
                <a:gd name="T15" fmla="*/ 65 h 67"/>
                <a:gd name="T16" fmla="*/ 77 w 90"/>
                <a:gd name="T17" fmla="*/ 65 h 67"/>
                <a:gd name="T18" fmla="*/ 69 w 90"/>
                <a:gd name="T19" fmla="*/ 65 h 67"/>
                <a:gd name="T20" fmla="*/ 65 w 90"/>
                <a:gd name="T21" fmla="*/ 62 h 67"/>
                <a:gd name="T22" fmla="*/ 54 w 90"/>
                <a:gd name="T23" fmla="*/ 62 h 67"/>
                <a:gd name="T24" fmla="*/ 38 w 90"/>
                <a:gd name="T25" fmla="*/ 62 h 67"/>
                <a:gd name="T26" fmla="*/ 29 w 90"/>
                <a:gd name="T27" fmla="*/ 63 h 67"/>
                <a:gd name="T28" fmla="*/ 19 w 90"/>
                <a:gd name="T29" fmla="*/ 65 h 67"/>
                <a:gd name="T30" fmla="*/ 11 w 90"/>
                <a:gd name="T31" fmla="*/ 65 h 67"/>
                <a:gd name="T32" fmla="*/ 13 w 90"/>
                <a:gd name="T33" fmla="*/ 63 h 67"/>
                <a:gd name="T34" fmla="*/ 15 w 90"/>
                <a:gd name="T35" fmla="*/ 62 h 67"/>
                <a:gd name="T36" fmla="*/ 11 w 90"/>
                <a:gd name="T37" fmla="*/ 58 h 67"/>
                <a:gd name="T38" fmla="*/ 11 w 90"/>
                <a:gd name="T39" fmla="*/ 62 h 67"/>
                <a:gd name="T40" fmla="*/ 9 w 90"/>
                <a:gd name="T41" fmla="*/ 60 h 67"/>
                <a:gd name="T42" fmla="*/ 11 w 90"/>
                <a:gd name="T43" fmla="*/ 54 h 67"/>
                <a:gd name="T44" fmla="*/ 23 w 90"/>
                <a:gd name="T45" fmla="*/ 54 h 67"/>
                <a:gd name="T46" fmla="*/ 31 w 90"/>
                <a:gd name="T47" fmla="*/ 50 h 67"/>
                <a:gd name="T48" fmla="*/ 36 w 90"/>
                <a:gd name="T49" fmla="*/ 48 h 67"/>
                <a:gd name="T50" fmla="*/ 44 w 90"/>
                <a:gd name="T51" fmla="*/ 52 h 67"/>
                <a:gd name="T52" fmla="*/ 50 w 90"/>
                <a:gd name="T53" fmla="*/ 54 h 67"/>
                <a:gd name="T54" fmla="*/ 52 w 90"/>
                <a:gd name="T55" fmla="*/ 48 h 67"/>
                <a:gd name="T56" fmla="*/ 44 w 90"/>
                <a:gd name="T57" fmla="*/ 48 h 67"/>
                <a:gd name="T58" fmla="*/ 38 w 90"/>
                <a:gd name="T59" fmla="*/ 44 h 67"/>
                <a:gd name="T60" fmla="*/ 31 w 90"/>
                <a:gd name="T61" fmla="*/ 44 h 67"/>
                <a:gd name="T62" fmla="*/ 21 w 90"/>
                <a:gd name="T63" fmla="*/ 48 h 67"/>
                <a:gd name="T64" fmla="*/ 13 w 90"/>
                <a:gd name="T65" fmla="*/ 48 h 67"/>
                <a:gd name="T66" fmla="*/ 15 w 90"/>
                <a:gd name="T67" fmla="*/ 42 h 67"/>
                <a:gd name="T68" fmla="*/ 13 w 90"/>
                <a:gd name="T69" fmla="*/ 40 h 67"/>
                <a:gd name="T70" fmla="*/ 9 w 90"/>
                <a:gd name="T71" fmla="*/ 40 h 67"/>
                <a:gd name="T72" fmla="*/ 6 w 90"/>
                <a:gd name="T73" fmla="*/ 33 h 67"/>
                <a:gd name="T74" fmla="*/ 2 w 90"/>
                <a:gd name="T75" fmla="*/ 29 h 67"/>
                <a:gd name="T76" fmla="*/ 11 w 90"/>
                <a:gd name="T77" fmla="*/ 21 h 67"/>
                <a:gd name="T78" fmla="*/ 15 w 90"/>
                <a:gd name="T79" fmla="*/ 14 h 67"/>
                <a:gd name="T80" fmla="*/ 17 w 90"/>
                <a:gd name="T81" fmla="*/ 4 h 67"/>
                <a:gd name="T82" fmla="*/ 25 w 90"/>
                <a:gd name="T83" fmla="*/ 4 h 67"/>
                <a:gd name="T84" fmla="*/ 31 w 90"/>
                <a:gd name="T85" fmla="*/ 2 h 67"/>
                <a:gd name="T86" fmla="*/ 36 w 90"/>
                <a:gd name="T87" fmla="*/ 0 h 67"/>
                <a:gd name="T88" fmla="*/ 46 w 90"/>
                <a:gd name="T89" fmla="*/ 2 h 67"/>
                <a:gd name="T90" fmla="*/ 50 w 90"/>
                <a:gd name="T91" fmla="*/ 6 h 67"/>
                <a:gd name="T92" fmla="*/ 56 w 90"/>
                <a:gd name="T93" fmla="*/ 8 h 67"/>
                <a:gd name="T94" fmla="*/ 59 w 90"/>
                <a:gd name="T95" fmla="*/ 12 h 67"/>
                <a:gd name="T96" fmla="*/ 61 w 90"/>
                <a:gd name="T97" fmla="*/ 17 h 67"/>
                <a:gd name="T98" fmla="*/ 69 w 90"/>
                <a:gd name="T99" fmla="*/ 21 h 67"/>
                <a:gd name="T100" fmla="*/ 73 w 90"/>
                <a:gd name="T101" fmla="*/ 25 h 67"/>
                <a:gd name="T102" fmla="*/ 11 w 90"/>
                <a:gd name="T103" fmla="*/ 42 h 67"/>
                <a:gd name="T104" fmla="*/ 15 w 90"/>
                <a:gd name="T105" fmla="*/ 44 h 67"/>
                <a:gd name="T106" fmla="*/ 13 w 90"/>
                <a:gd name="T107" fmla="*/ 63 h 67"/>
                <a:gd name="T108" fmla="*/ 11 w 90"/>
                <a:gd name="T109" fmla="*/ 60 h 67"/>
                <a:gd name="T110" fmla="*/ 13 w 90"/>
                <a:gd name="T111" fmla="*/ 62 h 67"/>
                <a:gd name="T112" fmla="*/ 11 w 90"/>
                <a:gd name="T113" fmla="*/ 60 h 67"/>
                <a:gd name="T114" fmla="*/ 13 w 90"/>
                <a:gd name="T115" fmla="*/ 42 h 67"/>
                <a:gd name="T116" fmla="*/ 13 w 90"/>
                <a:gd name="T117" fmla="*/ 62 h 67"/>
                <a:gd name="T118" fmla="*/ 11 w 90"/>
                <a:gd name="T119" fmla="*/ 44 h 67"/>
                <a:gd name="T120" fmla="*/ 15 w 90"/>
                <a:gd name="T121" fmla="*/ 46 h 67"/>
                <a:gd name="T122" fmla="*/ 13 w 90"/>
                <a:gd name="T123"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67">
                  <a:moveTo>
                    <a:pt x="77" y="31"/>
                  </a:moveTo>
                  <a:lnTo>
                    <a:pt x="79" y="31"/>
                  </a:lnTo>
                  <a:lnTo>
                    <a:pt x="79" y="33"/>
                  </a:lnTo>
                  <a:lnTo>
                    <a:pt x="77" y="33"/>
                  </a:lnTo>
                  <a:lnTo>
                    <a:pt x="77" y="35"/>
                  </a:lnTo>
                  <a:lnTo>
                    <a:pt x="79" y="35"/>
                  </a:lnTo>
                  <a:lnTo>
                    <a:pt x="79" y="37"/>
                  </a:lnTo>
                  <a:lnTo>
                    <a:pt x="81" y="37"/>
                  </a:lnTo>
                  <a:lnTo>
                    <a:pt x="81" y="38"/>
                  </a:lnTo>
                  <a:lnTo>
                    <a:pt x="81" y="40"/>
                  </a:lnTo>
                  <a:lnTo>
                    <a:pt x="81" y="42"/>
                  </a:lnTo>
                  <a:lnTo>
                    <a:pt x="81" y="44"/>
                  </a:lnTo>
                  <a:lnTo>
                    <a:pt x="81" y="46"/>
                  </a:lnTo>
                  <a:lnTo>
                    <a:pt x="79" y="46"/>
                  </a:lnTo>
                  <a:lnTo>
                    <a:pt x="81" y="46"/>
                  </a:lnTo>
                  <a:lnTo>
                    <a:pt x="81" y="48"/>
                  </a:lnTo>
                  <a:lnTo>
                    <a:pt x="82" y="48"/>
                  </a:lnTo>
                  <a:lnTo>
                    <a:pt x="82" y="50"/>
                  </a:lnTo>
                  <a:lnTo>
                    <a:pt x="82" y="52"/>
                  </a:lnTo>
                  <a:lnTo>
                    <a:pt x="84" y="52"/>
                  </a:lnTo>
                  <a:lnTo>
                    <a:pt x="84" y="50"/>
                  </a:lnTo>
                  <a:lnTo>
                    <a:pt x="86" y="50"/>
                  </a:lnTo>
                  <a:lnTo>
                    <a:pt x="86" y="52"/>
                  </a:lnTo>
                  <a:lnTo>
                    <a:pt x="88" y="52"/>
                  </a:lnTo>
                  <a:lnTo>
                    <a:pt x="86" y="54"/>
                  </a:lnTo>
                  <a:lnTo>
                    <a:pt x="88" y="54"/>
                  </a:lnTo>
                  <a:lnTo>
                    <a:pt x="88" y="56"/>
                  </a:lnTo>
                  <a:lnTo>
                    <a:pt x="90" y="56"/>
                  </a:lnTo>
                  <a:lnTo>
                    <a:pt x="88" y="56"/>
                  </a:lnTo>
                  <a:lnTo>
                    <a:pt x="88" y="58"/>
                  </a:lnTo>
                  <a:lnTo>
                    <a:pt x="90" y="58"/>
                  </a:lnTo>
                  <a:lnTo>
                    <a:pt x="90" y="56"/>
                  </a:lnTo>
                  <a:lnTo>
                    <a:pt x="90" y="58"/>
                  </a:lnTo>
                  <a:lnTo>
                    <a:pt x="88" y="58"/>
                  </a:lnTo>
                  <a:lnTo>
                    <a:pt x="90" y="58"/>
                  </a:lnTo>
                  <a:lnTo>
                    <a:pt x="88" y="58"/>
                  </a:lnTo>
                  <a:lnTo>
                    <a:pt x="90" y="58"/>
                  </a:lnTo>
                  <a:lnTo>
                    <a:pt x="90" y="60"/>
                  </a:lnTo>
                  <a:lnTo>
                    <a:pt x="88" y="60"/>
                  </a:lnTo>
                  <a:lnTo>
                    <a:pt x="90" y="60"/>
                  </a:lnTo>
                  <a:lnTo>
                    <a:pt x="88" y="60"/>
                  </a:lnTo>
                  <a:lnTo>
                    <a:pt x="90" y="60"/>
                  </a:lnTo>
                  <a:lnTo>
                    <a:pt x="90" y="62"/>
                  </a:lnTo>
                  <a:lnTo>
                    <a:pt x="88" y="62"/>
                  </a:lnTo>
                  <a:lnTo>
                    <a:pt x="88" y="63"/>
                  </a:lnTo>
                  <a:lnTo>
                    <a:pt x="90" y="63"/>
                  </a:lnTo>
                  <a:lnTo>
                    <a:pt x="90" y="65"/>
                  </a:lnTo>
                  <a:lnTo>
                    <a:pt x="88" y="65"/>
                  </a:lnTo>
                  <a:lnTo>
                    <a:pt x="86" y="65"/>
                  </a:lnTo>
                  <a:lnTo>
                    <a:pt x="84" y="65"/>
                  </a:lnTo>
                  <a:lnTo>
                    <a:pt x="82" y="65"/>
                  </a:lnTo>
                  <a:lnTo>
                    <a:pt x="81" y="65"/>
                  </a:lnTo>
                  <a:lnTo>
                    <a:pt x="79" y="65"/>
                  </a:lnTo>
                  <a:lnTo>
                    <a:pt x="77" y="65"/>
                  </a:lnTo>
                  <a:lnTo>
                    <a:pt x="77" y="67"/>
                  </a:lnTo>
                  <a:lnTo>
                    <a:pt x="75" y="67"/>
                  </a:lnTo>
                  <a:lnTo>
                    <a:pt x="75" y="65"/>
                  </a:lnTo>
                  <a:lnTo>
                    <a:pt x="73" y="65"/>
                  </a:lnTo>
                  <a:lnTo>
                    <a:pt x="71" y="65"/>
                  </a:lnTo>
                  <a:lnTo>
                    <a:pt x="69" y="65"/>
                  </a:lnTo>
                  <a:lnTo>
                    <a:pt x="69" y="63"/>
                  </a:lnTo>
                  <a:lnTo>
                    <a:pt x="67" y="63"/>
                  </a:lnTo>
                  <a:lnTo>
                    <a:pt x="67" y="65"/>
                  </a:lnTo>
                  <a:lnTo>
                    <a:pt x="65" y="65"/>
                  </a:lnTo>
                  <a:lnTo>
                    <a:pt x="65" y="63"/>
                  </a:lnTo>
                  <a:lnTo>
                    <a:pt x="65" y="62"/>
                  </a:lnTo>
                  <a:lnTo>
                    <a:pt x="63" y="62"/>
                  </a:lnTo>
                  <a:lnTo>
                    <a:pt x="61" y="62"/>
                  </a:lnTo>
                  <a:lnTo>
                    <a:pt x="59" y="62"/>
                  </a:lnTo>
                  <a:lnTo>
                    <a:pt x="57" y="62"/>
                  </a:lnTo>
                  <a:lnTo>
                    <a:pt x="56" y="62"/>
                  </a:lnTo>
                  <a:lnTo>
                    <a:pt x="54" y="62"/>
                  </a:lnTo>
                  <a:lnTo>
                    <a:pt x="52" y="62"/>
                  </a:lnTo>
                  <a:lnTo>
                    <a:pt x="50" y="62"/>
                  </a:lnTo>
                  <a:lnTo>
                    <a:pt x="48" y="62"/>
                  </a:lnTo>
                  <a:lnTo>
                    <a:pt x="46" y="62"/>
                  </a:lnTo>
                  <a:lnTo>
                    <a:pt x="42" y="62"/>
                  </a:lnTo>
                  <a:lnTo>
                    <a:pt x="38" y="62"/>
                  </a:lnTo>
                  <a:lnTo>
                    <a:pt x="36" y="62"/>
                  </a:lnTo>
                  <a:lnTo>
                    <a:pt x="34" y="62"/>
                  </a:lnTo>
                  <a:lnTo>
                    <a:pt x="33" y="62"/>
                  </a:lnTo>
                  <a:lnTo>
                    <a:pt x="33" y="63"/>
                  </a:lnTo>
                  <a:lnTo>
                    <a:pt x="31" y="63"/>
                  </a:lnTo>
                  <a:lnTo>
                    <a:pt x="29" y="63"/>
                  </a:lnTo>
                  <a:lnTo>
                    <a:pt x="29" y="65"/>
                  </a:lnTo>
                  <a:lnTo>
                    <a:pt x="27" y="65"/>
                  </a:lnTo>
                  <a:lnTo>
                    <a:pt x="25" y="65"/>
                  </a:lnTo>
                  <a:lnTo>
                    <a:pt x="23" y="65"/>
                  </a:lnTo>
                  <a:lnTo>
                    <a:pt x="21" y="65"/>
                  </a:lnTo>
                  <a:lnTo>
                    <a:pt x="19" y="65"/>
                  </a:lnTo>
                  <a:lnTo>
                    <a:pt x="17" y="65"/>
                  </a:lnTo>
                  <a:lnTo>
                    <a:pt x="15" y="65"/>
                  </a:lnTo>
                  <a:lnTo>
                    <a:pt x="13" y="65"/>
                  </a:lnTo>
                  <a:lnTo>
                    <a:pt x="11" y="65"/>
                  </a:lnTo>
                  <a:lnTo>
                    <a:pt x="11" y="67"/>
                  </a:lnTo>
                  <a:lnTo>
                    <a:pt x="11" y="65"/>
                  </a:lnTo>
                  <a:lnTo>
                    <a:pt x="9" y="65"/>
                  </a:lnTo>
                  <a:lnTo>
                    <a:pt x="9" y="63"/>
                  </a:lnTo>
                  <a:lnTo>
                    <a:pt x="11" y="63"/>
                  </a:lnTo>
                  <a:lnTo>
                    <a:pt x="11" y="65"/>
                  </a:lnTo>
                  <a:lnTo>
                    <a:pt x="11" y="63"/>
                  </a:lnTo>
                  <a:lnTo>
                    <a:pt x="13" y="63"/>
                  </a:lnTo>
                  <a:lnTo>
                    <a:pt x="13" y="62"/>
                  </a:lnTo>
                  <a:lnTo>
                    <a:pt x="13" y="63"/>
                  </a:lnTo>
                  <a:lnTo>
                    <a:pt x="15" y="63"/>
                  </a:lnTo>
                  <a:lnTo>
                    <a:pt x="15" y="62"/>
                  </a:lnTo>
                  <a:lnTo>
                    <a:pt x="15" y="63"/>
                  </a:lnTo>
                  <a:lnTo>
                    <a:pt x="15" y="62"/>
                  </a:lnTo>
                  <a:lnTo>
                    <a:pt x="13" y="62"/>
                  </a:lnTo>
                  <a:lnTo>
                    <a:pt x="13" y="60"/>
                  </a:lnTo>
                  <a:lnTo>
                    <a:pt x="13" y="58"/>
                  </a:lnTo>
                  <a:lnTo>
                    <a:pt x="11" y="58"/>
                  </a:lnTo>
                  <a:lnTo>
                    <a:pt x="13" y="58"/>
                  </a:lnTo>
                  <a:lnTo>
                    <a:pt x="11" y="58"/>
                  </a:lnTo>
                  <a:lnTo>
                    <a:pt x="13" y="58"/>
                  </a:lnTo>
                  <a:lnTo>
                    <a:pt x="11" y="58"/>
                  </a:lnTo>
                  <a:lnTo>
                    <a:pt x="13" y="58"/>
                  </a:lnTo>
                  <a:lnTo>
                    <a:pt x="13" y="60"/>
                  </a:lnTo>
                  <a:lnTo>
                    <a:pt x="11" y="60"/>
                  </a:lnTo>
                  <a:lnTo>
                    <a:pt x="11" y="62"/>
                  </a:lnTo>
                  <a:lnTo>
                    <a:pt x="9" y="62"/>
                  </a:lnTo>
                  <a:lnTo>
                    <a:pt x="11" y="62"/>
                  </a:lnTo>
                  <a:lnTo>
                    <a:pt x="11" y="60"/>
                  </a:lnTo>
                  <a:lnTo>
                    <a:pt x="9" y="60"/>
                  </a:lnTo>
                  <a:lnTo>
                    <a:pt x="11" y="60"/>
                  </a:lnTo>
                  <a:lnTo>
                    <a:pt x="9" y="60"/>
                  </a:lnTo>
                  <a:lnTo>
                    <a:pt x="11" y="60"/>
                  </a:lnTo>
                  <a:lnTo>
                    <a:pt x="11" y="58"/>
                  </a:lnTo>
                  <a:lnTo>
                    <a:pt x="11" y="56"/>
                  </a:lnTo>
                  <a:lnTo>
                    <a:pt x="11" y="54"/>
                  </a:lnTo>
                  <a:lnTo>
                    <a:pt x="11" y="56"/>
                  </a:lnTo>
                  <a:lnTo>
                    <a:pt x="11" y="54"/>
                  </a:lnTo>
                  <a:lnTo>
                    <a:pt x="13" y="54"/>
                  </a:lnTo>
                  <a:lnTo>
                    <a:pt x="15" y="54"/>
                  </a:lnTo>
                  <a:lnTo>
                    <a:pt x="17" y="54"/>
                  </a:lnTo>
                  <a:lnTo>
                    <a:pt x="19" y="54"/>
                  </a:lnTo>
                  <a:lnTo>
                    <a:pt x="21" y="54"/>
                  </a:lnTo>
                  <a:lnTo>
                    <a:pt x="23" y="54"/>
                  </a:lnTo>
                  <a:lnTo>
                    <a:pt x="25" y="54"/>
                  </a:lnTo>
                  <a:lnTo>
                    <a:pt x="25" y="52"/>
                  </a:lnTo>
                  <a:lnTo>
                    <a:pt x="27" y="52"/>
                  </a:lnTo>
                  <a:lnTo>
                    <a:pt x="29" y="52"/>
                  </a:lnTo>
                  <a:lnTo>
                    <a:pt x="29" y="50"/>
                  </a:lnTo>
                  <a:lnTo>
                    <a:pt x="31" y="50"/>
                  </a:lnTo>
                  <a:lnTo>
                    <a:pt x="31" y="52"/>
                  </a:lnTo>
                  <a:lnTo>
                    <a:pt x="33" y="52"/>
                  </a:lnTo>
                  <a:lnTo>
                    <a:pt x="33" y="50"/>
                  </a:lnTo>
                  <a:lnTo>
                    <a:pt x="34" y="50"/>
                  </a:lnTo>
                  <a:lnTo>
                    <a:pt x="34" y="48"/>
                  </a:lnTo>
                  <a:lnTo>
                    <a:pt x="36" y="48"/>
                  </a:lnTo>
                  <a:lnTo>
                    <a:pt x="36" y="50"/>
                  </a:lnTo>
                  <a:lnTo>
                    <a:pt x="38" y="50"/>
                  </a:lnTo>
                  <a:lnTo>
                    <a:pt x="40" y="50"/>
                  </a:lnTo>
                  <a:lnTo>
                    <a:pt x="40" y="52"/>
                  </a:lnTo>
                  <a:lnTo>
                    <a:pt x="42" y="52"/>
                  </a:lnTo>
                  <a:lnTo>
                    <a:pt x="44" y="52"/>
                  </a:lnTo>
                  <a:lnTo>
                    <a:pt x="46" y="52"/>
                  </a:lnTo>
                  <a:lnTo>
                    <a:pt x="46" y="54"/>
                  </a:lnTo>
                  <a:lnTo>
                    <a:pt x="48" y="54"/>
                  </a:lnTo>
                  <a:lnTo>
                    <a:pt x="48" y="52"/>
                  </a:lnTo>
                  <a:lnTo>
                    <a:pt x="48" y="54"/>
                  </a:lnTo>
                  <a:lnTo>
                    <a:pt x="50" y="54"/>
                  </a:lnTo>
                  <a:lnTo>
                    <a:pt x="50" y="52"/>
                  </a:lnTo>
                  <a:lnTo>
                    <a:pt x="52" y="52"/>
                  </a:lnTo>
                  <a:lnTo>
                    <a:pt x="54" y="52"/>
                  </a:lnTo>
                  <a:lnTo>
                    <a:pt x="54" y="50"/>
                  </a:lnTo>
                  <a:lnTo>
                    <a:pt x="54" y="48"/>
                  </a:lnTo>
                  <a:lnTo>
                    <a:pt x="52" y="48"/>
                  </a:lnTo>
                  <a:lnTo>
                    <a:pt x="50" y="48"/>
                  </a:lnTo>
                  <a:lnTo>
                    <a:pt x="48" y="48"/>
                  </a:lnTo>
                  <a:lnTo>
                    <a:pt x="48" y="50"/>
                  </a:lnTo>
                  <a:lnTo>
                    <a:pt x="46" y="50"/>
                  </a:lnTo>
                  <a:lnTo>
                    <a:pt x="46" y="48"/>
                  </a:lnTo>
                  <a:lnTo>
                    <a:pt x="44" y="48"/>
                  </a:lnTo>
                  <a:lnTo>
                    <a:pt x="44" y="46"/>
                  </a:lnTo>
                  <a:lnTo>
                    <a:pt x="42" y="46"/>
                  </a:lnTo>
                  <a:lnTo>
                    <a:pt x="40" y="46"/>
                  </a:lnTo>
                  <a:lnTo>
                    <a:pt x="40" y="48"/>
                  </a:lnTo>
                  <a:lnTo>
                    <a:pt x="40" y="46"/>
                  </a:lnTo>
                  <a:lnTo>
                    <a:pt x="38" y="44"/>
                  </a:lnTo>
                  <a:lnTo>
                    <a:pt x="36" y="44"/>
                  </a:lnTo>
                  <a:lnTo>
                    <a:pt x="34" y="44"/>
                  </a:lnTo>
                  <a:lnTo>
                    <a:pt x="33" y="44"/>
                  </a:lnTo>
                  <a:lnTo>
                    <a:pt x="33" y="46"/>
                  </a:lnTo>
                  <a:lnTo>
                    <a:pt x="33" y="44"/>
                  </a:lnTo>
                  <a:lnTo>
                    <a:pt x="31" y="44"/>
                  </a:lnTo>
                  <a:lnTo>
                    <a:pt x="31" y="46"/>
                  </a:lnTo>
                  <a:lnTo>
                    <a:pt x="29" y="48"/>
                  </a:lnTo>
                  <a:lnTo>
                    <a:pt x="27" y="48"/>
                  </a:lnTo>
                  <a:lnTo>
                    <a:pt x="25" y="48"/>
                  </a:lnTo>
                  <a:lnTo>
                    <a:pt x="23" y="48"/>
                  </a:lnTo>
                  <a:lnTo>
                    <a:pt x="21" y="48"/>
                  </a:lnTo>
                  <a:lnTo>
                    <a:pt x="19" y="48"/>
                  </a:lnTo>
                  <a:lnTo>
                    <a:pt x="17" y="48"/>
                  </a:lnTo>
                  <a:lnTo>
                    <a:pt x="15" y="48"/>
                  </a:lnTo>
                  <a:lnTo>
                    <a:pt x="13" y="48"/>
                  </a:lnTo>
                  <a:lnTo>
                    <a:pt x="13" y="46"/>
                  </a:lnTo>
                  <a:lnTo>
                    <a:pt x="13" y="48"/>
                  </a:lnTo>
                  <a:lnTo>
                    <a:pt x="13" y="46"/>
                  </a:lnTo>
                  <a:lnTo>
                    <a:pt x="13" y="48"/>
                  </a:lnTo>
                  <a:lnTo>
                    <a:pt x="13" y="46"/>
                  </a:lnTo>
                  <a:lnTo>
                    <a:pt x="15" y="46"/>
                  </a:lnTo>
                  <a:lnTo>
                    <a:pt x="15" y="44"/>
                  </a:lnTo>
                  <a:lnTo>
                    <a:pt x="15" y="42"/>
                  </a:lnTo>
                  <a:lnTo>
                    <a:pt x="15" y="44"/>
                  </a:lnTo>
                  <a:lnTo>
                    <a:pt x="15" y="42"/>
                  </a:lnTo>
                  <a:lnTo>
                    <a:pt x="15" y="40"/>
                  </a:lnTo>
                  <a:lnTo>
                    <a:pt x="15" y="42"/>
                  </a:lnTo>
                  <a:lnTo>
                    <a:pt x="13" y="42"/>
                  </a:lnTo>
                  <a:lnTo>
                    <a:pt x="13" y="40"/>
                  </a:lnTo>
                  <a:lnTo>
                    <a:pt x="13" y="42"/>
                  </a:lnTo>
                  <a:lnTo>
                    <a:pt x="11" y="42"/>
                  </a:lnTo>
                  <a:lnTo>
                    <a:pt x="11" y="40"/>
                  </a:lnTo>
                  <a:lnTo>
                    <a:pt x="11" y="42"/>
                  </a:lnTo>
                  <a:lnTo>
                    <a:pt x="11" y="40"/>
                  </a:lnTo>
                  <a:lnTo>
                    <a:pt x="9" y="40"/>
                  </a:lnTo>
                  <a:lnTo>
                    <a:pt x="9" y="38"/>
                  </a:lnTo>
                  <a:lnTo>
                    <a:pt x="9" y="37"/>
                  </a:lnTo>
                  <a:lnTo>
                    <a:pt x="8" y="37"/>
                  </a:lnTo>
                  <a:lnTo>
                    <a:pt x="8" y="35"/>
                  </a:lnTo>
                  <a:lnTo>
                    <a:pt x="6" y="35"/>
                  </a:lnTo>
                  <a:lnTo>
                    <a:pt x="6" y="33"/>
                  </a:lnTo>
                  <a:lnTo>
                    <a:pt x="4" y="33"/>
                  </a:lnTo>
                  <a:lnTo>
                    <a:pt x="4" y="31"/>
                  </a:lnTo>
                  <a:lnTo>
                    <a:pt x="2" y="31"/>
                  </a:lnTo>
                  <a:lnTo>
                    <a:pt x="0" y="31"/>
                  </a:lnTo>
                  <a:lnTo>
                    <a:pt x="2" y="31"/>
                  </a:lnTo>
                  <a:lnTo>
                    <a:pt x="2" y="29"/>
                  </a:lnTo>
                  <a:lnTo>
                    <a:pt x="4" y="29"/>
                  </a:lnTo>
                  <a:lnTo>
                    <a:pt x="6" y="27"/>
                  </a:lnTo>
                  <a:lnTo>
                    <a:pt x="8" y="25"/>
                  </a:lnTo>
                  <a:lnTo>
                    <a:pt x="9" y="23"/>
                  </a:lnTo>
                  <a:lnTo>
                    <a:pt x="9" y="21"/>
                  </a:lnTo>
                  <a:lnTo>
                    <a:pt x="11" y="21"/>
                  </a:lnTo>
                  <a:lnTo>
                    <a:pt x="11" y="19"/>
                  </a:lnTo>
                  <a:lnTo>
                    <a:pt x="11" y="17"/>
                  </a:lnTo>
                  <a:lnTo>
                    <a:pt x="13" y="17"/>
                  </a:lnTo>
                  <a:lnTo>
                    <a:pt x="13" y="15"/>
                  </a:lnTo>
                  <a:lnTo>
                    <a:pt x="13" y="14"/>
                  </a:lnTo>
                  <a:lnTo>
                    <a:pt x="15" y="14"/>
                  </a:lnTo>
                  <a:lnTo>
                    <a:pt x="15" y="12"/>
                  </a:lnTo>
                  <a:lnTo>
                    <a:pt x="15" y="10"/>
                  </a:lnTo>
                  <a:lnTo>
                    <a:pt x="15" y="8"/>
                  </a:lnTo>
                  <a:lnTo>
                    <a:pt x="17" y="8"/>
                  </a:lnTo>
                  <a:lnTo>
                    <a:pt x="17" y="6"/>
                  </a:lnTo>
                  <a:lnTo>
                    <a:pt x="17" y="4"/>
                  </a:lnTo>
                  <a:lnTo>
                    <a:pt x="19" y="4"/>
                  </a:lnTo>
                  <a:lnTo>
                    <a:pt x="19" y="2"/>
                  </a:lnTo>
                  <a:lnTo>
                    <a:pt x="21" y="2"/>
                  </a:lnTo>
                  <a:lnTo>
                    <a:pt x="21" y="4"/>
                  </a:lnTo>
                  <a:lnTo>
                    <a:pt x="23" y="4"/>
                  </a:lnTo>
                  <a:lnTo>
                    <a:pt x="25" y="4"/>
                  </a:lnTo>
                  <a:lnTo>
                    <a:pt x="27" y="4"/>
                  </a:lnTo>
                  <a:lnTo>
                    <a:pt x="29" y="4"/>
                  </a:lnTo>
                  <a:lnTo>
                    <a:pt x="29" y="2"/>
                  </a:lnTo>
                  <a:lnTo>
                    <a:pt x="31" y="2"/>
                  </a:lnTo>
                  <a:lnTo>
                    <a:pt x="31" y="4"/>
                  </a:lnTo>
                  <a:lnTo>
                    <a:pt x="31" y="2"/>
                  </a:lnTo>
                  <a:lnTo>
                    <a:pt x="33" y="2"/>
                  </a:lnTo>
                  <a:lnTo>
                    <a:pt x="34" y="2"/>
                  </a:lnTo>
                  <a:lnTo>
                    <a:pt x="34" y="0"/>
                  </a:lnTo>
                  <a:lnTo>
                    <a:pt x="36" y="0"/>
                  </a:lnTo>
                  <a:lnTo>
                    <a:pt x="36" y="2"/>
                  </a:lnTo>
                  <a:lnTo>
                    <a:pt x="36" y="0"/>
                  </a:lnTo>
                  <a:lnTo>
                    <a:pt x="36" y="2"/>
                  </a:lnTo>
                  <a:lnTo>
                    <a:pt x="38" y="2"/>
                  </a:lnTo>
                  <a:lnTo>
                    <a:pt x="40" y="2"/>
                  </a:lnTo>
                  <a:lnTo>
                    <a:pt x="42" y="2"/>
                  </a:lnTo>
                  <a:lnTo>
                    <a:pt x="44" y="2"/>
                  </a:lnTo>
                  <a:lnTo>
                    <a:pt x="46" y="2"/>
                  </a:lnTo>
                  <a:lnTo>
                    <a:pt x="48" y="2"/>
                  </a:lnTo>
                  <a:lnTo>
                    <a:pt x="48" y="4"/>
                  </a:lnTo>
                  <a:lnTo>
                    <a:pt x="48" y="2"/>
                  </a:lnTo>
                  <a:lnTo>
                    <a:pt x="48" y="4"/>
                  </a:lnTo>
                  <a:lnTo>
                    <a:pt x="50" y="4"/>
                  </a:lnTo>
                  <a:lnTo>
                    <a:pt x="50" y="6"/>
                  </a:lnTo>
                  <a:lnTo>
                    <a:pt x="52" y="6"/>
                  </a:lnTo>
                  <a:lnTo>
                    <a:pt x="52" y="8"/>
                  </a:lnTo>
                  <a:lnTo>
                    <a:pt x="54" y="8"/>
                  </a:lnTo>
                  <a:lnTo>
                    <a:pt x="54" y="10"/>
                  </a:lnTo>
                  <a:lnTo>
                    <a:pt x="56" y="10"/>
                  </a:lnTo>
                  <a:lnTo>
                    <a:pt x="56" y="8"/>
                  </a:lnTo>
                  <a:lnTo>
                    <a:pt x="56" y="10"/>
                  </a:lnTo>
                  <a:lnTo>
                    <a:pt x="57" y="10"/>
                  </a:lnTo>
                  <a:lnTo>
                    <a:pt x="59" y="10"/>
                  </a:lnTo>
                  <a:lnTo>
                    <a:pt x="57" y="10"/>
                  </a:lnTo>
                  <a:lnTo>
                    <a:pt x="59" y="10"/>
                  </a:lnTo>
                  <a:lnTo>
                    <a:pt x="59" y="12"/>
                  </a:lnTo>
                  <a:lnTo>
                    <a:pt x="61" y="12"/>
                  </a:lnTo>
                  <a:lnTo>
                    <a:pt x="61" y="14"/>
                  </a:lnTo>
                  <a:lnTo>
                    <a:pt x="61" y="15"/>
                  </a:lnTo>
                  <a:lnTo>
                    <a:pt x="63" y="15"/>
                  </a:lnTo>
                  <a:lnTo>
                    <a:pt x="61" y="15"/>
                  </a:lnTo>
                  <a:lnTo>
                    <a:pt x="61" y="17"/>
                  </a:lnTo>
                  <a:lnTo>
                    <a:pt x="63" y="17"/>
                  </a:lnTo>
                  <a:lnTo>
                    <a:pt x="65" y="17"/>
                  </a:lnTo>
                  <a:lnTo>
                    <a:pt x="65" y="19"/>
                  </a:lnTo>
                  <a:lnTo>
                    <a:pt x="67" y="19"/>
                  </a:lnTo>
                  <a:lnTo>
                    <a:pt x="67" y="21"/>
                  </a:lnTo>
                  <a:lnTo>
                    <a:pt x="69" y="21"/>
                  </a:lnTo>
                  <a:lnTo>
                    <a:pt x="69" y="23"/>
                  </a:lnTo>
                  <a:lnTo>
                    <a:pt x="67" y="23"/>
                  </a:lnTo>
                  <a:lnTo>
                    <a:pt x="69" y="23"/>
                  </a:lnTo>
                  <a:lnTo>
                    <a:pt x="69" y="25"/>
                  </a:lnTo>
                  <a:lnTo>
                    <a:pt x="71" y="25"/>
                  </a:lnTo>
                  <a:lnTo>
                    <a:pt x="73" y="25"/>
                  </a:lnTo>
                  <a:lnTo>
                    <a:pt x="73" y="27"/>
                  </a:lnTo>
                  <a:lnTo>
                    <a:pt x="73" y="29"/>
                  </a:lnTo>
                  <a:lnTo>
                    <a:pt x="75" y="29"/>
                  </a:lnTo>
                  <a:lnTo>
                    <a:pt x="77" y="29"/>
                  </a:lnTo>
                  <a:lnTo>
                    <a:pt x="77" y="31"/>
                  </a:lnTo>
                  <a:close/>
                  <a:moveTo>
                    <a:pt x="11" y="42"/>
                  </a:moveTo>
                  <a:lnTo>
                    <a:pt x="13" y="42"/>
                  </a:lnTo>
                  <a:lnTo>
                    <a:pt x="13" y="44"/>
                  </a:lnTo>
                  <a:lnTo>
                    <a:pt x="11" y="44"/>
                  </a:lnTo>
                  <a:lnTo>
                    <a:pt x="11" y="42"/>
                  </a:lnTo>
                  <a:close/>
                  <a:moveTo>
                    <a:pt x="13" y="44"/>
                  </a:moveTo>
                  <a:lnTo>
                    <a:pt x="15" y="44"/>
                  </a:lnTo>
                  <a:lnTo>
                    <a:pt x="15" y="46"/>
                  </a:lnTo>
                  <a:lnTo>
                    <a:pt x="13" y="46"/>
                  </a:lnTo>
                  <a:lnTo>
                    <a:pt x="13" y="44"/>
                  </a:lnTo>
                  <a:close/>
                  <a:moveTo>
                    <a:pt x="9" y="60"/>
                  </a:moveTo>
                  <a:lnTo>
                    <a:pt x="13" y="60"/>
                  </a:lnTo>
                  <a:lnTo>
                    <a:pt x="13" y="63"/>
                  </a:lnTo>
                  <a:lnTo>
                    <a:pt x="9" y="63"/>
                  </a:lnTo>
                  <a:lnTo>
                    <a:pt x="9" y="60"/>
                  </a:lnTo>
                  <a:close/>
                  <a:moveTo>
                    <a:pt x="11" y="58"/>
                  </a:moveTo>
                  <a:lnTo>
                    <a:pt x="13" y="58"/>
                  </a:lnTo>
                  <a:lnTo>
                    <a:pt x="13" y="60"/>
                  </a:lnTo>
                  <a:lnTo>
                    <a:pt x="11" y="60"/>
                  </a:lnTo>
                  <a:lnTo>
                    <a:pt x="11" y="58"/>
                  </a:lnTo>
                  <a:close/>
                  <a:moveTo>
                    <a:pt x="11" y="42"/>
                  </a:moveTo>
                  <a:lnTo>
                    <a:pt x="11" y="44"/>
                  </a:lnTo>
                  <a:lnTo>
                    <a:pt x="11" y="42"/>
                  </a:lnTo>
                  <a:close/>
                  <a:moveTo>
                    <a:pt x="13" y="60"/>
                  </a:moveTo>
                  <a:lnTo>
                    <a:pt x="13" y="62"/>
                  </a:lnTo>
                  <a:lnTo>
                    <a:pt x="13" y="60"/>
                  </a:lnTo>
                  <a:close/>
                  <a:moveTo>
                    <a:pt x="11" y="60"/>
                  </a:moveTo>
                  <a:lnTo>
                    <a:pt x="13" y="60"/>
                  </a:lnTo>
                  <a:lnTo>
                    <a:pt x="13" y="62"/>
                  </a:lnTo>
                  <a:lnTo>
                    <a:pt x="11" y="62"/>
                  </a:lnTo>
                  <a:lnTo>
                    <a:pt x="11" y="60"/>
                  </a:lnTo>
                  <a:close/>
                  <a:moveTo>
                    <a:pt x="13" y="40"/>
                  </a:moveTo>
                  <a:lnTo>
                    <a:pt x="15" y="40"/>
                  </a:lnTo>
                  <a:lnTo>
                    <a:pt x="15" y="42"/>
                  </a:lnTo>
                  <a:lnTo>
                    <a:pt x="13" y="42"/>
                  </a:lnTo>
                  <a:lnTo>
                    <a:pt x="13" y="40"/>
                  </a:lnTo>
                  <a:close/>
                  <a:moveTo>
                    <a:pt x="13" y="42"/>
                  </a:moveTo>
                  <a:lnTo>
                    <a:pt x="15" y="42"/>
                  </a:lnTo>
                  <a:lnTo>
                    <a:pt x="15" y="44"/>
                  </a:lnTo>
                  <a:lnTo>
                    <a:pt x="13" y="44"/>
                  </a:lnTo>
                  <a:lnTo>
                    <a:pt x="13" y="42"/>
                  </a:lnTo>
                  <a:close/>
                  <a:moveTo>
                    <a:pt x="13" y="60"/>
                  </a:moveTo>
                  <a:lnTo>
                    <a:pt x="13" y="62"/>
                  </a:lnTo>
                  <a:lnTo>
                    <a:pt x="13" y="60"/>
                  </a:lnTo>
                  <a:close/>
                  <a:moveTo>
                    <a:pt x="11" y="44"/>
                  </a:moveTo>
                  <a:lnTo>
                    <a:pt x="13" y="44"/>
                  </a:lnTo>
                  <a:lnTo>
                    <a:pt x="11" y="44"/>
                  </a:lnTo>
                  <a:close/>
                  <a:moveTo>
                    <a:pt x="11" y="42"/>
                  </a:moveTo>
                  <a:lnTo>
                    <a:pt x="11" y="44"/>
                  </a:lnTo>
                  <a:lnTo>
                    <a:pt x="11" y="42"/>
                  </a:lnTo>
                  <a:close/>
                  <a:moveTo>
                    <a:pt x="11" y="44"/>
                  </a:moveTo>
                  <a:lnTo>
                    <a:pt x="13" y="44"/>
                  </a:lnTo>
                  <a:lnTo>
                    <a:pt x="11" y="44"/>
                  </a:lnTo>
                  <a:close/>
                  <a:moveTo>
                    <a:pt x="13" y="46"/>
                  </a:moveTo>
                  <a:lnTo>
                    <a:pt x="15" y="46"/>
                  </a:lnTo>
                  <a:lnTo>
                    <a:pt x="13" y="46"/>
                  </a:lnTo>
                  <a:close/>
                  <a:moveTo>
                    <a:pt x="13" y="46"/>
                  </a:moveTo>
                  <a:lnTo>
                    <a:pt x="13" y="48"/>
                  </a:lnTo>
                  <a:lnTo>
                    <a:pt x="13" y="46"/>
                  </a:lnTo>
                  <a:close/>
                  <a:moveTo>
                    <a:pt x="11" y="42"/>
                  </a:moveTo>
                  <a:lnTo>
                    <a:pt x="13" y="42"/>
                  </a:lnTo>
                  <a:lnTo>
                    <a:pt x="11" y="42"/>
                  </a:lnTo>
                  <a:close/>
                  <a:moveTo>
                    <a:pt x="0" y="29"/>
                  </a:moveTo>
                  <a:lnTo>
                    <a:pt x="0" y="31"/>
                  </a:lnTo>
                  <a:lnTo>
                    <a:pt x="0" y="2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300">
              <a:extLst>
                <a:ext uri="{FF2B5EF4-FFF2-40B4-BE49-F238E27FC236}">
                  <a16:creationId xmlns:a16="http://schemas.microsoft.com/office/drawing/2014/main" id="{166A3494-C049-41F2-9492-D57B0874E17A}"/>
                </a:ext>
              </a:extLst>
            </p:cNvPr>
            <p:cNvSpPr>
              <a:spLocks noEditPoints="1"/>
            </p:cNvSpPr>
            <p:nvPr/>
          </p:nvSpPr>
          <p:spPr bwMode="gray">
            <a:xfrm>
              <a:off x="2902894" y="3857594"/>
              <a:ext cx="220748" cy="242823"/>
            </a:xfrm>
            <a:custGeom>
              <a:avLst/>
              <a:gdLst>
                <a:gd name="T0" fmla="*/ 157 w 180"/>
                <a:gd name="T1" fmla="*/ 36 h 198"/>
                <a:gd name="T2" fmla="*/ 172 w 180"/>
                <a:gd name="T3" fmla="*/ 173 h 198"/>
                <a:gd name="T4" fmla="*/ 128 w 180"/>
                <a:gd name="T5" fmla="*/ 186 h 198"/>
                <a:gd name="T6" fmla="*/ 113 w 180"/>
                <a:gd name="T7" fmla="*/ 184 h 198"/>
                <a:gd name="T8" fmla="*/ 113 w 180"/>
                <a:gd name="T9" fmla="*/ 184 h 198"/>
                <a:gd name="T10" fmla="*/ 107 w 180"/>
                <a:gd name="T11" fmla="*/ 188 h 198"/>
                <a:gd name="T12" fmla="*/ 98 w 180"/>
                <a:gd name="T13" fmla="*/ 186 h 198"/>
                <a:gd name="T14" fmla="*/ 94 w 180"/>
                <a:gd name="T15" fmla="*/ 188 h 198"/>
                <a:gd name="T16" fmla="*/ 88 w 180"/>
                <a:gd name="T17" fmla="*/ 190 h 198"/>
                <a:gd name="T18" fmla="*/ 84 w 180"/>
                <a:gd name="T19" fmla="*/ 184 h 198"/>
                <a:gd name="T20" fmla="*/ 80 w 180"/>
                <a:gd name="T21" fmla="*/ 186 h 198"/>
                <a:gd name="T22" fmla="*/ 78 w 180"/>
                <a:gd name="T23" fmla="*/ 184 h 198"/>
                <a:gd name="T24" fmla="*/ 76 w 180"/>
                <a:gd name="T25" fmla="*/ 192 h 198"/>
                <a:gd name="T26" fmla="*/ 76 w 180"/>
                <a:gd name="T27" fmla="*/ 194 h 198"/>
                <a:gd name="T28" fmla="*/ 76 w 180"/>
                <a:gd name="T29" fmla="*/ 196 h 198"/>
                <a:gd name="T30" fmla="*/ 73 w 180"/>
                <a:gd name="T31" fmla="*/ 198 h 198"/>
                <a:gd name="T32" fmla="*/ 67 w 180"/>
                <a:gd name="T33" fmla="*/ 194 h 198"/>
                <a:gd name="T34" fmla="*/ 61 w 180"/>
                <a:gd name="T35" fmla="*/ 190 h 198"/>
                <a:gd name="T36" fmla="*/ 59 w 180"/>
                <a:gd name="T37" fmla="*/ 186 h 198"/>
                <a:gd name="T38" fmla="*/ 57 w 180"/>
                <a:gd name="T39" fmla="*/ 182 h 198"/>
                <a:gd name="T40" fmla="*/ 53 w 180"/>
                <a:gd name="T41" fmla="*/ 177 h 198"/>
                <a:gd name="T42" fmla="*/ 50 w 180"/>
                <a:gd name="T43" fmla="*/ 175 h 198"/>
                <a:gd name="T44" fmla="*/ 46 w 180"/>
                <a:gd name="T45" fmla="*/ 173 h 198"/>
                <a:gd name="T46" fmla="*/ 42 w 180"/>
                <a:gd name="T47" fmla="*/ 171 h 198"/>
                <a:gd name="T48" fmla="*/ 34 w 180"/>
                <a:gd name="T49" fmla="*/ 169 h 198"/>
                <a:gd name="T50" fmla="*/ 30 w 180"/>
                <a:gd name="T51" fmla="*/ 167 h 198"/>
                <a:gd name="T52" fmla="*/ 25 w 180"/>
                <a:gd name="T53" fmla="*/ 171 h 198"/>
                <a:gd name="T54" fmla="*/ 19 w 180"/>
                <a:gd name="T55" fmla="*/ 171 h 198"/>
                <a:gd name="T56" fmla="*/ 13 w 180"/>
                <a:gd name="T57" fmla="*/ 171 h 198"/>
                <a:gd name="T58" fmla="*/ 9 w 180"/>
                <a:gd name="T59" fmla="*/ 177 h 198"/>
                <a:gd name="T60" fmla="*/ 9 w 180"/>
                <a:gd name="T61" fmla="*/ 169 h 198"/>
                <a:gd name="T62" fmla="*/ 11 w 180"/>
                <a:gd name="T63" fmla="*/ 161 h 198"/>
                <a:gd name="T64" fmla="*/ 15 w 180"/>
                <a:gd name="T65" fmla="*/ 156 h 198"/>
                <a:gd name="T66" fmla="*/ 15 w 180"/>
                <a:gd name="T67" fmla="*/ 146 h 198"/>
                <a:gd name="T68" fmla="*/ 13 w 180"/>
                <a:gd name="T69" fmla="*/ 138 h 198"/>
                <a:gd name="T70" fmla="*/ 11 w 180"/>
                <a:gd name="T71" fmla="*/ 131 h 198"/>
                <a:gd name="T72" fmla="*/ 9 w 180"/>
                <a:gd name="T73" fmla="*/ 127 h 198"/>
                <a:gd name="T74" fmla="*/ 11 w 180"/>
                <a:gd name="T75" fmla="*/ 125 h 198"/>
                <a:gd name="T76" fmla="*/ 9 w 180"/>
                <a:gd name="T77" fmla="*/ 125 h 198"/>
                <a:gd name="T78" fmla="*/ 11 w 180"/>
                <a:gd name="T79" fmla="*/ 121 h 198"/>
                <a:gd name="T80" fmla="*/ 11 w 180"/>
                <a:gd name="T81" fmla="*/ 119 h 198"/>
                <a:gd name="T82" fmla="*/ 11 w 180"/>
                <a:gd name="T83" fmla="*/ 117 h 198"/>
                <a:gd name="T84" fmla="*/ 11 w 180"/>
                <a:gd name="T85" fmla="*/ 115 h 198"/>
                <a:gd name="T86" fmla="*/ 11 w 180"/>
                <a:gd name="T87" fmla="*/ 109 h 198"/>
                <a:gd name="T88" fmla="*/ 7 w 180"/>
                <a:gd name="T89" fmla="*/ 108 h 198"/>
                <a:gd name="T90" fmla="*/ 3 w 180"/>
                <a:gd name="T91" fmla="*/ 102 h 198"/>
                <a:gd name="T92" fmla="*/ 2 w 180"/>
                <a:gd name="T93" fmla="*/ 102 h 198"/>
                <a:gd name="T94" fmla="*/ 2 w 180"/>
                <a:gd name="T95" fmla="*/ 104 h 198"/>
                <a:gd name="T96" fmla="*/ 2 w 180"/>
                <a:gd name="T97" fmla="*/ 96 h 198"/>
                <a:gd name="T98" fmla="*/ 59 w 180"/>
                <a:gd name="T99" fmla="*/ 92 h 198"/>
                <a:gd name="T100" fmla="*/ 59 w 180"/>
                <a:gd name="T101" fmla="*/ 69 h 198"/>
                <a:gd name="T102" fmla="*/ 69 w 180"/>
                <a:gd name="T103" fmla="*/ 65 h 198"/>
                <a:gd name="T104" fmla="*/ 75 w 180"/>
                <a:gd name="T105" fmla="*/ 38 h 198"/>
                <a:gd name="T106" fmla="*/ 122 w 180"/>
                <a:gd name="T107" fmla="*/ 6 h 198"/>
                <a:gd name="T108" fmla="*/ 9 w 180"/>
                <a:gd name="T109" fmla="*/ 123 h 198"/>
                <a:gd name="T110" fmla="*/ 9 w 180"/>
                <a:gd name="T111" fmla="*/ 108 h 198"/>
                <a:gd name="T112" fmla="*/ 9 w 180"/>
                <a:gd name="T113" fmla="*/ 11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 h="198">
                  <a:moveTo>
                    <a:pt x="122" y="0"/>
                  </a:moveTo>
                  <a:lnTo>
                    <a:pt x="167" y="29"/>
                  </a:lnTo>
                  <a:lnTo>
                    <a:pt x="178" y="36"/>
                  </a:lnTo>
                  <a:lnTo>
                    <a:pt x="180" y="36"/>
                  </a:lnTo>
                  <a:lnTo>
                    <a:pt x="157" y="36"/>
                  </a:lnTo>
                  <a:lnTo>
                    <a:pt x="157" y="42"/>
                  </a:lnTo>
                  <a:lnTo>
                    <a:pt x="159" y="61"/>
                  </a:lnTo>
                  <a:lnTo>
                    <a:pt x="167" y="165"/>
                  </a:lnTo>
                  <a:lnTo>
                    <a:pt x="169" y="171"/>
                  </a:lnTo>
                  <a:lnTo>
                    <a:pt x="172" y="173"/>
                  </a:lnTo>
                  <a:lnTo>
                    <a:pt x="169" y="186"/>
                  </a:lnTo>
                  <a:lnTo>
                    <a:pt x="159" y="186"/>
                  </a:lnTo>
                  <a:lnTo>
                    <a:pt x="157" y="186"/>
                  </a:lnTo>
                  <a:lnTo>
                    <a:pt x="138" y="186"/>
                  </a:lnTo>
                  <a:lnTo>
                    <a:pt x="128" y="186"/>
                  </a:lnTo>
                  <a:lnTo>
                    <a:pt x="119" y="186"/>
                  </a:lnTo>
                  <a:lnTo>
                    <a:pt x="117" y="186"/>
                  </a:lnTo>
                  <a:lnTo>
                    <a:pt x="115" y="186"/>
                  </a:lnTo>
                  <a:lnTo>
                    <a:pt x="113" y="186"/>
                  </a:lnTo>
                  <a:lnTo>
                    <a:pt x="113" y="184"/>
                  </a:lnTo>
                  <a:lnTo>
                    <a:pt x="113" y="182"/>
                  </a:lnTo>
                  <a:lnTo>
                    <a:pt x="111" y="184"/>
                  </a:lnTo>
                  <a:lnTo>
                    <a:pt x="113" y="184"/>
                  </a:lnTo>
                  <a:lnTo>
                    <a:pt x="111" y="184"/>
                  </a:lnTo>
                  <a:lnTo>
                    <a:pt x="113" y="184"/>
                  </a:lnTo>
                  <a:lnTo>
                    <a:pt x="113" y="186"/>
                  </a:lnTo>
                  <a:lnTo>
                    <a:pt x="111" y="186"/>
                  </a:lnTo>
                  <a:lnTo>
                    <a:pt x="109" y="186"/>
                  </a:lnTo>
                  <a:lnTo>
                    <a:pt x="107" y="186"/>
                  </a:lnTo>
                  <a:lnTo>
                    <a:pt x="107" y="188"/>
                  </a:lnTo>
                  <a:lnTo>
                    <a:pt x="105" y="188"/>
                  </a:lnTo>
                  <a:lnTo>
                    <a:pt x="105" y="186"/>
                  </a:lnTo>
                  <a:lnTo>
                    <a:pt x="103" y="186"/>
                  </a:lnTo>
                  <a:lnTo>
                    <a:pt x="99" y="186"/>
                  </a:lnTo>
                  <a:lnTo>
                    <a:pt x="98" y="186"/>
                  </a:lnTo>
                  <a:lnTo>
                    <a:pt x="96" y="186"/>
                  </a:lnTo>
                  <a:lnTo>
                    <a:pt x="94" y="186"/>
                  </a:lnTo>
                  <a:lnTo>
                    <a:pt x="94" y="188"/>
                  </a:lnTo>
                  <a:lnTo>
                    <a:pt x="94" y="186"/>
                  </a:lnTo>
                  <a:lnTo>
                    <a:pt x="94" y="188"/>
                  </a:lnTo>
                  <a:lnTo>
                    <a:pt x="92" y="188"/>
                  </a:lnTo>
                  <a:lnTo>
                    <a:pt x="92" y="190"/>
                  </a:lnTo>
                  <a:lnTo>
                    <a:pt x="90" y="192"/>
                  </a:lnTo>
                  <a:lnTo>
                    <a:pt x="90" y="190"/>
                  </a:lnTo>
                  <a:lnTo>
                    <a:pt x="88" y="190"/>
                  </a:lnTo>
                  <a:lnTo>
                    <a:pt x="88" y="188"/>
                  </a:lnTo>
                  <a:lnTo>
                    <a:pt x="86" y="188"/>
                  </a:lnTo>
                  <a:lnTo>
                    <a:pt x="86" y="186"/>
                  </a:lnTo>
                  <a:lnTo>
                    <a:pt x="84" y="186"/>
                  </a:lnTo>
                  <a:lnTo>
                    <a:pt x="84" y="184"/>
                  </a:lnTo>
                  <a:lnTo>
                    <a:pt x="82" y="184"/>
                  </a:lnTo>
                  <a:lnTo>
                    <a:pt x="80" y="184"/>
                  </a:lnTo>
                  <a:lnTo>
                    <a:pt x="80" y="186"/>
                  </a:lnTo>
                  <a:lnTo>
                    <a:pt x="80" y="184"/>
                  </a:lnTo>
                  <a:lnTo>
                    <a:pt x="80" y="186"/>
                  </a:lnTo>
                  <a:lnTo>
                    <a:pt x="80" y="184"/>
                  </a:lnTo>
                  <a:lnTo>
                    <a:pt x="80" y="186"/>
                  </a:lnTo>
                  <a:lnTo>
                    <a:pt x="78" y="184"/>
                  </a:lnTo>
                  <a:lnTo>
                    <a:pt x="80" y="184"/>
                  </a:lnTo>
                  <a:lnTo>
                    <a:pt x="78" y="184"/>
                  </a:lnTo>
                  <a:lnTo>
                    <a:pt x="78" y="186"/>
                  </a:lnTo>
                  <a:lnTo>
                    <a:pt x="78" y="188"/>
                  </a:lnTo>
                  <a:lnTo>
                    <a:pt x="76" y="188"/>
                  </a:lnTo>
                  <a:lnTo>
                    <a:pt x="76" y="190"/>
                  </a:lnTo>
                  <a:lnTo>
                    <a:pt x="76" y="192"/>
                  </a:lnTo>
                  <a:lnTo>
                    <a:pt x="78" y="192"/>
                  </a:lnTo>
                  <a:lnTo>
                    <a:pt x="78" y="194"/>
                  </a:lnTo>
                  <a:lnTo>
                    <a:pt x="76" y="194"/>
                  </a:lnTo>
                  <a:lnTo>
                    <a:pt x="78" y="194"/>
                  </a:lnTo>
                  <a:lnTo>
                    <a:pt x="76" y="194"/>
                  </a:lnTo>
                  <a:lnTo>
                    <a:pt x="78" y="194"/>
                  </a:lnTo>
                  <a:lnTo>
                    <a:pt x="76" y="194"/>
                  </a:lnTo>
                  <a:lnTo>
                    <a:pt x="76" y="196"/>
                  </a:lnTo>
                  <a:lnTo>
                    <a:pt x="75" y="196"/>
                  </a:lnTo>
                  <a:lnTo>
                    <a:pt x="76" y="196"/>
                  </a:lnTo>
                  <a:lnTo>
                    <a:pt x="75" y="196"/>
                  </a:lnTo>
                  <a:lnTo>
                    <a:pt x="75" y="198"/>
                  </a:lnTo>
                  <a:lnTo>
                    <a:pt x="73" y="198"/>
                  </a:lnTo>
                  <a:lnTo>
                    <a:pt x="73" y="196"/>
                  </a:lnTo>
                  <a:lnTo>
                    <a:pt x="73" y="198"/>
                  </a:lnTo>
                  <a:lnTo>
                    <a:pt x="71" y="198"/>
                  </a:lnTo>
                  <a:lnTo>
                    <a:pt x="71" y="196"/>
                  </a:lnTo>
                  <a:lnTo>
                    <a:pt x="69" y="196"/>
                  </a:lnTo>
                  <a:lnTo>
                    <a:pt x="67" y="196"/>
                  </a:lnTo>
                  <a:lnTo>
                    <a:pt x="67" y="194"/>
                  </a:lnTo>
                  <a:lnTo>
                    <a:pt x="67" y="192"/>
                  </a:lnTo>
                  <a:lnTo>
                    <a:pt x="65" y="192"/>
                  </a:lnTo>
                  <a:lnTo>
                    <a:pt x="63" y="192"/>
                  </a:lnTo>
                  <a:lnTo>
                    <a:pt x="63" y="190"/>
                  </a:lnTo>
                  <a:lnTo>
                    <a:pt x="61" y="190"/>
                  </a:lnTo>
                  <a:lnTo>
                    <a:pt x="63" y="190"/>
                  </a:lnTo>
                  <a:lnTo>
                    <a:pt x="63" y="188"/>
                  </a:lnTo>
                  <a:lnTo>
                    <a:pt x="61" y="188"/>
                  </a:lnTo>
                  <a:lnTo>
                    <a:pt x="61" y="186"/>
                  </a:lnTo>
                  <a:lnTo>
                    <a:pt x="59" y="186"/>
                  </a:lnTo>
                  <a:lnTo>
                    <a:pt x="59" y="184"/>
                  </a:lnTo>
                  <a:lnTo>
                    <a:pt x="57" y="184"/>
                  </a:lnTo>
                  <a:lnTo>
                    <a:pt x="55" y="184"/>
                  </a:lnTo>
                  <a:lnTo>
                    <a:pt x="55" y="182"/>
                  </a:lnTo>
                  <a:lnTo>
                    <a:pt x="57" y="182"/>
                  </a:lnTo>
                  <a:lnTo>
                    <a:pt x="55" y="182"/>
                  </a:lnTo>
                  <a:lnTo>
                    <a:pt x="55" y="181"/>
                  </a:lnTo>
                  <a:lnTo>
                    <a:pt x="55" y="179"/>
                  </a:lnTo>
                  <a:lnTo>
                    <a:pt x="53" y="179"/>
                  </a:lnTo>
                  <a:lnTo>
                    <a:pt x="53" y="177"/>
                  </a:lnTo>
                  <a:lnTo>
                    <a:pt x="51" y="177"/>
                  </a:lnTo>
                  <a:lnTo>
                    <a:pt x="53" y="177"/>
                  </a:lnTo>
                  <a:lnTo>
                    <a:pt x="51" y="177"/>
                  </a:lnTo>
                  <a:lnTo>
                    <a:pt x="50" y="177"/>
                  </a:lnTo>
                  <a:lnTo>
                    <a:pt x="50" y="175"/>
                  </a:lnTo>
                  <a:lnTo>
                    <a:pt x="50" y="177"/>
                  </a:lnTo>
                  <a:lnTo>
                    <a:pt x="48" y="177"/>
                  </a:lnTo>
                  <a:lnTo>
                    <a:pt x="48" y="175"/>
                  </a:lnTo>
                  <a:lnTo>
                    <a:pt x="46" y="175"/>
                  </a:lnTo>
                  <a:lnTo>
                    <a:pt x="46" y="173"/>
                  </a:lnTo>
                  <a:lnTo>
                    <a:pt x="44" y="173"/>
                  </a:lnTo>
                  <a:lnTo>
                    <a:pt x="44" y="171"/>
                  </a:lnTo>
                  <a:lnTo>
                    <a:pt x="42" y="171"/>
                  </a:lnTo>
                  <a:lnTo>
                    <a:pt x="42" y="169"/>
                  </a:lnTo>
                  <a:lnTo>
                    <a:pt x="42" y="171"/>
                  </a:lnTo>
                  <a:lnTo>
                    <a:pt x="42" y="169"/>
                  </a:lnTo>
                  <a:lnTo>
                    <a:pt x="40" y="169"/>
                  </a:lnTo>
                  <a:lnTo>
                    <a:pt x="38" y="169"/>
                  </a:lnTo>
                  <a:lnTo>
                    <a:pt x="36" y="169"/>
                  </a:lnTo>
                  <a:lnTo>
                    <a:pt x="34" y="169"/>
                  </a:lnTo>
                  <a:lnTo>
                    <a:pt x="32" y="169"/>
                  </a:lnTo>
                  <a:lnTo>
                    <a:pt x="30" y="169"/>
                  </a:lnTo>
                  <a:lnTo>
                    <a:pt x="30" y="167"/>
                  </a:lnTo>
                  <a:lnTo>
                    <a:pt x="30" y="169"/>
                  </a:lnTo>
                  <a:lnTo>
                    <a:pt x="30" y="167"/>
                  </a:lnTo>
                  <a:lnTo>
                    <a:pt x="28" y="167"/>
                  </a:lnTo>
                  <a:lnTo>
                    <a:pt x="28" y="169"/>
                  </a:lnTo>
                  <a:lnTo>
                    <a:pt x="27" y="169"/>
                  </a:lnTo>
                  <a:lnTo>
                    <a:pt x="25" y="169"/>
                  </a:lnTo>
                  <a:lnTo>
                    <a:pt x="25" y="171"/>
                  </a:lnTo>
                  <a:lnTo>
                    <a:pt x="25" y="169"/>
                  </a:lnTo>
                  <a:lnTo>
                    <a:pt x="23" y="169"/>
                  </a:lnTo>
                  <a:lnTo>
                    <a:pt x="23" y="171"/>
                  </a:lnTo>
                  <a:lnTo>
                    <a:pt x="21" y="171"/>
                  </a:lnTo>
                  <a:lnTo>
                    <a:pt x="19" y="171"/>
                  </a:lnTo>
                  <a:lnTo>
                    <a:pt x="17" y="171"/>
                  </a:lnTo>
                  <a:lnTo>
                    <a:pt x="15" y="171"/>
                  </a:lnTo>
                  <a:lnTo>
                    <a:pt x="15" y="169"/>
                  </a:lnTo>
                  <a:lnTo>
                    <a:pt x="13" y="169"/>
                  </a:lnTo>
                  <a:lnTo>
                    <a:pt x="13" y="171"/>
                  </a:lnTo>
                  <a:lnTo>
                    <a:pt x="11" y="171"/>
                  </a:lnTo>
                  <a:lnTo>
                    <a:pt x="11" y="173"/>
                  </a:lnTo>
                  <a:lnTo>
                    <a:pt x="11" y="175"/>
                  </a:lnTo>
                  <a:lnTo>
                    <a:pt x="9" y="175"/>
                  </a:lnTo>
                  <a:lnTo>
                    <a:pt x="9" y="177"/>
                  </a:lnTo>
                  <a:lnTo>
                    <a:pt x="9" y="175"/>
                  </a:lnTo>
                  <a:lnTo>
                    <a:pt x="7" y="175"/>
                  </a:lnTo>
                  <a:lnTo>
                    <a:pt x="9" y="173"/>
                  </a:lnTo>
                  <a:lnTo>
                    <a:pt x="9" y="171"/>
                  </a:lnTo>
                  <a:lnTo>
                    <a:pt x="9" y="169"/>
                  </a:lnTo>
                  <a:lnTo>
                    <a:pt x="9" y="167"/>
                  </a:lnTo>
                  <a:lnTo>
                    <a:pt x="11" y="167"/>
                  </a:lnTo>
                  <a:lnTo>
                    <a:pt x="11" y="165"/>
                  </a:lnTo>
                  <a:lnTo>
                    <a:pt x="11" y="163"/>
                  </a:lnTo>
                  <a:lnTo>
                    <a:pt x="11" y="161"/>
                  </a:lnTo>
                  <a:lnTo>
                    <a:pt x="13" y="161"/>
                  </a:lnTo>
                  <a:lnTo>
                    <a:pt x="13" y="159"/>
                  </a:lnTo>
                  <a:lnTo>
                    <a:pt x="13" y="157"/>
                  </a:lnTo>
                  <a:lnTo>
                    <a:pt x="15" y="157"/>
                  </a:lnTo>
                  <a:lnTo>
                    <a:pt x="15" y="156"/>
                  </a:lnTo>
                  <a:lnTo>
                    <a:pt x="15" y="154"/>
                  </a:lnTo>
                  <a:lnTo>
                    <a:pt x="15" y="152"/>
                  </a:lnTo>
                  <a:lnTo>
                    <a:pt x="15" y="150"/>
                  </a:lnTo>
                  <a:lnTo>
                    <a:pt x="15" y="148"/>
                  </a:lnTo>
                  <a:lnTo>
                    <a:pt x="15" y="146"/>
                  </a:lnTo>
                  <a:lnTo>
                    <a:pt x="15" y="144"/>
                  </a:lnTo>
                  <a:lnTo>
                    <a:pt x="15" y="142"/>
                  </a:lnTo>
                  <a:lnTo>
                    <a:pt x="15" y="140"/>
                  </a:lnTo>
                  <a:lnTo>
                    <a:pt x="15" y="138"/>
                  </a:lnTo>
                  <a:lnTo>
                    <a:pt x="13" y="138"/>
                  </a:lnTo>
                  <a:lnTo>
                    <a:pt x="13" y="136"/>
                  </a:lnTo>
                  <a:lnTo>
                    <a:pt x="13" y="134"/>
                  </a:lnTo>
                  <a:lnTo>
                    <a:pt x="13" y="133"/>
                  </a:lnTo>
                  <a:lnTo>
                    <a:pt x="13" y="131"/>
                  </a:lnTo>
                  <a:lnTo>
                    <a:pt x="11" y="131"/>
                  </a:lnTo>
                  <a:lnTo>
                    <a:pt x="11" y="129"/>
                  </a:lnTo>
                  <a:lnTo>
                    <a:pt x="9" y="129"/>
                  </a:lnTo>
                  <a:lnTo>
                    <a:pt x="9" y="127"/>
                  </a:lnTo>
                  <a:lnTo>
                    <a:pt x="7" y="127"/>
                  </a:lnTo>
                  <a:lnTo>
                    <a:pt x="9" y="127"/>
                  </a:lnTo>
                  <a:lnTo>
                    <a:pt x="11" y="125"/>
                  </a:lnTo>
                  <a:lnTo>
                    <a:pt x="11" y="123"/>
                  </a:lnTo>
                  <a:lnTo>
                    <a:pt x="11" y="125"/>
                  </a:lnTo>
                  <a:lnTo>
                    <a:pt x="9" y="125"/>
                  </a:lnTo>
                  <a:lnTo>
                    <a:pt x="11" y="125"/>
                  </a:lnTo>
                  <a:lnTo>
                    <a:pt x="11" y="123"/>
                  </a:lnTo>
                  <a:lnTo>
                    <a:pt x="11" y="125"/>
                  </a:lnTo>
                  <a:lnTo>
                    <a:pt x="9" y="125"/>
                  </a:lnTo>
                  <a:lnTo>
                    <a:pt x="9" y="127"/>
                  </a:lnTo>
                  <a:lnTo>
                    <a:pt x="9" y="125"/>
                  </a:lnTo>
                  <a:lnTo>
                    <a:pt x="9" y="123"/>
                  </a:lnTo>
                  <a:lnTo>
                    <a:pt x="11" y="123"/>
                  </a:lnTo>
                  <a:lnTo>
                    <a:pt x="9" y="123"/>
                  </a:lnTo>
                  <a:lnTo>
                    <a:pt x="11" y="123"/>
                  </a:lnTo>
                  <a:lnTo>
                    <a:pt x="11" y="121"/>
                  </a:lnTo>
                  <a:lnTo>
                    <a:pt x="11" y="119"/>
                  </a:lnTo>
                  <a:lnTo>
                    <a:pt x="13" y="119"/>
                  </a:lnTo>
                  <a:lnTo>
                    <a:pt x="11" y="119"/>
                  </a:lnTo>
                  <a:lnTo>
                    <a:pt x="13" y="119"/>
                  </a:lnTo>
                  <a:lnTo>
                    <a:pt x="11" y="119"/>
                  </a:lnTo>
                  <a:lnTo>
                    <a:pt x="13" y="119"/>
                  </a:lnTo>
                  <a:lnTo>
                    <a:pt x="11" y="119"/>
                  </a:lnTo>
                  <a:lnTo>
                    <a:pt x="13" y="119"/>
                  </a:lnTo>
                  <a:lnTo>
                    <a:pt x="11" y="119"/>
                  </a:lnTo>
                  <a:lnTo>
                    <a:pt x="11" y="117"/>
                  </a:lnTo>
                  <a:lnTo>
                    <a:pt x="11" y="119"/>
                  </a:lnTo>
                  <a:lnTo>
                    <a:pt x="11" y="117"/>
                  </a:lnTo>
                  <a:lnTo>
                    <a:pt x="13" y="117"/>
                  </a:lnTo>
                  <a:lnTo>
                    <a:pt x="13" y="115"/>
                  </a:lnTo>
                  <a:lnTo>
                    <a:pt x="11" y="115"/>
                  </a:lnTo>
                  <a:lnTo>
                    <a:pt x="13" y="115"/>
                  </a:lnTo>
                  <a:lnTo>
                    <a:pt x="13" y="113"/>
                  </a:lnTo>
                  <a:lnTo>
                    <a:pt x="13" y="111"/>
                  </a:lnTo>
                  <a:lnTo>
                    <a:pt x="11" y="111"/>
                  </a:lnTo>
                  <a:lnTo>
                    <a:pt x="11" y="109"/>
                  </a:lnTo>
                  <a:lnTo>
                    <a:pt x="11" y="108"/>
                  </a:lnTo>
                  <a:lnTo>
                    <a:pt x="9" y="108"/>
                  </a:lnTo>
                  <a:lnTo>
                    <a:pt x="9" y="106"/>
                  </a:lnTo>
                  <a:lnTo>
                    <a:pt x="7" y="106"/>
                  </a:lnTo>
                  <a:lnTo>
                    <a:pt x="7" y="108"/>
                  </a:lnTo>
                  <a:lnTo>
                    <a:pt x="7" y="106"/>
                  </a:lnTo>
                  <a:lnTo>
                    <a:pt x="5" y="106"/>
                  </a:lnTo>
                  <a:lnTo>
                    <a:pt x="5" y="104"/>
                  </a:lnTo>
                  <a:lnTo>
                    <a:pt x="5" y="102"/>
                  </a:lnTo>
                  <a:lnTo>
                    <a:pt x="3" y="102"/>
                  </a:lnTo>
                  <a:lnTo>
                    <a:pt x="3" y="100"/>
                  </a:lnTo>
                  <a:lnTo>
                    <a:pt x="3" y="98"/>
                  </a:lnTo>
                  <a:lnTo>
                    <a:pt x="2" y="98"/>
                  </a:lnTo>
                  <a:lnTo>
                    <a:pt x="2" y="100"/>
                  </a:lnTo>
                  <a:lnTo>
                    <a:pt x="2" y="102"/>
                  </a:lnTo>
                  <a:lnTo>
                    <a:pt x="0" y="102"/>
                  </a:lnTo>
                  <a:lnTo>
                    <a:pt x="0" y="104"/>
                  </a:lnTo>
                  <a:lnTo>
                    <a:pt x="2" y="104"/>
                  </a:lnTo>
                  <a:lnTo>
                    <a:pt x="0" y="104"/>
                  </a:lnTo>
                  <a:lnTo>
                    <a:pt x="2" y="104"/>
                  </a:lnTo>
                  <a:lnTo>
                    <a:pt x="0" y="104"/>
                  </a:lnTo>
                  <a:lnTo>
                    <a:pt x="0" y="102"/>
                  </a:lnTo>
                  <a:lnTo>
                    <a:pt x="2" y="100"/>
                  </a:lnTo>
                  <a:lnTo>
                    <a:pt x="2" y="98"/>
                  </a:lnTo>
                  <a:lnTo>
                    <a:pt x="2" y="96"/>
                  </a:lnTo>
                  <a:lnTo>
                    <a:pt x="19" y="96"/>
                  </a:lnTo>
                  <a:lnTo>
                    <a:pt x="34" y="96"/>
                  </a:lnTo>
                  <a:lnTo>
                    <a:pt x="42" y="96"/>
                  </a:lnTo>
                  <a:lnTo>
                    <a:pt x="59" y="96"/>
                  </a:lnTo>
                  <a:lnTo>
                    <a:pt x="59" y="92"/>
                  </a:lnTo>
                  <a:lnTo>
                    <a:pt x="59" y="90"/>
                  </a:lnTo>
                  <a:lnTo>
                    <a:pt x="57" y="75"/>
                  </a:lnTo>
                  <a:lnTo>
                    <a:pt x="57" y="73"/>
                  </a:lnTo>
                  <a:lnTo>
                    <a:pt x="57" y="71"/>
                  </a:lnTo>
                  <a:lnTo>
                    <a:pt x="59" y="69"/>
                  </a:lnTo>
                  <a:lnTo>
                    <a:pt x="61" y="69"/>
                  </a:lnTo>
                  <a:lnTo>
                    <a:pt x="61" y="67"/>
                  </a:lnTo>
                  <a:lnTo>
                    <a:pt x="65" y="65"/>
                  </a:lnTo>
                  <a:lnTo>
                    <a:pt x="67" y="65"/>
                  </a:lnTo>
                  <a:lnTo>
                    <a:pt x="69" y="65"/>
                  </a:lnTo>
                  <a:lnTo>
                    <a:pt x="69" y="63"/>
                  </a:lnTo>
                  <a:lnTo>
                    <a:pt x="73" y="63"/>
                  </a:lnTo>
                  <a:lnTo>
                    <a:pt x="75" y="61"/>
                  </a:lnTo>
                  <a:lnTo>
                    <a:pt x="75" y="46"/>
                  </a:lnTo>
                  <a:lnTo>
                    <a:pt x="75" y="38"/>
                  </a:lnTo>
                  <a:lnTo>
                    <a:pt x="75" y="21"/>
                  </a:lnTo>
                  <a:lnTo>
                    <a:pt x="92" y="21"/>
                  </a:lnTo>
                  <a:lnTo>
                    <a:pt x="122" y="21"/>
                  </a:lnTo>
                  <a:lnTo>
                    <a:pt x="122" y="11"/>
                  </a:lnTo>
                  <a:lnTo>
                    <a:pt x="122" y="6"/>
                  </a:lnTo>
                  <a:lnTo>
                    <a:pt x="122" y="0"/>
                  </a:lnTo>
                  <a:close/>
                  <a:moveTo>
                    <a:pt x="11" y="119"/>
                  </a:moveTo>
                  <a:lnTo>
                    <a:pt x="11" y="121"/>
                  </a:lnTo>
                  <a:lnTo>
                    <a:pt x="9" y="121"/>
                  </a:lnTo>
                  <a:lnTo>
                    <a:pt x="9" y="123"/>
                  </a:lnTo>
                  <a:lnTo>
                    <a:pt x="9" y="121"/>
                  </a:lnTo>
                  <a:lnTo>
                    <a:pt x="9" y="119"/>
                  </a:lnTo>
                  <a:lnTo>
                    <a:pt x="11" y="119"/>
                  </a:lnTo>
                  <a:close/>
                  <a:moveTo>
                    <a:pt x="9" y="106"/>
                  </a:moveTo>
                  <a:lnTo>
                    <a:pt x="9" y="108"/>
                  </a:lnTo>
                  <a:lnTo>
                    <a:pt x="9" y="106"/>
                  </a:lnTo>
                  <a:close/>
                  <a:moveTo>
                    <a:pt x="9" y="119"/>
                  </a:moveTo>
                  <a:lnTo>
                    <a:pt x="11" y="119"/>
                  </a:lnTo>
                  <a:lnTo>
                    <a:pt x="9" y="119"/>
                  </a:lnTo>
                  <a:close/>
                  <a:moveTo>
                    <a:pt x="9" y="119"/>
                  </a:moveTo>
                  <a:lnTo>
                    <a:pt x="11" y="119"/>
                  </a:lnTo>
                  <a:lnTo>
                    <a:pt x="9" y="11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301">
              <a:extLst>
                <a:ext uri="{FF2B5EF4-FFF2-40B4-BE49-F238E27FC236}">
                  <a16:creationId xmlns:a16="http://schemas.microsoft.com/office/drawing/2014/main" id="{E8D228C0-4DDD-421B-86F1-2DF1AF7B9034}"/>
                </a:ext>
              </a:extLst>
            </p:cNvPr>
            <p:cNvSpPr>
              <a:spLocks/>
            </p:cNvSpPr>
            <p:nvPr/>
          </p:nvSpPr>
          <p:spPr bwMode="gray">
            <a:xfrm>
              <a:off x="2989967" y="3901744"/>
              <a:ext cx="295557" cy="283293"/>
            </a:xfrm>
            <a:custGeom>
              <a:avLst/>
              <a:gdLst>
                <a:gd name="T0" fmla="*/ 238 w 241"/>
                <a:gd name="T1" fmla="*/ 137 h 231"/>
                <a:gd name="T2" fmla="*/ 232 w 241"/>
                <a:gd name="T3" fmla="*/ 148 h 231"/>
                <a:gd name="T4" fmla="*/ 207 w 241"/>
                <a:gd name="T5" fmla="*/ 152 h 231"/>
                <a:gd name="T6" fmla="*/ 194 w 241"/>
                <a:gd name="T7" fmla="*/ 158 h 231"/>
                <a:gd name="T8" fmla="*/ 180 w 241"/>
                <a:gd name="T9" fmla="*/ 158 h 231"/>
                <a:gd name="T10" fmla="*/ 163 w 241"/>
                <a:gd name="T11" fmla="*/ 160 h 231"/>
                <a:gd name="T12" fmla="*/ 147 w 241"/>
                <a:gd name="T13" fmla="*/ 169 h 231"/>
                <a:gd name="T14" fmla="*/ 136 w 241"/>
                <a:gd name="T15" fmla="*/ 173 h 231"/>
                <a:gd name="T16" fmla="*/ 132 w 241"/>
                <a:gd name="T17" fmla="*/ 179 h 231"/>
                <a:gd name="T18" fmla="*/ 126 w 241"/>
                <a:gd name="T19" fmla="*/ 185 h 231"/>
                <a:gd name="T20" fmla="*/ 123 w 241"/>
                <a:gd name="T21" fmla="*/ 181 h 231"/>
                <a:gd name="T22" fmla="*/ 117 w 241"/>
                <a:gd name="T23" fmla="*/ 185 h 231"/>
                <a:gd name="T24" fmla="*/ 115 w 241"/>
                <a:gd name="T25" fmla="*/ 193 h 231"/>
                <a:gd name="T26" fmla="*/ 115 w 241"/>
                <a:gd name="T27" fmla="*/ 198 h 231"/>
                <a:gd name="T28" fmla="*/ 109 w 241"/>
                <a:gd name="T29" fmla="*/ 202 h 231"/>
                <a:gd name="T30" fmla="*/ 101 w 241"/>
                <a:gd name="T31" fmla="*/ 204 h 231"/>
                <a:gd name="T32" fmla="*/ 101 w 241"/>
                <a:gd name="T33" fmla="*/ 208 h 231"/>
                <a:gd name="T34" fmla="*/ 99 w 241"/>
                <a:gd name="T35" fmla="*/ 216 h 231"/>
                <a:gd name="T36" fmla="*/ 99 w 241"/>
                <a:gd name="T37" fmla="*/ 225 h 231"/>
                <a:gd name="T38" fmla="*/ 90 w 241"/>
                <a:gd name="T39" fmla="*/ 229 h 231"/>
                <a:gd name="T40" fmla="*/ 84 w 241"/>
                <a:gd name="T41" fmla="*/ 221 h 231"/>
                <a:gd name="T42" fmla="*/ 82 w 241"/>
                <a:gd name="T43" fmla="*/ 225 h 231"/>
                <a:gd name="T44" fmla="*/ 76 w 241"/>
                <a:gd name="T45" fmla="*/ 229 h 231"/>
                <a:gd name="T46" fmla="*/ 71 w 241"/>
                <a:gd name="T47" fmla="*/ 225 h 231"/>
                <a:gd name="T48" fmla="*/ 67 w 241"/>
                <a:gd name="T49" fmla="*/ 227 h 231"/>
                <a:gd name="T50" fmla="*/ 61 w 241"/>
                <a:gd name="T51" fmla="*/ 227 h 231"/>
                <a:gd name="T52" fmla="*/ 57 w 241"/>
                <a:gd name="T53" fmla="*/ 218 h 231"/>
                <a:gd name="T54" fmla="*/ 53 w 241"/>
                <a:gd name="T55" fmla="*/ 216 h 231"/>
                <a:gd name="T56" fmla="*/ 55 w 241"/>
                <a:gd name="T57" fmla="*/ 212 h 231"/>
                <a:gd name="T58" fmla="*/ 50 w 241"/>
                <a:gd name="T59" fmla="*/ 208 h 231"/>
                <a:gd name="T60" fmla="*/ 50 w 241"/>
                <a:gd name="T61" fmla="*/ 202 h 231"/>
                <a:gd name="T62" fmla="*/ 48 w 241"/>
                <a:gd name="T63" fmla="*/ 198 h 231"/>
                <a:gd name="T64" fmla="*/ 44 w 241"/>
                <a:gd name="T65" fmla="*/ 196 h 231"/>
                <a:gd name="T66" fmla="*/ 36 w 241"/>
                <a:gd name="T67" fmla="*/ 202 h 231"/>
                <a:gd name="T68" fmla="*/ 32 w 241"/>
                <a:gd name="T69" fmla="*/ 200 h 231"/>
                <a:gd name="T70" fmla="*/ 28 w 241"/>
                <a:gd name="T71" fmla="*/ 198 h 231"/>
                <a:gd name="T72" fmla="*/ 21 w 241"/>
                <a:gd name="T73" fmla="*/ 204 h 231"/>
                <a:gd name="T74" fmla="*/ 19 w 241"/>
                <a:gd name="T75" fmla="*/ 198 h 231"/>
                <a:gd name="T76" fmla="*/ 15 w 241"/>
                <a:gd name="T77" fmla="*/ 200 h 231"/>
                <a:gd name="T78" fmla="*/ 11 w 241"/>
                <a:gd name="T79" fmla="*/ 198 h 231"/>
                <a:gd name="T80" fmla="*/ 13 w 241"/>
                <a:gd name="T81" fmla="*/ 191 h 231"/>
                <a:gd name="T82" fmla="*/ 13 w 241"/>
                <a:gd name="T83" fmla="*/ 189 h 231"/>
                <a:gd name="T84" fmla="*/ 13 w 241"/>
                <a:gd name="T85" fmla="*/ 187 h 231"/>
                <a:gd name="T86" fmla="*/ 7 w 241"/>
                <a:gd name="T87" fmla="*/ 181 h 231"/>
                <a:gd name="T88" fmla="*/ 2 w 241"/>
                <a:gd name="T89" fmla="*/ 177 h 231"/>
                <a:gd name="T90" fmla="*/ 2 w 241"/>
                <a:gd name="T91" fmla="*/ 168 h 231"/>
                <a:gd name="T92" fmla="*/ 2 w 241"/>
                <a:gd name="T93" fmla="*/ 162 h 231"/>
                <a:gd name="T94" fmla="*/ 5 w 241"/>
                <a:gd name="T95" fmla="*/ 160 h 231"/>
                <a:gd name="T96" fmla="*/ 7 w 241"/>
                <a:gd name="T97" fmla="*/ 156 h 231"/>
                <a:gd name="T98" fmla="*/ 9 w 241"/>
                <a:gd name="T99" fmla="*/ 148 h 231"/>
                <a:gd name="T100" fmla="*/ 9 w 241"/>
                <a:gd name="T101" fmla="*/ 148 h 231"/>
                <a:gd name="T102" fmla="*/ 17 w 241"/>
                <a:gd name="T103" fmla="*/ 154 h 231"/>
                <a:gd name="T104" fmla="*/ 23 w 241"/>
                <a:gd name="T105" fmla="*/ 152 h 231"/>
                <a:gd name="T106" fmla="*/ 34 w 241"/>
                <a:gd name="T107" fmla="*/ 152 h 231"/>
                <a:gd name="T108" fmla="*/ 40 w 241"/>
                <a:gd name="T109" fmla="*/ 148 h 231"/>
                <a:gd name="T110" fmla="*/ 46 w 241"/>
                <a:gd name="T111" fmla="*/ 150 h 231"/>
                <a:gd name="T112" fmla="*/ 101 w 241"/>
                <a:gd name="T113" fmla="*/ 137 h 231"/>
                <a:gd name="T114" fmla="*/ 142 w 241"/>
                <a:gd name="T115" fmla="*/ 24 h 231"/>
                <a:gd name="T116" fmla="*/ 199 w 241"/>
                <a:gd name="T117" fmla="*/ 70 h 231"/>
                <a:gd name="T118" fmla="*/ 207 w 241"/>
                <a:gd name="T119" fmla="*/ 77 h 231"/>
                <a:gd name="T120" fmla="*/ 217 w 241"/>
                <a:gd name="T121" fmla="*/ 79 h 231"/>
                <a:gd name="T122" fmla="*/ 226 w 241"/>
                <a:gd name="T123" fmla="*/ 83 h 231"/>
                <a:gd name="T124" fmla="*/ 224 w 241"/>
                <a:gd name="T125" fmla="*/ 9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 h="231">
                  <a:moveTo>
                    <a:pt x="241" y="95"/>
                  </a:moveTo>
                  <a:lnTo>
                    <a:pt x="241" y="100"/>
                  </a:lnTo>
                  <a:lnTo>
                    <a:pt x="241" y="112"/>
                  </a:lnTo>
                  <a:lnTo>
                    <a:pt x="241" y="127"/>
                  </a:lnTo>
                  <a:lnTo>
                    <a:pt x="238" y="129"/>
                  </a:lnTo>
                  <a:lnTo>
                    <a:pt x="238" y="133"/>
                  </a:lnTo>
                  <a:lnTo>
                    <a:pt x="238" y="137"/>
                  </a:lnTo>
                  <a:lnTo>
                    <a:pt x="238" y="143"/>
                  </a:lnTo>
                  <a:lnTo>
                    <a:pt x="236" y="143"/>
                  </a:lnTo>
                  <a:lnTo>
                    <a:pt x="236" y="145"/>
                  </a:lnTo>
                  <a:lnTo>
                    <a:pt x="236" y="146"/>
                  </a:lnTo>
                  <a:lnTo>
                    <a:pt x="234" y="146"/>
                  </a:lnTo>
                  <a:lnTo>
                    <a:pt x="234" y="148"/>
                  </a:lnTo>
                  <a:lnTo>
                    <a:pt x="232" y="148"/>
                  </a:lnTo>
                  <a:lnTo>
                    <a:pt x="232" y="150"/>
                  </a:lnTo>
                  <a:lnTo>
                    <a:pt x="230" y="150"/>
                  </a:lnTo>
                  <a:lnTo>
                    <a:pt x="230" y="152"/>
                  </a:lnTo>
                  <a:lnTo>
                    <a:pt x="222" y="152"/>
                  </a:lnTo>
                  <a:lnTo>
                    <a:pt x="218" y="152"/>
                  </a:lnTo>
                  <a:lnTo>
                    <a:pt x="217" y="152"/>
                  </a:lnTo>
                  <a:lnTo>
                    <a:pt x="207" y="152"/>
                  </a:lnTo>
                  <a:lnTo>
                    <a:pt x="205" y="152"/>
                  </a:lnTo>
                  <a:lnTo>
                    <a:pt x="203" y="152"/>
                  </a:lnTo>
                  <a:lnTo>
                    <a:pt x="201" y="152"/>
                  </a:lnTo>
                  <a:lnTo>
                    <a:pt x="199" y="154"/>
                  </a:lnTo>
                  <a:lnTo>
                    <a:pt x="197" y="154"/>
                  </a:lnTo>
                  <a:lnTo>
                    <a:pt x="195" y="156"/>
                  </a:lnTo>
                  <a:lnTo>
                    <a:pt x="194" y="158"/>
                  </a:lnTo>
                  <a:lnTo>
                    <a:pt x="192" y="158"/>
                  </a:lnTo>
                  <a:lnTo>
                    <a:pt x="190" y="158"/>
                  </a:lnTo>
                  <a:lnTo>
                    <a:pt x="188" y="158"/>
                  </a:lnTo>
                  <a:lnTo>
                    <a:pt x="186" y="158"/>
                  </a:lnTo>
                  <a:lnTo>
                    <a:pt x="184" y="158"/>
                  </a:lnTo>
                  <a:lnTo>
                    <a:pt x="182" y="158"/>
                  </a:lnTo>
                  <a:lnTo>
                    <a:pt x="180" y="158"/>
                  </a:lnTo>
                  <a:lnTo>
                    <a:pt x="178" y="158"/>
                  </a:lnTo>
                  <a:lnTo>
                    <a:pt x="176" y="156"/>
                  </a:lnTo>
                  <a:lnTo>
                    <a:pt x="172" y="158"/>
                  </a:lnTo>
                  <a:lnTo>
                    <a:pt x="172" y="156"/>
                  </a:lnTo>
                  <a:lnTo>
                    <a:pt x="169" y="156"/>
                  </a:lnTo>
                  <a:lnTo>
                    <a:pt x="165" y="160"/>
                  </a:lnTo>
                  <a:lnTo>
                    <a:pt x="163" y="160"/>
                  </a:lnTo>
                  <a:lnTo>
                    <a:pt x="159" y="162"/>
                  </a:lnTo>
                  <a:lnTo>
                    <a:pt x="155" y="166"/>
                  </a:lnTo>
                  <a:lnTo>
                    <a:pt x="153" y="166"/>
                  </a:lnTo>
                  <a:lnTo>
                    <a:pt x="151" y="166"/>
                  </a:lnTo>
                  <a:lnTo>
                    <a:pt x="149" y="166"/>
                  </a:lnTo>
                  <a:lnTo>
                    <a:pt x="149" y="169"/>
                  </a:lnTo>
                  <a:lnTo>
                    <a:pt x="147" y="169"/>
                  </a:lnTo>
                  <a:lnTo>
                    <a:pt x="146" y="169"/>
                  </a:lnTo>
                  <a:lnTo>
                    <a:pt x="144" y="168"/>
                  </a:lnTo>
                  <a:lnTo>
                    <a:pt x="142" y="169"/>
                  </a:lnTo>
                  <a:lnTo>
                    <a:pt x="140" y="169"/>
                  </a:lnTo>
                  <a:lnTo>
                    <a:pt x="138" y="171"/>
                  </a:lnTo>
                  <a:lnTo>
                    <a:pt x="138" y="173"/>
                  </a:lnTo>
                  <a:lnTo>
                    <a:pt x="136" y="173"/>
                  </a:lnTo>
                  <a:lnTo>
                    <a:pt x="136" y="175"/>
                  </a:lnTo>
                  <a:lnTo>
                    <a:pt x="136" y="177"/>
                  </a:lnTo>
                  <a:lnTo>
                    <a:pt x="134" y="177"/>
                  </a:lnTo>
                  <a:lnTo>
                    <a:pt x="134" y="179"/>
                  </a:lnTo>
                  <a:lnTo>
                    <a:pt x="134" y="177"/>
                  </a:lnTo>
                  <a:lnTo>
                    <a:pt x="132" y="177"/>
                  </a:lnTo>
                  <a:lnTo>
                    <a:pt x="132" y="179"/>
                  </a:lnTo>
                  <a:lnTo>
                    <a:pt x="130" y="179"/>
                  </a:lnTo>
                  <a:lnTo>
                    <a:pt x="132" y="181"/>
                  </a:lnTo>
                  <a:lnTo>
                    <a:pt x="132" y="183"/>
                  </a:lnTo>
                  <a:lnTo>
                    <a:pt x="130" y="183"/>
                  </a:lnTo>
                  <a:lnTo>
                    <a:pt x="128" y="183"/>
                  </a:lnTo>
                  <a:lnTo>
                    <a:pt x="128" y="185"/>
                  </a:lnTo>
                  <a:lnTo>
                    <a:pt x="126" y="185"/>
                  </a:lnTo>
                  <a:lnTo>
                    <a:pt x="126" y="183"/>
                  </a:lnTo>
                  <a:lnTo>
                    <a:pt x="124" y="183"/>
                  </a:lnTo>
                  <a:lnTo>
                    <a:pt x="123" y="181"/>
                  </a:lnTo>
                  <a:lnTo>
                    <a:pt x="123" y="183"/>
                  </a:lnTo>
                  <a:lnTo>
                    <a:pt x="123" y="181"/>
                  </a:lnTo>
                  <a:lnTo>
                    <a:pt x="121" y="181"/>
                  </a:lnTo>
                  <a:lnTo>
                    <a:pt x="123" y="181"/>
                  </a:lnTo>
                  <a:lnTo>
                    <a:pt x="121" y="181"/>
                  </a:lnTo>
                  <a:lnTo>
                    <a:pt x="121" y="179"/>
                  </a:lnTo>
                  <a:lnTo>
                    <a:pt x="121" y="181"/>
                  </a:lnTo>
                  <a:lnTo>
                    <a:pt x="119" y="181"/>
                  </a:lnTo>
                  <a:lnTo>
                    <a:pt x="119" y="183"/>
                  </a:lnTo>
                  <a:lnTo>
                    <a:pt x="117" y="183"/>
                  </a:lnTo>
                  <a:lnTo>
                    <a:pt x="117" y="185"/>
                  </a:lnTo>
                  <a:lnTo>
                    <a:pt x="115" y="185"/>
                  </a:lnTo>
                  <a:lnTo>
                    <a:pt x="115" y="187"/>
                  </a:lnTo>
                  <a:lnTo>
                    <a:pt x="117" y="187"/>
                  </a:lnTo>
                  <a:lnTo>
                    <a:pt x="117" y="189"/>
                  </a:lnTo>
                  <a:lnTo>
                    <a:pt x="117" y="191"/>
                  </a:lnTo>
                  <a:lnTo>
                    <a:pt x="117" y="193"/>
                  </a:lnTo>
                  <a:lnTo>
                    <a:pt x="115" y="193"/>
                  </a:lnTo>
                  <a:lnTo>
                    <a:pt x="115" y="191"/>
                  </a:lnTo>
                  <a:lnTo>
                    <a:pt x="115" y="193"/>
                  </a:lnTo>
                  <a:lnTo>
                    <a:pt x="113" y="193"/>
                  </a:lnTo>
                  <a:lnTo>
                    <a:pt x="115" y="193"/>
                  </a:lnTo>
                  <a:lnTo>
                    <a:pt x="115" y="194"/>
                  </a:lnTo>
                  <a:lnTo>
                    <a:pt x="115" y="196"/>
                  </a:lnTo>
                  <a:lnTo>
                    <a:pt x="115" y="198"/>
                  </a:lnTo>
                  <a:lnTo>
                    <a:pt x="113" y="198"/>
                  </a:lnTo>
                  <a:lnTo>
                    <a:pt x="113" y="200"/>
                  </a:lnTo>
                  <a:lnTo>
                    <a:pt x="111" y="200"/>
                  </a:lnTo>
                  <a:lnTo>
                    <a:pt x="113" y="200"/>
                  </a:lnTo>
                  <a:lnTo>
                    <a:pt x="111" y="200"/>
                  </a:lnTo>
                  <a:lnTo>
                    <a:pt x="111" y="202"/>
                  </a:lnTo>
                  <a:lnTo>
                    <a:pt x="109" y="202"/>
                  </a:lnTo>
                  <a:lnTo>
                    <a:pt x="107" y="202"/>
                  </a:lnTo>
                  <a:lnTo>
                    <a:pt x="105" y="202"/>
                  </a:lnTo>
                  <a:lnTo>
                    <a:pt x="103" y="202"/>
                  </a:lnTo>
                  <a:lnTo>
                    <a:pt x="103" y="204"/>
                  </a:lnTo>
                  <a:lnTo>
                    <a:pt x="101" y="204"/>
                  </a:lnTo>
                  <a:lnTo>
                    <a:pt x="101" y="206"/>
                  </a:lnTo>
                  <a:lnTo>
                    <a:pt x="101" y="204"/>
                  </a:lnTo>
                  <a:lnTo>
                    <a:pt x="101" y="206"/>
                  </a:lnTo>
                  <a:lnTo>
                    <a:pt x="99" y="204"/>
                  </a:lnTo>
                  <a:lnTo>
                    <a:pt x="99" y="206"/>
                  </a:lnTo>
                  <a:lnTo>
                    <a:pt x="101" y="206"/>
                  </a:lnTo>
                  <a:lnTo>
                    <a:pt x="99" y="206"/>
                  </a:lnTo>
                  <a:lnTo>
                    <a:pt x="101" y="206"/>
                  </a:lnTo>
                  <a:lnTo>
                    <a:pt x="101" y="208"/>
                  </a:lnTo>
                  <a:lnTo>
                    <a:pt x="103" y="208"/>
                  </a:lnTo>
                  <a:lnTo>
                    <a:pt x="103" y="210"/>
                  </a:lnTo>
                  <a:lnTo>
                    <a:pt x="103" y="212"/>
                  </a:lnTo>
                  <a:lnTo>
                    <a:pt x="101" y="212"/>
                  </a:lnTo>
                  <a:lnTo>
                    <a:pt x="101" y="214"/>
                  </a:lnTo>
                  <a:lnTo>
                    <a:pt x="101" y="216"/>
                  </a:lnTo>
                  <a:lnTo>
                    <a:pt x="99" y="216"/>
                  </a:lnTo>
                  <a:lnTo>
                    <a:pt x="98" y="216"/>
                  </a:lnTo>
                  <a:lnTo>
                    <a:pt x="98" y="218"/>
                  </a:lnTo>
                  <a:lnTo>
                    <a:pt x="99" y="218"/>
                  </a:lnTo>
                  <a:lnTo>
                    <a:pt x="99" y="219"/>
                  </a:lnTo>
                  <a:lnTo>
                    <a:pt x="99" y="221"/>
                  </a:lnTo>
                  <a:lnTo>
                    <a:pt x="99" y="223"/>
                  </a:lnTo>
                  <a:lnTo>
                    <a:pt x="99" y="225"/>
                  </a:lnTo>
                  <a:lnTo>
                    <a:pt x="98" y="225"/>
                  </a:lnTo>
                  <a:lnTo>
                    <a:pt x="96" y="225"/>
                  </a:lnTo>
                  <a:lnTo>
                    <a:pt x="94" y="225"/>
                  </a:lnTo>
                  <a:lnTo>
                    <a:pt x="94" y="227"/>
                  </a:lnTo>
                  <a:lnTo>
                    <a:pt x="92" y="227"/>
                  </a:lnTo>
                  <a:lnTo>
                    <a:pt x="92" y="229"/>
                  </a:lnTo>
                  <a:lnTo>
                    <a:pt x="90" y="229"/>
                  </a:lnTo>
                  <a:lnTo>
                    <a:pt x="88" y="229"/>
                  </a:lnTo>
                  <a:lnTo>
                    <a:pt x="88" y="227"/>
                  </a:lnTo>
                  <a:lnTo>
                    <a:pt x="88" y="225"/>
                  </a:lnTo>
                  <a:lnTo>
                    <a:pt x="88" y="223"/>
                  </a:lnTo>
                  <a:lnTo>
                    <a:pt x="88" y="221"/>
                  </a:lnTo>
                  <a:lnTo>
                    <a:pt x="86" y="221"/>
                  </a:lnTo>
                  <a:lnTo>
                    <a:pt x="84" y="221"/>
                  </a:lnTo>
                  <a:lnTo>
                    <a:pt x="84" y="223"/>
                  </a:lnTo>
                  <a:lnTo>
                    <a:pt x="86" y="223"/>
                  </a:lnTo>
                  <a:lnTo>
                    <a:pt x="84" y="223"/>
                  </a:lnTo>
                  <a:lnTo>
                    <a:pt x="82" y="223"/>
                  </a:lnTo>
                  <a:lnTo>
                    <a:pt x="82" y="225"/>
                  </a:lnTo>
                  <a:lnTo>
                    <a:pt x="80" y="225"/>
                  </a:lnTo>
                  <a:lnTo>
                    <a:pt x="82" y="225"/>
                  </a:lnTo>
                  <a:lnTo>
                    <a:pt x="80" y="225"/>
                  </a:lnTo>
                  <a:lnTo>
                    <a:pt x="82" y="225"/>
                  </a:lnTo>
                  <a:lnTo>
                    <a:pt x="82" y="227"/>
                  </a:lnTo>
                  <a:lnTo>
                    <a:pt x="80" y="227"/>
                  </a:lnTo>
                  <a:lnTo>
                    <a:pt x="78" y="227"/>
                  </a:lnTo>
                  <a:lnTo>
                    <a:pt x="76" y="227"/>
                  </a:lnTo>
                  <a:lnTo>
                    <a:pt x="76" y="229"/>
                  </a:lnTo>
                  <a:lnTo>
                    <a:pt x="75" y="229"/>
                  </a:lnTo>
                  <a:lnTo>
                    <a:pt x="73" y="229"/>
                  </a:lnTo>
                  <a:lnTo>
                    <a:pt x="73" y="227"/>
                  </a:lnTo>
                  <a:lnTo>
                    <a:pt x="73" y="229"/>
                  </a:lnTo>
                  <a:lnTo>
                    <a:pt x="71" y="229"/>
                  </a:lnTo>
                  <a:lnTo>
                    <a:pt x="71" y="227"/>
                  </a:lnTo>
                  <a:lnTo>
                    <a:pt x="71" y="225"/>
                  </a:lnTo>
                  <a:lnTo>
                    <a:pt x="69" y="225"/>
                  </a:lnTo>
                  <a:lnTo>
                    <a:pt x="67" y="225"/>
                  </a:lnTo>
                  <a:lnTo>
                    <a:pt x="67" y="227"/>
                  </a:lnTo>
                  <a:lnTo>
                    <a:pt x="65" y="227"/>
                  </a:lnTo>
                  <a:lnTo>
                    <a:pt x="67" y="227"/>
                  </a:lnTo>
                  <a:lnTo>
                    <a:pt x="65" y="227"/>
                  </a:lnTo>
                  <a:lnTo>
                    <a:pt x="67" y="227"/>
                  </a:lnTo>
                  <a:lnTo>
                    <a:pt x="65" y="227"/>
                  </a:lnTo>
                  <a:lnTo>
                    <a:pt x="65" y="229"/>
                  </a:lnTo>
                  <a:lnTo>
                    <a:pt x="63" y="229"/>
                  </a:lnTo>
                  <a:lnTo>
                    <a:pt x="63" y="231"/>
                  </a:lnTo>
                  <a:lnTo>
                    <a:pt x="63" y="229"/>
                  </a:lnTo>
                  <a:lnTo>
                    <a:pt x="63" y="227"/>
                  </a:lnTo>
                  <a:lnTo>
                    <a:pt x="61" y="227"/>
                  </a:lnTo>
                  <a:lnTo>
                    <a:pt x="61" y="225"/>
                  </a:lnTo>
                  <a:lnTo>
                    <a:pt x="59" y="225"/>
                  </a:lnTo>
                  <a:lnTo>
                    <a:pt x="57" y="225"/>
                  </a:lnTo>
                  <a:lnTo>
                    <a:pt x="57" y="223"/>
                  </a:lnTo>
                  <a:lnTo>
                    <a:pt x="57" y="221"/>
                  </a:lnTo>
                  <a:lnTo>
                    <a:pt x="57" y="219"/>
                  </a:lnTo>
                  <a:lnTo>
                    <a:pt x="57" y="218"/>
                  </a:lnTo>
                  <a:lnTo>
                    <a:pt x="57" y="216"/>
                  </a:lnTo>
                  <a:lnTo>
                    <a:pt x="55" y="216"/>
                  </a:lnTo>
                  <a:lnTo>
                    <a:pt x="55" y="218"/>
                  </a:lnTo>
                  <a:lnTo>
                    <a:pt x="53" y="218"/>
                  </a:lnTo>
                  <a:lnTo>
                    <a:pt x="51" y="218"/>
                  </a:lnTo>
                  <a:lnTo>
                    <a:pt x="53" y="218"/>
                  </a:lnTo>
                  <a:lnTo>
                    <a:pt x="53" y="216"/>
                  </a:lnTo>
                  <a:lnTo>
                    <a:pt x="53" y="214"/>
                  </a:lnTo>
                  <a:lnTo>
                    <a:pt x="55" y="214"/>
                  </a:lnTo>
                  <a:lnTo>
                    <a:pt x="57" y="214"/>
                  </a:lnTo>
                  <a:lnTo>
                    <a:pt x="57" y="212"/>
                  </a:lnTo>
                  <a:lnTo>
                    <a:pt x="55" y="212"/>
                  </a:lnTo>
                  <a:lnTo>
                    <a:pt x="57" y="212"/>
                  </a:lnTo>
                  <a:lnTo>
                    <a:pt x="55" y="212"/>
                  </a:lnTo>
                  <a:lnTo>
                    <a:pt x="55" y="210"/>
                  </a:lnTo>
                  <a:lnTo>
                    <a:pt x="53" y="210"/>
                  </a:lnTo>
                  <a:lnTo>
                    <a:pt x="51" y="210"/>
                  </a:lnTo>
                  <a:lnTo>
                    <a:pt x="53" y="210"/>
                  </a:lnTo>
                  <a:lnTo>
                    <a:pt x="51" y="210"/>
                  </a:lnTo>
                  <a:lnTo>
                    <a:pt x="51" y="208"/>
                  </a:lnTo>
                  <a:lnTo>
                    <a:pt x="50" y="208"/>
                  </a:lnTo>
                  <a:lnTo>
                    <a:pt x="50" y="206"/>
                  </a:lnTo>
                  <a:lnTo>
                    <a:pt x="50" y="204"/>
                  </a:lnTo>
                  <a:lnTo>
                    <a:pt x="50" y="202"/>
                  </a:lnTo>
                  <a:lnTo>
                    <a:pt x="48" y="202"/>
                  </a:lnTo>
                  <a:lnTo>
                    <a:pt x="50" y="202"/>
                  </a:lnTo>
                  <a:lnTo>
                    <a:pt x="48" y="202"/>
                  </a:lnTo>
                  <a:lnTo>
                    <a:pt x="50" y="202"/>
                  </a:lnTo>
                  <a:lnTo>
                    <a:pt x="48" y="202"/>
                  </a:lnTo>
                  <a:lnTo>
                    <a:pt x="50" y="202"/>
                  </a:lnTo>
                  <a:lnTo>
                    <a:pt x="48" y="202"/>
                  </a:lnTo>
                  <a:lnTo>
                    <a:pt x="48" y="200"/>
                  </a:lnTo>
                  <a:lnTo>
                    <a:pt x="50" y="200"/>
                  </a:lnTo>
                  <a:lnTo>
                    <a:pt x="48" y="200"/>
                  </a:lnTo>
                  <a:lnTo>
                    <a:pt x="48" y="198"/>
                  </a:lnTo>
                  <a:lnTo>
                    <a:pt x="48" y="196"/>
                  </a:lnTo>
                  <a:lnTo>
                    <a:pt x="46" y="196"/>
                  </a:lnTo>
                  <a:lnTo>
                    <a:pt x="46" y="194"/>
                  </a:lnTo>
                  <a:lnTo>
                    <a:pt x="44" y="194"/>
                  </a:lnTo>
                  <a:lnTo>
                    <a:pt x="42" y="194"/>
                  </a:lnTo>
                  <a:lnTo>
                    <a:pt x="42" y="196"/>
                  </a:lnTo>
                  <a:lnTo>
                    <a:pt x="44" y="196"/>
                  </a:lnTo>
                  <a:lnTo>
                    <a:pt x="42" y="196"/>
                  </a:lnTo>
                  <a:lnTo>
                    <a:pt x="42" y="198"/>
                  </a:lnTo>
                  <a:lnTo>
                    <a:pt x="40" y="198"/>
                  </a:lnTo>
                  <a:lnTo>
                    <a:pt x="40" y="200"/>
                  </a:lnTo>
                  <a:lnTo>
                    <a:pt x="38" y="200"/>
                  </a:lnTo>
                  <a:lnTo>
                    <a:pt x="38" y="202"/>
                  </a:lnTo>
                  <a:lnTo>
                    <a:pt x="36" y="202"/>
                  </a:lnTo>
                  <a:lnTo>
                    <a:pt x="38" y="202"/>
                  </a:lnTo>
                  <a:lnTo>
                    <a:pt x="36" y="202"/>
                  </a:lnTo>
                  <a:lnTo>
                    <a:pt x="34" y="202"/>
                  </a:lnTo>
                  <a:lnTo>
                    <a:pt x="34" y="200"/>
                  </a:lnTo>
                  <a:lnTo>
                    <a:pt x="32" y="200"/>
                  </a:lnTo>
                  <a:lnTo>
                    <a:pt x="30" y="200"/>
                  </a:lnTo>
                  <a:lnTo>
                    <a:pt x="32" y="200"/>
                  </a:lnTo>
                  <a:lnTo>
                    <a:pt x="30" y="200"/>
                  </a:lnTo>
                  <a:lnTo>
                    <a:pt x="28" y="200"/>
                  </a:lnTo>
                  <a:lnTo>
                    <a:pt x="28" y="198"/>
                  </a:lnTo>
                  <a:lnTo>
                    <a:pt x="28" y="200"/>
                  </a:lnTo>
                  <a:lnTo>
                    <a:pt x="28" y="198"/>
                  </a:lnTo>
                  <a:lnTo>
                    <a:pt x="28" y="200"/>
                  </a:lnTo>
                  <a:lnTo>
                    <a:pt x="28" y="198"/>
                  </a:lnTo>
                  <a:lnTo>
                    <a:pt x="28" y="200"/>
                  </a:lnTo>
                  <a:lnTo>
                    <a:pt x="27" y="200"/>
                  </a:lnTo>
                  <a:lnTo>
                    <a:pt x="25" y="200"/>
                  </a:lnTo>
                  <a:lnTo>
                    <a:pt x="25" y="202"/>
                  </a:lnTo>
                  <a:lnTo>
                    <a:pt x="23" y="202"/>
                  </a:lnTo>
                  <a:lnTo>
                    <a:pt x="23" y="204"/>
                  </a:lnTo>
                  <a:lnTo>
                    <a:pt x="21" y="204"/>
                  </a:lnTo>
                  <a:lnTo>
                    <a:pt x="23" y="204"/>
                  </a:lnTo>
                  <a:lnTo>
                    <a:pt x="21" y="202"/>
                  </a:lnTo>
                  <a:lnTo>
                    <a:pt x="21" y="200"/>
                  </a:lnTo>
                  <a:lnTo>
                    <a:pt x="19" y="200"/>
                  </a:lnTo>
                  <a:lnTo>
                    <a:pt x="21" y="200"/>
                  </a:lnTo>
                  <a:lnTo>
                    <a:pt x="19" y="200"/>
                  </a:lnTo>
                  <a:lnTo>
                    <a:pt x="19" y="198"/>
                  </a:lnTo>
                  <a:lnTo>
                    <a:pt x="19" y="200"/>
                  </a:lnTo>
                  <a:lnTo>
                    <a:pt x="17" y="200"/>
                  </a:lnTo>
                  <a:lnTo>
                    <a:pt x="17" y="198"/>
                  </a:lnTo>
                  <a:lnTo>
                    <a:pt x="17" y="200"/>
                  </a:lnTo>
                  <a:lnTo>
                    <a:pt x="17" y="198"/>
                  </a:lnTo>
                  <a:lnTo>
                    <a:pt x="17" y="200"/>
                  </a:lnTo>
                  <a:lnTo>
                    <a:pt x="15" y="200"/>
                  </a:lnTo>
                  <a:lnTo>
                    <a:pt x="15" y="202"/>
                  </a:lnTo>
                  <a:lnTo>
                    <a:pt x="17" y="202"/>
                  </a:lnTo>
                  <a:lnTo>
                    <a:pt x="15" y="202"/>
                  </a:lnTo>
                  <a:lnTo>
                    <a:pt x="13" y="202"/>
                  </a:lnTo>
                  <a:lnTo>
                    <a:pt x="13" y="200"/>
                  </a:lnTo>
                  <a:lnTo>
                    <a:pt x="11" y="200"/>
                  </a:lnTo>
                  <a:lnTo>
                    <a:pt x="11" y="198"/>
                  </a:lnTo>
                  <a:lnTo>
                    <a:pt x="11" y="196"/>
                  </a:lnTo>
                  <a:lnTo>
                    <a:pt x="13" y="196"/>
                  </a:lnTo>
                  <a:lnTo>
                    <a:pt x="13" y="194"/>
                  </a:lnTo>
                  <a:lnTo>
                    <a:pt x="11" y="194"/>
                  </a:lnTo>
                  <a:lnTo>
                    <a:pt x="11" y="193"/>
                  </a:lnTo>
                  <a:lnTo>
                    <a:pt x="13" y="193"/>
                  </a:lnTo>
                  <a:lnTo>
                    <a:pt x="13" y="191"/>
                  </a:lnTo>
                  <a:lnTo>
                    <a:pt x="11" y="191"/>
                  </a:lnTo>
                  <a:lnTo>
                    <a:pt x="13" y="191"/>
                  </a:lnTo>
                  <a:lnTo>
                    <a:pt x="11" y="191"/>
                  </a:lnTo>
                  <a:lnTo>
                    <a:pt x="13" y="191"/>
                  </a:lnTo>
                  <a:lnTo>
                    <a:pt x="13" y="189"/>
                  </a:lnTo>
                  <a:lnTo>
                    <a:pt x="11" y="189"/>
                  </a:lnTo>
                  <a:lnTo>
                    <a:pt x="13" y="189"/>
                  </a:lnTo>
                  <a:lnTo>
                    <a:pt x="11" y="189"/>
                  </a:lnTo>
                  <a:lnTo>
                    <a:pt x="13" y="189"/>
                  </a:lnTo>
                  <a:lnTo>
                    <a:pt x="13" y="187"/>
                  </a:lnTo>
                  <a:lnTo>
                    <a:pt x="13" y="189"/>
                  </a:lnTo>
                  <a:lnTo>
                    <a:pt x="11" y="189"/>
                  </a:lnTo>
                  <a:lnTo>
                    <a:pt x="11" y="187"/>
                  </a:lnTo>
                  <a:lnTo>
                    <a:pt x="13" y="187"/>
                  </a:lnTo>
                  <a:lnTo>
                    <a:pt x="11" y="187"/>
                  </a:lnTo>
                  <a:lnTo>
                    <a:pt x="11" y="185"/>
                  </a:lnTo>
                  <a:lnTo>
                    <a:pt x="9" y="185"/>
                  </a:lnTo>
                  <a:lnTo>
                    <a:pt x="11" y="183"/>
                  </a:lnTo>
                  <a:lnTo>
                    <a:pt x="9" y="183"/>
                  </a:lnTo>
                  <a:lnTo>
                    <a:pt x="9" y="181"/>
                  </a:lnTo>
                  <a:lnTo>
                    <a:pt x="7" y="181"/>
                  </a:lnTo>
                  <a:lnTo>
                    <a:pt x="7" y="183"/>
                  </a:lnTo>
                  <a:lnTo>
                    <a:pt x="5" y="183"/>
                  </a:lnTo>
                  <a:lnTo>
                    <a:pt x="5" y="181"/>
                  </a:lnTo>
                  <a:lnTo>
                    <a:pt x="5" y="179"/>
                  </a:lnTo>
                  <a:lnTo>
                    <a:pt x="4" y="179"/>
                  </a:lnTo>
                  <a:lnTo>
                    <a:pt x="4" y="177"/>
                  </a:lnTo>
                  <a:lnTo>
                    <a:pt x="2" y="177"/>
                  </a:lnTo>
                  <a:lnTo>
                    <a:pt x="4" y="177"/>
                  </a:lnTo>
                  <a:lnTo>
                    <a:pt x="4" y="175"/>
                  </a:lnTo>
                  <a:lnTo>
                    <a:pt x="4" y="173"/>
                  </a:lnTo>
                  <a:lnTo>
                    <a:pt x="4" y="171"/>
                  </a:lnTo>
                  <a:lnTo>
                    <a:pt x="4" y="169"/>
                  </a:lnTo>
                  <a:lnTo>
                    <a:pt x="4" y="168"/>
                  </a:lnTo>
                  <a:lnTo>
                    <a:pt x="2" y="168"/>
                  </a:lnTo>
                  <a:lnTo>
                    <a:pt x="2" y="166"/>
                  </a:lnTo>
                  <a:lnTo>
                    <a:pt x="0" y="166"/>
                  </a:lnTo>
                  <a:lnTo>
                    <a:pt x="0" y="164"/>
                  </a:lnTo>
                  <a:lnTo>
                    <a:pt x="2" y="164"/>
                  </a:lnTo>
                  <a:lnTo>
                    <a:pt x="2" y="162"/>
                  </a:lnTo>
                  <a:lnTo>
                    <a:pt x="0" y="162"/>
                  </a:lnTo>
                  <a:lnTo>
                    <a:pt x="2" y="162"/>
                  </a:lnTo>
                  <a:lnTo>
                    <a:pt x="2" y="160"/>
                  </a:lnTo>
                  <a:lnTo>
                    <a:pt x="2" y="162"/>
                  </a:lnTo>
                  <a:lnTo>
                    <a:pt x="4" y="162"/>
                  </a:lnTo>
                  <a:lnTo>
                    <a:pt x="4" y="160"/>
                  </a:lnTo>
                  <a:lnTo>
                    <a:pt x="5" y="160"/>
                  </a:lnTo>
                  <a:lnTo>
                    <a:pt x="4" y="160"/>
                  </a:lnTo>
                  <a:lnTo>
                    <a:pt x="5" y="160"/>
                  </a:lnTo>
                  <a:lnTo>
                    <a:pt x="5" y="158"/>
                  </a:lnTo>
                  <a:lnTo>
                    <a:pt x="7" y="158"/>
                  </a:lnTo>
                  <a:lnTo>
                    <a:pt x="5" y="158"/>
                  </a:lnTo>
                  <a:lnTo>
                    <a:pt x="7" y="158"/>
                  </a:lnTo>
                  <a:lnTo>
                    <a:pt x="5" y="158"/>
                  </a:lnTo>
                  <a:lnTo>
                    <a:pt x="7" y="158"/>
                  </a:lnTo>
                  <a:lnTo>
                    <a:pt x="7" y="156"/>
                  </a:lnTo>
                  <a:lnTo>
                    <a:pt x="5" y="156"/>
                  </a:lnTo>
                  <a:lnTo>
                    <a:pt x="5" y="154"/>
                  </a:lnTo>
                  <a:lnTo>
                    <a:pt x="5" y="152"/>
                  </a:lnTo>
                  <a:lnTo>
                    <a:pt x="7" y="152"/>
                  </a:lnTo>
                  <a:lnTo>
                    <a:pt x="7" y="150"/>
                  </a:lnTo>
                  <a:lnTo>
                    <a:pt x="7" y="148"/>
                  </a:lnTo>
                  <a:lnTo>
                    <a:pt x="9" y="148"/>
                  </a:lnTo>
                  <a:lnTo>
                    <a:pt x="7" y="148"/>
                  </a:lnTo>
                  <a:lnTo>
                    <a:pt x="9" y="150"/>
                  </a:lnTo>
                  <a:lnTo>
                    <a:pt x="9" y="148"/>
                  </a:lnTo>
                  <a:lnTo>
                    <a:pt x="9" y="150"/>
                  </a:lnTo>
                  <a:lnTo>
                    <a:pt x="9" y="148"/>
                  </a:lnTo>
                  <a:lnTo>
                    <a:pt x="9" y="150"/>
                  </a:lnTo>
                  <a:lnTo>
                    <a:pt x="9" y="148"/>
                  </a:lnTo>
                  <a:lnTo>
                    <a:pt x="11" y="148"/>
                  </a:lnTo>
                  <a:lnTo>
                    <a:pt x="13" y="148"/>
                  </a:lnTo>
                  <a:lnTo>
                    <a:pt x="13" y="150"/>
                  </a:lnTo>
                  <a:lnTo>
                    <a:pt x="15" y="150"/>
                  </a:lnTo>
                  <a:lnTo>
                    <a:pt x="15" y="152"/>
                  </a:lnTo>
                  <a:lnTo>
                    <a:pt x="17" y="152"/>
                  </a:lnTo>
                  <a:lnTo>
                    <a:pt x="17" y="154"/>
                  </a:lnTo>
                  <a:lnTo>
                    <a:pt x="19" y="154"/>
                  </a:lnTo>
                  <a:lnTo>
                    <a:pt x="19" y="156"/>
                  </a:lnTo>
                  <a:lnTo>
                    <a:pt x="21" y="154"/>
                  </a:lnTo>
                  <a:lnTo>
                    <a:pt x="21" y="152"/>
                  </a:lnTo>
                  <a:lnTo>
                    <a:pt x="23" y="152"/>
                  </a:lnTo>
                  <a:lnTo>
                    <a:pt x="23" y="150"/>
                  </a:lnTo>
                  <a:lnTo>
                    <a:pt x="23" y="152"/>
                  </a:lnTo>
                  <a:lnTo>
                    <a:pt x="23" y="150"/>
                  </a:lnTo>
                  <a:lnTo>
                    <a:pt x="25" y="150"/>
                  </a:lnTo>
                  <a:lnTo>
                    <a:pt x="27" y="150"/>
                  </a:lnTo>
                  <a:lnTo>
                    <a:pt x="28" y="150"/>
                  </a:lnTo>
                  <a:lnTo>
                    <a:pt x="32" y="150"/>
                  </a:lnTo>
                  <a:lnTo>
                    <a:pt x="34" y="150"/>
                  </a:lnTo>
                  <a:lnTo>
                    <a:pt x="34" y="152"/>
                  </a:lnTo>
                  <a:lnTo>
                    <a:pt x="36" y="152"/>
                  </a:lnTo>
                  <a:lnTo>
                    <a:pt x="36" y="150"/>
                  </a:lnTo>
                  <a:lnTo>
                    <a:pt x="38" y="150"/>
                  </a:lnTo>
                  <a:lnTo>
                    <a:pt x="40" y="150"/>
                  </a:lnTo>
                  <a:lnTo>
                    <a:pt x="42" y="150"/>
                  </a:lnTo>
                  <a:lnTo>
                    <a:pt x="42" y="148"/>
                  </a:lnTo>
                  <a:lnTo>
                    <a:pt x="40" y="148"/>
                  </a:lnTo>
                  <a:lnTo>
                    <a:pt x="42" y="148"/>
                  </a:lnTo>
                  <a:lnTo>
                    <a:pt x="40" y="148"/>
                  </a:lnTo>
                  <a:lnTo>
                    <a:pt x="42" y="146"/>
                  </a:lnTo>
                  <a:lnTo>
                    <a:pt x="42" y="148"/>
                  </a:lnTo>
                  <a:lnTo>
                    <a:pt x="42" y="150"/>
                  </a:lnTo>
                  <a:lnTo>
                    <a:pt x="44" y="150"/>
                  </a:lnTo>
                  <a:lnTo>
                    <a:pt x="46" y="150"/>
                  </a:lnTo>
                  <a:lnTo>
                    <a:pt x="48" y="150"/>
                  </a:lnTo>
                  <a:lnTo>
                    <a:pt x="57" y="150"/>
                  </a:lnTo>
                  <a:lnTo>
                    <a:pt x="67" y="150"/>
                  </a:lnTo>
                  <a:lnTo>
                    <a:pt x="86" y="150"/>
                  </a:lnTo>
                  <a:lnTo>
                    <a:pt x="88" y="150"/>
                  </a:lnTo>
                  <a:lnTo>
                    <a:pt x="98" y="150"/>
                  </a:lnTo>
                  <a:lnTo>
                    <a:pt x="101" y="137"/>
                  </a:lnTo>
                  <a:lnTo>
                    <a:pt x="98" y="135"/>
                  </a:lnTo>
                  <a:lnTo>
                    <a:pt x="96" y="129"/>
                  </a:lnTo>
                  <a:lnTo>
                    <a:pt x="88" y="25"/>
                  </a:lnTo>
                  <a:lnTo>
                    <a:pt x="86" y="6"/>
                  </a:lnTo>
                  <a:lnTo>
                    <a:pt x="86" y="0"/>
                  </a:lnTo>
                  <a:lnTo>
                    <a:pt x="109" y="0"/>
                  </a:lnTo>
                  <a:lnTo>
                    <a:pt x="142" y="24"/>
                  </a:lnTo>
                  <a:lnTo>
                    <a:pt x="178" y="50"/>
                  </a:lnTo>
                  <a:lnTo>
                    <a:pt x="195" y="64"/>
                  </a:lnTo>
                  <a:lnTo>
                    <a:pt x="195" y="66"/>
                  </a:lnTo>
                  <a:lnTo>
                    <a:pt x="195" y="68"/>
                  </a:lnTo>
                  <a:lnTo>
                    <a:pt x="195" y="70"/>
                  </a:lnTo>
                  <a:lnTo>
                    <a:pt x="197" y="70"/>
                  </a:lnTo>
                  <a:lnTo>
                    <a:pt x="199" y="70"/>
                  </a:lnTo>
                  <a:lnTo>
                    <a:pt x="201" y="72"/>
                  </a:lnTo>
                  <a:lnTo>
                    <a:pt x="203" y="72"/>
                  </a:lnTo>
                  <a:lnTo>
                    <a:pt x="203" y="73"/>
                  </a:lnTo>
                  <a:lnTo>
                    <a:pt x="203" y="75"/>
                  </a:lnTo>
                  <a:lnTo>
                    <a:pt x="205" y="75"/>
                  </a:lnTo>
                  <a:lnTo>
                    <a:pt x="207" y="75"/>
                  </a:lnTo>
                  <a:lnTo>
                    <a:pt x="207" y="77"/>
                  </a:lnTo>
                  <a:lnTo>
                    <a:pt x="209" y="77"/>
                  </a:lnTo>
                  <a:lnTo>
                    <a:pt x="211" y="77"/>
                  </a:lnTo>
                  <a:lnTo>
                    <a:pt x="211" y="75"/>
                  </a:lnTo>
                  <a:lnTo>
                    <a:pt x="213" y="75"/>
                  </a:lnTo>
                  <a:lnTo>
                    <a:pt x="213" y="77"/>
                  </a:lnTo>
                  <a:lnTo>
                    <a:pt x="215" y="79"/>
                  </a:lnTo>
                  <a:lnTo>
                    <a:pt x="217" y="79"/>
                  </a:lnTo>
                  <a:lnTo>
                    <a:pt x="218" y="79"/>
                  </a:lnTo>
                  <a:lnTo>
                    <a:pt x="218" y="81"/>
                  </a:lnTo>
                  <a:lnTo>
                    <a:pt x="220" y="81"/>
                  </a:lnTo>
                  <a:lnTo>
                    <a:pt x="222" y="81"/>
                  </a:lnTo>
                  <a:lnTo>
                    <a:pt x="224" y="81"/>
                  </a:lnTo>
                  <a:lnTo>
                    <a:pt x="224" y="83"/>
                  </a:lnTo>
                  <a:lnTo>
                    <a:pt x="226" y="83"/>
                  </a:lnTo>
                  <a:lnTo>
                    <a:pt x="226" y="85"/>
                  </a:lnTo>
                  <a:lnTo>
                    <a:pt x="226" y="87"/>
                  </a:lnTo>
                  <a:lnTo>
                    <a:pt x="226" y="89"/>
                  </a:lnTo>
                  <a:lnTo>
                    <a:pt x="226" y="91"/>
                  </a:lnTo>
                  <a:lnTo>
                    <a:pt x="226" y="93"/>
                  </a:lnTo>
                  <a:lnTo>
                    <a:pt x="224" y="93"/>
                  </a:lnTo>
                  <a:lnTo>
                    <a:pt x="224" y="95"/>
                  </a:lnTo>
                  <a:lnTo>
                    <a:pt x="226" y="95"/>
                  </a:lnTo>
                  <a:lnTo>
                    <a:pt x="226" y="97"/>
                  </a:lnTo>
                  <a:lnTo>
                    <a:pt x="228" y="97"/>
                  </a:lnTo>
                  <a:lnTo>
                    <a:pt x="232" y="97"/>
                  </a:lnTo>
                  <a:lnTo>
                    <a:pt x="241" y="9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302">
              <a:extLst>
                <a:ext uri="{FF2B5EF4-FFF2-40B4-BE49-F238E27FC236}">
                  <a16:creationId xmlns:a16="http://schemas.microsoft.com/office/drawing/2014/main" id="{1D96609E-3E5D-45DB-B25E-159B8B8E5ABB}"/>
                </a:ext>
              </a:extLst>
            </p:cNvPr>
            <p:cNvSpPr>
              <a:spLocks/>
            </p:cNvSpPr>
            <p:nvPr/>
          </p:nvSpPr>
          <p:spPr bwMode="gray">
            <a:xfrm>
              <a:off x="3110152" y="4093058"/>
              <a:ext cx="143486" cy="104242"/>
            </a:xfrm>
            <a:custGeom>
              <a:avLst/>
              <a:gdLst>
                <a:gd name="T0" fmla="*/ 84 w 117"/>
                <a:gd name="T1" fmla="*/ 10 h 85"/>
                <a:gd name="T2" fmla="*/ 88 w 117"/>
                <a:gd name="T3" fmla="*/ 17 h 85"/>
                <a:gd name="T4" fmla="*/ 94 w 117"/>
                <a:gd name="T5" fmla="*/ 21 h 85"/>
                <a:gd name="T6" fmla="*/ 97 w 117"/>
                <a:gd name="T7" fmla="*/ 25 h 85"/>
                <a:gd name="T8" fmla="*/ 97 w 117"/>
                <a:gd name="T9" fmla="*/ 27 h 85"/>
                <a:gd name="T10" fmla="*/ 97 w 117"/>
                <a:gd name="T11" fmla="*/ 31 h 85"/>
                <a:gd name="T12" fmla="*/ 109 w 117"/>
                <a:gd name="T13" fmla="*/ 37 h 85"/>
                <a:gd name="T14" fmla="*/ 113 w 117"/>
                <a:gd name="T15" fmla="*/ 38 h 85"/>
                <a:gd name="T16" fmla="*/ 117 w 117"/>
                <a:gd name="T17" fmla="*/ 48 h 85"/>
                <a:gd name="T18" fmla="*/ 113 w 117"/>
                <a:gd name="T19" fmla="*/ 54 h 85"/>
                <a:gd name="T20" fmla="*/ 109 w 117"/>
                <a:gd name="T21" fmla="*/ 56 h 85"/>
                <a:gd name="T22" fmla="*/ 107 w 117"/>
                <a:gd name="T23" fmla="*/ 56 h 85"/>
                <a:gd name="T24" fmla="*/ 103 w 117"/>
                <a:gd name="T25" fmla="*/ 54 h 85"/>
                <a:gd name="T26" fmla="*/ 99 w 117"/>
                <a:gd name="T27" fmla="*/ 56 h 85"/>
                <a:gd name="T28" fmla="*/ 99 w 117"/>
                <a:gd name="T29" fmla="*/ 58 h 85"/>
                <a:gd name="T30" fmla="*/ 96 w 117"/>
                <a:gd name="T31" fmla="*/ 60 h 85"/>
                <a:gd name="T32" fmla="*/ 97 w 117"/>
                <a:gd name="T33" fmla="*/ 60 h 85"/>
                <a:gd name="T34" fmla="*/ 94 w 117"/>
                <a:gd name="T35" fmla="*/ 62 h 85"/>
                <a:gd name="T36" fmla="*/ 86 w 117"/>
                <a:gd name="T37" fmla="*/ 62 h 85"/>
                <a:gd name="T38" fmla="*/ 78 w 117"/>
                <a:gd name="T39" fmla="*/ 60 h 85"/>
                <a:gd name="T40" fmla="*/ 72 w 117"/>
                <a:gd name="T41" fmla="*/ 63 h 85"/>
                <a:gd name="T42" fmla="*/ 69 w 117"/>
                <a:gd name="T43" fmla="*/ 62 h 85"/>
                <a:gd name="T44" fmla="*/ 57 w 117"/>
                <a:gd name="T45" fmla="*/ 62 h 85"/>
                <a:gd name="T46" fmla="*/ 46 w 117"/>
                <a:gd name="T47" fmla="*/ 62 h 85"/>
                <a:gd name="T48" fmla="*/ 38 w 117"/>
                <a:gd name="T49" fmla="*/ 63 h 85"/>
                <a:gd name="T50" fmla="*/ 38 w 117"/>
                <a:gd name="T51" fmla="*/ 69 h 85"/>
                <a:gd name="T52" fmla="*/ 40 w 117"/>
                <a:gd name="T53" fmla="*/ 77 h 85"/>
                <a:gd name="T54" fmla="*/ 40 w 117"/>
                <a:gd name="T55" fmla="*/ 83 h 85"/>
                <a:gd name="T56" fmla="*/ 38 w 117"/>
                <a:gd name="T57" fmla="*/ 81 h 85"/>
                <a:gd name="T58" fmla="*/ 34 w 117"/>
                <a:gd name="T59" fmla="*/ 79 h 85"/>
                <a:gd name="T60" fmla="*/ 26 w 117"/>
                <a:gd name="T61" fmla="*/ 77 h 85"/>
                <a:gd name="T62" fmla="*/ 25 w 117"/>
                <a:gd name="T63" fmla="*/ 77 h 85"/>
                <a:gd name="T64" fmla="*/ 19 w 117"/>
                <a:gd name="T65" fmla="*/ 81 h 85"/>
                <a:gd name="T66" fmla="*/ 13 w 117"/>
                <a:gd name="T67" fmla="*/ 81 h 85"/>
                <a:gd name="T68" fmla="*/ 7 w 117"/>
                <a:gd name="T69" fmla="*/ 77 h 85"/>
                <a:gd name="T70" fmla="*/ 5 w 117"/>
                <a:gd name="T71" fmla="*/ 73 h 85"/>
                <a:gd name="T72" fmla="*/ 5 w 117"/>
                <a:gd name="T73" fmla="*/ 71 h 85"/>
                <a:gd name="T74" fmla="*/ 1 w 117"/>
                <a:gd name="T75" fmla="*/ 73 h 85"/>
                <a:gd name="T76" fmla="*/ 1 w 117"/>
                <a:gd name="T77" fmla="*/ 67 h 85"/>
                <a:gd name="T78" fmla="*/ 0 w 117"/>
                <a:gd name="T79" fmla="*/ 60 h 85"/>
                <a:gd name="T80" fmla="*/ 5 w 117"/>
                <a:gd name="T81" fmla="*/ 56 h 85"/>
                <a:gd name="T82" fmla="*/ 1 w 117"/>
                <a:gd name="T83" fmla="*/ 50 h 85"/>
                <a:gd name="T84" fmla="*/ 3 w 117"/>
                <a:gd name="T85" fmla="*/ 48 h 85"/>
                <a:gd name="T86" fmla="*/ 7 w 117"/>
                <a:gd name="T87" fmla="*/ 46 h 85"/>
                <a:gd name="T88" fmla="*/ 15 w 117"/>
                <a:gd name="T89" fmla="*/ 44 h 85"/>
                <a:gd name="T90" fmla="*/ 17 w 117"/>
                <a:gd name="T91" fmla="*/ 40 h 85"/>
                <a:gd name="T92" fmla="*/ 17 w 117"/>
                <a:gd name="T93" fmla="*/ 35 h 85"/>
                <a:gd name="T94" fmla="*/ 19 w 117"/>
                <a:gd name="T95" fmla="*/ 31 h 85"/>
                <a:gd name="T96" fmla="*/ 21 w 117"/>
                <a:gd name="T97" fmla="*/ 27 h 85"/>
                <a:gd name="T98" fmla="*/ 25 w 117"/>
                <a:gd name="T99" fmla="*/ 25 h 85"/>
                <a:gd name="T100" fmla="*/ 26 w 117"/>
                <a:gd name="T101" fmla="*/ 27 h 85"/>
                <a:gd name="T102" fmla="*/ 32 w 117"/>
                <a:gd name="T103" fmla="*/ 27 h 85"/>
                <a:gd name="T104" fmla="*/ 34 w 117"/>
                <a:gd name="T105" fmla="*/ 21 h 85"/>
                <a:gd name="T106" fmla="*/ 38 w 117"/>
                <a:gd name="T107" fmla="*/ 19 h 85"/>
                <a:gd name="T108" fmla="*/ 44 w 117"/>
                <a:gd name="T109" fmla="*/ 13 h 85"/>
                <a:gd name="T110" fmla="*/ 51 w 117"/>
                <a:gd name="T111" fmla="*/ 10 h 85"/>
                <a:gd name="T112" fmla="*/ 65 w 117"/>
                <a:gd name="T113" fmla="*/ 4 h 85"/>
                <a:gd name="T114" fmla="*/ 78 w 117"/>
                <a:gd name="T11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 h="85">
                  <a:moveTo>
                    <a:pt x="84" y="2"/>
                  </a:moveTo>
                  <a:lnTo>
                    <a:pt x="84" y="4"/>
                  </a:lnTo>
                  <a:lnTo>
                    <a:pt x="84" y="6"/>
                  </a:lnTo>
                  <a:lnTo>
                    <a:pt x="84" y="8"/>
                  </a:lnTo>
                  <a:lnTo>
                    <a:pt x="84" y="10"/>
                  </a:lnTo>
                  <a:lnTo>
                    <a:pt x="86" y="12"/>
                  </a:lnTo>
                  <a:lnTo>
                    <a:pt x="86" y="13"/>
                  </a:lnTo>
                  <a:lnTo>
                    <a:pt x="86" y="15"/>
                  </a:lnTo>
                  <a:lnTo>
                    <a:pt x="88" y="15"/>
                  </a:lnTo>
                  <a:lnTo>
                    <a:pt x="88" y="17"/>
                  </a:lnTo>
                  <a:lnTo>
                    <a:pt x="88" y="19"/>
                  </a:lnTo>
                  <a:lnTo>
                    <a:pt x="90" y="19"/>
                  </a:lnTo>
                  <a:lnTo>
                    <a:pt x="90" y="21"/>
                  </a:lnTo>
                  <a:lnTo>
                    <a:pt x="92" y="21"/>
                  </a:lnTo>
                  <a:lnTo>
                    <a:pt x="94" y="21"/>
                  </a:lnTo>
                  <a:lnTo>
                    <a:pt x="92" y="21"/>
                  </a:lnTo>
                  <a:lnTo>
                    <a:pt x="94" y="23"/>
                  </a:lnTo>
                  <a:lnTo>
                    <a:pt x="96" y="23"/>
                  </a:lnTo>
                  <a:lnTo>
                    <a:pt x="96" y="25"/>
                  </a:lnTo>
                  <a:lnTo>
                    <a:pt x="97" y="25"/>
                  </a:lnTo>
                  <a:lnTo>
                    <a:pt x="99" y="25"/>
                  </a:lnTo>
                  <a:lnTo>
                    <a:pt x="99" y="27"/>
                  </a:lnTo>
                  <a:lnTo>
                    <a:pt x="99" y="25"/>
                  </a:lnTo>
                  <a:lnTo>
                    <a:pt x="99" y="27"/>
                  </a:lnTo>
                  <a:lnTo>
                    <a:pt x="97" y="27"/>
                  </a:lnTo>
                  <a:lnTo>
                    <a:pt x="96" y="25"/>
                  </a:lnTo>
                  <a:lnTo>
                    <a:pt x="96" y="27"/>
                  </a:lnTo>
                  <a:lnTo>
                    <a:pt x="96" y="25"/>
                  </a:lnTo>
                  <a:lnTo>
                    <a:pt x="96" y="31"/>
                  </a:lnTo>
                  <a:lnTo>
                    <a:pt x="97" y="31"/>
                  </a:lnTo>
                  <a:lnTo>
                    <a:pt x="99" y="35"/>
                  </a:lnTo>
                  <a:lnTo>
                    <a:pt x="101" y="35"/>
                  </a:lnTo>
                  <a:lnTo>
                    <a:pt x="103" y="37"/>
                  </a:lnTo>
                  <a:lnTo>
                    <a:pt x="107" y="37"/>
                  </a:lnTo>
                  <a:lnTo>
                    <a:pt x="109" y="37"/>
                  </a:lnTo>
                  <a:lnTo>
                    <a:pt x="109" y="35"/>
                  </a:lnTo>
                  <a:lnTo>
                    <a:pt x="111" y="35"/>
                  </a:lnTo>
                  <a:lnTo>
                    <a:pt x="111" y="37"/>
                  </a:lnTo>
                  <a:lnTo>
                    <a:pt x="113" y="37"/>
                  </a:lnTo>
                  <a:lnTo>
                    <a:pt x="113" y="38"/>
                  </a:lnTo>
                  <a:lnTo>
                    <a:pt x="115" y="38"/>
                  </a:lnTo>
                  <a:lnTo>
                    <a:pt x="115" y="40"/>
                  </a:lnTo>
                  <a:lnTo>
                    <a:pt x="113" y="40"/>
                  </a:lnTo>
                  <a:lnTo>
                    <a:pt x="111" y="40"/>
                  </a:lnTo>
                  <a:lnTo>
                    <a:pt x="117" y="48"/>
                  </a:lnTo>
                  <a:lnTo>
                    <a:pt x="117" y="50"/>
                  </a:lnTo>
                  <a:lnTo>
                    <a:pt x="115" y="50"/>
                  </a:lnTo>
                  <a:lnTo>
                    <a:pt x="115" y="52"/>
                  </a:lnTo>
                  <a:lnTo>
                    <a:pt x="113" y="52"/>
                  </a:lnTo>
                  <a:lnTo>
                    <a:pt x="113" y="54"/>
                  </a:lnTo>
                  <a:lnTo>
                    <a:pt x="111" y="54"/>
                  </a:lnTo>
                  <a:lnTo>
                    <a:pt x="111" y="56"/>
                  </a:lnTo>
                  <a:lnTo>
                    <a:pt x="109" y="56"/>
                  </a:lnTo>
                  <a:lnTo>
                    <a:pt x="109" y="54"/>
                  </a:lnTo>
                  <a:lnTo>
                    <a:pt x="109" y="56"/>
                  </a:lnTo>
                  <a:lnTo>
                    <a:pt x="109" y="54"/>
                  </a:lnTo>
                  <a:lnTo>
                    <a:pt x="109" y="56"/>
                  </a:lnTo>
                  <a:lnTo>
                    <a:pt x="107" y="56"/>
                  </a:lnTo>
                  <a:lnTo>
                    <a:pt x="107" y="54"/>
                  </a:lnTo>
                  <a:lnTo>
                    <a:pt x="107" y="56"/>
                  </a:lnTo>
                  <a:lnTo>
                    <a:pt x="105" y="56"/>
                  </a:lnTo>
                  <a:lnTo>
                    <a:pt x="103" y="56"/>
                  </a:lnTo>
                  <a:lnTo>
                    <a:pt x="105" y="56"/>
                  </a:lnTo>
                  <a:lnTo>
                    <a:pt x="103" y="56"/>
                  </a:lnTo>
                  <a:lnTo>
                    <a:pt x="103" y="54"/>
                  </a:lnTo>
                  <a:lnTo>
                    <a:pt x="101" y="54"/>
                  </a:lnTo>
                  <a:lnTo>
                    <a:pt x="101" y="56"/>
                  </a:lnTo>
                  <a:lnTo>
                    <a:pt x="101" y="54"/>
                  </a:lnTo>
                  <a:lnTo>
                    <a:pt x="101" y="56"/>
                  </a:lnTo>
                  <a:lnTo>
                    <a:pt x="99" y="56"/>
                  </a:lnTo>
                  <a:lnTo>
                    <a:pt x="101" y="56"/>
                  </a:lnTo>
                  <a:lnTo>
                    <a:pt x="99" y="56"/>
                  </a:lnTo>
                  <a:lnTo>
                    <a:pt x="101" y="56"/>
                  </a:lnTo>
                  <a:lnTo>
                    <a:pt x="101" y="58"/>
                  </a:lnTo>
                  <a:lnTo>
                    <a:pt x="99" y="58"/>
                  </a:lnTo>
                  <a:lnTo>
                    <a:pt x="99" y="56"/>
                  </a:lnTo>
                  <a:lnTo>
                    <a:pt x="99" y="58"/>
                  </a:lnTo>
                  <a:lnTo>
                    <a:pt x="97" y="58"/>
                  </a:lnTo>
                  <a:lnTo>
                    <a:pt x="97" y="60"/>
                  </a:lnTo>
                  <a:lnTo>
                    <a:pt x="96" y="60"/>
                  </a:lnTo>
                  <a:lnTo>
                    <a:pt x="97" y="60"/>
                  </a:lnTo>
                  <a:lnTo>
                    <a:pt x="96" y="60"/>
                  </a:lnTo>
                  <a:lnTo>
                    <a:pt x="97" y="60"/>
                  </a:lnTo>
                  <a:lnTo>
                    <a:pt x="97" y="62"/>
                  </a:lnTo>
                  <a:lnTo>
                    <a:pt x="97" y="60"/>
                  </a:lnTo>
                  <a:lnTo>
                    <a:pt x="96" y="60"/>
                  </a:lnTo>
                  <a:lnTo>
                    <a:pt x="96" y="62"/>
                  </a:lnTo>
                  <a:lnTo>
                    <a:pt x="96" y="60"/>
                  </a:lnTo>
                  <a:lnTo>
                    <a:pt x="96" y="62"/>
                  </a:lnTo>
                  <a:lnTo>
                    <a:pt x="94" y="62"/>
                  </a:lnTo>
                  <a:lnTo>
                    <a:pt x="92" y="62"/>
                  </a:lnTo>
                  <a:lnTo>
                    <a:pt x="90" y="62"/>
                  </a:lnTo>
                  <a:lnTo>
                    <a:pt x="88" y="63"/>
                  </a:lnTo>
                  <a:lnTo>
                    <a:pt x="88" y="62"/>
                  </a:lnTo>
                  <a:lnTo>
                    <a:pt x="86" y="62"/>
                  </a:lnTo>
                  <a:lnTo>
                    <a:pt x="84" y="62"/>
                  </a:lnTo>
                  <a:lnTo>
                    <a:pt x="84" y="60"/>
                  </a:lnTo>
                  <a:lnTo>
                    <a:pt x="82" y="60"/>
                  </a:lnTo>
                  <a:lnTo>
                    <a:pt x="80" y="60"/>
                  </a:lnTo>
                  <a:lnTo>
                    <a:pt x="78" y="60"/>
                  </a:lnTo>
                  <a:lnTo>
                    <a:pt x="76" y="60"/>
                  </a:lnTo>
                  <a:lnTo>
                    <a:pt x="74" y="60"/>
                  </a:lnTo>
                  <a:lnTo>
                    <a:pt x="74" y="62"/>
                  </a:lnTo>
                  <a:lnTo>
                    <a:pt x="72" y="62"/>
                  </a:lnTo>
                  <a:lnTo>
                    <a:pt x="72" y="63"/>
                  </a:lnTo>
                  <a:lnTo>
                    <a:pt x="72" y="62"/>
                  </a:lnTo>
                  <a:lnTo>
                    <a:pt x="71" y="62"/>
                  </a:lnTo>
                  <a:lnTo>
                    <a:pt x="72" y="62"/>
                  </a:lnTo>
                  <a:lnTo>
                    <a:pt x="71" y="62"/>
                  </a:lnTo>
                  <a:lnTo>
                    <a:pt x="69" y="62"/>
                  </a:lnTo>
                  <a:lnTo>
                    <a:pt x="67" y="62"/>
                  </a:lnTo>
                  <a:lnTo>
                    <a:pt x="65" y="62"/>
                  </a:lnTo>
                  <a:lnTo>
                    <a:pt x="63" y="62"/>
                  </a:lnTo>
                  <a:lnTo>
                    <a:pt x="61" y="62"/>
                  </a:lnTo>
                  <a:lnTo>
                    <a:pt x="57" y="62"/>
                  </a:lnTo>
                  <a:lnTo>
                    <a:pt x="55" y="62"/>
                  </a:lnTo>
                  <a:lnTo>
                    <a:pt x="51" y="62"/>
                  </a:lnTo>
                  <a:lnTo>
                    <a:pt x="49" y="62"/>
                  </a:lnTo>
                  <a:lnTo>
                    <a:pt x="48" y="62"/>
                  </a:lnTo>
                  <a:lnTo>
                    <a:pt x="46" y="62"/>
                  </a:lnTo>
                  <a:lnTo>
                    <a:pt x="44" y="62"/>
                  </a:lnTo>
                  <a:lnTo>
                    <a:pt x="42" y="62"/>
                  </a:lnTo>
                  <a:lnTo>
                    <a:pt x="40" y="62"/>
                  </a:lnTo>
                  <a:lnTo>
                    <a:pt x="40" y="63"/>
                  </a:lnTo>
                  <a:lnTo>
                    <a:pt x="38" y="63"/>
                  </a:lnTo>
                  <a:lnTo>
                    <a:pt x="38" y="65"/>
                  </a:lnTo>
                  <a:lnTo>
                    <a:pt x="38" y="67"/>
                  </a:lnTo>
                  <a:lnTo>
                    <a:pt x="38" y="69"/>
                  </a:lnTo>
                  <a:lnTo>
                    <a:pt x="40" y="69"/>
                  </a:lnTo>
                  <a:lnTo>
                    <a:pt x="38" y="69"/>
                  </a:lnTo>
                  <a:lnTo>
                    <a:pt x="40" y="69"/>
                  </a:lnTo>
                  <a:lnTo>
                    <a:pt x="40" y="71"/>
                  </a:lnTo>
                  <a:lnTo>
                    <a:pt x="40" y="73"/>
                  </a:lnTo>
                  <a:lnTo>
                    <a:pt x="40" y="75"/>
                  </a:lnTo>
                  <a:lnTo>
                    <a:pt x="40" y="77"/>
                  </a:lnTo>
                  <a:lnTo>
                    <a:pt x="40" y="79"/>
                  </a:lnTo>
                  <a:lnTo>
                    <a:pt x="42" y="79"/>
                  </a:lnTo>
                  <a:lnTo>
                    <a:pt x="40" y="79"/>
                  </a:lnTo>
                  <a:lnTo>
                    <a:pt x="40" y="81"/>
                  </a:lnTo>
                  <a:lnTo>
                    <a:pt x="40" y="83"/>
                  </a:lnTo>
                  <a:lnTo>
                    <a:pt x="42" y="83"/>
                  </a:lnTo>
                  <a:lnTo>
                    <a:pt x="42" y="85"/>
                  </a:lnTo>
                  <a:lnTo>
                    <a:pt x="40" y="85"/>
                  </a:lnTo>
                  <a:lnTo>
                    <a:pt x="38" y="83"/>
                  </a:lnTo>
                  <a:lnTo>
                    <a:pt x="38" y="81"/>
                  </a:lnTo>
                  <a:lnTo>
                    <a:pt x="36" y="81"/>
                  </a:lnTo>
                  <a:lnTo>
                    <a:pt x="36" y="79"/>
                  </a:lnTo>
                  <a:lnTo>
                    <a:pt x="34" y="79"/>
                  </a:lnTo>
                  <a:lnTo>
                    <a:pt x="34" y="77"/>
                  </a:lnTo>
                  <a:lnTo>
                    <a:pt x="34" y="79"/>
                  </a:lnTo>
                  <a:lnTo>
                    <a:pt x="32" y="79"/>
                  </a:lnTo>
                  <a:lnTo>
                    <a:pt x="32" y="77"/>
                  </a:lnTo>
                  <a:lnTo>
                    <a:pt x="30" y="77"/>
                  </a:lnTo>
                  <a:lnTo>
                    <a:pt x="28" y="77"/>
                  </a:lnTo>
                  <a:lnTo>
                    <a:pt x="26" y="77"/>
                  </a:lnTo>
                  <a:lnTo>
                    <a:pt x="25" y="77"/>
                  </a:lnTo>
                  <a:lnTo>
                    <a:pt x="25" y="79"/>
                  </a:lnTo>
                  <a:lnTo>
                    <a:pt x="25" y="77"/>
                  </a:lnTo>
                  <a:lnTo>
                    <a:pt x="25" y="79"/>
                  </a:lnTo>
                  <a:lnTo>
                    <a:pt x="25" y="77"/>
                  </a:lnTo>
                  <a:lnTo>
                    <a:pt x="25" y="79"/>
                  </a:lnTo>
                  <a:lnTo>
                    <a:pt x="23" y="79"/>
                  </a:lnTo>
                  <a:lnTo>
                    <a:pt x="21" y="79"/>
                  </a:lnTo>
                  <a:lnTo>
                    <a:pt x="19" y="79"/>
                  </a:lnTo>
                  <a:lnTo>
                    <a:pt x="19" y="81"/>
                  </a:lnTo>
                  <a:lnTo>
                    <a:pt x="19" y="83"/>
                  </a:lnTo>
                  <a:lnTo>
                    <a:pt x="17" y="83"/>
                  </a:lnTo>
                  <a:lnTo>
                    <a:pt x="17" y="81"/>
                  </a:lnTo>
                  <a:lnTo>
                    <a:pt x="15" y="81"/>
                  </a:lnTo>
                  <a:lnTo>
                    <a:pt x="13" y="81"/>
                  </a:lnTo>
                  <a:lnTo>
                    <a:pt x="11" y="81"/>
                  </a:lnTo>
                  <a:lnTo>
                    <a:pt x="11" y="79"/>
                  </a:lnTo>
                  <a:lnTo>
                    <a:pt x="9" y="79"/>
                  </a:lnTo>
                  <a:lnTo>
                    <a:pt x="9" y="77"/>
                  </a:lnTo>
                  <a:lnTo>
                    <a:pt x="7" y="77"/>
                  </a:lnTo>
                  <a:lnTo>
                    <a:pt x="9" y="77"/>
                  </a:lnTo>
                  <a:lnTo>
                    <a:pt x="9" y="75"/>
                  </a:lnTo>
                  <a:lnTo>
                    <a:pt x="7" y="75"/>
                  </a:lnTo>
                  <a:lnTo>
                    <a:pt x="7" y="73"/>
                  </a:lnTo>
                  <a:lnTo>
                    <a:pt x="5" y="73"/>
                  </a:lnTo>
                  <a:lnTo>
                    <a:pt x="7" y="73"/>
                  </a:lnTo>
                  <a:lnTo>
                    <a:pt x="5" y="73"/>
                  </a:lnTo>
                  <a:lnTo>
                    <a:pt x="7" y="73"/>
                  </a:lnTo>
                  <a:lnTo>
                    <a:pt x="5" y="73"/>
                  </a:lnTo>
                  <a:lnTo>
                    <a:pt x="5" y="71"/>
                  </a:lnTo>
                  <a:lnTo>
                    <a:pt x="5" y="73"/>
                  </a:lnTo>
                  <a:lnTo>
                    <a:pt x="5" y="71"/>
                  </a:lnTo>
                  <a:lnTo>
                    <a:pt x="3" y="71"/>
                  </a:lnTo>
                  <a:lnTo>
                    <a:pt x="3" y="73"/>
                  </a:lnTo>
                  <a:lnTo>
                    <a:pt x="1" y="73"/>
                  </a:lnTo>
                  <a:lnTo>
                    <a:pt x="1" y="71"/>
                  </a:lnTo>
                  <a:lnTo>
                    <a:pt x="0" y="71"/>
                  </a:lnTo>
                  <a:lnTo>
                    <a:pt x="0" y="69"/>
                  </a:lnTo>
                  <a:lnTo>
                    <a:pt x="1" y="69"/>
                  </a:lnTo>
                  <a:lnTo>
                    <a:pt x="1" y="67"/>
                  </a:lnTo>
                  <a:lnTo>
                    <a:pt x="1" y="65"/>
                  </a:lnTo>
                  <a:lnTo>
                    <a:pt x="1" y="63"/>
                  </a:lnTo>
                  <a:lnTo>
                    <a:pt x="1" y="62"/>
                  </a:lnTo>
                  <a:lnTo>
                    <a:pt x="0" y="62"/>
                  </a:lnTo>
                  <a:lnTo>
                    <a:pt x="0" y="60"/>
                  </a:lnTo>
                  <a:lnTo>
                    <a:pt x="1" y="60"/>
                  </a:lnTo>
                  <a:lnTo>
                    <a:pt x="3" y="60"/>
                  </a:lnTo>
                  <a:lnTo>
                    <a:pt x="3" y="58"/>
                  </a:lnTo>
                  <a:lnTo>
                    <a:pt x="3" y="56"/>
                  </a:lnTo>
                  <a:lnTo>
                    <a:pt x="5" y="56"/>
                  </a:lnTo>
                  <a:lnTo>
                    <a:pt x="5" y="54"/>
                  </a:lnTo>
                  <a:lnTo>
                    <a:pt x="5" y="52"/>
                  </a:lnTo>
                  <a:lnTo>
                    <a:pt x="3" y="52"/>
                  </a:lnTo>
                  <a:lnTo>
                    <a:pt x="3" y="50"/>
                  </a:lnTo>
                  <a:lnTo>
                    <a:pt x="1" y="50"/>
                  </a:lnTo>
                  <a:lnTo>
                    <a:pt x="3" y="50"/>
                  </a:lnTo>
                  <a:lnTo>
                    <a:pt x="1" y="50"/>
                  </a:lnTo>
                  <a:lnTo>
                    <a:pt x="1" y="48"/>
                  </a:lnTo>
                  <a:lnTo>
                    <a:pt x="3" y="50"/>
                  </a:lnTo>
                  <a:lnTo>
                    <a:pt x="3" y="48"/>
                  </a:lnTo>
                  <a:lnTo>
                    <a:pt x="3" y="50"/>
                  </a:lnTo>
                  <a:lnTo>
                    <a:pt x="3" y="48"/>
                  </a:lnTo>
                  <a:lnTo>
                    <a:pt x="5" y="48"/>
                  </a:lnTo>
                  <a:lnTo>
                    <a:pt x="5" y="46"/>
                  </a:lnTo>
                  <a:lnTo>
                    <a:pt x="7" y="46"/>
                  </a:lnTo>
                  <a:lnTo>
                    <a:pt x="9" y="46"/>
                  </a:lnTo>
                  <a:lnTo>
                    <a:pt x="11" y="46"/>
                  </a:lnTo>
                  <a:lnTo>
                    <a:pt x="13" y="46"/>
                  </a:lnTo>
                  <a:lnTo>
                    <a:pt x="13" y="44"/>
                  </a:lnTo>
                  <a:lnTo>
                    <a:pt x="15" y="44"/>
                  </a:lnTo>
                  <a:lnTo>
                    <a:pt x="13" y="44"/>
                  </a:lnTo>
                  <a:lnTo>
                    <a:pt x="15" y="44"/>
                  </a:lnTo>
                  <a:lnTo>
                    <a:pt x="15" y="42"/>
                  </a:lnTo>
                  <a:lnTo>
                    <a:pt x="17" y="42"/>
                  </a:lnTo>
                  <a:lnTo>
                    <a:pt x="17" y="40"/>
                  </a:lnTo>
                  <a:lnTo>
                    <a:pt x="17" y="38"/>
                  </a:lnTo>
                  <a:lnTo>
                    <a:pt x="17" y="37"/>
                  </a:lnTo>
                  <a:lnTo>
                    <a:pt x="15" y="37"/>
                  </a:lnTo>
                  <a:lnTo>
                    <a:pt x="17" y="37"/>
                  </a:lnTo>
                  <a:lnTo>
                    <a:pt x="17" y="35"/>
                  </a:lnTo>
                  <a:lnTo>
                    <a:pt x="17" y="37"/>
                  </a:lnTo>
                  <a:lnTo>
                    <a:pt x="19" y="37"/>
                  </a:lnTo>
                  <a:lnTo>
                    <a:pt x="19" y="35"/>
                  </a:lnTo>
                  <a:lnTo>
                    <a:pt x="19" y="33"/>
                  </a:lnTo>
                  <a:lnTo>
                    <a:pt x="19" y="31"/>
                  </a:lnTo>
                  <a:lnTo>
                    <a:pt x="17" y="31"/>
                  </a:lnTo>
                  <a:lnTo>
                    <a:pt x="17" y="29"/>
                  </a:lnTo>
                  <a:lnTo>
                    <a:pt x="19" y="29"/>
                  </a:lnTo>
                  <a:lnTo>
                    <a:pt x="19" y="27"/>
                  </a:lnTo>
                  <a:lnTo>
                    <a:pt x="21" y="27"/>
                  </a:lnTo>
                  <a:lnTo>
                    <a:pt x="21" y="25"/>
                  </a:lnTo>
                  <a:lnTo>
                    <a:pt x="23" y="25"/>
                  </a:lnTo>
                  <a:lnTo>
                    <a:pt x="23" y="23"/>
                  </a:lnTo>
                  <a:lnTo>
                    <a:pt x="23" y="25"/>
                  </a:lnTo>
                  <a:lnTo>
                    <a:pt x="25" y="25"/>
                  </a:lnTo>
                  <a:lnTo>
                    <a:pt x="23" y="25"/>
                  </a:lnTo>
                  <a:lnTo>
                    <a:pt x="25" y="25"/>
                  </a:lnTo>
                  <a:lnTo>
                    <a:pt x="25" y="27"/>
                  </a:lnTo>
                  <a:lnTo>
                    <a:pt x="25" y="25"/>
                  </a:lnTo>
                  <a:lnTo>
                    <a:pt x="26" y="27"/>
                  </a:lnTo>
                  <a:lnTo>
                    <a:pt x="28" y="27"/>
                  </a:lnTo>
                  <a:lnTo>
                    <a:pt x="28" y="29"/>
                  </a:lnTo>
                  <a:lnTo>
                    <a:pt x="30" y="29"/>
                  </a:lnTo>
                  <a:lnTo>
                    <a:pt x="30" y="27"/>
                  </a:lnTo>
                  <a:lnTo>
                    <a:pt x="32" y="27"/>
                  </a:lnTo>
                  <a:lnTo>
                    <a:pt x="34" y="27"/>
                  </a:lnTo>
                  <a:lnTo>
                    <a:pt x="34" y="25"/>
                  </a:lnTo>
                  <a:lnTo>
                    <a:pt x="32" y="23"/>
                  </a:lnTo>
                  <a:lnTo>
                    <a:pt x="34" y="23"/>
                  </a:lnTo>
                  <a:lnTo>
                    <a:pt x="34" y="21"/>
                  </a:lnTo>
                  <a:lnTo>
                    <a:pt x="36" y="21"/>
                  </a:lnTo>
                  <a:lnTo>
                    <a:pt x="36" y="23"/>
                  </a:lnTo>
                  <a:lnTo>
                    <a:pt x="36" y="21"/>
                  </a:lnTo>
                  <a:lnTo>
                    <a:pt x="38" y="21"/>
                  </a:lnTo>
                  <a:lnTo>
                    <a:pt x="38" y="19"/>
                  </a:lnTo>
                  <a:lnTo>
                    <a:pt x="38" y="17"/>
                  </a:lnTo>
                  <a:lnTo>
                    <a:pt x="40" y="17"/>
                  </a:lnTo>
                  <a:lnTo>
                    <a:pt x="40" y="15"/>
                  </a:lnTo>
                  <a:lnTo>
                    <a:pt x="42" y="13"/>
                  </a:lnTo>
                  <a:lnTo>
                    <a:pt x="44" y="13"/>
                  </a:lnTo>
                  <a:lnTo>
                    <a:pt x="46" y="12"/>
                  </a:lnTo>
                  <a:lnTo>
                    <a:pt x="48" y="13"/>
                  </a:lnTo>
                  <a:lnTo>
                    <a:pt x="49" y="13"/>
                  </a:lnTo>
                  <a:lnTo>
                    <a:pt x="51" y="13"/>
                  </a:lnTo>
                  <a:lnTo>
                    <a:pt x="51" y="10"/>
                  </a:lnTo>
                  <a:lnTo>
                    <a:pt x="53" y="10"/>
                  </a:lnTo>
                  <a:lnTo>
                    <a:pt x="55" y="10"/>
                  </a:lnTo>
                  <a:lnTo>
                    <a:pt x="57" y="10"/>
                  </a:lnTo>
                  <a:lnTo>
                    <a:pt x="61" y="6"/>
                  </a:lnTo>
                  <a:lnTo>
                    <a:pt x="65" y="4"/>
                  </a:lnTo>
                  <a:lnTo>
                    <a:pt x="67" y="4"/>
                  </a:lnTo>
                  <a:lnTo>
                    <a:pt x="71" y="0"/>
                  </a:lnTo>
                  <a:lnTo>
                    <a:pt x="74" y="0"/>
                  </a:lnTo>
                  <a:lnTo>
                    <a:pt x="74" y="2"/>
                  </a:lnTo>
                  <a:lnTo>
                    <a:pt x="78" y="0"/>
                  </a:lnTo>
                  <a:lnTo>
                    <a:pt x="80" y="2"/>
                  </a:lnTo>
                  <a:lnTo>
                    <a:pt x="82" y="2"/>
                  </a:lnTo>
                  <a:lnTo>
                    <a:pt x="84" y="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303">
              <a:extLst>
                <a:ext uri="{FF2B5EF4-FFF2-40B4-BE49-F238E27FC236}">
                  <a16:creationId xmlns:a16="http://schemas.microsoft.com/office/drawing/2014/main" id="{A37665AA-71BC-4124-97E4-BE779AE507D9}"/>
                </a:ext>
              </a:extLst>
            </p:cNvPr>
            <p:cNvSpPr>
              <a:spLocks/>
            </p:cNvSpPr>
            <p:nvPr/>
          </p:nvSpPr>
          <p:spPr bwMode="gray">
            <a:xfrm>
              <a:off x="3151849" y="4166641"/>
              <a:ext cx="79715" cy="115279"/>
            </a:xfrm>
            <a:custGeom>
              <a:avLst/>
              <a:gdLst>
                <a:gd name="T0" fmla="*/ 62 w 65"/>
                <a:gd name="T1" fmla="*/ 76 h 94"/>
                <a:gd name="T2" fmla="*/ 56 w 65"/>
                <a:gd name="T3" fmla="*/ 78 h 94"/>
                <a:gd name="T4" fmla="*/ 50 w 65"/>
                <a:gd name="T5" fmla="*/ 80 h 94"/>
                <a:gd name="T6" fmla="*/ 44 w 65"/>
                <a:gd name="T7" fmla="*/ 82 h 94"/>
                <a:gd name="T8" fmla="*/ 38 w 65"/>
                <a:gd name="T9" fmla="*/ 84 h 94"/>
                <a:gd name="T10" fmla="*/ 37 w 65"/>
                <a:gd name="T11" fmla="*/ 86 h 94"/>
                <a:gd name="T12" fmla="*/ 31 w 65"/>
                <a:gd name="T13" fmla="*/ 88 h 94"/>
                <a:gd name="T14" fmla="*/ 25 w 65"/>
                <a:gd name="T15" fmla="*/ 90 h 94"/>
                <a:gd name="T16" fmla="*/ 21 w 65"/>
                <a:gd name="T17" fmla="*/ 90 h 94"/>
                <a:gd name="T18" fmla="*/ 17 w 65"/>
                <a:gd name="T19" fmla="*/ 94 h 94"/>
                <a:gd name="T20" fmla="*/ 12 w 65"/>
                <a:gd name="T21" fmla="*/ 92 h 94"/>
                <a:gd name="T22" fmla="*/ 6 w 65"/>
                <a:gd name="T23" fmla="*/ 90 h 94"/>
                <a:gd name="T24" fmla="*/ 4 w 65"/>
                <a:gd name="T25" fmla="*/ 88 h 94"/>
                <a:gd name="T26" fmla="*/ 8 w 65"/>
                <a:gd name="T27" fmla="*/ 88 h 94"/>
                <a:gd name="T28" fmla="*/ 8 w 65"/>
                <a:gd name="T29" fmla="*/ 88 h 94"/>
                <a:gd name="T30" fmla="*/ 6 w 65"/>
                <a:gd name="T31" fmla="*/ 86 h 94"/>
                <a:gd name="T32" fmla="*/ 8 w 65"/>
                <a:gd name="T33" fmla="*/ 84 h 94"/>
                <a:gd name="T34" fmla="*/ 4 w 65"/>
                <a:gd name="T35" fmla="*/ 80 h 94"/>
                <a:gd name="T36" fmla="*/ 2 w 65"/>
                <a:gd name="T37" fmla="*/ 75 h 94"/>
                <a:gd name="T38" fmla="*/ 0 w 65"/>
                <a:gd name="T39" fmla="*/ 69 h 94"/>
                <a:gd name="T40" fmla="*/ 0 w 65"/>
                <a:gd name="T41" fmla="*/ 61 h 94"/>
                <a:gd name="T42" fmla="*/ 4 w 65"/>
                <a:gd name="T43" fmla="*/ 55 h 94"/>
                <a:gd name="T44" fmla="*/ 6 w 65"/>
                <a:gd name="T45" fmla="*/ 48 h 94"/>
                <a:gd name="T46" fmla="*/ 10 w 65"/>
                <a:gd name="T47" fmla="*/ 44 h 94"/>
                <a:gd name="T48" fmla="*/ 10 w 65"/>
                <a:gd name="T49" fmla="*/ 40 h 94"/>
                <a:gd name="T50" fmla="*/ 8 w 65"/>
                <a:gd name="T51" fmla="*/ 34 h 94"/>
                <a:gd name="T52" fmla="*/ 8 w 65"/>
                <a:gd name="T53" fmla="*/ 30 h 94"/>
                <a:gd name="T54" fmla="*/ 8 w 65"/>
                <a:gd name="T55" fmla="*/ 26 h 94"/>
                <a:gd name="T56" fmla="*/ 6 w 65"/>
                <a:gd name="T57" fmla="*/ 21 h 94"/>
                <a:gd name="T58" fmla="*/ 6 w 65"/>
                <a:gd name="T59" fmla="*/ 17 h 94"/>
                <a:gd name="T60" fmla="*/ 6 w 65"/>
                <a:gd name="T61" fmla="*/ 9 h 94"/>
                <a:gd name="T62" fmla="*/ 4 w 65"/>
                <a:gd name="T63" fmla="*/ 7 h 94"/>
                <a:gd name="T64" fmla="*/ 6 w 65"/>
                <a:gd name="T65" fmla="*/ 2 h 94"/>
                <a:gd name="T66" fmla="*/ 14 w 65"/>
                <a:gd name="T67" fmla="*/ 2 h 94"/>
                <a:gd name="T68" fmla="*/ 23 w 65"/>
                <a:gd name="T69" fmla="*/ 2 h 94"/>
                <a:gd name="T70" fmla="*/ 33 w 65"/>
                <a:gd name="T71" fmla="*/ 2 h 94"/>
                <a:gd name="T72" fmla="*/ 37 w 65"/>
                <a:gd name="T73" fmla="*/ 2 h 94"/>
                <a:gd name="T74" fmla="*/ 40 w 65"/>
                <a:gd name="T75" fmla="*/ 2 h 94"/>
                <a:gd name="T76" fmla="*/ 46 w 65"/>
                <a:gd name="T77" fmla="*/ 0 h 94"/>
                <a:gd name="T78" fmla="*/ 46 w 65"/>
                <a:gd name="T79" fmla="*/ 3 h 94"/>
                <a:gd name="T80" fmla="*/ 48 w 65"/>
                <a:gd name="T81" fmla="*/ 9 h 94"/>
                <a:gd name="T82" fmla="*/ 50 w 65"/>
                <a:gd name="T83" fmla="*/ 11 h 94"/>
                <a:gd name="T84" fmla="*/ 52 w 65"/>
                <a:gd name="T85" fmla="*/ 13 h 94"/>
                <a:gd name="T86" fmla="*/ 54 w 65"/>
                <a:gd name="T87" fmla="*/ 15 h 94"/>
                <a:gd name="T88" fmla="*/ 52 w 65"/>
                <a:gd name="T89" fmla="*/ 17 h 94"/>
                <a:gd name="T90" fmla="*/ 50 w 65"/>
                <a:gd name="T91" fmla="*/ 23 h 94"/>
                <a:gd name="T92" fmla="*/ 52 w 65"/>
                <a:gd name="T93" fmla="*/ 25 h 94"/>
                <a:gd name="T94" fmla="*/ 54 w 65"/>
                <a:gd name="T95" fmla="*/ 26 h 94"/>
                <a:gd name="T96" fmla="*/ 54 w 65"/>
                <a:gd name="T97" fmla="*/ 34 h 94"/>
                <a:gd name="T98" fmla="*/ 54 w 65"/>
                <a:gd name="T99" fmla="*/ 38 h 94"/>
                <a:gd name="T100" fmla="*/ 58 w 65"/>
                <a:gd name="T101" fmla="*/ 42 h 94"/>
                <a:gd name="T102" fmla="*/ 56 w 65"/>
                <a:gd name="T103" fmla="*/ 48 h 94"/>
                <a:gd name="T104" fmla="*/ 54 w 65"/>
                <a:gd name="T105" fmla="*/ 53 h 94"/>
                <a:gd name="T106" fmla="*/ 56 w 65"/>
                <a:gd name="T107" fmla="*/ 59 h 94"/>
                <a:gd name="T108" fmla="*/ 56 w 65"/>
                <a:gd name="T109" fmla="*/ 63 h 94"/>
                <a:gd name="T110" fmla="*/ 56 w 65"/>
                <a:gd name="T111" fmla="*/ 63 h 94"/>
                <a:gd name="T112" fmla="*/ 58 w 65"/>
                <a:gd name="T113" fmla="*/ 69 h 94"/>
                <a:gd name="T114" fmla="*/ 62 w 65"/>
                <a:gd name="T115" fmla="*/ 7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 h="94">
                  <a:moveTo>
                    <a:pt x="65" y="75"/>
                  </a:moveTo>
                  <a:lnTo>
                    <a:pt x="63" y="75"/>
                  </a:lnTo>
                  <a:lnTo>
                    <a:pt x="62" y="75"/>
                  </a:lnTo>
                  <a:lnTo>
                    <a:pt x="62" y="76"/>
                  </a:lnTo>
                  <a:lnTo>
                    <a:pt x="62" y="78"/>
                  </a:lnTo>
                  <a:lnTo>
                    <a:pt x="60" y="78"/>
                  </a:lnTo>
                  <a:lnTo>
                    <a:pt x="58" y="78"/>
                  </a:lnTo>
                  <a:lnTo>
                    <a:pt x="56" y="78"/>
                  </a:lnTo>
                  <a:lnTo>
                    <a:pt x="54" y="78"/>
                  </a:lnTo>
                  <a:lnTo>
                    <a:pt x="52" y="78"/>
                  </a:lnTo>
                  <a:lnTo>
                    <a:pt x="50" y="78"/>
                  </a:lnTo>
                  <a:lnTo>
                    <a:pt x="50" y="80"/>
                  </a:lnTo>
                  <a:lnTo>
                    <a:pt x="48" y="80"/>
                  </a:lnTo>
                  <a:lnTo>
                    <a:pt x="46" y="80"/>
                  </a:lnTo>
                  <a:lnTo>
                    <a:pt x="46" y="82"/>
                  </a:lnTo>
                  <a:lnTo>
                    <a:pt x="44" y="82"/>
                  </a:lnTo>
                  <a:lnTo>
                    <a:pt x="42" y="82"/>
                  </a:lnTo>
                  <a:lnTo>
                    <a:pt x="40" y="82"/>
                  </a:lnTo>
                  <a:lnTo>
                    <a:pt x="40" y="84"/>
                  </a:lnTo>
                  <a:lnTo>
                    <a:pt x="38" y="84"/>
                  </a:lnTo>
                  <a:lnTo>
                    <a:pt x="38" y="86"/>
                  </a:lnTo>
                  <a:lnTo>
                    <a:pt x="37" y="86"/>
                  </a:lnTo>
                  <a:lnTo>
                    <a:pt x="38" y="86"/>
                  </a:lnTo>
                  <a:lnTo>
                    <a:pt x="37" y="86"/>
                  </a:lnTo>
                  <a:lnTo>
                    <a:pt x="35" y="86"/>
                  </a:lnTo>
                  <a:lnTo>
                    <a:pt x="35" y="88"/>
                  </a:lnTo>
                  <a:lnTo>
                    <a:pt x="33" y="88"/>
                  </a:lnTo>
                  <a:lnTo>
                    <a:pt x="31" y="88"/>
                  </a:lnTo>
                  <a:lnTo>
                    <a:pt x="29" y="88"/>
                  </a:lnTo>
                  <a:lnTo>
                    <a:pt x="27" y="88"/>
                  </a:lnTo>
                  <a:lnTo>
                    <a:pt x="27" y="90"/>
                  </a:lnTo>
                  <a:lnTo>
                    <a:pt x="25" y="90"/>
                  </a:lnTo>
                  <a:lnTo>
                    <a:pt x="27" y="90"/>
                  </a:lnTo>
                  <a:lnTo>
                    <a:pt x="25" y="90"/>
                  </a:lnTo>
                  <a:lnTo>
                    <a:pt x="23" y="90"/>
                  </a:lnTo>
                  <a:lnTo>
                    <a:pt x="21" y="90"/>
                  </a:lnTo>
                  <a:lnTo>
                    <a:pt x="21" y="92"/>
                  </a:lnTo>
                  <a:lnTo>
                    <a:pt x="19" y="92"/>
                  </a:lnTo>
                  <a:lnTo>
                    <a:pt x="19" y="94"/>
                  </a:lnTo>
                  <a:lnTo>
                    <a:pt x="17" y="94"/>
                  </a:lnTo>
                  <a:lnTo>
                    <a:pt x="15" y="94"/>
                  </a:lnTo>
                  <a:lnTo>
                    <a:pt x="15" y="92"/>
                  </a:lnTo>
                  <a:lnTo>
                    <a:pt x="14" y="92"/>
                  </a:lnTo>
                  <a:lnTo>
                    <a:pt x="12" y="92"/>
                  </a:lnTo>
                  <a:lnTo>
                    <a:pt x="12" y="90"/>
                  </a:lnTo>
                  <a:lnTo>
                    <a:pt x="10" y="90"/>
                  </a:lnTo>
                  <a:lnTo>
                    <a:pt x="8" y="90"/>
                  </a:lnTo>
                  <a:lnTo>
                    <a:pt x="6" y="90"/>
                  </a:lnTo>
                  <a:lnTo>
                    <a:pt x="4" y="90"/>
                  </a:lnTo>
                  <a:lnTo>
                    <a:pt x="2" y="90"/>
                  </a:lnTo>
                  <a:lnTo>
                    <a:pt x="2" y="88"/>
                  </a:lnTo>
                  <a:lnTo>
                    <a:pt x="4" y="88"/>
                  </a:lnTo>
                  <a:lnTo>
                    <a:pt x="4" y="90"/>
                  </a:lnTo>
                  <a:lnTo>
                    <a:pt x="4" y="88"/>
                  </a:lnTo>
                  <a:lnTo>
                    <a:pt x="6" y="88"/>
                  </a:lnTo>
                  <a:lnTo>
                    <a:pt x="8" y="88"/>
                  </a:lnTo>
                  <a:lnTo>
                    <a:pt x="6" y="88"/>
                  </a:lnTo>
                  <a:lnTo>
                    <a:pt x="8" y="88"/>
                  </a:lnTo>
                  <a:lnTo>
                    <a:pt x="6" y="88"/>
                  </a:lnTo>
                  <a:lnTo>
                    <a:pt x="8" y="88"/>
                  </a:lnTo>
                  <a:lnTo>
                    <a:pt x="6" y="88"/>
                  </a:lnTo>
                  <a:lnTo>
                    <a:pt x="6" y="86"/>
                  </a:lnTo>
                  <a:lnTo>
                    <a:pt x="6" y="88"/>
                  </a:lnTo>
                  <a:lnTo>
                    <a:pt x="6" y="86"/>
                  </a:lnTo>
                  <a:lnTo>
                    <a:pt x="6" y="84"/>
                  </a:lnTo>
                  <a:lnTo>
                    <a:pt x="6" y="86"/>
                  </a:lnTo>
                  <a:lnTo>
                    <a:pt x="8" y="86"/>
                  </a:lnTo>
                  <a:lnTo>
                    <a:pt x="8" y="84"/>
                  </a:lnTo>
                  <a:lnTo>
                    <a:pt x="6" y="84"/>
                  </a:lnTo>
                  <a:lnTo>
                    <a:pt x="6" y="82"/>
                  </a:lnTo>
                  <a:lnTo>
                    <a:pt x="6" y="80"/>
                  </a:lnTo>
                  <a:lnTo>
                    <a:pt x="4" y="80"/>
                  </a:lnTo>
                  <a:lnTo>
                    <a:pt x="2" y="80"/>
                  </a:lnTo>
                  <a:lnTo>
                    <a:pt x="2" y="78"/>
                  </a:lnTo>
                  <a:lnTo>
                    <a:pt x="2" y="76"/>
                  </a:lnTo>
                  <a:lnTo>
                    <a:pt x="2" y="75"/>
                  </a:lnTo>
                  <a:lnTo>
                    <a:pt x="2" y="73"/>
                  </a:lnTo>
                  <a:lnTo>
                    <a:pt x="0" y="73"/>
                  </a:lnTo>
                  <a:lnTo>
                    <a:pt x="0" y="71"/>
                  </a:lnTo>
                  <a:lnTo>
                    <a:pt x="0" y="69"/>
                  </a:lnTo>
                  <a:lnTo>
                    <a:pt x="0" y="67"/>
                  </a:lnTo>
                  <a:lnTo>
                    <a:pt x="0" y="65"/>
                  </a:lnTo>
                  <a:lnTo>
                    <a:pt x="0" y="63"/>
                  </a:lnTo>
                  <a:lnTo>
                    <a:pt x="0" y="61"/>
                  </a:lnTo>
                  <a:lnTo>
                    <a:pt x="2" y="61"/>
                  </a:lnTo>
                  <a:lnTo>
                    <a:pt x="2" y="59"/>
                  </a:lnTo>
                  <a:lnTo>
                    <a:pt x="4" y="57"/>
                  </a:lnTo>
                  <a:lnTo>
                    <a:pt x="4" y="55"/>
                  </a:lnTo>
                  <a:lnTo>
                    <a:pt x="4" y="53"/>
                  </a:lnTo>
                  <a:lnTo>
                    <a:pt x="4" y="51"/>
                  </a:lnTo>
                  <a:lnTo>
                    <a:pt x="6" y="50"/>
                  </a:lnTo>
                  <a:lnTo>
                    <a:pt x="6" y="48"/>
                  </a:lnTo>
                  <a:lnTo>
                    <a:pt x="8" y="48"/>
                  </a:lnTo>
                  <a:lnTo>
                    <a:pt x="8" y="46"/>
                  </a:lnTo>
                  <a:lnTo>
                    <a:pt x="10" y="46"/>
                  </a:lnTo>
                  <a:lnTo>
                    <a:pt x="10" y="44"/>
                  </a:lnTo>
                  <a:lnTo>
                    <a:pt x="8" y="44"/>
                  </a:lnTo>
                  <a:lnTo>
                    <a:pt x="10" y="44"/>
                  </a:lnTo>
                  <a:lnTo>
                    <a:pt x="10" y="42"/>
                  </a:lnTo>
                  <a:lnTo>
                    <a:pt x="10" y="40"/>
                  </a:lnTo>
                  <a:lnTo>
                    <a:pt x="10" y="38"/>
                  </a:lnTo>
                  <a:lnTo>
                    <a:pt x="10" y="36"/>
                  </a:lnTo>
                  <a:lnTo>
                    <a:pt x="10" y="34"/>
                  </a:lnTo>
                  <a:lnTo>
                    <a:pt x="8" y="34"/>
                  </a:lnTo>
                  <a:lnTo>
                    <a:pt x="10" y="34"/>
                  </a:lnTo>
                  <a:lnTo>
                    <a:pt x="8" y="34"/>
                  </a:lnTo>
                  <a:lnTo>
                    <a:pt x="8" y="32"/>
                  </a:lnTo>
                  <a:lnTo>
                    <a:pt x="8" y="30"/>
                  </a:lnTo>
                  <a:lnTo>
                    <a:pt x="6" y="30"/>
                  </a:lnTo>
                  <a:lnTo>
                    <a:pt x="6" y="28"/>
                  </a:lnTo>
                  <a:lnTo>
                    <a:pt x="8" y="28"/>
                  </a:lnTo>
                  <a:lnTo>
                    <a:pt x="8" y="26"/>
                  </a:lnTo>
                  <a:lnTo>
                    <a:pt x="8" y="25"/>
                  </a:lnTo>
                  <a:lnTo>
                    <a:pt x="8" y="23"/>
                  </a:lnTo>
                  <a:lnTo>
                    <a:pt x="6" y="23"/>
                  </a:lnTo>
                  <a:lnTo>
                    <a:pt x="6" y="21"/>
                  </a:lnTo>
                  <a:lnTo>
                    <a:pt x="6" y="19"/>
                  </a:lnTo>
                  <a:lnTo>
                    <a:pt x="8" y="19"/>
                  </a:lnTo>
                  <a:lnTo>
                    <a:pt x="6" y="19"/>
                  </a:lnTo>
                  <a:lnTo>
                    <a:pt x="6" y="17"/>
                  </a:lnTo>
                  <a:lnTo>
                    <a:pt x="6" y="15"/>
                  </a:lnTo>
                  <a:lnTo>
                    <a:pt x="6" y="13"/>
                  </a:lnTo>
                  <a:lnTo>
                    <a:pt x="6" y="11"/>
                  </a:lnTo>
                  <a:lnTo>
                    <a:pt x="6" y="9"/>
                  </a:lnTo>
                  <a:lnTo>
                    <a:pt x="4" y="9"/>
                  </a:lnTo>
                  <a:lnTo>
                    <a:pt x="6" y="9"/>
                  </a:lnTo>
                  <a:lnTo>
                    <a:pt x="4" y="9"/>
                  </a:lnTo>
                  <a:lnTo>
                    <a:pt x="4" y="7"/>
                  </a:lnTo>
                  <a:lnTo>
                    <a:pt x="4" y="5"/>
                  </a:lnTo>
                  <a:lnTo>
                    <a:pt x="4" y="3"/>
                  </a:lnTo>
                  <a:lnTo>
                    <a:pt x="6" y="3"/>
                  </a:lnTo>
                  <a:lnTo>
                    <a:pt x="6" y="2"/>
                  </a:lnTo>
                  <a:lnTo>
                    <a:pt x="8" y="2"/>
                  </a:lnTo>
                  <a:lnTo>
                    <a:pt x="10" y="2"/>
                  </a:lnTo>
                  <a:lnTo>
                    <a:pt x="12" y="2"/>
                  </a:lnTo>
                  <a:lnTo>
                    <a:pt x="14" y="2"/>
                  </a:lnTo>
                  <a:lnTo>
                    <a:pt x="15" y="2"/>
                  </a:lnTo>
                  <a:lnTo>
                    <a:pt x="17" y="2"/>
                  </a:lnTo>
                  <a:lnTo>
                    <a:pt x="21" y="2"/>
                  </a:lnTo>
                  <a:lnTo>
                    <a:pt x="23" y="2"/>
                  </a:lnTo>
                  <a:lnTo>
                    <a:pt x="27" y="2"/>
                  </a:lnTo>
                  <a:lnTo>
                    <a:pt x="29" y="2"/>
                  </a:lnTo>
                  <a:lnTo>
                    <a:pt x="31" y="2"/>
                  </a:lnTo>
                  <a:lnTo>
                    <a:pt x="33" y="2"/>
                  </a:lnTo>
                  <a:lnTo>
                    <a:pt x="35" y="2"/>
                  </a:lnTo>
                  <a:lnTo>
                    <a:pt x="37" y="2"/>
                  </a:lnTo>
                  <a:lnTo>
                    <a:pt x="38" y="2"/>
                  </a:lnTo>
                  <a:lnTo>
                    <a:pt x="37" y="2"/>
                  </a:lnTo>
                  <a:lnTo>
                    <a:pt x="38" y="2"/>
                  </a:lnTo>
                  <a:lnTo>
                    <a:pt x="38" y="3"/>
                  </a:lnTo>
                  <a:lnTo>
                    <a:pt x="38" y="2"/>
                  </a:lnTo>
                  <a:lnTo>
                    <a:pt x="40" y="2"/>
                  </a:lnTo>
                  <a:lnTo>
                    <a:pt x="40" y="0"/>
                  </a:lnTo>
                  <a:lnTo>
                    <a:pt x="42" y="0"/>
                  </a:lnTo>
                  <a:lnTo>
                    <a:pt x="44" y="0"/>
                  </a:lnTo>
                  <a:lnTo>
                    <a:pt x="46" y="0"/>
                  </a:lnTo>
                  <a:lnTo>
                    <a:pt x="48" y="0"/>
                  </a:lnTo>
                  <a:lnTo>
                    <a:pt x="48" y="2"/>
                  </a:lnTo>
                  <a:lnTo>
                    <a:pt x="46" y="2"/>
                  </a:lnTo>
                  <a:lnTo>
                    <a:pt x="46" y="3"/>
                  </a:lnTo>
                  <a:lnTo>
                    <a:pt x="46" y="5"/>
                  </a:lnTo>
                  <a:lnTo>
                    <a:pt x="46" y="7"/>
                  </a:lnTo>
                  <a:lnTo>
                    <a:pt x="48" y="7"/>
                  </a:lnTo>
                  <a:lnTo>
                    <a:pt x="48" y="9"/>
                  </a:lnTo>
                  <a:lnTo>
                    <a:pt x="50" y="9"/>
                  </a:lnTo>
                  <a:lnTo>
                    <a:pt x="50" y="11"/>
                  </a:lnTo>
                  <a:lnTo>
                    <a:pt x="50" y="9"/>
                  </a:lnTo>
                  <a:lnTo>
                    <a:pt x="50" y="11"/>
                  </a:lnTo>
                  <a:lnTo>
                    <a:pt x="50" y="9"/>
                  </a:lnTo>
                  <a:lnTo>
                    <a:pt x="52" y="9"/>
                  </a:lnTo>
                  <a:lnTo>
                    <a:pt x="52" y="11"/>
                  </a:lnTo>
                  <a:lnTo>
                    <a:pt x="52" y="13"/>
                  </a:lnTo>
                  <a:lnTo>
                    <a:pt x="52" y="11"/>
                  </a:lnTo>
                  <a:lnTo>
                    <a:pt x="52" y="13"/>
                  </a:lnTo>
                  <a:lnTo>
                    <a:pt x="52" y="15"/>
                  </a:lnTo>
                  <a:lnTo>
                    <a:pt x="54" y="15"/>
                  </a:lnTo>
                  <a:lnTo>
                    <a:pt x="54" y="17"/>
                  </a:lnTo>
                  <a:lnTo>
                    <a:pt x="52" y="17"/>
                  </a:lnTo>
                  <a:lnTo>
                    <a:pt x="52" y="15"/>
                  </a:lnTo>
                  <a:lnTo>
                    <a:pt x="52" y="17"/>
                  </a:lnTo>
                  <a:lnTo>
                    <a:pt x="52" y="19"/>
                  </a:lnTo>
                  <a:lnTo>
                    <a:pt x="52" y="21"/>
                  </a:lnTo>
                  <a:lnTo>
                    <a:pt x="52" y="23"/>
                  </a:lnTo>
                  <a:lnTo>
                    <a:pt x="50" y="23"/>
                  </a:lnTo>
                  <a:lnTo>
                    <a:pt x="52" y="23"/>
                  </a:lnTo>
                  <a:lnTo>
                    <a:pt x="52" y="25"/>
                  </a:lnTo>
                  <a:lnTo>
                    <a:pt x="50" y="25"/>
                  </a:lnTo>
                  <a:lnTo>
                    <a:pt x="52" y="25"/>
                  </a:lnTo>
                  <a:lnTo>
                    <a:pt x="54" y="25"/>
                  </a:lnTo>
                  <a:lnTo>
                    <a:pt x="56" y="25"/>
                  </a:lnTo>
                  <a:lnTo>
                    <a:pt x="56" y="26"/>
                  </a:lnTo>
                  <a:lnTo>
                    <a:pt x="54" y="26"/>
                  </a:lnTo>
                  <a:lnTo>
                    <a:pt x="54" y="28"/>
                  </a:lnTo>
                  <a:lnTo>
                    <a:pt x="54" y="30"/>
                  </a:lnTo>
                  <a:lnTo>
                    <a:pt x="54" y="32"/>
                  </a:lnTo>
                  <a:lnTo>
                    <a:pt x="54" y="34"/>
                  </a:lnTo>
                  <a:lnTo>
                    <a:pt x="52" y="34"/>
                  </a:lnTo>
                  <a:lnTo>
                    <a:pt x="52" y="36"/>
                  </a:lnTo>
                  <a:lnTo>
                    <a:pt x="54" y="36"/>
                  </a:lnTo>
                  <a:lnTo>
                    <a:pt x="54" y="38"/>
                  </a:lnTo>
                  <a:lnTo>
                    <a:pt x="56" y="38"/>
                  </a:lnTo>
                  <a:lnTo>
                    <a:pt x="56" y="40"/>
                  </a:lnTo>
                  <a:lnTo>
                    <a:pt x="58" y="40"/>
                  </a:lnTo>
                  <a:lnTo>
                    <a:pt x="58" y="42"/>
                  </a:lnTo>
                  <a:lnTo>
                    <a:pt x="56" y="42"/>
                  </a:lnTo>
                  <a:lnTo>
                    <a:pt x="56" y="44"/>
                  </a:lnTo>
                  <a:lnTo>
                    <a:pt x="56" y="46"/>
                  </a:lnTo>
                  <a:lnTo>
                    <a:pt x="56" y="48"/>
                  </a:lnTo>
                  <a:lnTo>
                    <a:pt x="56" y="50"/>
                  </a:lnTo>
                  <a:lnTo>
                    <a:pt x="56" y="51"/>
                  </a:lnTo>
                  <a:lnTo>
                    <a:pt x="54" y="51"/>
                  </a:lnTo>
                  <a:lnTo>
                    <a:pt x="54" y="53"/>
                  </a:lnTo>
                  <a:lnTo>
                    <a:pt x="54" y="55"/>
                  </a:lnTo>
                  <a:lnTo>
                    <a:pt x="56" y="55"/>
                  </a:lnTo>
                  <a:lnTo>
                    <a:pt x="56" y="57"/>
                  </a:lnTo>
                  <a:lnTo>
                    <a:pt x="56" y="59"/>
                  </a:lnTo>
                  <a:lnTo>
                    <a:pt x="56" y="61"/>
                  </a:lnTo>
                  <a:lnTo>
                    <a:pt x="54" y="61"/>
                  </a:lnTo>
                  <a:lnTo>
                    <a:pt x="56" y="61"/>
                  </a:lnTo>
                  <a:lnTo>
                    <a:pt x="56" y="63"/>
                  </a:lnTo>
                  <a:lnTo>
                    <a:pt x="54" y="63"/>
                  </a:lnTo>
                  <a:lnTo>
                    <a:pt x="56" y="63"/>
                  </a:lnTo>
                  <a:lnTo>
                    <a:pt x="54" y="63"/>
                  </a:lnTo>
                  <a:lnTo>
                    <a:pt x="56" y="63"/>
                  </a:lnTo>
                  <a:lnTo>
                    <a:pt x="56" y="65"/>
                  </a:lnTo>
                  <a:lnTo>
                    <a:pt x="56" y="67"/>
                  </a:lnTo>
                  <a:lnTo>
                    <a:pt x="58" y="67"/>
                  </a:lnTo>
                  <a:lnTo>
                    <a:pt x="58" y="69"/>
                  </a:lnTo>
                  <a:lnTo>
                    <a:pt x="60" y="69"/>
                  </a:lnTo>
                  <a:lnTo>
                    <a:pt x="60" y="71"/>
                  </a:lnTo>
                  <a:lnTo>
                    <a:pt x="62" y="71"/>
                  </a:lnTo>
                  <a:lnTo>
                    <a:pt x="62" y="73"/>
                  </a:lnTo>
                  <a:lnTo>
                    <a:pt x="63" y="73"/>
                  </a:lnTo>
                  <a:lnTo>
                    <a:pt x="65" y="73"/>
                  </a:lnTo>
                  <a:lnTo>
                    <a:pt x="65" y="7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304">
              <a:extLst>
                <a:ext uri="{FF2B5EF4-FFF2-40B4-BE49-F238E27FC236}">
                  <a16:creationId xmlns:a16="http://schemas.microsoft.com/office/drawing/2014/main" id="{F2FEA9E8-DEAE-4257-8EB2-8AEB5067CD48}"/>
                </a:ext>
              </a:extLst>
            </p:cNvPr>
            <p:cNvSpPr>
              <a:spLocks/>
            </p:cNvSpPr>
            <p:nvPr/>
          </p:nvSpPr>
          <p:spPr bwMode="gray">
            <a:xfrm>
              <a:off x="3054965" y="4172773"/>
              <a:ext cx="109148" cy="115279"/>
            </a:xfrm>
            <a:custGeom>
              <a:avLst/>
              <a:gdLst>
                <a:gd name="T0" fmla="*/ 48 w 89"/>
                <a:gd name="T1" fmla="*/ 8 h 94"/>
                <a:gd name="T2" fmla="*/ 50 w 89"/>
                <a:gd name="T3" fmla="*/ 8 h 94"/>
                <a:gd name="T4" fmla="*/ 52 w 89"/>
                <a:gd name="T5" fmla="*/ 8 h 94"/>
                <a:gd name="T6" fmla="*/ 54 w 89"/>
                <a:gd name="T7" fmla="*/ 12 h 94"/>
                <a:gd name="T8" fmla="*/ 60 w 89"/>
                <a:gd name="T9" fmla="*/ 16 h 94"/>
                <a:gd name="T10" fmla="*/ 64 w 89"/>
                <a:gd name="T11" fmla="*/ 14 h 94"/>
                <a:gd name="T12" fmla="*/ 70 w 89"/>
                <a:gd name="T13" fmla="*/ 14 h 94"/>
                <a:gd name="T14" fmla="*/ 73 w 89"/>
                <a:gd name="T15" fmla="*/ 12 h 94"/>
                <a:gd name="T16" fmla="*/ 79 w 89"/>
                <a:gd name="T17" fmla="*/ 12 h 94"/>
                <a:gd name="T18" fmla="*/ 83 w 89"/>
                <a:gd name="T19" fmla="*/ 18 h 94"/>
                <a:gd name="T20" fmla="*/ 85 w 89"/>
                <a:gd name="T21" fmla="*/ 23 h 94"/>
                <a:gd name="T22" fmla="*/ 89 w 89"/>
                <a:gd name="T23" fmla="*/ 29 h 94"/>
                <a:gd name="T24" fmla="*/ 89 w 89"/>
                <a:gd name="T25" fmla="*/ 35 h 94"/>
                <a:gd name="T26" fmla="*/ 89 w 89"/>
                <a:gd name="T27" fmla="*/ 41 h 94"/>
                <a:gd name="T28" fmla="*/ 83 w 89"/>
                <a:gd name="T29" fmla="*/ 46 h 94"/>
                <a:gd name="T30" fmla="*/ 81 w 89"/>
                <a:gd name="T31" fmla="*/ 56 h 94"/>
                <a:gd name="T32" fmla="*/ 79 w 89"/>
                <a:gd name="T33" fmla="*/ 64 h 94"/>
                <a:gd name="T34" fmla="*/ 81 w 89"/>
                <a:gd name="T35" fmla="*/ 71 h 94"/>
                <a:gd name="T36" fmla="*/ 85 w 89"/>
                <a:gd name="T37" fmla="*/ 77 h 94"/>
                <a:gd name="T38" fmla="*/ 85 w 89"/>
                <a:gd name="T39" fmla="*/ 79 h 94"/>
                <a:gd name="T40" fmla="*/ 87 w 89"/>
                <a:gd name="T41" fmla="*/ 83 h 94"/>
                <a:gd name="T42" fmla="*/ 85 w 89"/>
                <a:gd name="T43" fmla="*/ 83 h 94"/>
                <a:gd name="T44" fmla="*/ 79 w 89"/>
                <a:gd name="T45" fmla="*/ 83 h 94"/>
                <a:gd name="T46" fmla="*/ 70 w 89"/>
                <a:gd name="T47" fmla="*/ 83 h 94"/>
                <a:gd name="T48" fmla="*/ 64 w 89"/>
                <a:gd name="T49" fmla="*/ 83 h 94"/>
                <a:gd name="T50" fmla="*/ 54 w 89"/>
                <a:gd name="T51" fmla="*/ 83 h 94"/>
                <a:gd name="T52" fmla="*/ 45 w 89"/>
                <a:gd name="T53" fmla="*/ 83 h 94"/>
                <a:gd name="T54" fmla="*/ 37 w 89"/>
                <a:gd name="T55" fmla="*/ 85 h 94"/>
                <a:gd name="T56" fmla="*/ 31 w 89"/>
                <a:gd name="T57" fmla="*/ 89 h 94"/>
                <a:gd name="T58" fmla="*/ 23 w 89"/>
                <a:gd name="T59" fmla="*/ 91 h 94"/>
                <a:gd name="T60" fmla="*/ 18 w 89"/>
                <a:gd name="T61" fmla="*/ 94 h 94"/>
                <a:gd name="T62" fmla="*/ 16 w 89"/>
                <a:gd name="T63" fmla="*/ 87 h 94"/>
                <a:gd name="T64" fmla="*/ 16 w 89"/>
                <a:gd name="T65" fmla="*/ 81 h 94"/>
                <a:gd name="T66" fmla="*/ 18 w 89"/>
                <a:gd name="T67" fmla="*/ 81 h 94"/>
                <a:gd name="T68" fmla="*/ 16 w 89"/>
                <a:gd name="T69" fmla="*/ 73 h 94"/>
                <a:gd name="T70" fmla="*/ 12 w 89"/>
                <a:gd name="T71" fmla="*/ 68 h 94"/>
                <a:gd name="T72" fmla="*/ 4 w 89"/>
                <a:gd name="T73" fmla="*/ 66 h 94"/>
                <a:gd name="T74" fmla="*/ 0 w 89"/>
                <a:gd name="T75" fmla="*/ 64 h 94"/>
                <a:gd name="T76" fmla="*/ 2 w 89"/>
                <a:gd name="T77" fmla="*/ 60 h 94"/>
                <a:gd name="T78" fmla="*/ 4 w 89"/>
                <a:gd name="T79" fmla="*/ 52 h 94"/>
                <a:gd name="T80" fmla="*/ 4 w 89"/>
                <a:gd name="T81" fmla="*/ 46 h 94"/>
                <a:gd name="T82" fmla="*/ 8 w 89"/>
                <a:gd name="T83" fmla="*/ 43 h 94"/>
                <a:gd name="T84" fmla="*/ 6 w 89"/>
                <a:gd name="T85" fmla="*/ 39 h 94"/>
                <a:gd name="T86" fmla="*/ 10 w 89"/>
                <a:gd name="T87" fmla="*/ 33 h 94"/>
                <a:gd name="T88" fmla="*/ 14 w 89"/>
                <a:gd name="T89" fmla="*/ 35 h 94"/>
                <a:gd name="T90" fmla="*/ 10 w 89"/>
                <a:gd name="T91" fmla="*/ 29 h 94"/>
                <a:gd name="T92" fmla="*/ 12 w 89"/>
                <a:gd name="T93" fmla="*/ 25 h 94"/>
                <a:gd name="T94" fmla="*/ 10 w 89"/>
                <a:gd name="T95" fmla="*/ 20 h 94"/>
                <a:gd name="T96" fmla="*/ 6 w 89"/>
                <a:gd name="T97" fmla="*/ 16 h 94"/>
                <a:gd name="T98" fmla="*/ 8 w 89"/>
                <a:gd name="T99" fmla="*/ 16 h 94"/>
                <a:gd name="T100" fmla="*/ 8 w 89"/>
                <a:gd name="T101" fmla="*/ 14 h 94"/>
                <a:gd name="T102" fmla="*/ 6 w 89"/>
                <a:gd name="T103" fmla="*/ 12 h 94"/>
                <a:gd name="T104" fmla="*/ 10 w 89"/>
                <a:gd name="T105" fmla="*/ 10 h 94"/>
                <a:gd name="T106" fmla="*/ 12 w 89"/>
                <a:gd name="T107" fmla="*/ 6 h 94"/>
                <a:gd name="T108" fmla="*/ 16 w 89"/>
                <a:gd name="T109" fmla="*/ 4 h 94"/>
                <a:gd name="T110" fmla="*/ 20 w 89"/>
                <a:gd name="T111" fmla="*/ 6 h 94"/>
                <a:gd name="T112" fmla="*/ 25 w 89"/>
                <a:gd name="T113" fmla="*/ 6 h 94"/>
                <a:gd name="T114" fmla="*/ 29 w 89"/>
                <a:gd name="T115" fmla="*/ 4 h 94"/>
                <a:gd name="T116" fmla="*/ 33 w 89"/>
                <a:gd name="T117" fmla="*/ 2 h 94"/>
                <a:gd name="T118" fmla="*/ 35 w 89"/>
                <a:gd name="T119" fmla="*/ 2 h 94"/>
                <a:gd name="T120" fmla="*/ 39 w 89"/>
                <a:gd name="T121" fmla="*/ 8 h 94"/>
                <a:gd name="T122" fmla="*/ 45 w 89"/>
                <a:gd name="T123" fmla="*/ 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 h="94">
                  <a:moveTo>
                    <a:pt x="45" y="4"/>
                  </a:moveTo>
                  <a:lnTo>
                    <a:pt x="45" y="6"/>
                  </a:lnTo>
                  <a:lnTo>
                    <a:pt x="46" y="6"/>
                  </a:lnTo>
                  <a:lnTo>
                    <a:pt x="46" y="8"/>
                  </a:lnTo>
                  <a:lnTo>
                    <a:pt x="48" y="8"/>
                  </a:lnTo>
                  <a:lnTo>
                    <a:pt x="48" y="6"/>
                  </a:lnTo>
                  <a:lnTo>
                    <a:pt x="50" y="6"/>
                  </a:lnTo>
                  <a:lnTo>
                    <a:pt x="50" y="8"/>
                  </a:lnTo>
                  <a:lnTo>
                    <a:pt x="50" y="6"/>
                  </a:lnTo>
                  <a:lnTo>
                    <a:pt x="50" y="8"/>
                  </a:lnTo>
                  <a:lnTo>
                    <a:pt x="52" y="8"/>
                  </a:lnTo>
                  <a:lnTo>
                    <a:pt x="50" y="8"/>
                  </a:lnTo>
                  <a:lnTo>
                    <a:pt x="52" y="8"/>
                  </a:lnTo>
                  <a:lnTo>
                    <a:pt x="50" y="8"/>
                  </a:lnTo>
                  <a:lnTo>
                    <a:pt x="52" y="8"/>
                  </a:lnTo>
                  <a:lnTo>
                    <a:pt x="52" y="10"/>
                  </a:lnTo>
                  <a:lnTo>
                    <a:pt x="54" y="10"/>
                  </a:lnTo>
                  <a:lnTo>
                    <a:pt x="54" y="12"/>
                  </a:lnTo>
                  <a:lnTo>
                    <a:pt x="52" y="12"/>
                  </a:lnTo>
                  <a:lnTo>
                    <a:pt x="54" y="12"/>
                  </a:lnTo>
                  <a:lnTo>
                    <a:pt x="54" y="14"/>
                  </a:lnTo>
                  <a:lnTo>
                    <a:pt x="56" y="14"/>
                  </a:lnTo>
                  <a:lnTo>
                    <a:pt x="56" y="16"/>
                  </a:lnTo>
                  <a:lnTo>
                    <a:pt x="58" y="16"/>
                  </a:lnTo>
                  <a:lnTo>
                    <a:pt x="60" y="16"/>
                  </a:lnTo>
                  <a:lnTo>
                    <a:pt x="62" y="16"/>
                  </a:lnTo>
                  <a:lnTo>
                    <a:pt x="62" y="18"/>
                  </a:lnTo>
                  <a:lnTo>
                    <a:pt x="64" y="18"/>
                  </a:lnTo>
                  <a:lnTo>
                    <a:pt x="64" y="16"/>
                  </a:lnTo>
                  <a:lnTo>
                    <a:pt x="64" y="14"/>
                  </a:lnTo>
                  <a:lnTo>
                    <a:pt x="66" y="14"/>
                  </a:lnTo>
                  <a:lnTo>
                    <a:pt x="68" y="14"/>
                  </a:lnTo>
                  <a:lnTo>
                    <a:pt x="70" y="14"/>
                  </a:lnTo>
                  <a:lnTo>
                    <a:pt x="70" y="12"/>
                  </a:lnTo>
                  <a:lnTo>
                    <a:pt x="70" y="14"/>
                  </a:lnTo>
                  <a:lnTo>
                    <a:pt x="70" y="12"/>
                  </a:lnTo>
                  <a:lnTo>
                    <a:pt x="70" y="14"/>
                  </a:lnTo>
                  <a:lnTo>
                    <a:pt x="70" y="12"/>
                  </a:lnTo>
                  <a:lnTo>
                    <a:pt x="71" y="12"/>
                  </a:lnTo>
                  <a:lnTo>
                    <a:pt x="73" y="12"/>
                  </a:lnTo>
                  <a:lnTo>
                    <a:pt x="75" y="12"/>
                  </a:lnTo>
                  <a:lnTo>
                    <a:pt x="77" y="12"/>
                  </a:lnTo>
                  <a:lnTo>
                    <a:pt x="77" y="14"/>
                  </a:lnTo>
                  <a:lnTo>
                    <a:pt x="79" y="14"/>
                  </a:lnTo>
                  <a:lnTo>
                    <a:pt x="79" y="12"/>
                  </a:lnTo>
                  <a:lnTo>
                    <a:pt x="79" y="14"/>
                  </a:lnTo>
                  <a:lnTo>
                    <a:pt x="81" y="14"/>
                  </a:lnTo>
                  <a:lnTo>
                    <a:pt x="81" y="16"/>
                  </a:lnTo>
                  <a:lnTo>
                    <a:pt x="83" y="16"/>
                  </a:lnTo>
                  <a:lnTo>
                    <a:pt x="83" y="18"/>
                  </a:lnTo>
                  <a:lnTo>
                    <a:pt x="85" y="20"/>
                  </a:lnTo>
                  <a:lnTo>
                    <a:pt x="87" y="20"/>
                  </a:lnTo>
                  <a:lnTo>
                    <a:pt x="87" y="21"/>
                  </a:lnTo>
                  <a:lnTo>
                    <a:pt x="87" y="23"/>
                  </a:lnTo>
                  <a:lnTo>
                    <a:pt x="85" y="23"/>
                  </a:lnTo>
                  <a:lnTo>
                    <a:pt x="85" y="25"/>
                  </a:lnTo>
                  <a:lnTo>
                    <a:pt x="87" y="25"/>
                  </a:lnTo>
                  <a:lnTo>
                    <a:pt x="87" y="27"/>
                  </a:lnTo>
                  <a:lnTo>
                    <a:pt x="87" y="29"/>
                  </a:lnTo>
                  <a:lnTo>
                    <a:pt x="89" y="29"/>
                  </a:lnTo>
                  <a:lnTo>
                    <a:pt x="87" y="29"/>
                  </a:lnTo>
                  <a:lnTo>
                    <a:pt x="89" y="29"/>
                  </a:lnTo>
                  <a:lnTo>
                    <a:pt x="89" y="31"/>
                  </a:lnTo>
                  <a:lnTo>
                    <a:pt x="89" y="33"/>
                  </a:lnTo>
                  <a:lnTo>
                    <a:pt x="89" y="35"/>
                  </a:lnTo>
                  <a:lnTo>
                    <a:pt x="89" y="37"/>
                  </a:lnTo>
                  <a:lnTo>
                    <a:pt x="89" y="39"/>
                  </a:lnTo>
                  <a:lnTo>
                    <a:pt x="87" y="39"/>
                  </a:lnTo>
                  <a:lnTo>
                    <a:pt x="89" y="39"/>
                  </a:lnTo>
                  <a:lnTo>
                    <a:pt x="89" y="41"/>
                  </a:lnTo>
                  <a:lnTo>
                    <a:pt x="87" y="41"/>
                  </a:lnTo>
                  <a:lnTo>
                    <a:pt x="87" y="43"/>
                  </a:lnTo>
                  <a:lnTo>
                    <a:pt x="85" y="43"/>
                  </a:lnTo>
                  <a:lnTo>
                    <a:pt x="85" y="45"/>
                  </a:lnTo>
                  <a:lnTo>
                    <a:pt x="83" y="46"/>
                  </a:lnTo>
                  <a:lnTo>
                    <a:pt x="83" y="48"/>
                  </a:lnTo>
                  <a:lnTo>
                    <a:pt x="83" y="50"/>
                  </a:lnTo>
                  <a:lnTo>
                    <a:pt x="83" y="52"/>
                  </a:lnTo>
                  <a:lnTo>
                    <a:pt x="81" y="54"/>
                  </a:lnTo>
                  <a:lnTo>
                    <a:pt x="81" y="56"/>
                  </a:lnTo>
                  <a:lnTo>
                    <a:pt x="79" y="56"/>
                  </a:lnTo>
                  <a:lnTo>
                    <a:pt x="79" y="58"/>
                  </a:lnTo>
                  <a:lnTo>
                    <a:pt x="79" y="60"/>
                  </a:lnTo>
                  <a:lnTo>
                    <a:pt x="79" y="62"/>
                  </a:lnTo>
                  <a:lnTo>
                    <a:pt x="79" y="64"/>
                  </a:lnTo>
                  <a:lnTo>
                    <a:pt x="79" y="66"/>
                  </a:lnTo>
                  <a:lnTo>
                    <a:pt x="79" y="68"/>
                  </a:lnTo>
                  <a:lnTo>
                    <a:pt x="81" y="68"/>
                  </a:lnTo>
                  <a:lnTo>
                    <a:pt x="81" y="70"/>
                  </a:lnTo>
                  <a:lnTo>
                    <a:pt x="81" y="71"/>
                  </a:lnTo>
                  <a:lnTo>
                    <a:pt x="81" y="73"/>
                  </a:lnTo>
                  <a:lnTo>
                    <a:pt x="81" y="75"/>
                  </a:lnTo>
                  <a:lnTo>
                    <a:pt x="83" y="75"/>
                  </a:lnTo>
                  <a:lnTo>
                    <a:pt x="85" y="75"/>
                  </a:lnTo>
                  <a:lnTo>
                    <a:pt x="85" y="77"/>
                  </a:lnTo>
                  <a:lnTo>
                    <a:pt x="85" y="79"/>
                  </a:lnTo>
                  <a:lnTo>
                    <a:pt x="87" y="79"/>
                  </a:lnTo>
                  <a:lnTo>
                    <a:pt x="87" y="81"/>
                  </a:lnTo>
                  <a:lnTo>
                    <a:pt x="85" y="81"/>
                  </a:lnTo>
                  <a:lnTo>
                    <a:pt x="85" y="79"/>
                  </a:lnTo>
                  <a:lnTo>
                    <a:pt x="85" y="81"/>
                  </a:lnTo>
                  <a:lnTo>
                    <a:pt x="85" y="83"/>
                  </a:lnTo>
                  <a:lnTo>
                    <a:pt x="85" y="81"/>
                  </a:lnTo>
                  <a:lnTo>
                    <a:pt x="85" y="83"/>
                  </a:lnTo>
                  <a:lnTo>
                    <a:pt x="87" y="83"/>
                  </a:lnTo>
                  <a:lnTo>
                    <a:pt x="85" y="83"/>
                  </a:lnTo>
                  <a:lnTo>
                    <a:pt x="87" y="83"/>
                  </a:lnTo>
                  <a:lnTo>
                    <a:pt x="85" y="83"/>
                  </a:lnTo>
                  <a:lnTo>
                    <a:pt x="87" y="83"/>
                  </a:lnTo>
                  <a:lnTo>
                    <a:pt x="85" y="83"/>
                  </a:lnTo>
                  <a:lnTo>
                    <a:pt x="83" y="83"/>
                  </a:lnTo>
                  <a:lnTo>
                    <a:pt x="83" y="85"/>
                  </a:lnTo>
                  <a:lnTo>
                    <a:pt x="83" y="83"/>
                  </a:lnTo>
                  <a:lnTo>
                    <a:pt x="81" y="83"/>
                  </a:lnTo>
                  <a:lnTo>
                    <a:pt x="79" y="83"/>
                  </a:lnTo>
                  <a:lnTo>
                    <a:pt x="77" y="83"/>
                  </a:lnTo>
                  <a:lnTo>
                    <a:pt x="75" y="83"/>
                  </a:lnTo>
                  <a:lnTo>
                    <a:pt x="73" y="83"/>
                  </a:lnTo>
                  <a:lnTo>
                    <a:pt x="71" y="83"/>
                  </a:lnTo>
                  <a:lnTo>
                    <a:pt x="70" y="83"/>
                  </a:lnTo>
                  <a:lnTo>
                    <a:pt x="70" y="81"/>
                  </a:lnTo>
                  <a:lnTo>
                    <a:pt x="68" y="81"/>
                  </a:lnTo>
                  <a:lnTo>
                    <a:pt x="66" y="81"/>
                  </a:lnTo>
                  <a:lnTo>
                    <a:pt x="64" y="81"/>
                  </a:lnTo>
                  <a:lnTo>
                    <a:pt x="64" y="83"/>
                  </a:lnTo>
                  <a:lnTo>
                    <a:pt x="62" y="83"/>
                  </a:lnTo>
                  <a:lnTo>
                    <a:pt x="60" y="83"/>
                  </a:lnTo>
                  <a:lnTo>
                    <a:pt x="58" y="83"/>
                  </a:lnTo>
                  <a:lnTo>
                    <a:pt x="56" y="83"/>
                  </a:lnTo>
                  <a:lnTo>
                    <a:pt x="54" y="83"/>
                  </a:lnTo>
                  <a:lnTo>
                    <a:pt x="52" y="83"/>
                  </a:lnTo>
                  <a:lnTo>
                    <a:pt x="50" y="83"/>
                  </a:lnTo>
                  <a:lnTo>
                    <a:pt x="48" y="83"/>
                  </a:lnTo>
                  <a:lnTo>
                    <a:pt x="46" y="83"/>
                  </a:lnTo>
                  <a:lnTo>
                    <a:pt x="45" y="83"/>
                  </a:lnTo>
                  <a:lnTo>
                    <a:pt x="45" y="85"/>
                  </a:lnTo>
                  <a:lnTo>
                    <a:pt x="43" y="85"/>
                  </a:lnTo>
                  <a:lnTo>
                    <a:pt x="41" y="85"/>
                  </a:lnTo>
                  <a:lnTo>
                    <a:pt x="39" y="85"/>
                  </a:lnTo>
                  <a:lnTo>
                    <a:pt x="37" y="85"/>
                  </a:lnTo>
                  <a:lnTo>
                    <a:pt x="37" y="87"/>
                  </a:lnTo>
                  <a:lnTo>
                    <a:pt x="35" y="87"/>
                  </a:lnTo>
                  <a:lnTo>
                    <a:pt x="33" y="87"/>
                  </a:lnTo>
                  <a:lnTo>
                    <a:pt x="33" y="89"/>
                  </a:lnTo>
                  <a:lnTo>
                    <a:pt x="31" y="89"/>
                  </a:lnTo>
                  <a:lnTo>
                    <a:pt x="29" y="89"/>
                  </a:lnTo>
                  <a:lnTo>
                    <a:pt x="27" y="89"/>
                  </a:lnTo>
                  <a:lnTo>
                    <a:pt x="27" y="91"/>
                  </a:lnTo>
                  <a:lnTo>
                    <a:pt x="25" y="91"/>
                  </a:lnTo>
                  <a:lnTo>
                    <a:pt x="23" y="91"/>
                  </a:lnTo>
                  <a:lnTo>
                    <a:pt x="23" y="93"/>
                  </a:lnTo>
                  <a:lnTo>
                    <a:pt x="22" y="93"/>
                  </a:lnTo>
                  <a:lnTo>
                    <a:pt x="20" y="93"/>
                  </a:lnTo>
                  <a:lnTo>
                    <a:pt x="20" y="94"/>
                  </a:lnTo>
                  <a:lnTo>
                    <a:pt x="18" y="94"/>
                  </a:lnTo>
                  <a:lnTo>
                    <a:pt x="16" y="94"/>
                  </a:lnTo>
                  <a:lnTo>
                    <a:pt x="16" y="93"/>
                  </a:lnTo>
                  <a:lnTo>
                    <a:pt x="16" y="91"/>
                  </a:lnTo>
                  <a:lnTo>
                    <a:pt x="16" y="89"/>
                  </a:lnTo>
                  <a:lnTo>
                    <a:pt x="16" y="87"/>
                  </a:lnTo>
                  <a:lnTo>
                    <a:pt x="14" y="87"/>
                  </a:lnTo>
                  <a:lnTo>
                    <a:pt x="16" y="87"/>
                  </a:lnTo>
                  <a:lnTo>
                    <a:pt x="16" y="85"/>
                  </a:lnTo>
                  <a:lnTo>
                    <a:pt x="16" y="83"/>
                  </a:lnTo>
                  <a:lnTo>
                    <a:pt x="16" y="81"/>
                  </a:lnTo>
                  <a:lnTo>
                    <a:pt x="18" y="81"/>
                  </a:lnTo>
                  <a:lnTo>
                    <a:pt x="16" y="81"/>
                  </a:lnTo>
                  <a:lnTo>
                    <a:pt x="18" y="81"/>
                  </a:lnTo>
                  <a:lnTo>
                    <a:pt x="16" y="81"/>
                  </a:lnTo>
                  <a:lnTo>
                    <a:pt x="18" y="81"/>
                  </a:lnTo>
                  <a:lnTo>
                    <a:pt x="18" y="79"/>
                  </a:lnTo>
                  <a:lnTo>
                    <a:pt x="18" y="77"/>
                  </a:lnTo>
                  <a:lnTo>
                    <a:pt x="18" y="75"/>
                  </a:lnTo>
                  <a:lnTo>
                    <a:pt x="18" y="73"/>
                  </a:lnTo>
                  <a:lnTo>
                    <a:pt x="16" y="73"/>
                  </a:lnTo>
                  <a:lnTo>
                    <a:pt x="16" y="71"/>
                  </a:lnTo>
                  <a:lnTo>
                    <a:pt x="14" y="71"/>
                  </a:lnTo>
                  <a:lnTo>
                    <a:pt x="12" y="71"/>
                  </a:lnTo>
                  <a:lnTo>
                    <a:pt x="12" y="70"/>
                  </a:lnTo>
                  <a:lnTo>
                    <a:pt x="12" y="68"/>
                  </a:lnTo>
                  <a:lnTo>
                    <a:pt x="10" y="68"/>
                  </a:lnTo>
                  <a:lnTo>
                    <a:pt x="10" y="66"/>
                  </a:lnTo>
                  <a:lnTo>
                    <a:pt x="8" y="66"/>
                  </a:lnTo>
                  <a:lnTo>
                    <a:pt x="6" y="66"/>
                  </a:lnTo>
                  <a:lnTo>
                    <a:pt x="4" y="66"/>
                  </a:lnTo>
                  <a:lnTo>
                    <a:pt x="2" y="66"/>
                  </a:lnTo>
                  <a:lnTo>
                    <a:pt x="2" y="64"/>
                  </a:lnTo>
                  <a:lnTo>
                    <a:pt x="0" y="64"/>
                  </a:lnTo>
                  <a:lnTo>
                    <a:pt x="0" y="62"/>
                  </a:lnTo>
                  <a:lnTo>
                    <a:pt x="0" y="64"/>
                  </a:lnTo>
                  <a:lnTo>
                    <a:pt x="0" y="62"/>
                  </a:lnTo>
                  <a:lnTo>
                    <a:pt x="2" y="62"/>
                  </a:lnTo>
                  <a:lnTo>
                    <a:pt x="2" y="60"/>
                  </a:lnTo>
                  <a:lnTo>
                    <a:pt x="4" y="60"/>
                  </a:lnTo>
                  <a:lnTo>
                    <a:pt x="2" y="60"/>
                  </a:lnTo>
                  <a:lnTo>
                    <a:pt x="4" y="60"/>
                  </a:lnTo>
                  <a:lnTo>
                    <a:pt x="4" y="58"/>
                  </a:lnTo>
                  <a:lnTo>
                    <a:pt x="4" y="56"/>
                  </a:lnTo>
                  <a:lnTo>
                    <a:pt x="4" y="54"/>
                  </a:lnTo>
                  <a:lnTo>
                    <a:pt x="4" y="52"/>
                  </a:lnTo>
                  <a:lnTo>
                    <a:pt x="4" y="50"/>
                  </a:lnTo>
                  <a:lnTo>
                    <a:pt x="2" y="50"/>
                  </a:lnTo>
                  <a:lnTo>
                    <a:pt x="2" y="48"/>
                  </a:lnTo>
                  <a:lnTo>
                    <a:pt x="2" y="46"/>
                  </a:lnTo>
                  <a:lnTo>
                    <a:pt x="4" y="46"/>
                  </a:lnTo>
                  <a:lnTo>
                    <a:pt x="6" y="48"/>
                  </a:lnTo>
                  <a:lnTo>
                    <a:pt x="6" y="46"/>
                  </a:lnTo>
                  <a:lnTo>
                    <a:pt x="6" y="45"/>
                  </a:lnTo>
                  <a:lnTo>
                    <a:pt x="8" y="45"/>
                  </a:lnTo>
                  <a:lnTo>
                    <a:pt x="8" y="43"/>
                  </a:lnTo>
                  <a:lnTo>
                    <a:pt x="8" y="41"/>
                  </a:lnTo>
                  <a:lnTo>
                    <a:pt x="10" y="41"/>
                  </a:lnTo>
                  <a:lnTo>
                    <a:pt x="10" y="39"/>
                  </a:lnTo>
                  <a:lnTo>
                    <a:pt x="8" y="39"/>
                  </a:lnTo>
                  <a:lnTo>
                    <a:pt x="6" y="39"/>
                  </a:lnTo>
                  <a:lnTo>
                    <a:pt x="6" y="37"/>
                  </a:lnTo>
                  <a:lnTo>
                    <a:pt x="6" y="35"/>
                  </a:lnTo>
                  <a:lnTo>
                    <a:pt x="6" y="33"/>
                  </a:lnTo>
                  <a:lnTo>
                    <a:pt x="8" y="33"/>
                  </a:lnTo>
                  <a:lnTo>
                    <a:pt x="10" y="33"/>
                  </a:lnTo>
                  <a:lnTo>
                    <a:pt x="10" y="35"/>
                  </a:lnTo>
                  <a:lnTo>
                    <a:pt x="12" y="35"/>
                  </a:lnTo>
                  <a:lnTo>
                    <a:pt x="12" y="33"/>
                  </a:lnTo>
                  <a:lnTo>
                    <a:pt x="12" y="35"/>
                  </a:lnTo>
                  <a:lnTo>
                    <a:pt x="14" y="35"/>
                  </a:lnTo>
                  <a:lnTo>
                    <a:pt x="14" y="33"/>
                  </a:lnTo>
                  <a:lnTo>
                    <a:pt x="14" y="31"/>
                  </a:lnTo>
                  <a:lnTo>
                    <a:pt x="12" y="31"/>
                  </a:lnTo>
                  <a:lnTo>
                    <a:pt x="12" y="29"/>
                  </a:lnTo>
                  <a:lnTo>
                    <a:pt x="10" y="29"/>
                  </a:lnTo>
                  <a:lnTo>
                    <a:pt x="10" y="27"/>
                  </a:lnTo>
                  <a:lnTo>
                    <a:pt x="10" y="25"/>
                  </a:lnTo>
                  <a:lnTo>
                    <a:pt x="12" y="25"/>
                  </a:lnTo>
                  <a:lnTo>
                    <a:pt x="14" y="25"/>
                  </a:lnTo>
                  <a:lnTo>
                    <a:pt x="12" y="25"/>
                  </a:lnTo>
                  <a:lnTo>
                    <a:pt x="12" y="23"/>
                  </a:lnTo>
                  <a:lnTo>
                    <a:pt x="10" y="23"/>
                  </a:lnTo>
                  <a:lnTo>
                    <a:pt x="10" y="21"/>
                  </a:lnTo>
                  <a:lnTo>
                    <a:pt x="12" y="20"/>
                  </a:lnTo>
                  <a:lnTo>
                    <a:pt x="10" y="20"/>
                  </a:lnTo>
                  <a:lnTo>
                    <a:pt x="8" y="20"/>
                  </a:lnTo>
                  <a:lnTo>
                    <a:pt x="6" y="20"/>
                  </a:lnTo>
                  <a:lnTo>
                    <a:pt x="6" y="18"/>
                  </a:lnTo>
                  <a:lnTo>
                    <a:pt x="8" y="18"/>
                  </a:lnTo>
                  <a:lnTo>
                    <a:pt x="6" y="16"/>
                  </a:lnTo>
                  <a:lnTo>
                    <a:pt x="8" y="16"/>
                  </a:lnTo>
                  <a:lnTo>
                    <a:pt x="6" y="16"/>
                  </a:lnTo>
                  <a:lnTo>
                    <a:pt x="8" y="16"/>
                  </a:lnTo>
                  <a:lnTo>
                    <a:pt x="6" y="16"/>
                  </a:lnTo>
                  <a:lnTo>
                    <a:pt x="8" y="16"/>
                  </a:lnTo>
                  <a:lnTo>
                    <a:pt x="6" y="16"/>
                  </a:lnTo>
                  <a:lnTo>
                    <a:pt x="8" y="16"/>
                  </a:lnTo>
                  <a:lnTo>
                    <a:pt x="6" y="16"/>
                  </a:lnTo>
                  <a:lnTo>
                    <a:pt x="8" y="16"/>
                  </a:lnTo>
                  <a:lnTo>
                    <a:pt x="8" y="14"/>
                  </a:lnTo>
                  <a:lnTo>
                    <a:pt x="6" y="14"/>
                  </a:lnTo>
                  <a:lnTo>
                    <a:pt x="8" y="12"/>
                  </a:lnTo>
                  <a:lnTo>
                    <a:pt x="6" y="12"/>
                  </a:lnTo>
                  <a:lnTo>
                    <a:pt x="8" y="12"/>
                  </a:lnTo>
                  <a:lnTo>
                    <a:pt x="6" y="12"/>
                  </a:lnTo>
                  <a:lnTo>
                    <a:pt x="6" y="10"/>
                  </a:lnTo>
                  <a:lnTo>
                    <a:pt x="8" y="10"/>
                  </a:lnTo>
                  <a:lnTo>
                    <a:pt x="8" y="8"/>
                  </a:lnTo>
                  <a:lnTo>
                    <a:pt x="10" y="8"/>
                  </a:lnTo>
                  <a:lnTo>
                    <a:pt x="10" y="10"/>
                  </a:lnTo>
                  <a:lnTo>
                    <a:pt x="10" y="8"/>
                  </a:lnTo>
                  <a:lnTo>
                    <a:pt x="12" y="8"/>
                  </a:lnTo>
                  <a:lnTo>
                    <a:pt x="12" y="6"/>
                  </a:lnTo>
                  <a:lnTo>
                    <a:pt x="14" y="6"/>
                  </a:lnTo>
                  <a:lnTo>
                    <a:pt x="12" y="6"/>
                  </a:lnTo>
                  <a:lnTo>
                    <a:pt x="14" y="6"/>
                  </a:lnTo>
                  <a:lnTo>
                    <a:pt x="12" y="6"/>
                  </a:lnTo>
                  <a:lnTo>
                    <a:pt x="14" y="6"/>
                  </a:lnTo>
                  <a:lnTo>
                    <a:pt x="14" y="4"/>
                  </a:lnTo>
                  <a:lnTo>
                    <a:pt x="16" y="4"/>
                  </a:lnTo>
                  <a:lnTo>
                    <a:pt x="18" y="4"/>
                  </a:lnTo>
                  <a:lnTo>
                    <a:pt x="18" y="6"/>
                  </a:lnTo>
                  <a:lnTo>
                    <a:pt x="18" y="8"/>
                  </a:lnTo>
                  <a:lnTo>
                    <a:pt x="20" y="8"/>
                  </a:lnTo>
                  <a:lnTo>
                    <a:pt x="20" y="6"/>
                  </a:lnTo>
                  <a:lnTo>
                    <a:pt x="20" y="8"/>
                  </a:lnTo>
                  <a:lnTo>
                    <a:pt x="22" y="8"/>
                  </a:lnTo>
                  <a:lnTo>
                    <a:pt x="23" y="8"/>
                  </a:lnTo>
                  <a:lnTo>
                    <a:pt x="23" y="6"/>
                  </a:lnTo>
                  <a:lnTo>
                    <a:pt x="25" y="6"/>
                  </a:lnTo>
                  <a:lnTo>
                    <a:pt x="27" y="6"/>
                  </a:lnTo>
                  <a:lnTo>
                    <a:pt x="29" y="6"/>
                  </a:lnTo>
                  <a:lnTo>
                    <a:pt x="29" y="4"/>
                  </a:lnTo>
                  <a:lnTo>
                    <a:pt x="27" y="4"/>
                  </a:lnTo>
                  <a:lnTo>
                    <a:pt x="29" y="4"/>
                  </a:lnTo>
                  <a:lnTo>
                    <a:pt x="27" y="4"/>
                  </a:lnTo>
                  <a:lnTo>
                    <a:pt x="29" y="4"/>
                  </a:lnTo>
                  <a:lnTo>
                    <a:pt x="29" y="2"/>
                  </a:lnTo>
                  <a:lnTo>
                    <a:pt x="31" y="2"/>
                  </a:lnTo>
                  <a:lnTo>
                    <a:pt x="33" y="2"/>
                  </a:lnTo>
                  <a:lnTo>
                    <a:pt x="31" y="2"/>
                  </a:lnTo>
                  <a:lnTo>
                    <a:pt x="31" y="0"/>
                  </a:lnTo>
                  <a:lnTo>
                    <a:pt x="33" y="0"/>
                  </a:lnTo>
                  <a:lnTo>
                    <a:pt x="35" y="0"/>
                  </a:lnTo>
                  <a:lnTo>
                    <a:pt x="35" y="2"/>
                  </a:lnTo>
                  <a:lnTo>
                    <a:pt x="35" y="4"/>
                  </a:lnTo>
                  <a:lnTo>
                    <a:pt x="35" y="6"/>
                  </a:lnTo>
                  <a:lnTo>
                    <a:pt x="35" y="8"/>
                  </a:lnTo>
                  <a:lnTo>
                    <a:pt x="37" y="8"/>
                  </a:lnTo>
                  <a:lnTo>
                    <a:pt x="39" y="8"/>
                  </a:lnTo>
                  <a:lnTo>
                    <a:pt x="39" y="6"/>
                  </a:lnTo>
                  <a:lnTo>
                    <a:pt x="41" y="6"/>
                  </a:lnTo>
                  <a:lnTo>
                    <a:pt x="41" y="4"/>
                  </a:lnTo>
                  <a:lnTo>
                    <a:pt x="43" y="4"/>
                  </a:lnTo>
                  <a:lnTo>
                    <a:pt x="45" y="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305">
              <a:extLst>
                <a:ext uri="{FF2B5EF4-FFF2-40B4-BE49-F238E27FC236}">
                  <a16:creationId xmlns:a16="http://schemas.microsoft.com/office/drawing/2014/main" id="{B0803AD7-633C-41AE-A382-802256F2F349}"/>
                </a:ext>
              </a:extLst>
            </p:cNvPr>
            <p:cNvSpPr>
              <a:spLocks/>
            </p:cNvSpPr>
            <p:nvPr/>
          </p:nvSpPr>
          <p:spPr bwMode="gray">
            <a:xfrm>
              <a:off x="3003457" y="4213243"/>
              <a:ext cx="73583" cy="74809"/>
            </a:xfrm>
            <a:custGeom>
              <a:avLst/>
              <a:gdLst>
                <a:gd name="T0" fmla="*/ 46 w 60"/>
                <a:gd name="T1" fmla="*/ 17 h 61"/>
                <a:gd name="T2" fmla="*/ 46 w 60"/>
                <a:gd name="T3" fmla="*/ 23 h 61"/>
                <a:gd name="T4" fmla="*/ 44 w 60"/>
                <a:gd name="T5" fmla="*/ 27 h 61"/>
                <a:gd name="T6" fmla="*/ 44 w 60"/>
                <a:gd name="T7" fmla="*/ 29 h 61"/>
                <a:gd name="T8" fmla="*/ 42 w 60"/>
                <a:gd name="T9" fmla="*/ 29 h 61"/>
                <a:gd name="T10" fmla="*/ 44 w 60"/>
                <a:gd name="T11" fmla="*/ 33 h 61"/>
                <a:gd name="T12" fmla="*/ 50 w 60"/>
                <a:gd name="T13" fmla="*/ 33 h 61"/>
                <a:gd name="T14" fmla="*/ 54 w 60"/>
                <a:gd name="T15" fmla="*/ 35 h 61"/>
                <a:gd name="T16" fmla="*/ 56 w 60"/>
                <a:gd name="T17" fmla="*/ 38 h 61"/>
                <a:gd name="T18" fmla="*/ 60 w 60"/>
                <a:gd name="T19" fmla="*/ 40 h 61"/>
                <a:gd name="T20" fmla="*/ 60 w 60"/>
                <a:gd name="T21" fmla="*/ 46 h 61"/>
                <a:gd name="T22" fmla="*/ 60 w 60"/>
                <a:gd name="T23" fmla="*/ 48 h 61"/>
                <a:gd name="T24" fmla="*/ 58 w 60"/>
                <a:gd name="T25" fmla="*/ 48 h 61"/>
                <a:gd name="T26" fmla="*/ 58 w 60"/>
                <a:gd name="T27" fmla="*/ 54 h 61"/>
                <a:gd name="T28" fmla="*/ 58 w 60"/>
                <a:gd name="T29" fmla="*/ 56 h 61"/>
                <a:gd name="T30" fmla="*/ 58 w 60"/>
                <a:gd name="T31" fmla="*/ 61 h 61"/>
                <a:gd name="T32" fmla="*/ 56 w 60"/>
                <a:gd name="T33" fmla="*/ 61 h 61"/>
                <a:gd name="T34" fmla="*/ 52 w 60"/>
                <a:gd name="T35" fmla="*/ 60 h 61"/>
                <a:gd name="T36" fmla="*/ 48 w 60"/>
                <a:gd name="T37" fmla="*/ 58 h 61"/>
                <a:gd name="T38" fmla="*/ 44 w 60"/>
                <a:gd name="T39" fmla="*/ 56 h 61"/>
                <a:gd name="T40" fmla="*/ 40 w 60"/>
                <a:gd name="T41" fmla="*/ 54 h 61"/>
                <a:gd name="T42" fmla="*/ 37 w 60"/>
                <a:gd name="T43" fmla="*/ 52 h 61"/>
                <a:gd name="T44" fmla="*/ 35 w 60"/>
                <a:gd name="T45" fmla="*/ 52 h 61"/>
                <a:gd name="T46" fmla="*/ 33 w 60"/>
                <a:gd name="T47" fmla="*/ 52 h 61"/>
                <a:gd name="T48" fmla="*/ 31 w 60"/>
                <a:gd name="T49" fmla="*/ 48 h 61"/>
                <a:gd name="T50" fmla="*/ 27 w 60"/>
                <a:gd name="T51" fmla="*/ 46 h 61"/>
                <a:gd name="T52" fmla="*/ 25 w 60"/>
                <a:gd name="T53" fmla="*/ 42 h 61"/>
                <a:gd name="T54" fmla="*/ 21 w 60"/>
                <a:gd name="T55" fmla="*/ 40 h 61"/>
                <a:gd name="T56" fmla="*/ 19 w 60"/>
                <a:gd name="T57" fmla="*/ 37 h 61"/>
                <a:gd name="T58" fmla="*/ 16 w 60"/>
                <a:gd name="T59" fmla="*/ 35 h 61"/>
                <a:gd name="T60" fmla="*/ 12 w 60"/>
                <a:gd name="T61" fmla="*/ 33 h 61"/>
                <a:gd name="T62" fmla="*/ 8 w 60"/>
                <a:gd name="T63" fmla="*/ 31 h 61"/>
                <a:gd name="T64" fmla="*/ 4 w 60"/>
                <a:gd name="T65" fmla="*/ 29 h 61"/>
                <a:gd name="T66" fmla="*/ 4 w 60"/>
                <a:gd name="T67" fmla="*/ 27 h 61"/>
                <a:gd name="T68" fmla="*/ 2 w 60"/>
                <a:gd name="T69" fmla="*/ 27 h 61"/>
                <a:gd name="T70" fmla="*/ 0 w 60"/>
                <a:gd name="T71" fmla="*/ 23 h 61"/>
                <a:gd name="T72" fmla="*/ 2 w 60"/>
                <a:gd name="T73" fmla="*/ 19 h 61"/>
                <a:gd name="T74" fmla="*/ 6 w 60"/>
                <a:gd name="T75" fmla="*/ 17 h 61"/>
                <a:gd name="T76" fmla="*/ 6 w 60"/>
                <a:gd name="T77" fmla="*/ 15 h 61"/>
                <a:gd name="T78" fmla="*/ 10 w 60"/>
                <a:gd name="T79" fmla="*/ 13 h 61"/>
                <a:gd name="T80" fmla="*/ 14 w 60"/>
                <a:gd name="T81" fmla="*/ 12 h 61"/>
                <a:gd name="T82" fmla="*/ 14 w 60"/>
                <a:gd name="T83" fmla="*/ 6 h 61"/>
                <a:gd name="T84" fmla="*/ 17 w 60"/>
                <a:gd name="T85" fmla="*/ 4 h 61"/>
                <a:gd name="T86" fmla="*/ 19 w 60"/>
                <a:gd name="T87" fmla="*/ 0 h 61"/>
                <a:gd name="T88" fmla="*/ 23 w 60"/>
                <a:gd name="T89" fmla="*/ 0 h 61"/>
                <a:gd name="T90" fmla="*/ 25 w 60"/>
                <a:gd name="T91" fmla="*/ 0 h 61"/>
                <a:gd name="T92" fmla="*/ 29 w 60"/>
                <a:gd name="T93" fmla="*/ 2 h 61"/>
                <a:gd name="T94" fmla="*/ 29 w 60"/>
                <a:gd name="T95" fmla="*/ 8 h 61"/>
                <a:gd name="T96" fmla="*/ 31 w 60"/>
                <a:gd name="T97" fmla="*/ 10 h 61"/>
                <a:gd name="T98" fmla="*/ 31 w 60"/>
                <a:gd name="T99" fmla="*/ 12 h 61"/>
                <a:gd name="T100" fmla="*/ 29 w 60"/>
                <a:gd name="T101" fmla="*/ 15 h 61"/>
                <a:gd name="T102" fmla="*/ 31 w 60"/>
                <a:gd name="T103" fmla="*/ 15 h 61"/>
                <a:gd name="T104" fmla="*/ 31 w 60"/>
                <a:gd name="T105" fmla="*/ 17 h 61"/>
                <a:gd name="T106" fmla="*/ 35 w 60"/>
                <a:gd name="T107" fmla="*/ 19 h 61"/>
                <a:gd name="T108" fmla="*/ 37 w 60"/>
                <a:gd name="T109" fmla="*/ 19 h 61"/>
                <a:gd name="T110" fmla="*/ 39 w 60"/>
                <a:gd name="T111" fmla="*/ 19 h 61"/>
                <a:gd name="T112" fmla="*/ 40 w 60"/>
                <a:gd name="T113" fmla="*/ 15 h 61"/>
                <a:gd name="T114" fmla="*/ 40 w 60"/>
                <a:gd name="T115" fmla="*/ 13 h 61"/>
                <a:gd name="T116" fmla="*/ 42 w 60"/>
                <a:gd name="T117" fmla="*/ 13 h 61"/>
                <a:gd name="T118" fmla="*/ 42 w 60"/>
                <a:gd name="T119" fmla="*/ 1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61">
                  <a:moveTo>
                    <a:pt x="44" y="15"/>
                  </a:moveTo>
                  <a:lnTo>
                    <a:pt x="44" y="17"/>
                  </a:lnTo>
                  <a:lnTo>
                    <a:pt x="46" y="17"/>
                  </a:lnTo>
                  <a:lnTo>
                    <a:pt x="46" y="19"/>
                  </a:lnTo>
                  <a:lnTo>
                    <a:pt x="46" y="21"/>
                  </a:lnTo>
                  <a:lnTo>
                    <a:pt x="46" y="23"/>
                  </a:lnTo>
                  <a:lnTo>
                    <a:pt x="46" y="25"/>
                  </a:lnTo>
                  <a:lnTo>
                    <a:pt x="46" y="27"/>
                  </a:lnTo>
                  <a:lnTo>
                    <a:pt x="44" y="27"/>
                  </a:lnTo>
                  <a:lnTo>
                    <a:pt x="46" y="27"/>
                  </a:lnTo>
                  <a:lnTo>
                    <a:pt x="44" y="27"/>
                  </a:lnTo>
                  <a:lnTo>
                    <a:pt x="44" y="29"/>
                  </a:lnTo>
                  <a:lnTo>
                    <a:pt x="42" y="29"/>
                  </a:lnTo>
                  <a:lnTo>
                    <a:pt x="42" y="31"/>
                  </a:lnTo>
                  <a:lnTo>
                    <a:pt x="42" y="29"/>
                  </a:lnTo>
                  <a:lnTo>
                    <a:pt x="42" y="31"/>
                  </a:lnTo>
                  <a:lnTo>
                    <a:pt x="44" y="31"/>
                  </a:lnTo>
                  <a:lnTo>
                    <a:pt x="44" y="33"/>
                  </a:lnTo>
                  <a:lnTo>
                    <a:pt x="46" y="33"/>
                  </a:lnTo>
                  <a:lnTo>
                    <a:pt x="48" y="33"/>
                  </a:lnTo>
                  <a:lnTo>
                    <a:pt x="50" y="33"/>
                  </a:lnTo>
                  <a:lnTo>
                    <a:pt x="52" y="33"/>
                  </a:lnTo>
                  <a:lnTo>
                    <a:pt x="52" y="35"/>
                  </a:lnTo>
                  <a:lnTo>
                    <a:pt x="54" y="35"/>
                  </a:lnTo>
                  <a:lnTo>
                    <a:pt x="54" y="37"/>
                  </a:lnTo>
                  <a:lnTo>
                    <a:pt x="54" y="38"/>
                  </a:lnTo>
                  <a:lnTo>
                    <a:pt x="56" y="38"/>
                  </a:lnTo>
                  <a:lnTo>
                    <a:pt x="58" y="38"/>
                  </a:lnTo>
                  <a:lnTo>
                    <a:pt x="58" y="40"/>
                  </a:lnTo>
                  <a:lnTo>
                    <a:pt x="60" y="40"/>
                  </a:lnTo>
                  <a:lnTo>
                    <a:pt x="60" y="42"/>
                  </a:lnTo>
                  <a:lnTo>
                    <a:pt x="60" y="44"/>
                  </a:lnTo>
                  <a:lnTo>
                    <a:pt x="60" y="46"/>
                  </a:lnTo>
                  <a:lnTo>
                    <a:pt x="60" y="48"/>
                  </a:lnTo>
                  <a:lnTo>
                    <a:pt x="58" y="48"/>
                  </a:lnTo>
                  <a:lnTo>
                    <a:pt x="60" y="48"/>
                  </a:lnTo>
                  <a:lnTo>
                    <a:pt x="58" y="48"/>
                  </a:lnTo>
                  <a:lnTo>
                    <a:pt x="60" y="48"/>
                  </a:lnTo>
                  <a:lnTo>
                    <a:pt x="58" y="48"/>
                  </a:lnTo>
                  <a:lnTo>
                    <a:pt x="58" y="50"/>
                  </a:lnTo>
                  <a:lnTo>
                    <a:pt x="58" y="52"/>
                  </a:lnTo>
                  <a:lnTo>
                    <a:pt x="58" y="54"/>
                  </a:lnTo>
                  <a:lnTo>
                    <a:pt x="56" y="54"/>
                  </a:lnTo>
                  <a:lnTo>
                    <a:pt x="58" y="54"/>
                  </a:lnTo>
                  <a:lnTo>
                    <a:pt x="58" y="56"/>
                  </a:lnTo>
                  <a:lnTo>
                    <a:pt x="58" y="58"/>
                  </a:lnTo>
                  <a:lnTo>
                    <a:pt x="58" y="60"/>
                  </a:lnTo>
                  <a:lnTo>
                    <a:pt x="58" y="61"/>
                  </a:lnTo>
                  <a:lnTo>
                    <a:pt x="56" y="61"/>
                  </a:lnTo>
                  <a:lnTo>
                    <a:pt x="54" y="61"/>
                  </a:lnTo>
                  <a:lnTo>
                    <a:pt x="56" y="61"/>
                  </a:lnTo>
                  <a:lnTo>
                    <a:pt x="54" y="61"/>
                  </a:lnTo>
                  <a:lnTo>
                    <a:pt x="54" y="60"/>
                  </a:lnTo>
                  <a:lnTo>
                    <a:pt x="52" y="60"/>
                  </a:lnTo>
                  <a:lnTo>
                    <a:pt x="50" y="60"/>
                  </a:lnTo>
                  <a:lnTo>
                    <a:pt x="48" y="60"/>
                  </a:lnTo>
                  <a:lnTo>
                    <a:pt x="48" y="58"/>
                  </a:lnTo>
                  <a:lnTo>
                    <a:pt x="46" y="58"/>
                  </a:lnTo>
                  <a:lnTo>
                    <a:pt x="44" y="58"/>
                  </a:lnTo>
                  <a:lnTo>
                    <a:pt x="44" y="56"/>
                  </a:lnTo>
                  <a:lnTo>
                    <a:pt x="42" y="56"/>
                  </a:lnTo>
                  <a:lnTo>
                    <a:pt x="40" y="56"/>
                  </a:lnTo>
                  <a:lnTo>
                    <a:pt x="40" y="54"/>
                  </a:lnTo>
                  <a:lnTo>
                    <a:pt x="39" y="54"/>
                  </a:lnTo>
                  <a:lnTo>
                    <a:pt x="37" y="54"/>
                  </a:lnTo>
                  <a:lnTo>
                    <a:pt x="37" y="52"/>
                  </a:lnTo>
                  <a:lnTo>
                    <a:pt x="35" y="52"/>
                  </a:lnTo>
                  <a:lnTo>
                    <a:pt x="37" y="52"/>
                  </a:lnTo>
                  <a:lnTo>
                    <a:pt x="35" y="52"/>
                  </a:lnTo>
                  <a:lnTo>
                    <a:pt x="37" y="52"/>
                  </a:lnTo>
                  <a:lnTo>
                    <a:pt x="35" y="52"/>
                  </a:lnTo>
                  <a:lnTo>
                    <a:pt x="33" y="52"/>
                  </a:lnTo>
                  <a:lnTo>
                    <a:pt x="33" y="50"/>
                  </a:lnTo>
                  <a:lnTo>
                    <a:pt x="31" y="50"/>
                  </a:lnTo>
                  <a:lnTo>
                    <a:pt x="31" y="48"/>
                  </a:lnTo>
                  <a:lnTo>
                    <a:pt x="29" y="48"/>
                  </a:lnTo>
                  <a:lnTo>
                    <a:pt x="29" y="46"/>
                  </a:lnTo>
                  <a:lnTo>
                    <a:pt x="27" y="46"/>
                  </a:lnTo>
                  <a:lnTo>
                    <a:pt x="27" y="44"/>
                  </a:lnTo>
                  <a:lnTo>
                    <a:pt x="25" y="44"/>
                  </a:lnTo>
                  <a:lnTo>
                    <a:pt x="25" y="42"/>
                  </a:lnTo>
                  <a:lnTo>
                    <a:pt x="23" y="42"/>
                  </a:lnTo>
                  <a:lnTo>
                    <a:pt x="23" y="40"/>
                  </a:lnTo>
                  <a:lnTo>
                    <a:pt x="21" y="40"/>
                  </a:lnTo>
                  <a:lnTo>
                    <a:pt x="21" y="38"/>
                  </a:lnTo>
                  <a:lnTo>
                    <a:pt x="19" y="38"/>
                  </a:lnTo>
                  <a:lnTo>
                    <a:pt x="19" y="37"/>
                  </a:lnTo>
                  <a:lnTo>
                    <a:pt x="17" y="37"/>
                  </a:lnTo>
                  <a:lnTo>
                    <a:pt x="16" y="37"/>
                  </a:lnTo>
                  <a:lnTo>
                    <a:pt x="16" y="35"/>
                  </a:lnTo>
                  <a:lnTo>
                    <a:pt x="14" y="35"/>
                  </a:lnTo>
                  <a:lnTo>
                    <a:pt x="12" y="35"/>
                  </a:lnTo>
                  <a:lnTo>
                    <a:pt x="12" y="33"/>
                  </a:lnTo>
                  <a:lnTo>
                    <a:pt x="10" y="33"/>
                  </a:lnTo>
                  <a:lnTo>
                    <a:pt x="10" y="31"/>
                  </a:lnTo>
                  <a:lnTo>
                    <a:pt x="8" y="31"/>
                  </a:lnTo>
                  <a:lnTo>
                    <a:pt x="8" y="29"/>
                  </a:lnTo>
                  <a:lnTo>
                    <a:pt x="6" y="29"/>
                  </a:lnTo>
                  <a:lnTo>
                    <a:pt x="4" y="29"/>
                  </a:lnTo>
                  <a:lnTo>
                    <a:pt x="4" y="27"/>
                  </a:lnTo>
                  <a:lnTo>
                    <a:pt x="2" y="27"/>
                  </a:lnTo>
                  <a:lnTo>
                    <a:pt x="4" y="27"/>
                  </a:lnTo>
                  <a:lnTo>
                    <a:pt x="4" y="25"/>
                  </a:lnTo>
                  <a:lnTo>
                    <a:pt x="4" y="27"/>
                  </a:lnTo>
                  <a:lnTo>
                    <a:pt x="2" y="27"/>
                  </a:lnTo>
                  <a:lnTo>
                    <a:pt x="2" y="25"/>
                  </a:lnTo>
                  <a:lnTo>
                    <a:pt x="0" y="25"/>
                  </a:lnTo>
                  <a:lnTo>
                    <a:pt x="0" y="23"/>
                  </a:lnTo>
                  <a:lnTo>
                    <a:pt x="2" y="23"/>
                  </a:lnTo>
                  <a:lnTo>
                    <a:pt x="2" y="21"/>
                  </a:lnTo>
                  <a:lnTo>
                    <a:pt x="2" y="19"/>
                  </a:lnTo>
                  <a:lnTo>
                    <a:pt x="4" y="19"/>
                  </a:lnTo>
                  <a:lnTo>
                    <a:pt x="4" y="17"/>
                  </a:lnTo>
                  <a:lnTo>
                    <a:pt x="6" y="17"/>
                  </a:lnTo>
                  <a:lnTo>
                    <a:pt x="6" y="15"/>
                  </a:lnTo>
                  <a:lnTo>
                    <a:pt x="6" y="17"/>
                  </a:lnTo>
                  <a:lnTo>
                    <a:pt x="6" y="15"/>
                  </a:lnTo>
                  <a:lnTo>
                    <a:pt x="8" y="15"/>
                  </a:lnTo>
                  <a:lnTo>
                    <a:pt x="10" y="15"/>
                  </a:lnTo>
                  <a:lnTo>
                    <a:pt x="10" y="13"/>
                  </a:lnTo>
                  <a:lnTo>
                    <a:pt x="12" y="13"/>
                  </a:lnTo>
                  <a:lnTo>
                    <a:pt x="12" y="12"/>
                  </a:lnTo>
                  <a:lnTo>
                    <a:pt x="14" y="12"/>
                  </a:lnTo>
                  <a:lnTo>
                    <a:pt x="14" y="10"/>
                  </a:lnTo>
                  <a:lnTo>
                    <a:pt x="14" y="8"/>
                  </a:lnTo>
                  <a:lnTo>
                    <a:pt x="14" y="6"/>
                  </a:lnTo>
                  <a:lnTo>
                    <a:pt x="16" y="6"/>
                  </a:lnTo>
                  <a:lnTo>
                    <a:pt x="17" y="6"/>
                  </a:lnTo>
                  <a:lnTo>
                    <a:pt x="17" y="4"/>
                  </a:lnTo>
                  <a:lnTo>
                    <a:pt x="17" y="2"/>
                  </a:lnTo>
                  <a:lnTo>
                    <a:pt x="17" y="0"/>
                  </a:lnTo>
                  <a:lnTo>
                    <a:pt x="19" y="0"/>
                  </a:lnTo>
                  <a:lnTo>
                    <a:pt x="21" y="0"/>
                  </a:lnTo>
                  <a:lnTo>
                    <a:pt x="21" y="2"/>
                  </a:lnTo>
                  <a:lnTo>
                    <a:pt x="23" y="0"/>
                  </a:lnTo>
                  <a:lnTo>
                    <a:pt x="25" y="0"/>
                  </a:lnTo>
                  <a:lnTo>
                    <a:pt x="25" y="2"/>
                  </a:lnTo>
                  <a:lnTo>
                    <a:pt x="25" y="0"/>
                  </a:lnTo>
                  <a:lnTo>
                    <a:pt x="27" y="0"/>
                  </a:lnTo>
                  <a:lnTo>
                    <a:pt x="27" y="2"/>
                  </a:lnTo>
                  <a:lnTo>
                    <a:pt x="29" y="2"/>
                  </a:lnTo>
                  <a:lnTo>
                    <a:pt x="29" y="4"/>
                  </a:lnTo>
                  <a:lnTo>
                    <a:pt x="29" y="6"/>
                  </a:lnTo>
                  <a:lnTo>
                    <a:pt x="29" y="8"/>
                  </a:lnTo>
                  <a:lnTo>
                    <a:pt x="31" y="8"/>
                  </a:lnTo>
                  <a:lnTo>
                    <a:pt x="29" y="10"/>
                  </a:lnTo>
                  <a:lnTo>
                    <a:pt x="31" y="10"/>
                  </a:lnTo>
                  <a:lnTo>
                    <a:pt x="29" y="10"/>
                  </a:lnTo>
                  <a:lnTo>
                    <a:pt x="31" y="10"/>
                  </a:lnTo>
                  <a:lnTo>
                    <a:pt x="31" y="12"/>
                  </a:lnTo>
                  <a:lnTo>
                    <a:pt x="31" y="13"/>
                  </a:lnTo>
                  <a:lnTo>
                    <a:pt x="31" y="15"/>
                  </a:lnTo>
                  <a:lnTo>
                    <a:pt x="29" y="15"/>
                  </a:lnTo>
                  <a:lnTo>
                    <a:pt x="29" y="17"/>
                  </a:lnTo>
                  <a:lnTo>
                    <a:pt x="31" y="17"/>
                  </a:lnTo>
                  <a:lnTo>
                    <a:pt x="31" y="15"/>
                  </a:lnTo>
                  <a:lnTo>
                    <a:pt x="31" y="17"/>
                  </a:lnTo>
                  <a:lnTo>
                    <a:pt x="31" y="15"/>
                  </a:lnTo>
                  <a:lnTo>
                    <a:pt x="31" y="17"/>
                  </a:lnTo>
                  <a:lnTo>
                    <a:pt x="33" y="17"/>
                  </a:lnTo>
                  <a:lnTo>
                    <a:pt x="33" y="19"/>
                  </a:lnTo>
                  <a:lnTo>
                    <a:pt x="35" y="19"/>
                  </a:lnTo>
                  <a:lnTo>
                    <a:pt x="37" y="19"/>
                  </a:lnTo>
                  <a:lnTo>
                    <a:pt x="39" y="19"/>
                  </a:lnTo>
                  <a:lnTo>
                    <a:pt x="37" y="19"/>
                  </a:lnTo>
                  <a:lnTo>
                    <a:pt x="39" y="19"/>
                  </a:lnTo>
                  <a:lnTo>
                    <a:pt x="39" y="17"/>
                  </a:lnTo>
                  <a:lnTo>
                    <a:pt x="39" y="19"/>
                  </a:lnTo>
                  <a:lnTo>
                    <a:pt x="39" y="17"/>
                  </a:lnTo>
                  <a:lnTo>
                    <a:pt x="39" y="15"/>
                  </a:lnTo>
                  <a:lnTo>
                    <a:pt x="40" y="15"/>
                  </a:lnTo>
                  <a:lnTo>
                    <a:pt x="39" y="15"/>
                  </a:lnTo>
                  <a:lnTo>
                    <a:pt x="40" y="15"/>
                  </a:lnTo>
                  <a:lnTo>
                    <a:pt x="40" y="13"/>
                  </a:lnTo>
                  <a:lnTo>
                    <a:pt x="40" y="12"/>
                  </a:lnTo>
                  <a:lnTo>
                    <a:pt x="42" y="12"/>
                  </a:lnTo>
                  <a:lnTo>
                    <a:pt x="42" y="13"/>
                  </a:lnTo>
                  <a:lnTo>
                    <a:pt x="44" y="13"/>
                  </a:lnTo>
                  <a:lnTo>
                    <a:pt x="44" y="15"/>
                  </a:lnTo>
                  <a:lnTo>
                    <a:pt x="42" y="15"/>
                  </a:lnTo>
                  <a:lnTo>
                    <a:pt x="44" y="1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306">
              <a:extLst>
                <a:ext uri="{FF2B5EF4-FFF2-40B4-BE49-F238E27FC236}">
                  <a16:creationId xmlns:a16="http://schemas.microsoft.com/office/drawing/2014/main" id="{BEF073D0-BABC-40A7-B34C-CB9493826E01}"/>
                </a:ext>
              </a:extLst>
            </p:cNvPr>
            <p:cNvSpPr>
              <a:spLocks noEditPoints="1"/>
            </p:cNvSpPr>
            <p:nvPr/>
          </p:nvSpPr>
          <p:spPr bwMode="gray">
            <a:xfrm>
              <a:off x="2937233" y="4138434"/>
              <a:ext cx="134901" cy="98110"/>
            </a:xfrm>
            <a:custGeom>
              <a:avLst/>
              <a:gdLst>
                <a:gd name="T0" fmla="*/ 58 w 110"/>
                <a:gd name="T1" fmla="*/ 9 h 80"/>
                <a:gd name="T2" fmla="*/ 60 w 110"/>
                <a:gd name="T3" fmla="*/ 5 h 80"/>
                <a:gd name="T4" fmla="*/ 64 w 110"/>
                <a:gd name="T5" fmla="*/ 7 h 80"/>
                <a:gd name="T6" fmla="*/ 68 w 110"/>
                <a:gd name="T7" fmla="*/ 7 h 80"/>
                <a:gd name="T8" fmla="*/ 71 w 110"/>
                <a:gd name="T9" fmla="*/ 5 h 80"/>
                <a:gd name="T10" fmla="*/ 77 w 110"/>
                <a:gd name="T11" fmla="*/ 9 h 80"/>
                <a:gd name="T12" fmla="*/ 83 w 110"/>
                <a:gd name="T13" fmla="*/ 5 h 80"/>
                <a:gd name="T14" fmla="*/ 89 w 110"/>
                <a:gd name="T15" fmla="*/ 1 h 80"/>
                <a:gd name="T16" fmla="*/ 91 w 110"/>
                <a:gd name="T17" fmla="*/ 9 h 80"/>
                <a:gd name="T18" fmla="*/ 93 w 110"/>
                <a:gd name="T19" fmla="*/ 9 h 80"/>
                <a:gd name="T20" fmla="*/ 94 w 110"/>
                <a:gd name="T21" fmla="*/ 17 h 80"/>
                <a:gd name="T22" fmla="*/ 100 w 110"/>
                <a:gd name="T23" fmla="*/ 21 h 80"/>
                <a:gd name="T24" fmla="*/ 98 w 110"/>
                <a:gd name="T25" fmla="*/ 25 h 80"/>
                <a:gd name="T26" fmla="*/ 100 w 110"/>
                <a:gd name="T27" fmla="*/ 32 h 80"/>
                <a:gd name="T28" fmla="*/ 104 w 110"/>
                <a:gd name="T29" fmla="*/ 38 h 80"/>
                <a:gd name="T30" fmla="*/ 104 w 110"/>
                <a:gd name="T31" fmla="*/ 42 h 80"/>
                <a:gd name="T32" fmla="*/ 104 w 110"/>
                <a:gd name="T33" fmla="*/ 44 h 80"/>
                <a:gd name="T34" fmla="*/ 104 w 110"/>
                <a:gd name="T35" fmla="*/ 48 h 80"/>
                <a:gd name="T36" fmla="*/ 110 w 110"/>
                <a:gd name="T37" fmla="*/ 53 h 80"/>
                <a:gd name="T38" fmla="*/ 110 w 110"/>
                <a:gd name="T39" fmla="*/ 59 h 80"/>
                <a:gd name="T40" fmla="*/ 106 w 110"/>
                <a:gd name="T41" fmla="*/ 61 h 80"/>
                <a:gd name="T42" fmla="*/ 106 w 110"/>
                <a:gd name="T43" fmla="*/ 67 h 80"/>
                <a:gd name="T44" fmla="*/ 102 w 110"/>
                <a:gd name="T45" fmla="*/ 76 h 80"/>
                <a:gd name="T46" fmla="*/ 96 w 110"/>
                <a:gd name="T47" fmla="*/ 74 h 80"/>
                <a:gd name="T48" fmla="*/ 93 w 110"/>
                <a:gd name="T49" fmla="*/ 76 h 80"/>
                <a:gd name="T50" fmla="*/ 91 w 110"/>
                <a:gd name="T51" fmla="*/ 80 h 80"/>
                <a:gd name="T52" fmla="*/ 85 w 110"/>
                <a:gd name="T53" fmla="*/ 76 h 80"/>
                <a:gd name="T54" fmla="*/ 85 w 110"/>
                <a:gd name="T55" fmla="*/ 71 h 80"/>
                <a:gd name="T56" fmla="*/ 83 w 110"/>
                <a:gd name="T57" fmla="*/ 65 h 80"/>
                <a:gd name="T58" fmla="*/ 77 w 110"/>
                <a:gd name="T59" fmla="*/ 61 h 80"/>
                <a:gd name="T60" fmla="*/ 68 w 110"/>
                <a:gd name="T61" fmla="*/ 63 h 80"/>
                <a:gd name="T62" fmla="*/ 68 w 110"/>
                <a:gd name="T63" fmla="*/ 61 h 80"/>
                <a:gd name="T64" fmla="*/ 68 w 110"/>
                <a:gd name="T65" fmla="*/ 55 h 80"/>
                <a:gd name="T66" fmla="*/ 64 w 110"/>
                <a:gd name="T67" fmla="*/ 49 h 80"/>
                <a:gd name="T68" fmla="*/ 58 w 110"/>
                <a:gd name="T69" fmla="*/ 40 h 80"/>
                <a:gd name="T70" fmla="*/ 43 w 110"/>
                <a:gd name="T71" fmla="*/ 42 h 80"/>
                <a:gd name="T72" fmla="*/ 37 w 110"/>
                <a:gd name="T73" fmla="*/ 46 h 80"/>
                <a:gd name="T74" fmla="*/ 31 w 110"/>
                <a:gd name="T75" fmla="*/ 53 h 80"/>
                <a:gd name="T76" fmla="*/ 25 w 110"/>
                <a:gd name="T77" fmla="*/ 49 h 80"/>
                <a:gd name="T78" fmla="*/ 25 w 110"/>
                <a:gd name="T79" fmla="*/ 46 h 80"/>
                <a:gd name="T80" fmla="*/ 22 w 110"/>
                <a:gd name="T81" fmla="*/ 48 h 80"/>
                <a:gd name="T82" fmla="*/ 22 w 110"/>
                <a:gd name="T83" fmla="*/ 42 h 80"/>
                <a:gd name="T84" fmla="*/ 18 w 110"/>
                <a:gd name="T85" fmla="*/ 40 h 80"/>
                <a:gd name="T86" fmla="*/ 16 w 110"/>
                <a:gd name="T87" fmla="*/ 36 h 80"/>
                <a:gd name="T88" fmla="*/ 14 w 110"/>
                <a:gd name="T89" fmla="*/ 36 h 80"/>
                <a:gd name="T90" fmla="*/ 8 w 110"/>
                <a:gd name="T91" fmla="*/ 32 h 80"/>
                <a:gd name="T92" fmla="*/ 8 w 110"/>
                <a:gd name="T93" fmla="*/ 26 h 80"/>
                <a:gd name="T94" fmla="*/ 6 w 110"/>
                <a:gd name="T95" fmla="*/ 26 h 80"/>
                <a:gd name="T96" fmla="*/ 4 w 110"/>
                <a:gd name="T97" fmla="*/ 23 h 80"/>
                <a:gd name="T98" fmla="*/ 12 w 110"/>
                <a:gd name="T99" fmla="*/ 15 h 80"/>
                <a:gd name="T100" fmla="*/ 20 w 110"/>
                <a:gd name="T101" fmla="*/ 13 h 80"/>
                <a:gd name="T102" fmla="*/ 20 w 110"/>
                <a:gd name="T103" fmla="*/ 7 h 80"/>
                <a:gd name="T104" fmla="*/ 22 w 110"/>
                <a:gd name="T105" fmla="*/ 0 h 80"/>
                <a:gd name="T106" fmla="*/ 31 w 110"/>
                <a:gd name="T107" fmla="*/ 3 h 80"/>
                <a:gd name="T108" fmla="*/ 41 w 110"/>
                <a:gd name="T109" fmla="*/ 3 h 80"/>
                <a:gd name="T110" fmla="*/ 50 w 110"/>
                <a:gd name="T111" fmla="*/ 3 h 80"/>
                <a:gd name="T112" fmla="*/ 0 w 110"/>
                <a:gd name="T113" fmla="*/ 28 h 80"/>
                <a:gd name="T114" fmla="*/ 14 w 110"/>
                <a:gd name="T115" fmla="*/ 36 h 80"/>
                <a:gd name="T116" fmla="*/ 22 w 110"/>
                <a:gd name="T117" fmla="*/ 42 h 80"/>
                <a:gd name="T118" fmla="*/ 16 w 110"/>
                <a:gd name="T119" fmla="*/ 40 h 80"/>
                <a:gd name="T120" fmla="*/ 20 w 110"/>
                <a:gd name="T121" fmla="*/ 42 h 80"/>
                <a:gd name="T122" fmla="*/ 20 w 110"/>
                <a:gd name="T123" fmla="*/ 48 h 80"/>
                <a:gd name="T124" fmla="*/ 22 w 110"/>
                <a:gd name="T125"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 h="80">
                  <a:moveTo>
                    <a:pt x="56" y="3"/>
                  </a:moveTo>
                  <a:lnTo>
                    <a:pt x="54" y="3"/>
                  </a:lnTo>
                  <a:lnTo>
                    <a:pt x="54" y="5"/>
                  </a:lnTo>
                  <a:lnTo>
                    <a:pt x="54" y="7"/>
                  </a:lnTo>
                  <a:lnTo>
                    <a:pt x="56" y="7"/>
                  </a:lnTo>
                  <a:lnTo>
                    <a:pt x="56" y="9"/>
                  </a:lnTo>
                  <a:lnTo>
                    <a:pt x="58" y="9"/>
                  </a:lnTo>
                  <a:lnTo>
                    <a:pt x="60" y="9"/>
                  </a:lnTo>
                  <a:lnTo>
                    <a:pt x="58" y="9"/>
                  </a:lnTo>
                  <a:lnTo>
                    <a:pt x="58" y="7"/>
                  </a:lnTo>
                  <a:lnTo>
                    <a:pt x="60" y="7"/>
                  </a:lnTo>
                  <a:lnTo>
                    <a:pt x="60" y="5"/>
                  </a:lnTo>
                  <a:lnTo>
                    <a:pt x="60" y="7"/>
                  </a:lnTo>
                  <a:lnTo>
                    <a:pt x="60" y="5"/>
                  </a:lnTo>
                  <a:lnTo>
                    <a:pt x="60" y="7"/>
                  </a:lnTo>
                  <a:lnTo>
                    <a:pt x="62" y="7"/>
                  </a:lnTo>
                  <a:lnTo>
                    <a:pt x="62" y="5"/>
                  </a:lnTo>
                  <a:lnTo>
                    <a:pt x="62" y="7"/>
                  </a:lnTo>
                  <a:lnTo>
                    <a:pt x="64" y="7"/>
                  </a:lnTo>
                  <a:lnTo>
                    <a:pt x="62" y="7"/>
                  </a:lnTo>
                  <a:lnTo>
                    <a:pt x="64" y="7"/>
                  </a:lnTo>
                  <a:lnTo>
                    <a:pt x="64" y="9"/>
                  </a:lnTo>
                  <a:lnTo>
                    <a:pt x="66" y="11"/>
                  </a:lnTo>
                  <a:lnTo>
                    <a:pt x="64" y="11"/>
                  </a:lnTo>
                  <a:lnTo>
                    <a:pt x="66" y="11"/>
                  </a:lnTo>
                  <a:lnTo>
                    <a:pt x="66" y="9"/>
                  </a:lnTo>
                  <a:lnTo>
                    <a:pt x="68" y="9"/>
                  </a:lnTo>
                  <a:lnTo>
                    <a:pt x="68" y="7"/>
                  </a:lnTo>
                  <a:lnTo>
                    <a:pt x="70" y="7"/>
                  </a:lnTo>
                  <a:lnTo>
                    <a:pt x="71" y="7"/>
                  </a:lnTo>
                  <a:lnTo>
                    <a:pt x="71" y="5"/>
                  </a:lnTo>
                  <a:lnTo>
                    <a:pt x="71" y="7"/>
                  </a:lnTo>
                  <a:lnTo>
                    <a:pt x="71" y="5"/>
                  </a:lnTo>
                  <a:lnTo>
                    <a:pt x="71" y="7"/>
                  </a:lnTo>
                  <a:lnTo>
                    <a:pt x="71" y="5"/>
                  </a:lnTo>
                  <a:lnTo>
                    <a:pt x="71" y="7"/>
                  </a:lnTo>
                  <a:lnTo>
                    <a:pt x="73" y="7"/>
                  </a:lnTo>
                  <a:lnTo>
                    <a:pt x="75" y="7"/>
                  </a:lnTo>
                  <a:lnTo>
                    <a:pt x="73" y="7"/>
                  </a:lnTo>
                  <a:lnTo>
                    <a:pt x="75" y="7"/>
                  </a:lnTo>
                  <a:lnTo>
                    <a:pt x="77" y="7"/>
                  </a:lnTo>
                  <a:lnTo>
                    <a:pt x="77" y="9"/>
                  </a:lnTo>
                  <a:lnTo>
                    <a:pt x="79" y="9"/>
                  </a:lnTo>
                  <a:lnTo>
                    <a:pt x="81" y="9"/>
                  </a:lnTo>
                  <a:lnTo>
                    <a:pt x="79" y="9"/>
                  </a:lnTo>
                  <a:lnTo>
                    <a:pt x="81" y="9"/>
                  </a:lnTo>
                  <a:lnTo>
                    <a:pt x="81" y="7"/>
                  </a:lnTo>
                  <a:lnTo>
                    <a:pt x="83" y="7"/>
                  </a:lnTo>
                  <a:lnTo>
                    <a:pt x="83" y="5"/>
                  </a:lnTo>
                  <a:lnTo>
                    <a:pt x="85" y="5"/>
                  </a:lnTo>
                  <a:lnTo>
                    <a:pt x="85" y="3"/>
                  </a:lnTo>
                  <a:lnTo>
                    <a:pt x="87" y="3"/>
                  </a:lnTo>
                  <a:lnTo>
                    <a:pt x="85" y="3"/>
                  </a:lnTo>
                  <a:lnTo>
                    <a:pt x="85" y="1"/>
                  </a:lnTo>
                  <a:lnTo>
                    <a:pt x="87" y="1"/>
                  </a:lnTo>
                  <a:lnTo>
                    <a:pt x="89" y="1"/>
                  </a:lnTo>
                  <a:lnTo>
                    <a:pt x="89" y="3"/>
                  </a:lnTo>
                  <a:lnTo>
                    <a:pt x="91" y="3"/>
                  </a:lnTo>
                  <a:lnTo>
                    <a:pt x="91" y="5"/>
                  </a:lnTo>
                  <a:lnTo>
                    <a:pt x="91" y="7"/>
                  </a:lnTo>
                  <a:lnTo>
                    <a:pt x="93" y="7"/>
                  </a:lnTo>
                  <a:lnTo>
                    <a:pt x="91" y="7"/>
                  </a:lnTo>
                  <a:lnTo>
                    <a:pt x="91" y="9"/>
                  </a:lnTo>
                  <a:lnTo>
                    <a:pt x="93" y="9"/>
                  </a:lnTo>
                  <a:lnTo>
                    <a:pt x="91" y="9"/>
                  </a:lnTo>
                  <a:lnTo>
                    <a:pt x="93" y="9"/>
                  </a:lnTo>
                  <a:lnTo>
                    <a:pt x="91" y="9"/>
                  </a:lnTo>
                  <a:lnTo>
                    <a:pt x="93" y="9"/>
                  </a:lnTo>
                  <a:lnTo>
                    <a:pt x="91" y="9"/>
                  </a:lnTo>
                  <a:lnTo>
                    <a:pt x="93" y="9"/>
                  </a:lnTo>
                  <a:lnTo>
                    <a:pt x="93" y="11"/>
                  </a:lnTo>
                  <a:lnTo>
                    <a:pt x="93" y="13"/>
                  </a:lnTo>
                  <a:lnTo>
                    <a:pt x="93" y="15"/>
                  </a:lnTo>
                  <a:lnTo>
                    <a:pt x="94" y="15"/>
                  </a:lnTo>
                  <a:lnTo>
                    <a:pt x="94" y="17"/>
                  </a:lnTo>
                  <a:lnTo>
                    <a:pt x="96" y="17"/>
                  </a:lnTo>
                  <a:lnTo>
                    <a:pt x="94" y="17"/>
                  </a:lnTo>
                  <a:lnTo>
                    <a:pt x="96" y="17"/>
                  </a:lnTo>
                  <a:lnTo>
                    <a:pt x="98" y="17"/>
                  </a:lnTo>
                  <a:lnTo>
                    <a:pt x="98" y="19"/>
                  </a:lnTo>
                  <a:lnTo>
                    <a:pt x="100" y="19"/>
                  </a:lnTo>
                  <a:lnTo>
                    <a:pt x="98" y="19"/>
                  </a:lnTo>
                  <a:lnTo>
                    <a:pt x="100" y="19"/>
                  </a:lnTo>
                  <a:lnTo>
                    <a:pt x="100" y="21"/>
                  </a:lnTo>
                  <a:lnTo>
                    <a:pt x="98" y="21"/>
                  </a:lnTo>
                  <a:lnTo>
                    <a:pt x="96" y="21"/>
                  </a:lnTo>
                  <a:lnTo>
                    <a:pt x="96" y="23"/>
                  </a:lnTo>
                  <a:lnTo>
                    <a:pt x="96" y="25"/>
                  </a:lnTo>
                  <a:lnTo>
                    <a:pt x="94" y="25"/>
                  </a:lnTo>
                  <a:lnTo>
                    <a:pt x="96" y="25"/>
                  </a:lnTo>
                  <a:lnTo>
                    <a:pt x="98" y="25"/>
                  </a:lnTo>
                  <a:lnTo>
                    <a:pt x="98" y="23"/>
                  </a:lnTo>
                  <a:lnTo>
                    <a:pt x="100" y="23"/>
                  </a:lnTo>
                  <a:lnTo>
                    <a:pt x="100" y="25"/>
                  </a:lnTo>
                  <a:lnTo>
                    <a:pt x="100" y="26"/>
                  </a:lnTo>
                  <a:lnTo>
                    <a:pt x="100" y="28"/>
                  </a:lnTo>
                  <a:lnTo>
                    <a:pt x="100" y="30"/>
                  </a:lnTo>
                  <a:lnTo>
                    <a:pt x="100" y="32"/>
                  </a:lnTo>
                  <a:lnTo>
                    <a:pt x="102" y="32"/>
                  </a:lnTo>
                  <a:lnTo>
                    <a:pt x="104" y="32"/>
                  </a:lnTo>
                  <a:lnTo>
                    <a:pt x="104" y="34"/>
                  </a:lnTo>
                  <a:lnTo>
                    <a:pt x="106" y="34"/>
                  </a:lnTo>
                  <a:lnTo>
                    <a:pt x="106" y="36"/>
                  </a:lnTo>
                  <a:lnTo>
                    <a:pt x="104" y="36"/>
                  </a:lnTo>
                  <a:lnTo>
                    <a:pt x="104" y="38"/>
                  </a:lnTo>
                  <a:lnTo>
                    <a:pt x="102" y="38"/>
                  </a:lnTo>
                  <a:lnTo>
                    <a:pt x="102" y="40"/>
                  </a:lnTo>
                  <a:lnTo>
                    <a:pt x="104" y="40"/>
                  </a:lnTo>
                  <a:lnTo>
                    <a:pt x="102" y="40"/>
                  </a:lnTo>
                  <a:lnTo>
                    <a:pt x="104" y="40"/>
                  </a:lnTo>
                  <a:lnTo>
                    <a:pt x="102" y="42"/>
                  </a:lnTo>
                  <a:lnTo>
                    <a:pt x="104" y="42"/>
                  </a:lnTo>
                  <a:lnTo>
                    <a:pt x="104" y="44"/>
                  </a:lnTo>
                  <a:lnTo>
                    <a:pt x="102" y="44"/>
                  </a:lnTo>
                  <a:lnTo>
                    <a:pt x="104" y="44"/>
                  </a:lnTo>
                  <a:lnTo>
                    <a:pt x="102" y="44"/>
                  </a:lnTo>
                  <a:lnTo>
                    <a:pt x="104" y="44"/>
                  </a:lnTo>
                  <a:lnTo>
                    <a:pt x="102" y="44"/>
                  </a:lnTo>
                  <a:lnTo>
                    <a:pt x="104" y="44"/>
                  </a:lnTo>
                  <a:lnTo>
                    <a:pt x="102" y="44"/>
                  </a:lnTo>
                  <a:lnTo>
                    <a:pt x="104" y="44"/>
                  </a:lnTo>
                  <a:lnTo>
                    <a:pt x="102" y="44"/>
                  </a:lnTo>
                  <a:lnTo>
                    <a:pt x="104" y="46"/>
                  </a:lnTo>
                  <a:lnTo>
                    <a:pt x="102" y="46"/>
                  </a:lnTo>
                  <a:lnTo>
                    <a:pt x="102" y="48"/>
                  </a:lnTo>
                  <a:lnTo>
                    <a:pt x="104" y="48"/>
                  </a:lnTo>
                  <a:lnTo>
                    <a:pt x="106" y="48"/>
                  </a:lnTo>
                  <a:lnTo>
                    <a:pt x="108" y="48"/>
                  </a:lnTo>
                  <a:lnTo>
                    <a:pt x="106" y="49"/>
                  </a:lnTo>
                  <a:lnTo>
                    <a:pt x="106" y="51"/>
                  </a:lnTo>
                  <a:lnTo>
                    <a:pt x="108" y="51"/>
                  </a:lnTo>
                  <a:lnTo>
                    <a:pt x="108" y="53"/>
                  </a:lnTo>
                  <a:lnTo>
                    <a:pt x="110" y="53"/>
                  </a:lnTo>
                  <a:lnTo>
                    <a:pt x="108" y="53"/>
                  </a:lnTo>
                  <a:lnTo>
                    <a:pt x="106" y="53"/>
                  </a:lnTo>
                  <a:lnTo>
                    <a:pt x="106" y="55"/>
                  </a:lnTo>
                  <a:lnTo>
                    <a:pt x="106" y="57"/>
                  </a:lnTo>
                  <a:lnTo>
                    <a:pt x="108" y="57"/>
                  </a:lnTo>
                  <a:lnTo>
                    <a:pt x="108" y="59"/>
                  </a:lnTo>
                  <a:lnTo>
                    <a:pt x="110" y="59"/>
                  </a:lnTo>
                  <a:lnTo>
                    <a:pt x="110" y="61"/>
                  </a:lnTo>
                  <a:lnTo>
                    <a:pt x="110" y="63"/>
                  </a:lnTo>
                  <a:lnTo>
                    <a:pt x="108" y="63"/>
                  </a:lnTo>
                  <a:lnTo>
                    <a:pt x="108" y="61"/>
                  </a:lnTo>
                  <a:lnTo>
                    <a:pt x="108" y="63"/>
                  </a:lnTo>
                  <a:lnTo>
                    <a:pt x="106" y="63"/>
                  </a:lnTo>
                  <a:lnTo>
                    <a:pt x="106" y="61"/>
                  </a:lnTo>
                  <a:lnTo>
                    <a:pt x="104" y="61"/>
                  </a:lnTo>
                  <a:lnTo>
                    <a:pt x="102" y="61"/>
                  </a:lnTo>
                  <a:lnTo>
                    <a:pt x="102" y="63"/>
                  </a:lnTo>
                  <a:lnTo>
                    <a:pt x="102" y="65"/>
                  </a:lnTo>
                  <a:lnTo>
                    <a:pt x="102" y="67"/>
                  </a:lnTo>
                  <a:lnTo>
                    <a:pt x="104" y="67"/>
                  </a:lnTo>
                  <a:lnTo>
                    <a:pt x="106" y="67"/>
                  </a:lnTo>
                  <a:lnTo>
                    <a:pt x="106" y="69"/>
                  </a:lnTo>
                  <a:lnTo>
                    <a:pt x="104" y="69"/>
                  </a:lnTo>
                  <a:lnTo>
                    <a:pt x="104" y="71"/>
                  </a:lnTo>
                  <a:lnTo>
                    <a:pt x="104" y="73"/>
                  </a:lnTo>
                  <a:lnTo>
                    <a:pt x="102" y="73"/>
                  </a:lnTo>
                  <a:lnTo>
                    <a:pt x="102" y="74"/>
                  </a:lnTo>
                  <a:lnTo>
                    <a:pt x="102" y="76"/>
                  </a:lnTo>
                  <a:lnTo>
                    <a:pt x="100" y="74"/>
                  </a:lnTo>
                  <a:lnTo>
                    <a:pt x="98" y="74"/>
                  </a:lnTo>
                  <a:lnTo>
                    <a:pt x="98" y="76"/>
                  </a:lnTo>
                  <a:lnTo>
                    <a:pt x="96" y="76"/>
                  </a:lnTo>
                  <a:lnTo>
                    <a:pt x="98" y="76"/>
                  </a:lnTo>
                  <a:lnTo>
                    <a:pt x="98" y="74"/>
                  </a:lnTo>
                  <a:lnTo>
                    <a:pt x="96" y="74"/>
                  </a:lnTo>
                  <a:lnTo>
                    <a:pt x="96" y="73"/>
                  </a:lnTo>
                  <a:lnTo>
                    <a:pt x="94" y="73"/>
                  </a:lnTo>
                  <a:lnTo>
                    <a:pt x="94" y="74"/>
                  </a:lnTo>
                  <a:lnTo>
                    <a:pt x="94" y="76"/>
                  </a:lnTo>
                  <a:lnTo>
                    <a:pt x="93" y="76"/>
                  </a:lnTo>
                  <a:lnTo>
                    <a:pt x="94" y="76"/>
                  </a:lnTo>
                  <a:lnTo>
                    <a:pt x="93" y="76"/>
                  </a:lnTo>
                  <a:lnTo>
                    <a:pt x="93" y="78"/>
                  </a:lnTo>
                  <a:lnTo>
                    <a:pt x="93" y="80"/>
                  </a:lnTo>
                  <a:lnTo>
                    <a:pt x="93" y="78"/>
                  </a:lnTo>
                  <a:lnTo>
                    <a:pt x="93" y="80"/>
                  </a:lnTo>
                  <a:lnTo>
                    <a:pt x="91" y="80"/>
                  </a:lnTo>
                  <a:lnTo>
                    <a:pt x="93" y="80"/>
                  </a:lnTo>
                  <a:lnTo>
                    <a:pt x="91" y="80"/>
                  </a:lnTo>
                  <a:lnTo>
                    <a:pt x="89" y="80"/>
                  </a:lnTo>
                  <a:lnTo>
                    <a:pt x="87" y="80"/>
                  </a:lnTo>
                  <a:lnTo>
                    <a:pt x="87" y="78"/>
                  </a:lnTo>
                  <a:lnTo>
                    <a:pt x="85" y="78"/>
                  </a:lnTo>
                  <a:lnTo>
                    <a:pt x="85" y="76"/>
                  </a:lnTo>
                  <a:lnTo>
                    <a:pt x="85" y="78"/>
                  </a:lnTo>
                  <a:lnTo>
                    <a:pt x="85" y="76"/>
                  </a:lnTo>
                  <a:lnTo>
                    <a:pt x="85" y="78"/>
                  </a:lnTo>
                  <a:lnTo>
                    <a:pt x="83" y="78"/>
                  </a:lnTo>
                  <a:lnTo>
                    <a:pt x="83" y="76"/>
                  </a:lnTo>
                  <a:lnTo>
                    <a:pt x="85" y="76"/>
                  </a:lnTo>
                  <a:lnTo>
                    <a:pt x="85" y="74"/>
                  </a:lnTo>
                  <a:lnTo>
                    <a:pt x="85" y="73"/>
                  </a:lnTo>
                  <a:lnTo>
                    <a:pt x="85" y="71"/>
                  </a:lnTo>
                  <a:lnTo>
                    <a:pt x="83" y="71"/>
                  </a:lnTo>
                  <a:lnTo>
                    <a:pt x="85" y="71"/>
                  </a:lnTo>
                  <a:lnTo>
                    <a:pt x="83" y="71"/>
                  </a:lnTo>
                  <a:lnTo>
                    <a:pt x="85" y="69"/>
                  </a:lnTo>
                  <a:lnTo>
                    <a:pt x="83" y="69"/>
                  </a:lnTo>
                  <a:lnTo>
                    <a:pt x="83" y="67"/>
                  </a:lnTo>
                  <a:lnTo>
                    <a:pt x="83" y="65"/>
                  </a:lnTo>
                  <a:lnTo>
                    <a:pt x="83" y="63"/>
                  </a:lnTo>
                  <a:lnTo>
                    <a:pt x="81" y="63"/>
                  </a:lnTo>
                  <a:lnTo>
                    <a:pt x="81" y="61"/>
                  </a:lnTo>
                  <a:lnTo>
                    <a:pt x="79" y="61"/>
                  </a:lnTo>
                  <a:lnTo>
                    <a:pt x="79" y="63"/>
                  </a:lnTo>
                  <a:lnTo>
                    <a:pt x="79" y="61"/>
                  </a:lnTo>
                  <a:lnTo>
                    <a:pt x="77" y="61"/>
                  </a:lnTo>
                  <a:lnTo>
                    <a:pt x="75" y="63"/>
                  </a:lnTo>
                  <a:lnTo>
                    <a:pt x="75" y="61"/>
                  </a:lnTo>
                  <a:lnTo>
                    <a:pt x="73" y="61"/>
                  </a:lnTo>
                  <a:lnTo>
                    <a:pt x="71" y="61"/>
                  </a:lnTo>
                  <a:lnTo>
                    <a:pt x="70" y="61"/>
                  </a:lnTo>
                  <a:lnTo>
                    <a:pt x="70" y="63"/>
                  </a:lnTo>
                  <a:lnTo>
                    <a:pt x="68" y="63"/>
                  </a:lnTo>
                  <a:lnTo>
                    <a:pt x="68" y="65"/>
                  </a:lnTo>
                  <a:lnTo>
                    <a:pt x="66" y="65"/>
                  </a:lnTo>
                  <a:lnTo>
                    <a:pt x="66" y="63"/>
                  </a:lnTo>
                  <a:lnTo>
                    <a:pt x="66" y="65"/>
                  </a:lnTo>
                  <a:lnTo>
                    <a:pt x="66" y="63"/>
                  </a:lnTo>
                  <a:lnTo>
                    <a:pt x="66" y="61"/>
                  </a:lnTo>
                  <a:lnTo>
                    <a:pt x="68" y="61"/>
                  </a:lnTo>
                  <a:lnTo>
                    <a:pt x="66" y="61"/>
                  </a:lnTo>
                  <a:lnTo>
                    <a:pt x="68" y="61"/>
                  </a:lnTo>
                  <a:lnTo>
                    <a:pt x="68" y="59"/>
                  </a:lnTo>
                  <a:lnTo>
                    <a:pt x="70" y="59"/>
                  </a:lnTo>
                  <a:lnTo>
                    <a:pt x="68" y="59"/>
                  </a:lnTo>
                  <a:lnTo>
                    <a:pt x="68" y="57"/>
                  </a:lnTo>
                  <a:lnTo>
                    <a:pt x="68" y="55"/>
                  </a:lnTo>
                  <a:lnTo>
                    <a:pt x="68" y="53"/>
                  </a:lnTo>
                  <a:lnTo>
                    <a:pt x="66" y="53"/>
                  </a:lnTo>
                  <a:lnTo>
                    <a:pt x="66" y="51"/>
                  </a:lnTo>
                  <a:lnTo>
                    <a:pt x="66" y="49"/>
                  </a:lnTo>
                  <a:lnTo>
                    <a:pt x="66" y="48"/>
                  </a:lnTo>
                  <a:lnTo>
                    <a:pt x="64" y="48"/>
                  </a:lnTo>
                  <a:lnTo>
                    <a:pt x="64" y="49"/>
                  </a:lnTo>
                  <a:lnTo>
                    <a:pt x="64" y="48"/>
                  </a:lnTo>
                  <a:lnTo>
                    <a:pt x="64" y="46"/>
                  </a:lnTo>
                  <a:lnTo>
                    <a:pt x="62" y="46"/>
                  </a:lnTo>
                  <a:lnTo>
                    <a:pt x="62" y="44"/>
                  </a:lnTo>
                  <a:lnTo>
                    <a:pt x="60" y="42"/>
                  </a:lnTo>
                  <a:lnTo>
                    <a:pt x="58" y="42"/>
                  </a:lnTo>
                  <a:lnTo>
                    <a:pt x="58" y="40"/>
                  </a:lnTo>
                  <a:lnTo>
                    <a:pt x="56" y="40"/>
                  </a:lnTo>
                  <a:lnTo>
                    <a:pt x="54" y="40"/>
                  </a:lnTo>
                  <a:lnTo>
                    <a:pt x="52" y="40"/>
                  </a:lnTo>
                  <a:lnTo>
                    <a:pt x="48" y="40"/>
                  </a:lnTo>
                  <a:lnTo>
                    <a:pt x="47" y="40"/>
                  </a:lnTo>
                  <a:lnTo>
                    <a:pt x="45" y="42"/>
                  </a:lnTo>
                  <a:lnTo>
                    <a:pt x="43" y="42"/>
                  </a:lnTo>
                  <a:lnTo>
                    <a:pt x="43" y="40"/>
                  </a:lnTo>
                  <a:lnTo>
                    <a:pt x="41" y="42"/>
                  </a:lnTo>
                  <a:lnTo>
                    <a:pt x="39" y="42"/>
                  </a:lnTo>
                  <a:lnTo>
                    <a:pt x="39" y="44"/>
                  </a:lnTo>
                  <a:lnTo>
                    <a:pt x="37" y="44"/>
                  </a:lnTo>
                  <a:lnTo>
                    <a:pt x="39" y="46"/>
                  </a:lnTo>
                  <a:lnTo>
                    <a:pt x="37" y="46"/>
                  </a:lnTo>
                  <a:lnTo>
                    <a:pt x="37" y="48"/>
                  </a:lnTo>
                  <a:lnTo>
                    <a:pt x="35" y="48"/>
                  </a:lnTo>
                  <a:lnTo>
                    <a:pt x="35" y="49"/>
                  </a:lnTo>
                  <a:lnTo>
                    <a:pt x="33" y="49"/>
                  </a:lnTo>
                  <a:lnTo>
                    <a:pt x="33" y="51"/>
                  </a:lnTo>
                  <a:lnTo>
                    <a:pt x="31" y="51"/>
                  </a:lnTo>
                  <a:lnTo>
                    <a:pt x="31" y="53"/>
                  </a:lnTo>
                  <a:lnTo>
                    <a:pt x="29" y="53"/>
                  </a:lnTo>
                  <a:lnTo>
                    <a:pt x="27" y="53"/>
                  </a:lnTo>
                  <a:lnTo>
                    <a:pt x="27" y="51"/>
                  </a:lnTo>
                  <a:lnTo>
                    <a:pt x="29" y="51"/>
                  </a:lnTo>
                  <a:lnTo>
                    <a:pt x="27" y="51"/>
                  </a:lnTo>
                  <a:lnTo>
                    <a:pt x="27" y="49"/>
                  </a:lnTo>
                  <a:lnTo>
                    <a:pt x="25" y="49"/>
                  </a:lnTo>
                  <a:lnTo>
                    <a:pt x="25" y="48"/>
                  </a:lnTo>
                  <a:lnTo>
                    <a:pt x="23" y="48"/>
                  </a:lnTo>
                  <a:lnTo>
                    <a:pt x="25" y="46"/>
                  </a:lnTo>
                  <a:lnTo>
                    <a:pt x="23" y="46"/>
                  </a:lnTo>
                  <a:lnTo>
                    <a:pt x="25" y="46"/>
                  </a:lnTo>
                  <a:lnTo>
                    <a:pt x="23" y="46"/>
                  </a:lnTo>
                  <a:lnTo>
                    <a:pt x="25" y="46"/>
                  </a:lnTo>
                  <a:lnTo>
                    <a:pt x="23" y="46"/>
                  </a:lnTo>
                  <a:lnTo>
                    <a:pt x="25" y="46"/>
                  </a:lnTo>
                  <a:lnTo>
                    <a:pt x="23" y="46"/>
                  </a:lnTo>
                  <a:lnTo>
                    <a:pt x="23" y="48"/>
                  </a:lnTo>
                  <a:lnTo>
                    <a:pt x="23" y="46"/>
                  </a:lnTo>
                  <a:lnTo>
                    <a:pt x="22" y="46"/>
                  </a:lnTo>
                  <a:lnTo>
                    <a:pt x="22" y="48"/>
                  </a:lnTo>
                  <a:lnTo>
                    <a:pt x="22" y="46"/>
                  </a:lnTo>
                  <a:lnTo>
                    <a:pt x="23" y="46"/>
                  </a:lnTo>
                  <a:lnTo>
                    <a:pt x="23" y="44"/>
                  </a:lnTo>
                  <a:lnTo>
                    <a:pt x="23" y="42"/>
                  </a:lnTo>
                  <a:lnTo>
                    <a:pt x="23" y="44"/>
                  </a:lnTo>
                  <a:lnTo>
                    <a:pt x="23" y="42"/>
                  </a:lnTo>
                  <a:lnTo>
                    <a:pt x="22" y="42"/>
                  </a:lnTo>
                  <a:lnTo>
                    <a:pt x="22" y="40"/>
                  </a:lnTo>
                  <a:lnTo>
                    <a:pt x="22" y="42"/>
                  </a:lnTo>
                  <a:lnTo>
                    <a:pt x="22" y="40"/>
                  </a:lnTo>
                  <a:lnTo>
                    <a:pt x="22" y="42"/>
                  </a:lnTo>
                  <a:lnTo>
                    <a:pt x="20" y="42"/>
                  </a:lnTo>
                  <a:lnTo>
                    <a:pt x="20" y="40"/>
                  </a:lnTo>
                  <a:lnTo>
                    <a:pt x="18" y="40"/>
                  </a:lnTo>
                  <a:lnTo>
                    <a:pt x="18" y="38"/>
                  </a:lnTo>
                  <a:lnTo>
                    <a:pt x="16" y="38"/>
                  </a:lnTo>
                  <a:lnTo>
                    <a:pt x="18" y="38"/>
                  </a:lnTo>
                  <a:lnTo>
                    <a:pt x="16" y="38"/>
                  </a:lnTo>
                  <a:lnTo>
                    <a:pt x="16" y="36"/>
                  </a:lnTo>
                  <a:lnTo>
                    <a:pt x="18" y="36"/>
                  </a:lnTo>
                  <a:lnTo>
                    <a:pt x="16" y="36"/>
                  </a:lnTo>
                  <a:lnTo>
                    <a:pt x="16" y="38"/>
                  </a:lnTo>
                  <a:lnTo>
                    <a:pt x="16" y="36"/>
                  </a:lnTo>
                  <a:lnTo>
                    <a:pt x="16" y="38"/>
                  </a:lnTo>
                  <a:lnTo>
                    <a:pt x="16" y="36"/>
                  </a:lnTo>
                  <a:lnTo>
                    <a:pt x="16" y="38"/>
                  </a:lnTo>
                  <a:lnTo>
                    <a:pt x="14" y="38"/>
                  </a:lnTo>
                  <a:lnTo>
                    <a:pt x="14" y="36"/>
                  </a:lnTo>
                  <a:lnTo>
                    <a:pt x="12" y="36"/>
                  </a:lnTo>
                  <a:lnTo>
                    <a:pt x="14" y="36"/>
                  </a:lnTo>
                  <a:lnTo>
                    <a:pt x="12" y="36"/>
                  </a:lnTo>
                  <a:lnTo>
                    <a:pt x="10" y="36"/>
                  </a:lnTo>
                  <a:lnTo>
                    <a:pt x="10" y="34"/>
                  </a:lnTo>
                  <a:lnTo>
                    <a:pt x="10" y="32"/>
                  </a:lnTo>
                  <a:lnTo>
                    <a:pt x="8" y="32"/>
                  </a:lnTo>
                  <a:lnTo>
                    <a:pt x="8" y="30"/>
                  </a:lnTo>
                  <a:lnTo>
                    <a:pt x="8" y="28"/>
                  </a:lnTo>
                  <a:lnTo>
                    <a:pt x="10" y="28"/>
                  </a:lnTo>
                  <a:lnTo>
                    <a:pt x="10" y="26"/>
                  </a:lnTo>
                  <a:lnTo>
                    <a:pt x="8" y="26"/>
                  </a:lnTo>
                  <a:lnTo>
                    <a:pt x="8" y="28"/>
                  </a:lnTo>
                  <a:lnTo>
                    <a:pt x="8" y="26"/>
                  </a:lnTo>
                  <a:lnTo>
                    <a:pt x="8" y="28"/>
                  </a:lnTo>
                  <a:lnTo>
                    <a:pt x="6" y="28"/>
                  </a:lnTo>
                  <a:lnTo>
                    <a:pt x="6" y="26"/>
                  </a:lnTo>
                  <a:lnTo>
                    <a:pt x="4" y="26"/>
                  </a:lnTo>
                  <a:lnTo>
                    <a:pt x="6" y="26"/>
                  </a:lnTo>
                  <a:lnTo>
                    <a:pt x="4" y="26"/>
                  </a:lnTo>
                  <a:lnTo>
                    <a:pt x="6" y="26"/>
                  </a:lnTo>
                  <a:lnTo>
                    <a:pt x="4" y="26"/>
                  </a:lnTo>
                  <a:lnTo>
                    <a:pt x="6" y="26"/>
                  </a:lnTo>
                  <a:lnTo>
                    <a:pt x="6" y="25"/>
                  </a:lnTo>
                  <a:lnTo>
                    <a:pt x="4" y="25"/>
                  </a:lnTo>
                  <a:lnTo>
                    <a:pt x="4" y="23"/>
                  </a:lnTo>
                  <a:lnTo>
                    <a:pt x="4" y="25"/>
                  </a:lnTo>
                  <a:lnTo>
                    <a:pt x="4" y="23"/>
                  </a:lnTo>
                  <a:lnTo>
                    <a:pt x="4" y="21"/>
                  </a:lnTo>
                  <a:lnTo>
                    <a:pt x="6" y="19"/>
                  </a:lnTo>
                  <a:lnTo>
                    <a:pt x="6" y="17"/>
                  </a:lnTo>
                  <a:lnTo>
                    <a:pt x="8" y="17"/>
                  </a:lnTo>
                  <a:lnTo>
                    <a:pt x="10" y="17"/>
                  </a:lnTo>
                  <a:lnTo>
                    <a:pt x="12" y="17"/>
                  </a:lnTo>
                  <a:lnTo>
                    <a:pt x="12" y="15"/>
                  </a:lnTo>
                  <a:lnTo>
                    <a:pt x="14" y="15"/>
                  </a:lnTo>
                  <a:lnTo>
                    <a:pt x="16" y="15"/>
                  </a:lnTo>
                  <a:lnTo>
                    <a:pt x="18" y="15"/>
                  </a:lnTo>
                  <a:lnTo>
                    <a:pt x="20" y="15"/>
                  </a:lnTo>
                  <a:lnTo>
                    <a:pt x="20" y="13"/>
                  </a:lnTo>
                  <a:lnTo>
                    <a:pt x="20" y="15"/>
                  </a:lnTo>
                  <a:lnTo>
                    <a:pt x="20" y="13"/>
                  </a:lnTo>
                  <a:lnTo>
                    <a:pt x="20" y="15"/>
                  </a:lnTo>
                  <a:lnTo>
                    <a:pt x="22" y="15"/>
                  </a:lnTo>
                  <a:lnTo>
                    <a:pt x="22" y="13"/>
                  </a:lnTo>
                  <a:lnTo>
                    <a:pt x="22" y="11"/>
                  </a:lnTo>
                  <a:lnTo>
                    <a:pt x="22" y="9"/>
                  </a:lnTo>
                  <a:lnTo>
                    <a:pt x="20" y="9"/>
                  </a:lnTo>
                  <a:lnTo>
                    <a:pt x="20" y="7"/>
                  </a:lnTo>
                  <a:lnTo>
                    <a:pt x="18" y="7"/>
                  </a:lnTo>
                  <a:lnTo>
                    <a:pt x="18" y="5"/>
                  </a:lnTo>
                  <a:lnTo>
                    <a:pt x="20" y="5"/>
                  </a:lnTo>
                  <a:lnTo>
                    <a:pt x="22" y="5"/>
                  </a:lnTo>
                  <a:lnTo>
                    <a:pt x="22" y="3"/>
                  </a:lnTo>
                  <a:lnTo>
                    <a:pt x="22" y="1"/>
                  </a:lnTo>
                  <a:lnTo>
                    <a:pt x="22" y="0"/>
                  </a:lnTo>
                  <a:lnTo>
                    <a:pt x="23" y="0"/>
                  </a:lnTo>
                  <a:lnTo>
                    <a:pt x="25" y="0"/>
                  </a:lnTo>
                  <a:lnTo>
                    <a:pt x="27" y="0"/>
                  </a:lnTo>
                  <a:lnTo>
                    <a:pt x="29" y="0"/>
                  </a:lnTo>
                  <a:lnTo>
                    <a:pt x="31" y="0"/>
                  </a:lnTo>
                  <a:lnTo>
                    <a:pt x="31" y="1"/>
                  </a:lnTo>
                  <a:lnTo>
                    <a:pt x="31" y="3"/>
                  </a:lnTo>
                  <a:lnTo>
                    <a:pt x="33" y="3"/>
                  </a:lnTo>
                  <a:lnTo>
                    <a:pt x="33" y="1"/>
                  </a:lnTo>
                  <a:lnTo>
                    <a:pt x="35" y="1"/>
                  </a:lnTo>
                  <a:lnTo>
                    <a:pt x="35" y="3"/>
                  </a:lnTo>
                  <a:lnTo>
                    <a:pt x="37" y="3"/>
                  </a:lnTo>
                  <a:lnTo>
                    <a:pt x="39" y="3"/>
                  </a:lnTo>
                  <a:lnTo>
                    <a:pt x="41" y="3"/>
                  </a:lnTo>
                  <a:lnTo>
                    <a:pt x="41" y="5"/>
                  </a:lnTo>
                  <a:lnTo>
                    <a:pt x="43" y="5"/>
                  </a:lnTo>
                  <a:lnTo>
                    <a:pt x="43" y="3"/>
                  </a:lnTo>
                  <a:lnTo>
                    <a:pt x="45" y="3"/>
                  </a:lnTo>
                  <a:lnTo>
                    <a:pt x="47" y="3"/>
                  </a:lnTo>
                  <a:lnTo>
                    <a:pt x="48" y="3"/>
                  </a:lnTo>
                  <a:lnTo>
                    <a:pt x="50" y="3"/>
                  </a:lnTo>
                  <a:lnTo>
                    <a:pt x="52" y="3"/>
                  </a:lnTo>
                  <a:lnTo>
                    <a:pt x="54" y="3"/>
                  </a:lnTo>
                  <a:lnTo>
                    <a:pt x="56" y="3"/>
                  </a:lnTo>
                  <a:close/>
                  <a:moveTo>
                    <a:pt x="0" y="25"/>
                  </a:moveTo>
                  <a:lnTo>
                    <a:pt x="4" y="25"/>
                  </a:lnTo>
                  <a:lnTo>
                    <a:pt x="4" y="28"/>
                  </a:lnTo>
                  <a:lnTo>
                    <a:pt x="0" y="28"/>
                  </a:lnTo>
                  <a:lnTo>
                    <a:pt x="0" y="25"/>
                  </a:lnTo>
                  <a:close/>
                  <a:moveTo>
                    <a:pt x="6" y="26"/>
                  </a:moveTo>
                  <a:lnTo>
                    <a:pt x="8" y="26"/>
                  </a:lnTo>
                  <a:lnTo>
                    <a:pt x="8" y="30"/>
                  </a:lnTo>
                  <a:lnTo>
                    <a:pt x="6" y="30"/>
                  </a:lnTo>
                  <a:lnTo>
                    <a:pt x="6" y="26"/>
                  </a:lnTo>
                  <a:close/>
                  <a:moveTo>
                    <a:pt x="14" y="36"/>
                  </a:moveTo>
                  <a:lnTo>
                    <a:pt x="16" y="36"/>
                  </a:lnTo>
                  <a:lnTo>
                    <a:pt x="16" y="38"/>
                  </a:lnTo>
                  <a:lnTo>
                    <a:pt x="14" y="38"/>
                  </a:lnTo>
                  <a:lnTo>
                    <a:pt x="14" y="36"/>
                  </a:lnTo>
                  <a:close/>
                  <a:moveTo>
                    <a:pt x="22" y="42"/>
                  </a:moveTo>
                  <a:lnTo>
                    <a:pt x="22" y="44"/>
                  </a:lnTo>
                  <a:lnTo>
                    <a:pt x="22" y="42"/>
                  </a:lnTo>
                  <a:close/>
                  <a:moveTo>
                    <a:pt x="2" y="25"/>
                  </a:moveTo>
                  <a:lnTo>
                    <a:pt x="4" y="25"/>
                  </a:lnTo>
                  <a:lnTo>
                    <a:pt x="2" y="25"/>
                  </a:lnTo>
                  <a:close/>
                  <a:moveTo>
                    <a:pt x="16" y="38"/>
                  </a:moveTo>
                  <a:lnTo>
                    <a:pt x="18" y="38"/>
                  </a:lnTo>
                  <a:lnTo>
                    <a:pt x="18" y="40"/>
                  </a:lnTo>
                  <a:lnTo>
                    <a:pt x="16" y="40"/>
                  </a:lnTo>
                  <a:lnTo>
                    <a:pt x="16" y="38"/>
                  </a:lnTo>
                  <a:close/>
                  <a:moveTo>
                    <a:pt x="16" y="36"/>
                  </a:moveTo>
                  <a:lnTo>
                    <a:pt x="16" y="38"/>
                  </a:lnTo>
                  <a:lnTo>
                    <a:pt x="16" y="36"/>
                  </a:lnTo>
                  <a:close/>
                  <a:moveTo>
                    <a:pt x="20" y="42"/>
                  </a:moveTo>
                  <a:lnTo>
                    <a:pt x="22" y="42"/>
                  </a:lnTo>
                  <a:lnTo>
                    <a:pt x="20" y="42"/>
                  </a:lnTo>
                  <a:close/>
                  <a:moveTo>
                    <a:pt x="4" y="25"/>
                  </a:moveTo>
                  <a:lnTo>
                    <a:pt x="4" y="26"/>
                  </a:lnTo>
                  <a:lnTo>
                    <a:pt x="4" y="25"/>
                  </a:lnTo>
                  <a:close/>
                  <a:moveTo>
                    <a:pt x="20" y="46"/>
                  </a:moveTo>
                  <a:lnTo>
                    <a:pt x="20" y="48"/>
                  </a:lnTo>
                  <a:lnTo>
                    <a:pt x="20" y="46"/>
                  </a:lnTo>
                  <a:close/>
                  <a:moveTo>
                    <a:pt x="20" y="48"/>
                  </a:moveTo>
                  <a:lnTo>
                    <a:pt x="22" y="48"/>
                  </a:lnTo>
                  <a:lnTo>
                    <a:pt x="20" y="48"/>
                  </a:lnTo>
                  <a:close/>
                  <a:moveTo>
                    <a:pt x="22" y="40"/>
                  </a:moveTo>
                  <a:lnTo>
                    <a:pt x="22" y="42"/>
                  </a:lnTo>
                  <a:lnTo>
                    <a:pt x="22" y="40"/>
                  </a:lnTo>
                  <a:close/>
                  <a:moveTo>
                    <a:pt x="20" y="48"/>
                  </a:moveTo>
                  <a:lnTo>
                    <a:pt x="22" y="48"/>
                  </a:lnTo>
                  <a:lnTo>
                    <a:pt x="20" y="48"/>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307">
              <a:extLst>
                <a:ext uri="{FF2B5EF4-FFF2-40B4-BE49-F238E27FC236}">
                  <a16:creationId xmlns:a16="http://schemas.microsoft.com/office/drawing/2014/main" id="{D6D95E25-5AF3-457B-90D4-2B636EE19DC8}"/>
                </a:ext>
              </a:extLst>
            </p:cNvPr>
            <p:cNvSpPr>
              <a:spLocks noEditPoints="1"/>
            </p:cNvSpPr>
            <p:nvPr/>
          </p:nvSpPr>
          <p:spPr bwMode="gray">
            <a:xfrm>
              <a:off x="2970345" y="4187489"/>
              <a:ext cx="53961" cy="53961"/>
            </a:xfrm>
            <a:custGeom>
              <a:avLst/>
              <a:gdLst>
                <a:gd name="T0" fmla="*/ 44 w 44"/>
                <a:gd name="T1" fmla="*/ 25 h 44"/>
                <a:gd name="T2" fmla="*/ 41 w 44"/>
                <a:gd name="T3" fmla="*/ 27 h 44"/>
                <a:gd name="T4" fmla="*/ 41 w 44"/>
                <a:gd name="T5" fmla="*/ 33 h 44"/>
                <a:gd name="T6" fmla="*/ 37 w 44"/>
                <a:gd name="T7" fmla="*/ 34 h 44"/>
                <a:gd name="T8" fmla="*/ 33 w 44"/>
                <a:gd name="T9" fmla="*/ 36 h 44"/>
                <a:gd name="T10" fmla="*/ 33 w 44"/>
                <a:gd name="T11" fmla="*/ 38 h 44"/>
                <a:gd name="T12" fmla="*/ 29 w 44"/>
                <a:gd name="T13" fmla="*/ 40 h 44"/>
                <a:gd name="T14" fmla="*/ 27 w 44"/>
                <a:gd name="T15" fmla="*/ 44 h 44"/>
                <a:gd name="T16" fmla="*/ 21 w 44"/>
                <a:gd name="T17" fmla="*/ 42 h 44"/>
                <a:gd name="T18" fmla="*/ 16 w 44"/>
                <a:gd name="T19" fmla="*/ 40 h 44"/>
                <a:gd name="T20" fmla="*/ 12 w 44"/>
                <a:gd name="T21" fmla="*/ 38 h 44"/>
                <a:gd name="T22" fmla="*/ 12 w 44"/>
                <a:gd name="T23" fmla="*/ 36 h 44"/>
                <a:gd name="T24" fmla="*/ 12 w 44"/>
                <a:gd name="T25" fmla="*/ 34 h 44"/>
                <a:gd name="T26" fmla="*/ 10 w 44"/>
                <a:gd name="T27" fmla="*/ 34 h 44"/>
                <a:gd name="T28" fmla="*/ 6 w 44"/>
                <a:gd name="T29" fmla="*/ 33 h 44"/>
                <a:gd name="T30" fmla="*/ 6 w 44"/>
                <a:gd name="T31" fmla="*/ 27 h 44"/>
                <a:gd name="T32" fmla="*/ 4 w 44"/>
                <a:gd name="T33" fmla="*/ 27 h 44"/>
                <a:gd name="T34" fmla="*/ 2 w 44"/>
                <a:gd name="T35" fmla="*/ 23 h 44"/>
                <a:gd name="T36" fmla="*/ 0 w 44"/>
                <a:gd name="T37" fmla="*/ 23 h 44"/>
                <a:gd name="T38" fmla="*/ 2 w 44"/>
                <a:gd name="T39" fmla="*/ 23 h 44"/>
                <a:gd name="T40" fmla="*/ 4 w 44"/>
                <a:gd name="T41" fmla="*/ 21 h 44"/>
                <a:gd name="T42" fmla="*/ 4 w 44"/>
                <a:gd name="T43" fmla="*/ 23 h 44"/>
                <a:gd name="T44" fmla="*/ 8 w 44"/>
                <a:gd name="T45" fmla="*/ 21 h 44"/>
                <a:gd name="T46" fmla="*/ 4 w 44"/>
                <a:gd name="T47" fmla="*/ 19 h 44"/>
                <a:gd name="T48" fmla="*/ 2 w 44"/>
                <a:gd name="T49" fmla="*/ 19 h 44"/>
                <a:gd name="T50" fmla="*/ 0 w 44"/>
                <a:gd name="T51" fmla="*/ 19 h 44"/>
                <a:gd name="T52" fmla="*/ 0 w 44"/>
                <a:gd name="T53" fmla="*/ 17 h 44"/>
                <a:gd name="T54" fmla="*/ 2 w 44"/>
                <a:gd name="T55" fmla="*/ 17 h 44"/>
                <a:gd name="T56" fmla="*/ 2 w 44"/>
                <a:gd name="T57" fmla="*/ 15 h 44"/>
                <a:gd name="T58" fmla="*/ 2 w 44"/>
                <a:gd name="T59" fmla="*/ 13 h 44"/>
                <a:gd name="T60" fmla="*/ 6 w 44"/>
                <a:gd name="T61" fmla="*/ 11 h 44"/>
                <a:gd name="T62" fmla="*/ 8 w 44"/>
                <a:gd name="T63" fmla="*/ 8 h 44"/>
                <a:gd name="T64" fmla="*/ 12 w 44"/>
                <a:gd name="T65" fmla="*/ 6 h 44"/>
                <a:gd name="T66" fmla="*/ 12 w 44"/>
                <a:gd name="T67" fmla="*/ 2 h 44"/>
                <a:gd name="T68" fmla="*/ 16 w 44"/>
                <a:gd name="T69" fmla="*/ 2 h 44"/>
                <a:gd name="T70" fmla="*/ 21 w 44"/>
                <a:gd name="T71" fmla="*/ 0 h 44"/>
                <a:gd name="T72" fmla="*/ 29 w 44"/>
                <a:gd name="T73" fmla="*/ 0 h 44"/>
                <a:gd name="T74" fmla="*/ 33 w 44"/>
                <a:gd name="T75" fmla="*/ 2 h 44"/>
                <a:gd name="T76" fmla="*/ 37 w 44"/>
                <a:gd name="T77" fmla="*/ 6 h 44"/>
                <a:gd name="T78" fmla="*/ 37 w 44"/>
                <a:gd name="T79" fmla="*/ 8 h 44"/>
                <a:gd name="T80" fmla="*/ 39 w 44"/>
                <a:gd name="T81" fmla="*/ 11 h 44"/>
                <a:gd name="T82" fmla="*/ 41 w 44"/>
                <a:gd name="T83" fmla="*/ 15 h 44"/>
                <a:gd name="T84" fmla="*/ 43 w 44"/>
                <a:gd name="T85" fmla="*/ 19 h 44"/>
                <a:gd name="T86" fmla="*/ 39 w 44"/>
                <a:gd name="T87" fmla="*/ 21 h 44"/>
                <a:gd name="T88" fmla="*/ 39 w 44"/>
                <a:gd name="T89" fmla="*/ 23 h 44"/>
                <a:gd name="T90" fmla="*/ 39 w 44"/>
                <a:gd name="T91" fmla="*/ 25 h 44"/>
                <a:gd name="T92" fmla="*/ 43 w 44"/>
                <a:gd name="T93" fmla="*/ 23 h 44"/>
                <a:gd name="T94" fmla="*/ 10 w 44"/>
                <a:gd name="T95" fmla="*/ 34 h 44"/>
                <a:gd name="T96" fmla="*/ 12 w 44"/>
                <a:gd name="T97" fmla="*/ 34 h 44"/>
                <a:gd name="T98" fmla="*/ 12 w 44"/>
                <a:gd name="T99" fmla="*/ 36 h 44"/>
                <a:gd name="T100" fmla="*/ 10 w 44"/>
                <a:gd name="T101" fmla="*/ 36 h 44"/>
                <a:gd name="T102" fmla="*/ 6 w 44"/>
                <a:gd name="T103" fmla="*/ 34 h 44"/>
                <a:gd name="T104" fmla="*/ 10 w 44"/>
                <a:gd name="T105" fmla="*/ 34 h 44"/>
                <a:gd name="T106" fmla="*/ 10 w 44"/>
                <a:gd name="T107" fmla="*/ 36 h 44"/>
                <a:gd name="T108" fmla="*/ 2 w 44"/>
                <a:gd name="T109" fmla="*/ 15 h 44"/>
                <a:gd name="T110" fmla="*/ 2 w 44"/>
                <a:gd name="T111" fmla="*/ 27 h 44"/>
                <a:gd name="T112" fmla="*/ 12 w 44"/>
                <a:gd name="T113" fmla="*/ 34 h 44"/>
                <a:gd name="T114" fmla="*/ 6 w 44"/>
                <a:gd name="T115" fmla="*/ 21 h 44"/>
                <a:gd name="T116" fmla="*/ 4 w 44"/>
                <a:gd name="T117" fmla="*/ 21 h 44"/>
                <a:gd name="T118" fmla="*/ 6 w 44"/>
                <a:gd name="T119" fmla="*/ 34 h 44"/>
                <a:gd name="T120" fmla="*/ 12 w 44"/>
                <a:gd name="T121" fmla="*/ 38 h 44"/>
                <a:gd name="T122" fmla="*/ 4 w 44"/>
                <a:gd name="T123" fmla="*/ 21 h 44"/>
                <a:gd name="T124" fmla="*/ 4 w 44"/>
                <a:gd name="T125" fmla="*/ 1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 h="44">
                  <a:moveTo>
                    <a:pt x="44" y="21"/>
                  </a:moveTo>
                  <a:lnTo>
                    <a:pt x="44" y="23"/>
                  </a:lnTo>
                  <a:lnTo>
                    <a:pt x="44" y="25"/>
                  </a:lnTo>
                  <a:lnTo>
                    <a:pt x="44" y="27"/>
                  </a:lnTo>
                  <a:lnTo>
                    <a:pt x="43" y="27"/>
                  </a:lnTo>
                  <a:lnTo>
                    <a:pt x="41" y="27"/>
                  </a:lnTo>
                  <a:lnTo>
                    <a:pt x="41" y="29"/>
                  </a:lnTo>
                  <a:lnTo>
                    <a:pt x="41" y="31"/>
                  </a:lnTo>
                  <a:lnTo>
                    <a:pt x="41" y="33"/>
                  </a:lnTo>
                  <a:lnTo>
                    <a:pt x="39" y="33"/>
                  </a:lnTo>
                  <a:lnTo>
                    <a:pt x="39" y="34"/>
                  </a:lnTo>
                  <a:lnTo>
                    <a:pt x="37" y="34"/>
                  </a:lnTo>
                  <a:lnTo>
                    <a:pt x="37" y="36"/>
                  </a:lnTo>
                  <a:lnTo>
                    <a:pt x="35" y="36"/>
                  </a:lnTo>
                  <a:lnTo>
                    <a:pt x="33" y="36"/>
                  </a:lnTo>
                  <a:lnTo>
                    <a:pt x="33" y="38"/>
                  </a:lnTo>
                  <a:lnTo>
                    <a:pt x="33" y="36"/>
                  </a:lnTo>
                  <a:lnTo>
                    <a:pt x="33" y="38"/>
                  </a:lnTo>
                  <a:lnTo>
                    <a:pt x="31" y="38"/>
                  </a:lnTo>
                  <a:lnTo>
                    <a:pt x="31" y="40"/>
                  </a:lnTo>
                  <a:lnTo>
                    <a:pt x="29" y="40"/>
                  </a:lnTo>
                  <a:lnTo>
                    <a:pt x="29" y="42"/>
                  </a:lnTo>
                  <a:lnTo>
                    <a:pt x="29" y="44"/>
                  </a:lnTo>
                  <a:lnTo>
                    <a:pt x="27" y="44"/>
                  </a:lnTo>
                  <a:lnTo>
                    <a:pt x="25" y="44"/>
                  </a:lnTo>
                  <a:lnTo>
                    <a:pt x="23" y="42"/>
                  </a:lnTo>
                  <a:lnTo>
                    <a:pt x="21" y="42"/>
                  </a:lnTo>
                  <a:lnTo>
                    <a:pt x="20" y="40"/>
                  </a:lnTo>
                  <a:lnTo>
                    <a:pt x="18" y="40"/>
                  </a:lnTo>
                  <a:lnTo>
                    <a:pt x="16" y="40"/>
                  </a:lnTo>
                  <a:lnTo>
                    <a:pt x="16" y="38"/>
                  </a:lnTo>
                  <a:lnTo>
                    <a:pt x="14" y="38"/>
                  </a:lnTo>
                  <a:lnTo>
                    <a:pt x="12" y="38"/>
                  </a:lnTo>
                  <a:lnTo>
                    <a:pt x="14" y="38"/>
                  </a:lnTo>
                  <a:lnTo>
                    <a:pt x="12" y="38"/>
                  </a:lnTo>
                  <a:lnTo>
                    <a:pt x="12" y="36"/>
                  </a:lnTo>
                  <a:lnTo>
                    <a:pt x="14" y="36"/>
                  </a:lnTo>
                  <a:lnTo>
                    <a:pt x="12" y="36"/>
                  </a:lnTo>
                  <a:lnTo>
                    <a:pt x="12" y="34"/>
                  </a:lnTo>
                  <a:lnTo>
                    <a:pt x="12" y="33"/>
                  </a:lnTo>
                  <a:lnTo>
                    <a:pt x="12" y="34"/>
                  </a:lnTo>
                  <a:lnTo>
                    <a:pt x="10" y="34"/>
                  </a:lnTo>
                  <a:lnTo>
                    <a:pt x="10" y="33"/>
                  </a:lnTo>
                  <a:lnTo>
                    <a:pt x="8" y="33"/>
                  </a:lnTo>
                  <a:lnTo>
                    <a:pt x="6" y="33"/>
                  </a:lnTo>
                  <a:lnTo>
                    <a:pt x="6" y="31"/>
                  </a:lnTo>
                  <a:lnTo>
                    <a:pt x="6" y="29"/>
                  </a:lnTo>
                  <a:lnTo>
                    <a:pt x="6" y="27"/>
                  </a:lnTo>
                  <a:lnTo>
                    <a:pt x="4" y="27"/>
                  </a:lnTo>
                  <a:lnTo>
                    <a:pt x="4" y="25"/>
                  </a:lnTo>
                  <a:lnTo>
                    <a:pt x="4" y="27"/>
                  </a:lnTo>
                  <a:lnTo>
                    <a:pt x="2" y="27"/>
                  </a:lnTo>
                  <a:lnTo>
                    <a:pt x="2" y="25"/>
                  </a:lnTo>
                  <a:lnTo>
                    <a:pt x="2" y="23"/>
                  </a:lnTo>
                  <a:lnTo>
                    <a:pt x="0" y="23"/>
                  </a:lnTo>
                  <a:lnTo>
                    <a:pt x="0" y="21"/>
                  </a:lnTo>
                  <a:lnTo>
                    <a:pt x="0" y="23"/>
                  </a:lnTo>
                  <a:lnTo>
                    <a:pt x="0" y="21"/>
                  </a:lnTo>
                  <a:lnTo>
                    <a:pt x="2" y="21"/>
                  </a:lnTo>
                  <a:lnTo>
                    <a:pt x="2" y="23"/>
                  </a:lnTo>
                  <a:lnTo>
                    <a:pt x="4" y="23"/>
                  </a:lnTo>
                  <a:lnTo>
                    <a:pt x="2" y="23"/>
                  </a:lnTo>
                  <a:lnTo>
                    <a:pt x="4" y="21"/>
                  </a:lnTo>
                  <a:lnTo>
                    <a:pt x="4" y="23"/>
                  </a:lnTo>
                  <a:lnTo>
                    <a:pt x="4" y="21"/>
                  </a:lnTo>
                  <a:lnTo>
                    <a:pt x="4" y="23"/>
                  </a:lnTo>
                  <a:lnTo>
                    <a:pt x="4" y="21"/>
                  </a:lnTo>
                  <a:lnTo>
                    <a:pt x="6" y="21"/>
                  </a:lnTo>
                  <a:lnTo>
                    <a:pt x="8" y="21"/>
                  </a:lnTo>
                  <a:lnTo>
                    <a:pt x="6" y="21"/>
                  </a:lnTo>
                  <a:lnTo>
                    <a:pt x="4" y="21"/>
                  </a:lnTo>
                  <a:lnTo>
                    <a:pt x="4" y="19"/>
                  </a:lnTo>
                  <a:lnTo>
                    <a:pt x="2" y="19"/>
                  </a:lnTo>
                  <a:lnTo>
                    <a:pt x="4" y="19"/>
                  </a:lnTo>
                  <a:lnTo>
                    <a:pt x="2" y="19"/>
                  </a:lnTo>
                  <a:lnTo>
                    <a:pt x="2" y="21"/>
                  </a:lnTo>
                  <a:lnTo>
                    <a:pt x="2" y="19"/>
                  </a:lnTo>
                  <a:lnTo>
                    <a:pt x="0" y="19"/>
                  </a:lnTo>
                  <a:lnTo>
                    <a:pt x="0" y="17"/>
                  </a:lnTo>
                  <a:lnTo>
                    <a:pt x="2" y="17"/>
                  </a:lnTo>
                  <a:lnTo>
                    <a:pt x="0" y="17"/>
                  </a:lnTo>
                  <a:lnTo>
                    <a:pt x="2" y="17"/>
                  </a:lnTo>
                  <a:lnTo>
                    <a:pt x="4" y="17"/>
                  </a:lnTo>
                  <a:lnTo>
                    <a:pt x="2" y="17"/>
                  </a:lnTo>
                  <a:lnTo>
                    <a:pt x="2" y="15"/>
                  </a:lnTo>
                  <a:lnTo>
                    <a:pt x="4" y="15"/>
                  </a:lnTo>
                  <a:lnTo>
                    <a:pt x="2" y="15"/>
                  </a:lnTo>
                  <a:lnTo>
                    <a:pt x="0" y="15"/>
                  </a:lnTo>
                  <a:lnTo>
                    <a:pt x="0" y="13"/>
                  </a:lnTo>
                  <a:lnTo>
                    <a:pt x="2" y="13"/>
                  </a:lnTo>
                  <a:lnTo>
                    <a:pt x="4" y="13"/>
                  </a:lnTo>
                  <a:lnTo>
                    <a:pt x="4" y="11"/>
                  </a:lnTo>
                  <a:lnTo>
                    <a:pt x="6" y="11"/>
                  </a:lnTo>
                  <a:lnTo>
                    <a:pt x="6" y="9"/>
                  </a:lnTo>
                  <a:lnTo>
                    <a:pt x="8" y="9"/>
                  </a:lnTo>
                  <a:lnTo>
                    <a:pt x="8" y="8"/>
                  </a:lnTo>
                  <a:lnTo>
                    <a:pt x="10" y="8"/>
                  </a:lnTo>
                  <a:lnTo>
                    <a:pt x="10" y="6"/>
                  </a:lnTo>
                  <a:lnTo>
                    <a:pt x="12" y="6"/>
                  </a:lnTo>
                  <a:lnTo>
                    <a:pt x="10" y="4"/>
                  </a:lnTo>
                  <a:lnTo>
                    <a:pt x="12" y="4"/>
                  </a:lnTo>
                  <a:lnTo>
                    <a:pt x="12" y="2"/>
                  </a:lnTo>
                  <a:lnTo>
                    <a:pt x="14" y="2"/>
                  </a:lnTo>
                  <a:lnTo>
                    <a:pt x="16" y="0"/>
                  </a:lnTo>
                  <a:lnTo>
                    <a:pt x="16" y="2"/>
                  </a:lnTo>
                  <a:lnTo>
                    <a:pt x="18" y="2"/>
                  </a:lnTo>
                  <a:lnTo>
                    <a:pt x="20" y="0"/>
                  </a:lnTo>
                  <a:lnTo>
                    <a:pt x="21" y="0"/>
                  </a:lnTo>
                  <a:lnTo>
                    <a:pt x="25" y="0"/>
                  </a:lnTo>
                  <a:lnTo>
                    <a:pt x="27" y="0"/>
                  </a:lnTo>
                  <a:lnTo>
                    <a:pt x="29" y="0"/>
                  </a:lnTo>
                  <a:lnTo>
                    <a:pt x="31" y="0"/>
                  </a:lnTo>
                  <a:lnTo>
                    <a:pt x="31" y="2"/>
                  </a:lnTo>
                  <a:lnTo>
                    <a:pt x="33" y="2"/>
                  </a:lnTo>
                  <a:lnTo>
                    <a:pt x="35" y="4"/>
                  </a:lnTo>
                  <a:lnTo>
                    <a:pt x="35" y="6"/>
                  </a:lnTo>
                  <a:lnTo>
                    <a:pt x="37" y="6"/>
                  </a:lnTo>
                  <a:lnTo>
                    <a:pt x="37" y="8"/>
                  </a:lnTo>
                  <a:lnTo>
                    <a:pt x="37" y="9"/>
                  </a:lnTo>
                  <a:lnTo>
                    <a:pt x="37" y="8"/>
                  </a:lnTo>
                  <a:lnTo>
                    <a:pt x="39" y="8"/>
                  </a:lnTo>
                  <a:lnTo>
                    <a:pt x="39" y="9"/>
                  </a:lnTo>
                  <a:lnTo>
                    <a:pt x="39" y="11"/>
                  </a:lnTo>
                  <a:lnTo>
                    <a:pt x="39" y="13"/>
                  </a:lnTo>
                  <a:lnTo>
                    <a:pt x="41" y="13"/>
                  </a:lnTo>
                  <a:lnTo>
                    <a:pt x="41" y="15"/>
                  </a:lnTo>
                  <a:lnTo>
                    <a:pt x="41" y="17"/>
                  </a:lnTo>
                  <a:lnTo>
                    <a:pt x="41" y="19"/>
                  </a:lnTo>
                  <a:lnTo>
                    <a:pt x="43" y="19"/>
                  </a:lnTo>
                  <a:lnTo>
                    <a:pt x="41" y="19"/>
                  </a:lnTo>
                  <a:lnTo>
                    <a:pt x="41" y="21"/>
                  </a:lnTo>
                  <a:lnTo>
                    <a:pt x="39" y="21"/>
                  </a:lnTo>
                  <a:lnTo>
                    <a:pt x="41" y="21"/>
                  </a:lnTo>
                  <a:lnTo>
                    <a:pt x="39" y="21"/>
                  </a:lnTo>
                  <a:lnTo>
                    <a:pt x="39" y="23"/>
                  </a:lnTo>
                  <a:lnTo>
                    <a:pt x="39" y="25"/>
                  </a:lnTo>
                  <a:lnTo>
                    <a:pt x="39" y="23"/>
                  </a:lnTo>
                  <a:lnTo>
                    <a:pt x="39" y="25"/>
                  </a:lnTo>
                  <a:lnTo>
                    <a:pt x="41" y="25"/>
                  </a:lnTo>
                  <a:lnTo>
                    <a:pt x="41" y="23"/>
                  </a:lnTo>
                  <a:lnTo>
                    <a:pt x="43" y="23"/>
                  </a:lnTo>
                  <a:lnTo>
                    <a:pt x="43" y="21"/>
                  </a:lnTo>
                  <a:lnTo>
                    <a:pt x="44" y="21"/>
                  </a:lnTo>
                  <a:close/>
                  <a:moveTo>
                    <a:pt x="10" y="34"/>
                  </a:moveTo>
                  <a:lnTo>
                    <a:pt x="12" y="34"/>
                  </a:lnTo>
                  <a:lnTo>
                    <a:pt x="10" y="34"/>
                  </a:lnTo>
                  <a:lnTo>
                    <a:pt x="12" y="34"/>
                  </a:lnTo>
                  <a:lnTo>
                    <a:pt x="10" y="34"/>
                  </a:lnTo>
                  <a:lnTo>
                    <a:pt x="12" y="34"/>
                  </a:lnTo>
                  <a:lnTo>
                    <a:pt x="12" y="36"/>
                  </a:lnTo>
                  <a:lnTo>
                    <a:pt x="12" y="38"/>
                  </a:lnTo>
                  <a:lnTo>
                    <a:pt x="12" y="36"/>
                  </a:lnTo>
                  <a:lnTo>
                    <a:pt x="10" y="36"/>
                  </a:lnTo>
                  <a:lnTo>
                    <a:pt x="8" y="36"/>
                  </a:lnTo>
                  <a:lnTo>
                    <a:pt x="6" y="36"/>
                  </a:lnTo>
                  <a:lnTo>
                    <a:pt x="6" y="34"/>
                  </a:lnTo>
                  <a:lnTo>
                    <a:pt x="8" y="34"/>
                  </a:lnTo>
                  <a:lnTo>
                    <a:pt x="10" y="34"/>
                  </a:lnTo>
                  <a:close/>
                  <a:moveTo>
                    <a:pt x="10" y="34"/>
                  </a:moveTo>
                  <a:lnTo>
                    <a:pt x="12" y="34"/>
                  </a:lnTo>
                  <a:lnTo>
                    <a:pt x="12" y="36"/>
                  </a:lnTo>
                  <a:lnTo>
                    <a:pt x="10" y="36"/>
                  </a:lnTo>
                  <a:lnTo>
                    <a:pt x="10" y="34"/>
                  </a:lnTo>
                  <a:close/>
                  <a:moveTo>
                    <a:pt x="0" y="15"/>
                  </a:moveTo>
                  <a:lnTo>
                    <a:pt x="2" y="15"/>
                  </a:lnTo>
                  <a:lnTo>
                    <a:pt x="0" y="15"/>
                  </a:lnTo>
                  <a:close/>
                  <a:moveTo>
                    <a:pt x="0" y="27"/>
                  </a:moveTo>
                  <a:lnTo>
                    <a:pt x="2" y="27"/>
                  </a:lnTo>
                  <a:lnTo>
                    <a:pt x="0" y="27"/>
                  </a:lnTo>
                  <a:close/>
                  <a:moveTo>
                    <a:pt x="12" y="33"/>
                  </a:moveTo>
                  <a:lnTo>
                    <a:pt x="12" y="34"/>
                  </a:lnTo>
                  <a:lnTo>
                    <a:pt x="12" y="33"/>
                  </a:lnTo>
                  <a:close/>
                  <a:moveTo>
                    <a:pt x="4" y="21"/>
                  </a:moveTo>
                  <a:lnTo>
                    <a:pt x="6" y="21"/>
                  </a:lnTo>
                  <a:lnTo>
                    <a:pt x="4" y="21"/>
                  </a:lnTo>
                  <a:close/>
                  <a:moveTo>
                    <a:pt x="2" y="21"/>
                  </a:moveTo>
                  <a:lnTo>
                    <a:pt x="4" y="21"/>
                  </a:lnTo>
                  <a:lnTo>
                    <a:pt x="2" y="21"/>
                  </a:lnTo>
                  <a:close/>
                  <a:moveTo>
                    <a:pt x="4" y="34"/>
                  </a:moveTo>
                  <a:lnTo>
                    <a:pt x="6" y="34"/>
                  </a:lnTo>
                  <a:lnTo>
                    <a:pt x="4" y="34"/>
                  </a:lnTo>
                  <a:close/>
                  <a:moveTo>
                    <a:pt x="12" y="36"/>
                  </a:moveTo>
                  <a:lnTo>
                    <a:pt x="12" y="38"/>
                  </a:lnTo>
                  <a:lnTo>
                    <a:pt x="12" y="36"/>
                  </a:lnTo>
                  <a:close/>
                  <a:moveTo>
                    <a:pt x="2" y="21"/>
                  </a:moveTo>
                  <a:lnTo>
                    <a:pt x="4" y="21"/>
                  </a:lnTo>
                  <a:lnTo>
                    <a:pt x="2" y="21"/>
                  </a:lnTo>
                  <a:close/>
                  <a:moveTo>
                    <a:pt x="2" y="17"/>
                  </a:moveTo>
                  <a:lnTo>
                    <a:pt x="4" y="17"/>
                  </a:lnTo>
                  <a:lnTo>
                    <a:pt x="2" y="1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308">
              <a:extLst>
                <a:ext uri="{FF2B5EF4-FFF2-40B4-BE49-F238E27FC236}">
                  <a16:creationId xmlns:a16="http://schemas.microsoft.com/office/drawing/2014/main" id="{EF601849-7310-4A19-B336-8DF45976DB4A}"/>
                </a:ext>
              </a:extLst>
            </p:cNvPr>
            <p:cNvSpPr>
              <a:spLocks noEditPoints="1"/>
            </p:cNvSpPr>
            <p:nvPr/>
          </p:nvSpPr>
          <p:spPr bwMode="gray">
            <a:xfrm>
              <a:off x="3325994" y="4335881"/>
              <a:ext cx="17169" cy="30660"/>
            </a:xfrm>
            <a:custGeom>
              <a:avLst/>
              <a:gdLst>
                <a:gd name="T0" fmla="*/ 2 w 14"/>
                <a:gd name="T1" fmla="*/ 19 h 25"/>
                <a:gd name="T2" fmla="*/ 4 w 14"/>
                <a:gd name="T3" fmla="*/ 19 h 25"/>
                <a:gd name="T4" fmla="*/ 4 w 14"/>
                <a:gd name="T5" fmla="*/ 21 h 25"/>
                <a:gd name="T6" fmla="*/ 4 w 14"/>
                <a:gd name="T7" fmla="*/ 23 h 25"/>
                <a:gd name="T8" fmla="*/ 2 w 14"/>
                <a:gd name="T9" fmla="*/ 23 h 25"/>
                <a:gd name="T10" fmla="*/ 2 w 14"/>
                <a:gd name="T11" fmla="*/ 25 h 25"/>
                <a:gd name="T12" fmla="*/ 2 w 14"/>
                <a:gd name="T13" fmla="*/ 23 h 25"/>
                <a:gd name="T14" fmla="*/ 2 w 14"/>
                <a:gd name="T15" fmla="*/ 25 h 25"/>
                <a:gd name="T16" fmla="*/ 2 w 14"/>
                <a:gd name="T17" fmla="*/ 23 h 25"/>
                <a:gd name="T18" fmla="*/ 2 w 14"/>
                <a:gd name="T19" fmla="*/ 25 h 25"/>
                <a:gd name="T20" fmla="*/ 2 w 14"/>
                <a:gd name="T21" fmla="*/ 23 h 25"/>
                <a:gd name="T22" fmla="*/ 2 w 14"/>
                <a:gd name="T23" fmla="*/ 25 h 25"/>
                <a:gd name="T24" fmla="*/ 0 w 14"/>
                <a:gd name="T25" fmla="*/ 25 h 25"/>
                <a:gd name="T26" fmla="*/ 0 w 14"/>
                <a:gd name="T27" fmla="*/ 23 h 25"/>
                <a:gd name="T28" fmla="*/ 0 w 14"/>
                <a:gd name="T29" fmla="*/ 21 h 25"/>
                <a:gd name="T30" fmla="*/ 2 w 14"/>
                <a:gd name="T31" fmla="*/ 21 h 25"/>
                <a:gd name="T32" fmla="*/ 2 w 14"/>
                <a:gd name="T33" fmla="*/ 19 h 25"/>
                <a:gd name="T34" fmla="*/ 12 w 14"/>
                <a:gd name="T35" fmla="*/ 0 h 25"/>
                <a:gd name="T36" fmla="*/ 14 w 14"/>
                <a:gd name="T37" fmla="*/ 0 h 25"/>
                <a:gd name="T38" fmla="*/ 14 w 14"/>
                <a:gd name="T39" fmla="*/ 4 h 25"/>
                <a:gd name="T40" fmla="*/ 12 w 14"/>
                <a:gd name="T41" fmla="*/ 4 h 25"/>
                <a:gd name="T42" fmla="*/ 12 w 14"/>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5">
                  <a:moveTo>
                    <a:pt x="2" y="19"/>
                  </a:moveTo>
                  <a:lnTo>
                    <a:pt x="4" y="19"/>
                  </a:lnTo>
                  <a:lnTo>
                    <a:pt x="4" y="21"/>
                  </a:lnTo>
                  <a:lnTo>
                    <a:pt x="4" y="23"/>
                  </a:lnTo>
                  <a:lnTo>
                    <a:pt x="2" y="23"/>
                  </a:lnTo>
                  <a:lnTo>
                    <a:pt x="2" y="25"/>
                  </a:lnTo>
                  <a:lnTo>
                    <a:pt x="2" y="23"/>
                  </a:lnTo>
                  <a:lnTo>
                    <a:pt x="2" y="25"/>
                  </a:lnTo>
                  <a:lnTo>
                    <a:pt x="2" y="23"/>
                  </a:lnTo>
                  <a:lnTo>
                    <a:pt x="2" y="25"/>
                  </a:lnTo>
                  <a:lnTo>
                    <a:pt x="2" y="23"/>
                  </a:lnTo>
                  <a:lnTo>
                    <a:pt x="2" y="25"/>
                  </a:lnTo>
                  <a:lnTo>
                    <a:pt x="0" y="25"/>
                  </a:lnTo>
                  <a:lnTo>
                    <a:pt x="0" y="23"/>
                  </a:lnTo>
                  <a:lnTo>
                    <a:pt x="0" y="21"/>
                  </a:lnTo>
                  <a:lnTo>
                    <a:pt x="2" y="21"/>
                  </a:lnTo>
                  <a:lnTo>
                    <a:pt x="2" y="19"/>
                  </a:lnTo>
                  <a:close/>
                  <a:moveTo>
                    <a:pt x="12" y="0"/>
                  </a:moveTo>
                  <a:lnTo>
                    <a:pt x="14" y="0"/>
                  </a:lnTo>
                  <a:lnTo>
                    <a:pt x="14" y="4"/>
                  </a:lnTo>
                  <a:lnTo>
                    <a:pt x="12" y="4"/>
                  </a:lnTo>
                  <a:lnTo>
                    <a:pt x="12"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309">
              <a:extLst>
                <a:ext uri="{FF2B5EF4-FFF2-40B4-BE49-F238E27FC236}">
                  <a16:creationId xmlns:a16="http://schemas.microsoft.com/office/drawing/2014/main" id="{89611A46-F98D-4577-8EF1-865B3E720BD4}"/>
                </a:ext>
              </a:extLst>
            </p:cNvPr>
            <p:cNvSpPr>
              <a:spLocks noEditPoints="1"/>
            </p:cNvSpPr>
            <p:nvPr/>
          </p:nvSpPr>
          <p:spPr bwMode="gray">
            <a:xfrm>
              <a:off x="3310052" y="4297863"/>
              <a:ext cx="103016" cy="96884"/>
            </a:xfrm>
            <a:custGeom>
              <a:avLst/>
              <a:gdLst>
                <a:gd name="T0" fmla="*/ 61 w 84"/>
                <a:gd name="T1" fmla="*/ 23 h 79"/>
                <a:gd name="T2" fmla="*/ 63 w 84"/>
                <a:gd name="T3" fmla="*/ 25 h 79"/>
                <a:gd name="T4" fmla="*/ 67 w 84"/>
                <a:gd name="T5" fmla="*/ 25 h 79"/>
                <a:gd name="T6" fmla="*/ 82 w 84"/>
                <a:gd name="T7" fmla="*/ 25 h 79"/>
                <a:gd name="T8" fmla="*/ 84 w 84"/>
                <a:gd name="T9" fmla="*/ 29 h 79"/>
                <a:gd name="T10" fmla="*/ 84 w 84"/>
                <a:gd name="T11" fmla="*/ 35 h 79"/>
                <a:gd name="T12" fmla="*/ 78 w 84"/>
                <a:gd name="T13" fmla="*/ 42 h 79"/>
                <a:gd name="T14" fmla="*/ 71 w 84"/>
                <a:gd name="T15" fmla="*/ 42 h 79"/>
                <a:gd name="T16" fmla="*/ 63 w 84"/>
                <a:gd name="T17" fmla="*/ 42 h 79"/>
                <a:gd name="T18" fmla="*/ 63 w 84"/>
                <a:gd name="T19" fmla="*/ 42 h 79"/>
                <a:gd name="T20" fmla="*/ 63 w 84"/>
                <a:gd name="T21" fmla="*/ 42 h 79"/>
                <a:gd name="T22" fmla="*/ 63 w 84"/>
                <a:gd name="T23" fmla="*/ 42 h 79"/>
                <a:gd name="T24" fmla="*/ 61 w 84"/>
                <a:gd name="T25" fmla="*/ 41 h 79"/>
                <a:gd name="T26" fmla="*/ 57 w 84"/>
                <a:gd name="T27" fmla="*/ 41 h 79"/>
                <a:gd name="T28" fmla="*/ 55 w 84"/>
                <a:gd name="T29" fmla="*/ 39 h 79"/>
                <a:gd name="T30" fmla="*/ 57 w 84"/>
                <a:gd name="T31" fmla="*/ 37 h 79"/>
                <a:gd name="T32" fmla="*/ 57 w 84"/>
                <a:gd name="T33" fmla="*/ 37 h 79"/>
                <a:gd name="T34" fmla="*/ 57 w 84"/>
                <a:gd name="T35" fmla="*/ 33 h 79"/>
                <a:gd name="T36" fmla="*/ 59 w 84"/>
                <a:gd name="T37" fmla="*/ 31 h 79"/>
                <a:gd name="T38" fmla="*/ 61 w 84"/>
                <a:gd name="T39" fmla="*/ 29 h 79"/>
                <a:gd name="T40" fmla="*/ 61 w 84"/>
                <a:gd name="T41" fmla="*/ 25 h 79"/>
                <a:gd name="T42" fmla="*/ 61 w 84"/>
                <a:gd name="T43" fmla="*/ 21 h 79"/>
                <a:gd name="T44" fmla="*/ 46 w 84"/>
                <a:gd name="T45" fmla="*/ 2 h 79"/>
                <a:gd name="T46" fmla="*/ 50 w 84"/>
                <a:gd name="T47" fmla="*/ 2 h 79"/>
                <a:gd name="T48" fmla="*/ 50 w 84"/>
                <a:gd name="T49" fmla="*/ 2 h 79"/>
                <a:gd name="T50" fmla="*/ 48 w 84"/>
                <a:gd name="T51" fmla="*/ 4 h 79"/>
                <a:gd name="T52" fmla="*/ 46 w 84"/>
                <a:gd name="T53" fmla="*/ 6 h 79"/>
                <a:gd name="T54" fmla="*/ 46 w 84"/>
                <a:gd name="T55" fmla="*/ 10 h 79"/>
                <a:gd name="T56" fmla="*/ 42 w 84"/>
                <a:gd name="T57" fmla="*/ 10 h 79"/>
                <a:gd name="T58" fmla="*/ 42 w 84"/>
                <a:gd name="T59" fmla="*/ 6 h 79"/>
                <a:gd name="T60" fmla="*/ 44 w 84"/>
                <a:gd name="T61" fmla="*/ 4 h 79"/>
                <a:gd name="T62" fmla="*/ 46 w 84"/>
                <a:gd name="T63" fmla="*/ 2 h 79"/>
                <a:gd name="T64" fmla="*/ 0 w 84"/>
                <a:gd name="T65" fmla="*/ 77 h 79"/>
                <a:gd name="T66" fmla="*/ 0 w 84"/>
                <a:gd name="T67" fmla="*/ 77 h 79"/>
                <a:gd name="T68" fmla="*/ 55 w 84"/>
                <a:gd name="T69" fmla="*/ 42 h 79"/>
                <a:gd name="T70" fmla="*/ 53 w 84"/>
                <a:gd name="T71" fmla="*/ 4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79">
                  <a:moveTo>
                    <a:pt x="61" y="21"/>
                  </a:moveTo>
                  <a:lnTo>
                    <a:pt x="61" y="23"/>
                  </a:lnTo>
                  <a:lnTo>
                    <a:pt x="63" y="23"/>
                  </a:lnTo>
                  <a:lnTo>
                    <a:pt x="63" y="25"/>
                  </a:lnTo>
                  <a:lnTo>
                    <a:pt x="65" y="25"/>
                  </a:lnTo>
                  <a:lnTo>
                    <a:pt x="67" y="25"/>
                  </a:lnTo>
                  <a:lnTo>
                    <a:pt x="71" y="25"/>
                  </a:lnTo>
                  <a:lnTo>
                    <a:pt x="82" y="25"/>
                  </a:lnTo>
                  <a:lnTo>
                    <a:pt x="84" y="25"/>
                  </a:lnTo>
                  <a:lnTo>
                    <a:pt x="84" y="29"/>
                  </a:lnTo>
                  <a:lnTo>
                    <a:pt x="84" y="31"/>
                  </a:lnTo>
                  <a:lnTo>
                    <a:pt x="84" y="35"/>
                  </a:lnTo>
                  <a:lnTo>
                    <a:pt x="84" y="42"/>
                  </a:lnTo>
                  <a:lnTo>
                    <a:pt x="78" y="42"/>
                  </a:lnTo>
                  <a:lnTo>
                    <a:pt x="75" y="42"/>
                  </a:lnTo>
                  <a:lnTo>
                    <a:pt x="71" y="42"/>
                  </a:lnTo>
                  <a:lnTo>
                    <a:pt x="65" y="42"/>
                  </a:lnTo>
                  <a:lnTo>
                    <a:pt x="63" y="42"/>
                  </a:lnTo>
                  <a:lnTo>
                    <a:pt x="65" y="42"/>
                  </a:lnTo>
                  <a:lnTo>
                    <a:pt x="63" y="42"/>
                  </a:lnTo>
                  <a:lnTo>
                    <a:pt x="65" y="42"/>
                  </a:lnTo>
                  <a:lnTo>
                    <a:pt x="63" y="42"/>
                  </a:lnTo>
                  <a:lnTo>
                    <a:pt x="65" y="42"/>
                  </a:lnTo>
                  <a:lnTo>
                    <a:pt x="63" y="42"/>
                  </a:lnTo>
                  <a:lnTo>
                    <a:pt x="61" y="42"/>
                  </a:lnTo>
                  <a:lnTo>
                    <a:pt x="61" y="41"/>
                  </a:lnTo>
                  <a:lnTo>
                    <a:pt x="59" y="41"/>
                  </a:lnTo>
                  <a:lnTo>
                    <a:pt x="57" y="41"/>
                  </a:lnTo>
                  <a:lnTo>
                    <a:pt x="55" y="41"/>
                  </a:lnTo>
                  <a:lnTo>
                    <a:pt x="55" y="39"/>
                  </a:lnTo>
                  <a:lnTo>
                    <a:pt x="55" y="37"/>
                  </a:lnTo>
                  <a:lnTo>
                    <a:pt x="57" y="37"/>
                  </a:lnTo>
                  <a:lnTo>
                    <a:pt x="55" y="37"/>
                  </a:lnTo>
                  <a:lnTo>
                    <a:pt x="57" y="37"/>
                  </a:lnTo>
                  <a:lnTo>
                    <a:pt x="57" y="35"/>
                  </a:lnTo>
                  <a:lnTo>
                    <a:pt x="57" y="33"/>
                  </a:lnTo>
                  <a:lnTo>
                    <a:pt x="59" y="33"/>
                  </a:lnTo>
                  <a:lnTo>
                    <a:pt x="59" y="31"/>
                  </a:lnTo>
                  <a:lnTo>
                    <a:pt x="61" y="31"/>
                  </a:lnTo>
                  <a:lnTo>
                    <a:pt x="61" y="29"/>
                  </a:lnTo>
                  <a:lnTo>
                    <a:pt x="61" y="27"/>
                  </a:lnTo>
                  <a:lnTo>
                    <a:pt x="61" y="25"/>
                  </a:lnTo>
                  <a:lnTo>
                    <a:pt x="61" y="23"/>
                  </a:lnTo>
                  <a:lnTo>
                    <a:pt x="61" y="21"/>
                  </a:lnTo>
                  <a:close/>
                  <a:moveTo>
                    <a:pt x="46" y="0"/>
                  </a:moveTo>
                  <a:lnTo>
                    <a:pt x="46" y="2"/>
                  </a:lnTo>
                  <a:lnTo>
                    <a:pt x="48" y="2"/>
                  </a:lnTo>
                  <a:lnTo>
                    <a:pt x="50" y="2"/>
                  </a:lnTo>
                  <a:lnTo>
                    <a:pt x="48" y="2"/>
                  </a:lnTo>
                  <a:lnTo>
                    <a:pt x="50" y="2"/>
                  </a:lnTo>
                  <a:lnTo>
                    <a:pt x="48" y="2"/>
                  </a:lnTo>
                  <a:lnTo>
                    <a:pt x="48" y="4"/>
                  </a:lnTo>
                  <a:lnTo>
                    <a:pt x="48" y="6"/>
                  </a:lnTo>
                  <a:lnTo>
                    <a:pt x="46" y="6"/>
                  </a:lnTo>
                  <a:lnTo>
                    <a:pt x="46" y="8"/>
                  </a:lnTo>
                  <a:lnTo>
                    <a:pt x="46" y="10"/>
                  </a:lnTo>
                  <a:lnTo>
                    <a:pt x="44" y="10"/>
                  </a:lnTo>
                  <a:lnTo>
                    <a:pt x="42" y="10"/>
                  </a:lnTo>
                  <a:lnTo>
                    <a:pt x="42" y="8"/>
                  </a:lnTo>
                  <a:lnTo>
                    <a:pt x="42" y="6"/>
                  </a:lnTo>
                  <a:lnTo>
                    <a:pt x="44" y="6"/>
                  </a:lnTo>
                  <a:lnTo>
                    <a:pt x="44" y="4"/>
                  </a:lnTo>
                  <a:lnTo>
                    <a:pt x="44" y="2"/>
                  </a:lnTo>
                  <a:lnTo>
                    <a:pt x="46" y="2"/>
                  </a:lnTo>
                  <a:lnTo>
                    <a:pt x="46" y="0"/>
                  </a:lnTo>
                  <a:close/>
                  <a:moveTo>
                    <a:pt x="0" y="77"/>
                  </a:moveTo>
                  <a:lnTo>
                    <a:pt x="0" y="79"/>
                  </a:lnTo>
                  <a:lnTo>
                    <a:pt x="0" y="77"/>
                  </a:lnTo>
                  <a:close/>
                  <a:moveTo>
                    <a:pt x="53" y="42"/>
                  </a:moveTo>
                  <a:lnTo>
                    <a:pt x="55" y="42"/>
                  </a:lnTo>
                  <a:lnTo>
                    <a:pt x="55" y="44"/>
                  </a:lnTo>
                  <a:lnTo>
                    <a:pt x="53" y="44"/>
                  </a:lnTo>
                  <a:lnTo>
                    <a:pt x="53" y="4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310">
              <a:extLst>
                <a:ext uri="{FF2B5EF4-FFF2-40B4-BE49-F238E27FC236}">
                  <a16:creationId xmlns:a16="http://schemas.microsoft.com/office/drawing/2014/main" id="{C603F7ED-F0AB-4FA9-95B3-968D41EC4C22}"/>
                </a:ext>
              </a:extLst>
            </p:cNvPr>
            <p:cNvSpPr>
              <a:spLocks noEditPoints="1"/>
            </p:cNvSpPr>
            <p:nvPr/>
          </p:nvSpPr>
          <p:spPr bwMode="gray">
            <a:xfrm>
              <a:off x="3361559" y="4131076"/>
              <a:ext cx="138581" cy="207258"/>
            </a:xfrm>
            <a:custGeom>
              <a:avLst/>
              <a:gdLst>
                <a:gd name="T0" fmla="*/ 98 w 113"/>
                <a:gd name="T1" fmla="*/ 92 h 169"/>
                <a:gd name="T2" fmla="*/ 90 w 113"/>
                <a:gd name="T3" fmla="*/ 102 h 169"/>
                <a:gd name="T4" fmla="*/ 90 w 113"/>
                <a:gd name="T5" fmla="*/ 111 h 169"/>
                <a:gd name="T6" fmla="*/ 90 w 113"/>
                <a:gd name="T7" fmla="*/ 121 h 169"/>
                <a:gd name="T8" fmla="*/ 96 w 113"/>
                <a:gd name="T9" fmla="*/ 130 h 169"/>
                <a:gd name="T10" fmla="*/ 98 w 113"/>
                <a:gd name="T11" fmla="*/ 134 h 169"/>
                <a:gd name="T12" fmla="*/ 104 w 113"/>
                <a:gd name="T13" fmla="*/ 142 h 169"/>
                <a:gd name="T14" fmla="*/ 109 w 113"/>
                <a:gd name="T15" fmla="*/ 150 h 169"/>
                <a:gd name="T16" fmla="*/ 111 w 113"/>
                <a:gd name="T17" fmla="*/ 161 h 169"/>
                <a:gd name="T18" fmla="*/ 111 w 113"/>
                <a:gd name="T19" fmla="*/ 167 h 169"/>
                <a:gd name="T20" fmla="*/ 100 w 113"/>
                <a:gd name="T21" fmla="*/ 165 h 169"/>
                <a:gd name="T22" fmla="*/ 92 w 113"/>
                <a:gd name="T23" fmla="*/ 163 h 169"/>
                <a:gd name="T24" fmla="*/ 84 w 113"/>
                <a:gd name="T25" fmla="*/ 161 h 169"/>
                <a:gd name="T26" fmla="*/ 69 w 113"/>
                <a:gd name="T27" fmla="*/ 159 h 169"/>
                <a:gd name="T28" fmla="*/ 52 w 113"/>
                <a:gd name="T29" fmla="*/ 159 h 169"/>
                <a:gd name="T30" fmla="*/ 40 w 113"/>
                <a:gd name="T31" fmla="*/ 161 h 169"/>
                <a:gd name="T32" fmla="*/ 19 w 113"/>
                <a:gd name="T33" fmla="*/ 153 h 169"/>
                <a:gd name="T34" fmla="*/ 17 w 113"/>
                <a:gd name="T35" fmla="*/ 142 h 169"/>
                <a:gd name="T36" fmla="*/ 19 w 113"/>
                <a:gd name="T37" fmla="*/ 138 h 169"/>
                <a:gd name="T38" fmla="*/ 17 w 113"/>
                <a:gd name="T39" fmla="*/ 134 h 169"/>
                <a:gd name="T40" fmla="*/ 13 w 113"/>
                <a:gd name="T41" fmla="*/ 132 h 169"/>
                <a:gd name="T42" fmla="*/ 6 w 113"/>
                <a:gd name="T43" fmla="*/ 127 h 169"/>
                <a:gd name="T44" fmla="*/ 6 w 113"/>
                <a:gd name="T45" fmla="*/ 125 h 169"/>
                <a:gd name="T46" fmla="*/ 2 w 113"/>
                <a:gd name="T47" fmla="*/ 123 h 169"/>
                <a:gd name="T48" fmla="*/ 6 w 113"/>
                <a:gd name="T49" fmla="*/ 109 h 169"/>
                <a:gd name="T50" fmla="*/ 13 w 113"/>
                <a:gd name="T51" fmla="*/ 100 h 169"/>
                <a:gd name="T52" fmla="*/ 19 w 113"/>
                <a:gd name="T53" fmla="*/ 94 h 169"/>
                <a:gd name="T54" fmla="*/ 27 w 113"/>
                <a:gd name="T55" fmla="*/ 92 h 169"/>
                <a:gd name="T56" fmla="*/ 33 w 113"/>
                <a:gd name="T57" fmla="*/ 88 h 169"/>
                <a:gd name="T58" fmla="*/ 40 w 113"/>
                <a:gd name="T59" fmla="*/ 98 h 169"/>
                <a:gd name="T60" fmla="*/ 46 w 113"/>
                <a:gd name="T61" fmla="*/ 92 h 169"/>
                <a:gd name="T62" fmla="*/ 48 w 113"/>
                <a:gd name="T63" fmla="*/ 88 h 169"/>
                <a:gd name="T64" fmla="*/ 54 w 113"/>
                <a:gd name="T65" fmla="*/ 75 h 169"/>
                <a:gd name="T66" fmla="*/ 57 w 113"/>
                <a:gd name="T67" fmla="*/ 69 h 169"/>
                <a:gd name="T68" fmla="*/ 63 w 113"/>
                <a:gd name="T69" fmla="*/ 61 h 169"/>
                <a:gd name="T70" fmla="*/ 67 w 113"/>
                <a:gd name="T71" fmla="*/ 54 h 169"/>
                <a:gd name="T72" fmla="*/ 69 w 113"/>
                <a:gd name="T73" fmla="*/ 46 h 169"/>
                <a:gd name="T74" fmla="*/ 75 w 113"/>
                <a:gd name="T75" fmla="*/ 38 h 169"/>
                <a:gd name="T76" fmla="*/ 77 w 113"/>
                <a:gd name="T77" fmla="*/ 31 h 169"/>
                <a:gd name="T78" fmla="*/ 86 w 113"/>
                <a:gd name="T79" fmla="*/ 23 h 169"/>
                <a:gd name="T80" fmla="*/ 90 w 113"/>
                <a:gd name="T81" fmla="*/ 13 h 169"/>
                <a:gd name="T82" fmla="*/ 82 w 113"/>
                <a:gd name="T83" fmla="*/ 7 h 169"/>
                <a:gd name="T84" fmla="*/ 88 w 113"/>
                <a:gd name="T85" fmla="*/ 0 h 169"/>
                <a:gd name="T86" fmla="*/ 94 w 113"/>
                <a:gd name="T87" fmla="*/ 7 h 169"/>
                <a:gd name="T88" fmla="*/ 96 w 113"/>
                <a:gd name="T89" fmla="*/ 19 h 169"/>
                <a:gd name="T90" fmla="*/ 96 w 113"/>
                <a:gd name="T91" fmla="*/ 29 h 169"/>
                <a:gd name="T92" fmla="*/ 100 w 113"/>
                <a:gd name="T93" fmla="*/ 38 h 169"/>
                <a:gd name="T94" fmla="*/ 102 w 113"/>
                <a:gd name="T95" fmla="*/ 46 h 169"/>
                <a:gd name="T96" fmla="*/ 84 w 113"/>
                <a:gd name="T97" fmla="*/ 46 h 169"/>
                <a:gd name="T98" fmla="*/ 86 w 113"/>
                <a:gd name="T99" fmla="*/ 55 h 169"/>
                <a:gd name="T100" fmla="*/ 98 w 113"/>
                <a:gd name="T101" fmla="*/ 65 h 169"/>
                <a:gd name="T102" fmla="*/ 102 w 113"/>
                <a:gd name="T103" fmla="*/ 79 h 169"/>
                <a:gd name="T104" fmla="*/ 15 w 113"/>
                <a:gd name="T105" fmla="*/ 136 h 169"/>
                <a:gd name="T106" fmla="*/ 6 w 113"/>
                <a:gd name="T107" fmla="*/ 125 h 169"/>
                <a:gd name="T108" fmla="*/ 13 w 113"/>
                <a:gd name="T109" fmla="*/ 134 h 169"/>
                <a:gd name="T110" fmla="*/ 0 w 113"/>
                <a:gd name="T111" fmla="*/ 127 h 169"/>
                <a:gd name="T112" fmla="*/ 0 w 113"/>
                <a:gd name="T113" fmla="*/ 125 h 169"/>
                <a:gd name="T114" fmla="*/ 13 w 113"/>
                <a:gd name="T115" fmla="*/ 134 h 169"/>
                <a:gd name="T116" fmla="*/ 15 w 113"/>
                <a:gd name="T117" fmla="*/ 134 h 169"/>
                <a:gd name="T118" fmla="*/ 0 w 113"/>
                <a:gd name="T119" fmla="*/ 123 h 169"/>
                <a:gd name="T120" fmla="*/ 8 w 113"/>
                <a:gd name="T121" fmla="*/ 12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3" h="169">
                  <a:moveTo>
                    <a:pt x="104" y="82"/>
                  </a:moveTo>
                  <a:lnTo>
                    <a:pt x="102" y="82"/>
                  </a:lnTo>
                  <a:lnTo>
                    <a:pt x="102" y="84"/>
                  </a:lnTo>
                  <a:lnTo>
                    <a:pt x="100" y="84"/>
                  </a:lnTo>
                  <a:lnTo>
                    <a:pt x="100" y="86"/>
                  </a:lnTo>
                  <a:lnTo>
                    <a:pt x="98" y="86"/>
                  </a:lnTo>
                  <a:lnTo>
                    <a:pt x="98" y="88"/>
                  </a:lnTo>
                  <a:lnTo>
                    <a:pt x="98" y="90"/>
                  </a:lnTo>
                  <a:lnTo>
                    <a:pt x="98" y="92"/>
                  </a:lnTo>
                  <a:lnTo>
                    <a:pt x="96" y="92"/>
                  </a:lnTo>
                  <a:lnTo>
                    <a:pt x="96" y="94"/>
                  </a:lnTo>
                  <a:lnTo>
                    <a:pt x="94" y="94"/>
                  </a:lnTo>
                  <a:lnTo>
                    <a:pt x="94" y="96"/>
                  </a:lnTo>
                  <a:lnTo>
                    <a:pt x="94" y="98"/>
                  </a:lnTo>
                  <a:lnTo>
                    <a:pt x="92" y="98"/>
                  </a:lnTo>
                  <a:lnTo>
                    <a:pt x="92" y="100"/>
                  </a:lnTo>
                  <a:lnTo>
                    <a:pt x="92" y="102"/>
                  </a:lnTo>
                  <a:lnTo>
                    <a:pt x="90" y="102"/>
                  </a:lnTo>
                  <a:lnTo>
                    <a:pt x="88" y="102"/>
                  </a:lnTo>
                  <a:lnTo>
                    <a:pt x="88" y="104"/>
                  </a:lnTo>
                  <a:lnTo>
                    <a:pt x="86" y="104"/>
                  </a:lnTo>
                  <a:lnTo>
                    <a:pt x="86" y="105"/>
                  </a:lnTo>
                  <a:lnTo>
                    <a:pt x="88" y="105"/>
                  </a:lnTo>
                  <a:lnTo>
                    <a:pt x="90" y="105"/>
                  </a:lnTo>
                  <a:lnTo>
                    <a:pt x="90" y="107"/>
                  </a:lnTo>
                  <a:lnTo>
                    <a:pt x="90" y="109"/>
                  </a:lnTo>
                  <a:lnTo>
                    <a:pt x="90" y="111"/>
                  </a:lnTo>
                  <a:lnTo>
                    <a:pt x="90" y="113"/>
                  </a:lnTo>
                  <a:lnTo>
                    <a:pt x="88" y="113"/>
                  </a:lnTo>
                  <a:lnTo>
                    <a:pt x="88" y="115"/>
                  </a:lnTo>
                  <a:lnTo>
                    <a:pt x="90" y="115"/>
                  </a:lnTo>
                  <a:lnTo>
                    <a:pt x="90" y="117"/>
                  </a:lnTo>
                  <a:lnTo>
                    <a:pt x="90" y="119"/>
                  </a:lnTo>
                  <a:lnTo>
                    <a:pt x="90" y="121"/>
                  </a:lnTo>
                  <a:lnTo>
                    <a:pt x="92" y="121"/>
                  </a:lnTo>
                  <a:lnTo>
                    <a:pt x="90" y="121"/>
                  </a:lnTo>
                  <a:lnTo>
                    <a:pt x="92" y="123"/>
                  </a:lnTo>
                  <a:lnTo>
                    <a:pt x="90" y="123"/>
                  </a:lnTo>
                  <a:lnTo>
                    <a:pt x="92" y="123"/>
                  </a:lnTo>
                  <a:lnTo>
                    <a:pt x="92" y="125"/>
                  </a:lnTo>
                  <a:lnTo>
                    <a:pt x="92" y="127"/>
                  </a:lnTo>
                  <a:lnTo>
                    <a:pt x="94" y="127"/>
                  </a:lnTo>
                  <a:lnTo>
                    <a:pt x="96" y="127"/>
                  </a:lnTo>
                  <a:lnTo>
                    <a:pt x="96" y="128"/>
                  </a:lnTo>
                  <a:lnTo>
                    <a:pt x="96" y="130"/>
                  </a:lnTo>
                  <a:lnTo>
                    <a:pt x="98" y="130"/>
                  </a:lnTo>
                  <a:lnTo>
                    <a:pt x="96" y="130"/>
                  </a:lnTo>
                  <a:lnTo>
                    <a:pt x="96" y="132"/>
                  </a:lnTo>
                  <a:lnTo>
                    <a:pt x="98" y="132"/>
                  </a:lnTo>
                  <a:lnTo>
                    <a:pt x="96" y="132"/>
                  </a:lnTo>
                  <a:lnTo>
                    <a:pt x="98" y="132"/>
                  </a:lnTo>
                  <a:lnTo>
                    <a:pt x="96" y="132"/>
                  </a:lnTo>
                  <a:lnTo>
                    <a:pt x="98" y="132"/>
                  </a:lnTo>
                  <a:lnTo>
                    <a:pt x="98" y="134"/>
                  </a:lnTo>
                  <a:lnTo>
                    <a:pt x="96" y="134"/>
                  </a:lnTo>
                  <a:lnTo>
                    <a:pt x="98" y="134"/>
                  </a:lnTo>
                  <a:lnTo>
                    <a:pt x="98" y="136"/>
                  </a:lnTo>
                  <a:lnTo>
                    <a:pt x="98" y="138"/>
                  </a:lnTo>
                  <a:lnTo>
                    <a:pt x="100" y="138"/>
                  </a:lnTo>
                  <a:lnTo>
                    <a:pt x="100" y="140"/>
                  </a:lnTo>
                  <a:lnTo>
                    <a:pt x="102" y="140"/>
                  </a:lnTo>
                  <a:lnTo>
                    <a:pt x="102" y="142"/>
                  </a:lnTo>
                  <a:lnTo>
                    <a:pt x="104" y="142"/>
                  </a:lnTo>
                  <a:lnTo>
                    <a:pt x="104" y="144"/>
                  </a:lnTo>
                  <a:lnTo>
                    <a:pt x="105" y="144"/>
                  </a:lnTo>
                  <a:lnTo>
                    <a:pt x="105" y="146"/>
                  </a:lnTo>
                  <a:lnTo>
                    <a:pt x="107" y="146"/>
                  </a:lnTo>
                  <a:lnTo>
                    <a:pt x="107" y="148"/>
                  </a:lnTo>
                  <a:lnTo>
                    <a:pt x="109" y="148"/>
                  </a:lnTo>
                  <a:lnTo>
                    <a:pt x="109" y="150"/>
                  </a:lnTo>
                  <a:lnTo>
                    <a:pt x="109" y="148"/>
                  </a:lnTo>
                  <a:lnTo>
                    <a:pt x="109" y="150"/>
                  </a:lnTo>
                  <a:lnTo>
                    <a:pt x="111" y="150"/>
                  </a:lnTo>
                  <a:lnTo>
                    <a:pt x="111" y="152"/>
                  </a:lnTo>
                  <a:lnTo>
                    <a:pt x="111" y="153"/>
                  </a:lnTo>
                  <a:lnTo>
                    <a:pt x="111" y="155"/>
                  </a:lnTo>
                  <a:lnTo>
                    <a:pt x="111" y="157"/>
                  </a:lnTo>
                  <a:lnTo>
                    <a:pt x="111" y="159"/>
                  </a:lnTo>
                  <a:lnTo>
                    <a:pt x="113" y="159"/>
                  </a:lnTo>
                  <a:lnTo>
                    <a:pt x="113" y="161"/>
                  </a:lnTo>
                  <a:lnTo>
                    <a:pt x="111" y="161"/>
                  </a:lnTo>
                  <a:lnTo>
                    <a:pt x="111" y="163"/>
                  </a:lnTo>
                  <a:lnTo>
                    <a:pt x="111" y="165"/>
                  </a:lnTo>
                  <a:lnTo>
                    <a:pt x="111" y="167"/>
                  </a:lnTo>
                  <a:lnTo>
                    <a:pt x="111" y="169"/>
                  </a:lnTo>
                  <a:lnTo>
                    <a:pt x="109" y="169"/>
                  </a:lnTo>
                  <a:lnTo>
                    <a:pt x="109" y="167"/>
                  </a:lnTo>
                  <a:lnTo>
                    <a:pt x="111" y="167"/>
                  </a:lnTo>
                  <a:lnTo>
                    <a:pt x="109" y="167"/>
                  </a:lnTo>
                  <a:lnTo>
                    <a:pt x="111" y="167"/>
                  </a:lnTo>
                  <a:lnTo>
                    <a:pt x="109" y="167"/>
                  </a:lnTo>
                  <a:lnTo>
                    <a:pt x="107" y="167"/>
                  </a:lnTo>
                  <a:lnTo>
                    <a:pt x="107" y="165"/>
                  </a:lnTo>
                  <a:lnTo>
                    <a:pt x="105" y="165"/>
                  </a:lnTo>
                  <a:lnTo>
                    <a:pt x="104" y="165"/>
                  </a:lnTo>
                  <a:lnTo>
                    <a:pt x="104" y="163"/>
                  </a:lnTo>
                  <a:lnTo>
                    <a:pt x="102" y="163"/>
                  </a:lnTo>
                  <a:lnTo>
                    <a:pt x="102" y="165"/>
                  </a:lnTo>
                  <a:lnTo>
                    <a:pt x="100" y="165"/>
                  </a:lnTo>
                  <a:lnTo>
                    <a:pt x="100" y="163"/>
                  </a:lnTo>
                  <a:lnTo>
                    <a:pt x="98" y="163"/>
                  </a:lnTo>
                  <a:lnTo>
                    <a:pt x="96" y="163"/>
                  </a:lnTo>
                  <a:lnTo>
                    <a:pt x="94" y="163"/>
                  </a:lnTo>
                  <a:lnTo>
                    <a:pt x="94" y="161"/>
                  </a:lnTo>
                  <a:lnTo>
                    <a:pt x="92" y="161"/>
                  </a:lnTo>
                  <a:lnTo>
                    <a:pt x="92" y="163"/>
                  </a:lnTo>
                  <a:lnTo>
                    <a:pt x="92" y="161"/>
                  </a:lnTo>
                  <a:lnTo>
                    <a:pt x="92" y="163"/>
                  </a:lnTo>
                  <a:lnTo>
                    <a:pt x="92" y="161"/>
                  </a:lnTo>
                  <a:lnTo>
                    <a:pt x="90" y="161"/>
                  </a:lnTo>
                  <a:lnTo>
                    <a:pt x="90" y="159"/>
                  </a:lnTo>
                  <a:lnTo>
                    <a:pt x="90" y="161"/>
                  </a:lnTo>
                  <a:lnTo>
                    <a:pt x="90" y="159"/>
                  </a:lnTo>
                  <a:lnTo>
                    <a:pt x="88" y="159"/>
                  </a:lnTo>
                  <a:lnTo>
                    <a:pt x="88" y="161"/>
                  </a:lnTo>
                  <a:lnTo>
                    <a:pt x="86" y="161"/>
                  </a:lnTo>
                  <a:lnTo>
                    <a:pt x="84" y="161"/>
                  </a:lnTo>
                  <a:lnTo>
                    <a:pt x="82" y="161"/>
                  </a:lnTo>
                  <a:lnTo>
                    <a:pt x="81" y="161"/>
                  </a:lnTo>
                  <a:lnTo>
                    <a:pt x="79" y="161"/>
                  </a:lnTo>
                  <a:lnTo>
                    <a:pt x="77" y="161"/>
                  </a:lnTo>
                  <a:lnTo>
                    <a:pt x="75" y="161"/>
                  </a:lnTo>
                  <a:lnTo>
                    <a:pt x="73" y="161"/>
                  </a:lnTo>
                  <a:lnTo>
                    <a:pt x="71" y="161"/>
                  </a:lnTo>
                  <a:lnTo>
                    <a:pt x="71" y="159"/>
                  </a:lnTo>
                  <a:lnTo>
                    <a:pt x="69" y="159"/>
                  </a:lnTo>
                  <a:lnTo>
                    <a:pt x="67" y="159"/>
                  </a:lnTo>
                  <a:lnTo>
                    <a:pt x="65" y="159"/>
                  </a:lnTo>
                  <a:lnTo>
                    <a:pt x="63" y="159"/>
                  </a:lnTo>
                  <a:lnTo>
                    <a:pt x="61" y="159"/>
                  </a:lnTo>
                  <a:lnTo>
                    <a:pt x="59" y="159"/>
                  </a:lnTo>
                  <a:lnTo>
                    <a:pt x="57" y="159"/>
                  </a:lnTo>
                  <a:lnTo>
                    <a:pt x="56" y="159"/>
                  </a:lnTo>
                  <a:lnTo>
                    <a:pt x="54" y="159"/>
                  </a:lnTo>
                  <a:lnTo>
                    <a:pt x="52" y="159"/>
                  </a:lnTo>
                  <a:lnTo>
                    <a:pt x="50" y="159"/>
                  </a:lnTo>
                  <a:lnTo>
                    <a:pt x="48" y="159"/>
                  </a:lnTo>
                  <a:lnTo>
                    <a:pt x="50" y="159"/>
                  </a:lnTo>
                  <a:lnTo>
                    <a:pt x="48" y="159"/>
                  </a:lnTo>
                  <a:lnTo>
                    <a:pt x="46" y="159"/>
                  </a:lnTo>
                  <a:lnTo>
                    <a:pt x="44" y="159"/>
                  </a:lnTo>
                  <a:lnTo>
                    <a:pt x="42" y="159"/>
                  </a:lnTo>
                  <a:lnTo>
                    <a:pt x="42" y="161"/>
                  </a:lnTo>
                  <a:lnTo>
                    <a:pt x="40" y="161"/>
                  </a:lnTo>
                  <a:lnTo>
                    <a:pt x="29" y="161"/>
                  </a:lnTo>
                  <a:lnTo>
                    <a:pt x="25" y="161"/>
                  </a:lnTo>
                  <a:lnTo>
                    <a:pt x="23" y="161"/>
                  </a:lnTo>
                  <a:lnTo>
                    <a:pt x="21" y="161"/>
                  </a:lnTo>
                  <a:lnTo>
                    <a:pt x="21" y="159"/>
                  </a:lnTo>
                  <a:lnTo>
                    <a:pt x="19" y="159"/>
                  </a:lnTo>
                  <a:lnTo>
                    <a:pt x="19" y="157"/>
                  </a:lnTo>
                  <a:lnTo>
                    <a:pt x="19" y="155"/>
                  </a:lnTo>
                  <a:lnTo>
                    <a:pt x="19" y="153"/>
                  </a:lnTo>
                  <a:lnTo>
                    <a:pt x="21" y="153"/>
                  </a:lnTo>
                  <a:lnTo>
                    <a:pt x="21" y="152"/>
                  </a:lnTo>
                  <a:lnTo>
                    <a:pt x="21" y="150"/>
                  </a:lnTo>
                  <a:lnTo>
                    <a:pt x="21" y="148"/>
                  </a:lnTo>
                  <a:lnTo>
                    <a:pt x="21" y="146"/>
                  </a:lnTo>
                  <a:lnTo>
                    <a:pt x="21" y="144"/>
                  </a:lnTo>
                  <a:lnTo>
                    <a:pt x="19" y="144"/>
                  </a:lnTo>
                  <a:lnTo>
                    <a:pt x="19" y="142"/>
                  </a:lnTo>
                  <a:lnTo>
                    <a:pt x="17" y="142"/>
                  </a:lnTo>
                  <a:lnTo>
                    <a:pt x="17" y="140"/>
                  </a:lnTo>
                  <a:lnTo>
                    <a:pt x="19" y="140"/>
                  </a:lnTo>
                  <a:lnTo>
                    <a:pt x="17" y="140"/>
                  </a:lnTo>
                  <a:lnTo>
                    <a:pt x="17" y="138"/>
                  </a:lnTo>
                  <a:lnTo>
                    <a:pt x="15" y="138"/>
                  </a:lnTo>
                  <a:lnTo>
                    <a:pt x="15" y="136"/>
                  </a:lnTo>
                  <a:lnTo>
                    <a:pt x="15" y="138"/>
                  </a:lnTo>
                  <a:lnTo>
                    <a:pt x="17" y="138"/>
                  </a:lnTo>
                  <a:lnTo>
                    <a:pt x="19" y="138"/>
                  </a:lnTo>
                  <a:lnTo>
                    <a:pt x="17" y="138"/>
                  </a:lnTo>
                  <a:lnTo>
                    <a:pt x="17" y="136"/>
                  </a:lnTo>
                  <a:lnTo>
                    <a:pt x="19" y="136"/>
                  </a:lnTo>
                  <a:lnTo>
                    <a:pt x="19" y="138"/>
                  </a:lnTo>
                  <a:lnTo>
                    <a:pt x="19" y="136"/>
                  </a:lnTo>
                  <a:lnTo>
                    <a:pt x="17" y="136"/>
                  </a:lnTo>
                  <a:lnTo>
                    <a:pt x="17" y="134"/>
                  </a:lnTo>
                  <a:lnTo>
                    <a:pt x="19" y="134"/>
                  </a:lnTo>
                  <a:lnTo>
                    <a:pt x="17" y="134"/>
                  </a:lnTo>
                  <a:lnTo>
                    <a:pt x="17" y="132"/>
                  </a:lnTo>
                  <a:lnTo>
                    <a:pt x="17" y="134"/>
                  </a:lnTo>
                  <a:lnTo>
                    <a:pt x="15" y="134"/>
                  </a:lnTo>
                  <a:lnTo>
                    <a:pt x="15" y="132"/>
                  </a:lnTo>
                  <a:lnTo>
                    <a:pt x="15" y="134"/>
                  </a:lnTo>
                  <a:lnTo>
                    <a:pt x="15" y="132"/>
                  </a:lnTo>
                  <a:lnTo>
                    <a:pt x="15" y="134"/>
                  </a:lnTo>
                  <a:lnTo>
                    <a:pt x="15" y="132"/>
                  </a:lnTo>
                  <a:lnTo>
                    <a:pt x="13" y="132"/>
                  </a:lnTo>
                  <a:lnTo>
                    <a:pt x="13" y="134"/>
                  </a:lnTo>
                  <a:lnTo>
                    <a:pt x="11" y="134"/>
                  </a:lnTo>
                  <a:lnTo>
                    <a:pt x="10" y="134"/>
                  </a:lnTo>
                  <a:lnTo>
                    <a:pt x="10" y="132"/>
                  </a:lnTo>
                  <a:lnTo>
                    <a:pt x="8" y="132"/>
                  </a:lnTo>
                  <a:lnTo>
                    <a:pt x="8" y="130"/>
                  </a:lnTo>
                  <a:lnTo>
                    <a:pt x="6" y="130"/>
                  </a:lnTo>
                  <a:lnTo>
                    <a:pt x="6" y="128"/>
                  </a:lnTo>
                  <a:lnTo>
                    <a:pt x="6" y="127"/>
                  </a:lnTo>
                  <a:lnTo>
                    <a:pt x="8" y="127"/>
                  </a:lnTo>
                  <a:lnTo>
                    <a:pt x="8" y="125"/>
                  </a:lnTo>
                  <a:lnTo>
                    <a:pt x="6" y="125"/>
                  </a:lnTo>
                  <a:lnTo>
                    <a:pt x="6" y="127"/>
                  </a:lnTo>
                  <a:lnTo>
                    <a:pt x="6" y="125"/>
                  </a:lnTo>
                  <a:lnTo>
                    <a:pt x="6" y="123"/>
                  </a:lnTo>
                  <a:lnTo>
                    <a:pt x="4" y="123"/>
                  </a:lnTo>
                  <a:lnTo>
                    <a:pt x="6" y="123"/>
                  </a:lnTo>
                  <a:lnTo>
                    <a:pt x="6" y="125"/>
                  </a:lnTo>
                  <a:lnTo>
                    <a:pt x="4" y="125"/>
                  </a:lnTo>
                  <a:lnTo>
                    <a:pt x="4" y="123"/>
                  </a:lnTo>
                  <a:lnTo>
                    <a:pt x="4" y="125"/>
                  </a:lnTo>
                  <a:lnTo>
                    <a:pt x="4" y="127"/>
                  </a:lnTo>
                  <a:lnTo>
                    <a:pt x="4" y="125"/>
                  </a:lnTo>
                  <a:lnTo>
                    <a:pt x="4" y="123"/>
                  </a:lnTo>
                  <a:lnTo>
                    <a:pt x="4" y="125"/>
                  </a:lnTo>
                  <a:lnTo>
                    <a:pt x="2" y="125"/>
                  </a:lnTo>
                  <a:lnTo>
                    <a:pt x="2" y="123"/>
                  </a:lnTo>
                  <a:lnTo>
                    <a:pt x="2" y="121"/>
                  </a:lnTo>
                  <a:lnTo>
                    <a:pt x="2" y="119"/>
                  </a:lnTo>
                  <a:lnTo>
                    <a:pt x="4" y="119"/>
                  </a:lnTo>
                  <a:lnTo>
                    <a:pt x="4" y="117"/>
                  </a:lnTo>
                  <a:lnTo>
                    <a:pt x="6" y="117"/>
                  </a:lnTo>
                  <a:lnTo>
                    <a:pt x="6" y="115"/>
                  </a:lnTo>
                  <a:lnTo>
                    <a:pt x="6" y="113"/>
                  </a:lnTo>
                  <a:lnTo>
                    <a:pt x="6" y="111"/>
                  </a:lnTo>
                  <a:lnTo>
                    <a:pt x="6" y="109"/>
                  </a:lnTo>
                  <a:lnTo>
                    <a:pt x="6" y="107"/>
                  </a:lnTo>
                  <a:lnTo>
                    <a:pt x="6" y="105"/>
                  </a:lnTo>
                  <a:lnTo>
                    <a:pt x="8" y="105"/>
                  </a:lnTo>
                  <a:lnTo>
                    <a:pt x="8" y="104"/>
                  </a:lnTo>
                  <a:lnTo>
                    <a:pt x="10" y="104"/>
                  </a:lnTo>
                  <a:lnTo>
                    <a:pt x="10" y="102"/>
                  </a:lnTo>
                  <a:lnTo>
                    <a:pt x="11" y="102"/>
                  </a:lnTo>
                  <a:lnTo>
                    <a:pt x="11" y="100"/>
                  </a:lnTo>
                  <a:lnTo>
                    <a:pt x="13" y="100"/>
                  </a:lnTo>
                  <a:lnTo>
                    <a:pt x="13" y="98"/>
                  </a:lnTo>
                  <a:lnTo>
                    <a:pt x="15" y="98"/>
                  </a:lnTo>
                  <a:lnTo>
                    <a:pt x="17" y="96"/>
                  </a:lnTo>
                  <a:lnTo>
                    <a:pt x="17" y="98"/>
                  </a:lnTo>
                  <a:lnTo>
                    <a:pt x="17" y="96"/>
                  </a:lnTo>
                  <a:lnTo>
                    <a:pt x="17" y="98"/>
                  </a:lnTo>
                  <a:lnTo>
                    <a:pt x="17" y="96"/>
                  </a:lnTo>
                  <a:lnTo>
                    <a:pt x="19" y="96"/>
                  </a:lnTo>
                  <a:lnTo>
                    <a:pt x="19" y="94"/>
                  </a:lnTo>
                  <a:lnTo>
                    <a:pt x="19" y="92"/>
                  </a:lnTo>
                  <a:lnTo>
                    <a:pt x="19" y="94"/>
                  </a:lnTo>
                  <a:lnTo>
                    <a:pt x="21" y="94"/>
                  </a:lnTo>
                  <a:lnTo>
                    <a:pt x="21" y="92"/>
                  </a:lnTo>
                  <a:lnTo>
                    <a:pt x="23" y="92"/>
                  </a:lnTo>
                  <a:lnTo>
                    <a:pt x="23" y="90"/>
                  </a:lnTo>
                  <a:lnTo>
                    <a:pt x="25" y="90"/>
                  </a:lnTo>
                  <a:lnTo>
                    <a:pt x="25" y="92"/>
                  </a:lnTo>
                  <a:lnTo>
                    <a:pt x="27" y="92"/>
                  </a:lnTo>
                  <a:lnTo>
                    <a:pt x="29" y="92"/>
                  </a:lnTo>
                  <a:lnTo>
                    <a:pt x="29" y="90"/>
                  </a:lnTo>
                  <a:lnTo>
                    <a:pt x="29" y="92"/>
                  </a:lnTo>
                  <a:lnTo>
                    <a:pt x="29" y="90"/>
                  </a:lnTo>
                  <a:lnTo>
                    <a:pt x="31" y="90"/>
                  </a:lnTo>
                  <a:lnTo>
                    <a:pt x="31" y="88"/>
                  </a:lnTo>
                  <a:lnTo>
                    <a:pt x="33" y="88"/>
                  </a:lnTo>
                  <a:lnTo>
                    <a:pt x="33" y="90"/>
                  </a:lnTo>
                  <a:lnTo>
                    <a:pt x="33" y="88"/>
                  </a:lnTo>
                  <a:lnTo>
                    <a:pt x="33" y="90"/>
                  </a:lnTo>
                  <a:lnTo>
                    <a:pt x="34" y="90"/>
                  </a:lnTo>
                  <a:lnTo>
                    <a:pt x="34" y="92"/>
                  </a:lnTo>
                  <a:lnTo>
                    <a:pt x="34" y="94"/>
                  </a:lnTo>
                  <a:lnTo>
                    <a:pt x="36" y="94"/>
                  </a:lnTo>
                  <a:lnTo>
                    <a:pt x="38" y="94"/>
                  </a:lnTo>
                  <a:lnTo>
                    <a:pt x="38" y="96"/>
                  </a:lnTo>
                  <a:lnTo>
                    <a:pt x="40" y="96"/>
                  </a:lnTo>
                  <a:lnTo>
                    <a:pt x="40" y="98"/>
                  </a:lnTo>
                  <a:lnTo>
                    <a:pt x="40" y="96"/>
                  </a:lnTo>
                  <a:lnTo>
                    <a:pt x="42" y="98"/>
                  </a:lnTo>
                  <a:lnTo>
                    <a:pt x="42" y="96"/>
                  </a:lnTo>
                  <a:lnTo>
                    <a:pt x="44" y="96"/>
                  </a:lnTo>
                  <a:lnTo>
                    <a:pt x="42" y="96"/>
                  </a:lnTo>
                  <a:lnTo>
                    <a:pt x="44" y="96"/>
                  </a:lnTo>
                  <a:lnTo>
                    <a:pt x="44" y="94"/>
                  </a:lnTo>
                  <a:lnTo>
                    <a:pt x="46" y="94"/>
                  </a:lnTo>
                  <a:lnTo>
                    <a:pt x="46" y="92"/>
                  </a:lnTo>
                  <a:lnTo>
                    <a:pt x="44" y="92"/>
                  </a:lnTo>
                  <a:lnTo>
                    <a:pt x="46" y="92"/>
                  </a:lnTo>
                  <a:lnTo>
                    <a:pt x="46" y="90"/>
                  </a:lnTo>
                  <a:lnTo>
                    <a:pt x="48" y="90"/>
                  </a:lnTo>
                  <a:lnTo>
                    <a:pt x="48" y="88"/>
                  </a:lnTo>
                  <a:lnTo>
                    <a:pt x="50" y="88"/>
                  </a:lnTo>
                  <a:lnTo>
                    <a:pt x="48" y="88"/>
                  </a:lnTo>
                  <a:lnTo>
                    <a:pt x="50" y="88"/>
                  </a:lnTo>
                  <a:lnTo>
                    <a:pt x="48" y="88"/>
                  </a:lnTo>
                  <a:lnTo>
                    <a:pt x="48" y="86"/>
                  </a:lnTo>
                  <a:lnTo>
                    <a:pt x="48" y="84"/>
                  </a:lnTo>
                  <a:lnTo>
                    <a:pt x="50" y="84"/>
                  </a:lnTo>
                  <a:lnTo>
                    <a:pt x="50" y="82"/>
                  </a:lnTo>
                  <a:lnTo>
                    <a:pt x="52" y="82"/>
                  </a:lnTo>
                  <a:lnTo>
                    <a:pt x="52" y="80"/>
                  </a:lnTo>
                  <a:lnTo>
                    <a:pt x="52" y="79"/>
                  </a:lnTo>
                  <a:lnTo>
                    <a:pt x="54" y="77"/>
                  </a:lnTo>
                  <a:lnTo>
                    <a:pt x="54" y="75"/>
                  </a:lnTo>
                  <a:lnTo>
                    <a:pt x="56" y="75"/>
                  </a:lnTo>
                  <a:lnTo>
                    <a:pt x="54" y="75"/>
                  </a:lnTo>
                  <a:lnTo>
                    <a:pt x="56" y="75"/>
                  </a:lnTo>
                  <a:lnTo>
                    <a:pt x="54" y="75"/>
                  </a:lnTo>
                  <a:lnTo>
                    <a:pt x="54" y="73"/>
                  </a:lnTo>
                  <a:lnTo>
                    <a:pt x="56" y="73"/>
                  </a:lnTo>
                  <a:lnTo>
                    <a:pt x="56" y="71"/>
                  </a:lnTo>
                  <a:lnTo>
                    <a:pt x="56" y="69"/>
                  </a:lnTo>
                  <a:lnTo>
                    <a:pt x="57" y="69"/>
                  </a:lnTo>
                  <a:lnTo>
                    <a:pt x="57" y="67"/>
                  </a:lnTo>
                  <a:lnTo>
                    <a:pt x="57" y="65"/>
                  </a:lnTo>
                  <a:lnTo>
                    <a:pt x="59" y="65"/>
                  </a:lnTo>
                  <a:lnTo>
                    <a:pt x="59" y="67"/>
                  </a:lnTo>
                  <a:lnTo>
                    <a:pt x="59" y="65"/>
                  </a:lnTo>
                  <a:lnTo>
                    <a:pt x="61" y="65"/>
                  </a:lnTo>
                  <a:lnTo>
                    <a:pt x="61" y="63"/>
                  </a:lnTo>
                  <a:lnTo>
                    <a:pt x="63" y="63"/>
                  </a:lnTo>
                  <a:lnTo>
                    <a:pt x="63" y="61"/>
                  </a:lnTo>
                  <a:lnTo>
                    <a:pt x="63" y="59"/>
                  </a:lnTo>
                  <a:lnTo>
                    <a:pt x="65" y="59"/>
                  </a:lnTo>
                  <a:lnTo>
                    <a:pt x="65" y="57"/>
                  </a:lnTo>
                  <a:lnTo>
                    <a:pt x="65" y="55"/>
                  </a:lnTo>
                  <a:lnTo>
                    <a:pt x="63" y="55"/>
                  </a:lnTo>
                  <a:lnTo>
                    <a:pt x="63" y="54"/>
                  </a:lnTo>
                  <a:lnTo>
                    <a:pt x="63" y="55"/>
                  </a:lnTo>
                  <a:lnTo>
                    <a:pt x="65" y="54"/>
                  </a:lnTo>
                  <a:lnTo>
                    <a:pt x="67" y="54"/>
                  </a:lnTo>
                  <a:lnTo>
                    <a:pt x="67" y="52"/>
                  </a:lnTo>
                  <a:lnTo>
                    <a:pt x="67" y="54"/>
                  </a:lnTo>
                  <a:lnTo>
                    <a:pt x="67" y="52"/>
                  </a:lnTo>
                  <a:lnTo>
                    <a:pt x="69" y="52"/>
                  </a:lnTo>
                  <a:lnTo>
                    <a:pt x="69" y="50"/>
                  </a:lnTo>
                  <a:lnTo>
                    <a:pt x="69" y="48"/>
                  </a:lnTo>
                  <a:lnTo>
                    <a:pt x="71" y="48"/>
                  </a:lnTo>
                  <a:lnTo>
                    <a:pt x="69" y="48"/>
                  </a:lnTo>
                  <a:lnTo>
                    <a:pt x="69" y="46"/>
                  </a:lnTo>
                  <a:lnTo>
                    <a:pt x="71" y="46"/>
                  </a:lnTo>
                  <a:lnTo>
                    <a:pt x="69" y="46"/>
                  </a:lnTo>
                  <a:lnTo>
                    <a:pt x="69" y="44"/>
                  </a:lnTo>
                  <a:lnTo>
                    <a:pt x="71" y="44"/>
                  </a:lnTo>
                  <a:lnTo>
                    <a:pt x="73" y="44"/>
                  </a:lnTo>
                  <a:lnTo>
                    <a:pt x="73" y="42"/>
                  </a:lnTo>
                  <a:lnTo>
                    <a:pt x="73" y="40"/>
                  </a:lnTo>
                  <a:lnTo>
                    <a:pt x="73" y="38"/>
                  </a:lnTo>
                  <a:lnTo>
                    <a:pt x="75" y="38"/>
                  </a:lnTo>
                  <a:lnTo>
                    <a:pt x="75" y="36"/>
                  </a:lnTo>
                  <a:lnTo>
                    <a:pt x="73" y="36"/>
                  </a:lnTo>
                  <a:lnTo>
                    <a:pt x="75" y="36"/>
                  </a:lnTo>
                  <a:lnTo>
                    <a:pt x="73" y="36"/>
                  </a:lnTo>
                  <a:lnTo>
                    <a:pt x="75" y="36"/>
                  </a:lnTo>
                  <a:lnTo>
                    <a:pt x="75" y="34"/>
                  </a:lnTo>
                  <a:lnTo>
                    <a:pt x="75" y="32"/>
                  </a:lnTo>
                  <a:lnTo>
                    <a:pt x="77" y="32"/>
                  </a:lnTo>
                  <a:lnTo>
                    <a:pt x="77" y="31"/>
                  </a:lnTo>
                  <a:lnTo>
                    <a:pt x="79" y="31"/>
                  </a:lnTo>
                  <a:lnTo>
                    <a:pt x="79" y="29"/>
                  </a:lnTo>
                  <a:lnTo>
                    <a:pt x="79" y="27"/>
                  </a:lnTo>
                  <a:lnTo>
                    <a:pt x="81" y="27"/>
                  </a:lnTo>
                  <a:lnTo>
                    <a:pt x="82" y="27"/>
                  </a:lnTo>
                  <a:lnTo>
                    <a:pt x="84" y="27"/>
                  </a:lnTo>
                  <a:lnTo>
                    <a:pt x="84" y="25"/>
                  </a:lnTo>
                  <a:lnTo>
                    <a:pt x="86" y="25"/>
                  </a:lnTo>
                  <a:lnTo>
                    <a:pt x="86" y="23"/>
                  </a:lnTo>
                  <a:lnTo>
                    <a:pt x="88" y="23"/>
                  </a:lnTo>
                  <a:lnTo>
                    <a:pt x="90" y="23"/>
                  </a:lnTo>
                  <a:lnTo>
                    <a:pt x="90" y="21"/>
                  </a:lnTo>
                  <a:lnTo>
                    <a:pt x="88" y="21"/>
                  </a:lnTo>
                  <a:lnTo>
                    <a:pt x="88" y="19"/>
                  </a:lnTo>
                  <a:lnTo>
                    <a:pt x="90" y="19"/>
                  </a:lnTo>
                  <a:lnTo>
                    <a:pt x="90" y="17"/>
                  </a:lnTo>
                  <a:lnTo>
                    <a:pt x="90" y="15"/>
                  </a:lnTo>
                  <a:lnTo>
                    <a:pt x="90" y="13"/>
                  </a:lnTo>
                  <a:lnTo>
                    <a:pt x="90" y="11"/>
                  </a:lnTo>
                  <a:lnTo>
                    <a:pt x="88" y="11"/>
                  </a:lnTo>
                  <a:lnTo>
                    <a:pt x="88" y="9"/>
                  </a:lnTo>
                  <a:lnTo>
                    <a:pt x="86" y="9"/>
                  </a:lnTo>
                  <a:lnTo>
                    <a:pt x="84" y="9"/>
                  </a:lnTo>
                  <a:lnTo>
                    <a:pt x="82" y="9"/>
                  </a:lnTo>
                  <a:lnTo>
                    <a:pt x="84" y="9"/>
                  </a:lnTo>
                  <a:lnTo>
                    <a:pt x="82" y="9"/>
                  </a:lnTo>
                  <a:lnTo>
                    <a:pt x="82" y="7"/>
                  </a:lnTo>
                  <a:lnTo>
                    <a:pt x="84" y="7"/>
                  </a:lnTo>
                  <a:lnTo>
                    <a:pt x="82" y="6"/>
                  </a:lnTo>
                  <a:lnTo>
                    <a:pt x="82" y="4"/>
                  </a:lnTo>
                  <a:lnTo>
                    <a:pt x="82" y="6"/>
                  </a:lnTo>
                  <a:lnTo>
                    <a:pt x="82" y="4"/>
                  </a:lnTo>
                  <a:lnTo>
                    <a:pt x="82" y="0"/>
                  </a:lnTo>
                  <a:lnTo>
                    <a:pt x="84" y="0"/>
                  </a:lnTo>
                  <a:lnTo>
                    <a:pt x="86" y="0"/>
                  </a:lnTo>
                  <a:lnTo>
                    <a:pt x="88" y="0"/>
                  </a:lnTo>
                  <a:lnTo>
                    <a:pt x="88" y="2"/>
                  </a:lnTo>
                  <a:lnTo>
                    <a:pt x="88" y="4"/>
                  </a:lnTo>
                  <a:lnTo>
                    <a:pt x="90" y="4"/>
                  </a:lnTo>
                  <a:lnTo>
                    <a:pt x="90" y="6"/>
                  </a:lnTo>
                  <a:lnTo>
                    <a:pt x="92" y="6"/>
                  </a:lnTo>
                  <a:lnTo>
                    <a:pt x="90" y="6"/>
                  </a:lnTo>
                  <a:lnTo>
                    <a:pt x="92" y="6"/>
                  </a:lnTo>
                  <a:lnTo>
                    <a:pt x="92" y="7"/>
                  </a:lnTo>
                  <a:lnTo>
                    <a:pt x="94" y="7"/>
                  </a:lnTo>
                  <a:lnTo>
                    <a:pt x="94" y="9"/>
                  </a:lnTo>
                  <a:lnTo>
                    <a:pt x="94" y="11"/>
                  </a:lnTo>
                  <a:lnTo>
                    <a:pt x="94" y="13"/>
                  </a:lnTo>
                  <a:lnTo>
                    <a:pt x="96" y="13"/>
                  </a:lnTo>
                  <a:lnTo>
                    <a:pt x="96" y="15"/>
                  </a:lnTo>
                  <a:lnTo>
                    <a:pt x="96" y="17"/>
                  </a:lnTo>
                  <a:lnTo>
                    <a:pt x="96" y="19"/>
                  </a:lnTo>
                  <a:lnTo>
                    <a:pt x="98" y="19"/>
                  </a:lnTo>
                  <a:lnTo>
                    <a:pt x="96" y="19"/>
                  </a:lnTo>
                  <a:lnTo>
                    <a:pt x="98" y="19"/>
                  </a:lnTo>
                  <a:lnTo>
                    <a:pt x="96" y="19"/>
                  </a:lnTo>
                  <a:lnTo>
                    <a:pt x="96" y="21"/>
                  </a:lnTo>
                  <a:lnTo>
                    <a:pt x="98" y="21"/>
                  </a:lnTo>
                  <a:lnTo>
                    <a:pt x="98" y="23"/>
                  </a:lnTo>
                  <a:lnTo>
                    <a:pt x="96" y="23"/>
                  </a:lnTo>
                  <a:lnTo>
                    <a:pt x="96" y="25"/>
                  </a:lnTo>
                  <a:lnTo>
                    <a:pt x="96" y="27"/>
                  </a:lnTo>
                  <a:lnTo>
                    <a:pt x="96" y="29"/>
                  </a:lnTo>
                  <a:lnTo>
                    <a:pt x="98" y="29"/>
                  </a:lnTo>
                  <a:lnTo>
                    <a:pt x="96" y="29"/>
                  </a:lnTo>
                  <a:lnTo>
                    <a:pt x="96" y="31"/>
                  </a:lnTo>
                  <a:lnTo>
                    <a:pt x="96" y="32"/>
                  </a:lnTo>
                  <a:lnTo>
                    <a:pt x="96" y="34"/>
                  </a:lnTo>
                  <a:lnTo>
                    <a:pt x="98" y="34"/>
                  </a:lnTo>
                  <a:lnTo>
                    <a:pt x="98" y="36"/>
                  </a:lnTo>
                  <a:lnTo>
                    <a:pt x="98" y="38"/>
                  </a:lnTo>
                  <a:lnTo>
                    <a:pt x="100" y="38"/>
                  </a:lnTo>
                  <a:lnTo>
                    <a:pt x="100" y="40"/>
                  </a:lnTo>
                  <a:lnTo>
                    <a:pt x="100" y="42"/>
                  </a:lnTo>
                  <a:lnTo>
                    <a:pt x="102" y="42"/>
                  </a:lnTo>
                  <a:lnTo>
                    <a:pt x="102" y="44"/>
                  </a:lnTo>
                  <a:lnTo>
                    <a:pt x="104" y="44"/>
                  </a:lnTo>
                  <a:lnTo>
                    <a:pt x="105" y="44"/>
                  </a:lnTo>
                  <a:lnTo>
                    <a:pt x="105" y="46"/>
                  </a:lnTo>
                  <a:lnTo>
                    <a:pt x="104" y="46"/>
                  </a:lnTo>
                  <a:lnTo>
                    <a:pt x="102" y="46"/>
                  </a:lnTo>
                  <a:lnTo>
                    <a:pt x="100" y="46"/>
                  </a:lnTo>
                  <a:lnTo>
                    <a:pt x="98" y="46"/>
                  </a:lnTo>
                  <a:lnTo>
                    <a:pt x="96" y="46"/>
                  </a:lnTo>
                  <a:lnTo>
                    <a:pt x="94" y="46"/>
                  </a:lnTo>
                  <a:lnTo>
                    <a:pt x="92" y="46"/>
                  </a:lnTo>
                  <a:lnTo>
                    <a:pt x="90" y="46"/>
                  </a:lnTo>
                  <a:lnTo>
                    <a:pt x="88" y="46"/>
                  </a:lnTo>
                  <a:lnTo>
                    <a:pt x="86" y="46"/>
                  </a:lnTo>
                  <a:lnTo>
                    <a:pt x="84" y="46"/>
                  </a:lnTo>
                  <a:lnTo>
                    <a:pt x="82" y="46"/>
                  </a:lnTo>
                  <a:lnTo>
                    <a:pt x="82" y="48"/>
                  </a:lnTo>
                  <a:lnTo>
                    <a:pt x="81" y="50"/>
                  </a:lnTo>
                  <a:lnTo>
                    <a:pt x="81" y="52"/>
                  </a:lnTo>
                  <a:lnTo>
                    <a:pt x="82" y="52"/>
                  </a:lnTo>
                  <a:lnTo>
                    <a:pt x="82" y="54"/>
                  </a:lnTo>
                  <a:lnTo>
                    <a:pt x="84" y="54"/>
                  </a:lnTo>
                  <a:lnTo>
                    <a:pt x="84" y="55"/>
                  </a:lnTo>
                  <a:lnTo>
                    <a:pt x="86" y="55"/>
                  </a:lnTo>
                  <a:lnTo>
                    <a:pt x="86" y="57"/>
                  </a:lnTo>
                  <a:lnTo>
                    <a:pt x="88" y="59"/>
                  </a:lnTo>
                  <a:lnTo>
                    <a:pt x="90" y="61"/>
                  </a:lnTo>
                  <a:lnTo>
                    <a:pt x="92" y="61"/>
                  </a:lnTo>
                  <a:lnTo>
                    <a:pt x="92" y="63"/>
                  </a:lnTo>
                  <a:lnTo>
                    <a:pt x="94" y="63"/>
                  </a:lnTo>
                  <a:lnTo>
                    <a:pt x="96" y="63"/>
                  </a:lnTo>
                  <a:lnTo>
                    <a:pt x="96" y="65"/>
                  </a:lnTo>
                  <a:lnTo>
                    <a:pt x="98" y="65"/>
                  </a:lnTo>
                  <a:lnTo>
                    <a:pt x="98" y="67"/>
                  </a:lnTo>
                  <a:lnTo>
                    <a:pt x="100" y="67"/>
                  </a:lnTo>
                  <a:lnTo>
                    <a:pt x="100" y="69"/>
                  </a:lnTo>
                  <a:lnTo>
                    <a:pt x="100" y="71"/>
                  </a:lnTo>
                  <a:lnTo>
                    <a:pt x="100" y="73"/>
                  </a:lnTo>
                  <a:lnTo>
                    <a:pt x="102" y="73"/>
                  </a:lnTo>
                  <a:lnTo>
                    <a:pt x="102" y="75"/>
                  </a:lnTo>
                  <a:lnTo>
                    <a:pt x="102" y="77"/>
                  </a:lnTo>
                  <a:lnTo>
                    <a:pt x="102" y="79"/>
                  </a:lnTo>
                  <a:lnTo>
                    <a:pt x="104" y="79"/>
                  </a:lnTo>
                  <a:lnTo>
                    <a:pt x="104" y="80"/>
                  </a:lnTo>
                  <a:lnTo>
                    <a:pt x="104" y="82"/>
                  </a:lnTo>
                  <a:close/>
                  <a:moveTo>
                    <a:pt x="11" y="134"/>
                  </a:moveTo>
                  <a:lnTo>
                    <a:pt x="15" y="134"/>
                  </a:lnTo>
                  <a:lnTo>
                    <a:pt x="15" y="136"/>
                  </a:lnTo>
                  <a:lnTo>
                    <a:pt x="11" y="136"/>
                  </a:lnTo>
                  <a:lnTo>
                    <a:pt x="11" y="134"/>
                  </a:lnTo>
                  <a:close/>
                  <a:moveTo>
                    <a:pt x="15" y="136"/>
                  </a:moveTo>
                  <a:lnTo>
                    <a:pt x="17" y="136"/>
                  </a:lnTo>
                  <a:lnTo>
                    <a:pt x="17" y="138"/>
                  </a:lnTo>
                  <a:lnTo>
                    <a:pt x="15" y="138"/>
                  </a:lnTo>
                  <a:lnTo>
                    <a:pt x="15" y="136"/>
                  </a:lnTo>
                  <a:close/>
                  <a:moveTo>
                    <a:pt x="2" y="125"/>
                  </a:moveTo>
                  <a:lnTo>
                    <a:pt x="2" y="127"/>
                  </a:lnTo>
                  <a:lnTo>
                    <a:pt x="2" y="125"/>
                  </a:lnTo>
                  <a:close/>
                  <a:moveTo>
                    <a:pt x="4" y="125"/>
                  </a:moveTo>
                  <a:lnTo>
                    <a:pt x="6" y="125"/>
                  </a:lnTo>
                  <a:lnTo>
                    <a:pt x="6" y="127"/>
                  </a:lnTo>
                  <a:lnTo>
                    <a:pt x="4" y="127"/>
                  </a:lnTo>
                  <a:lnTo>
                    <a:pt x="4" y="125"/>
                  </a:lnTo>
                  <a:close/>
                  <a:moveTo>
                    <a:pt x="2" y="127"/>
                  </a:moveTo>
                  <a:lnTo>
                    <a:pt x="4" y="127"/>
                  </a:lnTo>
                  <a:lnTo>
                    <a:pt x="2" y="127"/>
                  </a:lnTo>
                  <a:close/>
                  <a:moveTo>
                    <a:pt x="11" y="132"/>
                  </a:moveTo>
                  <a:lnTo>
                    <a:pt x="13" y="132"/>
                  </a:lnTo>
                  <a:lnTo>
                    <a:pt x="13" y="134"/>
                  </a:lnTo>
                  <a:lnTo>
                    <a:pt x="11" y="134"/>
                  </a:lnTo>
                  <a:lnTo>
                    <a:pt x="11" y="132"/>
                  </a:lnTo>
                  <a:close/>
                  <a:moveTo>
                    <a:pt x="2" y="123"/>
                  </a:moveTo>
                  <a:lnTo>
                    <a:pt x="2" y="125"/>
                  </a:lnTo>
                  <a:lnTo>
                    <a:pt x="2" y="123"/>
                  </a:lnTo>
                  <a:close/>
                  <a:moveTo>
                    <a:pt x="0" y="125"/>
                  </a:moveTo>
                  <a:lnTo>
                    <a:pt x="2" y="125"/>
                  </a:lnTo>
                  <a:lnTo>
                    <a:pt x="2" y="127"/>
                  </a:lnTo>
                  <a:lnTo>
                    <a:pt x="0" y="127"/>
                  </a:lnTo>
                  <a:lnTo>
                    <a:pt x="0" y="125"/>
                  </a:lnTo>
                  <a:close/>
                  <a:moveTo>
                    <a:pt x="2" y="125"/>
                  </a:moveTo>
                  <a:lnTo>
                    <a:pt x="4" y="125"/>
                  </a:lnTo>
                  <a:lnTo>
                    <a:pt x="4" y="127"/>
                  </a:lnTo>
                  <a:lnTo>
                    <a:pt x="2" y="127"/>
                  </a:lnTo>
                  <a:lnTo>
                    <a:pt x="2" y="125"/>
                  </a:lnTo>
                  <a:close/>
                  <a:moveTo>
                    <a:pt x="0" y="125"/>
                  </a:moveTo>
                  <a:lnTo>
                    <a:pt x="2" y="125"/>
                  </a:lnTo>
                  <a:lnTo>
                    <a:pt x="0" y="125"/>
                  </a:lnTo>
                  <a:close/>
                  <a:moveTo>
                    <a:pt x="0" y="125"/>
                  </a:moveTo>
                  <a:lnTo>
                    <a:pt x="2" y="125"/>
                  </a:lnTo>
                  <a:lnTo>
                    <a:pt x="0" y="125"/>
                  </a:lnTo>
                  <a:close/>
                  <a:moveTo>
                    <a:pt x="17" y="140"/>
                  </a:moveTo>
                  <a:lnTo>
                    <a:pt x="19" y="140"/>
                  </a:lnTo>
                  <a:lnTo>
                    <a:pt x="17" y="140"/>
                  </a:lnTo>
                  <a:close/>
                  <a:moveTo>
                    <a:pt x="13" y="134"/>
                  </a:moveTo>
                  <a:lnTo>
                    <a:pt x="15" y="134"/>
                  </a:lnTo>
                  <a:lnTo>
                    <a:pt x="13" y="134"/>
                  </a:lnTo>
                  <a:close/>
                  <a:moveTo>
                    <a:pt x="0" y="125"/>
                  </a:moveTo>
                  <a:lnTo>
                    <a:pt x="2" y="125"/>
                  </a:lnTo>
                  <a:lnTo>
                    <a:pt x="0" y="125"/>
                  </a:lnTo>
                  <a:close/>
                  <a:moveTo>
                    <a:pt x="13" y="132"/>
                  </a:moveTo>
                  <a:lnTo>
                    <a:pt x="13" y="134"/>
                  </a:lnTo>
                  <a:lnTo>
                    <a:pt x="13" y="132"/>
                  </a:lnTo>
                  <a:close/>
                  <a:moveTo>
                    <a:pt x="13" y="132"/>
                  </a:moveTo>
                  <a:lnTo>
                    <a:pt x="15" y="132"/>
                  </a:lnTo>
                  <a:lnTo>
                    <a:pt x="15" y="134"/>
                  </a:lnTo>
                  <a:lnTo>
                    <a:pt x="13" y="134"/>
                  </a:lnTo>
                  <a:lnTo>
                    <a:pt x="13" y="132"/>
                  </a:lnTo>
                  <a:close/>
                  <a:moveTo>
                    <a:pt x="13" y="132"/>
                  </a:moveTo>
                  <a:lnTo>
                    <a:pt x="13" y="134"/>
                  </a:lnTo>
                  <a:lnTo>
                    <a:pt x="13" y="132"/>
                  </a:lnTo>
                  <a:close/>
                  <a:moveTo>
                    <a:pt x="13" y="132"/>
                  </a:moveTo>
                  <a:lnTo>
                    <a:pt x="13" y="134"/>
                  </a:lnTo>
                  <a:lnTo>
                    <a:pt x="13" y="132"/>
                  </a:lnTo>
                  <a:close/>
                  <a:moveTo>
                    <a:pt x="0" y="123"/>
                  </a:moveTo>
                  <a:lnTo>
                    <a:pt x="2" y="123"/>
                  </a:lnTo>
                  <a:lnTo>
                    <a:pt x="0" y="123"/>
                  </a:lnTo>
                  <a:close/>
                  <a:moveTo>
                    <a:pt x="0" y="125"/>
                  </a:moveTo>
                  <a:lnTo>
                    <a:pt x="2" y="125"/>
                  </a:lnTo>
                  <a:lnTo>
                    <a:pt x="0" y="125"/>
                  </a:lnTo>
                  <a:close/>
                  <a:moveTo>
                    <a:pt x="0" y="123"/>
                  </a:moveTo>
                  <a:lnTo>
                    <a:pt x="2" y="123"/>
                  </a:lnTo>
                  <a:lnTo>
                    <a:pt x="0" y="123"/>
                  </a:lnTo>
                  <a:close/>
                  <a:moveTo>
                    <a:pt x="8" y="125"/>
                  </a:moveTo>
                  <a:lnTo>
                    <a:pt x="8" y="127"/>
                  </a:lnTo>
                  <a:lnTo>
                    <a:pt x="8" y="125"/>
                  </a:lnTo>
                  <a:close/>
                  <a:moveTo>
                    <a:pt x="17" y="138"/>
                  </a:moveTo>
                  <a:lnTo>
                    <a:pt x="17" y="140"/>
                  </a:lnTo>
                  <a:lnTo>
                    <a:pt x="17" y="138"/>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311">
              <a:extLst>
                <a:ext uri="{FF2B5EF4-FFF2-40B4-BE49-F238E27FC236}">
                  <a16:creationId xmlns:a16="http://schemas.microsoft.com/office/drawing/2014/main" id="{C360A3FC-0E25-4181-96B1-77B491696EA8}"/>
                </a:ext>
              </a:extLst>
            </p:cNvPr>
            <p:cNvSpPr>
              <a:spLocks/>
            </p:cNvSpPr>
            <p:nvPr/>
          </p:nvSpPr>
          <p:spPr bwMode="gray">
            <a:xfrm>
              <a:off x="3467028" y="4169094"/>
              <a:ext cx="235464" cy="156976"/>
            </a:xfrm>
            <a:custGeom>
              <a:avLst/>
              <a:gdLst>
                <a:gd name="T0" fmla="*/ 131 w 192"/>
                <a:gd name="T1" fmla="*/ 7 h 128"/>
                <a:gd name="T2" fmla="*/ 137 w 192"/>
                <a:gd name="T3" fmla="*/ 23 h 128"/>
                <a:gd name="T4" fmla="*/ 133 w 192"/>
                <a:gd name="T5" fmla="*/ 26 h 128"/>
                <a:gd name="T6" fmla="*/ 135 w 192"/>
                <a:gd name="T7" fmla="*/ 32 h 128"/>
                <a:gd name="T8" fmla="*/ 144 w 192"/>
                <a:gd name="T9" fmla="*/ 38 h 128"/>
                <a:gd name="T10" fmla="*/ 150 w 192"/>
                <a:gd name="T11" fmla="*/ 40 h 128"/>
                <a:gd name="T12" fmla="*/ 160 w 192"/>
                <a:gd name="T13" fmla="*/ 46 h 128"/>
                <a:gd name="T14" fmla="*/ 162 w 192"/>
                <a:gd name="T15" fmla="*/ 55 h 128"/>
                <a:gd name="T16" fmla="*/ 169 w 192"/>
                <a:gd name="T17" fmla="*/ 59 h 128"/>
                <a:gd name="T18" fmla="*/ 175 w 192"/>
                <a:gd name="T19" fmla="*/ 65 h 128"/>
                <a:gd name="T20" fmla="*/ 179 w 192"/>
                <a:gd name="T21" fmla="*/ 73 h 128"/>
                <a:gd name="T22" fmla="*/ 188 w 192"/>
                <a:gd name="T23" fmla="*/ 78 h 128"/>
                <a:gd name="T24" fmla="*/ 190 w 192"/>
                <a:gd name="T25" fmla="*/ 86 h 128"/>
                <a:gd name="T26" fmla="*/ 181 w 192"/>
                <a:gd name="T27" fmla="*/ 88 h 128"/>
                <a:gd name="T28" fmla="*/ 179 w 192"/>
                <a:gd name="T29" fmla="*/ 86 h 128"/>
                <a:gd name="T30" fmla="*/ 175 w 192"/>
                <a:gd name="T31" fmla="*/ 86 h 128"/>
                <a:gd name="T32" fmla="*/ 171 w 192"/>
                <a:gd name="T33" fmla="*/ 86 h 128"/>
                <a:gd name="T34" fmla="*/ 167 w 192"/>
                <a:gd name="T35" fmla="*/ 86 h 128"/>
                <a:gd name="T36" fmla="*/ 163 w 192"/>
                <a:gd name="T37" fmla="*/ 82 h 128"/>
                <a:gd name="T38" fmla="*/ 162 w 192"/>
                <a:gd name="T39" fmla="*/ 86 h 128"/>
                <a:gd name="T40" fmla="*/ 154 w 192"/>
                <a:gd name="T41" fmla="*/ 90 h 128"/>
                <a:gd name="T42" fmla="*/ 146 w 192"/>
                <a:gd name="T43" fmla="*/ 86 h 128"/>
                <a:gd name="T44" fmla="*/ 142 w 192"/>
                <a:gd name="T45" fmla="*/ 90 h 128"/>
                <a:gd name="T46" fmla="*/ 137 w 192"/>
                <a:gd name="T47" fmla="*/ 92 h 128"/>
                <a:gd name="T48" fmla="*/ 127 w 192"/>
                <a:gd name="T49" fmla="*/ 90 h 128"/>
                <a:gd name="T50" fmla="*/ 119 w 192"/>
                <a:gd name="T51" fmla="*/ 97 h 128"/>
                <a:gd name="T52" fmla="*/ 114 w 192"/>
                <a:gd name="T53" fmla="*/ 99 h 128"/>
                <a:gd name="T54" fmla="*/ 108 w 192"/>
                <a:gd name="T55" fmla="*/ 97 h 128"/>
                <a:gd name="T56" fmla="*/ 100 w 192"/>
                <a:gd name="T57" fmla="*/ 97 h 128"/>
                <a:gd name="T58" fmla="*/ 90 w 192"/>
                <a:gd name="T59" fmla="*/ 96 h 128"/>
                <a:gd name="T60" fmla="*/ 83 w 192"/>
                <a:gd name="T61" fmla="*/ 88 h 128"/>
                <a:gd name="T62" fmla="*/ 71 w 192"/>
                <a:gd name="T63" fmla="*/ 88 h 128"/>
                <a:gd name="T64" fmla="*/ 64 w 192"/>
                <a:gd name="T65" fmla="*/ 97 h 128"/>
                <a:gd name="T66" fmla="*/ 62 w 192"/>
                <a:gd name="T67" fmla="*/ 107 h 128"/>
                <a:gd name="T68" fmla="*/ 56 w 192"/>
                <a:gd name="T69" fmla="*/ 109 h 128"/>
                <a:gd name="T70" fmla="*/ 46 w 192"/>
                <a:gd name="T71" fmla="*/ 107 h 128"/>
                <a:gd name="T72" fmla="*/ 33 w 192"/>
                <a:gd name="T73" fmla="*/ 109 h 128"/>
                <a:gd name="T74" fmla="*/ 29 w 192"/>
                <a:gd name="T75" fmla="*/ 122 h 128"/>
                <a:gd name="T76" fmla="*/ 25 w 192"/>
                <a:gd name="T77" fmla="*/ 119 h 128"/>
                <a:gd name="T78" fmla="*/ 19 w 192"/>
                <a:gd name="T79" fmla="*/ 113 h 128"/>
                <a:gd name="T80" fmla="*/ 12 w 192"/>
                <a:gd name="T81" fmla="*/ 105 h 128"/>
                <a:gd name="T82" fmla="*/ 12 w 192"/>
                <a:gd name="T83" fmla="*/ 101 h 128"/>
                <a:gd name="T84" fmla="*/ 6 w 192"/>
                <a:gd name="T85" fmla="*/ 96 h 128"/>
                <a:gd name="T86" fmla="*/ 4 w 192"/>
                <a:gd name="T87" fmla="*/ 88 h 128"/>
                <a:gd name="T88" fmla="*/ 4 w 192"/>
                <a:gd name="T89" fmla="*/ 76 h 128"/>
                <a:gd name="T90" fmla="*/ 6 w 192"/>
                <a:gd name="T91" fmla="*/ 71 h 128"/>
                <a:gd name="T92" fmla="*/ 12 w 192"/>
                <a:gd name="T93" fmla="*/ 61 h 128"/>
                <a:gd name="T94" fmla="*/ 18 w 192"/>
                <a:gd name="T95" fmla="*/ 51 h 128"/>
                <a:gd name="T96" fmla="*/ 27 w 192"/>
                <a:gd name="T97" fmla="*/ 49 h 128"/>
                <a:gd name="T98" fmla="*/ 31 w 192"/>
                <a:gd name="T99" fmla="*/ 46 h 128"/>
                <a:gd name="T100" fmla="*/ 37 w 192"/>
                <a:gd name="T101" fmla="*/ 51 h 128"/>
                <a:gd name="T102" fmla="*/ 43 w 192"/>
                <a:gd name="T103" fmla="*/ 46 h 128"/>
                <a:gd name="T104" fmla="*/ 56 w 192"/>
                <a:gd name="T105" fmla="*/ 44 h 128"/>
                <a:gd name="T106" fmla="*/ 66 w 192"/>
                <a:gd name="T107" fmla="*/ 38 h 128"/>
                <a:gd name="T108" fmla="*/ 69 w 192"/>
                <a:gd name="T109" fmla="*/ 34 h 128"/>
                <a:gd name="T110" fmla="*/ 71 w 192"/>
                <a:gd name="T111" fmla="*/ 28 h 128"/>
                <a:gd name="T112" fmla="*/ 85 w 192"/>
                <a:gd name="T113" fmla="*/ 26 h 128"/>
                <a:gd name="T114" fmla="*/ 87 w 192"/>
                <a:gd name="T115" fmla="*/ 28 h 128"/>
                <a:gd name="T116" fmla="*/ 94 w 192"/>
                <a:gd name="T117" fmla="*/ 21 h 128"/>
                <a:gd name="T118" fmla="*/ 100 w 192"/>
                <a:gd name="T119" fmla="*/ 15 h 128"/>
                <a:gd name="T120" fmla="*/ 106 w 192"/>
                <a:gd name="T121" fmla="*/ 11 h 128"/>
                <a:gd name="T122" fmla="*/ 112 w 192"/>
                <a:gd name="T123" fmla="*/ 1 h 128"/>
                <a:gd name="T124" fmla="*/ 117 w 192"/>
                <a:gd name="T12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2" h="128">
                  <a:moveTo>
                    <a:pt x="125" y="0"/>
                  </a:moveTo>
                  <a:lnTo>
                    <a:pt x="125" y="1"/>
                  </a:lnTo>
                  <a:lnTo>
                    <a:pt x="125" y="3"/>
                  </a:lnTo>
                  <a:lnTo>
                    <a:pt x="127" y="3"/>
                  </a:lnTo>
                  <a:lnTo>
                    <a:pt x="127" y="5"/>
                  </a:lnTo>
                  <a:lnTo>
                    <a:pt x="129" y="5"/>
                  </a:lnTo>
                  <a:lnTo>
                    <a:pt x="129" y="7"/>
                  </a:lnTo>
                  <a:lnTo>
                    <a:pt x="131" y="7"/>
                  </a:lnTo>
                  <a:lnTo>
                    <a:pt x="131" y="9"/>
                  </a:lnTo>
                  <a:lnTo>
                    <a:pt x="133" y="9"/>
                  </a:lnTo>
                  <a:lnTo>
                    <a:pt x="133" y="11"/>
                  </a:lnTo>
                  <a:lnTo>
                    <a:pt x="137" y="17"/>
                  </a:lnTo>
                  <a:lnTo>
                    <a:pt x="137" y="19"/>
                  </a:lnTo>
                  <a:lnTo>
                    <a:pt x="135" y="21"/>
                  </a:lnTo>
                  <a:lnTo>
                    <a:pt x="137" y="21"/>
                  </a:lnTo>
                  <a:lnTo>
                    <a:pt x="137" y="23"/>
                  </a:lnTo>
                  <a:lnTo>
                    <a:pt x="135" y="23"/>
                  </a:lnTo>
                  <a:lnTo>
                    <a:pt x="137" y="23"/>
                  </a:lnTo>
                  <a:lnTo>
                    <a:pt x="137" y="24"/>
                  </a:lnTo>
                  <a:lnTo>
                    <a:pt x="135" y="24"/>
                  </a:lnTo>
                  <a:lnTo>
                    <a:pt x="137" y="24"/>
                  </a:lnTo>
                  <a:lnTo>
                    <a:pt x="135" y="24"/>
                  </a:lnTo>
                  <a:lnTo>
                    <a:pt x="135" y="26"/>
                  </a:lnTo>
                  <a:lnTo>
                    <a:pt x="133" y="26"/>
                  </a:lnTo>
                  <a:lnTo>
                    <a:pt x="133" y="28"/>
                  </a:lnTo>
                  <a:lnTo>
                    <a:pt x="133" y="30"/>
                  </a:lnTo>
                  <a:lnTo>
                    <a:pt x="135" y="30"/>
                  </a:lnTo>
                  <a:lnTo>
                    <a:pt x="135" y="28"/>
                  </a:lnTo>
                  <a:lnTo>
                    <a:pt x="135" y="30"/>
                  </a:lnTo>
                  <a:lnTo>
                    <a:pt x="135" y="32"/>
                  </a:lnTo>
                  <a:lnTo>
                    <a:pt x="135" y="34"/>
                  </a:lnTo>
                  <a:lnTo>
                    <a:pt x="135" y="32"/>
                  </a:lnTo>
                  <a:lnTo>
                    <a:pt x="137" y="32"/>
                  </a:lnTo>
                  <a:lnTo>
                    <a:pt x="137" y="34"/>
                  </a:lnTo>
                  <a:lnTo>
                    <a:pt x="138" y="34"/>
                  </a:lnTo>
                  <a:lnTo>
                    <a:pt x="140" y="34"/>
                  </a:lnTo>
                  <a:lnTo>
                    <a:pt x="142" y="34"/>
                  </a:lnTo>
                  <a:lnTo>
                    <a:pt x="144" y="34"/>
                  </a:lnTo>
                  <a:lnTo>
                    <a:pt x="144" y="36"/>
                  </a:lnTo>
                  <a:lnTo>
                    <a:pt x="144" y="38"/>
                  </a:lnTo>
                  <a:lnTo>
                    <a:pt x="142" y="38"/>
                  </a:lnTo>
                  <a:lnTo>
                    <a:pt x="144" y="38"/>
                  </a:lnTo>
                  <a:lnTo>
                    <a:pt x="144" y="40"/>
                  </a:lnTo>
                  <a:lnTo>
                    <a:pt x="146" y="40"/>
                  </a:lnTo>
                  <a:lnTo>
                    <a:pt x="148" y="40"/>
                  </a:lnTo>
                  <a:lnTo>
                    <a:pt x="148" y="42"/>
                  </a:lnTo>
                  <a:lnTo>
                    <a:pt x="150" y="42"/>
                  </a:lnTo>
                  <a:lnTo>
                    <a:pt x="150" y="40"/>
                  </a:lnTo>
                  <a:lnTo>
                    <a:pt x="150" y="42"/>
                  </a:lnTo>
                  <a:lnTo>
                    <a:pt x="152" y="42"/>
                  </a:lnTo>
                  <a:lnTo>
                    <a:pt x="154" y="42"/>
                  </a:lnTo>
                  <a:lnTo>
                    <a:pt x="154" y="44"/>
                  </a:lnTo>
                  <a:lnTo>
                    <a:pt x="156" y="44"/>
                  </a:lnTo>
                  <a:lnTo>
                    <a:pt x="156" y="46"/>
                  </a:lnTo>
                  <a:lnTo>
                    <a:pt x="158" y="46"/>
                  </a:lnTo>
                  <a:lnTo>
                    <a:pt x="160" y="46"/>
                  </a:lnTo>
                  <a:lnTo>
                    <a:pt x="160" y="48"/>
                  </a:lnTo>
                  <a:lnTo>
                    <a:pt x="160" y="49"/>
                  </a:lnTo>
                  <a:lnTo>
                    <a:pt x="158" y="49"/>
                  </a:lnTo>
                  <a:lnTo>
                    <a:pt x="158" y="51"/>
                  </a:lnTo>
                  <a:lnTo>
                    <a:pt x="160" y="51"/>
                  </a:lnTo>
                  <a:lnTo>
                    <a:pt x="160" y="53"/>
                  </a:lnTo>
                  <a:lnTo>
                    <a:pt x="162" y="53"/>
                  </a:lnTo>
                  <a:lnTo>
                    <a:pt x="162" y="55"/>
                  </a:lnTo>
                  <a:lnTo>
                    <a:pt x="163" y="55"/>
                  </a:lnTo>
                  <a:lnTo>
                    <a:pt x="165" y="55"/>
                  </a:lnTo>
                  <a:lnTo>
                    <a:pt x="165" y="57"/>
                  </a:lnTo>
                  <a:lnTo>
                    <a:pt x="165" y="55"/>
                  </a:lnTo>
                  <a:lnTo>
                    <a:pt x="167" y="55"/>
                  </a:lnTo>
                  <a:lnTo>
                    <a:pt x="167" y="57"/>
                  </a:lnTo>
                  <a:lnTo>
                    <a:pt x="169" y="57"/>
                  </a:lnTo>
                  <a:lnTo>
                    <a:pt x="169" y="59"/>
                  </a:lnTo>
                  <a:lnTo>
                    <a:pt x="171" y="59"/>
                  </a:lnTo>
                  <a:lnTo>
                    <a:pt x="171" y="61"/>
                  </a:lnTo>
                  <a:lnTo>
                    <a:pt x="173" y="61"/>
                  </a:lnTo>
                  <a:lnTo>
                    <a:pt x="173" y="63"/>
                  </a:lnTo>
                  <a:lnTo>
                    <a:pt x="175" y="63"/>
                  </a:lnTo>
                  <a:lnTo>
                    <a:pt x="177" y="63"/>
                  </a:lnTo>
                  <a:lnTo>
                    <a:pt x="177" y="65"/>
                  </a:lnTo>
                  <a:lnTo>
                    <a:pt x="175" y="65"/>
                  </a:lnTo>
                  <a:lnTo>
                    <a:pt x="175" y="67"/>
                  </a:lnTo>
                  <a:lnTo>
                    <a:pt x="175" y="69"/>
                  </a:lnTo>
                  <a:lnTo>
                    <a:pt x="177" y="69"/>
                  </a:lnTo>
                  <a:lnTo>
                    <a:pt x="177" y="71"/>
                  </a:lnTo>
                  <a:lnTo>
                    <a:pt x="179" y="71"/>
                  </a:lnTo>
                  <a:lnTo>
                    <a:pt x="177" y="71"/>
                  </a:lnTo>
                  <a:lnTo>
                    <a:pt x="177" y="73"/>
                  </a:lnTo>
                  <a:lnTo>
                    <a:pt x="179" y="73"/>
                  </a:lnTo>
                  <a:lnTo>
                    <a:pt x="181" y="73"/>
                  </a:lnTo>
                  <a:lnTo>
                    <a:pt x="181" y="74"/>
                  </a:lnTo>
                  <a:lnTo>
                    <a:pt x="183" y="74"/>
                  </a:lnTo>
                  <a:lnTo>
                    <a:pt x="185" y="74"/>
                  </a:lnTo>
                  <a:lnTo>
                    <a:pt x="185" y="76"/>
                  </a:lnTo>
                  <a:lnTo>
                    <a:pt x="186" y="76"/>
                  </a:lnTo>
                  <a:lnTo>
                    <a:pt x="186" y="78"/>
                  </a:lnTo>
                  <a:lnTo>
                    <a:pt x="188" y="78"/>
                  </a:lnTo>
                  <a:lnTo>
                    <a:pt x="188" y="80"/>
                  </a:lnTo>
                  <a:lnTo>
                    <a:pt x="188" y="82"/>
                  </a:lnTo>
                  <a:lnTo>
                    <a:pt x="188" y="84"/>
                  </a:lnTo>
                  <a:lnTo>
                    <a:pt x="190" y="86"/>
                  </a:lnTo>
                  <a:lnTo>
                    <a:pt x="192" y="86"/>
                  </a:lnTo>
                  <a:lnTo>
                    <a:pt x="192" y="88"/>
                  </a:lnTo>
                  <a:lnTo>
                    <a:pt x="190" y="88"/>
                  </a:lnTo>
                  <a:lnTo>
                    <a:pt x="190" y="86"/>
                  </a:lnTo>
                  <a:lnTo>
                    <a:pt x="188" y="86"/>
                  </a:lnTo>
                  <a:lnTo>
                    <a:pt x="186" y="86"/>
                  </a:lnTo>
                  <a:lnTo>
                    <a:pt x="185" y="86"/>
                  </a:lnTo>
                  <a:lnTo>
                    <a:pt x="183" y="86"/>
                  </a:lnTo>
                  <a:lnTo>
                    <a:pt x="183" y="88"/>
                  </a:lnTo>
                  <a:lnTo>
                    <a:pt x="181" y="88"/>
                  </a:lnTo>
                  <a:lnTo>
                    <a:pt x="181" y="86"/>
                  </a:lnTo>
                  <a:lnTo>
                    <a:pt x="181" y="88"/>
                  </a:lnTo>
                  <a:lnTo>
                    <a:pt x="179" y="88"/>
                  </a:lnTo>
                  <a:lnTo>
                    <a:pt x="181" y="88"/>
                  </a:lnTo>
                  <a:lnTo>
                    <a:pt x="179" y="88"/>
                  </a:lnTo>
                  <a:lnTo>
                    <a:pt x="179" y="86"/>
                  </a:lnTo>
                  <a:lnTo>
                    <a:pt x="179" y="88"/>
                  </a:lnTo>
                  <a:lnTo>
                    <a:pt x="179" y="86"/>
                  </a:lnTo>
                  <a:lnTo>
                    <a:pt x="179" y="88"/>
                  </a:lnTo>
                  <a:lnTo>
                    <a:pt x="179" y="86"/>
                  </a:lnTo>
                  <a:lnTo>
                    <a:pt x="179" y="88"/>
                  </a:lnTo>
                  <a:lnTo>
                    <a:pt x="177" y="88"/>
                  </a:lnTo>
                  <a:lnTo>
                    <a:pt x="179" y="88"/>
                  </a:lnTo>
                  <a:lnTo>
                    <a:pt x="177" y="88"/>
                  </a:lnTo>
                  <a:lnTo>
                    <a:pt x="177" y="86"/>
                  </a:lnTo>
                  <a:lnTo>
                    <a:pt x="175" y="86"/>
                  </a:lnTo>
                  <a:lnTo>
                    <a:pt x="177" y="86"/>
                  </a:lnTo>
                  <a:lnTo>
                    <a:pt x="175" y="86"/>
                  </a:lnTo>
                  <a:lnTo>
                    <a:pt x="177" y="86"/>
                  </a:lnTo>
                  <a:lnTo>
                    <a:pt x="175" y="86"/>
                  </a:lnTo>
                  <a:lnTo>
                    <a:pt x="173" y="86"/>
                  </a:lnTo>
                  <a:lnTo>
                    <a:pt x="173" y="84"/>
                  </a:lnTo>
                  <a:lnTo>
                    <a:pt x="171" y="84"/>
                  </a:lnTo>
                  <a:lnTo>
                    <a:pt x="171" y="86"/>
                  </a:lnTo>
                  <a:lnTo>
                    <a:pt x="171" y="84"/>
                  </a:lnTo>
                  <a:lnTo>
                    <a:pt x="171" y="86"/>
                  </a:lnTo>
                  <a:lnTo>
                    <a:pt x="171" y="84"/>
                  </a:lnTo>
                  <a:lnTo>
                    <a:pt x="171" y="86"/>
                  </a:lnTo>
                  <a:lnTo>
                    <a:pt x="171" y="84"/>
                  </a:lnTo>
                  <a:lnTo>
                    <a:pt x="169" y="84"/>
                  </a:lnTo>
                  <a:lnTo>
                    <a:pt x="169" y="86"/>
                  </a:lnTo>
                  <a:lnTo>
                    <a:pt x="169" y="84"/>
                  </a:lnTo>
                  <a:lnTo>
                    <a:pt x="167" y="84"/>
                  </a:lnTo>
                  <a:lnTo>
                    <a:pt x="167" y="86"/>
                  </a:lnTo>
                  <a:lnTo>
                    <a:pt x="167" y="84"/>
                  </a:lnTo>
                  <a:lnTo>
                    <a:pt x="165" y="84"/>
                  </a:lnTo>
                  <a:lnTo>
                    <a:pt x="163" y="84"/>
                  </a:lnTo>
                  <a:lnTo>
                    <a:pt x="165" y="84"/>
                  </a:lnTo>
                  <a:lnTo>
                    <a:pt x="165" y="82"/>
                  </a:lnTo>
                  <a:lnTo>
                    <a:pt x="163" y="82"/>
                  </a:lnTo>
                  <a:lnTo>
                    <a:pt x="163" y="84"/>
                  </a:lnTo>
                  <a:lnTo>
                    <a:pt x="163" y="82"/>
                  </a:lnTo>
                  <a:lnTo>
                    <a:pt x="163" y="84"/>
                  </a:lnTo>
                  <a:lnTo>
                    <a:pt x="163" y="82"/>
                  </a:lnTo>
                  <a:lnTo>
                    <a:pt x="162" y="82"/>
                  </a:lnTo>
                  <a:lnTo>
                    <a:pt x="163" y="82"/>
                  </a:lnTo>
                  <a:lnTo>
                    <a:pt x="162" y="84"/>
                  </a:lnTo>
                  <a:lnTo>
                    <a:pt x="160" y="84"/>
                  </a:lnTo>
                  <a:lnTo>
                    <a:pt x="160" y="86"/>
                  </a:lnTo>
                  <a:lnTo>
                    <a:pt x="162" y="86"/>
                  </a:lnTo>
                  <a:lnTo>
                    <a:pt x="160" y="86"/>
                  </a:lnTo>
                  <a:lnTo>
                    <a:pt x="160" y="88"/>
                  </a:lnTo>
                  <a:lnTo>
                    <a:pt x="158" y="88"/>
                  </a:lnTo>
                  <a:lnTo>
                    <a:pt x="156" y="88"/>
                  </a:lnTo>
                  <a:lnTo>
                    <a:pt x="156" y="90"/>
                  </a:lnTo>
                  <a:lnTo>
                    <a:pt x="156" y="88"/>
                  </a:lnTo>
                  <a:lnTo>
                    <a:pt x="154" y="88"/>
                  </a:lnTo>
                  <a:lnTo>
                    <a:pt x="154" y="90"/>
                  </a:lnTo>
                  <a:lnTo>
                    <a:pt x="152" y="90"/>
                  </a:lnTo>
                  <a:lnTo>
                    <a:pt x="150" y="90"/>
                  </a:lnTo>
                  <a:lnTo>
                    <a:pt x="150" y="88"/>
                  </a:lnTo>
                  <a:lnTo>
                    <a:pt x="148" y="88"/>
                  </a:lnTo>
                  <a:lnTo>
                    <a:pt x="148" y="86"/>
                  </a:lnTo>
                  <a:lnTo>
                    <a:pt x="148" y="88"/>
                  </a:lnTo>
                  <a:lnTo>
                    <a:pt x="146" y="88"/>
                  </a:lnTo>
                  <a:lnTo>
                    <a:pt x="146" y="86"/>
                  </a:lnTo>
                  <a:lnTo>
                    <a:pt x="146" y="88"/>
                  </a:lnTo>
                  <a:lnTo>
                    <a:pt x="144" y="88"/>
                  </a:lnTo>
                  <a:lnTo>
                    <a:pt x="144" y="90"/>
                  </a:lnTo>
                  <a:lnTo>
                    <a:pt x="144" y="88"/>
                  </a:lnTo>
                  <a:lnTo>
                    <a:pt x="144" y="90"/>
                  </a:lnTo>
                  <a:lnTo>
                    <a:pt x="144" y="88"/>
                  </a:lnTo>
                  <a:lnTo>
                    <a:pt x="144" y="90"/>
                  </a:lnTo>
                  <a:lnTo>
                    <a:pt x="142" y="90"/>
                  </a:lnTo>
                  <a:lnTo>
                    <a:pt x="140" y="90"/>
                  </a:lnTo>
                  <a:lnTo>
                    <a:pt x="140" y="92"/>
                  </a:lnTo>
                  <a:lnTo>
                    <a:pt x="140" y="90"/>
                  </a:lnTo>
                  <a:lnTo>
                    <a:pt x="138" y="90"/>
                  </a:lnTo>
                  <a:lnTo>
                    <a:pt x="138" y="92"/>
                  </a:lnTo>
                  <a:lnTo>
                    <a:pt x="138" y="90"/>
                  </a:lnTo>
                  <a:lnTo>
                    <a:pt x="138" y="92"/>
                  </a:lnTo>
                  <a:lnTo>
                    <a:pt x="137" y="92"/>
                  </a:lnTo>
                  <a:lnTo>
                    <a:pt x="135" y="92"/>
                  </a:lnTo>
                  <a:lnTo>
                    <a:pt x="135" y="94"/>
                  </a:lnTo>
                  <a:lnTo>
                    <a:pt x="133" y="94"/>
                  </a:lnTo>
                  <a:lnTo>
                    <a:pt x="131" y="94"/>
                  </a:lnTo>
                  <a:lnTo>
                    <a:pt x="129" y="94"/>
                  </a:lnTo>
                  <a:lnTo>
                    <a:pt x="129" y="92"/>
                  </a:lnTo>
                  <a:lnTo>
                    <a:pt x="127" y="92"/>
                  </a:lnTo>
                  <a:lnTo>
                    <a:pt x="127" y="90"/>
                  </a:lnTo>
                  <a:lnTo>
                    <a:pt x="125" y="90"/>
                  </a:lnTo>
                  <a:lnTo>
                    <a:pt x="125" y="92"/>
                  </a:lnTo>
                  <a:lnTo>
                    <a:pt x="123" y="92"/>
                  </a:lnTo>
                  <a:lnTo>
                    <a:pt x="123" y="94"/>
                  </a:lnTo>
                  <a:lnTo>
                    <a:pt x="123" y="96"/>
                  </a:lnTo>
                  <a:lnTo>
                    <a:pt x="121" y="96"/>
                  </a:lnTo>
                  <a:lnTo>
                    <a:pt x="121" y="97"/>
                  </a:lnTo>
                  <a:lnTo>
                    <a:pt x="119" y="97"/>
                  </a:lnTo>
                  <a:lnTo>
                    <a:pt x="121" y="97"/>
                  </a:lnTo>
                  <a:lnTo>
                    <a:pt x="119" y="97"/>
                  </a:lnTo>
                  <a:lnTo>
                    <a:pt x="119" y="99"/>
                  </a:lnTo>
                  <a:lnTo>
                    <a:pt x="119" y="101"/>
                  </a:lnTo>
                  <a:lnTo>
                    <a:pt x="117" y="101"/>
                  </a:lnTo>
                  <a:lnTo>
                    <a:pt x="115" y="101"/>
                  </a:lnTo>
                  <a:lnTo>
                    <a:pt x="114" y="101"/>
                  </a:lnTo>
                  <a:lnTo>
                    <a:pt x="114" y="99"/>
                  </a:lnTo>
                  <a:lnTo>
                    <a:pt x="112" y="99"/>
                  </a:lnTo>
                  <a:lnTo>
                    <a:pt x="110" y="99"/>
                  </a:lnTo>
                  <a:lnTo>
                    <a:pt x="108" y="99"/>
                  </a:lnTo>
                  <a:lnTo>
                    <a:pt x="108" y="97"/>
                  </a:lnTo>
                  <a:lnTo>
                    <a:pt x="108" y="99"/>
                  </a:lnTo>
                  <a:lnTo>
                    <a:pt x="108" y="97"/>
                  </a:lnTo>
                  <a:lnTo>
                    <a:pt x="108" y="99"/>
                  </a:lnTo>
                  <a:lnTo>
                    <a:pt x="108" y="97"/>
                  </a:lnTo>
                  <a:lnTo>
                    <a:pt x="106" y="97"/>
                  </a:lnTo>
                  <a:lnTo>
                    <a:pt x="106" y="99"/>
                  </a:lnTo>
                  <a:lnTo>
                    <a:pt x="104" y="99"/>
                  </a:lnTo>
                  <a:lnTo>
                    <a:pt x="102" y="99"/>
                  </a:lnTo>
                  <a:lnTo>
                    <a:pt x="102" y="97"/>
                  </a:lnTo>
                  <a:lnTo>
                    <a:pt x="100" y="97"/>
                  </a:lnTo>
                  <a:lnTo>
                    <a:pt x="100" y="99"/>
                  </a:lnTo>
                  <a:lnTo>
                    <a:pt x="100" y="97"/>
                  </a:lnTo>
                  <a:lnTo>
                    <a:pt x="98" y="97"/>
                  </a:lnTo>
                  <a:lnTo>
                    <a:pt x="96" y="97"/>
                  </a:lnTo>
                  <a:lnTo>
                    <a:pt x="96" y="96"/>
                  </a:lnTo>
                  <a:lnTo>
                    <a:pt x="94" y="96"/>
                  </a:lnTo>
                  <a:lnTo>
                    <a:pt x="94" y="97"/>
                  </a:lnTo>
                  <a:lnTo>
                    <a:pt x="92" y="97"/>
                  </a:lnTo>
                  <a:lnTo>
                    <a:pt x="90" y="97"/>
                  </a:lnTo>
                  <a:lnTo>
                    <a:pt x="90" y="96"/>
                  </a:lnTo>
                  <a:lnTo>
                    <a:pt x="89" y="96"/>
                  </a:lnTo>
                  <a:lnTo>
                    <a:pt x="89" y="94"/>
                  </a:lnTo>
                  <a:lnTo>
                    <a:pt x="89" y="92"/>
                  </a:lnTo>
                  <a:lnTo>
                    <a:pt x="87" y="92"/>
                  </a:lnTo>
                  <a:lnTo>
                    <a:pt x="85" y="92"/>
                  </a:lnTo>
                  <a:lnTo>
                    <a:pt x="85" y="90"/>
                  </a:lnTo>
                  <a:lnTo>
                    <a:pt x="83" y="90"/>
                  </a:lnTo>
                  <a:lnTo>
                    <a:pt x="83" y="88"/>
                  </a:lnTo>
                  <a:lnTo>
                    <a:pt x="81" y="88"/>
                  </a:lnTo>
                  <a:lnTo>
                    <a:pt x="81" y="86"/>
                  </a:lnTo>
                  <a:lnTo>
                    <a:pt x="79" y="86"/>
                  </a:lnTo>
                  <a:lnTo>
                    <a:pt x="77" y="86"/>
                  </a:lnTo>
                  <a:lnTo>
                    <a:pt x="75" y="86"/>
                  </a:lnTo>
                  <a:lnTo>
                    <a:pt x="73" y="86"/>
                  </a:lnTo>
                  <a:lnTo>
                    <a:pt x="73" y="88"/>
                  </a:lnTo>
                  <a:lnTo>
                    <a:pt x="71" y="88"/>
                  </a:lnTo>
                  <a:lnTo>
                    <a:pt x="71" y="90"/>
                  </a:lnTo>
                  <a:lnTo>
                    <a:pt x="69" y="90"/>
                  </a:lnTo>
                  <a:lnTo>
                    <a:pt x="67" y="92"/>
                  </a:lnTo>
                  <a:lnTo>
                    <a:pt x="67" y="94"/>
                  </a:lnTo>
                  <a:lnTo>
                    <a:pt x="66" y="94"/>
                  </a:lnTo>
                  <a:lnTo>
                    <a:pt x="66" y="96"/>
                  </a:lnTo>
                  <a:lnTo>
                    <a:pt x="66" y="97"/>
                  </a:lnTo>
                  <a:lnTo>
                    <a:pt x="64" y="97"/>
                  </a:lnTo>
                  <a:lnTo>
                    <a:pt x="62" y="97"/>
                  </a:lnTo>
                  <a:lnTo>
                    <a:pt x="62" y="99"/>
                  </a:lnTo>
                  <a:lnTo>
                    <a:pt x="62" y="101"/>
                  </a:lnTo>
                  <a:lnTo>
                    <a:pt x="64" y="101"/>
                  </a:lnTo>
                  <a:lnTo>
                    <a:pt x="64" y="103"/>
                  </a:lnTo>
                  <a:lnTo>
                    <a:pt x="62" y="103"/>
                  </a:lnTo>
                  <a:lnTo>
                    <a:pt x="62" y="105"/>
                  </a:lnTo>
                  <a:lnTo>
                    <a:pt x="62" y="107"/>
                  </a:lnTo>
                  <a:lnTo>
                    <a:pt x="62" y="109"/>
                  </a:lnTo>
                  <a:lnTo>
                    <a:pt x="62" y="111"/>
                  </a:lnTo>
                  <a:lnTo>
                    <a:pt x="62" y="109"/>
                  </a:lnTo>
                  <a:lnTo>
                    <a:pt x="60" y="109"/>
                  </a:lnTo>
                  <a:lnTo>
                    <a:pt x="60" y="107"/>
                  </a:lnTo>
                  <a:lnTo>
                    <a:pt x="60" y="109"/>
                  </a:lnTo>
                  <a:lnTo>
                    <a:pt x="58" y="109"/>
                  </a:lnTo>
                  <a:lnTo>
                    <a:pt x="56" y="109"/>
                  </a:lnTo>
                  <a:lnTo>
                    <a:pt x="56" y="111"/>
                  </a:lnTo>
                  <a:lnTo>
                    <a:pt x="56" y="109"/>
                  </a:lnTo>
                  <a:lnTo>
                    <a:pt x="54" y="109"/>
                  </a:lnTo>
                  <a:lnTo>
                    <a:pt x="52" y="109"/>
                  </a:lnTo>
                  <a:lnTo>
                    <a:pt x="50" y="109"/>
                  </a:lnTo>
                  <a:lnTo>
                    <a:pt x="48" y="109"/>
                  </a:lnTo>
                  <a:lnTo>
                    <a:pt x="48" y="107"/>
                  </a:lnTo>
                  <a:lnTo>
                    <a:pt x="46" y="107"/>
                  </a:lnTo>
                  <a:lnTo>
                    <a:pt x="44" y="107"/>
                  </a:lnTo>
                  <a:lnTo>
                    <a:pt x="44" y="109"/>
                  </a:lnTo>
                  <a:lnTo>
                    <a:pt x="43" y="109"/>
                  </a:lnTo>
                  <a:lnTo>
                    <a:pt x="41" y="109"/>
                  </a:lnTo>
                  <a:lnTo>
                    <a:pt x="39" y="109"/>
                  </a:lnTo>
                  <a:lnTo>
                    <a:pt x="37" y="109"/>
                  </a:lnTo>
                  <a:lnTo>
                    <a:pt x="35" y="109"/>
                  </a:lnTo>
                  <a:lnTo>
                    <a:pt x="33" y="109"/>
                  </a:lnTo>
                  <a:lnTo>
                    <a:pt x="33" y="111"/>
                  </a:lnTo>
                  <a:lnTo>
                    <a:pt x="33" y="113"/>
                  </a:lnTo>
                  <a:lnTo>
                    <a:pt x="31" y="115"/>
                  </a:lnTo>
                  <a:lnTo>
                    <a:pt x="31" y="117"/>
                  </a:lnTo>
                  <a:lnTo>
                    <a:pt x="31" y="119"/>
                  </a:lnTo>
                  <a:lnTo>
                    <a:pt x="31" y="121"/>
                  </a:lnTo>
                  <a:lnTo>
                    <a:pt x="31" y="122"/>
                  </a:lnTo>
                  <a:lnTo>
                    <a:pt x="29" y="122"/>
                  </a:lnTo>
                  <a:lnTo>
                    <a:pt x="29" y="124"/>
                  </a:lnTo>
                  <a:lnTo>
                    <a:pt x="27" y="128"/>
                  </a:lnTo>
                  <a:lnTo>
                    <a:pt x="25" y="128"/>
                  </a:lnTo>
                  <a:lnTo>
                    <a:pt x="25" y="126"/>
                  </a:lnTo>
                  <a:lnTo>
                    <a:pt x="25" y="124"/>
                  </a:lnTo>
                  <a:lnTo>
                    <a:pt x="25" y="122"/>
                  </a:lnTo>
                  <a:lnTo>
                    <a:pt x="25" y="121"/>
                  </a:lnTo>
                  <a:lnTo>
                    <a:pt x="25" y="119"/>
                  </a:lnTo>
                  <a:lnTo>
                    <a:pt x="23" y="119"/>
                  </a:lnTo>
                  <a:lnTo>
                    <a:pt x="23" y="117"/>
                  </a:lnTo>
                  <a:lnTo>
                    <a:pt x="23" y="119"/>
                  </a:lnTo>
                  <a:lnTo>
                    <a:pt x="23" y="117"/>
                  </a:lnTo>
                  <a:lnTo>
                    <a:pt x="21" y="117"/>
                  </a:lnTo>
                  <a:lnTo>
                    <a:pt x="21" y="115"/>
                  </a:lnTo>
                  <a:lnTo>
                    <a:pt x="19" y="115"/>
                  </a:lnTo>
                  <a:lnTo>
                    <a:pt x="19" y="113"/>
                  </a:lnTo>
                  <a:lnTo>
                    <a:pt x="18" y="113"/>
                  </a:lnTo>
                  <a:lnTo>
                    <a:pt x="18" y="111"/>
                  </a:lnTo>
                  <a:lnTo>
                    <a:pt x="16" y="111"/>
                  </a:lnTo>
                  <a:lnTo>
                    <a:pt x="16" y="109"/>
                  </a:lnTo>
                  <a:lnTo>
                    <a:pt x="14" y="109"/>
                  </a:lnTo>
                  <a:lnTo>
                    <a:pt x="14" y="107"/>
                  </a:lnTo>
                  <a:lnTo>
                    <a:pt x="12" y="107"/>
                  </a:lnTo>
                  <a:lnTo>
                    <a:pt x="12" y="105"/>
                  </a:lnTo>
                  <a:lnTo>
                    <a:pt x="12" y="103"/>
                  </a:lnTo>
                  <a:lnTo>
                    <a:pt x="10" y="103"/>
                  </a:lnTo>
                  <a:lnTo>
                    <a:pt x="12" y="103"/>
                  </a:lnTo>
                  <a:lnTo>
                    <a:pt x="12" y="101"/>
                  </a:lnTo>
                  <a:lnTo>
                    <a:pt x="10" y="101"/>
                  </a:lnTo>
                  <a:lnTo>
                    <a:pt x="12" y="101"/>
                  </a:lnTo>
                  <a:lnTo>
                    <a:pt x="10" y="101"/>
                  </a:lnTo>
                  <a:lnTo>
                    <a:pt x="12" y="101"/>
                  </a:lnTo>
                  <a:lnTo>
                    <a:pt x="10" y="101"/>
                  </a:lnTo>
                  <a:lnTo>
                    <a:pt x="10" y="99"/>
                  </a:lnTo>
                  <a:lnTo>
                    <a:pt x="12" y="99"/>
                  </a:lnTo>
                  <a:lnTo>
                    <a:pt x="10" y="99"/>
                  </a:lnTo>
                  <a:lnTo>
                    <a:pt x="10" y="97"/>
                  </a:lnTo>
                  <a:lnTo>
                    <a:pt x="10" y="96"/>
                  </a:lnTo>
                  <a:lnTo>
                    <a:pt x="8" y="96"/>
                  </a:lnTo>
                  <a:lnTo>
                    <a:pt x="6" y="96"/>
                  </a:lnTo>
                  <a:lnTo>
                    <a:pt x="6" y="94"/>
                  </a:lnTo>
                  <a:lnTo>
                    <a:pt x="6" y="92"/>
                  </a:lnTo>
                  <a:lnTo>
                    <a:pt x="4" y="92"/>
                  </a:lnTo>
                  <a:lnTo>
                    <a:pt x="6" y="92"/>
                  </a:lnTo>
                  <a:lnTo>
                    <a:pt x="4" y="90"/>
                  </a:lnTo>
                  <a:lnTo>
                    <a:pt x="6" y="90"/>
                  </a:lnTo>
                  <a:lnTo>
                    <a:pt x="4" y="90"/>
                  </a:lnTo>
                  <a:lnTo>
                    <a:pt x="4" y="88"/>
                  </a:lnTo>
                  <a:lnTo>
                    <a:pt x="4" y="86"/>
                  </a:lnTo>
                  <a:lnTo>
                    <a:pt x="4" y="84"/>
                  </a:lnTo>
                  <a:lnTo>
                    <a:pt x="2" y="84"/>
                  </a:lnTo>
                  <a:lnTo>
                    <a:pt x="2" y="82"/>
                  </a:lnTo>
                  <a:lnTo>
                    <a:pt x="4" y="82"/>
                  </a:lnTo>
                  <a:lnTo>
                    <a:pt x="4" y="80"/>
                  </a:lnTo>
                  <a:lnTo>
                    <a:pt x="4" y="78"/>
                  </a:lnTo>
                  <a:lnTo>
                    <a:pt x="4" y="76"/>
                  </a:lnTo>
                  <a:lnTo>
                    <a:pt x="4" y="74"/>
                  </a:lnTo>
                  <a:lnTo>
                    <a:pt x="2" y="74"/>
                  </a:lnTo>
                  <a:lnTo>
                    <a:pt x="0" y="74"/>
                  </a:lnTo>
                  <a:lnTo>
                    <a:pt x="0" y="73"/>
                  </a:lnTo>
                  <a:lnTo>
                    <a:pt x="2" y="73"/>
                  </a:lnTo>
                  <a:lnTo>
                    <a:pt x="2" y="71"/>
                  </a:lnTo>
                  <a:lnTo>
                    <a:pt x="4" y="71"/>
                  </a:lnTo>
                  <a:lnTo>
                    <a:pt x="6" y="71"/>
                  </a:lnTo>
                  <a:lnTo>
                    <a:pt x="6" y="69"/>
                  </a:lnTo>
                  <a:lnTo>
                    <a:pt x="6" y="67"/>
                  </a:lnTo>
                  <a:lnTo>
                    <a:pt x="8" y="67"/>
                  </a:lnTo>
                  <a:lnTo>
                    <a:pt x="8" y="65"/>
                  </a:lnTo>
                  <a:lnTo>
                    <a:pt x="8" y="63"/>
                  </a:lnTo>
                  <a:lnTo>
                    <a:pt x="10" y="63"/>
                  </a:lnTo>
                  <a:lnTo>
                    <a:pt x="10" y="61"/>
                  </a:lnTo>
                  <a:lnTo>
                    <a:pt x="12" y="61"/>
                  </a:lnTo>
                  <a:lnTo>
                    <a:pt x="12" y="59"/>
                  </a:lnTo>
                  <a:lnTo>
                    <a:pt x="12" y="57"/>
                  </a:lnTo>
                  <a:lnTo>
                    <a:pt x="12" y="55"/>
                  </a:lnTo>
                  <a:lnTo>
                    <a:pt x="14" y="55"/>
                  </a:lnTo>
                  <a:lnTo>
                    <a:pt x="14" y="53"/>
                  </a:lnTo>
                  <a:lnTo>
                    <a:pt x="16" y="53"/>
                  </a:lnTo>
                  <a:lnTo>
                    <a:pt x="16" y="51"/>
                  </a:lnTo>
                  <a:lnTo>
                    <a:pt x="18" y="51"/>
                  </a:lnTo>
                  <a:lnTo>
                    <a:pt x="19" y="51"/>
                  </a:lnTo>
                  <a:lnTo>
                    <a:pt x="21" y="51"/>
                  </a:lnTo>
                  <a:lnTo>
                    <a:pt x="23" y="51"/>
                  </a:lnTo>
                  <a:lnTo>
                    <a:pt x="25" y="51"/>
                  </a:lnTo>
                  <a:lnTo>
                    <a:pt x="25" y="49"/>
                  </a:lnTo>
                  <a:lnTo>
                    <a:pt x="27" y="49"/>
                  </a:lnTo>
                  <a:lnTo>
                    <a:pt x="29" y="49"/>
                  </a:lnTo>
                  <a:lnTo>
                    <a:pt x="27" y="49"/>
                  </a:lnTo>
                  <a:lnTo>
                    <a:pt x="29" y="49"/>
                  </a:lnTo>
                  <a:lnTo>
                    <a:pt x="29" y="48"/>
                  </a:lnTo>
                  <a:lnTo>
                    <a:pt x="31" y="48"/>
                  </a:lnTo>
                  <a:lnTo>
                    <a:pt x="29" y="48"/>
                  </a:lnTo>
                  <a:lnTo>
                    <a:pt x="31" y="48"/>
                  </a:lnTo>
                  <a:lnTo>
                    <a:pt x="29" y="48"/>
                  </a:lnTo>
                  <a:lnTo>
                    <a:pt x="31" y="48"/>
                  </a:lnTo>
                  <a:lnTo>
                    <a:pt x="31" y="46"/>
                  </a:lnTo>
                  <a:lnTo>
                    <a:pt x="33" y="46"/>
                  </a:lnTo>
                  <a:lnTo>
                    <a:pt x="33" y="48"/>
                  </a:lnTo>
                  <a:lnTo>
                    <a:pt x="33" y="49"/>
                  </a:lnTo>
                  <a:lnTo>
                    <a:pt x="35" y="49"/>
                  </a:lnTo>
                  <a:lnTo>
                    <a:pt x="35" y="51"/>
                  </a:lnTo>
                  <a:lnTo>
                    <a:pt x="37" y="51"/>
                  </a:lnTo>
                  <a:lnTo>
                    <a:pt x="37" y="49"/>
                  </a:lnTo>
                  <a:lnTo>
                    <a:pt x="37" y="51"/>
                  </a:lnTo>
                  <a:lnTo>
                    <a:pt x="37" y="49"/>
                  </a:lnTo>
                  <a:lnTo>
                    <a:pt x="39" y="49"/>
                  </a:lnTo>
                  <a:lnTo>
                    <a:pt x="41" y="49"/>
                  </a:lnTo>
                  <a:lnTo>
                    <a:pt x="41" y="48"/>
                  </a:lnTo>
                  <a:lnTo>
                    <a:pt x="41" y="49"/>
                  </a:lnTo>
                  <a:lnTo>
                    <a:pt x="41" y="48"/>
                  </a:lnTo>
                  <a:lnTo>
                    <a:pt x="43" y="48"/>
                  </a:lnTo>
                  <a:lnTo>
                    <a:pt x="43" y="46"/>
                  </a:lnTo>
                  <a:lnTo>
                    <a:pt x="44" y="46"/>
                  </a:lnTo>
                  <a:lnTo>
                    <a:pt x="46" y="46"/>
                  </a:lnTo>
                  <a:lnTo>
                    <a:pt x="48" y="46"/>
                  </a:lnTo>
                  <a:lnTo>
                    <a:pt x="48" y="44"/>
                  </a:lnTo>
                  <a:lnTo>
                    <a:pt x="50" y="44"/>
                  </a:lnTo>
                  <a:lnTo>
                    <a:pt x="52" y="44"/>
                  </a:lnTo>
                  <a:lnTo>
                    <a:pt x="54" y="44"/>
                  </a:lnTo>
                  <a:lnTo>
                    <a:pt x="56" y="44"/>
                  </a:lnTo>
                  <a:lnTo>
                    <a:pt x="58" y="44"/>
                  </a:lnTo>
                  <a:lnTo>
                    <a:pt x="60" y="44"/>
                  </a:lnTo>
                  <a:lnTo>
                    <a:pt x="62" y="44"/>
                  </a:lnTo>
                  <a:lnTo>
                    <a:pt x="62" y="42"/>
                  </a:lnTo>
                  <a:lnTo>
                    <a:pt x="64" y="42"/>
                  </a:lnTo>
                  <a:lnTo>
                    <a:pt x="64" y="40"/>
                  </a:lnTo>
                  <a:lnTo>
                    <a:pt x="66" y="40"/>
                  </a:lnTo>
                  <a:lnTo>
                    <a:pt x="66" y="38"/>
                  </a:lnTo>
                  <a:lnTo>
                    <a:pt x="66" y="40"/>
                  </a:lnTo>
                  <a:lnTo>
                    <a:pt x="66" y="38"/>
                  </a:lnTo>
                  <a:lnTo>
                    <a:pt x="67" y="38"/>
                  </a:lnTo>
                  <a:lnTo>
                    <a:pt x="67" y="36"/>
                  </a:lnTo>
                  <a:lnTo>
                    <a:pt x="69" y="36"/>
                  </a:lnTo>
                  <a:lnTo>
                    <a:pt x="67" y="36"/>
                  </a:lnTo>
                  <a:lnTo>
                    <a:pt x="69" y="36"/>
                  </a:lnTo>
                  <a:lnTo>
                    <a:pt x="69" y="34"/>
                  </a:lnTo>
                  <a:lnTo>
                    <a:pt x="67" y="34"/>
                  </a:lnTo>
                  <a:lnTo>
                    <a:pt x="67" y="32"/>
                  </a:lnTo>
                  <a:lnTo>
                    <a:pt x="66" y="32"/>
                  </a:lnTo>
                  <a:lnTo>
                    <a:pt x="66" y="30"/>
                  </a:lnTo>
                  <a:lnTo>
                    <a:pt x="67" y="30"/>
                  </a:lnTo>
                  <a:lnTo>
                    <a:pt x="67" y="28"/>
                  </a:lnTo>
                  <a:lnTo>
                    <a:pt x="69" y="28"/>
                  </a:lnTo>
                  <a:lnTo>
                    <a:pt x="71" y="28"/>
                  </a:lnTo>
                  <a:lnTo>
                    <a:pt x="73" y="28"/>
                  </a:lnTo>
                  <a:lnTo>
                    <a:pt x="75" y="28"/>
                  </a:lnTo>
                  <a:lnTo>
                    <a:pt x="77" y="28"/>
                  </a:lnTo>
                  <a:lnTo>
                    <a:pt x="79" y="28"/>
                  </a:lnTo>
                  <a:lnTo>
                    <a:pt x="81" y="28"/>
                  </a:lnTo>
                  <a:lnTo>
                    <a:pt x="83" y="28"/>
                  </a:lnTo>
                  <a:lnTo>
                    <a:pt x="83" y="26"/>
                  </a:lnTo>
                  <a:lnTo>
                    <a:pt x="85" y="26"/>
                  </a:lnTo>
                  <a:lnTo>
                    <a:pt x="83" y="26"/>
                  </a:lnTo>
                  <a:lnTo>
                    <a:pt x="85" y="26"/>
                  </a:lnTo>
                  <a:lnTo>
                    <a:pt x="87" y="26"/>
                  </a:lnTo>
                  <a:lnTo>
                    <a:pt x="87" y="28"/>
                  </a:lnTo>
                  <a:lnTo>
                    <a:pt x="87" y="26"/>
                  </a:lnTo>
                  <a:lnTo>
                    <a:pt x="87" y="28"/>
                  </a:lnTo>
                  <a:lnTo>
                    <a:pt x="87" y="26"/>
                  </a:lnTo>
                  <a:lnTo>
                    <a:pt x="87" y="28"/>
                  </a:lnTo>
                  <a:lnTo>
                    <a:pt x="87" y="26"/>
                  </a:lnTo>
                  <a:lnTo>
                    <a:pt x="89" y="26"/>
                  </a:lnTo>
                  <a:lnTo>
                    <a:pt x="90" y="26"/>
                  </a:lnTo>
                  <a:lnTo>
                    <a:pt x="90" y="24"/>
                  </a:lnTo>
                  <a:lnTo>
                    <a:pt x="92" y="24"/>
                  </a:lnTo>
                  <a:lnTo>
                    <a:pt x="92" y="23"/>
                  </a:lnTo>
                  <a:lnTo>
                    <a:pt x="94" y="23"/>
                  </a:lnTo>
                  <a:lnTo>
                    <a:pt x="94" y="21"/>
                  </a:lnTo>
                  <a:lnTo>
                    <a:pt x="96" y="21"/>
                  </a:lnTo>
                  <a:lnTo>
                    <a:pt x="96" y="19"/>
                  </a:lnTo>
                  <a:lnTo>
                    <a:pt x="98" y="19"/>
                  </a:lnTo>
                  <a:lnTo>
                    <a:pt x="98" y="17"/>
                  </a:lnTo>
                  <a:lnTo>
                    <a:pt x="98" y="19"/>
                  </a:lnTo>
                  <a:lnTo>
                    <a:pt x="98" y="17"/>
                  </a:lnTo>
                  <a:lnTo>
                    <a:pt x="100" y="17"/>
                  </a:lnTo>
                  <a:lnTo>
                    <a:pt x="100" y="15"/>
                  </a:lnTo>
                  <a:lnTo>
                    <a:pt x="102" y="15"/>
                  </a:lnTo>
                  <a:lnTo>
                    <a:pt x="104" y="15"/>
                  </a:lnTo>
                  <a:lnTo>
                    <a:pt x="102" y="13"/>
                  </a:lnTo>
                  <a:lnTo>
                    <a:pt x="104" y="13"/>
                  </a:lnTo>
                  <a:lnTo>
                    <a:pt x="104" y="11"/>
                  </a:lnTo>
                  <a:lnTo>
                    <a:pt x="106" y="11"/>
                  </a:lnTo>
                  <a:lnTo>
                    <a:pt x="108" y="11"/>
                  </a:lnTo>
                  <a:lnTo>
                    <a:pt x="106" y="11"/>
                  </a:lnTo>
                  <a:lnTo>
                    <a:pt x="108" y="11"/>
                  </a:lnTo>
                  <a:lnTo>
                    <a:pt x="108" y="9"/>
                  </a:lnTo>
                  <a:lnTo>
                    <a:pt x="108" y="7"/>
                  </a:lnTo>
                  <a:lnTo>
                    <a:pt x="108" y="5"/>
                  </a:lnTo>
                  <a:lnTo>
                    <a:pt x="108" y="3"/>
                  </a:lnTo>
                  <a:lnTo>
                    <a:pt x="110" y="3"/>
                  </a:lnTo>
                  <a:lnTo>
                    <a:pt x="110" y="1"/>
                  </a:lnTo>
                  <a:lnTo>
                    <a:pt x="112" y="1"/>
                  </a:lnTo>
                  <a:lnTo>
                    <a:pt x="114" y="1"/>
                  </a:lnTo>
                  <a:lnTo>
                    <a:pt x="115" y="1"/>
                  </a:lnTo>
                  <a:lnTo>
                    <a:pt x="115" y="0"/>
                  </a:lnTo>
                  <a:lnTo>
                    <a:pt x="115" y="1"/>
                  </a:lnTo>
                  <a:lnTo>
                    <a:pt x="115" y="0"/>
                  </a:lnTo>
                  <a:lnTo>
                    <a:pt x="115" y="1"/>
                  </a:lnTo>
                  <a:lnTo>
                    <a:pt x="115" y="0"/>
                  </a:lnTo>
                  <a:lnTo>
                    <a:pt x="117" y="0"/>
                  </a:lnTo>
                  <a:lnTo>
                    <a:pt x="115" y="0"/>
                  </a:lnTo>
                  <a:lnTo>
                    <a:pt x="117" y="0"/>
                  </a:lnTo>
                  <a:lnTo>
                    <a:pt x="119" y="0"/>
                  </a:lnTo>
                  <a:lnTo>
                    <a:pt x="121" y="0"/>
                  </a:lnTo>
                  <a:lnTo>
                    <a:pt x="123" y="0"/>
                  </a:lnTo>
                  <a:lnTo>
                    <a:pt x="125"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312">
              <a:extLst>
                <a:ext uri="{FF2B5EF4-FFF2-40B4-BE49-F238E27FC236}">
                  <a16:creationId xmlns:a16="http://schemas.microsoft.com/office/drawing/2014/main" id="{D0975AE4-5936-4527-BFA0-1C48F5A2013F}"/>
                </a:ext>
              </a:extLst>
            </p:cNvPr>
            <p:cNvSpPr>
              <a:spLocks noEditPoints="1"/>
            </p:cNvSpPr>
            <p:nvPr/>
          </p:nvSpPr>
          <p:spPr bwMode="gray">
            <a:xfrm>
              <a:off x="3257317" y="4113906"/>
              <a:ext cx="214616" cy="176598"/>
            </a:xfrm>
            <a:custGeom>
              <a:avLst/>
              <a:gdLst>
                <a:gd name="T0" fmla="*/ 167 w 175"/>
                <a:gd name="T1" fmla="*/ 21 h 144"/>
                <a:gd name="T2" fmla="*/ 175 w 175"/>
                <a:gd name="T3" fmla="*/ 31 h 144"/>
                <a:gd name="T4" fmla="*/ 167 w 175"/>
                <a:gd name="T5" fmla="*/ 41 h 144"/>
                <a:gd name="T6" fmla="*/ 160 w 175"/>
                <a:gd name="T7" fmla="*/ 50 h 144"/>
                <a:gd name="T8" fmla="*/ 156 w 175"/>
                <a:gd name="T9" fmla="*/ 60 h 144"/>
                <a:gd name="T10" fmla="*/ 150 w 175"/>
                <a:gd name="T11" fmla="*/ 68 h 144"/>
                <a:gd name="T12" fmla="*/ 146 w 175"/>
                <a:gd name="T13" fmla="*/ 79 h 144"/>
                <a:gd name="T14" fmla="*/ 139 w 175"/>
                <a:gd name="T15" fmla="*/ 89 h 144"/>
                <a:gd name="T16" fmla="*/ 133 w 175"/>
                <a:gd name="T17" fmla="*/ 98 h 144"/>
                <a:gd name="T18" fmla="*/ 131 w 175"/>
                <a:gd name="T19" fmla="*/ 106 h 144"/>
                <a:gd name="T20" fmla="*/ 123 w 175"/>
                <a:gd name="T21" fmla="*/ 110 h 144"/>
                <a:gd name="T22" fmla="*/ 116 w 175"/>
                <a:gd name="T23" fmla="*/ 104 h 144"/>
                <a:gd name="T24" fmla="*/ 106 w 175"/>
                <a:gd name="T25" fmla="*/ 108 h 144"/>
                <a:gd name="T26" fmla="*/ 98 w 175"/>
                <a:gd name="T27" fmla="*/ 112 h 144"/>
                <a:gd name="T28" fmla="*/ 91 w 175"/>
                <a:gd name="T29" fmla="*/ 125 h 144"/>
                <a:gd name="T30" fmla="*/ 85 w 175"/>
                <a:gd name="T31" fmla="*/ 137 h 144"/>
                <a:gd name="T32" fmla="*/ 81 w 175"/>
                <a:gd name="T33" fmla="*/ 135 h 144"/>
                <a:gd name="T34" fmla="*/ 77 w 175"/>
                <a:gd name="T35" fmla="*/ 141 h 144"/>
                <a:gd name="T36" fmla="*/ 70 w 175"/>
                <a:gd name="T37" fmla="*/ 139 h 144"/>
                <a:gd name="T38" fmla="*/ 64 w 175"/>
                <a:gd name="T39" fmla="*/ 139 h 144"/>
                <a:gd name="T40" fmla="*/ 60 w 175"/>
                <a:gd name="T41" fmla="*/ 137 h 144"/>
                <a:gd name="T42" fmla="*/ 58 w 175"/>
                <a:gd name="T43" fmla="*/ 141 h 144"/>
                <a:gd name="T44" fmla="*/ 54 w 175"/>
                <a:gd name="T45" fmla="*/ 142 h 144"/>
                <a:gd name="T46" fmla="*/ 48 w 175"/>
                <a:gd name="T47" fmla="*/ 142 h 144"/>
                <a:gd name="T48" fmla="*/ 45 w 175"/>
                <a:gd name="T49" fmla="*/ 141 h 144"/>
                <a:gd name="T50" fmla="*/ 39 w 175"/>
                <a:gd name="T51" fmla="*/ 127 h 144"/>
                <a:gd name="T52" fmla="*/ 43 w 175"/>
                <a:gd name="T53" fmla="*/ 125 h 144"/>
                <a:gd name="T54" fmla="*/ 37 w 175"/>
                <a:gd name="T55" fmla="*/ 125 h 144"/>
                <a:gd name="T56" fmla="*/ 35 w 175"/>
                <a:gd name="T57" fmla="*/ 121 h 144"/>
                <a:gd name="T58" fmla="*/ 22 w 175"/>
                <a:gd name="T59" fmla="*/ 114 h 144"/>
                <a:gd name="T60" fmla="*/ 0 w 175"/>
                <a:gd name="T61" fmla="*/ 114 h 144"/>
                <a:gd name="T62" fmla="*/ 0 w 175"/>
                <a:gd name="T63" fmla="*/ 98 h 144"/>
                <a:gd name="T64" fmla="*/ 0 w 175"/>
                <a:gd name="T65" fmla="*/ 81 h 144"/>
                <a:gd name="T66" fmla="*/ 6 w 175"/>
                <a:gd name="T67" fmla="*/ 73 h 144"/>
                <a:gd name="T68" fmla="*/ 14 w 175"/>
                <a:gd name="T69" fmla="*/ 58 h 144"/>
                <a:gd name="T70" fmla="*/ 16 w 175"/>
                <a:gd name="T71" fmla="*/ 45 h 144"/>
                <a:gd name="T72" fmla="*/ 14 w 175"/>
                <a:gd name="T73" fmla="*/ 27 h 144"/>
                <a:gd name="T74" fmla="*/ 22 w 175"/>
                <a:gd name="T75" fmla="*/ 12 h 144"/>
                <a:gd name="T76" fmla="*/ 37 w 175"/>
                <a:gd name="T77" fmla="*/ 4 h 144"/>
                <a:gd name="T78" fmla="*/ 50 w 175"/>
                <a:gd name="T79" fmla="*/ 4 h 144"/>
                <a:gd name="T80" fmla="*/ 62 w 175"/>
                <a:gd name="T81" fmla="*/ 14 h 144"/>
                <a:gd name="T82" fmla="*/ 77 w 175"/>
                <a:gd name="T83" fmla="*/ 10 h 144"/>
                <a:gd name="T84" fmla="*/ 91 w 175"/>
                <a:gd name="T85" fmla="*/ 18 h 144"/>
                <a:gd name="T86" fmla="*/ 108 w 175"/>
                <a:gd name="T87" fmla="*/ 12 h 144"/>
                <a:gd name="T88" fmla="*/ 123 w 175"/>
                <a:gd name="T89" fmla="*/ 8 h 144"/>
                <a:gd name="T90" fmla="*/ 139 w 175"/>
                <a:gd name="T91" fmla="*/ 12 h 144"/>
                <a:gd name="T92" fmla="*/ 148 w 175"/>
                <a:gd name="T93" fmla="*/ 6 h 144"/>
                <a:gd name="T94" fmla="*/ 64 w 175"/>
                <a:gd name="T95" fmla="*/ 142 h 144"/>
                <a:gd name="T96" fmla="*/ 52 w 175"/>
                <a:gd name="T97" fmla="*/ 144 h 144"/>
                <a:gd name="T98" fmla="*/ 64 w 175"/>
                <a:gd name="T99" fmla="*/ 137 h 144"/>
                <a:gd name="T100" fmla="*/ 66 w 175"/>
                <a:gd name="T101" fmla="*/ 141 h 144"/>
                <a:gd name="T102" fmla="*/ 64 w 175"/>
                <a:gd name="T103" fmla="*/ 141 h 144"/>
                <a:gd name="T104" fmla="*/ 62 w 175"/>
                <a:gd name="T105" fmla="*/ 139 h 144"/>
                <a:gd name="T106" fmla="*/ 79 w 175"/>
                <a:gd name="T107" fmla="*/ 133 h 144"/>
                <a:gd name="T108" fmla="*/ 81 w 175"/>
                <a:gd name="T109" fmla="*/ 137 h 144"/>
                <a:gd name="T110" fmla="*/ 68 w 175"/>
                <a:gd name="T111" fmla="*/ 139 h 144"/>
                <a:gd name="T112" fmla="*/ 64 w 175"/>
                <a:gd name="T113" fmla="*/ 139 h 144"/>
                <a:gd name="T114" fmla="*/ 81 w 175"/>
                <a:gd name="T115" fmla="*/ 13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5" h="144">
                  <a:moveTo>
                    <a:pt x="160" y="4"/>
                  </a:moveTo>
                  <a:lnTo>
                    <a:pt x="162" y="6"/>
                  </a:lnTo>
                  <a:lnTo>
                    <a:pt x="164" y="8"/>
                  </a:lnTo>
                  <a:lnTo>
                    <a:pt x="166" y="12"/>
                  </a:lnTo>
                  <a:lnTo>
                    <a:pt x="167" y="14"/>
                  </a:lnTo>
                  <a:lnTo>
                    <a:pt x="167" y="18"/>
                  </a:lnTo>
                  <a:lnTo>
                    <a:pt x="167" y="20"/>
                  </a:lnTo>
                  <a:lnTo>
                    <a:pt x="167" y="18"/>
                  </a:lnTo>
                  <a:lnTo>
                    <a:pt x="167" y="20"/>
                  </a:lnTo>
                  <a:lnTo>
                    <a:pt x="169" y="21"/>
                  </a:lnTo>
                  <a:lnTo>
                    <a:pt x="167" y="21"/>
                  </a:lnTo>
                  <a:lnTo>
                    <a:pt x="167" y="23"/>
                  </a:lnTo>
                  <a:lnTo>
                    <a:pt x="169" y="23"/>
                  </a:lnTo>
                  <a:lnTo>
                    <a:pt x="167" y="23"/>
                  </a:lnTo>
                  <a:lnTo>
                    <a:pt x="169" y="23"/>
                  </a:lnTo>
                  <a:lnTo>
                    <a:pt x="171" y="23"/>
                  </a:lnTo>
                  <a:lnTo>
                    <a:pt x="173" y="23"/>
                  </a:lnTo>
                  <a:lnTo>
                    <a:pt x="173" y="25"/>
                  </a:lnTo>
                  <a:lnTo>
                    <a:pt x="175" y="25"/>
                  </a:lnTo>
                  <a:lnTo>
                    <a:pt x="175" y="27"/>
                  </a:lnTo>
                  <a:lnTo>
                    <a:pt x="175" y="29"/>
                  </a:lnTo>
                  <a:lnTo>
                    <a:pt x="175" y="31"/>
                  </a:lnTo>
                  <a:lnTo>
                    <a:pt x="175" y="33"/>
                  </a:lnTo>
                  <a:lnTo>
                    <a:pt x="173" y="33"/>
                  </a:lnTo>
                  <a:lnTo>
                    <a:pt x="173" y="35"/>
                  </a:lnTo>
                  <a:lnTo>
                    <a:pt x="175" y="35"/>
                  </a:lnTo>
                  <a:lnTo>
                    <a:pt x="175" y="37"/>
                  </a:lnTo>
                  <a:lnTo>
                    <a:pt x="173" y="37"/>
                  </a:lnTo>
                  <a:lnTo>
                    <a:pt x="171" y="37"/>
                  </a:lnTo>
                  <a:lnTo>
                    <a:pt x="171" y="39"/>
                  </a:lnTo>
                  <a:lnTo>
                    <a:pt x="169" y="39"/>
                  </a:lnTo>
                  <a:lnTo>
                    <a:pt x="169" y="41"/>
                  </a:lnTo>
                  <a:lnTo>
                    <a:pt x="167" y="41"/>
                  </a:lnTo>
                  <a:lnTo>
                    <a:pt x="166" y="41"/>
                  </a:lnTo>
                  <a:lnTo>
                    <a:pt x="164" y="41"/>
                  </a:lnTo>
                  <a:lnTo>
                    <a:pt x="164" y="43"/>
                  </a:lnTo>
                  <a:lnTo>
                    <a:pt x="164" y="45"/>
                  </a:lnTo>
                  <a:lnTo>
                    <a:pt x="162" y="45"/>
                  </a:lnTo>
                  <a:lnTo>
                    <a:pt x="162" y="46"/>
                  </a:lnTo>
                  <a:lnTo>
                    <a:pt x="160" y="46"/>
                  </a:lnTo>
                  <a:lnTo>
                    <a:pt x="160" y="48"/>
                  </a:lnTo>
                  <a:lnTo>
                    <a:pt x="160" y="50"/>
                  </a:lnTo>
                  <a:lnTo>
                    <a:pt x="158" y="50"/>
                  </a:lnTo>
                  <a:lnTo>
                    <a:pt x="160" y="50"/>
                  </a:lnTo>
                  <a:lnTo>
                    <a:pt x="158" y="50"/>
                  </a:lnTo>
                  <a:lnTo>
                    <a:pt x="160" y="50"/>
                  </a:lnTo>
                  <a:lnTo>
                    <a:pt x="160" y="52"/>
                  </a:lnTo>
                  <a:lnTo>
                    <a:pt x="158" y="52"/>
                  </a:lnTo>
                  <a:lnTo>
                    <a:pt x="158" y="54"/>
                  </a:lnTo>
                  <a:lnTo>
                    <a:pt x="158" y="56"/>
                  </a:lnTo>
                  <a:lnTo>
                    <a:pt x="158" y="58"/>
                  </a:lnTo>
                  <a:lnTo>
                    <a:pt x="156" y="58"/>
                  </a:lnTo>
                  <a:lnTo>
                    <a:pt x="154" y="58"/>
                  </a:lnTo>
                  <a:lnTo>
                    <a:pt x="154" y="60"/>
                  </a:lnTo>
                  <a:lnTo>
                    <a:pt x="156" y="60"/>
                  </a:lnTo>
                  <a:lnTo>
                    <a:pt x="154" y="60"/>
                  </a:lnTo>
                  <a:lnTo>
                    <a:pt x="154" y="62"/>
                  </a:lnTo>
                  <a:lnTo>
                    <a:pt x="156" y="62"/>
                  </a:lnTo>
                  <a:lnTo>
                    <a:pt x="154" y="62"/>
                  </a:lnTo>
                  <a:lnTo>
                    <a:pt x="154" y="64"/>
                  </a:lnTo>
                  <a:lnTo>
                    <a:pt x="154" y="66"/>
                  </a:lnTo>
                  <a:lnTo>
                    <a:pt x="152" y="66"/>
                  </a:lnTo>
                  <a:lnTo>
                    <a:pt x="152" y="68"/>
                  </a:lnTo>
                  <a:lnTo>
                    <a:pt x="152" y="66"/>
                  </a:lnTo>
                  <a:lnTo>
                    <a:pt x="152" y="68"/>
                  </a:lnTo>
                  <a:lnTo>
                    <a:pt x="150" y="68"/>
                  </a:lnTo>
                  <a:lnTo>
                    <a:pt x="148" y="69"/>
                  </a:lnTo>
                  <a:lnTo>
                    <a:pt x="148" y="68"/>
                  </a:lnTo>
                  <a:lnTo>
                    <a:pt x="148" y="69"/>
                  </a:lnTo>
                  <a:lnTo>
                    <a:pt x="150" y="69"/>
                  </a:lnTo>
                  <a:lnTo>
                    <a:pt x="150" y="71"/>
                  </a:lnTo>
                  <a:lnTo>
                    <a:pt x="150" y="73"/>
                  </a:lnTo>
                  <a:lnTo>
                    <a:pt x="148" y="73"/>
                  </a:lnTo>
                  <a:lnTo>
                    <a:pt x="148" y="75"/>
                  </a:lnTo>
                  <a:lnTo>
                    <a:pt x="148" y="77"/>
                  </a:lnTo>
                  <a:lnTo>
                    <a:pt x="146" y="77"/>
                  </a:lnTo>
                  <a:lnTo>
                    <a:pt x="146" y="79"/>
                  </a:lnTo>
                  <a:lnTo>
                    <a:pt x="144" y="79"/>
                  </a:lnTo>
                  <a:lnTo>
                    <a:pt x="144" y="81"/>
                  </a:lnTo>
                  <a:lnTo>
                    <a:pt x="144" y="79"/>
                  </a:lnTo>
                  <a:lnTo>
                    <a:pt x="142" y="79"/>
                  </a:lnTo>
                  <a:lnTo>
                    <a:pt x="142" y="81"/>
                  </a:lnTo>
                  <a:lnTo>
                    <a:pt x="142" y="83"/>
                  </a:lnTo>
                  <a:lnTo>
                    <a:pt x="141" y="83"/>
                  </a:lnTo>
                  <a:lnTo>
                    <a:pt x="141" y="85"/>
                  </a:lnTo>
                  <a:lnTo>
                    <a:pt x="141" y="87"/>
                  </a:lnTo>
                  <a:lnTo>
                    <a:pt x="139" y="87"/>
                  </a:lnTo>
                  <a:lnTo>
                    <a:pt x="139" y="89"/>
                  </a:lnTo>
                  <a:lnTo>
                    <a:pt x="141" y="89"/>
                  </a:lnTo>
                  <a:lnTo>
                    <a:pt x="139" y="89"/>
                  </a:lnTo>
                  <a:lnTo>
                    <a:pt x="141" y="89"/>
                  </a:lnTo>
                  <a:lnTo>
                    <a:pt x="139" y="89"/>
                  </a:lnTo>
                  <a:lnTo>
                    <a:pt x="139" y="91"/>
                  </a:lnTo>
                  <a:lnTo>
                    <a:pt x="137" y="93"/>
                  </a:lnTo>
                  <a:lnTo>
                    <a:pt x="137" y="94"/>
                  </a:lnTo>
                  <a:lnTo>
                    <a:pt x="137" y="96"/>
                  </a:lnTo>
                  <a:lnTo>
                    <a:pt x="135" y="96"/>
                  </a:lnTo>
                  <a:lnTo>
                    <a:pt x="135" y="98"/>
                  </a:lnTo>
                  <a:lnTo>
                    <a:pt x="133" y="98"/>
                  </a:lnTo>
                  <a:lnTo>
                    <a:pt x="133" y="100"/>
                  </a:lnTo>
                  <a:lnTo>
                    <a:pt x="133" y="102"/>
                  </a:lnTo>
                  <a:lnTo>
                    <a:pt x="135" y="102"/>
                  </a:lnTo>
                  <a:lnTo>
                    <a:pt x="133" y="102"/>
                  </a:lnTo>
                  <a:lnTo>
                    <a:pt x="135" y="102"/>
                  </a:lnTo>
                  <a:lnTo>
                    <a:pt x="133" y="102"/>
                  </a:lnTo>
                  <a:lnTo>
                    <a:pt x="133" y="104"/>
                  </a:lnTo>
                  <a:lnTo>
                    <a:pt x="131" y="104"/>
                  </a:lnTo>
                  <a:lnTo>
                    <a:pt x="131" y="106"/>
                  </a:lnTo>
                  <a:lnTo>
                    <a:pt x="129" y="106"/>
                  </a:lnTo>
                  <a:lnTo>
                    <a:pt x="131" y="106"/>
                  </a:lnTo>
                  <a:lnTo>
                    <a:pt x="131" y="108"/>
                  </a:lnTo>
                  <a:lnTo>
                    <a:pt x="129" y="108"/>
                  </a:lnTo>
                  <a:lnTo>
                    <a:pt x="129" y="110"/>
                  </a:lnTo>
                  <a:lnTo>
                    <a:pt x="127" y="110"/>
                  </a:lnTo>
                  <a:lnTo>
                    <a:pt x="129" y="110"/>
                  </a:lnTo>
                  <a:lnTo>
                    <a:pt x="127" y="110"/>
                  </a:lnTo>
                  <a:lnTo>
                    <a:pt x="127" y="112"/>
                  </a:lnTo>
                  <a:lnTo>
                    <a:pt x="125" y="110"/>
                  </a:lnTo>
                  <a:lnTo>
                    <a:pt x="125" y="112"/>
                  </a:lnTo>
                  <a:lnTo>
                    <a:pt x="125" y="110"/>
                  </a:lnTo>
                  <a:lnTo>
                    <a:pt x="123" y="110"/>
                  </a:lnTo>
                  <a:lnTo>
                    <a:pt x="123" y="108"/>
                  </a:lnTo>
                  <a:lnTo>
                    <a:pt x="121" y="108"/>
                  </a:lnTo>
                  <a:lnTo>
                    <a:pt x="119" y="108"/>
                  </a:lnTo>
                  <a:lnTo>
                    <a:pt x="119" y="106"/>
                  </a:lnTo>
                  <a:lnTo>
                    <a:pt x="119" y="104"/>
                  </a:lnTo>
                  <a:lnTo>
                    <a:pt x="118" y="104"/>
                  </a:lnTo>
                  <a:lnTo>
                    <a:pt x="118" y="102"/>
                  </a:lnTo>
                  <a:lnTo>
                    <a:pt x="118" y="104"/>
                  </a:lnTo>
                  <a:lnTo>
                    <a:pt x="118" y="102"/>
                  </a:lnTo>
                  <a:lnTo>
                    <a:pt x="116" y="102"/>
                  </a:lnTo>
                  <a:lnTo>
                    <a:pt x="116" y="104"/>
                  </a:lnTo>
                  <a:lnTo>
                    <a:pt x="114" y="104"/>
                  </a:lnTo>
                  <a:lnTo>
                    <a:pt x="114" y="106"/>
                  </a:lnTo>
                  <a:lnTo>
                    <a:pt x="114" y="104"/>
                  </a:lnTo>
                  <a:lnTo>
                    <a:pt x="114" y="106"/>
                  </a:lnTo>
                  <a:lnTo>
                    <a:pt x="112" y="106"/>
                  </a:lnTo>
                  <a:lnTo>
                    <a:pt x="110" y="106"/>
                  </a:lnTo>
                  <a:lnTo>
                    <a:pt x="110" y="104"/>
                  </a:lnTo>
                  <a:lnTo>
                    <a:pt x="108" y="104"/>
                  </a:lnTo>
                  <a:lnTo>
                    <a:pt x="108" y="106"/>
                  </a:lnTo>
                  <a:lnTo>
                    <a:pt x="106" y="106"/>
                  </a:lnTo>
                  <a:lnTo>
                    <a:pt x="106" y="108"/>
                  </a:lnTo>
                  <a:lnTo>
                    <a:pt x="104" y="108"/>
                  </a:lnTo>
                  <a:lnTo>
                    <a:pt x="104" y="106"/>
                  </a:lnTo>
                  <a:lnTo>
                    <a:pt x="104" y="108"/>
                  </a:lnTo>
                  <a:lnTo>
                    <a:pt x="104" y="110"/>
                  </a:lnTo>
                  <a:lnTo>
                    <a:pt x="102" y="110"/>
                  </a:lnTo>
                  <a:lnTo>
                    <a:pt x="102" y="112"/>
                  </a:lnTo>
                  <a:lnTo>
                    <a:pt x="102" y="110"/>
                  </a:lnTo>
                  <a:lnTo>
                    <a:pt x="102" y="112"/>
                  </a:lnTo>
                  <a:lnTo>
                    <a:pt x="102" y="110"/>
                  </a:lnTo>
                  <a:lnTo>
                    <a:pt x="100" y="112"/>
                  </a:lnTo>
                  <a:lnTo>
                    <a:pt x="98" y="112"/>
                  </a:lnTo>
                  <a:lnTo>
                    <a:pt x="98" y="114"/>
                  </a:lnTo>
                  <a:lnTo>
                    <a:pt x="96" y="114"/>
                  </a:lnTo>
                  <a:lnTo>
                    <a:pt x="96" y="116"/>
                  </a:lnTo>
                  <a:lnTo>
                    <a:pt x="95" y="116"/>
                  </a:lnTo>
                  <a:lnTo>
                    <a:pt x="95" y="118"/>
                  </a:lnTo>
                  <a:lnTo>
                    <a:pt x="93" y="118"/>
                  </a:lnTo>
                  <a:lnTo>
                    <a:pt x="93" y="119"/>
                  </a:lnTo>
                  <a:lnTo>
                    <a:pt x="91" y="119"/>
                  </a:lnTo>
                  <a:lnTo>
                    <a:pt x="91" y="121"/>
                  </a:lnTo>
                  <a:lnTo>
                    <a:pt x="91" y="123"/>
                  </a:lnTo>
                  <a:lnTo>
                    <a:pt x="91" y="125"/>
                  </a:lnTo>
                  <a:lnTo>
                    <a:pt x="91" y="127"/>
                  </a:lnTo>
                  <a:lnTo>
                    <a:pt x="91" y="129"/>
                  </a:lnTo>
                  <a:lnTo>
                    <a:pt x="91" y="131"/>
                  </a:lnTo>
                  <a:lnTo>
                    <a:pt x="89" y="131"/>
                  </a:lnTo>
                  <a:lnTo>
                    <a:pt x="89" y="133"/>
                  </a:lnTo>
                  <a:lnTo>
                    <a:pt x="87" y="133"/>
                  </a:lnTo>
                  <a:lnTo>
                    <a:pt x="87" y="135"/>
                  </a:lnTo>
                  <a:lnTo>
                    <a:pt x="87" y="137"/>
                  </a:lnTo>
                  <a:lnTo>
                    <a:pt x="85" y="137"/>
                  </a:lnTo>
                  <a:lnTo>
                    <a:pt x="85" y="139"/>
                  </a:lnTo>
                  <a:lnTo>
                    <a:pt x="85" y="137"/>
                  </a:lnTo>
                  <a:lnTo>
                    <a:pt x="83" y="137"/>
                  </a:lnTo>
                  <a:lnTo>
                    <a:pt x="83" y="135"/>
                  </a:lnTo>
                  <a:lnTo>
                    <a:pt x="83" y="137"/>
                  </a:lnTo>
                  <a:lnTo>
                    <a:pt x="83" y="135"/>
                  </a:lnTo>
                  <a:lnTo>
                    <a:pt x="81" y="135"/>
                  </a:lnTo>
                  <a:lnTo>
                    <a:pt x="81" y="133"/>
                  </a:lnTo>
                  <a:lnTo>
                    <a:pt x="79" y="133"/>
                  </a:lnTo>
                  <a:lnTo>
                    <a:pt x="79" y="131"/>
                  </a:lnTo>
                  <a:lnTo>
                    <a:pt x="79" y="133"/>
                  </a:lnTo>
                  <a:lnTo>
                    <a:pt x="79" y="135"/>
                  </a:lnTo>
                  <a:lnTo>
                    <a:pt x="81" y="135"/>
                  </a:lnTo>
                  <a:lnTo>
                    <a:pt x="81" y="137"/>
                  </a:lnTo>
                  <a:lnTo>
                    <a:pt x="83" y="137"/>
                  </a:lnTo>
                  <a:lnTo>
                    <a:pt x="83" y="139"/>
                  </a:lnTo>
                  <a:lnTo>
                    <a:pt x="83" y="141"/>
                  </a:lnTo>
                  <a:lnTo>
                    <a:pt x="81" y="141"/>
                  </a:lnTo>
                  <a:lnTo>
                    <a:pt x="83" y="141"/>
                  </a:lnTo>
                  <a:lnTo>
                    <a:pt x="81" y="141"/>
                  </a:lnTo>
                  <a:lnTo>
                    <a:pt x="83" y="141"/>
                  </a:lnTo>
                  <a:lnTo>
                    <a:pt x="81" y="141"/>
                  </a:lnTo>
                  <a:lnTo>
                    <a:pt x="79" y="141"/>
                  </a:lnTo>
                  <a:lnTo>
                    <a:pt x="77" y="141"/>
                  </a:lnTo>
                  <a:lnTo>
                    <a:pt x="75" y="141"/>
                  </a:lnTo>
                  <a:lnTo>
                    <a:pt x="73" y="141"/>
                  </a:lnTo>
                  <a:lnTo>
                    <a:pt x="71" y="141"/>
                  </a:lnTo>
                  <a:lnTo>
                    <a:pt x="70" y="141"/>
                  </a:lnTo>
                  <a:lnTo>
                    <a:pt x="70" y="139"/>
                  </a:lnTo>
                  <a:lnTo>
                    <a:pt x="70" y="141"/>
                  </a:lnTo>
                  <a:lnTo>
                    <a:pt x="70" y="139"/>
                  </a:lnTo>
                  <a:lnTo>
                    <a:pt x="70" y="141"/>
                  </a:lnTo>
                  <a:lnTo>
                    <a:pt x="70" y="139"/>
                  </a:lnTo>
                  <a:lnTo>
                    <a:pt x="70" y="141"/>
                  </a:lnTo>
                  <a:lnTo>
                    <a:pt x="70" y="139"/>
                  </a:lnTo>
                  <a:lnTo>
                    <a:pt x="70" y="141"/>
                  </a:lnTo>
                  <a:lnTo>
                    <a:pt x="70" y="139"/>
                  </a:lnTo>
                  <a:lnTo>
                    <a:pt x="68" y="139"/>
                  </a:lnTo>
                  <a:lnTo>
                    <a:pt x="68" y="141"/>
                  </a:lnTo>
                  <a:lnTo>
                    <a:pt x="68" y="139"/>
                  </a:lnTo>
                  <a:lnTo>
                    <a:pt x="66" y="139"/>
                  </a:lnTo>
                  <a:lnTo>
                    <a:pt x="64" y="139"/>
                  </a:lnTo>
                  <a:lnTo>
                    <a:pt x="64" y="137"/>
                  </a:lnTo>
                  <a:lnTo>
                    <a:pt x="64" y="139"/>
                  </a:lnTo>
                  <a:lnTo>
                    <a:pt x="64" y="137"/>
                  </a:lnTo>
                  <a:lnTo>
                    <a:pt x="64" y="139"/>
                  </a:lnTo>
                  <a:lnTo>
                    <a:pt x="64" y="137"/>
                  </a:lnTo>
                  <a:lnTo>
                    <a:pt x="62" y="137"/>
                  </a:lnTo>
                  <a:lnTo>
                    <a:pt x="62" y="139"/>
                  </a:lnTo>
                  <a:lnTo>
                    <a:pt x="64" y="139"/>
                  </a:lnTo>
                  <a:lnTo>
                    <a:pt x="62" y="139"/>
                  </a:lnTo>
                  <a:lnTo>
                    <a:pt x="62" y="137"/>
                  </a:lnTo>
                  <a:lnTo>
                    <a:pt x="62" y="139"/>
                  </a:lnTo>
                  <a:lnTo>
                    <a:pt x="60" y="139"/>
                  </a:lnTo>
                  <a:lnTo>
                    <a:pt x="60" y="137"/>
                  </a:lnTo>
                  <a:lnTo>
                    <a:pt x="60" y="135"/>
                  </a:lnTo>
                  <a:lnTo>
                    <a:pt x="60" y="137"/>
                  </a:lnTo>
                  <a:lnTo>
                    <a:pt x="60" y="139"/>
                  </a:lnTo>
                  <a:lnTo>
                    <a:pt x="60" y="141"/>
                  </a:lnTo>
                  <a:lnTo>
                    <a:pt x="60" y="142"/>
                  </a:lnTo>
                  <a:lnTo>
                    <a:pt x="62" y="142"/>
                  </a:lnTo>
                  <a:lnTo>
                    <a:pt x="60" y="142"/>
                  </a:lnTo>
                  <a:lnTo>
                    <a:pt x="60" y="141"/>
                  </a:lnTo>
                  <a:lnTo>
                    <a:pt x="58" y="141"/>
                  </a:lnTo>
                  <a:lnTo>
                    <a:pt x="60" y="141"/>
                  </a:lnTo>
                  <a:lnTo>
                    <a:pt x="60" y="139"/>
                  </a:lnTo>
                  <a:lnTo>
                    <a:pt x="60" y="141"/>
                  </a:lnTo>
                  <a:lnTo>
                    <a:pt x="58" y="141"/>
                  </a:lnTo>
                  <a:lnTo>
                    <a:pt x="58" y="142"/>
                  </a:lnTo>
                  <a:lnTo>
                    <a:pt x="58" y="141"/>
                  </a:lnTo>
                  <a:lnTo>
                    <a:pt x="58" y="142"/>
                  </a:lnTo>
                  <a:lnTo>
                    <a:pt x="58" y="141"/>
                  </a:lnTo>
                  <a:lnTo>
                    <a:pt x="56" y="141"/>
                  </a:lnTo>
                  <a:lnTo>
                    <a:pt x="58" y="141"/>
                  </a:lnTo>
                  <a:lnTo>
                    <a:pt x="58" y="142"/>
                  </a:lnTo>
                  <a:lnTo>
                    <a:pt x="56" y="142"/>
                  </a:lnTo>
                  <a:lnTo>
                    <a:pt x="58" y="142"/>
                  </a:lnTo>
                  <a:lnTo>
                    <a:pt x="56" y="142"/>
                  </a:lnTo>
                  <a:lnTo>
                    <a:pt x="54" y="142"/>
                  </a:lnTo>
                  <a:lnTo>
                    <a:pt x="52" y="142"/>
                  </a:lnTo>
                  <a:lnTo>
                    <a:pt x="52" y="141"/>
                  </a:lnTo>
                  <a:lnTo>
                    <a:pt x="52" y="142"/>
                  </a:lnTo>
                  <a:lnTo>
                    <a:pt x="52" y="144"/>
                  </a:lnTo>
                  <a:lnTo>
                    <a:pt x="50" y="144"/>
                  </a:lnTo>
                  <a:lnTo>
                    <a:pt x="50" y="142"/>
                  </a:lnTo>
                  <a:lnTo>
                    <a:pt x="50" y="141"/>
                  </a:lnTo>
                  <a:lnTo>
                    <a:pt x="50" y="142"/>
                  </a:lnTo>
                  <a:lnTo>
                    <a:pt x="48" y="142"/>
                  </a:lnTo>
                  <a:lnTo>
                    <a:pt x="50" y="142"/>
                  </a:lnTo>
                  <a:lnTo>
                    <a:pt x="48" y="142"/>
                  </a:lnTo>
                  <a:lnTo>
                    <a:pt x="50" y="142"/>
                  </a:lnTo>
                  <a:lnTo>
                    <a:pt x="50" y="144"/>
                  </a:lnTo>
                  <a:lnTo>
                    <a:pt x="48" y="144"/>
                  </a:lnTo>
                  <a:lnTo>
                    <a:pt x="48" y="142"/>
                  </a:lnTo>
                  <a:lnTo>
                    <a:pt x="47" y="142"/>
                  </a:lnTo>
                  <a:lnTo>
                    <a:pt x="47" y="141"/>
                  </a:lnTo>
                  <a:lnTo>
                    <a:pt x="47" y="142"/>
                  </a:lnTo>
                  <a:lnTo>
                    <a:pt x="47" y="141"/>
                  </a:lnTo>
                  <a:lnTo>
                    <a:pt x="45" y="141"/>
                  </a:lnTo>
                  <a:lnTo>
                    <a:pt x="45" y="139"/>
                  </a:lnTo>
                  <a:lnTo>
                    <a:pt x="45" y="141"/>
                  </a:lnTo>
                  <a:lnTo>
                    <a:pt x="45" y="139"/>
                  </a:lnTo>
                  <a:lnTo>
                    <a:pt x="43" y="139"/>
                  </a:lnTo>
                  <a:lnTo>
                    <a:pt x="43" y="137"/>
                  </a:lnTo>
                  <a:lnTo>
                    <a:pt x="41" y="137"/>
                  </a:lnTo>
                  <a:lnTo>
                    <a:pt x="41" y="135"/>
                  </a:lnTo>
                  <a:lnTo>
                    <a:pt x="41" y="133"/>
                  </a:lnTo>
                  <a:lnTo>
                    <a:pt x="39" y="131"/>
                  </a:lnTo>
                  <a:lnTo>
                    <a:pt x="41" y="131"/>
                  </a:lnTo>
                  <a:lnTo>
                    <a:pt x="39" y="131"/>
                  </a:lnTo>
                  <a:lnTo>
                    <a:pt x="39" y="129"/>
                  </a:lnTo>
                  <a:lnTo>
                    <a:pt x="39" y="127"/>
                  </a:lnTo>
                  <a:lnTo>
                    <a:pt x="39" y="129"/>
                  </a:lnTo>
                  <a:lnTo>
                    <a:pt x="39" y="127"/>
                  </a:lnTo>
                  <a:lnTo>
                    <a:pt x="41" y="127"/>
                  </a:lnTo>
                  <a:lnTo>
                    <a:pt x="41" y="129"/>
                  </a:lnTo>
                  <a:lnTo>
                    <a:pt x="41" y="127"/>
                  </a:lnTo>
                  <a:lnTo>
                    <a:pt x="43" y="127"/>
                  </a:lnTo>
                  <a:lnTo>
                    <a:pt x="41" y="127"/>
                  </a:lnTo>
                  <a:lnTo>
                    <a:pt x="43" y="127"/>
                  </a:lnTo>
                  <a:lnTo>
                    <a:pt x="41" y="127"/>
                  </a:lnTo>
                  <a:lnTo>
                    <a:pt x="41" y="125"/>
                  </a:lnTo>
                  <a:lnTo>
                    <a:pt x="43" y="125"/>
                  </a:lnTo>
                  <a:lnTo>
                    <a:pt x="45" y="125"/>
                  </a:lnTo>
                  <a:lnTo>
                    <a:pt x="43" y="125"/>
                  </a:lnTo>
                  <a:lnTo>
                    <a:pt x="45" y="125"/>
                  </a:lnTo>
                  <a:lnTo>
                    <a:pt x="43" y="125"/>
                  </a:lnTo>
                  <a:lnTo>
                    <a:pt x="45" y="125"/>
                  </a:lnTo>
                  <a:lnTo>
                    <a:pt x="43" y="125"/>
                  </a:lnTo>
                  <a:lnTo>
                    <a:pt x="41" y="125"/>
                  </a:lnTo>
                  <a:lnTo>
                    <a:pt x="41" y="127"/>
                  </a:lnTo>
                  <a:lnTo>
                    <a:pt x="39" y="127"/>
                  </a:lnTo>
                  <a:lnTo>
                    <a:pt x="37" y="127"/>
                  </a:lnTo>
                  <a:lnTo>
                    <a:pt x="37" y="125"/>
                  </a:lnTo>
                  <a:lnTo>
                    <a:pt x="39" y="125"/>
                  </a:lnTo>
                  <a:lnTo>
                    <a:pt x="41" y="125"/>
                  </a:lnTo>
                  <a:lnTo>
                    <a:pt x="41" y="123"/>
                  </a:lnTo>
                  <a:lnTo>
                    <a:pt x="39" y="123"/>
                  </a:lnTo>
                  <a:lnTo>
                    <a:pt x="39" y="125"/>
                  </a:lnTo>
                  <a:lnTo>
                    <a:pt x="39" y="123"/>
                  </a:lnTo>
                  <a:lnTo>
                    <a:pt x="37" y="123"/>
                  </a:lnTo>
                  <a:lnTo>
                    <a:pt x="37" y="125"/>
                  </a:lnTo>
                  <a:lnTo>
                    <a:pt x="37" y="123"/>
                  </a:lnTo>
                  <a:lnTo>
                    <a:pt x="35" y="123"/>
                  </a:lnTo>
                  <a:lnTo>
                    <a:pt x="35" y="121"/>
                  </a:lnTo>
                  <a:lnTo>
                    <a:pt x="33" y="121"/>
                  </a:lnTo>
                  <a:lnTo>
                    <a:pt x="33" y="119"/>
                  </a:lnTo>
                  <a:lnTo>
                    <a:pt x="33" y="118"/>
                  </a:lnTo>
                  <a:lnTo>
                    <a:pt x="31" y="118"/>
                  </a:lnTo>
                  <a:lnTo>
                    <a:pt x="31" y="116"/>
                  </a:lnTo>
                  <a:lnTo>
                    <a:pt x="29" y="116"/>
                  </a:lnTo>
                  <a:lnTo>
                    <a:pt x="27" y="116"/>
                  </a:lnTo>
                  <a:lnTo>
                    <a:pt x="27" y="114"/>
                  </a:lnTo>
                  <a:lnTo>
                    <a:pt x="25" y="114"/>
                  </a:lnTo>
                  <a:lnTo>
                    <a:pt x="23" y="114"/>
                  </a:lnTo>
                  <a:lnTo>
                    <a:pt x="22" y="114"/>
                  </a:lnTo>
                  <a:lnTo>
                    <a:pt x="22" y="112"/>
                  </a:lnTo>
                  <a:lnTo>
                    <a:pt x="20" y="112"/>
                  </a:lnTo>
                  <a:lnTo>
                    <a:pt x="18" y="112"/>
                  </a:lnTo>
                  <a:lnTo>
                    <a:pt x="16" y="112"/>
                  </a:lnTo>
                  <a:lnTo>
                    <a:pt x="14" y="112"/>
                  </a:lnTo>
                  <a:lnTo>
                    <a:pt x="12" y="112"/>
                  </a:lnTo>
                  <a:lnTo>
                    <a:pt x="10" y="112"/>
                  </a:lnTo>
                  <a:lnTo>
                    <a:pt x="8" y="112"/>
                  </a:lnTo>
                  <a:lnTo>
                    <a:pt x="6" y="112"/>
                  </a:lnTo>
                  <a:lnTo>
                    <a:pt x="2" y="114"/>
                  </a:lnTo>
                  <a:lnTo>
                    <a:pt x="0" y="114"/>
                  </a:lnTo>
                  <a:lnTo>
                    <a:pt x="0" y="112"/>
                  </a:lnTo>
                  <a:lnTo>
                    <a:pt x="0" y="110"/>
                  </a:lnTo>
                  <a:lnTo>
                    <a:pt x="0" y="108"/>
                  </a:lnTo>
                  <a:lnTo>
                    <a:pt x="2" y="108"/>
                  </a:lnTo>
                  <a:lnTo>
                    <a:pt x="0" y="108"/>
                  </a:lnTo>
                  <a:lnTo>
                    <a:pt x="0" y="106"/>
                  </a:lnTo>
                  <a:lnTo>
                    <a:pt x="0" y="104"/>
                  </a:lnTo>
                  <a:lnTo>
                    <a:pt x="0" y="102"/>
                  </a:lnTo>
                  <a:lnTo>
                    <a:pt x="2" y="100"/>
                  </a:lnTo>
                  <a:lnTo>
                    <a:pt x="0" y="100"/>
                  </a:lnTo>
                  <a:lnTo>
                    <a:pt x="0" y="98"/>
                  </a:lnTo>
                  <a:lnTo>
                    <a:pt x="2" y="98"/>
                  </a:lnTo>
                  <a:lnTo>
                    <a:pt x="2" y="96"/>
                  </a:lnTo>
                  <a:lnTo>
                    <a:pt x="0" y="96"/>
                  </a:lnTo>
                  <a:lnTo>
                    <a:pt x="0" y="94"/>
                  </a:lnTo>
                  <a:lnTo>
                    <a:pt x="0" y="93"/>
                  </a:lnTo>
                  <a:lnTo>
                    <a:pt x="0" y="91"/>
                  </a:lnTo>
                  <a:lnTo>
                    <a:pt x="0" y="89"/>
                  </a:lnTo>
                  <a:lnTo>
                    <a:pt x="0" y="87"/>
                  </a:lnTo>
                  <a:lnTo>
                    <a:pt x="0" y="85"/>
                  </a:lnTo>
                  <a:lnTo>
                    <a:pt x="0" y="83"/>
                  </a:lnTo>
                  <a:lnTo>
                    <a:pt x="0" y="81"/>
                  </a:lnTo>
                  <a:lnTo>
                    <a:pt x="0" y="79"/>
                  </a:lnTo>
                  <a:lnTo>
                    <a:pt x="0" y="77"/>
                  </a:lnTo>
                  <a:lnTo>
                    <a:pt x="0" y="75"/>
                  </a:lnTo>
                  <a:lnTo>
                    <a:pt x="2" y="75"/>
                  </a:lnTo>
                  <a:lnTo>
                    <a:pt x="0" y="75"/>
                  </a:lnTo>
                  <a:lnTo>
                    <a:pt x="2" y="75"/>
                  </a:lnTo>
                  <a:lnTo>
                    <a:pt x="0" y="75"/>
                  </a:lnTo>
                  <a:lnTo>
                    <a:pt x="2" y="75"/>
                  </a:lnTo>
                  <a:lnTo>
                    <a:pt x="2" y="73"/>
                  </a:lnTo>
                  <a:lnTo>
                    <a:pt x="4" y="73"/>
                  </a:lnTo>
                  <a:lnTo>
                    <a:pt x="6" y="73"/>
                  </a:lnTo>
                  <a:lnTo>
                    <a:pt x="6" y="71"/>
                  </a:lnTo>
                  <a:lnTo>
                    <a:pt x="6" y="69"/>
                  </a:lnTo>
                  <a:lnTo>
                    <a:pt x="6" y="68"/>
                  </a:lnTo>
                  <a:lnTo>
                    <a:pt x="8" y="68"/>
                  </a:lnTo>
                  <a:lnTo>
                    <a:pt x="8" y="66"/>
                  </a:lnTo>
                  <a:lnTo>
                    <a:pt x="8" y="64"/>
                  </a:lnTo>
                  <a:lnTo>
                    <a:pt x="10" y="64"/>
                  </a:lnTo>
                  <a:lnTo>
                    <a:pt x="10" y="62"/>
                  </a:lnTo>
                  <a:lnTo>
                    <a:pt x="12" y="62"/>
                  </a:lnTo>
                  <a:lnTo>
                    <a:pt x="14" y="60"/>
                  </a:lnTo>
                  <a:lnTo>
                    <a:pt x="14" y="58"/>
                  </a:lnTo>
                  <a:lnTo>
                    <a:pt x="14" y="56"/>
                  </a:lnTo>
                  <a:lnTo>
                    <a:pt x="14" y="54"/>
                  </a:lnTo>
                  <a:lnTo>
                    <a:pt x="14" y="52"/>
                  </a:lnTo>
                  <a:lnTo>
                    <a:pt x="16" y="52"/>
                  </a:lnTo>
                  <a:lnTo>
                    <a:pt x="16" y="54"/>
                  </a:lnTo>
                  <a:lnTo>
                    <a:pt x="16" y="52"/>
                  </a:lnTo>
                  <a:lnTo>
                    <a:pt x="18" y="50"/>
                  </a:lnTo>
                  <a:lnTo>
                    <a:pt x="18" y="48"/>
                  </a:lnTo>
                  <a:lnTo>
                    <a:pt x="16" y="48"/>
                  </a:lnTo>
                  <a:lnTo>
                    <a:pt x="16" y="46"/>
                  </a:lnTo>
                  <a:lnTo>
                    <a:pt x="16" y="45"/>
                  </a:lnTo>
                  <a:lnTo>
                    <a:pt x="16" y="43"/>
                  </a:lnTo>
                  <a:lnTo>
                    <a:pt x="14" y="43"/>
                  </a:lnTo>
                  <a:lnTo>
                    <a:pt x="14" y="41"/>
                  </a:lnTo>
                  <a:lnTo>
                    <a:pt x="12" y="41"/>
                  </a:lnTo>
                  <a:lnTo>
                    <a:pt x="12" y="39"/>
                  </a:lnTo>
                  <a:lnTo>
                    <a:pt x="12" y="37"/>
                  </a:lnTo>
                  <a:lnTo>
                    <a:pt x="14" y="35"/>
                  </a:lnTo>
                  <a:lnTo>
                    <a:pt x="14" y="33"/>
                  </a:lnTo>
                  <a:lnTo>
                    <a:pt x="14" y="31"/>
                  </a:lnTo>
                  <a:lnTo>
                    <a:pt x="14" y="29"/>
                  </a:lnTo>
                  <a:lnTo>
                    <a:pt x="14" y="27"/>
                  </a:lnTo>
                  <a:lnTo>
                    <a:pt x="14" y="25"/>
                  </a:lnTo>
                  <a:lnTo>
                    <a:pt x="14" y="23"/>
                  </a:lnTo>
                  <a:lnTo>
                    <a:pt x="14" y="21"/>
                  </a:lnTo>
                  <a:lnTo>
                    <a:pt x="16" y="21"/>
                  </a:lnTo>
                  <a:lnTo>
                    <a:pt x="16" y="20"/>
                  </a:lnTo>
                  <a:lnTo>
                    <a:pt x="18" y="20"/>
                  </a:lnTo>
                  <a:lnTo>
                    <a:pt x="18" y="18"/>
                  </a:lnTo>
                  <a:lnTo>
                    <a:pt x="20" y="18"/>
                  </a:lnTo>
                  <a:lnTo>
                    <a:pt x="20" y="16"/>
                  </a:lnTo>
                  <a:lnTo>
                    <a:pt x="22" y="14"/>
                  </a:lnTo>
                  <a:lnTo>
                    <a:pt x="22" y="12"/>
                  </a:lnTo>
                  <a:lnTo>
                    <a:pt x="22" y="10"/>
                  </a:lnTo>
                  <a:lnTo>
                    <a:pt x="22" y="8"/>
                  </a:lnTo>
                  <a:lnTo>
                    <a:pt x="23" y="6"/>
                  </a:lnTo>
                  <a:lnTo>
                    <a:pt x="25" y="4"/>
                  </a:lnTo>
                  <a:lnTo>
                    <a:pt x="27" y="4"/>
                  </a:lnTo>
                  <a:lnTo>
                    <a:pt x="29" y="4"/>
                  </a:lnTo>
                  <a:lnTo>
                    <a:pt x="31" y="2"/>
                  </a:lnTo>
                  <a:lnTo>
                    <a:pt x="33" y="2"/>
                  </a:lnTo>
                  <a:lnTo>
                    <a:pt x="33" y="4"/>
                  </a:lnTo>
                  <a:lnTo>
                    <a:pt x="35" y="2"/>
                  </a:lnTo>
                  <a:lnTo>
                    <a:pt x="37" y="4"/>
                  </a:lnTo>
                  <a:lnTo>
                    <a:pt x="37" y="2"/>
                  </a:lnTo>
                  <a:lnTo>
                    <a:pt x="39" y="2"/>
                  </a:lnTo>
                  <a:lnTo>
                    <a:pt x="41" y="2"/>
                  </a:lnTo>
                  <a:lnTo>
                    <a:pt x="41" y="0"/>
                  </a:lnTo>
                  <a:lnTo>
                    <a:pt x="43" y="0"/>
                  </a:lnTo>
                  <a:lnTo>
                    <a:pt x="43" y="2"/>
                  </a:lnTo>
                  <a:lnTo>
                    <a:pt x="45" y="2"/>
                  </a:lnTo>
                  <a:lnTo>
                    <a:pt x="47" y="2"/>
                  </a:lnTo>
                  <a:lnTo>
                    <a:pt x="47" y="4"/>
                  </a:lnTo>
                  <a:lnTo>
                    <a:pt x="48" y="4"/>
                  </a:lnTo>
                  <a:lnTo>
                    <a:pt x="50" y="4"/>
                  </a:lnTo>
                  <a:lnTo>
                    <a:pt x="52" y="4"/>
                  </a:lnTo>
                  <a:lnTo>
                    <a:pt x="54" y="4"/>
                  </a:lnTo>
                  <a:lnTo>
                    <a:pt x="54" y="6"/>
                  </a:lnTo>
                  <a:lnTo>
                    <a:pt x="56" y="6"/>
                  </a:lnTo>
                  <a:lnTo>
                    <a:pt x="56" y="8"/>
                  </a:lnTo>
                  <a:lnTo>
                    <a:pt x="58" y="8"/>
                  </a:lnTo>
                  <a:lnTo>
                    <a:pt x="58" y="10"/>
                  </a:lnTo>
                  <a:lnTo>
                    <a:pt x="60" y="10"/>
                  </a:lnTo>
                  <a:lnTo>
                    <a:pt x="60" y="12"/>
                  </a:lnTo>
                  <a:lnTo>
                    <a:pt x="60" y="14"/>
                  </a:lnTo>
                  <a:lnTo>
                    <a:pt x="62" y="14"/>
                  </a:lnTo>
                  <a:lnTo>
                    <a:pt x="64" y="14"/>
                  </a:lnTo>
                  <a:lnTo>
                    <a:pt x="66" y="14"/>
                  </a:lnTo>
                  <a:lnTo>
                    <a:pt x="66" y="12"/>
                  </a:lnTo>
                  <a:lnTo>
                    <a:pt x="68" y="12"/>
                  </a:lnTo>
                  <a:lnTo>
                    <a:pt x="68" y="14"/>
                  </a:lnTo>
                  <a:lnTo>
                    <a:pt x="70" y="14"/>
                  </a:lnTo>
                  <a:lnTo>
                    <a:pt x="70" y="12"/>
                  </a:lnTo>
                  <a:lnTo>
                    <a:pt x="71" y="12"/>
                  </a:lnTo>
                  <a:lnTo>
                    <a:pt x="73" y="10"/>
                  </a:lnTo>
                  <a:lnTo>
                    <a:pt x="75" y="10"/>
                  </a:lnTo>
                  <a:lnTo>
                    <a:pt x="77" y="10"/>
                  </a:lnTo>
                  <a:lnTo>
                    <a:pt x="79" y="10"/>
                  </a:lnTo>
                  <a:lnTo>
                    <a:pt x="81" y="10"/>
                  </a:lnTo>
                  <a:lnTo>
                    <a:pt x="81" y="12"/>
                  </a:lnTo>
                  <a:lnTo>
                    <a:pt x="83" y="12"/>
                  </a:lnTo>
                  <a:lnTo>
                    <a:pt x="83" y="14"/>
                  </a:lnTo>
                  <a:lnTo>
                    <a:pt x="85" y="14"/>
                  </a:lnTo>
                  <a:lnTo>
                    <a:pt x="87" y="14"/>
                  </a:lnTo>
                  <a:lnTo>
                    <a:pt x="87" y="16"/>
                  </a:lnTo>
                  <a:lnTo>
                    <a:pt x="89" y="16"/>
                  </a:lnTo>
                  <a:lnTo>
                    <a:pt x="91" y="16"/>
                  </a:lnTo>
                  <a:lnTo>
                    <a:pt x="91" y="18"/>
                  </a:lnTo>
                  <a:lnTo>
                    <a:pt x="93" y="18"/>
                  </a:lnTo>
                  <a:lnTo>
                    <a:pt x="95" y="18"/>
                  </a:lnTo>
                  <a:lnTo>
                    <a:pt x="96" y="18"/>
                  </a:lnTo>
                  <a:lnTo>
                    <a:pt x="98" y="18"/>
                  </a:lnTo>
                  <a:lnTo>
                    <a:pt x="100" y="18"/>
                  </a:lnTo>
                  <a:lnTo>
                    <a:pt x="102" y="18"/>
                  </a:lnTo>
                  <a:lnTo>
                    <a:pt x="104" y="16"/>
                  </a:lnTo>
                  <a:lnTo>
                    <a:pt x="104" y="14"/>
                  </a:lnTo>
                  <a:lnTo>
                    <a:pt x="106" y="14"/>
                  </a:lnTo>
                  <a:lnTo>
                    <a:pt x="106" y="12"/>
                  </a:lnTo>
                  <a:lnTo>
                    <a:pt x="108" y="12"/>
                  </a:lnTo>
                  <a:lnTo>
                    <a:pt x="110" y="12"/>
                  </a:lnTo>
                  <a:lnTo>
                    <a:pt x="110" y="10"/>
                  </a:lnTo>
                  <a:lnTo>
                    <a:pt x="112" y="10"/>
                  </a:lnTo>
                  <a:lnTo>
                    <a:pt x="114" y="10"/>
                  </a:lnTo>
                  <a:lnTo>
                    <a:pt x="116" y="10"/>
                  </a:lnTo>
                  <a:lnTo>
                    <a:pt x="118" y="10"/>
                  </a:lnTo>
                  <a:lnTo>
                    <a:pt x="118" y="8"/>
                  </a:lnTo>
                  <a:lnTo>
                    <a:pt x="118" y="10"/>
                  </a:lnTo>
                  <a:lnTo>
                    <a:pt x="119" y="10"/>
                  </a:lnTo>
                  <a:lnTo>
                    <a:pt x="121" y="8"/>
                  </a:lnTo>
                  <a:lnTo>
                    <a:pt x="123" y="8"/>
                  </a:lnTo>
                  <a:lnTo>
                    <a:pt x="125" y="8"/>
                  </a:lnTo>
                  <a:lnTo>
                    <a:pt x="127" y="8"/>
                  </a:lnTo>
                  <a:lnTo>
                    <a:pt x="129" y="10"/>
                  </a:lnTo>
                  <a:lnTo>
                    <a:pt x="131" y="10"/>
                  </a:lnTo>
                  <a:lnTo>
                    <a:pt x="133" y="10"/>
                  </a:lnTo>
                  <a:lnTo>
                    <a:pt x="135" y="10"/>
                  </a:lnTo>
                  <a:lnTo>
                    <a:pt x="135" y="12"/>
                  </a:lnTo>
                  <a:lnTo>
                    <a:pt x="137" y="12"/>
                  </a:lnTo>
                  <a:lnTo>
                    <a:pt x="139" y="12"/>
                  </a:lnTo>
                  <a:lnTo>
                    <a:pt x="139" y="14"/>
                  </a:lnTo>
                  <a:lnTo>
                    <a:pt x="139" y="12"/>
                  </a:lnTo>
                  <a:lnTo>
                    <a:pt x="141" y="14"/>
                  </a:lnTo>
                  <a:lnTo>
                    <a:pt x="141" y="12"/>
                  </a:lnTo>
                  <a:lnTo>
                    <a:pt x="141" y="14"/>
                  </a:lnTo>
                  <a:lnTo>
                    <a:pt x="142" y="14"/>
                  </a:lnTo>
                  <a:lnTo>
                    <a:pt x="144" y="14"/>
                  </a:lnTo>
                  <a:lnTo>
                    <a:pt x="144" y="12"/>
                  </a:lnTo>
                  <a:lnTo>
                    <a:pt x="144" y="10"/>
                  </a:lnTo>
                  <a:lnTo>
                    <a:pt x="146" y="10"/>
                  </a:lnTo>
                  <a:lnTo>
                    <a:pt x="148" y="10"/>
                  </a:lnTo>
                  <a:lnTo>
                    <a:pt x="148" y="8"/>
                  </a:lnTo>
                  <a:lnTo>
                    <a:pt x="148" y="6"/>
                  </a:lnTo>
                  <a:lnTo>
                    <a:pt x="150" y="6"/>
                  </a:lnTo>
                  <a:lnTo>
                    <a:pt x="150" y="8"/>
                  </a:lnTo>
                  <a:lnTo>
                    <a:pt x="150" y="6"/>
                  </a:lnTo>
                  <a:lnTo>
                    <a:pt x="152" y="6"/>
                  </a:lnTo>
                  <a:lnTo>
                    <a:pt x="154" y="6"/>
                  </a:lnTo>
                  <a:lnTo>
                    <a:pt x="154" y="4"/>
                  </a:lnTo>
                  <a:lnTo>
                    <a:pt x="156" y="4"/>
                  </a:lnTo>
                  <a:lnTo>
                    <a:pt x="160" y="4"/>
                  </a:lnTo>
                  <a:close/>
                  <a:moveTo>
                    <a:pt x="60" y="139"/>
                  </a:moveTo>
                  <a:lnTo>
                    <a:pt x="64" y="139"/>
                  </a:lnTo>
                  <a:lnTo>
                    <a:pt x="64" y="142"/>
                  </a:lnTo>
                  <a:lnTo>
                    <a:pt x="60" y="142"/>
                  </a:lnTo>
                  <a:lnTo>
                    <a:pt x="60" y="139"/>
                  </a:lnTo>
                  <a:close/>
                  <a:moveTo>
                    <a:pt x="66" y="141"/>
                  </a:moveTo>
                  <a:lnTo>
                    <a:pt x="68" y="141"/>
                  </a:lnTo>
                  <a:lnTo>
                    <a:pt x="68" y="142"/>
                  </a:lnTo>
                  <a:lnTo>
                    <a:pt x="66" y="142"/>
                  </a:lnTo>
                  <a:lnTo>
                    <a:pt x="66" y="141"/>
                  </a:lnTo>
                  <a:close/>
                  <a:moveTo>
                    <a:pt x="52" y="142"/>
                  </a:moveTo>
                  <a:lnTo>
                    <a:pt x="54" y="142"/>
                  </a:lnTo>
                  <a:lnTo>
                    <a:pt x="54" y="144"/>
                  </a:lnTo>
                  <a:lnTo>
                    <a:pt x="52" y="144"/>
                  </a:lnTo>
                  <a:lnTo>
                    <a:pt x="52" y="142"/>
                  </a:lnTo>
                  <a:close/>
                  <a:moveTo>
                    <a:pt x="70" y="141"/>
                  </a:moveTo>
                  <a:lnTo>
                    <a:pt x="71" y="141"/>
                  </a:lnTo>
                  <a:lnTo>
                    <a:pt x="70" y="141"/>
                  </a:lnTo>
                  <a:lnTo>
                    <a:pt x="68" y="141"/>
                  </a:lnTo>
                  <a:lnTo>
                    <a:pt x="70" y="141"/>
                  </a:lnTo>
                  <a:close/>
                  <a:moveTo>
                    <a:pt x="64" y="137"/>
                  </a:moveTo>
                  <a:lnTo>
                    <a:pt x="66" y="137"/>
                  </a:lnTo>
                  <a:lnTo>
                    <a:pt x="66" y="139"/>
                  </a:lnTo>
                  <a:lnTo>
                    <a:pt x="64" y="139"/>
                  </a:lnTo>
                  <a:lnTo>
                    <a:pt x="64" y="137"/>
                  </a:lnTo>
                  <a:close/>
                  <a:moveTo>
                    <a:pt x="64" y="139"/>
                  </a:moveTo>
                  <a:lnTo>
                    <a:pt x="64" y="141"/>
                  </a:lnTo>
                  <a:lnTo>
                    <a:pt x="64" y="139"/>
                  </a:lnTo>
                  <a:close/>
                  <a:moveTo>
                    <a:pt x="79" y="133"/>
                  </a:moveTo>
                  <a:lnTo>
                    <a:pt x="81" y="133"/>
                  </a:lnTo>
                  <a:lnTo>
                    <a:pt x="81" y="135"/>
                  </a:lnTo>
                  <a:lnTo>
                    <a:pt x="79" y="135"/>
                  </a:lnTo>
                  <a:lnTo>
                    <a:pt x="79" y="133"/>
                  </a:lnTo>
                  <a:close/>
                  <a:moveTo>
                    <a:pt x="64" y="139"/>
                  </a:moveTo>
                  <a:lnTo>
                    <a:pt x="66" y="139"/>
                  </a:lnTo>
                  <a:lnTo>
                    <a:pt x="66" y="141"/>
                  </a:lnTo>
                  <a:lnTo>
                    <a:pt x="64" y="141"/>
                  </a:lnTo>
                  <a:lnTo>
                    <a:pt x="64" y="139"/>
                  </a:lnTo>
                  <a:close/>
                  <a:moveTo>
                    <a:pt x="62" y="141"/>
                  </a:moveTo>
                  <a:lnTo>
                    <a:pt x="62" y="142"/>
                  </a:lnTo>
                  <a:lnTo>
                    <a:pt x="62" y="141"/>
                  </a:lnTo>
                  <a:close/>
                  <a:moveTo>
                    <a:pt x="70" y="141"/>
                  </a:moveTo>
                  <a:lnTo>
                    <a:pt x="71" y="141"/>
                  </a:lnTo>
                  <a:lnTo>
                    <a:pt x="70" y="141"/>
                  </a:lnTo>
                  <a:close/>
                  <a:moveTo>
                    <a:pt x="64" y="141"/>
                  </a:moveTo>
                  <a:lnTo>
                    <a:pt x="66" y="141"/>
                  </a:lnTo>
                  <a:lnTo>
                    <a:pt x="64" y="141"/>
                  </a:lnTo>
                  <a:close/>
                  <a:moveTo>
                    <a:pt x="64" y="139"/>
                  </a:moveTo>
                  <a:lnTo>
                    <a:pt x="66" y="139"/>
                  </a:lnTo>
                  <a:lnTo>
                    <a:pt x="66" y="141"/>
                  </a:lnTo>
                  <a:lnTo>
                    <a:pt x="64" y="141"/>
                  </a:lnTo>
                  <a:lnTo>
                    <a:pt x="64" y="139"/>
                  </a:lnTo>
                  <a:close/>
                  <a:moveTo>
                    <a:pt x="79" y="133"/>
                  </a:moveTo>
                  <a:lnTo>
                    <a:pt x="81" y="133"/>
                  </a:lnTo>
                  <a:lnTo>
                    <a:pt x="81" y="135"/>
                  </a:lnTo>
                  <a:lnTo>
                    <a:pt x="79" y="135"/>
                  </a:lnTo>
                  <a:lnTo>
                    <a:pt x="79" y="133"/>
                  </a:lnTo>
                  <a:close/>
                  <a:moveTo>
                    <a:pt x="62" y="139"/>
                  </a:moveTo>
                  <a:lnTo>
                    <a:pt x="64" y="139"/>
                  </a:lnTo>
                  <a:lnTo>
                    <a:pt x="64" y="141"/>
                  </a:lnTo>
                  <a:lnTo>
                    <a:pt x="62" y="141"/>
                  </a:lnTo>
                  <a:lnTo>
                    <a:pt x="62" y="139"/>
                  </a:lnTo>
                  <a:close/>
                  <a:moveTo>
                    <a:pt x="68" y="139"/>
                  </a:moveTo>
                  <a:lnTo>
                    <a:pt x="70" y="139"/>
                  </a:lnTo>
                  <a:lnTo>
                    <a:pt x="70" y="141"/>
                  </a:lnTo>
                  <a:lnTo>
                    <a:pt x="68" y="141"/>
                  </a:lnTo>
                  <a:lnTo>
                    <a:pt x="68" y="139"/>
                  </a:lnTo>
                  <a:close/>
                  <a:moveTo>
                    <a:pt x="79" y="131"/>
                  </a:moveTo>
                  <a:lnTo>
                    <a:pt x="79" y="133"/>
                  </a:lnTo>
                  <a:lnTo>
                    <a:pt x="79" y="131"/>
                  </a:lnTo>
                  <a:close/>
                  <a:moveTo>
                    <a:pt x="68" y="139"/>
                  </a:moveTo>
                  <a:lnTo>
                    <a:pt x="68" y="141"/>
                  </a:lnTo>
                  <a:lnTo>
                    <a:pt x="68" y="139"/>
                  </a:lnTo>
                  <a:close/>
                  <a:moveTo>
                    <a:pt x="70" y="141"/>
                  </a:moveTo>
                  <a:lnTo>
                    <a:pt x="71" y="141"/>
                  </a:lnTo>
                  <a:lnTo>
                    <a:pt x="70" y="141"/>
                  </a:lnTo>
                  <a:close/>
                  <a:moveTo>
                    <a:pt x="81" y="135"/>
                  </a:moveTo>
                  <a:lnTo>
                    <a:pt x="83" y="135"/>
                  </a:lnTo>
                  <a:lnTo>
                    <a:pt x="83" y="137"/>
                  </a:lnTo>
                  <a:lnTo>
                    <a:pt x="81" y="137"/>
                  </a:lnTo>
                  <a:lnTo>
                    <a:pt x="81" y="135"/>
                  </a:lnTo>
                  <a:close/>
                  <a:moveTo>
                    <a:pt x="68" y="139"/>
                  </a:moveTo>
                  <a:lnTo>
                    <a:pt x="68" y="141"/>
                  </a:lnTo>
                  <a:lnTo>
                    <a:pt x="68" y="139"/>
                  </a:lnTo>
                  <a:close/>
                  <a:moveTo>
                    <a:pt x="41" y="127"/>
                  </a:moveTo>
                  <a:lnTo>
                    <a:pt x="43" y="127"/>
                  </a:lnTo>
                  <a:lnTo>
                    <a:pt x="41" y="127"/>
                  </a:lnTo>
                  <a:close/>
                  <a:moveTo>
                    <a:pt x="81" y="135"/>
                  </a:moveTo>
                  <a:lnTo>
                    <a:pt x="81" y="137"/>
                  </a:lnTo>
                  <a:lnTo>
                    <a:pt x="81" y="135"/>
                  </a:lnTo>
                  <a:close/>
                  <a:moveTo>
                    <a:pt x="68" y="139"/>
                  </a:moveTo>
                  <a:lnTo>
                    <a:pt x="68" y="141"/>
                  </a:lnTo>
                  <a:lnTo>
                    <a:pt x="68" y="139"/>
                  </a:lnTo>
                  <a:close/>
                  <a:moveTo>
                    <a:pt x="68" y="139"/>
                  </a:moveTo>
                  <a:lnTo>
                    <a:pt x="68" y="141"/>
                  </a:lnTo>
                  <a:lnTo>
                    <a:pt x="68" y="139"/>
                  </a:lnTo>
                  <a:close/>
                  <a:moveTo>
                    <a:pt x="41" y="127"/>
                  </a:moveTo>
                  <a:lnTo>
                    <a:pt x="43" y="127"/>
                  </a:lnTo>
                  <a:lnTo>
                    <a:pt x="41" y="127"/>
                  </a:lnTo>
                  <a:close/>
                  <a:moveTo>
                    <a:pt x="64" y="139"/>
                  </a:moveTo>
                  <a:lnTo>
                    <a:pt x="64" y="141"/>
                  </a:lnTo>
                  <a:lnTo>
                    <a:pt x="64" y="139"/>
                  </a:lnTo>
                  <a:close/>
                  <a:moveTo>
                    <a:pt x="52" y="141"/>
                  </a:moveTo>
                  <a:lnTo>
                    <a:pt x="52" y="142"/>
                  </a:lnTo>
                  <a:lnTo>
                    <a:pt x="52" y="141"/>
                  </a:lnTo>
                  <a:close/>
                  <a:moveTo>
                    <a:pt x="64" y="139"/>
                  </a:moveTo>
                  <a:lnTo>
                    <a:pt x="64" y="141"/>
                  </a:lnTo>
                  <a:lnTo>
                    <a:pt x="64" y="139"/>
                  </a:lnTo>
                  <a:close/>
                  <a:moveTo>
                    <a:pt x="64" y="137"/>
                  </a:moveTo>
                  <a:lnTo>
                    <a:pt x="64" y="139"/>
                  </a:lnTo>
                  <a:lnTo>
                    <a:pt x="64" y="137"/>
                  </a:lnTo>
                  <a:close/>
                  <a:moveTo>
                    <a:pt x="81" y="133"/>
                  </a:moveTo>
                  <a:lnTo>
                    <a:pt x="81" y="135"/>
                  </a:lnTo>
                  <a:lnTo>
                    <a:pt x="81" y="133"/>
                  </a:lnTo>
                  <a:close/>
                  <a:moveTo>
                    <a:pt x="41" y="127"/>
                  </a:moveTo>
                  <a:lnTo>
                    <a:pt x="43" y="127"/>
                  </a:lnTo>
                  <a:lnTo>
                    <a:pt x="41" y="127"/>
                  </a:lnTo>
                  <a:close/>
                  <a:moveTo>
                    <a:pt x="68" y="139"/>
                  </a:moveTo>
                  <a:lnTo>
                    <a:pt x="68" y="141"/>
                  </a:lnTo>
                  <a:lnTo>
                    <a:pt x="68" y="13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313">
              <a:extLst>
                <a:ext uri="{FF2B5EF4-FFF2-40B4-BE49-F238E27FC236}">
                  <a16:creationId xmlns:a16="http://schemas.microsoft.com/office/drawing/2014/main" id="{D669BFBB-6D37-4120-8218-7B917DB27F96}"/>
                </a:ext>
              </a:extLst>
            </p:cNvPr>
            <p:cNvSpPr>
              <a:spLocks/>
            </p:cNvSpPr>
            <p:nvPr/>
          </p:nvSpPr>
          <p:spPr bwMode="gray">
            <a:xfrm>
              <a:off x="3205809" y="4166641"/>
              <a:ext cx="35565" cy="91979"/>
            </a:xfrm>
            <a:custGeom>
              <a:avLst/>
              <a:gdLst>
                <a:gd name="T0" fmla="*/ 16 w 29"/>
                <a:gd name="T1" fmla="*/ 5 h 75"/>
                <a:gd name="T2" fmla="*/ 14 w 29"/>
                <a:gd name="T3" fmla="*/ 9 h 75"/>
                <a:gd name="T4" fmla="*/ 18 w 29"/>
                <a:gd name="T5" fmla="*/ 13 h 75"/>
                <a:gd name="T6" fmla="*/ 21 w 29"/>
                <a:gd name="T7" fmla="*/ 17 h 75"/>
                <a:gd name="T8" fmla="*/ 23 w 29"/>
                <a:gd name="T9" fmla="*/ 21 h 75"/>
                <a:gd name="T10" fmla="*/ 23 w 29"/>
                <a:gd name="T11" fmla="*/ 26 h 75"/>
                <a:gd name="T12" fmla="*/ 27 w 29"/>
                <a:gd name="T13" fmla="*/ 30 h 75"/>
                <a:gd name="T14" fmla="*/ 27 w 29"/>
                <a:gd name="T15" fmla="*/ 38 h 75"/>
                <a:gd name="T16" fmla="*/ 27 w 29"/>
                <a:gd name="T17" fmla="*/ 44 h 75"/>
                <a:gd name="T18" fmla="*/ 27 w 29"/>
                <a:gd name="T19" fmla="*/ 51 h 75"/>
                <a:gd name="T20" fmla="*/ 27 w 29"/>
                <a:gd name="T21" fmla="*/ 57 h 75"/>
                <a:gd name="T22" fmla="*/ 25 w 29"/>
                <a:gd name="T23" fmla="*/ 63 h 75"/>
                <a:gd name="T24" fmla="*/ 25 w 29"/>
                <a:gd name="T25" fmla="*/ 65 h 75"/>
                <a:gd name="T26" fmla="*/ 27 w 29"/>
                <a:gd name="T27" fmla="*/ 65 h 75"/>
                <a:gd name="T28" fmla="*/ 25 w 29"/>
                <a:gd name="T29" fmla="*/ 65 h 75"/>
                <a:gd name="T30" fmla="*/ 27 w 29"/>
                <a:gd name="T31" fmla="*/ 69 h 75"/>
                <a:gd name="T32" fmla="*/ 27 w 29"/>
                <a:gd name="T33" fmla="*/ 71 h 75"/>
                <a:gd name="T34" fmla="*/ 23 w 29"/>
                <a:gd name="T35" fmla="*/ 73 h 75"/>
                <a:gd name="T36" fmla="*/ 21 w 29"/>
                <a:gd name="T37" fmla="*/ 73 h 75"/>
                <a:gd name="T38" fmla="*/ 18 w 29"/>
                <a:gd name="T39" fmla="*/ 71 h 75"/>
                <a:gd name="T40" fmla="*/ 14 w 29"/>
                <a:gd name="T41" fmla="*/ 69 h 75"/>
                <a:gd name="T42" fmla="*/ 12 w 29"/>
                <a:gd name="T43" fmla="*/ 65 h 75"/>
                <a:gd name="T44" fmla="*/ 12 w 29"/>
                <a:gd name="T45" fmla="*/ 63 h 75"/>
                <a:gd name="T46" fmla="*/ 12 w 29"/>
                <a:gd name="T47" fmla="*/ 61 h 75"/>
                <a:gd name="T48" fmla="*/ 12 w 29"/>
                <a:gd name="T49" fmla="*/ 59 h 75"/>
                <a:gd name="T50" fmla="*/ 10 w 29"/>
                <a:gd name="T51" fmla="*/ 55 h 75"/>
                <a:gd name="T52" fmla="*/ 12 w 29"/>
                <a:gd name="T53" fmla="*/ 51 h 75"/>
                <a:gd name="T54" fmla="*/ 12 w 29"/>
                <a:gd name="T55" fmla="*/ 46 h 75"/>
                <a:gd name="T56" fmla="*/ 14 w 29"/>
                <a:gd name="T57" fmla="*/ 42 h 75"/>
                <a:gd name="T58" fmla="*/ 12 w 29"/>
                <a:gd name="T59" fmla="*/ 38 h 75"/>
                <a:gd name="T60" fmla="*/ 8 w 29"/>
                <a:gd name="T61" fmla="*/ 36 h 75"/>
                <a:gd name="T62" fmla="*/ 10 w 29"/>
                <a:gd name="T63" fmla="*/ 32 h 75"/>
                <a:gd name="T64" fmla="*/ 10 w 29"/>
                <a:gd name="T65" fmla="*/ 26 h 75"/>
                <a:gd name="T66" fmla="*/ 10 w 29"/>
                <a:gd name="T67" fmla="*/ 25 h 75"/>
                <a:gd name="T68" fmla="*/ 8 w 29"/>
                <a:gd name="T69" fmla="*/ 25 h 75"/>
                <a:gd name="T70" fmla="*/ 8 w 29"/>
                <a:gd name="T71" fmla="*/ 23 h 75"/>
                <a:gd name="T72" fmla="*/ 8 w 29"/>
                <a:gd name="T73" fmla="*/ 17 h 75"/>
                <a:gd name="T74" fmla="*/ 10 w 29"/>
                <a:gd name="T75" fmla="*/ 17 h 75"/>
                <a:gd name="T76" fmla="*/ 8 w 29"/>
                <a:gd name="T77" fmla="*/ 13 h 75"/>
                <a:gd name="T78" fmla="*/ 8 w 29"/>
                <a:gd name="T79" fmla="*/ 11 h 75"/>
                <a:gd name="T80" fmla="*/ 6 w 29"/>
                <a:gd name="T81" fmla="*/ 11 h 75"/>
                <a:gd name="T82" fmla="*/ 6 w 29"/>
                <a:gd name="T83" fmla="*/ 9 h 75"/>
                <a:gd name="T84" fmla="*/ 2 w 29"/>
                <a:gd name="T85" fmla="*/ 7 h 75"/>
                <a:gd name="T86" fmla="*/ 2 w 29"/>
                <a:gd name="T87" fmla="*/ 2 h 75"/>
                <a:gd name="T88" fmla="*/ 2 w 29"/>
                <a:gd name="T89" fmla="*/ 0 h 75"/>
                <a:gd name="T90" fmla="*/ 4 w 29"/>
                <a:gd name="T91" fmla="*/ 0 h 75"/>
                <a:gd name="T92" fmla="*/ 8 w 29"/>
                <a:gd name="T93" fmla="*/ 2 h 75"/>
                <a:gd name="T94" fmla="*/ 12 w 29"/>
                <a:gd name="T95" fmla="*/ 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 h="75">
                  <a:moveTo>
                    <a:pt x="16" y="2"/>
                  </a:moveTo>
                  <a:lnTo>
                    <a:pt x="16" y="3"/>
                  </a:lnTo>
                  <a:lnTo>
                    <a:pt x="16" y="5"/>
                  </a:lnTo>
                  <a:lnTo>
                    <a:pt x="14" y="5"/>
                  </a:lnTo>
                  <a:lnTo>
                    <a:pt x="16" y="7"/>
                  </a:lnTo>
                  <a:lnTo>
                    <a:pt x="14" y="9"/>
                  </a:lnTo>
                  <a:lnTo>
                    <a:pt x="14" y="11"/>
                  </a:lnTo>
                  <a:lnTo>
                    <a:pt x="16" y="11"/>
                  </a:lnTo>
                  <a:lnTo>
                    <a:pt x="18" y="13"/>
                  </a:lnTo>
                  <a:lnTo>
                    <a:pt x="19" y="15"/>
                  </a:lnTo>
                  <a:lnTo>
                    <a:pt x="21" y="15"/>
                  </a:lnTo>
                  <a:lnTo>
                    <a:pt x="21" y="17"/>
                  </a:lnTo>
                  <a:lnTo>
                    <a:pt x="23" y="17"/>
                  </a:lnTo>
                  <a:lnTo>
                    <a:pt x="23" y="19"/>
                  </a:lnTo>
                  <a:lnTo>
                    <a:pt x="23" y="21"/>
                  </a:lnTo>
                  <a:lnTo>
                    <a:pt x="23" y="23"/>
                  </a:lnTo>
                  <a:lnTo>
                    <a:pt x="23" y="25"/>
                  </a:lnTo>
                  <a:lnTo>
                    <a:pt x="23" y="26"/>
                  </a:lnTo>
                  <a:lnTo>
                    <a:pt x="25" y="26"/>
                  </a:lnTo>
                  <a:lnTo>
                    <a:pt x="25" y="28"/>
                  </a:lnTo>
                  <a:lnTo>
                    <a:pt x="27" y="30"/>
                  </a:lnTo>
                  <a:lnTo>
                    <a:pt x="27" y="32"/>
                  </a:lnTo>
                  <a:lnTo>
                    <a:pt x="27" y="34"/>
                  </a:lnTo>
                  <a:lnTo>
                    <a:pt x="27" y="38"/>
                  </a:lnTo>
                  <a:lnTo>
                    <a:pt x="27" y="40"/>
                  </a:lnTo>
                  <a:lnTo>
                    <a:pt x="27" y="42"/>
                  </a:lnTo>
                  <a:lnTo>
                    <a:pt x="27" y="44"/>
                  </a:lnTo>
                  <a:lnTo>
                    <a:pt x="27" y="48"/>
                  </a:lnTo>
                  <a:lnTo>
                    <a:pt x="27" y="50"/>
                  </a:lnTo>
                  <a:lnTo>
                    <a:pt x="27" y="51"/>
                  </a:lnTo>
                  <a:lnTo>
                    <a:pt x="27" y="53"/>
                  </a:lnTo>
                  <a:lnTo>
                    <a:pt x="27" y="55"/>
                  </a:lnTo>
                  <a:lnTo>
                    <a:pt x="27" y="57"/>
                  </a:lnTo>
                  <a:lnTo>
                    <a:pt x="27" y="61"/>
                  </a:lnTo>
                  <a:lnTo>
                    <a:pt x="25" y="61"/>
                  </a:lnTo>
                  <a:lnTo>
                    <a:pt x="25" y="63"/>
                  </a:lnTo>
                  <a:lnTo>
                    <a:pt x="27" y="63"/>
                  </a:lnTo>
                  <a:lnTo>
                    <a:pt x="27" y="65"/>
                  </a:lnTo>
                  <a:lnTo>
                    <a:pt x="25" y="65"/>
                  </a:lnTo>
                  <a:lnTo>
                    <a:pt x="27" y="65"/>
                  </a:lnTo>
                  <a:lnTo>
                    <a:pt x="25" y="65"/>
                  </a:lnTo>
                  <a:lnTo>
                    <a:pt x="27" y="65"/>
                  </a:lnTo>
                  <a:lnTo>
                    <a:pt x="25" y="65"/>
                  </a:lnTo>
                  <a:lnTo>
                    <a:pt x="27" y="65"/>
                  </a:lnTo>
                  <a:lnTo>
                    <a:pt x="25" y="65"/>
                  </a:lnTo>
                  <a:lnTo>
                    <a:pt x="27" y="65"/>
                  </a:lnTo>
                  <a:lnTo>
                    <a:pt x="27" y="67"/>
                  </a:lnTo>
                  <a:lnTo>
                    <a:pt x="27" y="69"/>
                  </a:lnTo>
                  <a:lnTo>
                    <a:pt x="29" y="69"/>
                  </a:lnTo>
                  <a:lnTo>
                    <a:pt x="29" y="71"/>
                  </a:lnTo>
                  <a:lnTo>
                    <a:pt x="27" y="71"/>
                  </a:lnTo>
                  <a:lnTo>
                    <a:pt x="27" y="73"/>
                  </a:lnTo>
                  <a:lnTo>
                    <a:pt x="25" y="73"/>
                  </a:lnTo>
                  <a:lnTo>
                    <a:pt x="23" y="73"/>
                  </a:lnTo>
                  <a:lnTo>
                    <a:pt x="21" y="73"/>
                  </a:lnTo>
                  <a:lnTo>
                    <a:pt x="21" y="75"/>
                  </a:lnTo>
                  <a:lnTo>
                    <a:pt x="21" y="73"/>
                  </a:lnTo>
                  <a:lnTo>
                    <a:pt x="19" y="73"/>
                  </a:lnTo>
                  <a:lnTo>
                    <a:pt x="18" y="73"/>
                  </a:lnTo>
                  <a:lnTo>
                    <a:pt x="18" y="71"/>
                  </a:lnTo>
                  <a:lnTo>
                    <a:pt x="16" y="71"/>
                  </a:lnTo>
                  <a:lnTo>
                    <a:pt x="16" y="69"/>
                  </a:lnTo>
                  <a:lnTo>
                    <a:pt x="14" y="69"/>
                  </a:lnTo>
                  <a:lnTo>
                    <a:pt x="14" y="67"/>
                  </a:lnTo>
                  <a:lnTo>
                    <a:pt x="12" y="67"/>
                  </a:lnTo>
                  <a:lnTo>
                    <a:pt x="12" y="65"/>
                  </a:lnTo>
                  <a:lnTo>
                    <a:pt x="12" y="63"/>
                  </a:lnTo>
                  <a:lnTo>
                    <a:pt x="10" y="63"/>
                  </a:lnTo>
                  <a:lnTo>
                    <a:pt x="12" y="63"/>
                  </a:lnTo>
                  <a:lnTo>
                    <a:pt x="10" y="63"/>
                  </a:lnTo>
                  <a:lnTo>
                    <a:pt x="12" y="63"/>
                  </a:lnTo>
                  <a:lnTo>
                    <a:pt x="12" y="61"/>
                  </a:lnTo>
                  <a:lnTo>
                    <a:pt x="10" y="61"/>
                  </a:lnTo>
                  <a:lnTo>
                    <a:pt x="12" y="61"/>
                  </a:lnTo>
                  <a:lnTo>
                    <a:pt x="12" y="59"/>
                  </a:lnTo>
                  <a:lnTo>
                    <a:pt x="12" y="57"/>
                  </a:lnTo>
                  <a:lnTo>
                    <a:pt x="12" y="55"/>
                  </a:lnTo>
                  <a:lnTo>
                    <a:pt x="10" y="55"/>
                  </a:lnTo>
                  <a:lnTo>
                    <a:pt x="10" y="53"/>
                  </a:lnTo>
                  <a:lnTo>
                    <a:pt x="10" y="51"/>
                  </a:lnTo>
                  <a:lnTo>
                    <a:pt x="12" y="51"/>
                  </a:lnTo>
                  <a:lnTo>
                    <a:pt x="12" y="50"/>
                  </a:lnTo>
                  <a:lnTo>
                    <a:pt x="12" y="48"/>
                  </a:lnTo>
                  <a:lnTo>
                    <a:pt x="12" y="46"/>
                  </a:lnTo>
                  <a:lnTo>
                    <a:pt x="12" y="44"/>
                  </a:lnTo>
                  <a:lnTo>
                    <a:pt x="12" y="42"/>
                  </a:lnTo>
                  <a:lnTo>
                    <a:pt x="14" y="42"/>
                  </a:lnTo>
                  <a:lnTo>
                    <a:pt x="14" y="40"/>
                  </a:lnTo>
                  <a:lnTo>
                    <a:pt x="12" y="40"/>
                  </a:lnTo>
                  <a:lnTo>
                    <a:pt x="12" y="38"/>
                  </a:lnTo>
                  <a:lnTo>
                    <a:pt x="10" y="38"/>
                  </a:lnTo>
                  <a:lnTo>
                    <a:pt x="10" y="36"/>
                  </a:lnTo>
                  <a:lnTo>
                    <a:pt x="8" y="36"/>
                  </a:lnTo>
                  <a:lnTo>
                    <a:pt x="8" y="34"/>
                  </a:lnTo>
                  <a:lnTo>
                    <a:pt x="10" y="34"/>
                  </a:lnTo>
                  <a:lnTo>
                    <a:pt x="10" y="32"/>
                  </a:lnTo>
                  <a:lnTo>
                    <a:pt x="10" y="30"/>
                  </a:lnTo>
                  <a:lnTo>
                    <a:pt x="10" y="28"/>
                  </a:lnTo>
                  <a:lnTo>
                    <a:pt x="10" y="26"/>
                  </a:lnTo>
                  <a:lnTo>
                    <a:pt x="12" y="26"/>
                  </a:lnTo>
                  <a:lnTo>
                    <a:pt x="12" y="25"/>
                  </a:lnTo>
                  <a:lnTo>
                    <a:pt x="10" y="25"/>
                  </a:lnTo>
                  <a:lnTo>
                    <a:pt x="8" y="25"/>
                  </a:lnTo>
                  <a:lnTo>
                    <a:pt x="6" y="25"/>
                  </a:lnTo>
                  <a:lnTo>
                    <a:pt x="8" y="25"/>
                  </a:lnTo>
                  <a:lnTo>
                    <a:pt x="8" y="23"/>
                  </a:lnTo>
                  <a:lnTo>
                    <a:pt x="6" y="23"/>
                  </a:lnTo>
                  <a:lnTo>
                    <a:pt x="8" y="23"/>
                  </a:lnTo>
                  <a:lnTo>
                    <a:pt x="8" y="21"/>
                  </a:lnTo>
                  <a:lnTo>
                    <a:pt x="8" y="19"/>
                  </a:lnTo>
                  <a:lnTo>
                    <a:pt x="8" y="17"/>
                  </a:lnTo>
                  <a:lnTo>
                    <a:pt x="8" y="15"/>
                  </a:lnTo>
                  <a:lnTo>
                    <a:pt x="8" y="17"/>
                  </a:lnTo>
                  <a:lnTo>
                    <a:pt x="10" y="17"/>
                  </a:lnTo>
                  <a:lnTo>
                    <a:pt x="10" y="15"/>
                  </a:lnTo>
                  <a:lnTo>
                    <a:pt x="8" y="15"/>
                  </a:lnTo>
                  <a:lnTo>
                    <a:pt x="8" y="13"/>
                  </a:lnTo>
                  <a:lnTo>
                    <a:pt x="8" y="11"/>
                  </a:lnTo>
                  <a:lnTo>
                    <a:pt x="8" y="13"/>
                  </a:lnTo>
                  <a:lnTo>
                    <a:pt x="8" y="11"/>
                  </a:lnTo>
                  <a:lnTo>
                    <a:pt x="8" y="9"/>
                  </a:lnTo>
                  <a:lnTo>
                    <a:pt x="6" y="9"/>
                  </a:lnTo>
                  <a:lnTo>
                    <a:pt x="6" y="11"/>
                  </a:lnTo>
                  <a:lnTo>
                    <a:pt x="6" y="9"/>
                  </a:lnTo>
                  <a:lnTo>
                    <a:pt x="6" y="11"/>
                  </a:lnTo>
                  <a:lnTo>
                    <a:pt x="6" y="9"/>
                  </a:lnTo>
                  <a:lnTo>
                    <a:pt x="4" y="9"/>
                  </a:lnTo>
                  <a:lnTo>
                    <a:pt x="4" y="7"/>
                  </a:lnTo>
                  <a:lnTo>
                    <a:pt x="2" y="7"/>
                  </a:lnTo>
                  <a:lnTo>
                    <a:pt x="2" y="5"/>
                  </a:lnTo>
                  <a:lnTo>
                    <a:pt x="2" y="3"/>
                  </a:lnTo>
                  <a:lnTo>
                    <a:pt x="2" y="2"/>
                  </a:lnTo>
                  <a:lnTo>
                    <a:pt x="4" y="2"/>
                  </a:lnTo>
                  <a:lnTo>
                    <a:pt x="4" y="0"/>
                  </a:lnTo>
                  <a:lnTo>
                    <a:pt x="2" y="0"/>
                  </a:lnTo>
                  <a:lnTo>
                    <a:pt x="0" y="0"/>
                  </a:lnTo>
                  <a:lnTo>
                    <a:pt x="2" y="0"/>
                  </a:lnTo>
                  <a:lnTo>
                    <a:pt x="4" y="0"/>
                  </a:lnTo>
                  <a:lnTo>
                    <a:pt x="6" y="0"/>
                  </a:lnTo>
                  <a:lnTo>
                    <a:pt x="6" y="2"/>
                  </a:lnTo>
                  <a:lnTo>
                    <a:pt x="8" y="2"/>
                  </a:lnTo>
                  <a:lnTo>
                    <a:pt x="10" y="2"/>
                  </a:lnTo>
                  <a:lnTo>
                    <a:pt x="10" y="3"/>
                  </a:lnTo>
                  <a:lnTo>
                    <a:pt x="12" y="2"/>
                  </a:lnTo>
                  <a:lnTo>
                    <a:pt x="14" y="2"/>
                  </a:lnTo>
                  <a:lnTo>
                    <a:pt x="16" y="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314">
              <a:extLst>
                <a:ext uri="{FF2B5EF4-FFF2-40B4-BE49-F238E27FC236}">
                  <a16:creationId xmlns:a16="http://schemas.microsoft.com/office/drawing/2014/main" id="{F2535236-86E6-4B04-BF43-7A1E20F540C9}"/>
                </a:ext>
              </a:extLst>
            </p:cNvPr>
            <p:cNvSpPr>
              <a:spLocks/>
            </p:cNvSpPr>
            <p:nvPr/>
          </p:nvSpPr>
          <p:spPr bwMode="gray">
            <a:xfrm>
              <a:off x="3222978" y="4142114"/>
              <a:ext cx="56413" cy="114053"/>
            </a:xfrm>
            <a:custGeom>
              <a:avLst/>
              <a:gdLst>
                <a:gd name="T0" fmla="*/ 40 w 46"/>
                <a:gd name="T1" fmla="*/ 16 h 93"/>
                <a:gd name="T2" fmla="*/ 42 w 46"/>
                <a:gd name="T3" fmla="*/ 20 h 93"/>
                <a:gd name="T4" fmla="*/ 44 w 46"/>
                <a:gd name="T5" fmla="*/ 23 h 93"/>
                <a:gd name="T6" fmla="*/ 46 w 46"/>
                <a:gd name="T7" fmla="*/ 27 h 93"/>
                <a:gd name="T8" fmla="*/ 44 w 46"/>
                <a:gd name="T9" fmla="*/ 29 h 93"/>
                <a:gd name="T10" fmla="*/ 42 w 46"/>
                <a:gd name="T11" fmla="*/ 33 h 93"/>
                <a:gd name="T12" fmla="*/ 40 w 46"/>
                <a:gd name="T13" fmla="*/ 39 h 93"/>
                <a:gd name="T14" fmla="*/ 36 w 46"/>
                <a:gd name="T15" fmla="*/ 41 h 93"/>
                <a:gd name="T16" fmla="*/ 34 w 46"/>
                <a:gd name="T17" fmla="*/ 45 h 93"/>
                <a:gd name="T18" fmla="*/ 34 w 46"/>
                <a:gd name="T19" fmla="*/ 50 h 93"/>
                <a:gd name="T20" fmla="*/ 30 w 46"/>
                <a:gd name="T21" fmla="*/ 52 h 93"/>
                <a:gd name="T22" fmla="*/ 28 w 46"/>
                <a:gd name="T23" fmla="*/ 52 h 93"/>
                <a:gd name="T24" fmla="*/ 28 w 46"/>
                <a:gd name="T25" fmla="*/ 54 h 93"/>
                <a:gd name="T26" fmla="*/ 28 w 46"/>
                <a:gd name="T27" fmla="*/ 60 h 93"/>
                <a:gd name="T28" fmla="*/ 28 w 46"/>
                <a:gd name="T29" fmla="*/ 66 h 93"/>
                <a:gd name="T30" fmla="*/ 28 w 46"/>
                <a:gd name="T31" fmla="*/ 71 h 93"/>
                <a:gd name="T32" fmla="*/ 30 w 46"/>
                <a:gd name="T33" fmla="*/ 75 h 93"/>
                <a:gd name="T34" fmla="*/ 30 w 46"/>
                <a:gd name="T35" fmla="*/ 77 h 93"/>
                <a:gd name="T36" fmla="*/ 28 w 46"/>
                <a:gd name="T37" fmla="*/ 83 h 93"/>
                <a:gd name="T38" fmla="*/ 28 w 46"/>
                <a:gd name="T39" fmla="*/ 85 h 93"/>
                <a:gd name="T40" fmla="*/ 28 w 46"/>
                <a:gd name="T41" fmla="*/ 91 h 93"/>
                <a:gd name="T42" fmla="*/ 23 w 46"/>
                <a:gd name="T43" fmla="*/ 91 h 93"/>
                <a:gd name="T44" fmla="*/ 17 w 46"/>
                <a:gd name="T45" fmla="*/ 91 h 93"/>
                <a:gd name="T46" fmla="*/ 13 w 46"/>
                <a:gd name="T47" fmla="*/ 93 h 93"/>
                <a:gd name="T48" fmla="*/ 15 w 46"/>
                <a:gd name="T49" fmla="*/ 89 h 93"/>
                <a:gd name="T50" fmla="*/ 13 w 46"/>
                <a:gd name="T51" fmla="*/ 85 h 93"/>
                <a:gd name="T52" fmla="*/ 11 w 46"/>
                <a:gd name="T53" fmla="*/ 85 h 93"/>
                <a:gd name="T54" fmla="*/ 13 w 46"/>
                <a:gd name="T55" fmla="*/ 85 h 93"/>
                <a:gd name="T56" fmla="*/ 13 w 46"/>
                <a:gd name="T57" fmla="*/ 83 h 93"/>
                <a:gd name="T58" fmla="*/ 13 w 46"/>
                <a:gd name="T59" fmla="*/ 81 h 93"/>
                <a:gd name="T60" fmla="*/ 13 w 46"/>
                <a:gd name="T61" fmla="*/ 73 h 93"/>
                <a:gd name="T62" fmla="*/ 13 w 46"/>
                <a:gd name="T63" fmla="*/ 68 h 93"/>
                <a:gd name="T64" fmla="*/ 13 w 46"/>
                <a:gd name="T65" fmla="*/ 60 h 93"/>
                <a:gd name="T66" fmla="*/ 13 w 46"/>
                <a:gd name="T67" fmla="*/ 52 h 93"/>
                <a:gd name="T68" fmla="*/ 11 w 46"/>
                <a:gd name="T69" fmla="*/ 46 h 93"/>
                <a:gd name="T70" fmla="*/ 9 w 46"/>
                <a:gd name="T71" fmla="*/ 43 h 93"/>
                <a:gd name="T72" fmla="*/ 9 w 46"/>
                <a:gd name="T73" fmla="*/ 37 h 93"/>
                <a:gd name="T74" fmla="*/ 5 w 46"/>
                <a:gd name="T75" fmla="*/ 35 h 93"/>
                <a:gd name="T76" fmla="*/ 0 w 46"/>
                <a:gd name="T77" fmla="*/ 31 h 93"/>
                <a:gd name="T78" fmla="*/ 0 w 46"/>
                <a:gd name="T79" fmla="*/ 25 h 93"/>
                <a:gd name="T80" fmla="*/ 2 w 46"/>
                <a:gd name="T81" fmla="*/ 22 h 93"/>
                <a:gd name="T82" fmla="*/ 4 w 46"/>
                <a:gd name="T83" fmla="*/ 22 h 93"/>
                <a:gd name="T84" fmla="*/ 5 w 46"/>
                <a:gd name="T85" fmla="*/ 22 h 93"/>
                <a:gd name="T86" fmla="*/ 5 w 46"/>
                <a:gd name="T87" fmla="*/ 20 h 93"/>
                <a:gd name="T88" fmla="*/ 5 w 46"/>
                <a:gd name="T89" fmla="*/ 18 h 93"/>
                <a:gd name="T90" fmla="*/ 7 w 46"/>
                <a:gd name="T91" fmla="*/ 18 h 93"/>
                <a:gd name="T92" fmla="*/ 7 w 46"/>
                <a:gd name="T93" fmla="*/ 16 h 93"/>
                <a:gd name="T94" fmla="*/ 9 w 46"/>
                <a:gd name="T95" fmla="*/ 16 h 93"/>
                <a:gd name="T96" fmla="*/ 9 w 46"/>
                <a:gd name="T97" fmla="*/ 14 h 93"/>
                <a:gd name="T98" fmla="*/ 13 w 46"/>
                <a:gd name="T99" fmla="*/ 16 h 93"/>
                <a:gd name="T100" fmla="*/ 15 w 46"/>
                <a:gd name="T101" fmla="*/ 16 h 93"/>
                <a:gd name="T102" fmla="*/ 17 w 46"/>
                <a:gd name="T103" fmla="*/ 16 h 93"/>
                <a:gd name="T104" fmla="*/ 17 w 46"/>
                <a:gd name="T105" fmla="*/ 14 h 93"/>
                <a:gd name="T106" fmla="*/ 19 w 46"/>
                <a:gd name="T107" fmla="*/ 14 h 93"/>
                <a:gd name="T108" fmla="*/ 23 w 46"/>
                <a:gd name="T109" fmla="*/ 12 h 93"/>
                <a:gd name="T110" fmla="*/ 25 w 46"/>
                <a:gd name="T111" fmla="*/ 8 h 93"/>
                <a:gd name="T112" fmla="*/ 25 w 46"/>
                <a:gd name="T113" fmla="*/ 2 h 93"/>
                <a:gd name="T114" fmla="*/ 27 w 46"/>
                <a:gd name="T115" fmla="*/ 2 h 93"/>
                <a:gd name="T116" fmla="*/ 30 w 46"/>
                <a:gd name="T117" fmla="*/ 0 h 93"/>
                <a:gd name="T118" fmla="*/ 34 w 46"/>
                <a:gd name="T119" fmla="*/ 2 h 93"/>
                <a:gd name="T120" fmla="*/ 36 w 46"/>
                <a:gd name="T121" fmla="*/ 6 h 93"/>
                <a:gd name="T122" fmla="*/ 40 w 46"/>
                <a:gd name="T123" fmla="*/ 8 h 93"/>
                <a:gd name="T124" fmla="*/ 40 w 46"/>
                <a:gd name="T125"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93">
                  <a:moveTo>
                    <a:pt x="42" y="12"/>
                  </a:moveTo>
                  <a:lnTo>
                    <a:pt x="40" y="14"/>
                  </a:lnTo>
                  <a:lnTo>
                    <a:pt x="40" y="16"/>
                  </a:lnTo>
                  <a:lnTo>
                    <a:pt x="40" y="18"/>
                  </a:lnTo>
                  <a:lnTo>
                    <a:pt x="42" y="18"/>
                  </a:lnTo>
                  <a:lnTo>
                    <a:pt x="42" y="20"/>
                  </a:lnTo>
                  <a:lnTo>
                    <a:pt x="44" y="20"/>
                  </a:lnTo>
                  <a:lnTo>
                    <a:pt x="44" y="22"/>
                  </a:lnTo>
                  <a:lnTo>
                    <a:pt x="44" y="23"/>
                  </a:lnTo>
                  <a:lnTo>
                    <a:pt x="44" y="25"/>
                  </a:lnTo>
                  <a:lnTo>
                    <a:pt x="46" y="25"/>
                  </a:lnTo>
                  <a:lnTo>
                    <a:pt x="46" y="27"/>
                  </a:lnTo>
                  <a:lnTo>
                    <a:pt x="44" y="29"/>
                  </a:lnTo>
                  <a:lnTo>
                    <a:pt x="44" y="31"/>
                  </a:lnTo>
                  <a:lnTo>
                    <a:pt x="44" y="29"/>
                  </a:lnTo>
                  <a:lnTo>
                    <a:pt x="42" y="29"/>
                  </a:lnTo>
                  <a:lnTo>
                    <a:pt x="42" y="31"/>
                  </a:lnTo>
                  <a:lnTo>
                    <a:pt x="42" y="33"/>
                  </a:lnTo>
                  <a:lnTo>
                    <a:pt x="42" y="35"/>
                  </a:lnTo>
                  <a:lnTo>
                    <a:pt x="42" y="37"/>
                  </a:lnTo>
                  <a:lnTo>
                    <a:pt x="40" y="39"/>
                  </a:lnTo>
                  <a:lnTo>
                    <a:pt x="38" y="39"/>
                  </a:lnTo>
                  <a:lnTo>
                    <a:pt x="38" y="41"/>
                  </a:lnTo>
                  <a:lnTo>
                    <a:pt x="36" y="41"/>
                  </a:lnTo>
                  <a:lnTo>
                    <a:pt x="36" y="43"/>
                  </a:lnTo>
                  <a:lnTo>
                    <a:pt x="36" y="45"/>
                  </a:lnTo>
                  <a:lnTo>
                    <a:pt x="34" y="45"/>
                  </a:lnTo>
                  <a:lnTo>
                    <a:pt x="34" y="46"/>
                  </a:lnTo>
                  <a:lnTo>
                    <a:pt x="34" y="48"/>
                  </a:lnTo>
                  <a:lnTo>
                    <a:pt x="34" y="50"/>
                  </a:lnTo>
                  <a:lnTo>
                    <a:pt x="32" y="50"/>
                  </a:lnTo>
                  <a:lnTo>
                    <a:pt x="30" y="50"/>
                  </a:lnTo>
                  <a:lnTo>
                    <a:pt x="30" y="52"/>
                  </a:lnTo>
                  <a:lnTo>
                    <a:pt x="28" y="52"/>
                  </a:lnTo>
                  <a:lnTo>
                    <a:pt x="30" y="52"/>
                  </a:lnTo>
                  <a:lnTo>
                    <a:pt x="28" y="52"/>
                  </a:lnTo>
                  <a:lnTo>
                    <a:pt x="30" y="52"/>
                  </a:lnTo>
                  <a:lnTo>
                    <a:pt x="28" y="52"/>
                  </a:lnTo>
                  <a:lnTo>
                    <a:pt x="28" y="54"/>
                  </a:lnTo>
                  <a:lnTo>
                    <a:pt x="28" y="56"/>
                  </a:lnTo>
                  <a:lnTo>
                    <a:pt x="28" y="58"/>
                  </a:lnTo>
                  <a:lnTo>
                    <a:pt x="28" y="60"/>
                  </a:lnTo>
                  <a:lnTo>
                    <a:pt x="28" y="62"/>
                  </a:lnTo>
                  <a:lnTo>
                    <a:pt x="28" y="64"/>
                  </a:lnTo>
                  <a:lnTo>
                    <a:pt x="28" y="66"/>
                  </a:lnTo>
                  <a:lnTo>
                    <a:pt x="28" y="68"/>
                  </a:lnTo>
                  <a:lnTo>
                    <a:pt x="28" y="70"/>
                  </a:lnTo>
                  <a:lnTo>
                    <a:pt x="28" y="71"/>
                  </a:lnTo>
                  <a:lnTo>
                    <a:pt x="28" y="73"/>
                  </a:lnTo>
                  <a:lnTo>
                    <a:pt x="30" y="73"/>
                  </a:lnTo>
                  <a:lnTo>
                    <a:pt x="30" y="75"/>
                  </a:lnTo>
                  <a:lnTo>
                    <a:pt x="28" y="75"/>
                  </a:lnTo>
                  <a:lnTo>
                    <a:pt x="28" y="77"/>
                  </a:lnTo>
                  <a:lnTo>
                    <a:pt x="30" y="77"/>
                  </a:lnTo>
                  <a:lnTo>
                    <a:pt x="28" y="79"/>
                  </a:lnTo>
                  <a:lnTo>
                    <a:pt x="28" y="81"/>
                  </a:lnTo>
                  <a:lnTo>
                    <a:pt x="28" y="83"/>
                  </a:lnTo>
                  <a:lnTo>
                    <a:pt x="28" y="85"/>
                  </a:lnTo>
                  <a:lnTo>
                    <a:pt x="30" y="85"/>
                  </a:lnTo>
                  <a:lnTo>
                    <a:pt x="28" y="85"/>
                  </a:lnTo>
                  <a:lnTo>
                    <a:pt x="28" y="87"/>
                  </a:lnTo>
                  <a:lnTo>
                    <a:pt x="28" y="89"/>
                  </a:lnTo>
                  <a:lnTo>
                    <a:pt x="28" y="91"/>
                  </a:lnTo>
                  <a:lnTo>
                    <a:pt x="27" y="91"/>
                  </a:lnTo>
                  <a:lnTo>
                    <a:pt x="25" y="91"/>
                  </a:lnTo>
                  <a:lnTo>
                    <a:pt x="23" y="91"/>
                  </a:lnTo>
                  <a:lnTo>
                    <a:pt x="21" y="91"/>
                  </a:lnTo>
                  <a:lnTo>
                    <a:pt x="19" y="91"/>
                  </a:lnTo>
                  <a:lnTo>
                    <a:pt x="17" y="91"/>
                  </a:lnTo>
                  <a:lnTo>
                    <a:pt x="15" y="91"/>
                  </a:lnTo>
                  <a:lnTo>
                    <a:pt x="15" y="93"/>
                  </a:lnTo>
                  <a:lnTo>
                    <a:pt x="13" y="93"/>
                  </a:lnTo>
                  <a:lnTo>
                    <a:pt x="13" y="91"/>
                  </a:lnTo>
                  <a:lnTo>
                    <a:pt x="15" y="91"/>
                  </a:lnTo>
                  <a:lnTo>
                    <a:pt x="15" y="89"/>
                  </a:lnTo>
                  <a:lnTo>
                    <a:pt x="13" y="89"/>
                  </a:lnTo>
                  <a:lnTo>
                    <a:pt x="13" y="87"/>
                  </a:lnTo>
                  <a:lnTo>
                    <a:pt x="13" y="85"/>
                  </a:lnTo>
                  <a:lnTo>
                    <a:pt x="11" y="85"/>
                  </a:lnTo>
                  <a:lnTo>
                    <a:pt x="13" y="85"/>
                  </a:lnTo>
                  <a:lnTo>
                    <a:pt x="11" y="85"/>
                  </a:lnTo>
                  <a:lnTo>
                    <a:pt x="13" y="85"/>
                  </a:lnTo>
                  <a:lnTo>
                    <a:pt x="11" y="85"/>
                  </a:lnTo>
                  <a:lnTo>
                    <a:pt x="13" y="85"/>
                  </a:lnTo>
                  <a:lnTo>
                    <a:pt x="11" y="85"/>
                  </a:lnTo>
                  <a:lnTo>
                    <a:pt x="13" y="85"/>
                  </a:lnTo>
                  <a:lnTo>
                    <a:pt x="13" y="83"/>
                  </a:lnTo>
                  <a:lnTo>
                    <a:pt x="11" y="83"/>
                  </a:lnTo>
                  <a:lnTo>
                    <a:pt x="11" y="81"/>
                  </a:lnTo>
                  <a:lnTo>
                    <a:pt x="13" y="81"/>
                  </a:lnTo>
                  <a:lnTo>
                    <a:pt x="13" y="77"/>
                  </a:lnTo>
                  <a:lnTo>
                    <a:pt x="13" y="75"/>
                  </a:lnTo>
                  <a:lnTo>
                    <a:pt x="13" y="73"/>
                  </a:lnTo>
                  <a:lnTo>
                    <a:pt x="13" y="71"/>
                  </a:lnTo>
                  <a:lnTo>
                    <a:pt x="13" y="70"/>
                  </a:lnTo>
                  <a:lnTo>
                    <a:pt x="13" y="68"/>
                  </a:lnTo>
                  <a:lnTo>
                    <a:pt x="13" y="64"/>
                  </a:lnTo>
                  <a:lnTo>
                    <a:pt x="13" y="62"/>
                  </a:lnTo>
                  <a:lnTo>
                    <a:pt x="13" y="60"/>
                  </a:lnTo>
                  <a:lnTo>
                    <a:pt x="13" y="58"/>
                  </a:lnTo>
                  <a:lnTo>
                    <a:pt x="13" y="54"/>
                  </a:lnTo>
                  <a:lnTo>
                    <a:pt x="13" y="52"/>
                  </a:lnTo>
                  <a:lnTo>
                    <a:pt x="13" y="50"/>
                  </a:lnTo>
                  <a:lnTo>
                    <a:pt x="11" y="48"/>
                  </a:lnTo>
                  <a:lnTo>
                    <a:pt x="11" y="46"/>
                  </a:lnTo>
                  <a:lnTo>
                    <a:pt x="9" y="46"/>
                  </a:lnTo>
                  <a:lnTo>
                    <a:pt x="9" y="45"/>
                  </a:lnTo>
                  <a:lnTo>
                    <a:pt x="9" y="43"/>
                  </a:lnTo>
                  <a:lnTo>
                    <a:pt x="9" y="41"/>
                  </a:lnTo>
                  <a:lnTo>
                    <a:pt x="9" y="39"/>
                  </a:lnTo>
                  <a:lnTo>
                    <a:pt x="9" y="37"/>
                  </a:lnTo>
                  <a:lnTo>
                    <a:pt x="7" y="37"/>
                  </a:lnTo>
                  <a:lnTo>
                    <a:pt x="7" y="35"/>
                  </a:lnTo>
                  <a:lnTo>
                    <a:pt x="5" y="35"/>
                  </a:lnTo>
                  <a:lnTo>
                    <a:pt x="4" y="33"/>
                  </a:lnTo>
                  <a:lnTo>
                    <a:pt x="2" y="31"/>
                  </a:lnTo>
                  <a:lnTo>
                    <a:pt x="0" y="31"/>
                  </a:lnTo>
                  <a:lnTo>
                    <a:pt x="0" y="29"/>
                  </a:lnTo>
                  <a:lnTo>
                    <a:pt x="2" y="27"/>
                  </a:lnTo>
                  <a:lnTo>
                    <a:pt x="0" y="25"/>
                  </a:lnTo>
                  <a:lnTo>
                    <a:pt x="2" y="25"/>
                  </a:lnTo>
                  <a:lnTo>
                    <a:pt x="2" y="23"/>
                  </a:lnTo>
                  <a:lnTo>
                    <a:pt x="2" y="22"/>
                  </a:lnTo>
                  <a:lnTo>
                    <a:pt x="4" y="22"/>
                  </a:lnTo>
                  <a:lnTo>
                    <a:pt x="4" y="20"/>
                  </a:lnTo>
                  <a:lnTo>
                    <a:pt x="4" y="22"/>
                  </a:lnTo>
                  <a:lnTo>
                    <a:pt x="4" y="20"/>
                  </a:lnTo>
                  <a:lnTo>
                    <a:pt x="5" y="20"/>
                  </a:lnTo>
                  <a:lnTo>
                    <a:pt x="5" y="22"/>
                  </a:lnTo>
                  <a:lnTo>
                    <a:pt x="5" y="20"/>
                  </a:lnTo>
                  <a:lnTo>
                    <a:pt x="4" y="20"/>
                  </a:lnTo>
                  <a:lnTo>
                    <a:pt x="5" y="20"/>
                  </a:lnTo>
                  <a:lnTo>
                    <a:pt x="4" y="20"/>
                  </a:lnTo>
                  <a:lnTo>
                    <a:pt x="5" y="20"/>
                  </a:lnTo>
                  <a:lnTo>
                    <a:pt x="5" y="18"/>
                  </a:lnTo>
                  <a:lnTo>
                    <a:pt x="7" y="18"/>
                  </a:lnTo>
                  <a:lnTo>
                    <a:pt x="7" y="16"/>
                  </a:lnTo>
                  <a:lnTo>
                    <a:pt x="7" y="18"/>
                  </a:lnTo>
                  <a:lnTo>
                    <a:pt x="9" y="18"/>
                  </a:lnTo>
                  <a:lnTo>
                    <a:pt x="9" y="16"/>
                  </a:lnTo>
                  <a:lnTo>
                    <a:pt x="7" y="16"/>
                  </a:lnTo>
                  <a:lnTo>
                    <a:pt x="9" y="16"/>
                  </a:lnTo>
                  <a:lnTo>
                    <a:pt x="7" y="16"/>
                  </a:lnTo>
                  <a:lnTo>
                    <a:pt x="9" y="16"/>
                  </a:lnTo>
                  <a:lnTo>
                    <a:pt x="9" y="14"/>
                  </a:lnTo>
                  <a:lnTo>
                    <a:pt x="9" y="16"/>
                  </a:lnTo>
                  <a:lnTo>
                    <a:pt x="9" y="14"/>
                  </a:lnTo>
                  <a:lnTo>
                    <a:pt x="11" y="14"/>
                  </a:lnTo>
                  <a:lnTo>
                    <a:pt x="11" y="16"/>
                  </a:lnTo>
                  <a:lnTo>
                    <a:pt x="13" y="16"/>
                  </a:lnTo>
                  <a:lnTo>
                    <a:pt x="11" y="16"/>
                  </a:lnTo>
                  <a:lnTo>
                    <a:pt x="13" y="16"/>
                  </a:lnTo>
                  <a:lnTo>
                    <a:pt x="15" y="16"/>
                  </a:lnTo>
                  <a:lnTo>
                    <a:pt x="15" y="14"/>
                  </a:lnTo>
                  <a:lnTo>
                    <a:pt x="15" y="16"/>
                  </a:lnTo>
                  <a:lnTo>
                    <a:pt x="17" y="16"/>
                  </a:lnTo>
                  <a:lnTo>
                    <a:pt x="17" y="14"/>
                  </a:lnTo>
                  <a:lnTo>
                    <a:pt x="17" y="16"/>
                  </a:lnTo>
                  <a:lnTo>
                    <a:pt x="17" y="14"/>
                  </a:lnTo>
                  <a:lnTo>
                    <a:pt x="17" y="16"/>
                  </a:lnTo>
                  <a:lnTo>
                    <a:pt x="19" y="16"/>
                  </a:lnTo>
                  <a:lnTo>
                    <a:pt x="19" y="14"/>
                  </a:lnTo>
                  <a:lnTo>
                    <a:pt x="21" y="14"/>
                  </a:lnTo>
                  <a:lnTo>
                    <a:pt x="21" y="12"/>
                  </a:lnTo>
                  <a:lnTo>
                    <a:pt x="23" y="12"/>
                  </a:lnTo>
                  <a:lnTo>
                    <a:pt x="23" y="10"/>
                  </a:lnTo>
                  <a:lnTo>
                    <a:pt x="25" y="10"/>
                  </a:lnTo>
                  <a:lnTo>
                    <a:pt x="25" y="8"/>
                  </a:lnTo>
                  <a:lnTo>
                    <a:pt x="25" y="6"/>
                  </a:lnTo>
                  <a:lnTo>
                    <a:pt x="25" y="4"/>
                  </a:lnTo>
                  <a:lnTo>
                    <a:pt x="25" y="2"/>
                  </a:lnTo>
                  <a:lnTo>
                    <a:pt x="23" y="2"/>
                  </a:lnTo>
                  <a:lnTo>
                    <a:pt x="25" y="2"/>
                  </a:lnTo>
                  <a:lnTo>
                    <a:pt x="27" y="2"/>
                  </a:lnTo>
                  <a:lnTo>
                    <a:pt x="28" y="2"/>
                  </a:lnTo>
                  <a:lnTo>
                    <a:pt x="28" y="0"/>
                  </a:lnTo>
                  <a:lnTo>
                    <a:pt x="30" y="0"/>
                  </a:lnTo>
                  <a:lnTo>
                    <a:pt x="32" y="0"/>
                  </a:lnTo>
                  <a:lnTo>
                    <a:pt x="32" y="2"/>
                  </a:lnTo>
                  <a:lnTo>
                    <a:pt x="34" y="2"/>
                  </a:lnTo>
                  <a:lnTo>
                    <a:pt x="34" y="4"/>
                  </a:lnTo>
                  <a:lnTo>
                    <a:pt x="36" y="4"/>
                  </a:lnTo>
                  <a:lnTo>
                    <a:pt x="36" y="6"/>
                  </a:lnTo>
                  <a:lnTo>
                    <a:pt x="36" y="8"/>
                  </a:lnTo>
                  <a:lnTo>
                    <a:pt x="38" y="8"/>
                  </a:lnTo>
                  <a:lnTo>
                    <a:pt x="40" y="8"/>
                  </a:lnTo>
                  <a:lnTo>
                    <a:pt x="40" y="10"/>
                  </a:lnTo>
                  <a:lnTo>
                    <a:pt x="42" y="10"/>
                  </a:lnTo>
                  <a:lnTo>
                    <a:pt x="40" y="10"/>
                  </a:lnTo>
                  <a:lnTo>
                    <a:pt x="42" y="10"/>
                  </a:lnTo>
                  <a:lnTo>
                    <a:pt x="42" y="1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315">
              <a:extLst>
                <a:ext uri="{FF2B5EF4-FFF2-40B4-BE49-F238E27FC236}">
                  <a16:creationId xmlns:a16="http://schemas.microsoft.com/office/drawing/2014/main" id="{8EE3C520-D54B-4066-AE52-AEF615B21747}"/>
                </a:ext>
              </a:extLst>
            </p:cNvPr>
            <p:cNvSpPr>
              <a:spLocks/>
            </p:cNvSpPr>
            <p:nvPr/>
          </p:nvSpPr>
          <p:spPr bwMode="gray">
            <a:xfrm>
              <a:off x="3213167" y="3932403"/>
              <a:ext cx="282067" cy="224427"/>
            </a:xfrm>
            <a:custGeom>
              <a:avLst/>
              <a:gdLst>
                <a:gd name="T0" fmla="*/ 221 w 230"/>
                <a:gd name="T1" fmla="*/ 33 h 183"/>
                <a:gd name="T2" fmla="*/ 226 w 230"/>
                <a:gd name="T3" fmla="*/ 45 h 183"/>
                <a:gd name="T4" fmla="*/ 225 w 230"/>
                <a:gd name="T5" fmla="*/ 75 h 183"/>
                <a:gd name="T6" fmla="*/ 217 w 230"/>
                <a:gd name="T7" fmla="*/ 112 h 183"/>
                <a:gd name="T8" fmla="*/ 200 w 230"/>
                <a:gd name="T9" fmla="*/ 135 h 183"/>
                <a:gd name="T10" fmla="*/ 196 w 230"/>
                <a:gd name="T11" fmla="*/ 139 h 183"/>
                <a:gd name="T12" fmla="*/ 196 w 230"/>
                <a:gd name="T13" fmla="*/ 148 h 183"/>
                <a:gd name="T14" fmla="*/ 188 w 230"/>
                <a:gd name="T15" fmla="*/ 154 h 183"/>
                <a:gd name="T16" fmla="*/ 184 w 230"/>
                <a:gd name="T17" fmla="*/ 156 h 183"/>
                <a:gd name="T18" fmla="*/ 180 w 230"/>
                <a:gd name="T19" fmla="*/ 162 h 183"/>
                <a:gd name="T20" fmla="*/ 175 w 230"/>
                <a:gd name="T21" fmla="*/ 160 h 183"/>
                <a:gd name="T22" fmla="*/ 171 w 230"/>
                <a:gd name="T23" fmla="*/ 158 h 183"/>
                <a:gd name="T24" fmla="*/ 161 w 230"/>
                <a:gd name="T25" fmla="*/ 156 h 183"/>
                <a:gd name="T26" fmla="*/ 154 w 230"/>
                <a:gd name="T27" fmla="*/ 156 h 183"/>
                <a:gd name="T28" fmla="*/ 146 w 230"/>
                <a:gd name="T29" fmla="*/ 158 h 183"/>
                <a:gd name="T30" fmla="*/ 140 w 230"/>
                <a:gd name="T31" fmla="*/ 162 h 183"/>
                <a:gd name="T32" fmla="*/ 132 w 230"/>
                <a:gd name="T33" fmla="*/ 166 h 183"/>
                <a:gd name="T34" fmla="*/ 125 w 230"/>
                <a:gd name="T35" fmla="*/ 164 h 183"/>
                <a:gd name="T36" fmla="*/ 119 w 230"/>
                <a:gd name="T37" fmla="*/ 160 h 183"/>
                <a:gd name="T38" fmla="*/ 111 w 230"/>
                <a:gd name="T39" fmla="*/ 158 h 183"/>
                <a:gd name="T40" fmla="*/ 104 w 230"/>
                <a:gd name="T41" fmla="*/ 162 h 183"/>
                <a:gd name="T42" fmla="*/ 98 w 230"/>
                <a:gd name="T43" fmla="*/ 162 h 183"/>
                <a:gd name="T44" fmla="*/ 94 w 230"/>
                <a:gd name="T45" fmla="*/ 156 h 183"/>
                <a:gd name="T46" fmla="*/ 88 w 230"/>
                <a:gd name="T47" fmla="*/ 152 h 183"/>
                <a:gd name="T48" fmla="*/ 81 w 230"/>
                <a:gd name="T49" fmla="*/ 150 h 183"/>
                <a:gd name="T50" fmla="*/ 75 w 230"/>
                <a:gd name="T51" fmla="*/ 150 h 183"/>
                <a:gd name="T52" fmla="*/ 69 w 230"/>
                <a:gd name="T53" fmla="*/ 150 h 183"/>
                <a:gd name="T54" fmla="*/ 59 w 230"/>
                <a:gd name="T55" fmla="*/ 154 h 183"/>
                <a:gd name="T56" fmla="*/ 56 w 230"/>
                <a:gd name="T57" fmla="*/ 164 h 183"/>
                <a:gd name="T58" fmla="*/ 52 w 230"/>
                <a:gd name="T59" fmla="*/ 169 h 183"/>
                <a:gd name="T60" fmla="*/ 50 w 230"/>
                <a:gd name="T61" fmla="*/ 177 h 183"/>
                <a:gd name="T62" fmla="*/ 48 w 230"/>
                <a:gd name="T63" fmla="*/ 181 h 183"/>
                <a:gd name="T64" fmla="*/ 44 w 230"/>
                <a:gd name="T65" fmla="*/ 179 h 183"/>
                <a:gd name="T66" fmla="*/ 40 w 230"/>
                <a:gd name="T67" fmla="*/ 173 h 183"/>
                <a:gd name="T68" fmla="*/ 35 w 230"/>
                <a:gd name="T69" fmla="*/ 173 h 183"/>
                <a:gd name="T70" fmla="*/ 33 w 230"/>
                <a:gd name="T71" fmla="*/ 177 h 183"/>
                <a:gd name="T72" fmla="*/ 31 w 230"/>
                <a:gd name="T73" fmla="*/ 169 h 183"/>
                <a:gd name="T74" fmla="*/ 25 w 230"/>
                <a:gd name="T75" fmla="*/ 166 h 183"/>
                <a:gd name="T76" fmla="*/ 15 w 230"/>
                <a:gd name="T77" fmla="*/ 166 h 183"/>
                <a:gd name="T78" fmla="*/ 12 w 230"/>
                <a:gd name="T79" fmla="*/ 156 h 183"/>
                <a:gd name="T80" fmla="*/ 15 w 230"/>
                <a:gd name="T81" fmla="*/ 156 h 183"/>
                <a:gd name="T82" fmla="*/ 8 w 230"/>
                <a:gd name="T83" fmla="*/ 152 h 183"/>
                <a:gd name="T84" fmla="*/ 4 w 230"/>
                <a:gd name="T85" fmla="*/ 150 h 183"/>
                <a:gd name="T86" fmla="*/ 2 w 230"/>
                <a:gd name="T87" fmla="*/ 143 h 183"/>
                <a:gd name="T88" fmla="*/ 0 w 230"/>
                <a:gd name="T89" fmla="*/ 133 h 183"/>
                <a:gd name="T90" fmla="*/ 10 w 230"/>
                <a:gd name="T91" fmla="*/ 133 h 183"/>
                <a:gd name="T92" fmla="*/ 19 w 230"/>
                <a:gd name="T93" fmla="*/ 127 h 183"/>
                <a:gd name="T94" fmla="*/ 36 w 230"/>
                <a:gd name="T95" fmla="*/ 127 h 183"/>
                <a:gd name="T96" fmla="*/ 50 w 230"/>
                <a:gd name="T97" fmla="*/ 123 h 183"/>
                <a:gd name="T98" fmla="*/ 54 w 230"/>
                <a:gd name="T99" fmla="*/ 118 h 183"/>
                <a:gd name="T100" fmla="*/ 59 w 230"/>
                <a:gd name="T101" fmla="*/ 102 h 183"/>
                <a:gd name="T102" fmla="*/ 83 w 230"/>
                <a:gd name="T103" fmla="*/ 64 h 183"/>
                <a:gd name="T104" fmla="*/ 146 w 230"/>
                <a:gd name="T105" fmla="*/ 16 h 183"/>
                <a:gd name="T106" fmla="*/ 194 w 230"/>
                <a:gd name="T107" fmla="*/ 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0" h="183">
                  <a:moveTo>
                    <a:pt x="217" y="8"/>
                  </a:moveTo>
                  <a:lnTo>
                    <a:pt x="219" y="18"/>
                  </a:lnTo>
                  <a:lnTo>
                    <a:pt x="219" y="23"/>
                  </a:lnTo>
                  <a:lnTo>
                    <a:pt x="219" y="33"/>
                  </a:lnTo>
                  <a:lnTo>
                    <a:pt x="221" y="33"/>
                  </a:lnTo>
                  <a:lnTo>
                    <a:pt x="221" y="35"/>
                  </a:lnTo>
                  <a:lnTo>
                    <a:pt x="223" y="37"/>
                  </a:lnTo>
                  <a:lnTo>
                    <a:pt x="225" y="41"/>
                  </a:lnTo>
                  <a:lnTo>
                    <a:pt x="225" y="43"/>
                  </a:lnTo>
                  <a:lnTo>
                    <a:pt x="226" y="45"/>
                  </a:lnTo>
                  <a:lnTo>
                    <a:pt x="226" y="47"/>
                  </a:lnTo>
                  <a:lnTo>
                    <a:pt x="228" y="48"/>
                  </a:lnTo>
                  <a:lnTo>
                    <a:pt x="230" y="50"/>
                  </a:lnTo>
                  <a:lnTo>
                    <a:pt x="226" y="56"/>
                  </a:lnTo>
                  <a:lnTo>
                    <a:pt x="225" y="75"/>
                  </a:lnTo>
                  <a:lnTo>
                    <a:pt x="225" y="87"/>
                  </a:lnTo>
                  <a:lnTo>
                    <a:pt x="225" y="100"/>
                  </a:lnTo>
                  <a:lnTo>
                    <a:pt x="225" y="104"/>
                  </a:lnTo>
                  <a:lnTo>
                    <a:pt x="223" y="104"/>
                  </a:lnTo>
                  <a:lnTo>
                    <a:pt x="217" y="112"/>
                  </a:lnTo>
                  <a:lnTo>
                    <a:pt x="207" y="121"/>
                  </a:lnTo>
                  <a:lnTo>
                    <a:pt x="203" y="127"/>
                  </a:lnTo>
                  <a:lnTo>
                    <a:pt x="202" y="129"/>
                  </a:lnTo>
                  <a:lnTo>
                    <a:pt x="200" y="131"/>
                  </a:lnTo>
                  <a:lnTo>
                    <a:pt x="200" y="135"/>
                  </a:lnTo>
                  <a:lnTo>
                    <a:pt x="198" y="135"/>
                  </a:lnTo>
                  <a:lnTo>
                    <a:pt x="200" y="137"/>
                  </a:lnTo>
                  <a:lnTo>
                    <a:pt x="198" y="137"/>
                  </a:lnTo>
                  <a:lnTo>
                    <a:pt x="198" y="139"/>
                  </a:lnTo>
                  <a:lnTo>
                    <a:pt x="196" y="139"/>
                  </a:lnTo>
                  <a:lnTo>
                    <a:pt x="196" y="141"/>
                  </a:lnTo>
                  <a:lnTo>
                    <a:pt x="194" y="141"/>
                  </a:lnTo>
                  <a:lnTo>
                    <a:pt x="194" y="143"/>
                  </a:lnTo>
                  <a:lnTo>
                    <a:pt x="196" y="144"/>
                  </a:lnTo>
                  <a:lnTo>
                    <a:pt x="196" y="148"/>
                  </a:lnTo>
                  <a:lnTo>
                    <a:pt x="196" y="152"/>
                  </a:lnTo>
                  <a:lnTo>
                    <a:pt x="192" y="152"/>
                  </a:lnTo>
                  <a:lnTo>
                    <a:pt x="190" y="152"/>
                  </a:lnTo>
                  <a:lnTo>
                    <a:pt x="190" y="154"/>
                  </a:lnTo>
                  <a:lnTo>
                    <a:pt x="188" y="154"/>
                  </a:lnTo>
                  <a:lnTo>
                    <a:pt x="186" y="154"/>
                  </a:lnTo>
                  <a:lnTo>
                    <a:pt x="186" y="156"/>
                  </a:lnTo>
                  <a:lnTo>
                    <a:pt x="186" y="154"/>
                  </a:lnTo>
                  <a:lnTo>
                    <a:pt x="184" y="154"/>
                  </a:lnTo>
                  <a:lnTo>
                    <a:pt x="184" y="156"/>
                  </a:lnTo>
                  <a:lnTo>
                    <a:pt x="184" y="158"/>
                  </a:lnTo>
                  <a:lnTo>
                    <a:pt x="182" y="158"/>
                  </a:lnTo>
                  <a:lnTo>
                    <a:pt x="180" y="158"/>
                  </a:lnTo>
                  <a:lnTo>
                    <a:pt x="180" y="160"/>
                  </a:lnTo>
                  <a:lnTo>
                    <a:pt x="180" y="162"/>
                  </a:lnTo>
                  <a:lnTo>
                    <a:pt x="178" y="162"/>
                  </a:lnTo>
                  <a:lnTo>
                    <a:pt x="177" y="162"/>
                  </a:lnTo>
                  <a:lnTo>
                    <a:pt x="177" y="160"/>
                  </a:lnTo>
                  <a:lnTo>
                    <a:pt x="177" y="162"/>
                  </a:lnTo>
                  <a:lnTo>
                    <a:pt x="175" y="160"/>
                  </a:lnTo>
                  <a:lnTo>
                    <a:pt x="175" y="162"/>
                  </a:lnTo>
                  <a:lnTo>
                    <a:pt x="175" y="160"/>
                  </a:lnTo>
                  <a:lnTo>
                    <a:pt x="173" y="160"/>
                  </a:lnTo>
                  <a:lnTo>
                    <a:pt x="171" y="160"/>
                  </a:lnTo>
                  <a:lnTo>
                    <a:pt x="171" y="158"/>
                  </a:lnTo>
                  <a:lnTo>
                    <a:pt x="169" y="158"/>
                  </a:lnTo>
                  <a:lnTo>
                    <a:pt x="167" y="158"/>
                  </a:lnTo>
                  <a:lnTo>
                    <a:pt x="165" y="158"/>
                  </a:lnTo>
                  <a:lnTo>
                    <a:pt x="163" y="156"/>
                  </a:lnTo>
                  <a:lnTo>
                    <a:pt x="161" y="156"/>
                  </a:lnTo>
                  <a:lnTo>
                    <a:pt x="159" y="156"/>
                  </a:lnTo>
                  <a:lnTo>
                    <a:pt x="157" y="156"/>
                  </a:lnTo>
                  <a:lnTo>
                    <a:pt x="155" y="158"/>
                  </a:lnTo>
                  <a:lnTo>
                    <a:pt x="154" y="158"/>
                  </a:lnTo>
                  <a:lnTo>
                    <a:pt x="154" y="156"/>
                  </a:lnTo>
                  <a:lnTo>
                    <a:pt x="154" y="158"/>
                  </a:lnTo>
                  <a:lnTo>
                    <a:pt x="152" y="158"/>
                  </a:lnTo>
                  <a:lnTo>
                    <a:pt x="150" y="158"/>
                  </a:lnTo>
                  <a:lnTo>
                    <a:pt x="148" y="158"/>
                  </a:lnTo>
                  <a:lnTo>
                    <a:pt x="146" y="158"/>
                  </a:lnTo>
                  <a:lnTo>
                    <a:pt x="146" y="160"/>
                  </a:lnTo>
                  <a:lnTo>
                    <a:pt x="144" y="160"/>
                  </a:lnTo>
                  <a:lnTo>
                    <a:pt x="142" y="160"/>
                  </a:lnTo>
                  <a:lnTo>
                    <a:pt x="142" y="162"/>
                  </a:lnTo>
                  <a:lnTo>
                    <a:pt x="140" y="162"/>
                  </a:lnTo>
                  <a:lnTo>
                    <a:pt x="140" y="164"/>
                  </a:lnTo>
                  <a:lnTo>
                    <a:pt x="138" y="166"/>
                  </a:lnTo>
                  <a:lnTo>
                    <a:pt x="136" y="166"/>
                  </a:lnTo>
                  <a:lnTo>
                    <a:pt x="134" y="166"/>
                  </a:lnTo>
                  <a:lnTo>
                    <a:pt x="132" y="166"/>
                  </a:lnTo>
                  <a:lnTo>
                    <a:pt x="131" y="166"/>
                  </a:lnTo>
                  <a:lnTo>
                    <a:pt x="129" y="166"/>
                  </a:lnTo>
                  <a:lnTo>
                    <a:pt x="127" y="166"/>
                  </a:lnTo>
                  <a:lnTo>
                    <a:pt x="127" y="164"/>
                  </a:lnTo>
                  <a:lnTo>
                    <a:pt x="125" y="164"/>
                  </a:lnTo>
                  <a:lnTo>
                    <a:pt x="123" y="164"/>
                  </a:lnTo>
                  <a:lnTo>
                    <a:pt x="123" y="162"/>
                  </a:lnTo>
                  <a:lnTo>
                    <a:pt x="121" y="162"/>
                  </a:lnTo>
                  <a:lnTo>
                    <a:pt x="119" y="162"/>
                  </a:lnTo>
                  <a:lnTo>
                    <a:pt x="119" y="160"/>
                  </a:lnTo>
                  <a:lnTo>
                    <a:pt x="117" y="160"/>
                  </a:lnTo>
                  <a:lnTo>
                    <a:pt x="117" y="158"/>
                  </a:lnTo>
                  <a:lnTo>
                    <a:pt x="115" y="158"/>
                  </a:lnTo>
                  <a:lnTo>
                    <a:pt x="113" y="158"/>
                  </a:lnTo>
                  <a:lnTo>
                    <a:pt x="111" y="158"/>
                  </a:lnTo>
                  <a:lnTo>
                    <a:pt x="109" y="158"/>
                  </a:lnTo>
                  <a:lnTo>
                    <a:pt x="107" y="160"/>
                  </a:lnTo>
                  <a:lnTo>
                    <a:pt x="106" y="160"/>
                  </a:lnTo>
                  <a:lnTo>
                    <a:pt x="106" y="162"/>
                  </a:lnTo>
                  <a:lnTo>
                    <a:pt x="104" y="162"/>
                  </a:lnTo>
                  <a:lnTo>
                    <a:pt x="104" y="160"/>
                  </a:lnTo>
                  <a:lnTo>
                    <a:pt x="102" y="160"/>
                  </a:lnTo>
                  <a:lnTo>
                    <a:pt x="102" y="162"/>
                  </a:lnTo>
                  <a:lnTo>
                    <a:pt x="100" y="162"/>
                  </a:lnTo>
                  <a:lnTo>
                    <a:pt x="98" y="162"/>
                  </a:lnTo>
                  <a:lnTo>
                    <a:pt x="96" y="162"/>
                  </a:lnTo>
                  <a:lnTo>
                    <a:pt x="96" y="160"/>
                  </a:lnTo>
                  <a:lnTo>
                    <a:pt x="96" y="158"/>
                  </a:lnTo>
                  <a:lnTo>
                    <a:pt x="94" y="158"/>
                  </a:lnTo>
                  <a:lnTo>
                    <a:pt x="94" y="156"/>
                  </a:lnTo>
                  <a:lnTo>
                    <a:pt x="92" y="156"/>
                  </a:lnTo>
                  <a:lnTo>
                    <a:pt x="92" y="154"/>
                  </a:lnTo>
                  <a:lnTo>
                    <a:pt x="90" y="154"/>
                  </a:lnTo>
                  <a:lnTo>
                    <a:pt x="90" y="152"/>
                  </a:lnTo>
                  <a:lnTo>
                    <a:pt x="88" y="152"/>
                  </a:lnTo>
                  <a:lnTo>
                    <a:pt x="86" y="152"/>
                  </a:lnTo>
                  <a:lnTo>
                    <a:pt x="84" y="152"/>
                  </a:lnTo>
                  <a:lnTo>
                    <a:pt x="83" y="152"/>
                  </a:lnTo>
                  <a:lnTo>
                    <a:pt x="83" y="150"/>
                  </a:lnTo>
                  <a:lnTo>
                    <a:pt x="81" y="150"/>
                  </a:lnTo>
                  <a:lnTo>
                    <a:pt x="79" y="150"/>
                  </a:lnTo>
                  <a:lnTo>
                    <a:pt x="79" y="148"/>
                  </a:lnTo>
                  <a:lnTo>
                    <a:pt x="77" y="148"/>
                  </a:lnTo>
                  <a:lnTo>
                    <a:pt x="77" y="150"/>
                  </a:lnTo>
                  <a:lnTo>
                    <a:pt x="75" y="150"/>
                  </a:lnTo>
                  <a:lnTo>
                    <a:pt x="73" y="150"/>
                  </a:lnTo>
                  <a:lnTo>
                    <a:pt x="73" y="152"/>
                  </a:lnTo>
                  <a:lnTo>
                    <a:pt x="71" y="150"/>
                  </a:lnTo>
                  <a:lnTo>
                    <a:pt x="69" y="152"/>
                  </a:lnTo>
                  <a:lnTo>
                    <a:pt x="69" y="150"/>
                  </a:lnTo>
                  <a:lnTo>
                    <a:pt x="67" y="150"/>
                  </a:lnTo>
                  <a:lnTo>
                    <a:pt x="65" y="152"/>
                  </a:lnTo>
                  <a:lnTo>
                    <a:pt x="63" y="152"/>
                  </a:lnTo>
                  <a:lnTo>
                    <a:pt x="61" y="152"/>
                  </a:lnTo>
                  <a:lnTo>
                    <a:pt x="59" y="154"/>
                  </a:lnTo>
                  <a:lnTo>
                    <a:pt x="58" y="156"/>
                  </a:lnTo>
                  <a:lnTo>
                    <a:pt x="58" y="158"/>
                  </a:lnTo>
                  <a:lnTo>
                    <a:pt x="58" y="160"/>
                  </a:lnTo>
                  <a:lnTo>
                    <a:pt x="58" y="162"/>
                  </a:lnTo>
                  <a:lnTo>
                    <a:pt x="56" y="164"/>
                  </a:lnTo>
                  <a:lnTo>
                    <a:pt x="56" y="166"/>
                  </a:lnTo>
                  <a:lnTo>
                    <a:pt x="54" y="166"/>
                  </a:lnTo>
                  <a:lnTo>
                    <a:pt x="54" y="168"/>
                  </a:lnTo>
                  <a:lnTo>
                    <a:pt x="52" y="168"/>
                  </a:lnTo>
                  <a:lnTo>
                    <a:pt x="52" y="169"/>
                  </a:lnTo>
                  <a:lnTo>
                    <a:pt x="50" y="169"/>
                  </a:lnTo>
                  <a:lnTo>
                    <a:pt x="50" y="171"/>
                  </a:lnTo>
                  <a:lnTo>
                    <a:pt x="50" y="173"/>
                  </a:lnTo>
                  <a:lnTo>
                    <a:pt x="50" y="175"/>
                  </a:lnTo>
                  <a:lnTo>
                    <a:pt x="50" y="177"/>
                  </a:lnTo>
                  <a:lnTo>
                    <a:pt x="50" y="179"/>
                  </a:lnTo>
                  <a:lnTo>
                    <a:pt x="50" y="181"/>
                  </a:lnTo>
                  <a:lnTo>
                    <a:pt x="50" y="183"/>
                  </a:lnTo>
                  <a:lnTo>
                    <a:pt x="50" y="181"/>
                  </a:lnTo>
                  <a:lnTo>
                    <a:pt x="48" y="181"/>
                  </a:lnTo>
                  <a:lnTo>
                    <a:pt x="50" y="181"/>
                  </a:lnTo>
                  <a:lnTo>
                    <a:pt x="48" y="181"/>
                  </a:lnTo>
                  <a:lnTo>
                    <a:pt x="48" y="179"/>
                  </a:lnTo>
                  <a:lnTo>
                    <a:pt x="46" y="179"/>
                  </a:lnTo>
                  <a:lnTo>
                    <a:pt x="44" y="179"/>
                  </a:lnTo>
                  <a:lnTo>
                    <a:pt x="44" y="177"/>
                  </a:lnTo>
                  <a:lnTo>
                    <a:pt x="44" y="175"/>
                  </a:lnTo>
                  <a:lnTo>
                    <a:pt x="42" y="175"/>
                  </a:lnTo>
                  <a:lnTo>
                    <a:pt x="42" y="173"/>
                  </a:lnTo>
                  <a:lnTo>
                    <a:pt x="40" y="173"/>
                  </a:lnTo>
                  <a:lnTo>
                    <a:pt x="40" y="171"/>
                  </a:lnTo>
                  <a:lnTo>
                    <a:pt x="38" y="171"/>
                  </a:lnTo>
                  <a:lnTo>
                    <a:pt x="36" y="171"/>
                  </a:lnTo>
                  <a:lnTo>
                    <a:pt x="36" y="173"/>
                  </a:lnTo>
                  <a:lnTo>
                    <a:pt x="35" y="173"/>
                  </a:lnTo>
                  <a:lnTo>
                    <a:pt x="33" y="173"/>
                  </a:lnTo>
                  <a:lnTo>
                    <a:pt x="31" y="173"/>
                  </a:lnTo>
                  <a:lnTo>
                    <a:pt x="33" y="173"/>
                  </a:lnTo>
                  <a:lnTo>
                    <a:pt x="33" y="175"/>
                  </a:lnTo>
                  <a:lnTo>
                    <a:pt x="33" y="177"/>
                  </a:lnTo>
                  <a:lnTo>
                    <a:pt x="33" y="179"/>
                  </a:lnTo>
                  <a:lnTo>
                    <a:pt x="27" y="171"/>
                  </a:lnTo>
                  <a:lnTo>
                    <a:pt x="29" y="171"/>
                  </a:lnTo>
                  <a:lnTo>
                    <a:pt x="31" y="171"/>
                  </a:lnTo>
                  <a:lnTo>
                    <a:pt x="31" y="169"/>
                  </a:lnTo>
                  <a:lnTo>
                    <a:pt x="29" y="169"/>
                  </a:lnTo>
                  <a:lnTo>
                    <a:pt x="29" y="168"/>
                  </a:lnTo>
                  <a:lnTo>
                    <a:pt x="27" y="168"/>
                  </a:lnTo>
                  <a:lnTo>
                    <a:pt x="27" y="166"/>
                  </a:lnTo>
                  <a:lnTo>
                    <a:pt x="25" y="166"/>
                  </a:lnTo>
                  <a:lnTo>
                    <a:pt x="25" y="168"/>
                  </a:lnTo>
                  <a:lnTo>
                    <a:pt x="23" y="168"/>
                  </a:lnTo>
                  <a:lnTo>
                    <a:pt x="19" y="168"/>
                  </a:lnTo>
                  <a:lnTo>
                    <a:pt x="17" y="166"/>
                  </a:lnTo>
                  <a:lnTo>
                    <a:pt x="15" y="166"/>
                  </a:lnTo>
                  <a:lnTo>
                    <a:pt x="13" y="162"/>
                  </a:lnTo>
                  <a:lnTo>
                    <a:pt x="12" y="162"/>
                  </a:lnTo>
                  <a:lnTo>
                    <a:pt x="12" y="156"/>
                  </a:lnTo>
                  <a:lnTo>
                    <a:pt x="12" y="158"/>
                  </a:lnTo>
                  <a:lnTo>
                    <a:pt x="12" y="156"/>
                  </a:lnTo>
                  <a:lnTo>
                    <a:pt x="13" y="158"/>
                  </a:lnTo>
                  <a:lnTo>
                    <a:pt x="15" y="158"/>
                  </a:lnTo>
                  <a:lnTo>
                    <a:pt x="15" y="156"/>
                  </a:lnTo>
                  <a:lnTo>
                    <a:pt x="15" y="158"/>
                  </a:lnTo>
                  <a:lnTo>
                    <a:pt x="15" y="156"/>
                  </a:lnTo>
                  <a:lnTo>
                    <a:pt x="13" y="156"/>
                  </a:lnTo>
                  <a:lnTo>
                    <a:pt x="12" y="156"/>
                  </a:lnTo>
                  <a:lnTo>
                    <a:pt x="12" y="154"/>
                  </a:lnTo>
                  <a:lnTo>
                    <a:pt x="10" y="154"/>
                  </a:lnTo>
                  <a:lnTo>
                    <a:pt x="8" y="152"/>
                  </a:lnTo>
                  <a:lnTo>
                    <a:pt x="10" y="152"/>
                  </a:lnTo>
                  <a:lnTo>
                    <a:pt x="8" y="152"/>
                  </a:lnTo>
                  <a:lnTo>
                    <a:pt x="6" y="152"/>
                  </a:lnTo>
                  <a:lnTo>
                    <a:pt x="6" y="150"/>
                  </a:lnTo>
                  <a:lnTo>
                    <a:pt x="4" y="150"/>
                  </a:lnTo>
                  <a:lnTo>
                    <a:pt x="4" y="148"/>
                  </a:lnTo>
                  <a:lnTo>
                    <a:pt x="4" y="146"/>
                  </a:lnTo>
                  <a:lnTo>
                    <a:pt x="2" y="146"/>
                  </a:lnTo>
                  <a:lnTo>
                    <a:pt x="2" y="144"/>
                  </a:lnTo>
                  <a:lnTo>
                    <a:pt x="2" y="143"/>
                  </a:lnTo>
                  <a:lnTo>
                    <a:pt x="0" y="141"/>
                  </a:lnTo>
                  <a:lnTo>
                    <a:pt x="0" y="139"/>
                  </a:lnTo>
                  <a:lnTo>
                    <a:pt x="0" y="137"/>
                  </a:lnTo>
                  <a:lnTo>
                    <a:pt x="0" y="135"/>
                  </a:lnTo>
                  <a:lnTo>
                    <a:pt x="0" y="133"/>
                  </a:lnTo>
                  <a:lnTo>
                    <a:pt x="2" y="133"/>
                  </a:lnTo>
                  <a:lnTo>
                    <a:pt x="4" y="133"/>
                  </a:lnTo>
                  <a:lnTo>
                    <a:pt x="6" y="133"/>
                  </a:lnTo>
                  <a:lnTo>
                    <a:pt x="8" y="133"/>
                  </a:lnTo>
                  <a:lnTo>
                    <a:pt x="10" y="133"/>
                  </a:lnTo>
                  <a:lnTo>
                    <a:pt x="12" y="133"/>
                  </a:lnTo>
                  <a:lnTo>
                    <a:pt x="13" y="131"/>
                  </a:lnTo>
                  <a:lnTo>
                    <a:pt x="15" y="129"/>
                  </a:lnTo>
                  <a:lnTo>
                    <a:pt x="17" y="129"/>
                  </a:lnTo>
                  <a:lnTo>
                    <a:pt x="19" y="127"/>
                  </a:lnTo>
                  <a:lnTo>
                    <a:pt x="21" y="127"/>
                  </a:lnTo>
                  <a:lnTo>
                    <a:pt x="23" y="127"/>
                  </a:lnTo>
                  <a:lnTo>
                    <a:pt x="25" y="127"/>
                  </a:lnTo>
                  <a:lnTo>
                    <a:pt x="35" y="127"/>
                  </a:lnTo>
                  <a:lnTo>
                    <a:pt x="36" y="127"/>
                  </a:lnTo>
                  <a:lnTo>
                    <a:pt x="40" y="127"/>
                  </a:lnTo>
                  <a:lnTo>
                    <a:pt x="48" y="127"/>
                  </a:lnTo>
                  <a:lnTo>
                    <a:pt x="48" y="125"/>
                  </a:lnTo>
                  <a:lnTo>
                    <a:pt x="50" y="125"/>
                  </a:lnTo>
                  <a:lnTo>
                    <a:pt x="50" y="123"/>
                  </a:lnTo>
                  <a:lnTo>
                    <a:pt x="52" y="123"/>
                  </a:lnTo>
                  <a:lnTo>
                    <a:pt x="52" y="121"/>
                  </a:lnTo>
                  <a:lnTo>
                    <a:pt x="54" y="121"/>
                  </a:lnTo>
                  <a:lnTo>
                    <a:pt x="54" y="120"/>
                  </a:lnTo>
                  <a:lnTo>
                    <a:pt x="54" y="118"/>
                  </a:lnTo>
                  <a:lnTo>
                    <a:pt x="56" y="118"/>
                  </a:lnTo>
                  <a:lnTo>
                    <a:pt x="56" y="112"/>
                  </a:lnTo>
                  <a:lnTo>
                    <a:pt x="56" y="108"/>
                  </a:lnTo>
                  <a:lnTo>
                    <a:pt x="56" y="104"/>
                  </a:lnTo>
                  <a:lnTo>
                    <a:pt x="59" y="102"/>
                  </a:lnTo>
                  <a:lnTo>
                    <a:pt x="59" y="87"/>
                  </a:lnTo>
                  <a:lnTo>
                    <a:pt x="59" y="75"/>
                  </a:lnTo>
                  <a:lnTo>
                    <a:pt x="59" y="70"/>
                  </a:lnTo>
                  <a:lnTo>
                    <a:pt x="65" y="68"/>
                  </a:lnTo>
                  <a:lnTo>
                    <a:pt x="83" y="64"/>
                  </a:lnTo>
                  <a:lnTo>
                    <a:pt x="92" y="56"/>
                  </a:lnTo>
                  <a:lnTo>
                    <a:pt x="106" y="43"/>
                  </a:lnTo>
                  <a:lnTo>
                    <a:pt x="113" y="37"/>
                  </a:lnTo>
                  <a:lnTo>
                    <a:pt x="129" y="27"/>
                  </a:lnTo>
                  <a:lnTo>
                    <a:pt x="146" y="16"/>
                  </a:lnTo>
                  <a:lnTo>
                    <a:pt x="157" y="8"/>
                  </a:lnTo>
                  <a:lnTo>
                    <a:pt x="159" y="8"/>
                  </a:lnTo>
                  <a:lnTo>
                    <a:pt x="173" y="0"/>
                  </a:lnTo>
                  <a:lnTo>
                    <a:pt x="188" y="4"/>
                  </a:lnTo>
                  <a:lnTo>
                    <a:pt x="194" y="4"/>
                  </a:lnTo>
                  <a:lnTo>
                    <a:pt x="196" y="6"/>
                  </a:lnTo>
                  <a:lnTo>
                    <a:pt x="198" y="8"/>
                  </a:lnTo>
                  <a:lnTo>
                    <a:pt x="205" y="14"/>
                  </a:lnTo>
                  <a:lnTo>
                    <a:pt x="217" y="8"/>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316">
              <a:extLst>
                <a:ext uri="{FF2B5EF4-FFF2-40B4-BE49-F238E27FC236}">
                  <a16:creationId xmlns:a16="http://schemas.microsoft.com/office/drawing/2014/main" id="{FF20F53F-D614-4949-80AE-37DBDA047233}"/>
                </a:ext>
              </a:extLst>
            </p:cNvPr>
            <p:cNvSpPr>
              <a:spLocks/>
            </p:cNvSpPr>
            <p:nvPr/>
          </p:nvSpPr>
          <p:spPr bwMode="gray">
            <a:xfrm>
              <a:off x="3451085" y="3932403"/>
              <a:ext cx="187636" cy="299236"/>
            </a:xfrm>
            <a:custGeom>
              <a:avLst/>
              <a:gdLst>
                <a:gd name="T0" fmla="*/ 128 w 153"/>
                <a:gd name="T1" fmla="*/ 193 h 244"/>
                <a:gd name="T2" fmla="*/ 128 w 153"/>
                <a:gd name="T3" fmla="*/ 193 h 244"/>
                <a:gd name="T4" fmla="*/ 121 w 153"/>
                <a:gd name="T5" fmla="*/ 196 h 244"/>
                <a:gd name="T6" fmla="*/ 121 w 153"/>
                <a:gd name="T7" fmla="*/ 204 h 244"/>
                <a:gd name="T8" fmla="*/ 115 w 153"/>
                <a:gd name="T9" fmla="*/ 208 h 244"/>
                <a:gd name="T10" fmla="*/ 111 w 153"/>
                <a:gd name="T11" fmla="*/ 212 h 244"/>
                <a:gd name="T12" fmla="*/ 105 w 153"/>
                <a:gd name="T13" fmla="*/ 217 h 244"/>
                <a:gd name="T14" fmla="*/ 100 w 153"/>
                <a:gd name="T15" fmla="*/ 219 h 244"/>
                <a:gd name="T16" fmla="*/ 96 w 153"/>
                <a:gd name="T17" fmla="*/ 219 h 244"/>
                <a:gd name="T18" fmla="*/ 90 w 153"/>
                <a:gd name="T19" fmla="*/ 221 h 244"/>
                <a:gd name="T20" fmla="*/ 80 w 153"/>
                <a:gd name="T21" fmla="*/ 223 h 244"/>
                <a:gd name="T22" fmla="*/ 82 w 153"/>
                <a:gd name="T23" fmla="*/ 229 h 244"/>
                <a:gd name="T24" fmla="*/ 79 w 153"/>
                <a:gd name="T25" fmla="*/ 233 h 244"/>
                <a:gd name="T26" fmla="*/ 75 w 153"/>
                <a:gd name="T27" fmla="*/ 237 h 244"/>
                <a:gd name="T28" fmla="*/ 63 w 153"/>
                <a:gd name="T29" fmla="*/ 237 h 244"/>
                <a:gd name="T30" fmla="*/ 56 w 153"/>
                <a:gd name="T31" fmla="*/ 241 h 244"/>
                <a:gd name="T32" fmla="*/ 50 w 153"/>
                <a:gd name="T33" fmla="*/ 242 h 244"/>
                <a:gd name="T34" fmla="*/ 46 w 153"/>
                <a:gd name="T35" fmla="*/ 242 h 244"/>
                <a:gd name="T36" fmla="*/ 44 w 153"/>
                <a:gd name="T37" fmla="*/ 241 h 244"/>
                <a:gd name="T38" fmla="*/ 42 w 153"/>
                <a:gd name="T39" fmla="*/ 242 h 244"/>
                <a:gd name="T40" fmla="*/ 32 w 153"/>
                <a:gd name="T41" fmla="*/ 244 h 244"/>
                <a:gd name="T42" fmla="*/ 29 w 153"/>
                <a:gd name="T43" fmla="*/ 237 h 244"/>
                <a:gd name="T44" fmla="*/ 25 w 153"/>
                <a:gd name="T45" fmla="*/ 229 h 244"/>
                <a:gd name="T46" fmla="*/ 19 w 153"/>
                <a:gd name="T47" fmla="*/ 223 h 244"/>
                <a:gd name="T48" fmla="*/ 11 w 153"/>
                <a:gd name="T49" fmla="*/ 216 h 244"/>
                <a:gd name="T50" fmla="*/ 9 w 153"/>
                <a:gd name="T51" fmla="*/ 208 h 244"/>
                <a:gd name="T52" fmla="*/ 21 w 153"/>
                <a:gd name="T53" fmla="*/ 208 h 244"/>
                <a:gd name="T54" fmla="*/ 32 w 153"/>
                <a:gd name="T55" fmla="*/ 208 h 244"/>
                <a:gd name="T56" fmla="*/ 27 w 153"/>
                <a:gd name="T57" fmla="*/ 202 h 244"/>
                <a:gd name="T58" fmla="*/ 23 w 153"/>
                <a:gd name="T59" fmla="*/ 194 h 244"/>
                <a:gd name="T60" fmla="*/ 23 w 153"/>
                <a:gd name="T61" fmla="*/ 187 h 244"/>
                <a:gd name="T62" fmla="*/ 25 w 153"/>
                <a:gd name="T63" fmla="*/ 181 h 244"/>
                <a:gd name="T64" fmla="*/ 23 w 153"/>
                <a:gd name="T65" fmla="*/ 175 h 244"/>
                <a:gd name="T66" fmla="*/ 19 w 153"/>
                <a:gd name="T67" fmla="*/ 168 h 244"/>
                <a:gd name="T68" fmla="*/ 15 w 153"/>
                <a:gd name="T69" fmla="*/ 164 h 244"/>
                <a:gd name="T70" fmla="*/ 6 w 153"/>
                <a:gd name="T71" fmla="*/ 156 h 244"/>
                <a:gd name="T72" fmla="*/ 0 w 153"/>
                <a:gd name="T73" fmla="*/ 141 h 244"/>
                <a:gd name="T74" fmla="*/ 4 w 153"/>
                <a:gd name="T75" fmla="*/ 135 h 244"/>
                <a:gd name="T76" fmla="*/ 23 w 153"/>
                <a:gd name="T77" fmla="*/ 112 h 244"/>
                <a:gd name="T78" fmla="*/ 32 w 153"/>
                <a:gd name="T79" fmla="*/ 56 h 244"/>
                <a:gd name="T80" fmla="*/ 31 w 153"/>
                <a:gd name="T81" fmla="*/ 41 h 244"/>
                <a:gd name="T82" fmla="*/ 25 w 153"/>
                <a:gd name="T83" fmla="*/ 18 h 244"/>
                <a:gd name="T84" fmla="*/ 82 w 153"/>
                <a:gd name="T85" fmla="*/ 23 h 244"/>
                <a:gd name="T86" fmla="*/ 153 w 153"/>
                <a:gd name="T87" fmla="*/ 68 h 244"/>
                <a:gd name="T88" fmla="*/ 153 w 153"/>
                <a:gd name="T89" fmla="*/ 114 h 244"/>
                <a:gd name="T90" fmla="*/ 144 w 153"/>
                <a:gd name="T91" fmla="*/ 121 h 244"/>
                <a:gd name="T92" fmla="*/ 140 w 153"/>
                <a:gd name="T93" fmla="*/ 125 h 244"/>
                <a:gd name="T94" fmla="*/ 136 w 153"/>
                <a:gd name="T95" fmla="*/ 133 h 244"/>
                <a:gd name="T96" fmla="*/ 134 w 153"/>
                <a:gd name="T97" fmla="*/ 137 h 244"/>
                <a:gd name="T98" fmla="*/ 130 w 153"/>
                <a:gd name="T99" fmla="*/ 143 h 244"/>
                <a:gd name="T100" fmla="*/ 127 w 153"/>
                <a:gd name="T101" fmla="*/ 150 h 244"/>
                <a:gd name="T102" fmla="*/ 127 w 153"/>
                <a:gd name="T103" fmla="*/ 158 h 244"/>
                <a:gd name="T104" fmla="*/ 123 w 153"/>
                <a:gd name="T105" fmla="*/ 162 h 244"/>
                <a:gd name="T106" fmla="*/ 128 w 153"/>
                <a:gd name="T107" fmla="*/ 168 h 244"/>
                <a:gd name="T108" fmla="*/ 130 w 153"/>
                <a:gd name="T109" fmla="*/ 169 h 244"/>
                <a:gd name="T110" fmla="*/ 132 w 153"/>
                <a:gd name="T111" fmla="*/ 175 h 244"/>
                <a:gd name="T112" fmla="*/ 132 w 153"/>
                <a:gd name="T113" fmla="*/ 183 h 244"/>
                <a:gd name="T114" fmla="*/ 138 w 153"/>
                <a:gd name="T115" fmla="*/ 18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 h="244">
                  <a:moveTo>
                    <a:pt x="138" y="193"/>
                  </a:moveTo>
                  <a:lnTo>
                    <a:pt x="136" y="193"/>
                  </a:lnTo>
                  <a:lnTo>
                    <a:pt x="134" y="193"/>
                  </a:lnTo>
                  <a:lnTo>
                    <a:pt x="132" y="193"/>
                  </a:lnTo>
                  <a:lnTo>
                    <a:pt x="130" y="193"/>
                  </a:lnTo>
                  <a:lnTo>
                    <a:pt x="128" y="193"/>
                  </a:lnTo>
                  <a:lnTo>
                    <a:pt x="130" y="193"/>
                  </a:lnTo>
                  <a:lnTo>
                    <a:pt x="128" y="193"/>
                  </a:lnTo>
                  <a:lnTo>
                    <a:pt x="128" y="194"/>
                  </a:lnTo>
                  <a:lnTo>
                    <a:pt x="128" y="193"/>
                  </a:lnTo>
                  <a:lnTo>
                    <a:pt x="128" y="194"/>
                  </a:lnTo>
                  <a:lnTo>
                    <a:pt x="128" y="193"/>
                  </a:lnTo>
                  <a:lnTo>
                    <a:pt x="128" y="194"/>
                  </a:lnTo>
                  <a:lnTo>
                    <a:pt x="127" y="194"/>
                  </a:lnTo>
                  <a:lnTo>
                    <a:pt x="125" y="194"/>
                  </a:lnTo>
                  <a:lnTo>
                    <a:pt x="123" y="194"/>
                  </a:lnTo>
                  <a:lnTo>
                    <a:pt x="123" y="196"/>
                  </a:lnTo>
                  <a:lnTo>
                    <a:pt x="121" y="196"/>
                  </a:lnTo>
                  <a:lnTo>
                    <a:pt x="121" y="198"/>
                  </a:lnTo>
                  <a:lnTo>
                    <a:pt x="121" y="200"/>
                  </a:lnTo>
                  <a:lnTo>
                    <a:pt x="121" y="202"/>
                  </a:lnTo>
                  <a:lnTo>
                    <a:pt x="121" y="204"/>
                  </a:lnTo>
                  <a:lnTo>
                    <a:pt x="119" y="204"/>
                  </a:lnTo>
                  <a:lnTo>
                    <a:pt x="121" y="204"/>
                  </a:lnTo>
                  <a:lnTo>
                    <a:pt x="119" y="204"/>
                  </a:lnTo>
                  <a:lnTo>
                    <a:pt x="117" y="204"/>
                  </a:lnTo>
                  <a:lnTo>
                    <a:pt x="117" y="206"/>
                  </a:lnTo>
                  <a:lnTo>
                    <a:pt x="115" y="206"/>
                  </a:lnTo>
                  <a:lnTo>
                    <a:pt x="117" y="208"/>
                  </a:lnTo>
                  <a:lnTo>
                    <a:pt x="115" y="208"/>
                  </a:lnTo>
                  <a:lnTo>
                    <a:pt x="113" y="208"/>
                  </a:lnTo>
                  <a:lnTo>
                    <a:pt x="113" y="210"/>
                  </a:lnTo>
                  <a:lnTo>
                    <a:pt x="111" y="210"/>
                  </a:lnTo>
                  <a:lnTo>
                    <a:pt x="111" y="212"/>
                  </a:lnTo>
                  <a:lnTo>
                    <a:pt x="111" y="210"/>
                  </a:lnTo>
                  <a:lnTo>
                    <a:pt x="111" y="212"/>
                  </a:lnTo>
                  <a:lnTo>
                    <a:pt x="109" y="212"/>
                  </a:lnTo>
                  <a:lnTo>
                    <a:pt x="109" y="214"/>
                  </a:lnTo>
                  <a:lnTo>
                    <a:pt x="107" y="214"/>
                  </a:lnTo>
                  <a:lnTo>
                    <a:pt x="107" y="216"/>
                  </a:lnTo>
                  <a:lnTo>
                    <a:pt x="105" y="216"/>
                  </a:lnTo>
                  <a:lnTo>
                    <a:pt x="105" y="217"/>
                  </a:lnTo>
                  <a:lnTo>
                    <a:pt x="103" y="217"/>
                  </a:lnTo>
                  <a:lnTo>
                    <a:pt x="103" y="219"/>
                  </a:lnTo>
                  <a:lnTo>
                    <a:pt x="102" y="219"/>
                  </a:lnTo>
                  <a:lnTo>
                    <a:pt x="100" y="219"/>
                  </a:lnTo>
                  <a:lnTo>
                    <a:pt x="100" y="221"/>
                  </a:lnTo>
                  <a:lnTo>
                    <a:pt x="100" y="219"/>
                  </a:lnTo>
                  <a:lnTo>
                    <a:pt x="100" y="221"/>
                  </a:lnTo>
                  <a:lnTo>
                    <a:pt x="100" y="219"/>
                  </a:lnTo>
                  <a:lnTo>
                    <a:pt x="100" y="221"/>
                  </a:lnTo>
                  <a:lnTo>
                    <a:pt x="100" y="219"/>
                  </a:lnTo>
                  <a:lnTo>
                    <a:pt x="98" y="219"/>
                  </a:lnTo>
                  <a:lnTo>
                    <a:pt x="96" y="219"/>
                  </a:lnTo>
                  <a:lnTo>
                    <a:pt x="98" y="219"/>
                  </a:lnTo>
                  <a:lnTo>
                    <a:pt x="96" y="219"/>
                  </a:lnTo>
                  <a:lnTo>
                    <a:pt x="96" y="221"/>
                  </a:lnTo>
                  <a:lnTo>
                    <a:pt x="94" y="221"/>
                  </a:lnTo>
                  <a:lnTo>
                    <a:pt x="92" y="221"/>
                  </a:lnTo>
                  <a:lnTo>
                    <a:pt x="90" y="221"/>
                  </a:lnTo>
                  <a:lnTo>
                    <a:pt x="88" y="221"/>
                  </a:lnTo>
                  <a:lnTo>
                    <a:pt x="86" y="221"/>
                  </a:lnTo>
                  <a:lnTo>
                    <a:pt x="84" y="221"/>
                  </a:lnTo>
                  <a:lnTo>
                    <a:pt x="82" y="221"/>
                  </a:lnTo>
                  <a:lnTo>
                    <a:pt x="80" y="221"/>
                  </a:lnTo>
                  <a:lnTo>
                    <a:pt x="80" y="223"/>
                  </a:lnTo>
                  <a:lnTo>
                    <a:pt x="79" y="223"/>
                  </a:lnTo>
                  <a:lnTo>
                    <a:pt x="79" y="225"/>
                  </a:lnTo>
                  <a:lnTo>
                    <a:pt x="80" y="225"/>
                  </a:lnTo>
                  <a:lnTo>
                    <a:pt x="80" y="227"/>
                  </a:lnTo>
                  <a:lnTo>
                    <a:pt x="82" y="227"/>
                  </a:lnTo>
                  <a:lnTo>
                    <a:pt x="82" y="229"/>
                  </a:lnTo>
                  <a:lnTo>
                    <a:pt x="80" y="229"/>
                  </a:lnTo>
                  <a:lnTo>
                    <a:pt x="82" y="229"/>
                  </a:lnTo>
                  <a:lnTo>
                    <a:pt x="80" y="229"/>
                  </a:lnTo>
                  <a:lnTo>
                    <a:pt x="80" y="231"/>
                  </a:lnTo>
                  <a:lnTo>
                    <a:pt x="79" y="231"/>
                  </a:lnTo>
                  <a:lnTo>
                    <a:pt x="79" y="233"/>
                  </a:lnTo>
                  <a:lnTo>
                    <a:pt x="79" y="231"/>
                  </a:lnTo>
                  <a:lnTo>
                    <a:pt x="79" y="233"/>
                  </a:lnTo>
                  <a:lnTo>
                    <a:pt x="77" y="233"/>
                  </a:lnTo>
                  <a:lnTo>
                    <a:pt x="77" y="235"/>
                  </a:lnTo>
                  <a:lnTo>
                    <a:pt x="75" y="235"/>
                  </a:lnTo>
                  <a:lnTo>
                    <a:pt x="75" y="237"/>
                  </a:lnTo>
                  <a:lnTo>
                    <a:pt x="73" y="237"/>
                  </a:lnTo>
                  <a:lnTo>
                    <a:pt x="71" y="237"/>
                  </a:lnTo>
                  <a:lnTo>
                    <a:pt x="69" y="237"/>
                  </a:lnTo>
                  <a:lnTo>
                    <a:pt x="67" y="237"/>
                  </a:lnTo>
                  <a:lnTo>
                    <a:pt x="65" y="237"/>
                  </a:lnTo>
                  <a:lnTo>
                    <a:pt x="63" y="237"/>
                  </a:lnTo>
                  <a:lnTo>
                    <a:pt x="61" y="237"/>
                  </a:lnTo>
                  <a:lnTo>
                    <a:pt x="61" y="239"/>
                  </a:lnTo>
                  <a:lnTo>
                    <a:pt x="59" y="239"/>
                  </a:lnTo>
                  <a:lnTo>
                    <a:pt x="57" y="239"/>
                  </a:lnTo>
                  <a:lnTo>
                    <a:pt x="56" y="239"/>
                  </a:lnTo>
                  <a:lnTo>
                    <a:pt x="56" y="241"/>
                  </a:lnTo>
                  <a:lnTo>
                    <a:pt x="54" y="241"/>
                  </a:lnTo>
                  <a:lnTo>
                    <a:pt x="54" y="242"/>
                  </a:lnTo>
                  <a:lnTo>
                    <a:pt x="54" y="241"/>
                  </a:lnTo>
                  <a:lnTo>
                    <a:pt x="54" y="242"/>
                  </a:lnTo>
                  <a:lnTo>
                    <a:pt x="52" y="242"/>
                  </a:lnTo>
                  <a:lnTo>
                    <a:pt x="50" y="242"/>
                  </a:lnTo>
                  <a:lnTo>
                    <a:pt x="50" y="244"/>
                  </a:lnTo>
                  <a:lnTo>
                    <a:pt x="50" y="242"/>
                  </a:lnTo>
                  <a:lnTo>
                    <a:pt x="50" y="244"/>
                  </a:lnTo>
                  <a:lnTo>
                    <a:pt x="48" y="244"/>
                  </a:lnTo>
                  <a:lnTo>
                    <a:pt x="48" y="242"/>
                  </a:lnTo>
                  <a:lnTo>
                    <a:pt x="46" y="242"/>
                  </a:lnTo>
                  <a:lnTo>
                    <a:pt x="46" y="241"/>
                  </a:lnTo>
                  <a:lnTo>
                    <a:pt x="46" y="239"/>
                  </a:lnTo>
                  <a:lnTo>
                    <a:pt x="44" y="239"/>
                  </a:lnTo>
                  <a:lnTo>
                    <a:pt x="44" y="241"/>
                  </a:lnTo>
                  <a:lnTo>
                    <a:pt x="42" y="241"/>
                  </a:lnTo>
                  <a:lnTo>
                    <a:pt x="44" y="241"/>
                  </a:lnTo>
                  <a:lnTo>
                    <a:pt x="42" y="241"/>
                  </a:lnTo>
                  <a:lnTo>
                    <a:pt x="44" y="241"/>
                  </a:lnTo>
                  <a:lnTo>
                    <a:pt x="42" y="241"/>
                  </a:lnTo>
                  <a:lnTo>
                    <a:pt x="42" y="242"/>
                  </a:lnTo>
                  <a:lnTo>
                    <a:pt x="40" y="242"/>
                  </a:lnTo>
                  <a:lnTo>
                    <a:pt x="42" y="242"/>
                  </a:lnTo>
                  <a:lnTo>
                    <a:pt x="40" y="242"/>
                  </a:lnTo>
                  <a:lnTo>
                    <a:pt x="38" y="242"/>
                  </a:lnTo>
                  <a:lnTo>
                    <a:pt x="38" y="244"/>
                  </a:lnTo>
                  <a:lnTo>
                    <a:pt x="36" y="244"/>
                  </a:lnTo>
                  <a:lnTo>
                    <a:pt x="34" y="244"/>
                  </a:lnTo>
                  <a:lnTo>
                    <a:pt x="32" y="244"/>
                  </a:lnTo>
                  <a:lnTo>
                    <a:pt x="31" y="244"/>
                  </a:lnTo>
                  <a:lnTo>
                    <a:pt x="31" y="242"/>
                  </a:lnTo>
                  <a:lnTo>
                    <a:pt x="31" y="241"/>
                  </a:lnTo>
                  <a:lnTo>
                    <a:pt x="29" y="241"/>
                  </a:lnTo>
                  <a:lnTo>
                    <a:pt x="29" y="239"/>
                  </a:lnTo>
                  <a:lnTo>
                    <a:pt x="29" y="237"/>
                  </a:lnTo>
                  <a:lnTo>
                    <a:pt x="29" y="235"/>
                  </a:lnTo>
                  <a:lnTo>
                    <a:pt x="27" y="235"/>
                  </a:lnTo>
                  <a:lnTo>
                    <a:pt x="27" y="233"/>
                  </a:lnTo>
                  <a:lnTo>
                    <a:pt x="27" y="231"/>
                  </a:lnTo>
                  <a:lnTo>
                    <a:pt x="27" y="229"/>
                  </a:lnTo>
                  <a:lnTo>
                    <a:pt x="25" y="229"/>
                  </a:lnTo>
                  <a:lnTo>
                    <a:pt x="25" y="227"/>
                  </a:lnTo>
                  <a:lnTo>
                    <a:pt x="23" y="227"/>
                  </a:lnTo>
                  <a:lnTo>
                    <a:pt x="23" y="225"/>
                  </a:lnTo>
                  <a:lnTo>
                    <a:pt x="21" y="225"/>
                  </a:lnTo>
                  <a:lnTo>
                    <a:pt x="19" y="225"/>
                  </a:lnTo>
                  <a:lnTo>
                    <a:pt x="19" y="223"/>
                  </a:lnTo>
                  <a:lnTo>
                    <a:pt x="17" y="223"/>
                  </a:lnTo>
                  <a:lnTo>
                    <a:pt x="15" y="221"/>
                  </a:lnTo>
                  <a:lnTo>
                    <a:pt x="13" y="219"/>
                  </a:lnTo>
                  <a:lnTo>
                    <a:pt x="13" y="217"/>
                  </a:lnTo>
                  <a:lnTo>
                    <a:pt x="11" y="217"/>
                  </a:lnTo>
                  <a:lnTo>
                    <a:pt x="11" y="216"/>
                  </a:lnTo>
                  <a:lnTo>
                    <a:pt x="9" y="216"/>
                  </a:lnTo>
                  <a:lnTo>
                    <a:pt x="9" y="214"/>
                  </a:lnTo>
                  <a:lnTo>
                    <a:pt x="8" y="214"/>
                  </a:lnTo>
                  <a:lnTo>
                    <a:pt x="8" y="212"/>
                  </a:lnTo>
                  <a:lnTo>
                    <a:pt x="9" y="210"/>
                  </a:lnTo>
                  <a:lnTo>
                    <a:pt x="9" y="208"/>
                  </a:lnTo>
                  <a:lnTo>
                    <a:pt x="11" y="208"/>
                  </a:lnTo>
                  <a:lnTo>
                    <a:pt x="13" y="208"/>
                  </a:lnTo>
                  <a:lnTo>
                    <a:pt x="15" y="208"/>
                  </a:lnTo>
                  <a:lnTo>
                    <a:pt x="17" y="208"/>
                  </a:lnTo>
                  <a:lnTo>
                    <a:pt x="19" y="208"/>
                  </a:lnTo>
                  <a:lnTo>
                    <a:pt x="21" y="208"/>
                  </a:lnTo>
                  <a:lnTo>
                    <a:pt x="23" y="208"/>
                  </a:lnTo>
                  <a:lnTo>
                    <a:pt x="25" y="208"/>
                  </a:lnTo>
                  <a:lnTo>
                    <a:pt x="27" y="208"/>
                  </a:lnTo>
                  <a:lnTo>
                    <a:pt x="29" y="208"/>
                  </a:lnTo>
                  <a:lnTo>
                    <a:pt x="31" y="208"/>
                  </a:lnTo>
                  <a:lnTo>
                    <a:pt x="32" y="208"/>
                  </a:lnTo>
                  <a:lnTo>
                    <a:pt x="32" y="206"/>
                  </a:lnTo>
                  <a:lnTo>
                    <a:pt x="31" y="206"/>
                  </a:lnTo>
                  <a:lnTo>
                    <a:pt x="29" y="206"/>
                  </a:lnTo>
                  <a:lnTo>
                    <a:pt x="29" y="204"/>
                  </a:lnTo>
                  <a:lnTo>
                    <a:pt x="27" y="204"/>
                  </a:lnTo>
                  <a:lnTo>
                    <a:pt x="27" y="202"/>
                  </a:lnTo>
                  <a:lnTo>
                    <a:pt x="27" y="200"/>
                  </a:lnTo>
                  <a:lnTo>
                    <a:pt x="25" y="200"/>
                  </a:lnTo>
                  <a:lnTo>
                    <a:pt x="25" y="198"/>
                  </a:lnTo>
                  <a:lnTo>
                    <a:pt x="25" y="196"/>
                  </a:lnTo>
                  <a:lnTo>
                    <a:pt x="23" y="196"/>
                  </a:lnTo>
                  <a:lnTo>
                    <a:pt x="23" y="194"/>
                  </a:lnTo>
                  <a:lnTo>
                    <a:pt x="23" y="193"/>
                  </a:lnTo>
                  <a:lnTo>
                    <a:pt x="23" y="191"/>
                  </a:lnTo>
                  <a:lnTo>
                    <a:pt x="25" y="191"/>
                  </a:lnTo>
                  <a:lnTo>
                    <a:pt x="23" y="191"/>
                  </a:lnTo>
                  <a:lnTo>
                    <a:pt x="23" y="189"/>
                  </a:lnTo>
                  <a:lnTo>
                    <a:pt x="23" y="187"/>
                  </a:lnTo>
                  <a:lnTo>
                    <a:pt x="23" y="185"/>
                  </a:lnTo>
                  <a:lnTo>
                    <a:pt x="25" y="185"/>
                  </a:lnTo>
                  <a:lnTo>
                    <a:pt x="25" y="183"/>
                  </a:lnTo>
                  <a:lnTo>
                    <a:pt x="23" y="183"/>
                  </a:lnTo>
                  <a:lnTo>
                    <a:pt x="23" y="181"/>
                  </a:lnTo>
                  <a:lnTo>
                    <a:pt x="25" y="181"/>
                  </a:lnTo>
                  <a:lnTo>
                    <a:pt x="23" y="181"/>
                  </a:lnTo>
                  <a:lnTo>
                    <a:pt x="25" y="181"/>
                  </a:lnTo>
                  <a:lnTo>
                    <a:pt x="23" y="181"/>
                  </a:lnTo>
                  <a:lnTo>
                    <a:pt x="23" y="179"/>
                  </a:lnTo>
                  <a:lnTo>
                    <a:pt x="23" y="177"/>
                  </a:lnTo>
                  <a:lnTo>
                    <a:pt x="23" y="175"/>
                  </a:lnTo>
                  <a:lnTo>
                    <a:pt x="21" y="175"/>
                  </a:lnTo>
                  <a:lnTo>
                    <a:pt x="21" y="173"/>
                  </a:lnTo>
                  <a:lnTo>
                    <a:pt x="21" y="171"/>
                  </a:lnTo>
                  <a:lnTo>
                    <a:pt x="21" y="169"/>
                  </a:lnTo>
                  <a:lnTo>
                    <a:pt x="19" y="169"/>
                  </a:lnTo>
                  <a:lnTo>
                    <a:pt x="19" y="168"/>
                  </a:lnTo>
                  <a:lnTo>
                    <a:pt x="17" y="168"/>
                  </a:lnTo>
                  <a:lnTo>
                    <a:pt x="19" y="168"/>
                  </a:lnTo>
                  <a:lnTo>
                    <a:pt x="17" y="168"/>
                  </a:lnTo>
                  <a:lnTo>
                    <a:pt x="17" y="166"/>
                  </a:lnTo>
                  <a:lnTo>
                    <a:pt x="15" y="166"/>
                  </a:lnTo>
                  <a:lnTo>
                    <a:pt x="15" y="164"/>
                  </a:lnTo>
                  <a:lnTo>
                    <a:pt x="15" y="162"/>
                  </a:lnTo>
                  <a:lnTo>
                    <a:pt x="13" y="162"/>
                  </a:lnTo>
                  <a:lnTo>
                    <a:pt x="11" y="162"/>
                  </a:lnTo>
                  <a:lnTo>
                    <a:pt x="9" y="162"/>
                  </a:lnTo>
                  <a:lnTo>
                    <a:pt x="8" y="160"/>
                  </a:lnTo>
                  <a:lnTo>
                    <a:pt x="6" y="156"/>
                  </a:lnTo>
                  <a:lnTo>
                    <a:pt x="4" y="154"/>
                  </a:lnTo>
                  <a:lnTo>
                    <a:pt x="2" y="152"/>
                  </a:lnTo>
                  <a:lnTo>
                    <a:pt x="2" y="148"/>
                  </a:lnTo>
                  <a:lnTo>
                    <a:pt x="2" y="144"/>
                  </a:lnTo>
                  <a:lnTo>
                    <a:pt x="0" y="143"/>
                  </a:lnTo>
                  <a:lnTo>
                    <a:pt x="0" y="141"/>
                  </a:lnTo>
                  <a:lnTo>
                    <a:pt x="2" y="141"/>
                  </a:lnTo>
                  <a:lnTo>
                    <a:pt x="2" y="139"/>
                  </a:lnTo>
                  <a:lnTo>
                    <a:pt x="4" y="139"/>
                  </a:lnTo>
                  <a:lnTo>
                    <a:pt x="4" y="137"/>
                  </a:lnTo>
                  <a:lnTo>
                    <a:pt x="6" y="137"/>
                  </a:lnTo>
                  <a:lnTo>
                    <a:pt x="4" y="135"/>
                  </a:lnTo>
                  <a:lnTo>
                    <a:pt x="6" y="135"/>
                  </a:lnTo>
                  <a:lnTo>
                    <a:pt x="6" y="131"/>
                  </a:lnTo>
                  <a:lnTo>
                    <a:pt x="8" y="129"/>
                  </a:lnTo>
                  <a:lnTo>
                    <a:pt x="9" y="127"/>
                  </a:lnTo>
                  <a:lnTo>
                    <a:pt x="13" y="121"/>
                  </a:lnTo>
                  <a:lnTo>
                    <a:pt x="23" y="112"/>
                  </a:lnTo>
                  <a:lnTo>
                    <a:pt x="29" y="104"/>
                  </a:lnTo>
                  <a:lnTo>
                    <a:pt x="31" y="104"/>
                  </a:lnTo>
                  <a:lnTo>
                    <a:pt x="31" y="100"/>
                  </a:lnTo>
                  <a:lnTo>
                    <a:pt x="31" y="87"/>
                  </a:lnTo>
                  <a:lnTo>
                    <a:pt x="31" y="75"/>
                  </a:lnTo>
                  <a:lnTo>
                    <a:pt x="32" y="56"/>
                  </a:lnTo>
                  <a:lnTo>
                    <a:pt x="36" y="50"/>
                  </a:lnTo>
                  <a:lnTo>
                    <a:pt x="34" y="48"/>
                  </a:lnTo>
                  <a:lnTo>
                    <a:pt x="32" y="47"/>
                  </a:lnTo>
                  <a:lnTo>
                    <a:pt x="32" y="45"/>
                  </a:lnTo>
                  <a:lnTo>
                    <a:pt x="31" y="43"/>
                  </a:lnTo>
                  <a:lnTo>
                    <a:pt x="31" y="41"/>
                  </a:lnTo>
                  <a:lnTo>
                    <a:pt x="29" y="37"/>
                  </a:lnTo>
                  <a:lnTo>
                    <a:pt x="27" y="35"/>
                  </a:lnTo>
                  <a:lnTo>
                    <a:pt x="27" y="33"/>
                  </a:lnTo>
                  <a:lnTo>
                    <a:pt x="25" y="33"/>
                  </a:lnTo>
                  <a:lnTo>
                    <a:pt x="25" y="23"/>
                  </a:lnTo>
                  <a:lnTo>
                    <a:pt x="25" y="18"/>
                  </a:lnTo>
                  <a:lnTo>
                    <a:pt x="23" y="8"/>
                  </a:lnTo>
                  <a:lnTo>
                    <a:pt x="25" y="8"/>
                  </a:lnTo>
                  <a:lnTo>
                    <a:pt x="36" y="0"/>
                  </a:lnTo>
                  <a:lnTo>
                    <a:pt x="50" y="8"/>
                  </a:lnTo>
                  <a:lnTo>
                    <a:pt x="65" y="16"/>
                  </a:lnTo>
                  <a:lnTo>
                    <a:pt x="82" y="23"/>
                  </a:lnTo>
                  <a:lnTo>
                    <a:pt x="94" y="31"/>
                  </a:lnTo>
                  <a:lnTo>
                    <a:pt x="107" y="37"/>
                  </a:lnTo>
                  <a:lnTo>
                    <a:pt x="109" y="39"/>
                  </a:lnTo>
                  <a:lnTo>
                    <a:pt x="127" y="48"/>
                  </a:lnTo>
                  <a:lnTo>
                    <a:pt x="153" y="64"/>
                  </a:lnTo>
                  <a:lnTo>
                    <a:pt x="153" y="68"/>
                  </a:lnTo>
                  <a:lnTo>
                    <a:pt x="153" y="77"/>
                  </a:lnTo>
                  <a:lnTo>
                    <a:pt x="153" y="89"/>
                  </a:lnTo>
                  <a:lnTo>
                    <a:pt x="153" y="102"/>
                  </a:lnTo>
                  <a:lnTo>
                    <a:pt x="153" y="108"/>
                  </a:lnTo>
                  <a:lnTo>
                    <a:pt x="153" y="110"/>
                  </a:lnTo>
                  <a:lnTo>
                    <a:pt x="153" y="114"/>
                  </a:lnTo>
                  <a:lnTo>
                    <a:pt x="153" y="121"/>
                  </a:lnTo>
                  <a:lnTo>
                    <a:pt x="151" y="121"/>
                  </a:lnTo>
                  <a:lnTo>
                    <a:pt x="150" y="121"/>
                  </a:lnTo>
                  <a:lnTo>
                    <a:pt x="148" y="121"/>
                  </a:lnTo>
                  <a:lnTo>
                    <a:pt x="146" y="121"/>
                  </a:lnTo>
                  <a:lnTo>
                    <a:pt x="144" y="121"/>
                  </a:lnTo>
                  <a:lnTo>
                    <a:pt x="142" y="121"/>
                  </a:lnTo>
                  <a:lnTo>
                    <a:pt x="140" y="121"/>
                  </a:lnTo>
                  <a:lnTo>
                    <a:pt x="140" y="123"/>
                  </a:lnTo>
                  <a:lnTo>
                    <a:pt x="138" y="123"/>
                  </a:lnTo>
                  <a:lnTo>
                    <a:pt x="138" y="125"/>
                  </a:lnTo>
                  <a:lnTo>
                    <a:pt x="140" y="125"/>
                  </a:lnTo>
                  <a:lnTo>
                    <a:pt x="140" y="127"/>
                  </a:lnTo>
                  <a:lnTo>
                    <a:pt x="140" y="129"/>
                  </a:lnTo>
                  <a:lnTo>
                    <a:pt x="138" y="129"/>
                  </a:lnTo>
                  <a:lnTo>
                    <a:pt x="138" y="131"/>
                  </a:lnTo>
                  <a:lnTo>
                    <a:pt x="136" y="131"/>
                  </a:lnTo>
                  <a:lnTo>
                    <a:pt x="136" y="133"/>
                  </a:lnTo>
                  <a:lnTo>
                    <a:pt x="136" y="135"/>
                  </a:lnTo>
                  <a:lnTo>
                    <a:pt x="136" y="133"/>
                  </a:lnTo>
                  <a:lnTo>
                    <a:pt x="134" y="135"/>
                  </a:lnTo>
                  <a:lnTo>
                    <a:pt x="134" y="137"/>
                  </a:lnTo>
                  <a:lnTo>
                    <a:pt x="136" y="137"/>
                  </a:lnTo>
                  <a:lnTo>
                    <a:pt x="134" y="137"/>
                  </a:lnTo>
                  <a:lnTo>
                    <a:pt x="132" y="139"/>
                  </a:lnTo>
                  <a:lnTo>
                    <a:pt x="130" y="139"/>
                  </a:lnTo>
                  <a:lnTo>
                    <a:pt x="130" y="141"/>
                  </a:lnTo>
                  <a:lnTo>
                    <a:pt x="130" y="143"/>
                  </a:lnTo>
                  <a:lnTo>
                    <a:pt x="132" y="143"/>
                  </a:lnTo>
                  <a:lnTo>
                    <a:pt x="130" y="143"/>
                  </a:lnTo>
                  <a:lnTo>
                    <a:pt x="132" y="144"/>
                  </a:lnTo>
                  <a:lnTo>
                    <a:pt x="132" y="146"/>
                  </a:lnTo>
                  <a:lnTo>
                    <a:pt x="130" y="146"/>
                  </a:lnTo>
                  <a:lnTo>
                    <a:pt x="128" y="148"/>
                  </a:lnTo>
                  <a:lnTo>
                    <a:pt x="127" y="148"/>
                  </a:lnTo>
                  <a:lnTo>
                    <a:pt x="127" y="150"/>
                  </a:lnTo>
                  <a:lnTo>
                    <a:pt x="127" y="152"/>
                  </a:lnTo>
                  <a:lnTo>
                    <a:pt x="127" y="154"/>
                  </a:lnTo>
                  <a:lnTo>
                    <a:pt x="128" y="154"/>
                  </a:lnTo>
                  <a:lnTo>
                    <a:pt x="128" y="156"/>
                  </a:lnTo>
                  <a:lnTo>
                    <a:pt x="128" y="158"/>
                  </a:lnTo>
                  <a:lnTo>
                    <a:pt x="127" y="158"/>
                  </a:lnTo>
                  <a:lnTo>
                    <a:pt x="127" y="160"/>
                  </a:lnTo>
                  <a:lnTo>
                    <a:pt x="125" y="160"/>
                  </a:lnTo>
                  <a:lnTo>
                    <a:pt x="125" y="162"/>
                  </a:lnTo>
                  <a:lnTo>
                    <a:pt x="123" y="162"/>
                  </a:lnTo>
                  <a:lnTo>
                    <a:pt x="125" y="162"/>
                  </a:lnTo>
                  <a:lnTo>
                    <a:pt x="123" y="162"/>
                  </a:lnTo>
                  <a:lnTo>
                    <a:pt x="123" y="164"/>
                  </a:lnTo>
                  <a:lnTo>
                    <a:pt x="123" y="166"/>
                  </a:lnTo>
                  <a:lnTo>
                    <a:pt x="123" y="168"/>
                  </a:lnTo>
                  <a:lnTo>
                    <a:pt x="125" y="168"/>
                  </a:lnTo>
                  <a:lnTo>
                    <a:pt x="127" y="168"/>
                  </a:lnTo>
                  <a:lnTo>
                    <a:pt x="128" y="168"/>
                  </a:lnTo>
                  <a:lnTo>
                    <a:pt x="128" y="166"/>
                  </a:lnTo>
                  <a:lnTo>
                    <a:pt x="128" y="168"/>
                  </a:lnTo>
                  <a:lnTo>
                    <a:pt x="130" y="168"/>
                  </a:lnTo>
                  <a:lnTo>
                    <a:pt x="132" y="168"/>
                  </a:lnTo>
                  <a:lnTo>
                    <a:pt x="130" y="168"/>
                  </a:lnTo>
                  <a:lnTo>
                    <a:pt x="130" y="169"/>
                  </a:lnTo>
                  <a:lnTo>
                    <a:pt x="130" y="171"/>
                  </a:lnTo>
                  <a:lnTo>
                    <a:pt x="130" y="173"/>
                  </a:lnTo>
                  <a:lnTo>
                    <a:pt x="132" y="173"/>
                  </a:lnTo>
                  <a:lnTo>
                    <a:pt x="130" y="173"/>
                  </a:lnTo>
                  <a:lnTo>
                    <a:pt x="132" y="173"/>
                  </a:lnTo>
                  <a:lnTo>
                    <a:pt x="132" y="175"/>
                  </a:lnTo>
                  <a:lnTo>
                    <a:pt x="132" y="177"/>
                  </a:lnTo>
                  <a:lnTo>
                    <a:pt x="134" y="177"/>
                  </a:lnTo>
                  <a:lnTo>
                    <a:pt x="134" y="179"/>
                  </a:lnTo>
                  <a:lnTo>
                    <a:pt x="134" y="181"/>
                  </a:lnTo>
                  <a:lnTo>
                    <a:pt x="132" y="181"/>
                  </a:lnTo>
                  <a:lnTo>
                    <a:pt x="132" y="183"/>
                  </a:lnTo>
                  <a:lnTo>
                    <a:pt x="134" y="183"/>
                  </a:lnTo>
                  <a:lnTo>
                    <a:pt x="134" y="185"/>
                  </a:lnTo>
                  <a:lnTo>
                    <a:pt x="136" y="185"/>
                  </a:lnTo>
                  <a:lnTo>
                    <a:pt x="136" y="187"/>
                  </a:lnTo>
                  <a:lnTo>
                    <a:pt x="138" y="187"/>
                  </a:lnTo>
                  <a:lnTo>
                    <a:pt x="138" y="189"/>
                  </a:lnTo>
                  <a:lnTo>
                    <a:pt x="140" y="189"/>
                  </a:lnTo>
                  <a:lnTo>
                    <a:pt x="140" y="191"/>
                  </a:lnTo>
                  <a:lnTo>
                    <a:pt x="138" y="191"/>
                  </a:lnTo>
                  <a:lnTo>
                    <a:pt x="138" y="19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317">
              <a:extLst>
                <a:ext uri="{FF2B5EF4-FFF2-40B4-BE49-F238E27FC236}">
                  <a16:creationId xmlns:a16="http://schemas.microsoft.com/office/drawing/2014/main" id="{2797B670-F3CB-425B-B69A-F4D71856BC5F}"/>
                </a:ext>
              </a:extLst>
            </p:cNvPr>
            <p:cNvSpPr>
              <a:spLocks noEditPoints="1"/>
            </p:cNvSpPr>
            <p:nvPr/>
          </p:nvSpPr>
          <p:spPr bwMode="gray">
            <a:xfrm>
              <a:off x="3601929" y="3960610"/>
              <a:ext cx="302915" cy="250181"/>
            </a:xfrm>
            <a:custGeom>
              <a:avLst/>
              <a:gdLst>
                <a:gd name="T0" fmla="*/ 220 w 247"/>
                <a:gd name="T1" fmla="*/ 8 h 204"/>
                <a:gd name="T2" fmla="*/ 224 w 247"/>
                <a:gd name="T3" fmla="*/ 16 h 204"/>
                <a:gd name="T4" fmla="*/ 222 w 247"/>
                <a:gd name="T5" fmla="*/ 18 h 204"/>
                <a:gd name="T6" fmla="*/ 224 w 247"/>
                <a:gd name="T7" fmla="*/ 27 h 204"/>
                <a:gd name="T8" fmla="*/ 226 w 247"/>
                <a:gd name="T9" fmla="*/ 41 h 204"/>
                <a:gd name="T10" fmla="*/ 226 w 247"/>
                <a:gd name="T11" fmla="*/ 49 h 204"/>
                <a:gd name="T12" fmla="*/ 228 w 247"/>
                <a:gd name="T13" fmla="*/ 50 h 204"/>
                <a:gd name="T14" fmla="*/ 238 w 247"/>
                <a:gd name="T15" fmla="*/ 56 h 204"/>
                <a:gd name="T16" fmla="*/ 243 w 247"/>
                <a:gd name="T17" fmla="*/ 62 h 204"/>
                <a:gd name="T18" fmla="*/ 242 w 247"/>
                <a:gd name="T19" fmla="*/ 68 h 204"/>
                <a:gd name="T20" fmla="*/ 234 w 247"/>
                <a:gd name="T21" fmla="*/ 72 h 204"/>
                <a:gd name="T22" fmla="*/ 228 w 247"/>
                <a:gd name="T23" fmla="*/ 77 h 204"/>
                <a:gd name="T24" fmla="*/ 220 w 247"/>
                <a:gd name="T25" fmla="*/ 85 h 204"/>
                <a:gd name="T26" fmla="*/ 220 w 247"/>
                <a:gd name="T27" fmla="*/ 91 h 204"/>
                <a:gd name="T28" fmla="*/ 215 w 247"/>
                <a:gd name="T29" fmla="*/ 102 h 204"/>
                <a:gd name="T30" fmla="*/ 213 w 247"/>
                <a:gd name="T31" fmla="*/ 112 h 204"/>
                <a:gd name="T32" fmla="*/ 213 w 247"/>
                <a:gd name="T33" fmla="*/ 127 h 204"/>
                <a:gd name="T34" fmla="*/ 209 w 247"/>
                <a:gd name="T35" fmla="*/ 137 h 204"/>
                <a:gd name="T36" fmla="*/ 201 w 247"/>
                <a:gd name="T37" fmla="*/ 145 h 204"/>
                <a:gd name="T38" fmla="*/ 195 w 247"/>
                <a:gd name="T39" fmla="*/ 154 h 204"/>
                <a:gd name="T40" fmla="*/ 192 w 247"/>
                <a:gd name="T41" fmla="*/ 166 h 204"/>
                <a:gd name="T42" fmla="*/ 186 w 247"/>
                <a:gd name="T43" fmla="*/ 171 h 204"/>
                <a:gd name="T44" fmla="*/ 182 w 247"/>
                <a:gd name="T45" fmla="*/ 183 h 204"/>
                <a:gd name="T46" fmla="*/ 176 w 247"/>
                <a:gd name="T47" fmla="*/ 191 h 204"/>
                <a:gd name="T48" fmla="*/ 172 w 247"/>
                <a:gd name="T49" fmla="*/ 177 h 204"/>
                <a:gd name="T50" fmla="*/ 165 w 247"/>
                <a:gd name="T51" fmla="*/ 158 h 204"/>
                <a:gd name="T52" fmla="*/ 159 w 247"/>
                <a:gd name="T53" fmla="*/ 154 h 204"/>
                <a:gd name="T54" fmla="*/ 153 w 247"/>
                <a:gd name="T55" fmla="*/ 168 h 204"/>
                <a:gd name="T56" fmla="*/ 144 w 247"/>
                <a:gd name="T57" fmla="*/ 181 h 204"/>
                <a:gd name="T58" fmla="*/ 132 w 247"/>
                <a:gd name="T59" fmla="*/ 189 h 204"/>
                <a:gd name="T60" fmla="*/ 113 w 247"/>
                <a:gd name="T61" fmla="*/ 185 h 204"/>
                <a:gd name="T62" fmla="*/ 99 w 247"/>
                <a:gd name="T63" fmla="*/ 194 h 204"/>
                <a:gd name="T64" fmla="*/ 84 w 247"/>
                <a:gd name="T65" fmla="*/ 191 h 204"/>
                <a:gd name="T66" fmla="*/ 69 w 247"/>
                <a:gd name="T67" fmla="*/ 193 h 204"/>
                <a:gd name="T68" fmla="*/ 59 w 247"/>
                <a:gd name="T69" fmla="*/ 179 h 204"/>
                <a:gd name="T70" fmla="*/ 55 w 247"/>
                <a:gd name="T71" fmla="*/ 179 h 204"/>
                <a:gd name="T72" fmla="*/ 48 w 247"/>
                <a:gd name="T73" fmla="*/ 179 h 204"/>
                <a:gd name="T74" fmla="*/ 46 w 247"/>
                <a:gd name="T75" fmla="*/ 185 h 204"/>
                <a:gd name="T76" fmla="*/ 42 w 247"/>
                <a:gd name="T77" fmla="*/ 189 h 204"/>
                <a:gd name="T78" fmla="*/ 40 w 247"/>
                <a:gd name="T79" fmla="*/ 202 h 204"/>
                <a:gd name="T80" fmla="*/ 27 w 247"/>
                <a:gd name="T81" fmla="*/ 204 h 204"/>
                <a:gd name="T82" fmla="*/ 23 w 247"/>
                <a:gd name="T83" fmla="*/ 200 h 204"/>
                <a:gd name="T84" fmla="*/ 27 w 247"/>
                <a:gd name="T85" fmla="*/ 193 h 204"/>
                <a:gd name="T86" fmla="*/ 23 w 247"/>
                <a:gd name="T87" fmla="*/ 179 h 204"/>
                <a:gd name="T88" fmla="*/ 15 w 247"/>
                <a:gd name="T89" fmla="*/ 171 h 204"/>
                <a:gd name="T90" fmla="*/ 13 w 247"/>
                <a:gd name="T91" fmla="*/ 162 h 204"/>
                <a:gd name="T92" fmla="*/ 9 w 247"/>
                <a:gd name="T93" fmla="*/ 154 h 204"/>
                <a:gd name="T94" fmla="*/ 7 w 247"/>
                <a:gd name="T95" fmla="*/ 145 h 204"/>
                <a:gd name="T96" fmla="*/ 0 w 247"/>
                <a:gd name="T97" fmla="*/ 145 h 204"/>
                <a:gd name="T98" fmla="*/ 4 w 247"/>
                <a:gd name="T99" fmla="*/ 137 h 204"/>
                <a:gd name="T100" fmla="*/ 4 w 247"/>
                <a:gd name="T101" fmla="*/ 125 h 204"/>
                <a:gd name="T102" fmla="*/ 7 w 247"/>
                <a:gd name="T103" fmla="*/ 118 h 204"/>
                <a:gd name="T104" fmla="*/ 13 w 247"/>
                <a:gd name="T105" fmla="*/ 112 h 204"/>
                <a:gd name="T106" fmla="*/ 15 w 247"/>
                <a:gd name="T107" fmla="*/ 102 h 204"/>
                <a:gd name="T108" fmla="*/ 27 w 247"/>
                <a:gd name="T109" fmla="*/ 98 h 204"/>
                <a:gd name="T110" fmla="*/ 30 w 247"/>
                <a:gd name="T111" fmla="*/ 54 h 204"/>
                <a:gd name="T112" fmla="*/ 117 w 247"/>
                <a:gd name="T113" fmla="*/ 0 h 204"/>
                <a:gd name="T114" fmla="*/ 186 w 247"/>
                <a:gd name="T115" fmla="*/ 0 h 204"/>
                <a:gd name="T116" fmla="*/ 242 w 247"/>
                <a:gd name="T117" fmla="*/ 60 h 204"/>
                <a:gd name="T118" fmla="*/ 240 w 247"/>
                <a:gd name="T119" fmla="*/ 60 h 204"/>
                <a:gd name="T120" fmla="*/ 245 w 247"/>
                <a:gd name="T121" fmla="*/ 56 h 204"/>
                <a:gd name="T122" fmla="*/ 242 w 247"/>
                <a:gd name="T123" fmla="*/ 6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204">
                  <a:moveTo>
                    <a:pt x="218" y="0"/>
                  </a:moveTo>
                  <a:lnTo>
                    <a:pt x="218" y="2"/>
                  </a:lnTo>
                  <a:lnTo>
                    <a:pt x="218" y="4"/>
                  </a:lnTo>
                  <a:lnTo>
                    <a:pt x="220" y="4"/>
                  </a:lnTo>
                  <a:lnTo>
                    <a:pt x="218" y="4"/>
                  </a:lnTo>
                  <a:lnTo>
                    <a:pt x="220" y="4"/>
                  </a:lnTo>
                  <a:lnTo>
                    <a:pt x="220" y="6"/>
                  </a:lnTo>
                  <a:lnTo>
                    <a:pt x="220" y="8"/>
                  </a:lnTo>
                  <a:lnTo>
                    <a:pt x="220" y="10"/>
                  </a:lnTo>
                  <a:lnTo>
                    <a:pt x="222" y="10"/>
                  </a:lnTo>
                  <a:lnTo>
                    <a:pt x="222" y="12"/>
                  </a:lnTo>
                  <a:lnTo>
                    <a:pt x="222" y="14"/>
                  </a:lnTo>
                  <a:lnTo>
                    <a:pt x="224" y="14"/>
                  </a:lnTo>
                  <a:lnTo>
                    <a:pt x="224" y="16"/>
                  </a:lnTo>
                  <a:lnTo>
                    <a:pt x="226" y="16"/>
                  </a:lnTo>
                  <a:lnTo>
                    <a:pt x="224" y="16"/>
                  </a:lnTo>
                  <a:lnTo>
                    <a:pt x="224" y="18"/>
                  </a:lnTo>
                  <a:lnTo>
                    <a:pt x="224" y="16"/>
                  </a:lnTo>
                  <a:lnTo>
                    <a:pt x="226" y="16"/>
                  </a:lnTo>
                  <a:lnTo>
                    <a:pt x="224" y="16"/>
                  </a:lnTo>
                  <a:lnTo>
                    <a:pt x="224" y="14"/>
                  </a:lnTo>
                  <a:lnTo>
                    <a:pt x="222" y="14"/>
                  </a:lnTo>
                  <a:lnTo>
                    <a:pt x="222" y="16"/>
                  </a:lnTo>
                  <a:lnTo>
                    <a:pt x="222" y="18"/>
                  </a:lnTo>
                  <a:lnTo>
                    <a:pt x="224" y="18"/>
                  </a:lnTo>
                  <a:lnTo>
                    <a:pt x="222" y="18"/>
                  </a:lnTo>
                  <a:lnTo>
                    <a:pt x="224" y="18"/>
                  </a:lnTo>
                  <a:lnTo>
                    <a:pt x="224" y="20"/>
                  </a:lnTo>
                  <a:lnTo>
                    <a:pt x="224" y="22"/>
                  </a:lnTo>
                  <a:lnTo>
                    <a:pt x="224" y="24"/>
                  </a:lnTo>
                  <a:lnTo>
                    <a:pt x="224" y="25"/>
                  </a:lnTo>
                  <a:lnTo>
                    <a:pt x="224" y="27"/>
                  </a:lnTo>
                  <a:lnTo>
                    <a:pt x="224" y="29"/>
                  </a:lnTo>
                  <a:lnTo>
                    <a:pt x="224" y="31"/>
                  </a:lnTo>
                  <a:lnTo>
                    <a:pt x="224" y="33"/>
                  </a:lnTo>
                  <a:lnTo>
                    <a:pt x="224" y="35"/>
                  </a:lnTo>
                  <a:lnTo>
                    <a:pt x="224" y="37"/>
                  </a:lnTo>
                  <a:lnTo>
                    <a:pt x="224" y="39"/>
                  </a:lnTo>
                  <a:lnTo>
                    <a:pt x="224" y="41"/>
                  </a:lnTo>
                  <a:lnTo>
                    <a:pt x="226" y="41"/>
                  </a:lnTo>
                  <a:lnTo>
                    <a:pt x="224" y="41"/>
                  </a:lnTo>
                  <a:lnTo>
                    <a:pt x="226" y="41"/>
                  </a:lnTo>
                  <a:lnTo>
                    <a:pt x="224" y="41"/>
                  </a:lnTo>
                  <a:lnTo>
                    <a:pt x="226" y="41"/>
                  </a:lnTo>
                  <a:lnTo>
                    <a:pt x="226" y="43"/>
                  </a:lnTo>
                  <a:lnTo>
                    <a:pt x="226" y="45"/>
                  </a:lnTo>
                  <a:lnTo>
                    <a:pt x="226" y="47"/>
                  </a:lnTo>
                  <a:lnTo>
                    <a:pt x="226" y="49"/>
                  </a:lnTo>
                  <a:lnTo>
                    <a:pt x="228" y="49"/>
                  </a:lnTo>
                  <a:lnTo>
                    <a:pt x="228" y="50"/>
                  </a:lnTo>
                  <a:lnTo>
                    <a:pt x="226" y="50"/>
                  </a:lnTo>
                  <a:lnTo>
                    <a:pt x="228" y="50"/>
                  </a:lnTo>
                  <a:lnTo>
                    <a:pt x="226" y="50"/>
                  </a:lnTo>
                  <a:lnTo>
                    <a:pt x="228" y="50"/>
                  </a:lnTo>
                  <a:lnTo>
                    <a:pt x="226" y="50"/>
                  </a:lnTo>
                  <a:lnTo>
                    <a:pt x="228" y="50"/>
                  </a:lnTo>
                  <a:lnTo>
                    <a:pt x="228" y="52"/>
                  </a:lnTo>
                  <a:lnTo>
                    <a:pt x="230" y="52"/>
                  </a:lnTo>
                  <a:lnTo>
                    <a:pt x="232" y="52"/>
                  </a:lnTo>
                  <a:lnTo>
                    <a:pt x="232" y="54"/>
                  </a:lnTo>
                  <a:lnTo>
                    <a:pt x="234" y="54"/>
                  </a:lnTo>
                  <a:lnTo>
                    <a:pt x="236" y="54"/>
                  </a:lnTo>
                  <a:lnTo>
                    <a:pt x="236" y="56"/>
                  </a:lnTo>
                  <a:lnTo>
                    <a:pt x="238" y="56"/>
                  </a:lnTo>
                  <a:lnTo>
                    <a:pt x="238" y="58"/>
                  </a:lnTo>
                  <a:lnTo>
                    <a:pt x="238" y="60"/>
                  </a:lnTo>
                  <a:lnTo>
                    <a:pt x="238" y="58"/>
                  </a:lnTo>
                  <a:lnTo>
                    <a:pt x="238" y="60"/>
                  </a:lnTo>
                  <a:lnTo>
                    <a:pt x="240" y="60"/>
                  </a:lnTo>
                  <a:lnTo>
                    <a:pt x="242" y="60"/>
                  </a:lnTo>
                  <a:lnTo>
                    <a:pt x="242" y="62"/>
                  </a:lnTo>
                  <a:lnTo>
                    <a:pt x="243" y="62"/>
                  </a:lnTo>
                  <a:lnTo>
                    <a:pt x="242" y="62"/>
                  </a:lnTo>
                  <a:lnTo>
                    <a:pt x="243" y="62"/>
                  </a:lnTo>
                  <a:lnTo>
                    <a:pt x="243" y="64"/>
                  </a:lnTo>
                  <a:lnTo>
                    <a:pt x="243" y="62"/>
                  </a:lnTo>
                  <a:lnTo>
                    <a:pt x="243" y="64"/>
                  </a:lnTo>
                  <a:lnTo>
                    <a:pt x="243" y="66"/>
                  </a:lnTo>
                  <a:lnTo>
                    <a:pt x="242" y="66"/>
                  </a:lnTo>
                  <a:lnTo>
                    <a:pt x="242" y="68"/>
                  </a:lnTo>
                  <a:lnTo>
                    <a:pt x="242" y="70"/>
                  </a:lnTo>
                  <a:lnTo>
                    <a:pt x="240" y="70"/>
                  </a:lnTo>
                  <a:lnTo>
                    <a:pt x="238" y="70"/>
                  </a:lnTo>
                  <a:lnTo>
                    <a:pt x="238" y="72"/>
                  </a:lnTo>
                  <a:lnTo>
                    <a:pt x="236" y="72"/>
                  </a:lnTo>
                  <a:lnTo>
                    <a:pt x="236" y="70"/>
                  </a:lnTo>
                  <a:lnTo>
                    <a:pt x="236" y="72"/>
                  </a:lnTo>
                  <a:lnTo>
                    <a:pt x="234" y="72"/>
                  </a:lnTo>
                  <a:lnTo>
                    <a:pt x="232" y="72"/>
                  </a:lnTo>
                  <a:lnTo>
                    <a:pt x="232" y="73"/>
                  </a:lnTo>
                  <a:lnTo>
                    <a:pt x="230" y="73"/>
                  </a:lnTo>
                  <a:lnTo>
                    <a:pt x="228" y="73"/>
                  </a:lnTo>
                  <a:lnTo>
                    <a:pt x="228" y="75"/>
                  </a:lnTo>
                  <a:lnTo>
                    <a:pt x="228" y="77"/>
                  </a:lnTo>
                  <a:lnTo>
                    <a:pt x="226" y="77"/>
                  </a:lnTo>
                  <a:lnTo>
                    <a:pt x="228" y="77"/>
                  </a:lnTo>
                  <a:lnTo>
                    <a:pt x="226" y="77"/>
                  </a:lnTo>
                  <a:lnTo>
                    <a:pt x="224" y="77"/>
                  </a:lnTo>
                  <a:lnTo>
                    <a:pt x="222" y="77"/>
                  </a:lnTo>
                  <a:lnTo>
                    <a:pt x="220" y="77"/>
                  </a:lnTo>
                  <a:lnTo>
                    <a:pt x="220" y="79"/>
                  </a:lnTo>
                  <a:lnTo>
                    <a:pt x="220" y="81"/>
                  </a:lnTo>
                  <a:lnTo>
                    <a:pt x="220" y="83"/>
                  </a:lnTo>
                  <a:lnTo>
                    <a:pt x="220" y="85"/>
                  </a:lnTo>
                  <a:lnTo>
                    <a:pt x="220" y="83"/>
                  </a:lnTo>
                  <a:lnTo>
                    <a:pt x="218" y="85"/>
                  </a:lnTo>
                  <a:lnTo>
                    <a:pt x="220" y="85"/>
                  </a:lnTo>
                  <a:lnTo>
                    <a:pt x="218" y="85"/>
                  </a:lnTo>
                  <a:lnTo>
                    <a:pt x="218" y="87"/>
                  </a:lnTo>
                  <a:lnTo>
                    <a:pt x="220" y="87"/>
                  </a:lnTo>
                  <a:lnTo>
                    <a:pt x="220" y="89"/>
                  </a:lnTo>
                  <a:lnTo>
                    <a:pt x="220" y="91"/>
                  </a:lnTo>
                  <a:lnTo>
                    <a:pt x="218" y="91"/>
                  </a:lnTo>
                  <a:lnTo>
                    <a:pt x="218" y="93"/>
                  </a:lnTo>
                  <a:lnTo>
                    <a:pt x="218" y="95"/>
                  </a:lnTo>
                  <a:lnTo>
                    <a:pt x="218" y="97"/>
                  </a:lnTo>
                  <a:lnTo>
                    <a:pt x="217" y="97"/>
                  </a:lnTo>
                  <a:lnTo>
                    <a:pt x="217" y="98"/>
                  </a:lnTo>
                  <a:lnTo>
                    <a:pt x="217" y="100"/>
                  </a:lnTo>
                  <a:lnTo>
                    <a:pt x="215" y="102"/>
                  </a:lnTo>
                  <a:lnTo>
                    <a:pt x="217" y="102"/>
                  </a:lnTo>
                  <a:lnTo>
                    <a:pt x="215" y="102"/>
                  </a:lnTo>
                  <a:lnTo>
                    <a:pt x="215" y="104"/>
                  </a:lnTo>
                  <a:lnTo>
                    <a:pt x="215" y="106"/>
                  </a:lnTo>
                  <a:lnTo>
                    <a:pt x="213" y="106"/>
                  </a:lnTo>
                  <a:lnTo>
                    <a:pt x="213" y="108"/>
                  </a:lnTo>
                  <a:lnTo>
                    <a:pt x="213" y="110"/>
                  </a:lnTo>
                  <a:lnTo>
                    <a:pt x="213" y="112"/>
                  </a:lnTo>
                  <a:lnTo>
                    <a:pt x="215" y="116"/>
                  </a:lnTo>
                  <a:lnTo>
                    <a:pt x="215" y="118"/>
                  </a:lnTo>
                  <a:lnTo>
                    <a:pt x="215" y="120"/>
                  </a:lnTo>
                  <a:lnTo>
                    <a:pt x="215" y="121"/>
                  </a:lnTo>
                  <a:lnTo>
                    <a:pt x="215" y="123"/>
                  </a:lnTo>
                  <a:lnTo>
                    <a:pt x="213" y="123"/>
                  </a:lnTo>
                  <a:lnTo>
                    <a:pt x="213" y="125"/>
                  </a:lnTo>
                  <a:lnTo>
                    <a:pt x="213" y="127"/>
                  </a:lnTo>
                  <a:lnTo>
                    <a:pt x="215" y="127"/>
                  </a:lnTo>
                  <a:lnTo>
                    <a:pt x="213" y="127"/>
                  </a:lnTo>
                  <a:lnTo>
                    <a:pt x="213" y="129"/>
                  </a:lnTo>
                  <a:lnTo>
                    <a:pt x="213" y="131"/>
                  </a:lnTo>
                  <a:lnTo>
                    <a:pt x="211" y="133"/>
                  </a:lnTo>
                  <a:lnTo>
                    <a:pt x="211" y="135"/>
                  </a:lnTo>
                  <a:lnTo>
                    <a:pt x="211" y="137"/>
                  </a:lnTo>
                  <a:lnTo>
                    <a:pt x="209" y="137"/>
                  </a:lnTo>
                  <a:lnTo>
                    <a:pt x="209" y="139"/>
                  </a:lnTo>
                  <a:lnTo>
                    <a:pt x="209" y="141"/>
                  </a:lnTo>
                  <a:lnTo>
                    <a:pt x="209" y="143"/>
                  </a:lnTo>
                  <a:lnTo>
                    <a:pt x="209" y="145"/>
                  </a:lnTo>
                  <a:lnTo>
                    <a:pt x="207" y="145"/>
                  </a:lnTo>
                  <a:lnTo>
                    <a:pt x="205" y="145"/>
                  </a:lnTo>
                  <a:lnTo>
                    <a:pt x="203" y="145"/>
                  </a:lnTo>
                  <a:lnTo>
                    <a:pt x="201" y="145"/>
                  </a:lnTo>
                  <a:lnTo>
                    <a:pt x="201" y="146"/>
                  </a:lnTo>
                  <a:lnTo>
                    <a:pt x="199" y="146"/>
                  </a:lnTo>
                  <a:lnTo>
                    <a:pt x="199" y="148"/>
                  </a:lnTo>
                  <a:lnTo>
                    <a:pt x="199" y="150"/>
                  </a:lnTo>
                  <a:lnTo>
                    <a:pt x="197" y="150"/>
                  </a:lnTo>
                  <a:lnTo>
                    <a:pt x="197" y="152"/>
                  </a:lnTo>
                  <a:lnTo>
                    <a:pt x="197" y="154"/>
                  </a:lnTo>
                  <a:lnTo>
                    <a:pt x="195" y="154"/>
                  </a:lnTo>
                  <a:lnTo>
                    <a:pt x="195" y="156"/>
                  </a:lnTo>
                  <a:lnTo>
                    <a:pt x="194" y="156"/>
                  </a:lnTo>
                  <a:lnTo>
                    <a:pt x="194" y="158"/>
                  </a:lnTo>
                  <a:lnTo>
                    <a:pt x="194" y="160"/>
                  </a:lnTo>
                  <a:lnTo>
                    <a:pt x="194" y="162"/>
                  </a:lnTo>
                  <a:lnTo>
                    <a:pt x="194" y="164"/>
                  </a:lnTo>
                  <a:lnTo>
                    <a:pt x="192" y="164"/>
                  </a:lnTo>
                  <a:lnTo>
                    <a:pt x="192" y="166"/>
                  </a:lnTo>
                  <a:lnTo>
                    <a:pt x="192" y="168"/>
                  </a:lnTo>
                  <a:lnTo>
                    <a:pt x="192" y="170"/>
                  </a:lnTo>
                  <a:lnTo>
                    <a:pt x="192" y="171"/>
                  </a:lnTo>
                  <a:lnTo>
                    <a:pt x="190" y="171"/>
                  </a:lnTo>
                  <a:lnTo>
                    <a:pt x="190" y="173"/>
                  </a:lnTo>
                  <a:lnTo>
                    <a:pt x="188" y="173"/>
                  </a:lnTo>
                  <a:lnTo>
                    <a:pt x="188" y="171"/>
                  </a:lnTo>
                  <a:lnTo>
                    <a:pt x="186" y="171"/>
                  </a:lnTo>
                  <a:lnTo>
                    <a:pt x="184" y="171"/>
                  </a:lnTo>
                  <a:lnTo>
                    <a:pt x="184" y="173"/>
                  </a:lnTo>
                  <a:lnTo>
                    <a:pt x="182" y="173"/>
                  </a:lnTo>
                  <a:lnTo>
                    <a:pt x="182" y="175"/>
                  </a:lnTo>
                  <a:lnTo>
                    <a:pt x="182" y="177"/>
                  </a:lnTo>
                  <a:lnTo>
                    <a:pt x="182" y="179"/>
                  </a:lnTo>
                  <a:lnTo>
                    <a:pt x="182" y="181"/>
                  </a:lnTo>
                  <a:lnTo>
                    <a:pt x="182" y="183"/>
                  </a:lnTo>
                  <a:lnTo>
                    <a:pt x="180" y="183"/>
                  </a:lnTo>
                  <a:lnTo>
                    <a:pt x="180" y="185"/>
                  </a:lnTo>
                  <a:lnTo>
                    <a:pt x="180" y="187"/>
                  </a:lnTo>
                  <a:lnTo>
                    <a:pt x="180" y="189"/>
                  </a:lnTo>
                  <a:lnTo>
                    <a:pt x="178" y="191"/>
                  </a:lnTo>
                  <a:lnTo>
                    <a:pt x="178" y="193"/>
                  </a:lnTo>
                  <a:lnTo>
                    <a:pt x="176" y="193"/>
                  </a:lnTo>
                  <a:lnTo>
                    <a:pt x="176" y="191"/>
                  </a:lnTo>
                  <a:lnTo>
                    <a:pt x="176" y="189"/>
                  </a:lnTo>
                  <a:lnTo>
                    <a:pt x="176" y="187"/>
                  </a:lnTo>
                  <a:lnTo>
                    <a:pt x="176" y="185"/>
                  </a:lnTo>
                  <a:lnTo>
                    <a:pt x="178" y="185"/>
                  </a:lnTo>
                  <a:lnTo>
                    <a:pt x="176" y="185"/>
                  </a:lnTo>
                  <a:lnTo>
                    <a:pt x="176" y="183"/>
                  </a:lnTo>
                  <a:lnTo>
                    <a:pt x="174" y="179"/>
                  </a:lnTo>
                  <a:lnTo>
                    <a:pt x="172" y="177"/>
                  </a:lnTo>
                  <a:lnTo>
                    <a:pt x="171" y="175"/>
                  </a:lnTo>
                  <a:lnTo>
                    <a:pt x="169" y="175"/>
                  </a:lnTo>
                  <a:lnTo>
                    <a:pt x="167" y="173"/>
                  </a:lnTo>
                  <a:lnTo>
                    <a:pt x="167" y="171"/>
                  </a:lnTo>
                  <a:lnTo>
                    <a:pt x="167" y="170"/>
                  </a:lnTo>
                  <a:lnTo>
                    <a:pt x="165" y="166"/>
                  </a:lnTo>
                  <a:lnTo>
                    <a:pt x="165" y="160"/>
                  </a:lnTo>
                  <a:lnTo>
                    <a:pt x="165" y="158"/>
                  </a:lnTo>
                  <a:lnTo>
                    <a:pt x="167" y="154"/>
                  </a:lnTo>
                  <a:lnTo>
                    <a:pt x="167" y="152"/>
                  </a:lnTo>
                  <a:lnTo>
                    <a:pt x="165" y="152"/>
                  </a:lnTo>
                  <a:lnTo>
                    <a:pt x="163" y="152"/>
                  </a:lnTo>
                  <a:lnTo>
                    <a:pt x="161" y="152"/>
                  </a:lnTo>
                  <a:lnTo>
                    <a:pt x="159" y="150"/>
                  </a:lnTo>
                  <a:lnTo>
                    <a:pt x="159" y="152"/>
                  </a:lnTo>
                  <a:lnTo>
                    <a:pt x="159" y="154"/>
                  </a:lnTo>
                  <a:lnTo>
                    <a:pt x="159" y="156"/>
                  </a:lnTo>
                  <a:lnTo>
                    <a:pt x="149" y="156"/>
                  </a:lnTo>
                  <a:lnTo>
                    <a:pt x="151" y="156"/>
                  </a:lnTo>
                  <a:lnTo>
                    <a:pt x="153" y="158"/>
                  </a:lnTo>
                  <a:lnTo>
                    <a:pt x="153" y="160"/>
                  </a:lnTo>
                  <a:lnTo>
                    <a:pt x="153" y="162"/>
                  </a:lnTo>
                  <a:lnTo>
                    <a:pt x="153" y="166"/>
                  </a:lnTo>
                  <a:lnTo>
                    <a:pt x="153" y="168"/>
                  </a:lnTo>
                  <a:lnTo>
                    <a:pt x="155" y="168"/>
                  </a:lnTo>
                  <a:lnTo>
                    <a:pt x="155" y="170"/>
                  </a:lnTo>
                  <a:lnTo>
                    <a:pt x="153" y="170"/>
                  </a:lnTo>
                  <a:lnTo>
                    <a:pt x="151" y="173"/>
                  </a:lnTo>
                  <a:lnTo>
                    <a:pt x="149" y="173"/>
                  </a:lnTo>
                  <a:lnTo>
                    <a:pt x="147" y="175"/>
                  </a:lnTo>
                  <a:lnTo>
                    <a:pt x="146" y="179"/>
                  </a:lnTo>
                  <a:lnTo>
                    <a:pt x="144" y="181"/>
                  </a:lnTo>
                  <a:lnTo>
                    <a:pt x="144" y="183"/>
                  </a:lnTo>
                  <a:lnTo>
                    <a:pt x="142" y="183"/>
                  </a:lnTo>
                  <a:lnTo>
                    <a:pt x="140" y="185"/>
                  </a:lnTo>
                  <a:lnTo>
                    <a:pt x="140" y="187"/>
                  </a:lnTo>
                  <a:lnTo>
                    <a:pt x="138" y="187"/>
                  </a:lnTo>
                  <a:lnTo>
                    <a:pt x="138" y="189"/>
                  </a:lnTo>
                  <a:lnTo>
                    <a:pt x="136" y="189"/>
                  </a:lnTo>
                  <a:lnTo>
                    <a:pt x="132" y="189"/>
                  </a:lnTo>
                  <a:lnTo>
                    <a:pt x="130" y="189"/>
                  </a:lnTo>
                  <a:lnTo>
                    <a:pt x="130" y="187"/>
                  </a:lnTo>
                  <a:lnTo>
                    <a:pt x="126" y="185"/>
                  </a:lnTo>
                  <a:lnTo>
                    <a:pt x="123" y="183"/>
                  </a:lnTo>
                  <a:lnTo>
                    <a:pt x="121" y="181"/>
                  </a:lnTo>
                  <a:lnTo>
                    <a:pt x="119" y="181"/>
                  </a:lnTo>
                  <a:lnTo>
                    <a:pt x="113" y="183"/>
                  </a:lnTo>
                  <a:lnTo>
                    <a:pt x="113" y="185"/>
                  </a:lnTo>
                  <a:lnTo>
                    <a:pt x="113" y="189"/>
                  </a:lnTo>
                  <a:lnTo>
                    <a:pt x="111" y="189"/>
                  </a:lnTo>
                  <a:lnTo>
                    <a:pt x="107" y="189"/>
                  </a:lnTo>
                  <a:lnTo>
                    <a:pt x="105" y="189"/>
                  </a:lnTo>
                  <a:lnTo>
                    <a:pt x="103" y="191"/>
                  </a:lnTo>
                  <a:lnTo>
                    <a:pt x="101" y="193"/>
                  </a:lnTo>
                  <a:lnTo>
                    <a:pt x="101" y="194"/>
                  </a:lnTo>
                  <a:lnTo>
                    <a:pt x="99" y="194"/>
                  </a:lnTo>
                  <a:lnTo>
                    <a:pt x="98" y="194"/>
                  </a:lnTo>
                  <a:lnTo>
                    <a:pt x="96" y="194"/>
                  </a:lnTo>
                  <a:lnTo>
                    <a:pt x="94" y="194"/>
                  </a:lnTo>
                  <a:lnTo>
                    <a:pt x="92" y="194"/>
                  </a:lnTo>
                  <a:lnTo>
                    <a:pt x="90" y="194"/>
                  </a:lnTo>
                  <a:lnTo>
                    <a:pt x="88" y="191"/>
                  </a:lnTo>
                  <a:lnTo>
                    <a:pt x="86" y="191"/>
                  </a:lnTo>
                  <a:lnTo>
                    <a:pt x="84" y="191"/>
                  </a:lnTo>
                  <a:lnTo>
                    <a:pt x="82" y="191"/>
                  </a:lnTo>
                  <a:lnTo>
                    <a:pt x="80" y="191"/>
                  </a:lnTo>
                  <a:lnTo>
                    <a:pt x="78" y="191"/>
                  </a:lnTo>
                  <a:lnTo>
                    <a:pt x="76" y="191"/>
                  </a:lnTo>
                  <a:lnTo>
                    <a:pt x="75" y="191"/>
                  </a:lnTo>
                  <a:lnTo>
                    <a:pt x="73" y="191"/>
                  </a:lnTo>
                  <a:lnTo>
                    <a:pt x="71" y="193"/>
                  </a:lnTo>
                  <a:lnTo>
                    <a:pt x="69" y="193"/>
                  </a:lnTo>
                  <a:lnTo>
                    <a:pt x="67" y="191"/>
                  </a:lnTo>
                  <a:lnTo>
                    <a:pt x="65" y="191"/>
                  </a:lnTo>
                  <a:lnTo>
                    <a:pt x="65" y="189"/>
                  </a:lnTo>
                  <a:lnTo>
                    <a:pt x="63" y="187"/>
                  </a:lnTo>
                  <a:lnTo>
                    <a:pt x="63" y="185"/>
                  </a:lnTo>
                  <a:lnTo>
                    <a:pt x="61" y="183"/>
                  </a:lnTo>
                  <a:lnTo>
                    <a:pt x="59" y="181"/>
                  </a:lnTo>
                  <a:lnTo>
                    <a:pt x="59" y="179"/>
                  </a:lnTo>
                  <a:lnTo>
                    <a:pt x="57" y="179"/>
                  </a:lnTo>
                  <a:lnTo>
                    <a:pt x="59" y="179"/>
                  </a:lnTo>
                  <a:lnTo>
                    <a:pt x="57" y="179"/>
                  </a:lnTo>
                  <a:lnTo>
                    <a:pt x="57" y="177"/>
                  </a:lnTo>
                  <a:lnTo>
                    <a:pt x="57" y="179"/>
                  </a:lnTo>
                  <a:lnTo>
                    <a:pt x="57" y="177"/>
                  </a:lnTo>
                  <a:lnTo>
                    <a:pt x="57" y="179"/>
                  </a:lnTo>
                  <a:lnTo>
                    <a:pt x="55" y="179"/>
                  </a:lnTo>
                  <a:lnTo>
                    <a:pt x="55" y="177"/>
                  </a:lnTo>
                  <a:lnTo>
                    <a:pt x="55" y="179"/>
                  </a:lnTo>
                  <a:lnTo>
                    <a:pt x="55" y="177"/>
                  </a:lnTo>
                  <a:lnTo>
                    <a:pt x="55" y="179"/>
                  </a:lnTo>
                  <a:lnTo>
                    <a:pt x="53" y="179"/>
                  </a:lnTo>
                  <a:lnTo>
                    <a:pt x="52" y="179"/>
                  </a:lnTo>
                  <a:lnTo>
                    <a:pt x="50" y="179"/>
                  </a:lnTo>
                  <a:lnTo>
                    <a:pt x="48" y="179"/>
                  </a:lnTo>
                  <a:lnTo>
                    <a:pt x="48" y="181"/>
                  </a:lnTo>
                  <a:lnTo>
                    <a:pt x="46" y="181"/>
                  </a:lnTo>
                  <a:lnTo>
                    <a:pt x="46" y="183"/>
                  </a:lnTo>
                  <a:lnTo>
                    <a:pt x="48" y="183"/>
                  </a:lnTo>
                  <a:lnTo>
                    <a:pt x="46" y="183"/>
                  </a:lnTo>
                  <a:lnTo>
                    <a:pt x="48" y="183"/>
                  </a:lnTo>
                  <a:lnTo>
                    <a:pt x="46" y="183"/>
                  </a:lnTo>
                  <a:lnTo>
                    <a:pt x="46" y="185"/>
                  </a:lnTo>
                  <a:lnTo>
                    <a:pt x="46" y="183"/>
                  </a:lnTo>
                  <a:lnTo>
                    <a:pt x="46" y="185"/>
                  </a:lnTo>
                  <a:lnTo>
                    <a:pt x="46" y="187"/>
                  </a:lnTo>
                  <a:lnTo>
                    <a:pt x="46" y="185"/>
                  </a:lnTo>
                  <a:lnTo>
                    <a:pt x="46" y="187"/>
                  </a:lnTo>
                  <a:lnTo>
                    <a:pt x="44" y="187"/>
                  </a:lnTo>
                  <a:lnTo>
                    <a:pt x="42" y="187"/>
                  </a:lnTo>
                  <a:lnTo>
                    <a:pt x="42" y="189"/>
                  </a:lnTo>
                  <a:lnTo>
                    <a:pt x="42" y="191"/>
                  </a:lnTo>
                  <a:lnTo>
                    <a:pt x="42" y="193"/>
                  </a:lnTo>
                  <a:lnTo>
                    <a:pt x="40" y="193"/>
                  </a:lnTo>
                  <a:lnTo>
                    <a:pt x="40" y="194"/>
                  </a:lnTo>
                  <a:lnTo>
                    <a:pt x="40" y="196"/>
                  </a:lnTo>
                  <a:lnTo>
                    <a:pt x="40" y="198"/>
                  </a:lnTo>
                  <a:lnTo>
                    <a:pt x="40" y="200"/>
                  </a:lnTo>
                  <a:lnTo>
                    <a:pt x="40" y="202"/>
                  </a:lnTo>
                  <a:lnTo>
                    <a:pt x="38" y="202"/>
                  </a:lnTo>
                  <a:lnTo>
                    <a:pt x="36" y="202"/>
                  </a:lnTo>
                  <a:lnTo>
                    <a:pt x="36" y="204"/>
                  </a:lnTo>
                  <a:lnTo>
                    <a:pt x="34" y="204"/>
                  </a:lnTo>
                  <a:lnTo>
                    <a:pt x="32" y="204"/>
                  </a:lnTo>
                  <a:lnTo>
                    <a:pt x="30" y="204"/>
                  </a:lnTo>
                  <a:lnTo>
                    <a:pt x="28" y="204"/>
                  </a:lnTo>
                  <a:lnTo>
                    <a:pt x="27" y="204"/>
                  </a:lnTo>
                  <a:lnTo>
                    <a:pt x="27" y="202"/>
                  </a:lnTo>
                  <a:lnTo>
                    <a:pt x="25" y="202"/>
                  </a:lnTo>
                  <a:lnTo>
                    <a:pt x="25" y="204"/>
                  </a:lnTo>
                  <a:lnTo>
                    <a:pt x="25" y="202"/>
                  </a:lnTo>
                  <a:lnTo>
                    <a:pt x="25" y="200"/>
                  </a:lnTo>
                  <a:lnTo>
                    <a:pt x="25" y="198"/>
                  </a:lnTo>
                  <a:lnTo>
                    <a:pt x="25" y="200"/>
                  </a:lnTo>
                  <a:lnTo>
                    <a:pt x="23" y="200"/>
                  </a:lnTo>
                  <a:lnTo>
                    <a:pt x="23" y="198"/>
                  </a:lnTo>
                  <a:lnTo>
                    <a:pt x="23" y="196"/>
                  </a:lnTo>
                  <a:lnTo>
                    <a:pt x="25" y="196"/>
                  </a:lnTo>
                  <a:lnTo>
                    <a:pt x="25" y="194"/>
                  </a:lnTo>
                  <a:lnTo>
                    <a:pt x="27" y="194"/>
                  </a:lnTo>
                  <a:lnTo>
                    <a:pt x="25" y="194"/>
                  </a:lnTo>
                  <a:lnTo>
                    <a:pt x="27" y="194"/>
                  </a:lnTo>
                  <a:lnTo>
                    <a:pt x="27" y="193"/>
                  </a:lnTo>
                  <a:lnTo>
                    <a:pt x="25" y="193"/>
                  </a:lnTo>
                  <a:lnTo>
                    <a:pt x="27" y="193"/>
                  </a:lnTo>
                  <a:lnTo>
                    <a:pt x="27" y="191"/>
                  </a:lnTo>
                  <a:lnTo>
                    <a:pt x="25" y="191"/>
                  </a:lnTo>
                  <a:lnTo>
                    <a:pt x="27" y="189"/>
                  </a:lnTo>
                  <a:lnTo>
                    <a:pt x="27" y="187"/>
                  </a:lnTo>
                  <a:lnTo>
                    <a:pt x="23" y="181"/>
                  </a:lnTo>
                  <a:lnTo>
                    <a:pt x="23" y="179"/>
                  </a:lnTo>
                  <a:lnTo>
                    <a:pt x="21" y="179"/>
                  </a:lnTo>
                  <a:lnTo>
                    <a:pt x="21" y="177"/>
                  </a:lnTo>
                  <a:lnTo>
                    <a:pt x="19" y="177"/>
                  </a:lnTo>
                  <a:lnTo>
                    <a:pt x="19" y="175"/>
                  </a:lnTo>
                  <a:lnTo>
                    <a:pt x="17" y="175"/>
                  </a:lnTo>
                  <a:lnTo>
                    <a:pt x="17" y="173"/>
                  </a:lnTo>
                  <a:lnTo>
                    <a:pt x="15" y="173"/>
                  </a:lnTo>
                  <a:lnTo>
                    <a:pt x="15" y="171"/>
                  </a:lnTo>
                  <a:lnTo>
                    <a:pt x="15" y="170"/>
                  </a:lnTo>
                  <a:lnTo>
                    <a:pt x="15" y="168"/>
                  </a:lnTo>
                  <a:lnTo>
                    <a:pt x="17" y="168"/>
                  </a:lnTo>
                  <a:lnTo>
                    <a:pt x="17" y="166"/>
                  </a:lnTo>
                  <a:lnTo>
                    <a:pt x="15" y="166"/>
                  </a:lnTo>
                  <a:lnTo>
                    <a:pt x="15" y="164"/>
                  </a:lnTo>
                  <a:lnTo>
                    <a:pt x="13" y="164"/>
                  </a:lnTo>
                  <a:lnTo>
                    <a:pt x="13" y="162"/>
                  </a:lnTo>
                  <a:lnTo>
                    <a:pt x="11" y="162"/>
                  </a:lnTo>
                  <a:lnTo>
                    <a:pt x="11" y="160"/>
                  </a:lnTo>
                  <a:lnTo>
                    <a:pt x="9" y="160"/>
                  </a:lnTo>
                  <a:lnTo>
                    <a:pt x="9" y="158"/>
                  </a:lnTo>
                  <a:lnTo>
                    <a:pt x="11" y="158"/>
                  </a:lnTo>
                  <a:lnTo>
                    <a:pt x="11" y="156"/>
                  </a:lnTo>
                  <a:lnTo>
                    <a:pt x="11" y="154"/>
                  </a:lnTo>
                  <a:lnTo>
                    <a:pt x="9" y="154"/>
                  </a:lnTo>
                  <a:lnTo>
                    <a:pt x="9" y="152"/>
                  </a:lnTo>
                  <a:lnTo>
                    <a:pt x="9" y="150"/>
                  </a:lnTo>
                  <a:lnTo>
                    <a:pt x="7" y="150"/>
                  </a:lnTo>
                  <a:lnTo>
                    <a:pt x="9" y="150"/>
                  </a:lnTo>
                  <a:lnTo>
                    <a:pt x="7" y="150"/>
                  </a:lnTo>
                  <a:lnTo>
                    <a:pt x="7" y="148"/>
                  </a:lnTo>
                  <a:lnTo>
                    <a:pt x="7" y="146"/>
                  </a:lnTo>
                  <a:lnTo>
                    <a:pt x="7" y="145"/>
                  </a:lnTo>
                  <a:lnTo>
                    <a:pt x="9" y="145"/>
                  </a:lnTo>
                  <a:lnTo>
                    <a:pt x="7" y="145"/>
                  </a:lnTo>
                  <a:lnTo>
                    <a:pt x="5" y="145"/>
                  </a:lnTo>
                  <a:lnTo>
                    <a:pt x="5" y="143"/>
                  </a:lnTo>
                  <a:lnTo>
                    <a:pt x="5" y="145"/>
                  </a:lnTo>
                  <a:lnTo>
                    <a:pt x="4" y="145"/>
                  </a:lnTo>
                  <a:lnTo>
                    <a:pt x="2" y="145"/>
                  </a:lnTo>
                  <a:lnTo>
                    <a:pt x="0" y="145"/>
                  </a:lnTo>
                  <a:lnTo>
                    <a:pt x="0" y="143"/>
                  </a:lnTo>
                  <a:lnTo>
                    <a:pt x="0" y="141"/>
                  </a:lnTo>
                  <a:lnTo>
                    <a:pt x="0" y="139"/>
                  </a:lnTo>
                  <a:lnTo>
                    <a:pt x="2" y="139"/>
                  </a:lnTo>
                  <a:lnTo>
                    <a:pt x="0" y="139"/>
                  </a:lnTo>
                  <a:lnTo>
                    <a:pt x="2" y="139"/>
                  </a:lnTo>
                  <a:lnTo>
                    <a:pt x="2" y="137"/>
                  </a:lnTo>
                  <a:lnTo>
                    <a:pt x="4" y="137"/>
                  </a:lnTo>
                  <a:lnTo>
                    <a:pt x="4" y="135"/>
                  </a:lnTo>
                  <a:lnTo>
                    <a:pt x="5" y="135"/>
                  </a:lnTo>
                  <a:lnTo>
                    <a:pt x="5" y="133"/>
                  </a:lnTo>
                  <a:lnTo>
                    <a:pt x="5" y="131"/>
                  </a:lnTo>
                  <a:lnTo>
                    <a:pt x="4" y="131"/>
                  </a:lnTo>
                  <a:lnTo>
                    <a:pt x="4" y="129"/>
                  </a:lnTo>
                  <a:lnTo>
                    <a:pt x="4" y="127"/>
                  </a:lnTo>
                  <a:lnTo>
                    <a:pt x="4" y="125"/>
                  </a:lnTo>
                  <a:lnTo>
                    <a:pt x="5" y="125"/>
                  </a:lnTo>
                  <a:lnTo>
                    <a:pt x="7" y="123"/>
                  </a:lnTo>
                  <a:lnTo>
                    <a:pt x="9" y="123"/>
                  </a:lnTo>
                  <a:lnTo>
                    <a:pt x="9" y="121"/>
                  </a:lnTo>
                  <a:lnTo>
                    <a:pt x="7" y="120"/>
                  </a:lnTo>
                  <a:lnTo>
                    <a:pt x="9" y="120"/>
                  </a:lnTo>
                  <a:lnTo>
                    <a:pt x="7" y="120"/>
                  </a:lnTo>
                  <a:lnTo>
                    <a:pt x="7" y="118"/>
                  </a:lnTo>
                  <a:lnTo>
                    <a:pt x="7" y="116"/>
                  </a:lnTo>
                  <a:lnTo>
                    <a:pt x="9" y="116"/>
                  </a:lnTo>
                  <a:lnTo>
                    <a:pt x="11" y="114"/>
                  </a:lnTo>
                  <a:lnTo>
                    <a:pt x="13" y="114"/>
                  </a:lnTo>
                  <a:lnTo>
                    <a:pt x="11" y="114"/>
                  </a:lnTo>
                  <a:lnTo>
                    <a:pt x="11" y="112"/>
                  </a:lnTo>
                  <a:lnTo>
                    <a:pt x="13" y="110"/>
                  </a:lnTo>
                  <a:lnTo>
                    <a:pt x="13" y="112"/>
                  </a:lnTo>
                  <a:lnTo>
                    <a:pt x="13" y="110"/>
                  </a:lnTo>
                  <a:lnTo>
                    <a:pt x="13" y="108"/>
                  </a:lnTo>
                  <a:lnTo>
                    <a:pt x="15" y="108"/>
                  </a:lnTo>
                  <a:lnTo>
                    <a:pt x="15" y="106"/>
                  </a:lnTo>
                  <a:lnTo>
                    <a:pt x="17" y="106"/>
                  </a:lnTo>
                  <a:lnTo>
                    <a:pt x="17" y="104"/>
                  </a:lnTo>
                  <a:lnTo>
                    <a:pt x="17" y="102"/>
                  </a:lnTo>
                  <a:lnTo>
                    <a:pt x="15" y="102"/>
                  </a:lnTo>
                  <a:lnTo>
                    <a:pt x="15" y="100"/>
                  </a:lnTo>
                  <a:lnTo>
                    <a:pt x="17" y="100"/>
                  </a:lnTo>
                  <a:lnTo>
                    <a:pt x="17" y="98"/>
                  </a:lnTo>
                  <a:lnTo>
                    <a:pt x="19" y="98"/>
                  </a:lnTo>
                  <a:lnTo>
                    <a:pt x="21" y="98"/>
                  </a:lnTo>
                  <a:lnTo>
                    <a:pt x="23" y="98"/>
                  </a:lnTo>
                  <a:lnTo>
                    <a:pt x="25" y="98"/>
                  </a:lnTo>
                  <a:lnTo>
                    <a:pt x="27" y="98"/>
                  </a:lnTo>
                  <a:lnTo>
                    <a:pt x="28" y="98"/>
                  </a:lnTo>
                  <a:lnTo>
                    <a:pt x="30" y="98"/>
                  </a:lnTo>
                  <a:lnTo>
                    <a:pt x="30" y="91"/>
                  </a:lnTo>
                  <a:lnTo>
                    <a:pt x="30" y="87"/>
                  </a:lnTo>
                  <a:lnTo>
                    <a:pt x="30" y="85"/>
                  </a:lnTo>
                  <a:lnTo>
                    <a:pt x="30" y="79"/>
                  </a:lnTo>
                  <a:lnTo>
                    <a:pt x="30" y="66"/>
                  </a:lnTo>
                  <a:lnTo>
                    <a:pt x="30" y="54"/>
                  </a:lnTo>
                  <a:lnTo>
                    <a:pt x="30" y="45"/>
                  </a:lnTo>
                  <a:lnTo>
                    <a:pt x="30" y="41"/>
                  </a:lnTo>
                  <a:lnTo>
                    <a:pt x="30" y="33"/>
                  </a:lnTo>
                  <a:lnTo>
                    <a:pt x="46" y="33"/>
                  </a:lnTo>
                  <a:lnTo>
                    <a:pt x="46" y="25"/>
                  </a:lnTo>
                  <a:lnTo>
                    <a:pt x="46" y="16"/>
                  </a:lnTo>
                  <a:lnTo>
                    <a:pt x="46" y="0"/>
                  </a:lnTo>
                  <a:lnTo>
                    <a:pt x="117" y="0"/>
                  </a:lnTo>
                  <a:lnTo>
                    <a:pt x="136" y="0"/>
                  </a:lnTo>
                  <a:lnTo>
                    <a:pt x="138" y="0"/>
                  </a:lnTo>
                  <a:lnTo>
                    <a:pt x="140" y="0"/>
                  </a:lnTo>
                  <a:lnTo>
                    <a:pt x="155" y="0"/>
                  </a:lnTo>
                  <a:lnTo>
                    <a:pt x="165" y="0"/>
                  </a:lnTo>
                  <a:lnTo>
                    <a:pt x="169" y="0"/>
                  </a:lnTo>
                  <a:lnTo>
                    <a:pt x="178" y="0"/>
                  </a:lnTo>
                  <a:lnTo>
                    <a:pt x="186" y="0"/>
                  </a:lnTo>
                  <a:lnTo>
                    <a:pt x="217" y="0"/>
                  </a:lnTo>
                  <a:lnTo>
                    <a:pt x="218" y="0"/>
                  </a:lnTo>
                  <a:close/>
                  <a:moveTo>
                    <a:pt x="224" y="20"/>
                  </a:moveTo>
                  <a:lnTo>
                    <a:pt x="226" y="20"/>
                  </a:lnTo>
                  <a:lnTo>
                    <a:pt x="226" y="22"/>
                  </a:lnTo>
                  <a:lnTo>
                    <a:pt x="224" y="22"/>
                  </a:lnTo>
                  <a:lnTo>
                    <a:pt x="224" y="20"/>
                  </a:lnTo>
                  <a:close/>
                  <a:moveTo>
                    <a:pt x="242" y="60"/>
                  </a:moveTo>
                  <a:lnTo>
                    <a:pt x="243" y="60"/>
                  </a:lnTo>
                  <a:lnTo>
                    <a:pt x="243" y="62"/>
                  </a:lnTo>
                  <a:lnTo>
                    <a:pt x="242" y="62"/>
                  </a:lnTo>
                  <a:lnTo>
                    <a:pt x="242" y="60"/>
                  </a:lnTo>
                  <a:close/>
                  <a:moveTo>
                    <a:pt x="236" y="50"/>
                  </a:moveTo>
                  <a:lnTo>
                    <a:pt x="236" y="52"/>
                  </a:lnTo>
                  <a:lnTo>
                    <a:pt x="236" y="50"/>
                  </a:lnTo>
                  <a:close/>
                  <a:moveTo>
                    <a:pt x="240" y="60"/>
                  </a:moveTo>
                  <a:lnTo>
                    <a:pt x="242" y="60"/>
                  </a:lnTo>
                  <a:lnTo>
                    <a:pt x="240" y="60"/>
                  </a:lnTo>
                  <a:close/>
                  <a:moveTo>
                    <a:pt x="240" y="58"/>
                  </a:moveTo>
                  <a:lnTo>
                    <a:pt x="240" y="60"/>
                  </a:lnTo>
                  <a:lnTo>
                    <a:pt x="240" y="58"/>
                  </a:lnTo>
                  <a:close/>
                  <a:moveTo>
                    <a:pt x="245" y="56"/>
                  </a:moveTo>
                  <a:lnTo>
                    <a:pt x="247" y="56"/>
                  </a:lnTo>
                  <a:lnTo>
                    <a:pt x="245" y="56"/>
                  </a:lnTo>
                  <a:close/>
                  <a:moveTo>
                    <a:pt x="245" y="54"/>
                  </a:moveTo>
                  <a:lnTo>
                    <a:pt x="245" y="56"/>
                  </a:lnTo>
                  <a:lnTo>
                    <a:pt x="245" y="54"/>
                  </a:lnTo>
                  <a:close/>
                  <a:moveTo>
                    <a:pt x="240" y="58"/>
                  </a:moveTo>
                  <a:lnTo>
                    <a:pt x="240" y="60"/>
                  </a:lnTo>
                  <a:lnTo>
                    <a:pt x="240" y="58"/>
                  </a:lnTo>
                  <a:close/>
                  <a:moveTo>
                    <a:pt x="240" y="60"/>
                  </a:moveTo>
                  <a:lnTo>
                    <a:pt x="242" y="60"/>
                  </a:lnTo>
                  <a:lnTo>
                    <a:pt x="240" y="60"/>
                  </a:lnTo>
                  <a:close/>
                  <a:moveTo>
                    <a:pt x="243" y="50"/>
                  </a:moveTo>
                  <a:lnTo>
                    <a:pt x="245" y="50"/>
                  </a:lnTo>
                  <a:lnTo>
                    <a:pt x="243" y="50"/>
                  </a:lnTo>
                  <a:close/>
                  <a:moveTo>
                    <a:pt x="242" y="62"/>
                  </a:moveTo>
                  <a:lnTo>
                    <a:pt x="243" y="62"/>
                  </a:lnTo>
                  <a:lnTo>
                    <a:pt x="242" y="6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318">
              <a:extLst>
                <a:ext uri="{FF2B5EF4-FFF2-40B4-BE49-F238E27FC236}">
                  <a16:creationId xmlns:a16="http://schemas.microsoft.com/office/drawing/2014/main" id="{650BDAD9-0783-4FFA-97FD-57D973D6A975}"/>
                </a:ext>
              </a:extLst>
            </p:cNvPr>
            <p:cNvSpPr>
              <a:spLocks noEditPoints="1"/>
            </p:cNvSpPr>
            <p:nvPr/>
          </p:nvSpPr>
          <p:spPr bwMode="gray">
            <a:xfrm>
              <a:off x="3863147" y="4039098"/>
              <a:ext cx="120185" cy="103016"/>
            </a:xfrm>
            <a:custGeom>
              <a:avLst/>
              <a:gdLst>
                <a:gd name="T0" fmla="*/ 92 w 98"/>
                <a:gd name="T1" fmla="*/ 84 h 84"/>
                <a:gd name="T2" fmla="*/ 82 w 98"/>
                <a:gd name="T3" fmla="*/ 77 h 84"/>
                <a:gd name="T4" fmla="*/ 73 w 98"/>
                <a:gd name="T5" fmla="*/ 67 h 84"/>
                <a:gd name="T6" fmla="*/ 59 w 98"/>
                <a:gd name="T7" fmla="*/ 56 h 84"/>
                <a:gd name="T8" fmla="*/ 46 w 98"/>
                <a:gd name="T9" fmla="*/ 52 h 84"/>
                <a:gd name="T10" fmla="*/ 42 w 98"/>
                <a:gd name="T11" fmla="*/ 52 h 84"/>
                <a:gd name="T12" fmla="*/ 32 w 98"/>
                <a:gd name="T13" fmla="*/ 54 h 84"/>
                <a:gd name="T14" fmla="*/ 23 w 98"/>
                <a:gd name="T15" fmla="*/ 48 h 84"/>
                <a:gd name="T16" fmla="*/ 15 w 98"/>
                <a:gd name="T17" fmla="*/ 54 h 84"/>
                <a:gd name="T18" fmla="*/ 5 w 98"/>
                <a:gd name="T19" fmla="*/ 56 h 84"/>
                <a:gd name="T20" fmla="*/ 0 w 98"/>
                <a:gd name="T21" fmla="*/ 46 h 84"/>
                <a:gd name="T22" fmla="*/ 4 w 98"/>
                <a:gd name="T23" fmla="*/ 36 h 84"/>
                <a:gd name="T24" fmla="*/ 7 w 98"/>
                <a:gd name="T25" fmla="*/ 25 h 84"/>
                <a:gd name="T26" fmla="*/ 7 w 98"/>
                <a:gd name="T27" fmla="*/ 19 h 84"/>
                <a:gd name="T28" fmla="*/ 13 w 98"/>
                <a:gd name="T29" fmla="*/ 13 h 84"/>
                <a:gd name="T30" fmla="*/ 23 w 98"/>
                <a:gd name="T31" fmla="*/ 8 h 84"/>
                <a:gd name="T32" fmla="*/ 29 w 98"/>
                <a:gd name="T33" fmla="*/ 2 h 84"/>
                <a:gd name="T34" fmla="*/ 34 w 98"/>
                <a:gd name="T35" fmla="*/ 8 h 84"/>
                <a:gd name="T36" fmla="*/ 38 w 98"/>
                <a:gd name="T37" fmla="*/ 19 h 84"/>
                <a:gd name="T38" fmla="*/ 40 w 98"/>
                <a:gd name="T39" fmla="*/ 29 h 84"/>
                <a:gd name="T40" fmla="*/ 46 w 98"/>
                <a:gd name="T41" fmla="*/ 38 h 84"/>
                <a:gd name="T42" fmla="*/ 50 w 98"/>
                <a:gd name="T43" fmla="*/ 42 h 84"/>
                <a:gd name="T44" fmla="*/ 53 w 98"/>
                <a:gd name="T45" fmla="*/ 42 h 84"/>
                <a:gd name="T46" fmla="*/ 61 w 98"/>
                <a:gd name="T47" fmla="*/ 46 h 84"/>
                <a:gd name="T48" fmla="*/ 63 w 98"/>
                <a:gd name="T49" fmla="*/ 48 h 84"/>
                <a:gd name="T50" fmla="*/ 69 w 98"/>
                <a:gd name="T51" fmla="*/ 50 h 84"/>
                <a:gd name="T52" fmla="*/ 75 w 98"/>
                <a:gd name="T53" fmla="*/ 59 h 84"/>
                <a:gd name="T54" fmla="*/ 82 w 98"/>
                <a:gd name="T55" fmla="*/ 63 h 84"/>
                <a:gd name="T56" fmla="*/ 86 w 98"/>
                <a:gd name="T57" fmla="*/ 67 h 84"/>
                <a:gd name="T58" fmla="*/ 92 w 98"/>
                <a:gd name="T59" fmla="*/ 77 h 84"/>
                <a:gd name="T60" fmla="*/ 94 w 98"/>
                <a:gd name="T61" fmla="*/ 79 h 84"/>
                <a:gd name="T62" fmla="*/ 52 w 98"/>
                <a:gd name="T63" fmla="*/ 33 h 84"/>
                <a:gd name="T64" fmla="*/ 57 w 98"/>
                <a:gd name="T65" fmla="*/ 34 h 84"/>
                <a:gd name="T66" fmla="*/ 52 w 98"/>
                <a:gd name="T67" fmla="*/ 36 h 84"/>
                <a:gd name="T68" fmla="*/ 52 w 98"/>
                <a:gd name="T69" fmla="*/ 33 h 84"/>
                <a:gd name="T70" fmla="*/ 57 w 98"/>
                <a:gd name="T71" fmla="*/ 46 h 84"/>
                <a:gd name="T72" fmla="*/ 55 w 98"/>
                <a:gd name="T73" fmla="*/ 29 h 84"/>
                <a:gd name="T74" fmla="*/ 94 w 98"/>
                <a:gd name="T75" fmla="*/ 77 h 84"/>
                <a:gd name="T76" fmla="*/ 52 w 98"/>
                <a:gd name="T77" fmla="*/ 27 h 84"/>
                <a:gd name="T78" fmla="*/ 63 w 98"/>
                <a:gd name="T79" fmla="*/ 38 h 84"/>
                <a:gd name="T80" fmla="*/ 55 w 98"/>
                <a:gd name="T81" fmla="*/ 25 h 84"/>
                <a:gd name="T82" fmla="*/ 94 w 98"/>
                <a:gd name="T83" fmla="*/ 75 h 84"/>
                <a:gd name="T84" fmla="*/ 57 w 98"/>
                <a:gd name="T85" fmla="*/ 46 h 84"/>
                <a:gd name="T86" fmla="*/ 61 w 98"/>
                <a:gd name="T87" fmla="*/ 33 h 84"/>
                <a:gd name="T88" fmla="*/ 52 w 98"/>
                <a:gd name="T89" fmla="*/ 31 h 84"/>
                <a:gd name="T90" fmla="*/ 63 w 98"/>
                <a:gd name="T91" fmla="*/ 36 h 84"/>
                <a:gd name="T92" fmla="*/ 94 w 98"/>
                <a:gd name="T93" fmla="*/ 75 h 84"/>
                <a:gd name="T94" fmla="*/ 53 w 98"/>
                <a:gd name="T95" fmla="*/ 40 h 84"/>
                <a:gd name="T96" fmla="*/ 80 w 98"/>
                <a:gd name="T97" fmla="*/ 61 h 84"/>
                <a:gd name="T98" fmla="*/ 57 w 98"/>
                <a:gd name="T99" fmla="*/ 42 h 84"/>
                <a:gd name="T100" fmla="*/ 96 w 98"/>
                <a:gd name="T101" fmla="*/ 79 h 84"/>
                <a:gd name="T102" fmla="*/ 53 w 98"/>
                <a:gd name="T103" fmla="*/ 27 h 84"/>
                <a:gd name="T104" fmla="*/ 50 w 98"/>
                <a:gd name="T105" fmla="*/ 33 h 84"/>
                <a:gd name="T106" fmla="*/ 46 w 98"/>
                <a:gd name="T107" fmla="*/ 33 h 84"/>
                <a:gd name="T108" fmla="*/ 84 w 98"/>
                <a:gd name="T109" fmla="*/ 65 h 84"/>
                <a:gd name="T110" fmla="*/ 57 w 98"/>
                <a:gd name="T111" fmla="*/ 44 h 84"/>
                <a:gd name="T112" fmla="*/ 96 w 98"/>
                <a:gd name="T113"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84">
                  <a:moveTo>
                    <a:pt x="98" y="81"/>
                  </a:moveTo>
                  <a:lnTo>
                    <a:pt x="96" y="81"/>
                  </a:lnTo>
                  <a:lnTo>
                    <a:pt x="94" y="81"/>
                  </a:lnTo>
                  <a:lnTo>
                    <a:pt x="94" y="82"/>
                  </a:lnTo>
                  <a:lnTo>
                    <a:pt x="94" y="84"/>
                  </a:lnTo>
                  <a:lnTo>
                    <a:pt x="94" y="82"/>
                  </a:lnTo>
                  <a:lnTo>
                    <a:pt x="94" y="84"/>
                  </a:lnTo>
                  <a:lnTo>
                    <a:pt x="92" y="84"/>
                  </a:lnTo>
                  <a:lnTo>
                    <a:pt x="90" y="84"/>
                  </a:lnTo>
                  <a:lnTo>
                    <a:pt x="90" y="82"/>
                  </a:lnTo>
                  <a:lnTo>
                    <a:pt x="88" y="82"/>
                  </a:lnTo>
                  <a:lnTo>
                    <a:pt x="88" y="84"/>
                  </a:lnTo>
                  <a:lnTo>
                    <a:pt x="86" y="81"/>
                  </a:lnTo>
                  <a:lnTo>
                    <a:pt x="84" y="79"/>
                  </a:lnTo>
                  <a:lnTo>
                    <a:pt x="82" y="79"/>
                  </a:lnTo>
                  <a:lnTo>
                    <a:pt x="82" y="77"/>
                  </a:lnTo>
                  <a:lnTo>
                    <a:pt x="80" y="77"/>
                  </a:lnTo>
                  <a:lnTo>
                    <a:pt x="80" y="75"/>
                  </a:lnTo>
                  <a:lnTo>
                    <a:pt x="78" y="73"/>
                  </a:lnTo>
                  <a:lnTo>
                    <a:pt x="76" y="73"/>
                  </a:lnTo>
                  <a:lnTo>
                    <a:pt x="76" y="71"/>
                  </a:lnTo>
                  <a:lnTo>
                    <a:pt x="75" y="71"/>
                  </a:lnTo>
                  <a:lnTo>
                    <a:pt x="75" y="69"/>
                  </a:lnTo>
                  <a:lnTo>
                    <a:pt x="73" y="67"/>
                  </a:lnTo>
                  <a:lnTo>
                    <a:pt x="71" y="65"/>
                  </a:lnTo>
                  <a:lnTo>
                    <a:pt x="69" y="65"/>
                  </a:lnTo>
                  <a:lnTo>
                    <a:pt x="69" y="63"/>
                  </a:lnTo>
                  <a:lnTo>
                    <a:pt x="67" y="63"/>
                  </a:lnTo>
                  <a:lnTo>
                    <a:pt x="67" y="61"/>
                  </a:lnTo>
                  <a:lnTo>
                    <a:pt x="65" y="59"/>
                  </a:lnTo>
                  <a:lnTo>
                    <a:pt x="61" y="57"/>
                  </a:lnTo>
                  <a:lnTo>
                    <a:pt x="59" y="56"/>
                  </a:lnTo>
                  <a:lnTo>
                    <a:pt x="57" y="54"/>
                  </a:lnTo>
                  <a:lnTo>
                    <a:pt x="55" y="54"/>
                  </a:lnTo>
                  <a:lnTo>
                    <a:pt x="53" y="54"/>
                  </a:lnTo>
                  <a:lnTo>
                    <a:pt x="52" y="54"/>
                  </a:lnTo>
                  <a:lnTo>
                    <a:pt x="50" y="54"/>
                  </a:lnTo>
                  <a:lnTo>
                    <a:pt x="50" y="52"/>
                  </a:lnTo>
                  <a:lnTo>
                    <a:pt x="48" y="52"/>
                  </a:lnTo>
                  <a:lnTo>
                    <a:pt x="46" y="52"/>
                  </a:lnTo>
                  <a:lnTo>
                    <a:pt x="46" y="50"/>
                  </a:lnTo>
                  <a:lnTo>
                    <a:pt x="44" y="50"/>
                  </a:lnTo>
                  <a:lnTo>
                    <a:pt x="44" y="52"/>
                  </a:lnTo>
                  <a:lnTo>
                    <a:pt x="44" y="54"/>
                  </a:lnTo>
                  <a:lnTo>
                    <a:pt x="44" y="52"/>
                  </a:lnTo>
                  <a:lnTo>
                    <a:pt x="44" y="54"/>
                  </a:lnTo>
                  <a:lnTo>
                    <a:pt x="44" y="52"/>
                  </a:lnTo>
                  <a:lnTo>
                    <a:pt x="42" y="52"/>
                  </a:lnTo>
                  <a:lnTo>
                    <a:pt x="42" y="54"/>
                  </a:lnTo>
                  <a:lnTo>
                    <a:pt x="40" y="54"/>
                  </a:lnTo>
                  <a:lnTo>
                    <a:pt x="40" y="52"/>
                  </a:lnTo>
                  <a:lnTo>
                    <a:pt x="38" y="52"/>
                  </a:lnTo>
                  <a:lnTo>
                    <a:pt x="36" y="52"/>
                  </a:lnTo>
                  <a:lnTo>
                    <a:pt x="36" y="54"/>
                  </a:lnTo>
                  <a:lnTo>
                    <a:pt x="34" y="54"/>
                  </a:lnTo>
                  <a:lnTo>
                    <a:pt x="32" y="54"/>
                  </a:lnTo>
                  <a:lnTo>
                    <a:pt x="30" y="54"/>
                  </a:lnTo>
                  <a:lnTo>
                    <a:pt x="29" y="54"/>
                  </a:lnTo>
                  <a:lnTo>
                    <a:pt x="29" y="52"/>
                  </a:lnTo>
                  <a:lnTo>
                    <a:pt x="27" y="52"/>
                  </a:lnTo>
                  <a:lnTo>
                    <a:pt x="27" y="50"/>
                  </a:lnTo>
                  <a:lnTo>
                    <a:pt x="25" y="50"/>
                  </a:lnTo>
                  <a:lnTo>
                    <a:pt x="23" y="50"/>
                  </a:lnTo>
                  <a:lnTo>
                    <a:pt x="23" y="48"/>
                  </a:lnTo>
                  <a:lnTo>
                    <a:pt x="21" y="48"/>
                  </a:lnTo>
                  <a:lnTo>
                    <a:pt x="19" y="50"/>
                  </a:lnTo>
                  <a:lnTo>
                    <a:pt x="19" y="52"/>
                  </a:lnTo>
                  <a:lnTo>
                    <a:pt x="19" y="50"/>
                  </a:lnTo>
                  <a:lnTo>
                    <a:pt x="19" y="52"/>
                  </a:lnTo>
                  <a:lnTo>
                    <a:pt x="17" y="52"/>
                  </a:lnTo>
                  <a:lnTo>
                    <a:pt x="17" y="54"/>
                  </a:lnTo>
                  <a:lnTo>
                    <a:pt x="15" y="54"/>
                  </a:lnTo>
                  <a:lnTo>
                    <a:pt x="13" y="54"/>
                  </a:lnTo>
                  <a:lnTo>
                    <a:pt x="11" y="54"/>
                  </a:lnTo>
                  <a:lnTo>
                    <a:pt x="9" y="54"/>
                  </a:lnTo>
                  <a:lnTo>
                    <a:pt x="9" y="56"/>
                  </a:lnTo>
                  <a:lnTo>
                    <a:pt x="9" y="57"/>
                  </a:lnTo>
                  <a:lnTo>
                    <a:pt x="7" y="57"/>
                  </a:lnTo>
                  <a:lnTo>
                    <a:pt x="7" y="56"/>
                  </a:lnTo>
                  <a:lnTo>
                    <a:pt x="5" y="56"/>
                  </a:lnTo>
                  <a:lnTo>
                    <a:pt x="4" y="56"/>
                  </a:lnTo>
                  <a:lnTo>
                    <a:pt x="2" y="56"/>
                  </a:lnTo>
                  <a:lnTo>
                    <a:pt x="2" y="57"/>
                  </a:lnTo>
                  <a:lnTo>
                    <a:pt x="2" y="56"/>
                  </a:lnTo>
                  <a:lnTo>
                    <a:pt x="2" y="54"/>
                  </a:lnTo>
                  <a:lnTo>
                    <a:pt x="2" y="52"/>
                  </a:lnTo>
                  <a:lnTo>
                    <a:pt x="0" y="48"/>
                  </a:lnTo>
                  <a:lnTo>
                    <a:pt x="0" y="46"/>
                  </a:lnTo>
                  <a:lnTo>
                    <a:pt x="0" y="44"/>
                  </a:lnTo>
                  <a:lnTo>
                    <a:pt x="0" y="42"/>
                  </a:lnTo>
                  <a:lnTo>
                    <a:pt x="2" y="42"/>
                  </a:lnTo>
                  <a:lnTo>
                    <a:pt x="2" y="40"/>
                  </a:lnTo>
                  <a:lnTo>
                    <a:pt x="2" y="38"/>
                  </a:lnTo>
                  <a:lnTo>
                    <a:pt x="4" y="38"/>
                  </a:lnTo>
                  <a:lnTo>
                    <a:pt x="2" y="38"/>
                  </a:lnTo>
                  <a:lnTo>
                    <a:pt x="4" y="36"/>
                  </a:lnTo>
                  <a:lnTo>
                    <a:pt x="4" y="34"/>
                  </a:lnTo>
                  <a:lnTo>
                    <a:pt x="4" y="33"/>
                  </a:lnTo>
                  <a:lnTo>
                    <a:pt x="5" y="33"/>
                  </a:lnTo>
                  <a:lnTo>
                    <a:pt x="5" y="31"/>
                  </a:lnTo>
                  <a:lnTo>
                    <a:pt x="5" y="29"/>
                  </a:lnTo>
                  <a:lnTo>
                    <a:pt x="5" y="27"/>
                  </a:lnTo>
                  <a:lnTo>
                    <a:pt x="7" y="27"/>
                  </a:lnTo>
                  <a:lnTo>
                    <a:pt x="7" y="25"/>
                  </a:lnTo>
                  <a:lnTo>
                    <a:pt x="7" y="23"/>
                  </a:lnTo>
                  <a:lnTo>
                    <a:pt x="5" y="23"/>
                  </a:lnTo>
                  <a:lnTo>
                    <a:pt x="5" y="21"/>
                  </a:lnTo>
                  <a:lnTo>
                    <a:pt x="7" y="21"/>
                  </a:lnTo>
                  <a:lnTo>
                    <a:pt x="5" y="21"/>
                  </a:lnTo>
                  <a:lnTo>
                    <a:pt x="7" y="19"/>
                  </a:lnTo>
                  <a:lnTo>
                    <a:pt x="7" y="21"/>
                  </a:lnTo>
                  <a:lnTo>
                    <a:pt x="7" y="19"/>
                  </a:lnTo>
                  <a:lnTo>
                    <a:pt x="7" y="17"/>
                  </a:lnTo>
                  <a:lnTo>
                    <a:pt x="7" y="15"/>
                  </a:lnTo>
                  <a:lnTo>
                    <a:pt x="7" y="13"/>
                  </a:lnTo>
                  <a:lnTo>
                    <a:pt x="9" y="13"/>
                  </a:lnTo>
                  <a:lnTo>
                    <a:pt x="11" y="13"/>
                  </a:lnTo>
                  <a:lnTo>
                    <a:pt x="13" y="13"/>
                  </a:lnTo>
                  <a:lnTo>
                    <a:pt x="15" y="13"/>
                  </a:lnTo>
                  <a:lnTo>
                    <a:pt x="13" y="13"/>
                  </a:lnTo>
                  <a:lnTo>
                    <a:pt x="15" y="13"/>
                  </a:lnTo>
                  <a:lnTo>
                    <a:pt x="15" y="11"/>
                  </a:lnTo>
                  <a:lnTo>
                    <a:pt x="15" y="9"/>
                  </a:lnTo>
                  <a:lnTo>
                    <a:pt x="17" y="9"/>
                  </a:lnTo>
                  <a:lnTo>
                    <a:pt x="19" y="9"/>
                  </a:lnTo>
                  <a:lnTo>
                    <a:pt x="19" y="8"/>
                  </a:lnTo>
                  <a:lnTo>
                    <a:pt x="21" y="8"/>
                  </a:lnTo>
                  <a:lnTo>
                    <a:pt x="23" y="8"/>
                  </a:lnTo>
                  <a:lnTo>
                    <a:pt x="23" y="6"/>
                  </a:lnTo>
                  <a:lnTo>
                    <a:pt x="23" y="8"/>
                  </a:lnTo>
                  <a:lnTo>
                    <a:pt x="25" y="8"/>
                  </a:lnTo>
                  <a:lnTo>
                    <a:pt x="25" y="6"/>
                  </a:lnTo>
                  <a:lnTo>
                    <a:pt x="27" y="6"/>
                  </a:lnTo>
                  <a:lnTo>
                    <a:pt x="29" y="6"/>
                  </a:lnTo>
                  <a:lnTo>
                    <a:pt x="29" y="4"/>
                  </a:lnTo>
                  <a:lnTo>
                    <a:pt x="29" y="2"/>
                  </a:lnTo>
                  <a:lnTo>
                    <a:pt x="30" y="2"/>
                  </a:lnTo>
                  <a:lnTo>
                    <a:pt x="30" y="0"/>
                  </a:lnTo>
                  <a:lnTo>
                    <a:pt x="32" y="0"/>
                  </a:lnTo>
                  <a:lnTo>
                    <a:pt x="32" y="2"/>
                  </a:lnTo>
                  <a:lnTo>
                    <a:pt x="32" y="4"/>
                  </a:lnTo>
                  <a:lnTo>
                    <a:pt x="34" y="4"/>
                  </a:lnTo>
                  <a:lnTo>
                    <a:pt x="34" y="6"/>
                  </a:lnTo>
                  <a:lnTo>
                    <a:pt x="34" y="8"/>
                  </a:lnTo>
                  <a:lnTo>
                    <a:pt x="36" y="8"/>
                  </a:lnTo>
                  <a:lnTo>
                    <a:pt x="36" y="9"/>
                  </a:lnTo>
                  <a:lnTo>
                    <a:pt x="36" y="11"/>
                  </a:lnTo>
                  <a:lnTo>
                    <a:pt x="38" y="11"/>
                  </a:lnTo>
                  <a:lnTo>
                    <a:pt x="38" y="13"/>
                  </a:lnTo>
                  <a:lnTo>
                    <a:pt x="38" y="15"/>
                  </a:lnTo>
                  <a:lnTo>
                    <a:pt x="38" y="17"/>
                  </a:lnTo>
                  <a:lnTo>
                    <a:pt x="38" y="19"/>
                  </a:lnTo>
                  <a:lnTo>
                    <a:pt x="40" y="19"/>
                  </a:lnTo>
                  <a:lnTo>
                    <a:pt x="40" y="21"/>
                  </a:lnTo>
                  <a:lnTo>
                    <a:pt x="40" y="23"/>
                  </a:lnTo>
                  <a:lnTo>
                    <a:pt x="40" y="21"/>
                  </a:lnTo>
                  <a:lnTo>
                    <a:pt x="40" y="23"/>
                  </a:lnTo>
                  <a:lnTo>
                    <a:pt x="40" y="25"/>
                  </a:lnTo>
                  <a:lnTo>
                    <a:pt x="40" y="27"/>
                  </a:lnTo>
                  <a:lnTo>
                    <a:pt x="40" y="29"/>
                  </a:lnTo>
                  <a:lnTo>
                    <a:pt x="42" y="29"/>
                  </a:lnTo>
                  <a:lnTo>
                    <a:pt x="42" y="31"/>
                  </a:lnTo>
                  <a:lnTo>
                    <a:pt x="42" y="33"/>
                  </a:lnTo>
                  <a:lnTo>
                    <a:pt x="44" y="33"/>
                  </a:lnTo>
                  <a:lnTo>
                    <a:pt x="44" y="34"/>
                  </a:lnTo>
                  <a:lnTo>
                    <a:pt x="44" y="36"/>
                  </a:lnTo>
                  <a:lnTo>
                    <a:pt x="44" y="38"/>
                  </a:lnTo>
                  <a:lnTo>
                    <a:pt x="46" y="38"/>
                  </a:lnTo>
                  <a:lnTo>
                    <a:pt x="46" y="36"/>
                  </a:lnTo>
                  <a:lnTo>
                    <a:pt x="46" y="38"/>
                  </a:lnTo>
                  <a:lnTo>
                    <a:pt x="48" y="38"/>
                  </a:lnTo>
                  <a:lnTo>
                    <a:pt x="48" y="40"/>
                  </a:lnTo>
                  <a:lnTo>
                    <a:pt x="48" y="42"/>
                  </a:lnTo>
                  <a:lnTo>
                    <a:pt x="48" y="44"/>
                  </a:lnTo>
                  <a:lnTo>
                    <a:pt x="50" y="44"/>
                  </a:lnTo>
                  <a:lnTo>
                    <a:pt x="50" y="42"/>
                  </a:lnTo>
                  <a:lnTo>
                    <a:pt x="50" y="40"/>
                  </a:lnTo>
                  <a:lnTo>
                    <a:pt x="50" y="38"/>
                  </a:lnTo>
                  <a:lnTo>
                    <a:pt x="52" y="38"/>
                  </a:lnTo>
                  <a:lnTo>
                    <a:pt x="52" y="40"/>
                  </a:lnTo>
                  <a:lnTo>
                    <a:pt x="53" y="40"/>
                  </a:lnTo>
                  <a:lnTo>
                    <a:pt x="53" y="42"/>
                  </a:lnTo>
                  <a:lnTo>
                    <a:pt x="52" y="42"/>
                  </a:lnTo>
                  <a:lnTo>
                    <a:pt x="53" y="42"/>
                  </a:lnTo>
                  <a:lnTo>
                    <a:pt x="53" y="44"/>
                  </a:lnTo>
                  <a:lnTo>
                    <a:pt x="53" y="46"/>
                  </a:lnTo>
                  <a:lnTo>
                    <a:pt x="55" y="46"/>
                  </a:lnTo>
                  <a:lnTo>
                    <a:pt x="57" y="46"/>
                  </a:lnTo>
                  <a:lnTo>
                    <a:pt x="59" y="46"/>
                  </a:lnTo>
                  <a:lnTo>
                    <a:pt x="59" y="44"/>
                  </a:lnTo>
                  <a:lnTo>
                    <a:pt x="59" y="46"/>
                  </a:lnTo>
                  <a:lnTo>
                    <a:pt x="61" y="46"/>
                  </a:lnTo>
                  <a:lnTo>
                    <a:pt x="59" y="46"/>
                  </a:lnTo>
                  <a:lnTo>
                    <a:pt x="61" y="46"/>
                  </a:lnTo>
                  <a:lnTo>
                    <a:pt x="61" y="48"/>
                  </a:lnTo>
                  <a:lnTo>
                    <a:pt x="61" y="46"/>
                  </a:lnTo>
                  <a:lnTo>
                    <a:pt x="61" y="48"/>
                  </a:lnTo>
                  <a:lnTo>
                    <a:pt x="61" y="46"/>
                  </a:lnTo>
                  <a:lnTo>
                    <a:pt x="63" y="46"/>
                  </a:lnTo>
                  <a:lnTo>
                    <a:pt x="63" y="48"/>
                  </a:lnTo>
                  <a:lnTo>
                    <a:pt x="61" y="48"/>
                  </a:lnTo>
                  <a:lnTo>
                    <a:pt x="63" y="48"/>
                  </a:lnTo>
                  <a:lnTo>
                    <a:pt x="63" y="50"/>
                  </a:lnTo>
                  <a:lnTo>
                    <a:pt x="65" y="50"/>
                  </a:lnTo>
                  <a:lnTo>
                    <a:pt x="63" y="50"/>
                  </a:lnTo>
                  <a:lnTo>
                    <a:pt x="65" y="50"/>
                  </a:lnTo>
                  <a:lnTo>
                    <a:pt x="67" y="50"/>
                  </a:lnTo>
                  <a:lnTo>
                    <a:pt x="69" y="50"/>
                  </a:lnTo>
                  <a:lnTo>
                    <a:pt x="69" y="52"/>
                  </a:lnTo>
                  <a:lnTo>
                    <a:pt x="71" y="52"/>
                  </a:lnTo>
                  <a:lnTo>
                    <a:pt x="71" y="54"/>
                  </a:lnTo>
                  <a:lnTo>
                    <a:pt x="73" y="54"/>
                  </a:lnTo>
                  <a:lnTo>
                    <a:pt x="73" y="56"/>
                  </a:lnTo>
                  <a:lnTo>
                    <a:pt x="73" y="57"/>
                  </a:lnTo>
                  <a:lnTo>
                    <a:pt x="75" y="57"/>
                  </a:lnTo>
                  <a:lnTo>
                    <a:pt x="75" y="59"/>
                  </a:lnTo>
                  <a:lnTo>
                    <a:pt x="76" y="59"/>
                  </a:lnTo>
                  <a:lnTo>
                    <a:pt x="76" y="61"/>
                  </a:lnTo>
                  <a:lnTo>
                    <a:pt x="78" y="61"/>
                  </a:lnTo>
                  <a:lnTo>
                    <a:pt x="78" y="63"/>
                  </a:lnTo>
                  <a:lnTo>
                    <a:pt x="80" y="63"/>
                  </a:lnTo>
                  <a:lnTo>
                    <a:pt x="82" y="63"/>
                  </a:lnTo>
                  <a:lnTo>
                    <a:pt x="80" y="63"/>
                  </a:lnTo>
                  <a:lnTo>
                    <a:pt x="82" y="63"/>
                  </a:lnTo>
                  <a:lnTo>
                    <a:pt x="82" y="65"/>
                  </a:lnTo>
                  <a:lnTo>
                    <a:pt x="84" y="65"/>
                  </a:lnTo>
                  <a:lnTo>
                    <a:pt x="84" y="67"/>
                  </a:lnTo>
                  <a:lnTo>
                    <a:pt x="84" y="65"/>
                  </a:lnTo>
                  <a:lnTo>
                    <a:pt x="84" y="67"/>
                  </a:lnTo>
                  <a:lnTo>
                    <a:pt x="84" y="65"/>
                  </a:lnTo>
                  <a:lnTo>
                    <a:pt x="84" y="67"/>
                  </a:lnTo>
                  <a:lnTo>
                    <a:pt x="86" y="67"/>
                  </a:lnTo>
                  <a:lnTo>
                    <a:pt x="86" y="69"/>
                  </a:lnTo>
                  <a:lnTo>
                    <a:pt x="86" y="71"/>
                  </a:lnTo>
                  <a:lnTo>
                    <a:pt x="86" y="73"/>
                  </a:lnTo>
                  <a:lnTo>
                    <a:pt x="88" y="73"/>
                  </a:lnTo>
                  <a:lnTo>
                    <a:pt x="90" y="73"/>
                  </a:lnTo>
                  <a:lnTo>
                    <a:pt x="90" y="75"/>
                  </a:lnTo>
                  <a:lnTo>
                    <a:pt x="92" y="75"/>
                  </a:lnTo>
                  <a:lnTo>
                    <a:pt x="92" y="77"/>
                  </a:lnTo>
                  <a:lnTo>
                    <a:pt x="92" y="75"/>
                  </a:lnTo>
                  <a:lnTo>
                    <a:pt x="92" y="77"/>
                  </a:lnTo>
                  <a:lnTo>
                    <a:pt x="92" y="75"/>
                  </a:lnTo>
                  <a:lnTo>
                    <a:pt x="92" y="77"/>
                  </a:lnTo>
                  <a:lnTo>
                    <a:pt x="92" y="79"/>
                  </a:lnTo>
                  <a:lnTo>
                    <a:pt x="94" y="79"/>
                  </a:lnTo>
                  <a:lnTo>
                    <a:pt x="94" y="77"/>
                  </a:lnTo>
                  <a:lnTo>
                    <a:pt x="94" y="79"/>
                  </a:lnTo>
                  <a:lnTo>
                    <a:pt x="96" y="79"/>
                  </a:lnTo>
                  <a:lnTo>
                    <a:pt x="94" y="79"/>
                  </a:lnTo>
                  <a:lnTo>
                    <a:pt x="96" y="79"/>
                  </a:lnTo>
                  <a:lnTo>
                    <a:pt x="96" y="77"/>
                  </a:lnTo>
                  <a:lnTo>
                    <a:pt x="96" y="79"/>
                  </a:lnTo>
                  <a:lnTo>
                    <a:pt x="98" y="79"/>
                  </a:lnTo>
                  <a:lnTo>
                    <a:pt x="98" y="81"/>
                  </a:lnTo>
                  <a:close/>
                  <a:moveTo>
                    <a:pt x="52" y="33"/>
                  </a:moveTo>
                  <a:lnTo>
                    <a:pt x="53" y="33"/>
                  </a:lnTo>
                  <a:lnTo>
                    <a:pt x="53" y="34"/>
                  </a:lnTo>
                  <a:lnTo>
                    <a:pt x="53" y="33"/>
                  </a:lnTo>
                  <a:lnTo>
                    <a:pt x="53" y="34"/>
                  </a:lnTo>
                  <a:lnTo>
                    <a:pt x="53" y="36"/>
                  </a:lnTo>
                  <a:lnTo>
                    <a:pt x="55" y="36"/>
                  </a:lnTo>
                  <a:lnTo>
                    <a:pt x="55" y="34"/>
                  </a:lnTo>
                  <a:lnTo>
                    <a:pt x="57" y="34"/>
                  </a:lnTo>
                  <a:lnTo>
                    <a:pt x="57" y="36"/>
                  </a:lnTo>
                  <a:lnTo>
                    <a:pt x="55" y="36"/>
                  </a:lnTo>
                  <a:lnTo>
                    <a:pt x="53" y="36"/>
                  </a:lnTo>
                  <a:lnTo>
                    <a:pt x="52" y="36"/>
                  </a:lnTo>
                  <a:lnTo>
                    <a:pt x="52" y="34"/>
                  </a:lnTo>
                  <a:lnTo>
                    <a:pt x="52" y="36"/>
                  </a:lnTo>
                  <a:lnTo>
                    <a:pt x="52" y="34"/>
                  </a:lnTo>
                  <a:lnTo>
                    <a:pt x="52" y="36"/>
                  </a:lnTo>
                  <a:lnTo>
                    <a:pt x="53" y="36"/>
                  </a:lnTo>
                  <a:lnTo>
                    <a:pt x="53" y="34"/>
                  </a:lnTo>
                  <a:lnTo>
                    <a:pt x="52" y="34"/>
                  </a:lnTo>
                  <a:lnTo>
                    <a:pt x="52" y="33"/>
                  </a:lnTo>
                  <a:lnTo>
                    <a:pt x="52" y="34"/>
                  </a:lnTo>
                  <a:lnTo>
                    <a:pt x="52" y="33"/>
                  </a:lnTo>
                  <a:lnTo>
                    <a:pt x="53" y="33"/>
                  </a:lnTo>
                  <a:lnTo>
                    <a:pt x="52" y="33"/>
                  </a:lnTo>
                  <a:close/>
                  <a:moveTo>
                    <a:pt x="52" y="29"/>
                  </a:moveTo>
                  <a:lnTo>
                    <a:pt x="53" y="29"/>
                  </a:lnTo>
                  <a:lnTo>
                    <a:pt x="53" y="31"/>
                  </a:lnTo>
                  <a:lnTo>
                    <a:pt x="52" y="31"/>
                  </a:lnTo>
                  <a:lnTo>
                    <a:pt x="52" y="29"/>
                  </a:lnTo>
                  <a:close/>
                  <a:moveTo>
                    <a:pt x="55" y="44"/>
                  </a:moveTo>
                  <a:lnTo>
                    <a:pt x="57" y="44"/>
                  </a:lnTo>
                  <a:lnTo>
                    <a:pt x="57" y="46"/>
                  </a:lnTo>
                  <a:lnTo>
                    <a:pt x="55" y="46"/>
                  </a:lnTo>
                  <a:lnTo>
                    <a:pt x="55" y="44"/>
                  </a:lnTo>
                  <a:close/>
                  <a:moveTo>
                    <a:pt x="55" y="42"/>
                  </a:moveTo>
                  <a:lnTo>
                    <a:pt x="55" y="44"/>
                  </a:lnTo>
                  <a:lnTo>
                    <a:pt x="55" y="42"/>
                  </a:lnTo>
                  <a:close/>
                  <a:moveTo>
                    <a:pt x="53" y="27"/>
                  </a:moveTo>
                  <a:lnTo>
                    <a:pt x="55" y="27"/>
                  </a:lnTo>
                  <a:lnTo>
                    <a:pt x="55" y="29"/>
                  </a:lnTo>
                  <a:lnTo>
                    <a:pt x="53" y="29"/>
                  </a:lnTo>
                  <a:lnTo>
                    <a:pt x="53" y="27"/>
                  </a:lnTo>
                  <a:close/>
                  <a:moveTo>
                    <a:pt x="53" y="34"/>
                  </a:moveTo>
                  <a:lnTo>
                    <a:pt x="55" y="34"/>
                  </a:lnTo>
                  <a:lnTo>
                    <a:pt x="53" y="34"/>
                  </a:lnTo>
                  <a:close/>
                  <a:moveTo>
                    <a:pt x="94" y="77"/>
                  </a:moveTo>
                  <a:lnTo>
                    <a:pt x="96" y="77"/>
                  </a:lnTo>
                  <a:lnTo>
                    <a:pt x="94" y="77"/>
                  </a:lnTo>
                  <a:close/>
                  <a:moveTo>
                    <a:pt x="53" y="21"/>
                  </a:moveTo>
                  <a:lnTo>
                    <a:pt x="55" y="21"/>
                  </a:lnTo>
                  <a:lnTo>
                    <a:pt x="55" y="23"/>
                  </a:lnTo>
                  <a:lnTo>
                    <a:pt x="53" y="23"/>
                  </a:lnTo>
                  <a:lnTo>
                    <a:pt x="53" y="21"/>
                  </a:lnTo>
                  <a:close/>
                  <a:moveTo>
                    <a:pt x="50" y="25"/>
                  </a:moveTo>
                  <a:lnTo>
                    <a:pt x="52" y="25"/>
                  </a:lnTo>
                  <a:lnTo>
                    <a:pt x="52" y="27"/>
                  </a:lnTo>
                  <a:lnTo>
                    <a:pt x="50" y="27"/>
                  </a:lnTo>
                  <a:lnTo>
                    <a:pt x="50" y="25"/>
                  </a:lnTo>
                  <a:close/>
                  <a:moveTo>
                    <a:pt x="53" y="29"/>
                  </a:moveTo>
                  <a:lnTo>
                    <a:pt x="55" y="29"/>
                  </a:lnTo>
                  <a:lnTo>
                    <a:pt x="55" y="31"/>
                  </a:lnTo>
                  <a:lnTo>
                    <a:pt x="53" y="31"/>
                  </a:lnTo>
                  <a:lnTo>
                    <a:pt x="53" y="29"/>
                  </a:lnTo>
                  <a:close/>
                  <a:moveTo>
                    <a:pt x="63" y="38"/>
                  </a:moveTo>
                  <a:lnTo>
                    <a:pt x="65" y="38"/>
                  </a:lnTo>
                  <a:lnTo>
                    <a:pt x="63" y="38"/>
                  </a:lnTo>
                  <a:close/>
                  <a:moveTo>
                    <a:pt x="46" y="31"/>
                  </a:moveTo>
                  <a:lnTo>
                    <a:pt x="48" y="31"/>
                  </a:lnTo>
                  <a:lnTo>
                    <a:pt x="48" y="33"/>
                  </a:lnTo>
                  <a:lnTo>
                    <a:pt x="46" y="33"/>
                  </a:lnTo>
                  <a:lnTo>
                    <a:pt x="46" y="31"/>
                  </a:lnTo>
                  <a:close/>
                  <a:moveTo>
                    <a:pt x="55" y="25"/>
                  </a:moveTo>
                  <a:lnTo>
                    <a:pt x="55" y="27"/>
                  </a:lnTo>
                  <a:lnTo>
                    <a:pt x="55" y="25"/>
                  </a:lnTo>
                  <a:close/>
                  <a:moveTo>
                    <a:pt x="52" y="31"/>
                  </a:moveTo>
                  <a:lnTo>
                    <a:pt x="53" y="31"/>
                  </a:lnTo>
                  <a:lnTo>
                    <a:pt x="52" y="31"/>
                  </a:lnTo>
                  <a:close/>
                  <a:moveTo>
                    <a:pt x="94" y="75"/>
                  </a:moveTo>
                  <a:lnTo>
                    <a:pt x="94" y="77"/>
                  </a:lnTo>
                  <a:lnTo>
                    <a:pt x="94" y="75"/>
                  </a:lnTo>
                  <a:close/>
                  <a:moveTo>
                    <a:pt x="52" y="36"/>
                  </a:moveTo>
                  <a:lnTo>
                    <a:pt x="52" y="38"/>
                  </a:lnTo>
                  <a:lnTo>
                    <a:pt x="52" y="36"/>
                  </a:lnTo>
                  <a:close/>
                  <a:moveTo>
                    <a:pt x="55" y="31"/>
                  </a:moveTo>
                  <a:lnTo>
                    <a:pt x="57" y="31"/>
                  </a:lnTo>
                  <a:lnTo>
                    <a:pt x="55" y="31"/>
                  </a:lnTo>
                  <a:close/>
                  <a:moveTo>
                    <a:pt x="57" y="44"/>
                  </a:moveTo>
                  <a:lnTo>
                    <a:pt x="57" y="46"/>
                  </a:lnTo>
                  <a:lnTo>
                    <a:pt x="57" y="44"/>
                  </a:lnTo>
                  <a:close/>
                  <a:moveTo>
                    <a:pt x="92" y="77"/>
                  </a:moveTo>
                  <a:lnTo>
                    <a:pt x="94" y="77"/>
                  </a:lnTo>
                  <a:lnTo>
                    <a:pt x="92" y="77"/>
                  </a:lnTo>
                  <a:close/>
                  <a:moveTo>
                    <a:pt x="50" y="38"/>
                  </a:moveTo>
                  <a:lnTo>
                    <a:pt x="52" y="38"/>
                  </a:lnTo>
                  <a:lnTo>
                    <a:pt x="50" y="38"/>
                  </a:lnTo>
                  <a:close/>
                  <a:moveTo>
                    <a:pt x="61" y="33"/>
                  </a:moveTo>
                  <a:lnTo>
                    <a:pt x="63" y="33"/>
                  </a:lnTo>
                  <a:lnTo>
                    <a:pt x="61" y="33"/>
                  </a:lnTo>
                  <a:close/>
                  <a:moveTo>
                    <a:pt x="55" y="31"/>
                  </a:moveTo>
                  <a:lnTo>
                    <a:pt x="55" y="33"/>
                  </a:lnTo>
                  <a:lnTo>
                    <a:pt x="55" y="31"/>
                  </a:lnTo>
                  <a:close/>
                  <a:moveTo>
                    <a:pt x="52" y="31"/>
                  </a:moveTo>
                  <a:lnTo>
                    <a:pt x="52" y="33"/>
                  </a:lnTo>
                  <a:lnTo>
                    <a:pt x="52" y="31"/>
                  </a:lnTo>
                  <a:close/>
                  <a:moveTo>
                    <a:pt x="59" y="33"/>
                  </a:moveTo>
                  <a:lnTo>
                    <a:pt x="61" y="33"/>
                  </a:lnTo>
                  <a:lnTo>
                    <a:pt x="59" y="33"/>
                  </a:lnTo>
                  <a:close/>
                  <a:moveTo>
                    <a:pt x="80" y="61"/>
                  </a:moveTo>
                  <a:lnTo>
                    <a:pt x="80" y="63"/>
                  </a:lnTo>
                  <a:lnTo>
                    <a:pt x="80" y="61"/>
                  </a:lnTo>
                  <a:close/>
                  <a:moveTo>
                    <a:pt x="63" y="34"/>
                  </a:moveTo>
                  <a:lnTo>
                    <a:pt x="63" y="36"/>
                  </a:lnTo>
                  <a:lnTo>
                    <a:pt x="63" y="34"/>
                  </a:lnTo>
                  <a:close/>
                  <a:moveTo>
                    <a:pt x="94" y="79"/>
                  </a:moveTo>
                  <a:lnTo>
                    <a:pt x="96" y="79"/>
                  </a:lnTo>
                  <a:lnTo>
                    <a:pt x="94" y="79"/>
                  </a:lnTo>
                  <a:close/>
                  <a:moveTo>
                    <a:pt x="50" y="34"/>
                  </a:moveTo>
                  <a:lnTo>
                    <a:pt x="52" y="34"/>
                  </a:lnTo>
                  <a:lnTo>
                    <a:pt x="50" y="34"/>
                  </a:lnTo>
                  <a:close/>
                  <a:moveTo>
                    <a:pt x="94" y="75"/>
                  </a:moveTo>
                  <a:lnTo>
                    <a:pt x="96" y="75"/>
                  </a:lnTo>
                  <a:lnTo>
                    <a:pt x="96" y="77"/>
                  </a:lnTo>
                  <a:lnTo>
                    <a:pt x="94" y="77"/>
                  </a:lnTo>
                  <a:lnTo>
                    <a:pt x="94" y="75"/>
                  </a:lnTo>
                  <a:close/>
                  <a:moveTo>
                    <a:pt x="50" y="34"/>
                  </a:moveTo>
                  <a:lnTo>
                    <a:pt x="52" y="34"/>
                  </a:lnTo>
                  <a:lnTo>
                    <a:pt x="50" y="34"/>
                  </a:lnTo>
                  <a:close/>
                  <a:moveTo>
                    <a:pt x="53" y="40"/>
                  </a:moveTo>
                  <a:lnTo>
                    <a:pt x="55" y="40"/>
                  </a:lnTo>
                  <a:lnTo>
                    <a:pt x="55" y="42"/>
                  </a:lnTo>
                  <a:lnTo>
                    <a:pt x="53" y="42"/>
                  </a:lnTo>
                  <a:lnTo>
                    <a:pt x="53" y="40"/>
                  </a:lnTo>
                  <a:close/>
                  <a:moveTo>
                    <a:pt x="53" y="42"/>
                  </a:moveTo>
                  <a:lnTo>
                    <a:pt x="55" y="42"/>
                  </a:lnTo>
                  <a:lnTo>
                    <a:pt x="53" y="42"/>
                  </a:lnTo>
                  <a:close/>
                  <a:moveTo>
                    <a:pt x="80" y="61"/>
                  </a:moveTo>
                  <a:lnTo>
                    <a:pt x="80" y="63"/>
                  </a:lnTo>
                  <a:lnTo>
                    <a:pt x="80" y="61"/>
                  </a:lnTo>
                  <a:close/>
                  <a:moveTo>
                    <a:pt x="50" y="33"/>
                  </a:moveTo>
                  <a:lnTo>
                    <a:pt x="52" y="33"/>
                  </a:lnTo>
                  <a:lnTo>
                    <a:pt x="50" y="33"/>
                  </a:lnTo>
                  <a:close/>
                  <a:moveTo>
                    <a:pt x="57" y="42"/>
                  </a:moveTo>
                  <a:lnTo>
                    <a:pt x="57" y="44"/>
                  </a:lnTo>
                  <a:lnTo>
                    <a:pt x="57" y="42"/>
                  </a:lnTo>
                  <a:close/>
                  <a:moveTo>
                    <a:pt x="94" y="77"/>
                  </a:moveTo>
                  <a:lnTo>
                    <a:pt x="96" y="77"/>
                  </a:lnTo>
                  <a:lnTo>
                    <a:pt x="94" y="77"/>
                  </a:lnTo>
                  <a:close/>
                  <a:moveTo>
                    <a:pt x="53" y="44"/>
                  </a:moveTo>
                  <a:lnTo>
                    <a:pt x="55" y="44"/>
                  </a:lnTo>
                  <a:lnTo>
                    <a:pt x="53" y="44"/>
                  </a:lnTo>
                  <a:close/>
                  <a:moveTo>
                    <a:pt x="94" y="79"/>
                  </a:moveTo>
                  <a:lnTo>
                    <a:pt x="96" y="79"/>
                  </a:lnTo>
                  <a:lnTo>
                    <a:pt x="94" y="79"/>
                  </a:lnTo>
                  <a:close/>
                  <a:moveTo>
                    <a:pt x="52" y="27"/>
                  </a:moveTo>
                  <a:lnTo>
                    <a:pt x="53" y="27"/>
                  </a:lnTo>
                  <a:lnTo>
                    <a:pt x="52" y="27"/>
                  </a:lnTo>
                  <a:close/>
                  <a:moveTo>
                    <a:pt x="59" y="33"/>
                  </a:moveTo>
                  <a:lnTo>
                    <a:pt x="61" y="33"/>
                  </a:lnTo>
                  <a:lnTo>
                    <a:pt x="59" y="33"/>
                  </a:lnTo>
                  <a:close/>
                  <a:moveTo>
                    <a:pt x="53" y="27"/>
                  </a:moveTo>
                  <a:lnTo>
                    <a:pt x="55" y="27"/>
                  </a:lnTo>
                  <a:lnTo>
                    <a:pt x="53" y="27"/>
                  </a:lnTo>
                  <a:close/>
                  <a:moveTo>
                    <a:pt x="55" y="42"/>
                  </a:moveTo>
                  <a:lnTo>
                    <a:pt x="57" y="42"/>
                  </a:lnTo>
                  <a:lnTo>
                    <a:pt x="55" y="42"/>
                  </a:lnTo>
                  <a:close/>
                  <a:moveTo>
                    <a:pt x="50" y="33"/>
                  </a:moveTo>
                  <a:lnTo>
                    <a:pt x="50" y="34"/>
                  </a:lnTo>
                  <a:lnTo>
                    <a:pt x="50" y="33"/>
                  </a:lnTo>
                  <a:close/>
                  <a:moveTo>
                    <a:pt x="59" y="36"/>
                  </a:moveTo>
                  <a:lnTo>
                    <a:pt x="59" y="38"/>
                  </a:lnTo>
                  <a:lnTo>
                    <a:pt x="59" y="36"/>
                  </a:lnTo>
                  <a:close/>
                  <a:moveTo>
                    <a:pt x="50" y="31"/>
                  </a:moveTo>
                  <a:lnTo>
                    <a:pt x="50" y="33"/>
                  </a:lnTo>
                  <a:lnTo>
                    <a:pt x="50" y="31"/>
                  </a:lnTo>
                  <a:close/>
                  <a:moveTo>
                    <a:pt x="46" y="31"/>
                  </a:moveTo>
                  <a:lnTo>
                    <a:pt x="46" y="33"/>
                  </a:lnTo>
                  <a:lnTo>
                    <a:pt x="46" y="31"/>
                  </a:lnTo>
                  <a:close/>
                  <a:moveTo>
                    <a:pt x="59" y="34"/>
                  </a:moveTo>
                  <a:lnTo>
                    <a:pt x="61" y="34"/>
                  </a:lnTo>
                  <a:lnTo>
                    <a:pt x="59" y="34"/>
                  </a:lnTo>
                  <a:close/>
                  <a:moveTo>
                    <a:pt x="63" y="48"/>
                  </a:moveTo>
                  <a:lnTo>
                    <a:pt x="65" y="48"/>
                  </a:lnTo>
                  <a:lnTo>
                    <a:pt x="63" y="48"/>
                  </a:lnTo>
                  <a:close/>
                  <a:moveTo>
                    <a:pt x="84" y="65"/>
                  </a:moveTo>
                  <a:lnTo>
                    <a:pt x="84" y="67"/>
                  </a:lnTo>
                  <a:lnTo>
                    <a:pt x="84" y="65"/>
                  </a:lnTo>
                  <a:close/>
                  <a:moveTo>
                    <a:pt x="44" y="29"/>
                  </a:moveTo>
                  <a:lnTo>
                    <a:pt x="44" y="31"/>
                  </a:lnTo>
                  <a:lnTo>
                    <a:pt x="44" y="29"/>
                  </a:lnTo>
                  <a:close/>
                  <a:moveTo>
                    <a:pt x="57" y="44"/>
                  </a:moveTo>
                  <a:lnTo>
                    <a:pt x="59" y="44"/>
                  </a:lnTo>
                  <a:lnTo>
                    <a:pt x="57" y="44"/>
                  </a:lnTo>
                  <a:close/>
                  <a:moveTo>
                    <a:pt x="48" y="27"/>
                  </a:moveTo>
                  <a:lnTo>
                    <a:pt x="50" y="27"/>
                  </a:lnTo>
                  <a:lnTo>
                    <a:pt x="48" y="27"/>
                  </a:lnTo>
                  <a:close/>
                  <a:moveTo>
                    <a:pt x="94" y="77"/>
                  </a:moveTo>
                  <a:lnTo>
                    <a:pt x="94" y="79"/>
                  </a:lnTo>
                  <a:lnTo>
                    <a:pt x="94" y="77"/>
                  </a:lnTo>
                  <a:close/>
                  <a:moveTo>
                    <a:pt x="94" y="77"/>
                  </a:moveTo>
                  <a:lnTo>
                    <a:pt x="96" y="77"/>
                  </a:lnTo>
                  <a:lnTo>
                    <a:pt x="94" y="77"/>
                  </a:lnTo>
                  <a:close/>
                  <a:moveTo>
                    <a:pt x="92" y="77"/>
                  </a:moveTo>
                  <a:lnTo>
                    <a:pt x="94" y="77"/>
                  </a:lnTo>
                  <a:lnTo>
                    <a:pt x="92" y="77"/>
                  </a:lnTo>
                  <a:close/>
                  <a:moveTo>
                    <a:pt x="94" y="77"/>
                  </a:moveTo>
                  <a:lnTo>
                    <a:pt x="94" y="79"/>
                  </a:lnTo>
                  <a:lnTo>
                    <a:pt x="94" y="7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319">
              <a:extLst>
                <a:ext uri="{FF2B5EF4-FFF2-40B4-BE49-F238E27FC236}">
                  <a16:creationId xmlns:a16="http://schemas.microsoft.com/office/drawing/2014/main" id="{25CB8CA5-557F-4635-85D9-BDCF521F975B}"/>
                </a:ext>
              </a:extLst>
            </p:cNvPr>
            <p:cNvSpPr>
              <a:spLocks noEditPoints="1"/>
            </p:cNvSpPr>
            <p:nvPr/>
          </p:nvSpPr>
          <p:spPr bwMode="gray">
            <a:xfrm>
              <a:off x="3958805" y="4138434"/>
              <a:ext cx="28207" cy="31886"/>
            </a:xfrm>
            <a:custGeom>
              <a:avLst/>
              <a:gdLst>
                <a:gd name="T0" fmla="*/ 22 w 23"/>
                <a:gd name="T1" fmla="*/ 19 h 26"/>
                <a:gd name="T2" fmla="*/ 18 w 23"/>
                <a:gd name="T3" fmla="*/ 25 h 26"/>
                <a:gd name="T4" fmla="*/ 14 w 23"/>
                <a:gd name="T5" fmla="*/ 25 h 26"/>
                <a:gd name="T6" fmla="*/ 14 w 23"/>
                <a:gd name="T7" fmla="*/ 25 h 26"/>
                <a:gd name="T8" fmla="*/ 12 w 23"/>
                <a:gd name="T9" fmla="*/ 23 h 26"/>
                <a:gd name="T10" fmla="*/ 10 w 23"/>
                <a:gd name="T11" fmla="*/ 25 h 26"/>
                <a:gd name="T12" fmla="*/ 6 w 23"/>
                <a:gd name="T13" fmla="*/ 25 h 26"/>
                <a:gd name="T14" fmla="*/ 4 w 23"/>
                <a:gd name="T15" fmla="*/ 26 h 26"/>
                <a:gd name="T16" fmla="*/ 2 w 23"/>
                <a:gd name="T17" fmla="*/ 25 h 26"/>
                <a:gd name="T18" fmla="*/ 2 w 23"/>
                <a:gd name="T19" fmla="*/ 25 h 26"/>
                <a:gd name="T20" fmla="*/ 0 w 23"/>
                <a:gd name="T21" fmla="*/ 23 h 26"/>
                <a:gd name="T22" fmla="*/ 0 w 23"/>
                <a:gd name="T23" fmla="*/ 19 h 26"/>
                <a:gd name="T24" fmla="*/ 0 w 23"/>
                <a:gd name="T25" fmla="*/ 15 h 26"/>
                <a:gd name="T26" fmla="*/ 2 w 23"/>
                <a:gd name="T27" fmla="*/ 13 h 26"/>
                <a:gd name="T28" fmla="*/ 4 w 23"/>
                <a:gd name="T29" fmla="*/ 11 h 26"/>
                <a:gd name="T30" fmla="*/ 6 w 23"/>
                <a:gd name="T31" fmla="*/ 9 h 26"/>
                <a:gd name="T32" fmla="*/ 6 w 23"/>
                <a:gd name="T33" fmla="*/ 5 h 26"/>
                <a:gd name="T34" fmla="*/ 8 w 23"/>
                <a:gd name="T35" fmla="*/ 3 h 26"/>
                <a:gd name="T36" fmla="*/ 10 w 23"/>
                <a:gd name="T37" fmla="*/ 1 h 26"/>
                <a:gd name="T38" fmla="*/ 12 w 23"/>
                <a:gd name="T39" fmla="*/ 3 h 26"/>
                <a:gd name="T40" fmla="*/ 16 w 23"/>
                <a:gd name="T41" fmla="*/ 3 h 26"/>
                <a:gd name="T42" fmla="*/ 16 w 23"/>
                <a:gd name="T43" fmla="*/ 3 h 26"/>
                <a:gd name="T44" fmla="*/ 16 w 23"/>
                <a:gd name="T45" fmla="*/ 0 h 26"/>
                <a:gd name="T46" fmla="*/ 20 w 23"/>
                <a:gd name="T47" fmla="*/ 0 h 26"/>
                <a:gd name="T48" fmla="*/ 22 w 23"/>
                <a:gd name="T49" fmla="*/ 3 h 26"/>
                <a:gd name="T50" fmla="*/ 22 w 23"/>
                <a:gd name="T51" fmla="*/ 3 h 26"/>
                <a:gd name="T52" fmla="*/ 23 w 23"/>
                <a:gd name="T53" fmla="*/ 1 h 26"/>
                <a:gd name="T54" fmla="*/ 23 w 23"/>
                <a:gd name="T55" fmla="*/ 5 h 26"/>
                <a:gd name="T56" fmla="*/ 23 w 23"/>
                <a:gd name="T57" fmla="*/ 9 h 26"/>
                <a:gd name="T58" fmla="*/ 22 w 23"/>
                <a:gd name="T59" fmla="*/ 11 h 26"/>
                <a:gd name="T60" fmla="*/ 22 w 23"/>
                <a:gd name="T61" fmla="*/ 11 h 26"/>
                <a:gd name="T62" fmla="*/ 20 w 23"/>
                <a:gd name="T63" fmla="*/ 13 h 26"/>
                <a:gd name="T64" fmla="*/ 16 w 23"/>
                <a:gd name="T65" fmla="*/ 13 h 26"/>
                <a:gd name="T66" fmla="*/ 14 w 23"/>
                <a:gd name="T67" fmla="*/ 15 h 26"/>
                <a:gd name="T68" fmla="*/ 12 w 23"/>
                <a:gd name="T69" fmla="*/ 17 h 26"/>
                <a:gd name="T70" fmla="*/ 10 w 23"/>
                <a:gd name="T71" fmla="*/ 15 h 26"/>
                <a:gd name="T72" fmla="*/ 12 w 23"/>
                <a:gd name="T73" fmla="*/ 17 h 26"/>
                <a:gd name="T74" fmla="*/ 12 w 23"/>
                <a:gd name="T75" fmla="*/ 17 h 26"/>
                <a:gd name="T76" fmla="*/ 12 w 23"/>
                <a:gd name="T77" fmla="*/ 17 h 26"/>
                <a:gd name="T78" fmla="*/ 14 w 23"/>
                <a:gd name="T79" fmla="*/ 15 h 26"/>
                <a:gd name="T80" fmla="*/ 18 w 23"/>
                <a:gd name="T81" fmla="*/ 15 h 26"/>
                <a:gd name="T82" fmla="*/ 20 w 23"/>
                <a:gd name="T83" fmla="*/ 17 h 26"/>
                <a:gd name="T84" fmla="*/ 20 w 23"/>
                <a:gd name="T85" fmla="*/ 13 h 26"/>
                <a:gd name="T86" fmla="*/ 20 w 23"/>
                <a:gd name="T87" fmla="*/ 13 h 26"/>
                <a:gd name="T88" fmla="*/ 23 w 23"/>
                <a:gd name="T89" fmla="*/ 3 h 26"/>
                <a:gd name="T90" fmla="*/ 20 w 23"/>
                <a:gd name="T91" fmla="*/ 17 h 26"/>
                <a:gd name="T92" fmla="*/ 20 w 23"/>
                <a:gd name="T9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26">
                  <a:moveTo>
                    <a:pt x="22" y="17"/>
                  </a:moveTo>
                  <a:lnTo>
                    <a:pt x="22" y="19"/>
                  </a:lnTo>
                  <a:lnTo>
                    <a:pt x="18" y="23"/>
                  </a:lnTo>
                  <a:lnTo>
                    <a:pt x="18" y="25"/>
                  </a:lnTo>
                  <a:lnTo>
                    <a:pt x="16" y="25"/>
                  </a:lnTo>
                  <a:lnTo>
                    <a:pt x="14" y="25"/>
                  </a:lnTo>
                  <a:lnTo>
                    <a:pt x="14" y="23"/>
                  </a:lnTo>
                  <a:lnTo>
                    <a:pt x="14" y="25"/>
                  </a:lnTo>
                  <a:lnTo>
                    <a:pt x="14" y="23"/>
                  </a:lnTo>
                  <a:lnTo>
                    <a:pt x="12" y="23"/>
                  </a:lnTo>
                  <a:lnTo>
                    <a:pt x="12" y="25"/>
                  </a:lnTo>
                  <a:lnTo>
                    <a:pt x="10" y="25"/>
                  </a:lnTo>
                  <a:lnTo>
                    <a:pt x="8" y="25"/>
                  </a:lnTo>
                  <a:lnTo>
                    <a:pt x="6" y="25"/>
                  </a:lnTo>
                  <a:lnTo>
                    <a:pt x="4" y="25"/>
                  </a:lnTo>
                  <a:lnTo>
                    <a:pt x="4" y="26"/>
                  </a:lnTo>
                  <a:lnTo>
                    <a:pt x="2" y="26"/>
                  </a:lnTo>
                  <a:lnTo>
                    <a:pt x="2" y="25"/>
                  </a:lnTo>
                  <a:lnTo>
                    <a:pt x="2" y="26"/>
                  </a:lnTo>
                  <a:lnTo>
                    <a:pt x="2" y="25"/>
                  </a:lnTo>
                  <a:lnTo>
                    <a:pt x="0" y="25"/>
                  </a:lnTo>
                  <a:lnTo>
                    <a:pt x="0" y="23"/>
                  </a:lnTo>
                  <a:lnTo>
                    <a:pt x="0" y="21"/>
                  </a:lnTo>
                  <a:lnTo>
                    <a:pt x="0" y="19"/>
                  </a:lnTo>
                  <a:lnTo>
                    <a:pt x="0" y="17"/>
                  </a:lnTo>
                  <a:lnTo>
                    <a:pt x="0" y="15"/>
                  </a:lnTo>
                  <a:lnTo>
                    <a:pt x="0" y="13"/>
                  </a:lnTo>
                  <a:lnTo>
                    <a:pt x="2" y="13"/>
                  </a:lnTo>
                  <a:lnTo>
                    <a:pt x="2" y="11"/>
                  </a:lnTo>
                  <a:lnTo>
                    <a:pt x="4" y="11"/>
                  </a:lnTo>
                  <a:lnTo>
                    <a:pt x="4" y="9"/>
                  </a:lnTo>
                  <a:lnTo>
                    <a:pt x="6" y="9"/>
                  </a:lnTo>
                  <a:lnTo>
                    <a:pt x="6" y="7"/>
                  </a:lnTo>
                  <a:lnTo>
                    <a:pt x="6" y="5"/>
                  </a:lnTo>
                  <a:lnTo>
                    <a:pt x="8" y="5"/>
                  </a:lnTo>
                  <a:lnTo>
                    <a:pt x="8" y="3"/>
                  </a:lnTo>
                  <a:lnTo>
                    <a:pt x="10" y="3"/>
                  </a:lnTo>
                  <a:lnTo>
                    <a:pt x="10" y="1"/>
                  </a:lnTo>
                  <a:lnTo>
                    <a:pt x="12" y="1"/>
                  </a:lnTo>
                  <a:lnTo>
                    <a:pt x="12" y="3"/>
                  </a:lnTo>
                  <a:lnTo>
                    <a:pt x="14" y="3"/>
                  </a:lnTo>
                  <a:lnTo>
                    <a:pt x="16" y="3"/>
                  </a:lnTo>
                  <a:lnTo>
                    <a:pt x="16" y="1"/>
                  </a:lnTo>
                  <a:lnTo>
                    <a:pt x="16" y="3"/>
                  </a:lnTo>
                  <a:lnTo>
                    <a:pt x="16" y="1"/>
                  </a:lnTo>
                  <a:lnTo>
                    <a:pt x="16" y="0"/>
                  </a:lnTo>
                  <a:lnTo>
                    <a:pt x="18" y="0"/>
                  </a:lnTo>
                  <a:lnTo>
                    <a:pt x="20" y="0"/>
                  </a:lnTo>
                  <a:lnTo>
                    <a:pt x="22" y="1"/>
                  </a:lnTo>
                  <a:lnTo>
                    <a:pt x="22" y="3"/>
                  </a:lnTo>
                  <a:lnTo>
                    <a:pt x="23" y="3"/>
                  </a:lnTo>
                  <a:lnTo>
                    <a:pt x="22" y="3"/>
                  </a:lnTo>
                  <a:lnTo>
                    <a:pt x="22" y="1"/>
                  </a:lnTo>
                  <a:lnTo>
                    <a:pt x="23" y="1"/>
                  </a:lnTo>
                  <a:lnTo>
                    <a:pt x="23" y="3"/>
                  </a:lnTo>
                  <a:lnTo>
                    <a:pt x="23" y="5"/>
                  </a:lnTo>
                  <a:lnTo>
                    <a:pt x="23" y="7"/>
                  </a:lnTo>
                  <a:lnTo>
                    <a:pt x="23" y="9"/>
                  </a:lnTo>
                  <a:lnTo>
                    <a:pt x="22" y="9"/>
                  </a:lnTo>
                  <a:lnTo>
                    <a:pt x="22" y="11"/>
                  </a:lnTo>
                  <a:lnTo>
                    <a:pt x="22" y="9"/>
                  </a:lnTo>
                  <a:lnTo>
                    <a:pt x="22" y="11"/>
                  </a:lnTo>
                  <a:lnTo>
                    <a:pt x="20" y="11"/>
                  </a:lnTo>
                  <a:lnTo>
                    <a:pt x="20" y="13"/>
                  </a:lnTo>
                  <a:lnTo>
                    <a:pt x="18" y="13"/>
                  </a:lnTo>
                  <a:lnTo>
                    <a:pt x="16" y="13"/>
                  </a:lnTo>
                  <a:lnTo>
                    <a:pt x="14" y="13"/>
                  </a:lnTo>
                  <a:lnTo>
                    <a:pt x="14" y="15"/>
                  </a:lnTo>
                  <a:lnTo>
                    <a:pt x="14" y="17"/>
                  </a:lnTo>
                  <a:lnTo>
                    <a:pt x="12" y="17"/>
                  </a:lnTo>
                  <a:lnTo>
                    <a:pt x="12" y="15"/>
                  </a:lnTo>
                  <a:lnTo>
                    <a:pt x="10" y="15"/>
                  </a:lnTo>
                  <a:lnTo>
                    <a:pt x="10" y="17"/>
                  </a:lnTo>
                  <a:lnTo>
                    <a:pt x="12" y="17"/>
                  </a:lnTo>
                  <a:lnTo>
                    <a:pt x="10" y="17"/>
                  </a:lnTo>
                  <a:lnTo>
                    <a:pt x="12" y="17"/>
                  </a:lnTo>
                  <a:lnTo>
                    <a:pt x="14" y="17"/>
                  </a:lnTo>
                  <a:lnTo>
                    <a:pt x="12" y="17"/>
                  </a:lnTo>
                  <a:lnTo>
                    <a:pt x="14" y="17"/>
                  </a:lnTo>
                  <a:lnTo>
                    <a:pt x="14" y="15"/>
                  </a:lnTo>
                  <a:lnTo>
                    <a:pt x="16" y="15"/>
                  </a:lnTo>
                  <a:lnTo>
                    <a:pt x="18" y="15"/>
                  </a:lnTo>
                  <a:lnTo>
                    <a:pt x="20" y="15"/>
                  </a:lnTo>
                  <a:lnTo>
                    <a:pt x="20" y="17"/>
                  </a:lnTo>
                  <a:lnTo>
                    <a:pt x="22" y="17"/>
                  </a:lnTo>
                  <a:close/>
                  <a:moveTo>
                    <a:pt x="20" y="13"/>
                  </a:moveTo>
                  <a:lnTo>
                    <a:pt x="22" y="13"/>
                  </a:lnTo>
                  <a:lnTo>
                    <a:pt x="20" y="13"/>
                  </a:lnTo>
                  <a:close/>
                  <a:moveTo>
                    <a:pt x="23" y="1"/>
                  </a:moveTo>
                  <a:lnTo>
                    <a:pt x="23" y="3"/>
                  </a:lnTo>
                  <a:lnTo>
                    <a:pt x="23" y="1"/>
                  </a:lnTo>
                  <a:close/>
                  <a:moveTo>
                    <a:pt x="20" y="17"/>
                  </a:moveTo>
                  <a:lnTo>
                    <a:pt x="22" y="17"/>
                  </a:lnTo>
                  <a:lnTo>
                    <a:pt x="20" y="1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320">
              <a:extLst>
                <a:ext uri="{FF2B5EF4-FFF2-40B4-BE49-F238E27FC236}">
                  <a16:creationId xmlns:a16="http://schemas.microsoft.com/office/drawing/2014/main" id="{D9187854-A92B-4B7B-A824-B9BBA09D922E}"/>
                </a:ext>
              </a:extLst>
            </p:cNvPr>
            <p:cNvSpPr>
              <a:spLocks/>
            </p:cNvSpPr>
            <p:nvPr/>
          </p:nvSpPr>
          <p:spPr bwMode="gray">
            <a:xfrm>
              <a:off x="3801828" y="4097964"/>
              <a:ext cx="268577" cy="207258"/>
            </a:xfrm>
            <a:custGeom>
              <a:avLst/>
              <a:gdLst>
                <a:gd name="T0" fmla="*/ 132 w 219"/>
                <a:gd name="T1" fmla="*/ 42 h 169"/>
                <a:gd name="T2" fmla="*/ 128 w 219"/>
                <a:gd name="T3" fmla="*/ 52 h 169"/>
                <a:gd name="T4" fmla="*/ 130 w 219"/>
                <a:gd name="T5" fmla="*/ 59 h 169"/>
                <a:gd name="T6" fmla="*/ 140 w 219"/>
                <a:gd name="T7" fmla="*/ 56 h 169"/>
                <a:gd name="T8" fmla="*/ 144 w 219"/>
                <a:gd name="T9" fmla="*/ 59 h 169"/>
                <a:gd name="T10" fmla="*/ 144 w 219"/>
                <a:gd name="T11" fmla="*/ 69 h 169"/>
                <a:gd name="T12" fmla="*/ 148 w 219"/>
                <a:gd name="T13" fmla="*/ 75 h 169"/>
                <a:gd name="T14" fmla="*/ 153 w 219"/>
                <a:gd name="T15" fmla="*/ 82 h 169"/>
                <a:gd name="T16" fmla="*/ 171 w 219"/>
                <a:gd name="T17" fmla="*/ 90 h 169"/>
                <a:gd name="T18" fmla="*/ 184 w 219"/>
                <a:gd name="T19" fmla="*/ 96 h 169"/>
                <a:gd name="T20" fmla="*/ 211 w 219"/>
                <a:gd name="T21" fmla="*/ 109 h 169"/>
                <a:gd name="T22" fmla="*/ 192 w 219"/>
                <a:gd name="T23" fmla="*/ 131 h 169"/>
                <a:gd name="T24" fmla="*/ 169 w 219"/>
                <a:gd name="T25" fmla="*/ 148 h 169"/>
                <a:gd name="T26" fmla="*/ 146 w 219"/>
                <a:gd name="T27" fmla="*/ 154 h 169"/>
                <a:gd name="T28" fmla="*/ 136 w 219"/>
                <a:gd name="T29" fmla="*/ 157 h 169"/>
                <a:gd name="T30" fmla="*/ 132 w 219"/>
                <a:gd name="T31" fmla="*/ 159 h 169"/>
                <a:gd name="T32" fmla="*/ 121 w 219"/>
                <a:gd name="T33" fmla="*/ 161 h 169"/>
                <a:gd name="T34" fmla="*/ 115 w 219"/>
                <a:gd name="T35" fmla="*/ 157 h 169"/>
                <a:gd name="T36" fmla="*/ 100 w 219"/>
                <a:gd name="T37" fmla="*/ 163 h 169"/>
                <a:gd name="T38" fmla="*/ 88 w 219"/>
                <a:gd name="T39" fmla="*/ 167 h 169"/>
                <a:gd name="T40" fmla="*/ 82 w 219"/>
                <a:gd name="T41" fmla="*/ 167 h 169"/>
                <a:gd name="T42" fmla="*/ 75 w 219"/>
                <a:gd name="T43" fmla="*/ 165 h 169"/>
                <a:gd name="T44" fmla="*/ 65 w 219"/>
                <a:gd name="T45" fmla="*/ 159 h 169"/>
                <a:gd name="T46" fmla="*/ 57 w 219"/>
                <a:gd name="T47" fmla="*/ 154 h 169"/>
                <a:gd name="T48" fmla="*/ 44 w 219"/>
                <a:gd name="T49" fmla="*/ 154 h 169"/>
                <a:gd name="T50" fmla="*/ 42 w 219"/>
                <a:gd name="T51" fmla="*/ 144 h 169"/>
                <a:gd name="T52" fmla="*/ 34 w 219"/>
                <a:gd name="T53" fmla="*/ 140 h 169"/>
                <a:gd name="T54" fmla="*/ 31 w 219"/>
                <a:gd name="T55" fmla="*/ 136 h 169"/>
                <a:gd name="T56" fmla="*/ 27 w 219"/>
                <a:gd name="T57" fmla="*/ 123 h 169"/>
                <a:gd name="T58" fmla="*/ 21 w 219"/>
                <a:gd name="T59" fmla="*/ 119 h 169"/>
                <a:gd name="T60" fmla="*/ 21 w 219"/>
                <a:gd name="T61" fmla="*/ 117 h 169"/>
                <a:gd name="T62" fmla="*/ 17 w 219"/>
                <a:gd name="T63" fmla="*/ 115 h 169"/>
                <a:gd name="T64" fmla="*/ 11 w 219"/>
                <a:gd name="T65" fmla="*/ 107 h 169"/>
                <a:gd name="T66" fmla="*/ 8 w 219"/>
                <a:gd name="T67" fmla="*/ 106 h 169"/>
                <a:gd name="T68" fmla="*/ 0 w 219"/>
                <a:gd name="T69" fmla="*/ 104 h 169"/>
                <a:gd name="T70" fmla="*/ 4 w 219"/>
                <a:gd name="T71" fmla="*/ 98 h 169"/>
                <a:gd name="T72" fmla="*/ 8 w 219"/>
                <a:gd name="T73" fmla="*/ 96 h 169"/>
                <a:gd name="T74" fmla="*/ 15 w 219"/>
                <a:gd name="T75" fmla="*/ 94 h 169"/>
                <a:gd name="T76" fmla="*/ 15 w 219"/>
                <a:gd name="T77" fmla="*/ 82 h 169"/>
                <a:gd name="T78" fmla="*/ 19 w 219"/>
                <a:gd name="T79" fmla="*/ 71 h 169"/>
                <a:gd name="T80" fmla="*/ 21 w 219"/>
                <a:gd name="T81" fmla="*/ 59 h 169"/>
                <a:gd name="T82" fmla="*/ 29 w 219"/>
                <a:gd name="T83" fmla="*/ 58 h 169"/>
                <a:gd name="T84" fmla="*/ 31 w 219"/>
                <a:gd name="T85" fmla="*/ 46 h 169"/>
                <a:gd name="T86" fmla="*/ 36 w 219"/>
                <a:gd name="T87" fmla="*/ 38 h 169"/>
                <a:gd name="T88" fmla="*/ 44 w 219"/>
                <a:gd name="T89" fmla="*/ 33 h 169"/>
                <a:gd name="T90" fmla="*/ 48 w 219"/>
                <a:gd name="T91" fmla="*/ 23 h 169"/>
                <a:gd name="T92" fmla="*/ 50 w 219"/>
                <a:gd name="T93" fmla="*/ 13 h 169"/>
                <a:gd name="T94" fmla="*/ 57 w 219"/>
                <a:gd name="T95" fmla="*/ 8 h 169"/>
                <a:gd name="T96" fmla="*/ 65 w 219"/>
                <a:gd name="T97" fmla="*/ 6 h 169"/>
                <a:gd name="T98" fmla="*/ 71 w 219"/>
                <a:gd name="T99" fmla="*/ 0 h 169"/>
                <a:gd name="T100" fmla="*/ 79 w 219"/>
                <a:gd name="T101" fmla="*/ 6 h 169"/>
                <a:gd name="T102" fmla="*/ 90 w 219"/>
                <a:gd name="T103" fmla="*/ 4 h 169"/>
                <a:gd name="T104" fmla="*/ 94 w 219"/>
                <a:gd name="T105" fmla="*/ 6 h 169"/>
                <a:gd name="T106" fmla="*/ 100 w 219"/>
                <a:gd name="T107" fmla="*/ 6 h 169"/>
                <a:gd name="T108" fmla="*/ 115 w 219"/>
                <a:gd name="T109" fmla="*/ 11 h 169"/>
                <a:gd name="T110" fmla="*/ 125 w 219"/>
                <a:gd name="T111" fmla="*/ 21 h 169"/>
                <a:gd name="T112" fmla="*/ 132 w 219"/>
                <a:gd name="T113" fmla="*/ 2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 h="169">
                  <a:moveTo>
                    <a:pt x="138" y="36"/>
                  </a:moveTo>
                  <a:lnTo>
                    <a:pt x="136" y="36"/>
                  </a:lnTo>
                  <a:lnTo>
                    <a:pt x="136" y="38"/>
                  </a:lnTo>
                  <a:lnTo>
                    <a:pt x="134" y="38"/>
                  </a:lnTo>
                  <a:lnTo>
                    <a:pt x="134" y="40"/>
                  </a:lnTo>
                  <a:lnTo>
                    <a:pt x="134" y="42"/>
                  </a:lnTo>
                  <a:lnTo>
                    <a:pt x="132" y="42"/>
                  </a:lnTo>
                  <a:lnTo>
                    <a:pt x="132" y="44"/>
                  </a:lnTo>
                  <a:lnTo>
                    <a:pt x="130" y="44"/>
                  </a:lnTo>
                  <a:lnTo>
                    <a:pt x="130" y="46"/>
                  </a:lnTo>
                  <a:lnTo>
                    <a:pt x="128" y="46"/>
                  </a:lnTo>
                  <a:lnTo>
                    <a:pt x="128" y="48"/>
                  </a:lnTo>
                  <a:lnTo>
                    <a:pt x="128" y="50"/>
                  </a:lnTo>
                  <a:lnTo>
                    <a:pt x="128" y="52"/>
                  </a:lnTo>
                  <a:lnTo>
                    <a:pt x="128" y="54"/>
                  </a:lnTo>
                  <a:lnTo>
                    <a:pt x="128" y="56"/>
                  </a:lnTo>
                  <a:lnTo>
                    <a:pt x="128" y="58"/>
                  </a:lnTo>
                  <a:lnTo>
                    <a:pt x="130" y="58"/>
                  </a:lnTo>
                  <a:lnTo>
                    <a:pt x="130" y="59"/>
                  </a:lnTo>
                  <a:lnTo>
                    <a:pt x="130" y="58"/>
                  </a:lnTo>
                  <a:lnTo>
                    <a:pt x="130" y="59"/>
                  </a:lnTo>
                  <a:lnTo>
                    <a:pt x="132" y="59"/>
                  </a:lnTo>
                  <a:lnTo>
                    <a:pt x="132" y="58"/>
                  </a:lnTo>
                  <a:lnTo>
                    <a:pt x="134" y="58"/>
                  </a:lnTo>
                  <a:lnTo>
                    <a:pt x="136" y="58"/>
                  </a:lnTo>
                  <a:lnTo>
                    <a:pt x="138" y="58"/>
                  </a:lnTo>
                  <a:lnTo>
                    <a:pt x="140" y="58"/>
                  </a:lnTo>
                  <a:lnTo>
                    <a:pt x="140" y="56"/>
                  </a:lnTo>
                  <a:lnTo>
                    <a:pt x="142" y="56"/>
                  </a:lnTo>
                  <a:lnTo>
                    <a:pt x="142" y="58"/>
                  </a:lnTo>
                  <a:lnTo>
                    <a:pt x="142" y="56"/>
                  </a:lnTo>
                  <a:lnTo>
                    <a:pt x="142" y="58"/>
                  </a:lnTo>
                  <a:lnTo>
                    <a:pt x="144" y="58"/>
                  </a:lnTo>
                  <a:lnTo>
                    <a:pt x="146" y="58"/>
                  </a:lnTo>
                  <a:lnTo>
                    <a:pt x="144" y="59"/>
                  </a:lnTo>
                  <a:lnTo>
                    <a:pt x="144" y="61"/>
                  </a:lnTo>
                  <a:lnTo>
                    <a:pt x="142" y="61"/>
                  </a:lnTo>
                  <a:lnTo>
                    <a:pt x="142" y="63"/>
                  </a:lnTo>
                  <a:lnTo>
                    <a:pt x="142" y="65"/>
                  </a:lnTo>
                  <a:lnTo>
                    <a:pt x="142" y="67"/>
                  </a:lnTo>
                  <a:lnTo>
                    <a:pt x="144" y="67"/>
                  </a:lnTo>
                  <a:lnTo>
                    <a:pt x="144" y="69"/>
                  </a:lnTo>
                  <a:lnTo>
                    <a:pt x="146" y="69"/>
                  </a:lnTo>
                  <a:lnTo>
                    <a:pt x="146" y="71"/>
                  </a:lnTo>
                  <a:lnTo>
                    <a:pt x="146" y="73"/>
                  </a:lnTo>
                  <a:lnTo>
                    <a:pt x="148" y="73"/>
                  </a:lnTo>
                  <a:lnTo>
                    <a:pt x="148" y="75"/>
                  </a:lnTo>
                  <a:lnTo>
                    <a:pt x="148" y="73"/>
                  </a:lnTo>
                  <a:lnTo>
                    <a:pt x="148" y="75"/>
                  </a:lnTo>
                  <a:lnTo>
                    <a:pt x="150" y="75"/>
                  </a:lnTo>
                  <a:lnTo>
                    <a:pt x="150" y="77"/>
                  </a:lnTo>
                  <a:lnTo>
                    <a:pt x="150" y="79"/>
                  </a:lnTo>
                  <a:lnTo>
                    <a:pt x="151" y="79"/>
                  </a:lnTo>
                  <a:lnTo>
                    <a:pt x="151" y="81"/>
                  </a:lnTo>
                  <a:lnTo>
                    <a:pt x="153" y="81"/>
                  </a:lnTo>
                  <a:lnTo>
                    <a:pt x="153" y="82"/>
                  </a:lnTo>
                  <a:lnTo>
                    <a:pt x="155" y="82"/>
                  </a:lnTo>
                  <a:lnTo>
                    <a:pt x="157" y="82"/>
                  </a:lnTo>
                  <a:lnTo>
                    <a:pt x="157" y="84"/>
                  </a:lnTo>
                  <a:lnTo>
                    <a:pt x="161" y="86"/>
                  </a:lnTo>
                  <a:lnTo>
                    <a:pt x="165" y="88"/>
                  </a:lnTo>
                  <a:lnTo>
                    <a:pt x="167" y="88"/>
                  </a:lnTo>
                  <a:lnTo>
                    <a:pt x="171" y="90"/>
                  </a:lnTo>
                  <a:lnTo>
                    <a:pt x="173" y="90"/>
                  </a:lnTo>
                  <a:lnTo>
                    <a:pt x="173" y="92"/>
                  </a:lnTo>
                  <a:lnTo>
                    <a:pt x="176" y="92"/>
                  </a:lnTo>
                  <a:lnTo>
                    <a:pt x="178" y="94"/>
                  </a:lnTo>
                  <a:lnTo>
                    <a:pt x="180" y="94"/>
                  </a:lnTo>
                  <a:lnTo>
                    <a:pt x="182" y="94"/>
                  </a:lnTo>
                  <a:lnTo>
                    <a:pt x="184" y="96"/>
                  </a:lnTo>
                  <a:lnTo>
                    <a:pt x="194" y="98"/>
                  </a:lnTo>
                  <a:lnTo>
                    <a:pt x="201" y="100"/>
                  </a:lnTo>
                  <a:lnTo>
                    <a:pt x="203" y="102"/>
                  </a:lnTo>
                  <a:lnTo>
                    <a:pt x="205" y="102"/>
                  </a:lnTo>
                  <a:lnTo>
                    <a:pt x="219" y="102"/>
                  </a:lnTo>
                  <a:lnTo>
                    <a:pt x="213" y="109"/>
                  </a:lnTo>
                  <a:lnTo>
                    <a:pt x="211" y="109"/>
                  </a:lnTo>
                  <a:lnTo>
                    <a:pt x="209" y="111"/>
                  </a:lnTo>
                  <a:lnTo>
                    <a:pt x="203" y="119"/>
                  </a:lnTo>
                  <a:lnTo>
                    <a:pt x="201" y="119"/>
                  </a:lnTo>
                  <a:lnTo>
                    <a:pt x="198" y="125"/>
                  </a:lnTo>
                  <a:lnTo>
                    <a:pt x="194" y="127"/>
                  </a:lnTo>
                  <a:lnTo>
                    <a:pt x="192" y="129"/>
                  </a:lnTo>
                  <a:lnTo>
                    <a:pt x="192" y="131"/>
                  </a:lnTo>
                  <a:lnTo>
                    <a:pt x="190" y="132"/>
                  </a:lnTo>
                  <a:lnTo>
                    <a:pt x="184" y="136"/>
                  </a:lnTo>
                  <a:lnTo>
                    <a:pt x="182" y="138"/>
                  </a:lnTo>
                  <a:lnTo>
                    <a:pt x="176" y="146"/>
                  </a:lnTo>
                  <a:lnTo>
                    <a:pt x="174" y="148"/>
                  </a:lnTo>
                  <a:lnTo>
                    <a:pt x="173" y="148"/>
                  </a:lnTo>
                  <a:lnTo>
                    <a:pt x="169" y="148"/>
                  </a:lnTo>
                  <a:lnTo>
                    <a:pt x="161" y="146"/>
                  </a:lnTo>
                  <a:lnTo>
                    <a:pt x="155" y="148"/>
                  </a:lnTo>
                  <a:lnTo>
                    <a:pt x="153" y="150"/>
                  </a:lnTo>
                  <a:lnTo>
                    <a:pt x="151" y="150"/>
                  </a:lnTo>
                  <a:lnTo>
                    <a:pt x="148" y="152"/>
                  </a:lnTo>
                  <a:lnTo>
                    <a:pt x="146" y="152"/>
                  </a:lnTo>
                  <a:lnTo>
                    <a:pt x="146" y="154"/>
                  </a:lnTo>
                  <a:lnTo>
                    <a:pt x="146" y="155"/>
                  </a:lnTo>
                  <a:lnTo>
                    <a:pt x="144" y="155"/>
                  </a:lnTo>
                  <a:lnTo>
                    <a:pt x="144" y="157"/>
                  </a:lnTo>
                  <a:lnTo>
                    <a:pt x="142" y="157"/>
                  </a:lnTo>
                  <a:lnTo>
                    <a:pt x="140" y="157"/>
                  </a:lnTo>
                  <a:lnTo>
                    <a:pt x="138" y="157"/>
                  </a:lnTo>
                  <a:lnTo>
                    <a:pt x="136" y="157"/>
                  </a:lnTo>
                  <a:lnTo>
                    <a:pt x="134" y="157"/>
                  </a:lnTo>
                  <a:lnTo>
                    <a:pt x="134" y="159"/>
                  </a:lnTo>
                  <a:lnTo>
                    <a:pt x="132" y="159"/>
                  </a:lnTo>
                  <a:lnTo>
                    <a:pt x="132" y="157"/>
                  </a:lnTo>
                  <a:lnTo>
                    <a:pt x="132" y="159"/>
                  </a:lnTo>
                  <a:lnTo>
                    <a:pt x="132" y="157"/>
                  </a:lnTo>
                  <a:lnTo>
                    <a:pt x="132" y="159"/>
                  </a:lnTo>
                  <a:lnTo>
                    <a:pt x="130" y="159"/>
                  </a:lnTo>
                  <a:lnTo>
                    <a:pt x="130" y="161"/>
                  </a:lnTo>
                  <a:lnTo>
                    <a:pt x="128" y="161"/>
                  </a:lnTo>
                  <a:lnTo>
                    <a:pt x="126" y="161"/>
                  </a:lnTo>
                  <a:lnTo>
                    <a:pt x="125" y="161"/>
                  </a:lnTo>
                  <a:lnTo>
                    <a:pt x="123" y="161"/>
                  </a:lnTo>
                  <a:lnTo>
                    <a:pt x="121" y="161"/>
                  </a:lnTo>
                  <a:lnTo>
                    <a:pt x="119" y="161"/>
                  </a:lnTo>
                  <a:lnTo>
                    <a:pt x="121" y="161"/>
                  </a:lnTo>
                  <a:lnTo>
                    <a:pt x="119" y="161"/>
                  </a:lnTo>
                  <a:lnTo>
                    <a:pt x="117" y="161"/>
                  </a:lnTo>
                  <a:lnTo>
                    <a:pt x="117" y="159"/>
                  </a:lnTo>
                  <a:lnTo>
                    <a:pt x="115" y="159"/>
                  </a:lnTo>
                  <a:lnTo>
                    <a:pt x="115" y="157"/>
                  </a:lnTo>
                  <a:lnTo>
                    <a:pt x="113" y="157"/>
                  </a:lnTo>
                  <a:lnTo>
                    <a:pt x="109" y="159"/>
                  </a:lnTo>
                  <a:lnTo>
                    <a:pt x="105" y="159"/>
                  </a:lnTo>
                  <a:lnTo>
                    <a:pt x="105" y="161"/>
                  </a:lnTo>
                  <a:lnTo>
                    <a:pt x="103" y="161"/>
                  </a:lnTo>
                  <a:lnTo>
                    <a:pt x="102" y="161"/>
                  </a:lnTo>
                  <a:lnTo>
                    <a:pt x="100" y="163"/>
                  </a:lnTo>
                  <a:lnTo>
                    <a:pt x="100" y="165"/>
                  </a:lnTo>
                  <a:lnTo>
                    <a:pt x="96" y="169"/>
                  </a:lnTo>
                  <a:lnTo>
                    <a:pt x="94" y="169"/>
                  </a:lnTo>
                  <a:lnTo>
                    <a:pt x="92" y="169"/>
                  </a:lnTo>
                  <a:lnTo>
                    <a:pt x="90" y="169"/>
                  </a:lnTo>
                  <a:lnTo>
                    <a:pt x="90" y="167"/>
                  </a:lnTo>
                  <a:lnTo>
                    <a:pt x="88" y="167"/>
                  </a:lnTo>
                  <a:lnTo>
                    <a:pt x="88" y="169"/>
                  </a:lnTo>
                  <a:lnTo>
                    <a:pt x="88" y="167"/>
                  </a:lnTo>
                  <a:lnTo>
                    <a:pt x="86" y="167"/>
                  </a:lnTo>
                  <a:lnTo>
                    <a:pt x="86" y="169"/>
                  </a:lnTo>
                  <a:lnTo>
                    <a:pt x="86" y="167"/>
                  </a:lnTo>
                  <a:lnTo>
                    <a:pt x="84" y="167"/>
                  </a:lnTo>
                  <a:lnTo>
                    <a:pt x="82" y="167"/>
                  </a:lnTo>
                  <a:lnTo>
                    <a:pt x="80" y="167"/>
                  </a:lnTo>
                  <a:lnTo>
                    <a:pt x="80" y="165"/>
                  </a:lnTo>
                  <a:lnTo>
                    <a:pt x="80" y="167"/>
                  </a:lnTo>
                  <a:lnTo>
                    <a:pt x="79" y="167"/>
                  </a:lnTo>
                  <a:lnTo>
                    <a:pt x="77" y="167"/>
                  </a:lnTo>
                  <a:lnTo>
                    <a:pt x="75" y="167"/>
                  </a:lnTo>
                  <a:lnTo>
                    <a:pt x="75" y="165"/>
                  </a:lnTo>
                  <a:lnTo>
                    <a:pt x="73" y="165"/>
                  </a:lnTo>
                  <a:lnTo>
                    <a:pt x="71" y="165"/>
                  </a:lnTo>
                  <a:lnTo>
                    <a:pt x="71" y="163"/>
                  </a:lnTo>
                  <a:lnTo>
                    <a:pt x="69" y="163"/>
                  </a:lnTo>
                  <a:lnTo>
                    <a:pt x="69" y="161"/>
                  </a:lnTo>
                  <a:lnTo>
                    <a:pt x="67" y="161"/>
                  </a:lnTo>
                  <a:lnTo>
                    <a:pt x="65" y="159"/>
                  </a:lnTo>
                  <a:lnTo>
                    <a:pt x="63" y="159"/>
                  </a:lnTo>
                  <a:lnTo>
                    <a:pt x="63" y="157"/>
                  </a:lnTo>
                  <a:lnTo>
                    <a:pt x="61" y="157"/>
                  </a:lnTo>
                  <a:lnTo>
                    <a:pt x="59" y="157"/>
                  </a:lnTo>
                  <a:lnTo>
                    <a:pt x="59" y="155"/>
                  </a:lnTo>
                  <a:lnTo>
                    <a:pt x="57" y="155"/>
                  </a:lnTo>
                  <a:lnTo>
                    <a:pt x="57" y="154"/>
                  </a:lnTo>
                  <a:lnTo>
                    <a:pt x="55" y="154"/>
                  </a:lnTo>
                  <a:lnTo>
                    <a:pt x="54" y="154"/>
                  </a:lnTo>
                  <a:lnTo>
                    <a:pt x="52" y="154"/>
                  </a:lnTo>
                  <a:lnTo>
                    <a:pt x="50" y="154"/>
                  </a:lnTo>
                  <a:lnTo>
                    <a:pt x="48" y="154"/>
                  </a:lnTo>
                  <a:lnTo>
                    <a:pt x="46" y="154"/>
                  </a:lnTo>
                  <a:lnTo>
                    <a:pt x="44" y="154"/>
                  </a:lnTo>
                  <a:lnTo>
                    <a:pt x="42" y="154"/>
                  </a:lnTo>
                  <a:lnTo>
                    <a:pt x="42" y="152"/>
                  </a:lnTo>
                  <a:lnTo>
                    <a:pt x="40" y="150"/>
                  </a:lnTo>
                  <a:lnTo>
                    <a:pt x="40" y="148"/>
                  </a:lnTo>
                  <a:lnTo>
                    <a:pt x="40" y="146"/>
                  </a:lnTo>
                  <a:lnTo>
                    <a:pt x="40" y="144"/>
                  </a:lnTo>
                  <a:lnTo>
                    <a:pt x="42" y="144"/>
                  </a:lnTo>
                  <a:lnTo>
                    <a:pt x="40" y="142"/>
                  </a:lnTo>
                  <a:lnTo>
                    <a:pt x="42" y="142"/>
                  </a:lnTo>
                  <a:lnTo>
                    <a:pt x="40" y="142"/>
                  </a:lnTo>
                  <a:lnTo>
                    <a:pt x="40" y="140"/>
                  </a:lnTo>
                  <a:lnTo>
                    <a:pt x="38" y="140"/>
                  </a:lnTo>
                  <a:lnTo>
                    <a:pt x="36" y="140"/>
                  </a:lnTo>
                  <a:lnTo>
                    <a:pt x="34" y="140"/>
                  </a:lnTo>
                  <a:lnTo>
                    <a:pt x="34" y="142"/>
                  </a:lnTo>
                  <a:lnTo>
                    <a:pt x="32" y="142"/>
                  </a:lnTo>
                  <a:lnTo>
                    <a:pt x="32" y="140"/>
                  </a:lnTo>
                  <a:lnTo>
                    <a:pt x="34" y="140"/>
                  </a:lnTo>
                  <a:lnTo>
                    <a:pt x="32" y="140"/>
                  </a:lnTo>
                  <a:lnTo>
                    <a:pt x="32" y="138"/>
                  </a:lnTo>
                  <a:lnTo>
                    <a:pt x="31" y="136"/>
                  </a:lnTo>
                  <a:lnTo>
                    <a:pt x="29" y="132"/>
                  </a:lnTo>
                  <a:lnTo>
                    <a:pt x="29" y="131"/>
                  </a:lnTo>
                  <a:lnTo>
                    <a:pt x="29" y="129"/>
                  </a:lnTo>
                  <a:lnTo>
                    <a:pt x="29" y="127"/>
                  </a:lnTo>
                  <a:lnTo>
                    <a:pt x="29" y="125"/>
                  </a:lnTo>
                  <a:lnTo>
                    <a:pt x="29" y="123"/>
                  </a:lnTo>
                  <a:lnTo>
                    <a:pt x="27" y="123"/>
                  </a:lnTo>
                  <a:lnTo>
                    <a:pt x="25" y="123"/>
                  </a:lnTo>
                  <a:lnTo>
                    <a:pt x="25" y="121"/>
                  </a:lnTo>
                  <a:lnTo>
                    <a:pt x="23" y="121"/>
                  </a:lnTo>
                  <a:lnTo>
                    <a:pt x="23" y="119"/>
                  </a:lnTo>
                  <a:lnTo>
                    <a:pt x="21" y="119"/>
                  </a:lnTo>
                  <a:lnTo>
                    <a:pt x="23" y="119"/>
                  </a:lnTo>
                  <a:lnTo>
                    <a:pt x="21" y="119"/>
                  </a:lnTo>
                  <a:lnTo>
                    <a:pt x="21" y="117"/>
                  </a:lnTo>
                  <a:lnTo>
                    <a:pt x="21" y="119"/>
                  </a:lnTo>
                  <a:lnTo>
                    <a:pt x="21" y="117"/>
                  </a:lnTo>
                  <a:lnTo>
                    <a:pt x="21" y="119"/>
                  </a:lnTo>
                  <a:lnTo>
                    <a:pt x="21" y="117"/>
                  </a:lnTo>
                  <a:lnTo>
                    <a:pt x="21" y="119"/>
                  </a:lnTo>
                  <a:lnTo>
                    <a:pt x="21" y="117"/>
                  </a:lnTo>
                  <a:lnTo>
                    <a:pt x="21" y="119"/>
                  </a:lnTo>
                  <a:lnTo>
                    <a:pt x="21" y="117"/>
                  </a:lnTo>
                  <a:lnTo>
                    <a:pt x="19" y="117"/>
                  </a:lnTo>
                  <a:lnTo>
                    <a:pt x="19" y="119"/>
                  </a:lnTo>
                  <a:lnTo>
                    <a:pt x="19" y="117"/>
                  </a:lnTo>
                  <a:lnTo>
                    <a:pt x="17" y="117"/>
                  </a:lnTo>
                  <a:lnTo>
                    <a:pt x="17" y="115"/>
                  </a:lnTo>
                  <a:lnTo>
                    <a:pt x="15" y="115"/>
                  </a:lnTo>
                  <a:lnTo>
                    <a:pt x="15" y="113"/>
                  </a:lnTo>
                  <a:lnTo>
                    <a:pt x="15" y="111"/>
                  </a:lnTo>
                  <a:lnTo>
                    <a:pt x="13" y="111"/>
                  </a:lnTo>
                  <a:lnTo>
                    <a:pt x="13" y="109"/>
                  </a:lnTo>
                  <a:lnTo>
                    <a:pt x="11" y="109"/>
                  </a:lnTo>
                  <a:lnTo>
                    <a:pt x="11" y="107"/>
                  </a:lnTo>
                  <a:lnTo>
                    <a:pt x="9" y="107"/>
                  </a:lnTo>
                  <a:lnTo>
                    <a:pt x="9" y="106"/>
                  </a:lnTo>
                  <a:lnTo>
                    <a:pt x="9" y="107"/>
                  </a:lnTo>
                  <a:lnTo>
                    <a:pt x="9" y="106"/>
                  </a:lnTo>
                  <a:lnTo>
                    <a:pt x="9" y="107"/>
                  </a:lnTo>
                  <a:lnTo>
                    <a:pt x="9" y="106"/>
                  </a:lnTo>
                  <a:lnTo>
                    <a:pt x="8" y="106"/>
                  </a:lnTo>
                  <a:lnTo>
                    <a:pt x="8" y="107"/>
                  </a:lnTo>
                  <a:lnTo>
                    <a:pt x="8" y="106"/>
                  </a:lnTo>
                  <a:lnTo>
                    <a:pt x="6" y="106"/>
                  </a:lnTo>
                  <a:lnTo>
                    <a:pt x="4" y="106"/>
                  </a:lnTo>
                  <a:lnTo>
                    <a:pt x="2" y="106"/>
                  </a:lnTo>
                  <a:lnTo>
                    <a:pt x="0" y="106"/>
                  </a:lnTo>
                  <a:lnTo>
                    <a:pt x="0" y="104"/>
                  </a:lnTo>
                  <a:lnTo>
                    <a:pt x="0" y="102"/>
                  </a:lnTo>
                  <a:lnTo>
                    <a:pt x="2" y="102"/>
                  </a:lnTo>
                  <a:lnTo>
                    <a:pt x="0" y="102"/>
                  </a:lnTo>
                  <a:lnTo>
                    <a:pt x="2" y="102"/>
                  </a:lnTo>
                  <a:lnTo>
                    <a:pt x="2" y="100"/>
                  </a:lnTo>
                  <a:lnTo>
                    <a:pt x="2" y="98"/>
                  </a:lnTo>
                  <a:lnTo>
                    <a:pt x="4" y="98"/>
                  </a:lnTo>
                  <a:lnTo>
                    <a:pt x="4" y="96"/>
                  </a:lnTo>
                  <a:lnTo>
                    <a:pt x="2" y="96"/>
                  </a:lnTo>
                  <a:lnTo>
                    <a:pt x="4" y="96"/>
                  </a:lnTo>
                  <a:lnTo>
                    <a:pt x="6" y="96"/>
                  </a:lnTo>
                  <a:lnTo>
                    <a:pt x="8" y="96"/>
                  </a:lnTo>
                  <a:lnTo>
                    <a:pt x="8" y="94"/>
                  </a:lnTo>
                  <a:lnTo>
                    <a:pt x="8" y="96"/>
                  </a:lnTo>
                  <a:lnTo>
                    <a:pt x="8" y="94"/>
                  </a:lnTo>
                  <a:lnTo>
                    <a:pt x="8" y="96"/>
                  </a:lnTo>
                  <a:lnTo>
                    <a:pt x="9" y="96"/>
                  </a:lnTo>
                  <a:lnTo>
                    <a:pt x="11" y="96"/>
                  </a:lnTo>
                  <a:lnTo>
                    <a:pt x="13" y="96"/>
                  </a:lnTo>
                  <a:lnTo>
                    <a:pt x="13" y="94"/>
                  </a:lnTo>
                  <a:lnTo>
                    <a:pt x="15" y="94"/>
                  </a:lnTo>
                  <a:lnTo>
                    <a:pt x="17" y="94"/>
                  </a:lnTo>
                  <a:lnTo>
                    <a:pt x="17" y="92"/>
                  </a:lnTo>
                  <a:lnTo>
                    <a:pt x="17" y="90"/>
                  </a:lnTo>
                  <a:lnTo>
                    <a:pt x="17" y="88"/>
                  </a:lnTo>
                  <a:lnTo>
                    <a:pt x="17" y="86"/>
                  </a:lnTo>
                  <a:lnTo>
                    <a:pt x="15" y="84"/>
                  </a:lnTo>
                  <a:lnTo>
                    <a:pt x="15" y="82"/>
                  </a:lnTo>
                  <a:lnTo>
                    <a:pt x="15" y="81"/>
                  </a:lnTo>
                  <a:lnTo>
                    <a:pt x="15" y="79"/>
                  </a:lnTo>
                  <a:lnTo>
                    <a:pt x="17" y="77"/>
                  </a:lnTo>
                  <a:lnTo>
                    <a:pt x="17" y="75"/>
                  </a:lnTo>
                  <a:lnTo>
                    <a:pt x="17" y="73"/>
                  </a:lnTo>
                  <a:lnTo>
                    <a:pt x="17" y="71"/>
                  </a:lnTo>
                  <a:lnTo>
                    <a:pt x="19" y="71"/>
                  </a:lnTo>
                  <a:lnTo>
                    <a:pt x="19" y="69"/>
                  </a:lnTo>
                  <a:lnTo>
                    <a:pt x="19" y="67"/>
                  </a:lnTo>
                  <a:lnTo>
                    <a:pt x="19" y="65"/>
                  </a:lnTo>
                  <a:lnTo>
                    <a:pt x="19" y="63"/>
                  </a:lnTo>
                  <a:lnTo>
                    <a:pt x="19" y="61"/>
                  </a:lnTo>
                  <a:lnTo>
                    <a:pt x="21" y="61"/>
                  </a:lnTo>
                  <a:lnTo>
                    <a:pt x="21" y="59"/>
                  </a:lnTo>
                  <a:lnTo>
                    <a:pt x="23" y="59"/>
                  </a:lnTo>
                  <a:lnTo>
                    <a:pt x="25" y="59"/>
                  </a:lnTo>
                  <a:lnTo>
                    <a:pt x="25" y="61"/>
                  </a:lnTo>
                  <a:lnTo>
                    <a:pt x="27" y="61"/>
                  </a:lnTo>
                  <a:lnTo>
                    <a:pt x="27" y="59"/>
                  </a:lnTo>
                  <a:lnTo>
                    <a:pt x="29" y="59"/>
                  </a:lnTo>
                  <a:lnTo>
                    <a:pt x="29" y="58"/>
                  </a:lnTo>
                  <a:lnTo>
                    <a:pt x="29" y="56"/>
                  </a:lnTo>
                  <a:lnTo>
                    <a:pt x="29" y="54"/>
                  </a:lnTo>
                  <a:lnTo>
                    <a:pt x="29" y="52"/>
                  </a:lnTo>
                  <a:lnTo>
                    <a:pt x="31" y="52"/>
                  </a:lnTo>
                  <a:lnTo>
                    <a:pt x="31" y="50"/>
                  </a:lnTo>
                  <a:lnTo>
                    <a:pt x="31" y="48"/>
                  </a:lnTo>
                  <a:lnTo>
                    <a:pt x="31" y="46"/>
                  </a:lnTo>
                  <a:lnTo>
                    <a:pt x="31" y="44"/>
                  </a:lnTo>
                  <a:lnTo>
                    <a:pt x="32" y="44"/>
                  </a:lnTo>
                  <a:lnTo>
                    <a:pt x="32" y="42"/>
                  </a:lnTo>
                  <a:lnTo>
                    <a:pt x="34" y="42"/>
                  </a:lnTo>
                  <a:lnTo>
                    <a:pt x="34" y="40"/>
                  </a:lnTo>
                  <a:lnTo>
                    <a:pt x="34" y="38"/>
                  </a:lnTo>
                  <a:lnTo>
                    <a:pt x="36" y="38"/>
                  </a:lnTo>
                  <a:lnTo>
                    <a:pt x="36" y="36"/>
                  </a:lnTo>
                  <a:lnTo>
                    <a:pt x="36" y="34"/>
                  </a:lnTo>
                  <a:lnTo>
                    <a:pt x="38" y="34"/>
                  </a:lnTo>
                  <a:lnTo>
                    <a:pt x="38" y="33"/>
                  </a:lnTo>
                  <a:lnTo>
                    <a:pt x="40" y="33"/>
                  </a:lnTo>
                  <a:lnTo>
                    <a:pt x="42" y="33"/>
                  </a:lnTo>
                  <a:lnTo>
                    <a:pt x="44" y="33"/>
                  </a:lnTo>
                  <a:lnTo>
                    <a:pt x="46" y="33"/>
                  </a:lnTo>
                  <a:lnTo>
                    <a:pt x="46" y="31"/>
                  </a:lnTo>
                  <a:lnTo>
                    <a:pt x="46" y="29"/>
                  </a:lnTo>
                  <a:lnTo>
                    <a:pt x="46" y="27"/>
                  </a:lnTo>
                  <a:lnTo>
                    <a:pt x="46" y="25"/>
                  </a:lnTo>
                  <a:lnTo>
                    <a:pt x="48" y="25"/>
                  </a:lnTo>
                  <a:lnTo>
                    <a:pt x="48" y="23"/>
                  </a:lnTo>
                  <a:lnTo>
                    <a:pt x="48" y="21"/>
                  </a:lnTo>
                  <a:lnTo>
                    <a:pt x="50" y="19"/>
                  </a:lnTo>
                  <a:lnTo>
                    <a:pt x="50" y="17"/>
                  </a:lnTo>
                  <a:lnTo>
                    <a:pt x="50" y="15"/>
                  </a:lnTo>
                  <a:lnTo>
                    <a:pt x="52" y="15"/>
                  </a:lnTo>
                  <a:lnTo>
                    <a:pt x="50" y="15"/>
                  </a:lnTo>
                  <a:lnTo>
                    <a:pt x="50" y="13"/>
                  </a:lnTo>
                  <a:lnTo>
                    <a:pt x="50" y="11"/>
                  </a:lnTo>
                  <a:lnTo>
                    <a:pt x="52" y="11"/>
                  </a:lnTo>
                  <a:lnTo>
                    <a:pt x="52" y="9"/>
                  </a:lnTo>
                  <a:lnTo>
                    <a:pt x="52" y="8"/>
                  </a:lnTo>
                  <a:lnTo>
                    <a:pt x="54" y="8"/>
                  </a:lnTo>
                  <a:lnTo>
                    <a:pt x="55" y="8"/>
                  </a:lnTo>
                  <a:lnTo>
                    <a:pt x="57" y="8"/>
                  </a:lnTo>
                  <a:lnTo>
                    <a:pt x="57" y="9"/>
                  </a:lnTo>
                  <a:lnTo>
                    <a:pt x="59" y="9"/>
                  </a:lnTo>
                  <a:lnTo>
                    <a:pt x="59" y="8"/>
                  </a:lnTo>
                  <a:lnTo>
                    <a:pt x="59" y="6"/>
                  </a:lnTo>
                  <a:lnTo>
                    <a:pt x="61" y="6"/>
                  </a:lnTo>
                  <a:lnTo>
                    <a:pt x="63" y="6"/>
                  </a:lnTo>
                  <a:lnTo>
                    <a:pt x="65" y="6"/>
                  </a:lnTo>
                  <a:lnTo>
                    <a:pt x="67" y="6"/>
                  </a:lnTo>
                  <a:lnTo>
                    <a:pt x="67" y="4"/>
                  </a:lnTo>
                  <a:lnTo>
                    <a:pt x="69" y="4"/>
                  </a:lnTo>
                  <a:lnTo>
                    <a:pt x="69" y="2"/>
                  </a:lnTo>
                  <a:lnTo>
                    <a:pt x="69" y="4"/>
                  </a:lnTo>
                  <a:lnTo>
                    <a:pt x="69" y="2"/>
                  </a:lnTo>
                  <a:lnTo>
                    <a:pt x="71" y="0"/>
                  </a:lnTo>
                  <a:lnTo>
                    <a:pt x="73" y="0"/>
                  </a:lnTo>
                  <a:lnTo>
                    <a:pt x="73" y="2"/>
                  </a:lnTo>
                  <a:lnTo>
                    <a:pt x="75" y="2"/>
                  </a:lnTo>
                  <a:lnTo>
                    <a:pt x="77" y="2"/>
                  </a:lnTo>
                  <a:lnTo>
                    <a:pt x="77" y="4"/>
                  </a:lnTo>
                  <a:lnTo>
                    <a:pt x="79" y="4"/>
                  </a:lnTo>
                  <a:lnTo>
                    <a:pt x="79" y="6"/>
                  </a:lnTo>
                  <a:lnTo>
                    <a:pt x="80" y="6"/>
                  </a:lnTo>
                  <a:lnTo>
                    <a:pt x="82" y="6"/>
                  </a:lnTo>
                  <a:lnTo>
                    <a:pt x="84" y="6"/>
                  </a:lnTo>
                  <a:lnTo>
                    <a:pt x="86" y="6"/>
                  </a:lnTo>
                  <a:lnTo>
                    <a:pt x="86" y="4"/>
                  </a:lnTo>
                  <a:lnTo>
                    <a:pt x="88" y="4"/>
                  </a:lnTo>
                  <a:lnTo>
                    <a:pt x="90" y="4"/>
                  </a:lnTo>
                  <a:lnTo>
                    <a:pt x="90" y="6"/>
                  </a:lnTo>
                  <a:lnTo>
                    <a:pt x="92" y="6"/>
                  </a:lnTo>
                  <a:lnTo>
                    <a:pt x="92" y="4"/>
                  </a:lnTo>
                  <a:lnTo>
                    <a:pt x="94" y="4"/>
                  </a:lnTo>
                  <a:lnTo>
                    <a:pt x="94" y="6"/>
                  </a:lnTo>
                  <a:lnTo>
                    <a:pt x="94" y="4"/>
                  </a:lnTo>
                  <a:lnTo>
                    <a:pt x="94" y="6"/>
                  </a:lnTo>
                  <a:lnTo>
                    <a:pt x="94" y="4"/>
                  </a:lnTo>
                  <a:lnTo>
                    <a:pt x="94" y="2"/>
                  </a:lnTo>
                  <a:lnTo>
                    <a:pt x="96" y="2"/>
                  </a:lnTo>
                  <a:lnTo>
                    <a:pt x="96" y="4"/>
                  </a:lnTo>
                  <a:lnTo>
                    <a:pt x="98" y="4"/>
                  </a:lnTo>
                  <a:lnTo>
                    <a:pt x="100" y="4"/>
                  </a:lnTo>
                  <a:lnTo>
                    <a:pt x="100" y="6"/>
                  </a:lnTo>
                  <a:lnTo>
                    <a:pt x="102" y="6"/>
                  </a:lnTo>
                  <a:lnTo>
                    <a:pt x="103" y="6"/>
                  </a:lnTo>
                  <a:lnTo>
                    <a:pt x="105" y="6"/>
                  </a:lnTo>
                  <a:lnTo>
                    <a:pt x="107" y="6"/>
                  </a:lnTo>
                  <a:lnTo>
                    <a:pt x="109" y="8"/>
                  </a:lnTo>
                  <a:lnTo>
                    <a:pt x="111" y="9"/>
                  </a:lnTo>
                  <a:lnTo>
                    <a:pt x="115" y="11"/>
                  </a:lnTo>
                  <a:lnTo>
                    <a:pt x="117" y="13"/>
                  </a:lnTo>
                  <a:lnTo>
                    <a:pt x="117" y="15"/>
                  </a:lnTo>
                  <a:lnTo>
                    <a:pt x="119" y="15"/>
                  </a:lnTo>
                  <a:lnTo>
                    <a:pt x="119" y="17"/>
                  </a:lnTo>
                  <a:lnTo>
                    <a:pt x="121" y="17"/>
                  </a:lnTo>
                  <a:lnTo>
                    <a:pt x="123" y="19"/>
                  </a:lnTo>
                  <a:lnTo>
                    <a:pt x="125" y="21"/>
                  </a:lnTo>
                  <a:lnTo>
                    <a:pt x="125" y="23"/>
                  </a:lnTo>
                  <a:lnTo>
                    <a:pt x="126" y="23"/>
                  </a:lnTo>
                  <a:lnTo>
                    <a:pt x="126" y="25"/>
                  </a:lnTo>
                  <a:lnTo>
                    <a:pt x="128" y="25"/>
                  </a:lnTo>
                  <a:lnTo>
                    <a:pt x="130" y="27"/>
                  </a:lnTo>
                  <a:lnTo>
                    <a:pt x="130" y="29"/>
                  </a:lnTo>
                  <a:lnTo>
                    <a:pt x="132" y="29"/>
                  </a:lnTo>
                  <a:lnTo>
                    <a:pt x="132" y="31"/>
                  </a:lnTo>
                  <a:lnTo>
                    <a:pt x="134" y="31"/>
                  </a:lnTo>
                  <a:lnTo>
                    <a:pt x="136" y="33"/>
                  </a:lnTo>
                  <a:lnTo>
                    <a:pt x="138" y="36"/>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321">
              <a:extLst>
                <a:ext uri="{FF2B5EF4-FFF2-40B4-BE49-F238E27FC236}">
                  <a16:creationId xmlns:a16="http://schemas.microsoft.com/office/drawing/2014/main" id="{3C1AF5D0-D55F-4338-991C-88E2A61EA9CD}"/>
                </a:ext>
              </a:extLst>
            </p:cNvPr>
            <p:cNvSpPr>
              <a:spLocks/>
            </p:cNvSpPr>
            <p:nvPr/>
          </p:nvSpPr>
          <p:spPr bwMode="gray">
            <a:xfrm>
              <a:off x="3641173" y="4144566"/>
              <a:ext cx="199900" cy="160656"/>
            </a:xfrm>
            <a:custGeom>
              <a:avLst/>
              <a:gdLst>
                <a:gd name="T0" fmla="*/ 148 w 163"/>
                <a:gd name="T1" fmla="*/ 52 h 131"/>
                <a:gd name="T2" fmla="*/ 142 w 163"/>
                <a:gd name="T3" fmla="*/ 58 h 131"/>
                <a:gd name="T4" fmla="*/ 139 w 163"/>
                <a:gd name="T5" fmla="*/ 58 h 131"/>
                <a:gd name="T6" fmla="*/ 133 w 163"/>
                <a:gd name="T7" fmla="*/ 60 h 131"/>
                <a:gd name="T8" fmla="*/ 131 w 163"/>
                <a:gd name="T9" fmla="*/ 66 h 131"/>
                <a:gd name="T10" fmla="*/ 139 w 163"/>
                <a:gd name="T11" fmla="*/ 69 h 131"/>
                <a:gd name="T12" fmla="*/ 140 w 163"/>
                <a:gd name="T13" fmla="*/ 68 h 131"/>
                <a:gd name="T14" fmla="*/ 146 w 163"/>
                <a:gd name="T15" fmla="*/ 73 h 131"/>
                <a:gd name="T16" fmla="*/ 150 w 163"/>
                <a:gd name="T17" fmla="*/ 81 h 131"/>
                <a:gd name="T18" fmla="*/ 152 w 163"/>
                <a:gd name="T19" fmla="*/ 79 h 131"/>
                <a:gd name="T20" fmla="*/ 154 w 163"/>
                <a:gd name="T21" fmla="*/ 81 h 131"/>
                <a:gd name="T22" fmla="*/ 158 w 163"/>
                <a:gd name="T23" fmla="*/ 85 h 131"/>
                <a:gd name="T24" fmla="*/ 160 w 163"/>
                <a:gd name="T25" fmla="*/ 94 h 131"/>
                <a:gd name="T26" fmla="*/ 160 w 163"/>
                <a:gd name="T27" fmla="*/ 106 h 131"/>
                <a:gd name="T28" fmla="*/ 148 w 163"/>
                <a:gd name="T29" fmla="*/ 116 h 131"/>
                <a:gd name="T30" fmla="*/ 140 w 163"/>
                <a:gd name="T31" fmla="*/ 125 h 131"/>
                <a:gd name="T32" fmla="*/ 131 w 163"/>
                <a:gd name="T33" fmla="*/ 125 h 131"/>
                <a:gd name="T34" fmla="*/ 121 w 163"/>
                <a:gd name="T35" fmla="*/ 127 h 131"/>
                <a:gd name="T36" fmla="*/ 115 w 163"/>
                <a:gd name="T37" fmla="*/ 127 h 131"/>
                <a:gd name="T38" fmla="*/ 108 w 163"/>
                <a:gd name="T39" fmla="*/ 129 h 131"/>
                <a:gd name="T40" fmla="*/ 102 w 163"/>
                <a:gd name="T41" fmla="*/ 127 h 131"/>
                <a:gd name="T42" fmla="*/ 98 w 163"/>
                <a:gd name="T43" fmla="*/ 129 h 131"/>
                <a:gd name="T44" fmla="*/ 94 w 163"/>
                <a:gd name="T45" fmla="*/ 129 h 131"/>
                <a:gd name="T46" fmla="*/ 89 w 163"/>
                <a:gd name="T47" fmla="*/ 123 h 131"/>
                <a:gd name="T48" fmla="*/ 85 w 163"/>
                <a:gd name="T49" fmla="*/ 116 h 131"/>
                <a:gd name="T50" fmla="*/ 77 w 163"/>
                <a:gd name="T51" fmla="*/ 116 h 131"/>
                <a:gd name="T52" fmla="*/ 69 w 163"/>
                <a:gd name="T53" fmla="*/ 116 h 131"/>
                <a:gd name="T54" fmla="*/ 64 w 163"/>
                <a:gd name="T55" fmla="*/ 119 h 131"/>
                <a:gd name="T56" fmla="*/ 58 w 163"/>
                <a:gd name="T57" fmla="*/ 116 h 131"/>
                <a:gd name="T58" fmla="*/ 52 w 163"/>
                <a:gd name="T59" fmla="*/ 110 h 131"/>
                <a:gd name="T60" fmla="*/ 46 w 163"/>
                <a:gd name="T61" fmla="*/ 102 h 131"/>
                <a:gd name="T62" fmla="*/ 43 w 163"/>
                <a:gd name="T63" fmla="*/ 94 h 131"/>
                <a:gd name="T64" fmla="*/ 35 w 163"/>
                <a:gd name="T65" fmla="*/ 91 h 131"/>
                <a:gd name="T66" fmla="*/ 33 w 163"/>
                <a:gd name="T67" fmla="*/ 85 h 131"/>
                <a:gd name="T68" fmla="*/ 29 w 163"/>
                <a:gd name="T69" fmla="*/ 81 h 131"/>
                <a:gd name="T70" fmla="*/ 23 w 163"/>
                <a:gd name="T71" fmla="*/ 75 h 131"/>
                <a:gd name="T72" fmla="*/ 18 w 163"/>
                <a:gd name="T73" fmla="*/ 73 h 131"/>
                <a:gd name="T74" fmla="*/ 18 w 163"/>
                <a:gd name="T75" fmla="*/ 66 h 131"/>
                <a:gd name="T76" fmla="*/ 10 w 163"/>
                <a:gd name="T77" fmla="*/ 62 h 131"/>
                <a:gd name="T78" fmla="*/ 4 w 163"/>
                <a:gd name="T79" fmla="*/ 60 h 131"/>
                <a:gd name="T80" fmla="*/ 2 w 163"/>
                <a:gd name="T81" fmla="*/ 54 h 131"/>
                <a:gd name="T82" fmla="*/ 8 w 163"/>
                <a:gd name="T83" fmla="*/ 48 h 131"/>
                <a:gd name="T84" fmla="*/ 10 w 163"/>
                <a:gd name="T85" fmla="*/ 39 h 131"/>
                <a:gd name="T86" fmla="*/ 14 w 163"/>
                <a:gd name="T87" fmla="*/ 35 h 131"/>
                <a:gd name="T88" fmla="*/ 16 w 163"/>
                <a:gd name="T89" fmla="*/ 33 h 131"/>
                <a:gd name="T90" fmla="*/ 20 w 163"/>
                <a:gd name="T91" fmla="*/ 29 h 131"/>
                <a:gd name="T92" fmla="*/ 23 w 163"/>
                <a:gd name="T93" fmla="*/ 29 h 131"/>
                <a:gd name="T94" fmla="*/ 27 w 163"/>
                <a:gd name="T95" fmla="*/ 29 h 131"/>
                <a:gd name="T96" fmla="*/ 31 w 163"/>
                <a:gd name="T97" fmla="*/ 37 h 131"/>
                <a:gd name="T98" fmla="*/ 41 w 163"/>
                <a:gd name="T99" fmla="*/ 41 h 131"/>
                <a:gd name="T100" fmla="*/ 52 w 163"/>
                <a:gd name="T101" fmla="*/ 41 h 131"/>
                <a:gd name="T102" fmla="*/ 64 w 163"/>
                <a:gd name="T103" fmla="*/ 44 h 131"/>
                <a:gd name="T104" fmla="*/ 73 w 163"/>
                <a:gd name="T105" fmla="*/ 39 h 131"/>
                <a:gd name="T106" fmla="*/ 87 w 163"/>
                <a:gd name="T107" fmla="*/ 31 h 131"/>
                <a:gd name="T108" fmla="*/ 100 w 163"/>
                <a:gd name="T109" fmla="*/ 39 h 131"/>
                <a:gd name="T110" fmla="*/ 110 w 163"/>
                <a:gd name="T111" fmla="*/ 33 h 131"/>
                <a:gd name="T112" fmla="*/ 119 w 163"/>
                <a:gd name="T113" fmla="*/ 23 h 131"/>
                <a:gd name="T114" fmla="*/ 121 w 163"/>
                <a:gd name="T115" fmla="*/ 12 h 131"/>
                <a:gd name="T116" fmla="*/ 127 w 163"/>
                <a:gd name="T117" fmla="*/ 4 h 131"/>
                <a:gd name="T118" fmla="*/ 135 w 163"/>
                <a:gd name="T119" fmla="*/ 2 h 131"/>
                <a:gd name="T120" fmla="*/ 135 w 163"/>
                <a:gd name="T121" fmla="*/ 21 h 131"/>
                <a:gd name="T122" fmla="*/ 144 w 163"/>
                <a:gd name="T123" fmla="*/ 33 h 131"/>
                <a:gd name="T124" fmla="*/ 144 w 163"/>
                <a:gd name="T125" fmla="*/ 4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 h="131">
                  <a:moveTo>
                    <a:pt x="146" y="43"/>
                  </a:moveTo>
                  <a:lnTo>
                    <a:pt x="146" y="44"/>
                  </a:lnTo>
                  <a:lnTo>
                    <a:pt x="146" y="46"/>
                  </a:lnTo>
                  <a:lnTo>
                    <a:pt x="148" y="48"/>
                  </a:lnTo>
                  <a:lnTo>
                    <a:pt x="148" y="50"/>
                  </a:lnTo>
                  <a:lnTo>
                    <a:pt x="148" y="52"/>
                  </a:lnTo>
                  <a:lnTo>
                    <a:pt x="148" y="54"/>
                  </a:lnTo>
                  <a:lnTo>
                    <a:pt x="148" y="56"/>
                  </a:lnTo>
                  <a:lnTo>
                    <a:pt x="146" y="56"/>
                  </a:lnTo>
                  <a:lnTo>
                    <a:pt x="144" y="56"/>
                  </a:lnTo>
                  <a:lnTo>
                    <a:pt x="144" y="58"/>
                  </a:lnTo>
                  <a:lnTo>
                    <a:pt x="142" y="58"/>
                  </a:lnTo>
                  <a:lnTo>
                    <a:pt x="140" y="58"/>
                  </a:lnTo>
                  <a:lnTo>
                    <a:pt x="139" y="58"/>
                  </a:lnTo>
                  <a:lnTo>
                    <a:pt x="139" y="56"/>
                  </a:lnTo>
                  <a:lnTo>
                    <a:pt x="139" y="58"/>
                  </a:lnTo>
                  <a:lnTo>
                    <a:pt x="139" y="56"/>
                  </a:lnTo>
                  <a:lnTo>
                    <a:pt x="139" y="58"/>
                  </a:lnTo>
                  <a:lnTo>
                    <a:pt x="137" y="58"/>
                  </a:lnTo>
                  <a:lnTo>
                    <a:pt x="135" y="58"/>
                  </a:lnTo>
                  <a:lnTo>
                    <a:pt x="133" y="58"/>
                  </a:lnTo>
                  <a:lnTo>
                    <a:pt x="135" y="58"/>
                  </a:lnTo>
                  <a:lnTo>
                    <a:pt x="135" y="60"/>
                  </a:lnTo>
                  <a:lnTo>
                    <a:pt x="133" y="60"/>
                  </a:lnTo>
                  <a:lnTo>
                    <a:pt x="133" y="62"/>
                  </a:lnTo>
                  <a:lnTo>
                    <a:pt x="133" y="64"/>
                  </a:lnTo>
                  <a:lnTo>
                    <a:pt x="131" y="64"/>
                  </a:lnTo>
                  <a:lnTo>
                    <a:pt x="133" y="64"/>
                  </a:lnTo>
                  <a:lnTo>
                    <a:pt x="131" y="64"/>
                  </a:lnTo>
                  <a:lnTo>
                    <a:pt x="131" y="66"/>
                  </a:lnTo>
                  <a:lnTo>
                    <a:pt x="131" y="68"/>
                  </a:lnTo>
                  <a:lnTo>
                    <a:pt x="133" y="68"/>
                  </a:lnTo>
                  <a:lnTo>
                    <a:pt x="135" y="68"/>
                  </a:lnTo>
                  <a:lnTo>
                    <a:pt x="137" y="68"/>
                  </a:lnTo>
                  <a:lnTo>
                    <a:pt x="139" y="68"/>
                  </a:lnTo>
                  <a:lnTo>
                    <a:pt x="139" y="69"/>
                  </a:lnTo>
                  <a:lnTo>
                    <a:pt x="139" y="68"/>
                  </a:lnTo>
                  <a:lnTo>
                    <a:pt x="140" y="68"/>
                  </a:lnTo>
                  <a:lnTo>
                    <a:pt x="140" y="69"/>
                  </a:lnTo>
                  <a:lnTo>
                    <a:pt x="140" y="68"/>
                  </a:lnTo>
                  <a:lnTo>
                    <a:pt x="140" y="69"/>
                  </a:lnTo>
                  <a:lnTo>
                    <a:pt x="140" y="68"/>
                  </a:lnTo>
                  <a:lnTo>
                    <a:pt x="140" y="69"/>
                  </a:lnTo>
                  <a:lnTo>
                    <a:pt x="142" y="69"/>
                  </a:lnTo>
                  <a:lnTo>
                    <a:pt x="142" y="71"/>
                  </a:lnTo>
                  <a:lnTo>
                    <a:pt x="144" y="71"/>
                  </a:lnTo>
                  <a:lnTo>
                    <a:pt x="144" y="73"/>
                  </a:lnTo>
                  <a:lnTo>
                    <a:pt x="146" y="73"/>
                  </a:lnTo>
                  <a:lnTo>
                    <a:pt x="146" y="75"/>
                  </a:lnTo>
                  <a:lnTo>
                    <a:pt x="146" y="77"/>
                  </a:lnTo>
                  <a:lnTo>
                    <a:pt x="148" y="77"/>
                  </a:lnTo>
                  <a:lnTo>
                    <a:pt x="148" y="79"/>
                  </a:lnTo>
                  <a:lnTo>
                    <a:pt x="150" y="79"/>
                  </a:lnTo>
                  <a:lnTo>
                    <a:pt x="150" y="81"/>
                  </a:lnTo>
                  <a:lnTo>
                    <a:pt x="150" y="79"/>
                  </a:lnTo>
                  <a:lnTo>
                    <a:pt x="152" y="79"/>
                  </a:lnTo>
                  <a:lnTo>
                    <a:pt x="152" y="81"/>
                  </a:lnTo>
                  <a:lnTo>
                    <a:pt x="152" y="79"/>
                  </a:lnTo>
                  <a:lnTo>
                    <a:pt x="152" y="81"/>
                  </a:lnTo>
                  <a:lnTo>
                    <a:pt x="152" y="79"/>
                  </a:lnTo>
                  <a:lnTo>
                    <a:pt x="152" y="81"/>
                  </a:lnTo>
                  <a:lnTo>
                    <a:pt x="152" y="79"/>
                  </a:lnTo>
                  <a:lnTo>
                    <a:pt x="152" y="81"/>
                  </a:lnTo>
                  <a:lnTo>
                    <a:pt x="152" y="79"/>
                  </a:lnTo>
                  <a:lnTo>
                    <a:pt x="152" y="81"/>
                  </a:lnTo>
                  <a:lnTo>
                    <a:pt x="154" y="81"/>
                  </a:lnTo>
                  <a:lnTo>
                    <a:pt x="152" y="81"/>
                  </a:lnTo>
                  <a:lnTo>
                    <a:pt x="154" y="81"/>
                  </a:lnTo>
                  <a:lnTo>
                    <a:pt x="154" y="83"/>
                  </a:lnTo>
                  <a:lnTo>
                    <a:pt x="156" y="83"/>
                  </a:lnTo>
                  <a:lnTo>
                    <a:pt x="156" y="85"/>
                  </a:lnTo>
                  <a:lnTo>
                    <a:pt x="158" y="85"/>
                  </a:lnTo>
                  <a:lnTo>
                    <a:pt x="160" y="85"/>
                  </a:lnTo>
                  <a:lnTo>
                    <a:pt x="160" y="87"/>
                  </a:lnTo>
                  <a:lnTo>
                    <a:pt x="160" y="89"/>
                  </a:lnTo>
                  <a:lnTo>
                    <a:pt x="160" y="91"/>
                  </a:lnTo>
                  <a:lnTo>
                    <a:pt x="160" y="93"/>
                  </a:lnTo>
                  <a:lnTo>
                    <a:pt x="160" y="94"/>
                  </a:lnTo>
                  <a:lnTo>
                    <a:pt x="162" y="98"/>
                  </a:lnTo>
                  <a:lnTo>
                    <a:pt x="163" y="100"/>
                  </a:lnTo>
                  <a:lnTo>
                    <a:pt x="163" y="102"/>
                  </a:lnTo>
                  <a:lnTo>
                    <a:pt x="162" y="104"/>
                  </a:lnTo>
                  <a:lnTo>
                    <a:pt x="162" y="106"/>
                  </a:lnTo>
                  <a:lnTo>
                    <a:pt x="160" y="106"/>
                  </a:lnTo>
                  <a:lnTo>
                    <a:pt x="158" y="108"/>
                  </a:lnTo>
                  <a:lnTo>
                    <a:pt x="154" y="112"/>
                  </a:lnTo>
                  <a:lnTo>
                    <a:pt x="152" y="114"/>
                  </a:lnTo>
                  <a:lnTo>
                    <a:pt x="150" y="114"/>
                  </a:lnTo>
                  <a:lnTo>
                    <a:pt x="150" y="116"/>
                  </a:lnTo>
                  <a:lnTo>
                    <a:pt x="148" y="116"/>
                  </a:lnTo>
                  <a:lnTo>
                    <a:pt x="146" y="117"/>
                  </a:lnTo>
                  <a:lnTo>
                    <a:pt x="144" y="119"/>
                  </a:lnTo>
                  <a:lnTo>
                    <a:pt x="142" y="121"/>
                  </a:lnTo>
                  <a:lnTo>
                    <a:pt x="142" y="123"/>
                  </a:lnTo>
                  <a:lnTo>
                    <a:pt x="140" y="123"/>
                  </a:lnTo>
                  <a:lnTo>
                    <a:pt x="140" y="125"/>
                  </a:lnTo>
                  <a:lnTo>
                    <a:pt x="139" y="127"/>
                  </a:lnTo>
                  <a:lnTo>
                    <a:pt x="137" y="127"/>
                  </a:lnTo>
                  <a:lnTo>
                    <a:pt x="135" y="127"/>
                  </a:lnTo>
                  <a:lnTo>
                    <a:pt x="133" y="127"/>
                  </a:lnTo>
                  <a:lnTo>
                    <a:pt x="133" y="125"/>
                  </a:lnTo>
                  <a:lnTo>
                    <a:pt x="131" y="125"/>
                  </a:lnTo>
                  <a:lnTo>
                    <a:pt x="129" y="125"/>
                  </a:lnTo>
                  <a:lnTo>
                    <a:pt x="127" y="125"/>
                  </a:lnTo>
                  <a:lnTo>
                    <a:pt x="127" y="127"/>
                  </a:lnTo>
                  <a:lnTo>
                    <a:pt x="125" y="127"/>
                  </a:lnTo>
                  <a:lnTo>
                    <a:pt x="123" y="127"/>
                  </a:lnTo>
                  <a:lnTo>
                    <a:pt x="121" y="127"/>
                  </a:lnTo>
                  <a:lnTo>
                    <a:pt x="119" y="127"/>
                  </a:lnTo>
                  <a:lnTo>
                    <a:pt x="119" y="129"/>
                  </a:lnTo>
                  <a:lnTo>
                    <a:pt x="119" y="131"/>
                  </a:lnTo>
                  <a:lnTo>
                    <a:pt x="117" y="129"/>
                  </a:lnTo>
                  <a:lnTo>
                    <a:pt x="115" y="129"/>
                  </a:lnTo>
                  <a:lnTo>
                    <a:pt x="115" y="127"/>
                  </a:lnTo>
                  <a:lnTo>
                    <a:pt x="114" y="127"/>
                  </a:lnTo>
                  <a:lnTo>
                    <a:pt x="114" y="125"/>
                  </a:lnTo>
                  <a:lnTo>
                    <a:pt x="112" y="127"/>
                  </a:lnTo>
                  <a:lnTo>
                    <a:pt x="110" y="127"/>
                  </a:lnTo>
                  <a:lnTo>
                    <a:pt x="110" y="129"/>
                  </a:lnTo>
                  <a:lnTo>
                    <a:pt x="108" y="129"/>
                  </a:lnTo>
                  <a:lnTo>
                    <a:pt x="108" y="127"/>
                  </a:lnTo>
                  <a:lnTo>
                    <a:pt x="106" y="127"/>
                  </a:lnTo>
                  <a:lnTo>
                    <a:pt x="106" y="125"/>
                  </a:lnTo>
                  <a:lnTo>
                    <a:pt x="104" y="125"/>
                  </a:lnTo>
                  <a:lnTo>
                    <a:pt x="104" y="127"/>
                  </a:lnTo>
                  <a:lnTo>
                    <a:pt x="102" y="127"/>
                  </a:lnTo>
                  <a:lnTo>
                    <a:pt x="100" y="127"/>
                  </a:lnTo>
                  <a:lnTo>
                    <a:pt x="100" y="129"/>
                  </a:lnTo>
                  <a:lnTo>
                    <a:pt x="100" y="131"/>
                  </a:lnTo>
                  <a:lnTo>
                    <a:pt x="98" y="131"/>
                  </a:lnTo>
                  <a:lnTo>
                    <a:pt x="100" y="129"/>
                  </a:lnTo>
                  <a:lnTo>
                    <a:pt x="98" y="129"/>
                  </a:lnTo>
                  <a:lnTo>
                    <a:pt x="98" y="127"/>
                  </a:lnTo>
                  <a:lnTo>
                    <a:pt x="98" y="129"/>
                  </a:lnTo>
                  <a:lnTo>
                    <a:pt x="96" y="129"/>
                  </a:lnTo>
                  <a:lnTo>
                    <a:pt x="96" y="127"/>
                  </a:lnTo>
                  <a:lnTo>
                    <a:pt x="96" y="129"/>
                  </a:lnTo>
                  <a:lnTo>
                    <a:pt x="94" y="129"/>
                  </a:lnTo>
                  <a:lnTo>
                    <a:pt x="94" y="127"/>
                  </a:lnTo>
                  <a:lnTo>
                    <a:pt x="94" y="125"/>
                  </a:lnTo>
                  <a:lnTo>
                    <a:pt x="92" y="125"/>
                  </a:lnTo>
                  <a:lnTo>
                    <a:pt x="92" y="123"/>
                  </a:lnTo>
                  <a:lnTo>
                    <a:pt x="91" y="123"/>
                  </a:lnTo>
                  <a:lnTo>
                    <a:pt x="89" y="123"/>
                  </a:lnTo>
                  <a:lnTo>
                    <a:pt x="89" y="121"/>
                  </a:lnTo>
                  <a:lnTo>
                    <a:pt x="87" y="121"/>
                  </a:lnTo>
                  <a:lnTo>
                    <a:pt x="87" y="119"/>
                  </a:lnTo>
                  <a:lnTo>
                    <a:pt x="87" y="117"/>
                  </a:lnTo>
                  <a:lnTo>
                    <a:pt x="85" y="117"/>
                  </a:lnTo>
                  <a:lnTo>
                    <a:pt x="85" y="116"/>
                  </a:lnTo>
                  <a:lnTo>
                    <a:pt x="85" y="114"/>
                  </a:lnTo>
                  <a:lnTo>
                    <a:pt x="83" y="114"/>
                  </a:lnTo>
                  <a:lnTo>
                    <a:pt x="81" y="114"/>
                  </a:lnTo>
                  <a:lnTo>
                    <a:pt x="79" y="114"/>
                  </a:lnTo>
                  <a:lnTo>
                    <a:pt x="79" y="116"/>
                  </a:lnTo>
                  <a:lnTo>
                    <a:pt x="77" y="116"/>
                  </a:lnTo>
                  <a:lnTo>
                    <a:pt x="77" y="117"/>
                  </a:lnTo>
                  <a:lnTo>
                    <a:pt x="75" y="117"/>
                  </a:lnTo>
                  <a:lnTo>
                    <a:pt x="73" y="117"/>
                  </a:lnTo>
                  <a:lnTo>
                    <a:pt x="73" y="116"/>
                  </a:lnTo>
                  <a:lnTo>
                    <a:pt x="71" y="116"/>
                  </a:lnTo>
                  <a:lnTo>
                    <a:pt x="69" y="116"/>
                  </a:lnTo>
                  <a:lnTo>
                    <a:pt x="69" y="114"/>
                  </a:lnTo>
                  <a:lnTo>
                    <a:pt x="69" y="116"/>
                  </a:lnTo>
                  <a:lnTo>
                    <a:pt x="67" y="116"/>
                  </a:lnTo>
                  <a:lnTo>
                    <a:pt x="67" y="117"/>
                  </a:lnTo>
                  <a:lnTo>
                    <a:pt x="66" y="117"/>
                  </a:lnTo>
                  <a:lnTo>
                    <a:pt x="64" y="119"/>
                  </a:lnTo>
                  <a:lnTo>
                    <a:pt x="64" y="117"/>
                  </a:lnTo>
                  <a:lnTo>
                    <a:pt x="62" y="117"/>
                  </a:lnTo>
                  <a:lnTo>
                    <a:pt x="60" y="117"/>
                  </a:lnTo>
                  <a:lnTo>
                    <a:pt x="60" y="116"/>
                  </a:lnTo>
                  <a:lnTo>
                    <a:pt x="58" y="117"/>
                  </a:lnTo>
                  <a:lnTo>
                    <a:pt x="58" y="116"/>
                  </a:lnTo>
                  <a:lnTo>
                    <a:pt x="56" y="116"/>
                  </a:lnTo>
                  <a:lnTo>
                    <a:pt x="56" y="114"/>
                  </a:lnTo>
                  <a:lnTo>
                    <a:pt x="54" y="114"/>
                  </a:lnTo>
                  <a:lnTo>
                    <a:pt x="54" y="112"/>
                  </a:lnTo>
                  <a:lnTo>
                    <a:pt x="52" y="112"/>
                  </a:lnTo>
                  <a:lnTo>
                    <a:pt x="52" y="110"/>
                  </a:lnTo>
                  <a:lnTo>
                    <a:pt x="50" y="110"/>
                  </a:lnTo>
                  <a:lnTo>
                    <a:pt x="50" y="108"/>
                  </a:lnTo>
                  <a:lnTo>
                    <a:pt x="50" y="106"/>
                  </a:lnTo>
                  <a:lnTo>
                    <a:pt x="48" y="106"/>
                  </a:lnTo>
                  <a:lnTo>
                    <a:pt x="46" y="104"/>
                  </a:lnTo>
                  <a:lnTo>
                    <a:pt x="46" y="102"/>
                  </a:lnTo>
                  <a:lnTo>
                    <a:pt x="46" y="100"/>
                  </a:lnTo>
                  <a:lnTo>
                    <a:pt x="46" y="98"/>
                  </a:lnTo>
                  <a:lnTo>
                    <a:pt x="44" y="98"/>
                  </a:lnTo>
                  <a:lnTo>
                    <a:pt x="44" y="96"/>
                  </a:lnTo>
                  <a:lnTo>
                    <a:pt x="43" y="96"/>
                  </a:lnTo>
                  <a:lnTo>
                    <a:pt x="43" y="94"/>
                  </a:lnTo>
                  <a:lnTo>
                    <a:pt x="41" y="94"/>
                  </a:lnTo>
                  <a:lnTo>
                    <a:pt x="39" y="94"/>
                  </a:lnTo>
                  <a:lnTo>
                    <a:pt x="39" y="93"/>
                  </a:lnTo>
                  <a:lnTo>
                    <a:pt x="37" y="93"/>
                  </a:lnTo>
                  <a:lnTo>
                    <a:pt x="35" y="93"/>
                  </a:lnTo>
                  <a:lnTo>
                    <a:pt x="35" y="91"/>
                  </a:lnTo>
                  <a:lnTo>
                    <a:pt x="37" y="91"/>
                  </a:lnTo>
                  <a:lnTo>
                    <a:pt x="35" y="91"/>
                  </a:lnTo>
                  <a:lnTo>
                    <a:pt x="35" y="89"/>
                  </a:lnTo>
                  <a:lnTo>
                    <a:pt x="33" y="89"/>
                  </a:lnTo>
                  <a:lnTo>
                    <a:pt x="33" y="87"/>
                  </a:lnTo>
                  <a:lnTo>
                    <a:pt x="33" y="85"/>
                  </a:lnTo>
                  <a:lnTo>
                    <a:pt x="35" y="85"/>
                  </a:lnTo>
                  <a:lnTo>
                    <a:pt x="35" y="83"/>
                  </a:lnTo>
                  <a:lnTo>
                    <a:pt x="33" y="83"/>
                  </a:lnTo>
                  <a:lnTo>
                    <a:pt x="31" y="83"/>
                  </a:lnTo>
                  <a:lnTo>
                    <a:pt x="31" y="81"/>
                  </a:lnTo>
                  <a:lnTo>
                    <a:pt x="29" y="81"/>
                  </a:lnTo>
                  <a:lnTo>
                    <a:pt x="29" y="79"/>
                  </a:lnTo>
                  <a:lnTo>
                    <a:pt x="27" y="79"/>
                  </a:lnTo>
                  <a:lnTo>
                    <a:pt x="27" y="77"/>
                  </a:lnTo>
                  <a:lnTo>
                    <a:pt x="25" y="77"/>
                  </a:lnTo>
                  <a:lnTo>
                    <a:pt x="25" y="75"/>
                  </a:lnTo>
                  <a:lnTo>
                    <a:pt x="23" y="75"/>
                  </a:lnTo>
                  <a:lnTo>
                    <a:pt x="23" y="77"/>
                  </a:lnTo>
                  <a:lnTo>
                    <a:pt x="23" y="75"/>
                  </a:lnTo>
                  <a:lnTo>
                    <a:pt x="21" y="75"/>
                  </a:lnTo>
                  <a:lnTo>
                    <a:pt x="20" y="75"/>
                  </a:lnTo>
                  <a:lnTo>
                    <a:pt x="20" y="73"/>
                  </a:lnTo>
                  <a:lnTo>
                    <a:pt x="18" y="73"/>
                  </a:lnTo>
                  <a:lnTo>
                    <a:pt x="18" y="71"/>
                  </a:lnTo>
                  <a:lnTo>
                    <a:pt x="16" y="71"/>
                  </a:lnTo>
                  <a:lnTo>
                    <a:pt x="16" y="69"/>
                  </a:lnTo>
                  <a:lnTo>
                    <a:pt x="18" y="69"/>
                  </a:lnTo>
                  <a:lnTo>
                    <a:pt x="18" y="68"/>
                  </a:lnTo>
                  <a:lnTo>
                    <a:pt x="18" y="66"/>
                  </a:lnTo>
                  <a:lnTo>
                    <a:pt x="16" y="66"/>
                  </a:lnTo>
                  <a:lnTo>
                    <a:pt x="14" y="66"/>
                  </a:lnTo>
                  <a:lnTo>
                    <a:pt x="14" y="64"/>
                  </a:lnTo>
                  <a:lnTo>
                    <a:pt x="12" y="64"/>
                  </a:lnTo>
                  <a:lnTo>
                    <a:pt x="12" y="62"/>
                  </a:lnTo>
                  <a:lnTo>
                    <a:pt x="10" y="62"/>
                  </a:lnTo>
                  <a:lnTo>
                    <a:pt x="8" y="62"/>
                  </a:lnTo>
                  <a:lnTo>
                    <a:pt x="8" y="60"/>
                  </a:lnTo>
                  <a:lnTo>
                    <a:pt x="8" y="62"/>
                  </a:lnTo>
                  <a:lnTo>
                    <a:pt x="6" y="62"/>
                  </a:lnTo>
                  <a:lnTo>
                    <a:pt x="6" y="60"/>
                  </a:lnTo>
                  <a:lnTo>
                    <a:pt x="4" y="60"/>
                  </a:lnTo>
                  <a:lnTo>
                    <a:pt x="2" y="60"/>
                  </a:lnTo>
                  <a:lnTo>
                    <a:pt x="2" y="58"/>
                  </a:lnTo>
                  <a:lnTo>
                    <a:pt x="0" y="58"/>
                  </a:lnTo>
                  <a:lnTo>
                    <a:pt x="2" y="58"/>
                  </a:lnTo>
                  <a:lnTo>
                    <a:pt x="2" y="56"/>
                  </a:lnTo>
                  <a:lnTo>
                    <a:pt x="2" y="54"/>
                  </a:lnTo>
                  <a:lnTo>
                    <a:pt x="4" y="54"/>
                  </a:lnTo>
                  <a:lnTo>
                    <a:pt x="4" y="52"/>
                  </a:lnTo>
                  <a:lnTo>
                    <a:pt x="6" y="52"/>
                  </a:lnTo>
                  <a:lnTo>
                    <a:pt x="8" y="52"/>
                  </a:lnTo>
                  <a:lnTo>
                    <a:pt x="8" y="50"/>
                  </a:lnTo>
                  <a:lnTo>
                    <a:pt x="8" y="48"/>
                  </a:lnTo>
                  <a:lnTo>
                    <a:pt x="8" y="46"/>
                  </a:lnTo>
                  <a:lnTo>
                    <a:pt x="8" y="44"/>
                  </a:lnTo>
                  <a:lnTo>
                    <a:pt x="8" y="43"/>
                  </a:lnTo>
                  <a:lnTo>
                    <a:pt x="10" y="43"/>
                  </a:lnTo>
                  <a:lnTo>
                    <a:pt x="10" y="41"/>
                  </a:lnTo>
                  <a:lnTo>
                    <a:pt x="10" y="39"/>
                  </a:lnTo>
                  <a:lnTo>
                    <a:pt x="10" y="37"/>
                  </a:lnTo>
                  <a:lnTo>
                    <a:pt x="12" y="37"/>
                  </a:lnTo>
                  <a:lnTo>
                    <a:pt x="14" y="37"/>
                  </a:lnTo>
                  <a:lnTo>
                    <a:pt x="14" y="35"/>
                  </a:lnTo>
                  <a:lnTo>
                    <a:pt x="14" y="37"/>
                  </a:lnTo>
                  <a:lnTo>
                    <a:pt x="14" y="35"/>
                  </a:lnTo>
                  <a:lnTo>
                    <a:pt x="14" y="33"/>
                  </a:lnTo>
                  <a:lnTo>
                    <a:pt x="14" y="35"/>
                  </a:lnTo>
                  <a:lnTo>
                    <a:pt x="14" y="33"/>
                  </a:lnTo>
                  <a:lnTo>
                    <a:pt x="16" y="33"/>
                  </a:lnTo>
                  <a:lnTo>
                    <a:pt x="14" y="33"/>
                  </a:lnTo>
                  <a:lnTo>
                    <a:pt x="16" y="33"/>
                  </a:lnTo>
                  <a:lnTo>
                    <a:pt x="14" y="33"/>
                  </a:lnTo>
                  <a:lnTo>
                    <a:pt x="14" y="31"/>
                  </a:lnTo>
                  <a:lnTo>
                    <a:pt x="16" y="31"/>
                  </a:lnTo>
                  <a:lnTo>
                    <a:pt x="16" y="29"/>
                  </a:lnTo>
                  <a:lnTo>
                    <a:pt x="18" y="29"/>
                  </a:lnTo>
                  <a:lnTo>
                    <a:pt x="20" y="29"/>
                  </a:lnTo>
                  <a:lnTo>
                    <a:pt x="21" y="29"/>
                  </a:lnTo>
                  <a:lnTo>
                    <a:pt x="23" y="29"/>
                  </a:lnTo>
                  <a:lnTo>
                    <a:pt x="23" y="27"/>
                  </a:lnTo>
                  <a:lnTo>
                    <a:pt x="23" y="29"/>
                  </a:lnTo>
                  <a:lnTo>
                    <a:pt x="23" y="27"/>
                  </a:lnTo>
                  <a:lnTo>
                    <a:pt x="23" y="29"/>
                  </a:lnTo>
                  <a:lnTo>
                    <a:pt x="25" y="29"/>
                  </a:lnTo>
                  <a:lnTo>
                    <a:pt x="25" y="27"/>
                  </a:lnTo>
                  <a:lnTo>
                    <a:pt x="25" y="29"/>
                  </a:lnTo>
                  <a:lnTo>
                    <a:pt x="25" y="27"/>
                  </a:lnTo>
                  <a:lnTo>
                    <a:pt x="25" y="29"/>
                  </a:lnTo>
                  <a:lnTo>
                    <a:pt x="27" y="29"/>
                  </a:lnTo>
                  <a:lnTo>
                    <a:pt x="25" y="29"/>
                  </a:lnTo>
                  <a:lnTo>
                    <a:pt x="27" y="29"/>
                  </a:lnTo>
                  <a:lnTo>
                    <a:pt x="27" y="31"/>
                  </a:lnTo>
                  <a:lnTo>
                    <a:pt x="29" y="33"/>
                  </a:lnTo>
                  <a:lnTo>
                    <a:pt x="31" y="35"/>
                  </a:lnTo>
                  <a:lnTo>
                    <a:pt x="31" y="37"/>
                  </a:lnTo>
                  <a:lnTo>
                    <a:pt x="33" y="39"/>
                  </a:lnTo>
                  <a:lnTo>
                    <a:pt x="33" y="41"/>
                  </a:lnTo>
                  <a:lnTo>
                    <a:pt x="35" y="41"/>
                  </a:lnTo>
                  <a:lnTo>
                    <a:pt x="37" y="43"/>
                  </a:lnTo>
                  <a:lnTo>
                    <a:pt x="39" y="43"/>
                  </a:lnTo>
                  <a:lnTo>
                    <a:pt x="41" y="41"/>
                  </a:lnTo>
                  <a:lnTo>
                    <a:pt x="43" y="41"/>
                  </a:lnTo>
                  <a:lnTo>
                    <a:pt x="44" y="41"/>
                  </a:lnTo>
                  <a:lnTo>
                    <a:pt x="46" y="41"/>
                  </a:lnTo>
                  <a:lnTo>
                    <a:pt x="48" y="41"/>
                  </a:lnTo>
                  <a:lnTo>
                    <a:pt x="50" y="41"/>
                  </a:lnTo>
                  <a:lnTo>
                    <a:pt x="52" y="41"/>
                  </a:lnTo>
                  <a:lnTo>
                    <a:pt x="54" y="41"/>
                  </a:lnTo>
                  <a:lnTo>
                    <a:pt x="56" y="41"/>
                  </a:lnTo>
                  <a:lnTo>
                    <a:pt x="58" y="44"/>
                  </a:lnTo>
                  <a:lnTo>
                    <a:pt x="60" y="44"/>
                  </a:lnTo>
                  <a:lnTo>
                    <a:pt x="62" y="44"/>
                  </a:lnTo>
                  <a:lnTo>
                    <a:pt x="64" y="44"/>
                  </a:lnTo>
                  <a:lnTo>
                    <a:pt x="66" y="44"/>
                  </a:lnTo>
                  <a:lnTo>
                    <a:pt x="67" y="44"/>
                  </a:lnTo>
                  <a:lnTo>
                    <a:pt x="69" y="44"/>
                  </a:lnTo>
                  <a:lnTo>
                    <a:pt x="69" y="43"/>
                  </a:lnTo>
                  <a:lnTo>
                    <a:pt x="71" y="41"/>
                  </a:lnTo>
                  <a:lnTo>
                    <a:pt x="73" y="39"/>
                  </a:lnTo>
                  <a:lnTo>
                    <a:pt x="75" y="39"/>
                  </a:lnTo>
                  <a:lnTo>
                    <a:pt x="79" y="39"/>
                  </a:lnTo>
                  <a:lnTo>
                    <a:pt x="81" y="39"/>
                  </a:lnTo>
                  <a:lnTo>
                    <a:pt x="81" y="35"/>
                  </a:lnTo>
                  <a:lnTo>
                    <a:pt x="81" y="33"/>
                  </a:lnTo>
                  <a:lnTo>
                    <a:pt x="87" y="31"/>
                  </a:lnTo>
                  <a:lnTo>
                    <a:pt x="89" y="31"/>
                  </a:lnTo>
                  <a:lnTo>
                    <a:pt x="91" y="33"/>
                  </a:lnTo>
                  <a:lnTo>
                    <a:pt x="94" y="35"/>
                  </a:lnTo>
                  <a:lnTo>
                    <a:pt x="98" y="37"/>
                  </a:lnTo>
                  <a:lnTo>
                    <a:pt x="98" y="39"/>
                  </a:lnTo>
                  <a:lnTo>
                    <a:pt x="100" y="39"/>
                  </a:lnTo>
                  <a:lnTo>
                    <a:pt x="104" y="39"/>
                  </a:lnTo>
                  <a:lnTo>
                    <a:pt x="106" y="39"/>
                  </a:lnTo>
                  <a:lnTo>
                    <a:pt x="106" y="37"/>
                  </a:lnTo>
                  <a:lnTo>
                    <a:pt x="108" y="37"/>
                  </a:lnTo>
                  <a:lnTo>
                    <a:pt x="108" y="35"/>
                  </a:lnTo>
                  <a:lnTo>
                    <a:pt x="110" y="33"/>
                  </a:lnTo>
                  <a:lnTo>
                    <a:pt x="112" y="33"/>
                  </a:lnTo>
                  <a:lnTo>
                    <a:pt x="112" y="31"/>
                  </a:lnTo>
                  <a:lnTo>
                    <a:pt x="114" y="29"/>
                  </a:lnTo>
                  <a:lnTo>
                    <a:pt x="115" y="25"/>
                  </a:lnTo>
                  <a:lnTo>
                    <a:pt x="117" y="23"/>
                  </a:lnTo>
                  <a:lnTo>
                    <a:pt x="119" y="23"/>
                  </a:lnTo>
                  <a:lnTo>
                    <a:pt x="121" y="20"/>
                  </a:lnTo>
                  <a:lnTo>
                    <a:pt x="123" y="20"/>
                  </a:lnTo>
                  <a:lnTo>
                    <a:pt x="123" y="18"/>
                  </a:lnTo>
                  <a:lnTo>
                    <a:pt x="121" y="18"/>
                  </a:lnTo>
                  <a:lnTo>
                    <a:pt x="121" y="16"/>
                  </a:lnTo>
                  <a:lnTo>
                    <a:pt x="121" y="12"/>
                  </a:lnTo>
                  <a:lnTo>
                    <a:pt x="121" y="10"/>
                  </a:lnTo>
                  <a:lnTo>
                    <a:pt x="121" y="8"/>
                  </a:lnTo>
                  <a:lnTo>
                    <a:pt x="119" y="6"/>
                  </a:lnTo>
                  <a:lnTo>
                    <a:pt x="117" y="6"/>
                  </a:lnTo>
                  <a:lnTo>
                    <a:pt x="127" y="6"/>
                  </a:lnTo>
                  <a:lnTo>
                    <a:pt x="127" y="4"/>
                  </a:lnTo>
                  <a:lnTo>
                    <a:pt x="127" y="2"/>
                  </a:lnTo>
                  <a:lnTo>
                    <a:pt x="127" y="0"/>
                  </a:lnTo>
                  <a:lnTo>
                    <a:pt x="129" y="2"/>
                  </a:lnTo>
                  <a:lnTo>
                    <a:pt x="131" y="2"/>
                  </a:lnTo>
                  <a:lnTo>
                    <a:pt x="133" y="2"/>
                  </a:lnTo>
                  <a:lnTo>
                    <a:pt x="135" y="2"/>
                  </a:lnTo>
                  <a:lnTo>
                    <a:pt x="135" y="4"/>
                  </a:lnTo>
                  <a:lnTo>
                    <a:pt x="133" y="8"/>
                  </a:lnTo>
                  <a:lnTo>
                    <a:pt x="133" y="10"/>
                  </a:lnTo>
                  <a:lnTo>
                    <a:pt x="133" y="16"/>
                  </a:lnTo>
                  <a:lnTo>
                    <a:pt x="135" y="20"/>
                  </a:lnTo>
                  <a:lnTo>
                    <a:pt x="135" y="21"/>
                  </a:lnTo>
                  <a:lnTo>
                    <a:pt x="135" y="23"/>
                  </a:lnTo>
                  <a:lnTo>
                    <a:pt x="137" y="25"/>
                  </a:lnTo>
                  <a:lnTo>
                    <a:pt x="139" y="25"/>
                  </a:lnTo>
                  <a:lnTo>
                    <a:pt x="140" y="27"/>
                  </a:lnTo>
                  <a:lnTo>
                    <a:pt x="142" y="29"/>
                  </a:lnTo>
                  <a:lnTo>
                    <a:pt x="144" y="33"/>
                  </a:lnTo>
                  <a:lnTo>
                    <a:pt x="144" y="35"/>
                  </a:lnTo>
                  <a:lnTo>
                    <a:pt x="146" y="35"/>
                  </a:lnTo>
                  <a:lnTo>
                    <a:pt x="144" y="35"/>
                  </a:lnTo>
                  <a:lnTo>
                    <a:pt x="144" y="37"/>
                  </a:lnTo>
                  <a:lnTo>
                    <a:pt x="144" y="39"/>
                  </a:lnTo>
                  <a:lnTo>
                    <a:pt x="144" y="41"/>
                  </a:lnTo>
                  <a:lnTo>
                    <a:pt x="144" y="43"/>
                  </a:lnTo>
                  <a:lnTo>
                    <a:pt x="146" y="4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322">
              <a:extLst>
                <a:ext uri="{FF2B5EF4-FFF2-40B4-BE49-F238E27FC236}">
                  <a16:creationId xmlns:a16="http://schemas.microsoft.com/office/drawing/2014/main" id="{79562CC8-C2C9-4B38-8144-071EE99C3AF5}"/>
                </a:ext>
              </a:extLst>
            </p:cNvPr>
            <p:cNvSpPr>
              <a:spLocks/>
            </p:cNvSpPr>
            <p:nvPr/>
          </p:nvSpPr>
          <p:spPr bwMode="gray">
            <a:xfrm>
              <a:off x="3740509" y="4290505"/>
              <a:ext cx="96884" cy="104242"/>
            </a:xfrm>
            <a:custGeom>
              <a:avLst/>
              <a:gdLst>
                <a:gd name="T0" fmla="*/ 48 w 79"/>
                <a:gd name="T1" fmla="*/ 77 h 85"/>
                <a:gd name="T2" fmla="*/ 31 w 79"/>
                <a:gd name="T3" fmla="*/ 77 h 85"/>
                <a:gd name="T4" fmla="*/ 13 w 79"/>
                <a:gd name="T5" fmla="*/ 77 h 85"/>
                <a:gd name="T6" fmla="*/ 11 w 79"/>
                <a:gd name="T7" fmla="*/ 79 h 85"/>
                <a:gd name="T8" fmla="*/ 8 w 79"/>
                <a:gd name="T9" fmla="*/ 83 h 85"/>
                <a:gd name="T10" fmla="*/ 4 w 79"/>
                <a:gd name="T11" fmla="*/ 83 h 85"/>
                <a:gd name="T12" fmla="*/ 0 w 79"/>
                <a:gd name="T13" fmla="*/ 83 h 85"/>
                <a:gd name="T14" fmla="*/ 0 w 79"/>
                <a:gd name="T15" fmla="*/ 75 h 85"/>
                <a:gd name="T16" fmla="*/ 2 w 79"/>
                <a:gd name="T17" fmla="*/ 70 h 85"/>
                <a:gd name="T18" fmla="*/ 2 w 79"/>
                <a:gd name="T19" fmla="*/ 62 h 85"/>
                <a:gd name="T20" fmla="*/ 6 w 79"/>
                <a:gd name="T21" fmla="*/ 56 h 85"/>
                <a:gd name="T22" fmla="*/ 6 w 79"/>
                <a:gd name="T23" fmla="*/ 50 h 85"/>
                <a:gd name="T24" fmla="*/ 8 w 79"/>
                <a:gd name="T25" fmla="*/ 48 h 85"/>
                <a:gd name="T26" fmla="*/ 10 w 79"/>
                <a:gd name="T27" fmla="*/ 47 h 85"/>
                <a:gd name="T28" fmla="*/ 15 w 79"/>
                <a:gd name="T29" fmla="*/ 43 h 85"/>
                <a:gd name="T30" fmla="*/ 23 w 79"/>
                <a:gd name="T31" fmla="*/ 33 h 85"/>
                <a:gd name="T32" fmla="*/ 21 w 79"/>
                <a:gd name="T33" fmla="*/ 29 h 85"/>
                <a:gd name="T34" fmla="*/ 17 w 79"/>
                <a:gd name="T35" fmla="*/ 25 h 85"/>
                <a:gd name="T36" fmla="*/ 19 w 79"/>
                <a:gd name="T37" fmla="*/ 20 h 85"/>
                <a:gd name="T38" fmla="*/ 17 w 79"/>
                <a:gd name="T39" fmla="*/ 14 h 85"/>
                <a:gd name="T40" fmla="*/ 19 w 79"/>
                <a:gd name="T41" fmla="*/ 12 h 85"/>
                <a:gd name="T42" fmla="*/ 23 w 79"/>
                <a:gd name="T43" fmla="*/ 8 h 85"/>
                <a:gd name="T44" fmla="*/ 27 w 79"/>
                <a:gd name="T45" fmla="*/ 8 h 85"/>
                <a:gd name="T46" fmla="*/ 31 w 79"/>
                <a:gd name="T47" fmla="*/ 8 h 85"/>
                <a:gd name="T48" fmla="*/ 34 w 79"/>
                <a:gd name="T49" fmla="*/ 10 h 85"/>
                <a:gd name="T50" fmla="*/ 38 w 79"/>
                <a:gd name="T51" fmla="*/ 8 h 85"/>
                <a:gd name="T52" fmla="*/ 46 w 79"/>
                <a:gd name="T53" fmla="*/ 8 h 85"/>
                <a:gd name="T54" fmla="*/ 52 w 79"/>
                <a:gd name="T55" fmla="*/ 6 h 85"/>
                <a:gd name="T56" fmla="*/ 58 w 79"/>
                <a:gd name="T57" fmla="*/ 8 h 85"/>
                <a:gd name="T58" fmla="*/ 61 w 79"/>
                <a:gd name="T59" fmla="*/ 2 h 85"/>
                <a:gd name="T60" fmla="*/ 65 w 79"/>
                <a:gd name="T61" fmla="*/ 4 h 85"/>
                <a:gd name="T62" fmla="*/ 67 w 79"/>
                <a:gd name="T63" fmla="*/ 6 h 85"/>
                <a:gd name="T64" fmla="*/ 69 w 79"/>
                <a:gd name="T65" fmla="*/ 8 h 85"/>
                <a:gd name="T66" fmla="*/ 69 w 79"/>
                <a:gd name="T67" fmla="*/ 12 h 85"/>
                <a:gd name="T68" fmla="*/ 71 w 79"/>
                <a:gd name="T69" fmla="*/ 16 h 85"/>
                <a:gd name="T70" fmla="*/ 73 w 79"/>
                <a:gd name="T71" fmla="*/ 22 h 85"/>
                <a:gd name="T72" fmla="*/ 75 w 79"/>
                <a:gd name="T73" fmla="*/ 23 h 85"/>
                <a:gd name="T74" fmla="*/ 79 w 79"/>
                <a:gd name="T75" fmla="*/ 27 h 85"/>
                <a:gd name="T76" fmla="*/ 79 w 79"/>
                <a:gd name="T77" fmla="*/ 31 h 85"/>
                <a:gd name="T78" fmla="*/ 79 w 79"/>
                <a:gd name="T79" fmla="*/ 39 h 85"/>
                <a:gd name="T80" fmla="*/ 75 w 79"/>
                <a:gd name="T81" fmla="*/ 43 h 85"/>
                <a:gd name="T82" fmla="*/ 77 w 79"/>
                <a:gd name="T83" fmla="*/ 45 h 85"/>
                <a:gd name="T84" fmla="*/ 71 w 79"/>
                <a:gd name="T85" fmla="*/ 47 h 85"/>
                <a:gd name="T86" fmla="*/ 71 w 79"/>
                <a:gd name="T87" fmla="*/ 50 h 85"/>
                <a:gd name="T88" fmla="*/ 69 w 79"/>
                <a:gd name="T89" fmla="*/ 52 h 85"/>
                <a:gd name="T90" fmla="*/ 67 w 79"/>
                <a:gd name="T91" fmla="*/ 54 h 85"/>
                <a:gd name="T92" fmla="*/ 65 w 79"/>
                <a:gd name="T93" fmla="*/ 60 h 85"/>
                <a:gd name="T94" fmla="*/ 63 w 79"/>
                <a:gd name="T95" fmla="*/ 66 h 85"/>
                <a:gd name="T96" fmla="*/ 63 w 79"/>
                <a:gd name="T97" fmla="*/ 7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 h="85">
                  <a:moveTo>
                    <a:pt x="63" y="77"/>
                  </a:moveTo>
                  <a:lnTo>
                    <a:pt x="59" y="77"/>
                  </a:lnTo>
                  <a:lnTo>
                    <a:pt x="58" y="77"/>
                  </a:lnTo>
                  <a:lnTo>
                    <a:pt x="48" y="77"/>
                  </a:lnTo>
                  <a:lnTo>
                    <a:pt x="46" y="77"/>
                  </a:lnTo>
                  <a:lnTo>
                    <a:pt x="34" y="77"/>
                  </a:lnTo>
                  <a:lnTo>
                    <a:pt x="33" y="77"/>
                  </a:lnTo>
                  <a:lnTo>
                    <a:pt x="31" y="77"/>
                  </a:lnTo>
                  <a:lnTo>
                    <a:pt x="25" y="77"/>
                  </a:lnTo>
                  <a:lnTo>
                    <a:pt x="17" y="77"/>
                  </a:lnTo>
                  <a:lnTo>
                    <a:pt x="15" y="77"/>
                  </a:lnTo>
                  <a:lnTo>
                    <a:pt x="13" y="77"/>
                  </a:lnTo>
                  <a:lnTo>
                    <a:pt x="13" y="79"/>
                  </a:lnTo>
                  <a:lnTo>
                    <a:pt x="13" y="77"/>
                  </a:lnTo>
                  <a:lnTo>
                    <a:pt x="11" y="77"/>
                  </a:lnTo>
                  <a:lnTo>
                    <a:pt x="11" y="79"/>
                  </a:lnTo>
                  <a:lnTo>
                    <a:pt x="10" y="79"/>
                  </a:lnTo>
                  <a:lnTo>
                    <a:pt x="10" y="81"/>
                  </a:lnTo>
                  <a:lnTo>
                    <a:pt x="8" y="81"/>
                  </a:lnTo>
                  <a:lnTo>
                    <a:pt x="8" y="83"/>
                  </a:lnTo>
                  <a:lnTo>
                    <a:pt x="6" y="83"/>
                  </a:lnTo>
                  <a:lnTo>
                    <a:pt x="6" y="85"/>
                  </a:lnTo>
                  <a:lnTo>
                    <a:pt x="4" y="85"/>
                  </a:lnTo>
                  <a:lnTo>
                    <a:pt x="4" y="83"/>
                  </a:lnTo>
                  <a:lnTo>
                    <a:pt x="4" y="81"/>
                  </a:lnTo>
                  <a:lnTo>
                    <a:pt x="4" y="83"/>
                  </a:lnTo>
                  <a:lnTo>
                    <a:pt x="2" y="83"/>
                  </a:lnTo>
                  <a:lnTo>
                    <a:pt x="0" y="83"/>
                  </a:lnTo>
                  <a:lnTo>
                    <a:pt x="0" y="81"/>
                  </a:lnTo>
                  <a:lnTo>
                    <a:pt x="0" y="79"/>
                  </a:lnTo>
                  <a:lnTo>
                    <a:pt x="0" y="77"/>
                  </a:lnTo>
                  <a:lnTo>
                    <a:pt x="0" y="75"/>
                  </a:lnTo>
                  <a:lnTo>
                    <a:pt x="0" y="73"/>
                  </a:lnTo>
                  <a:lnTo>
                    <a:pt x="0" y="71"/>
                  </a:lnTo>
                  <a:lnTo>
                    <a:pt x="0" y="70"/>
                  </a:lnTo>
                  <a:lnTo>
                    <a:pt x="2" y="70"/>
                  </a:lnTo>
                  <a:lnTo>
                    <a:pt x="0" y="68"/>
                  </a:lnTo>
                  <a:lnTo>
                    <a:pt x="2" y="66"/>
                  </a:lnTo>
                  <a:lnTo>
                    <a:pt x="2" y="64"/>
                  </a:lnTo>
                  <a:lnTo>
                    <a:pt x="2" y="62"/>
                  </a:lnTo>
                  <a:lnTo>
                    <a:pt x="2" y="60"/>
                  </a:lnTo>
                  <a:lnTo>
                    <a:pt x="4" y="60"/>
                  </a:lnTo>
                  <a:lnTo>
                    <a:pt x="4" y="58"/>
                  </a:lnTo>
                  <a:lnTo>
                    <a:pt x="6" y="56"/>
                  </a:lnTo>
                  <a:lnTo>
                    <a:pt x="6" y="54"/>
                  </a:lnTo>
                  <a:lnTo>
                    <a:pt x="4" y="54"/>
                  </a:lnTo>
                  <a:lnTo>
                    <a:pt x="4" y="52"/>
                  </a:lnTo>
                  <a:lnTo>
                    <a:pt x="6" y="50"/>
                  </a:lnTo>
                  <a:lnTo>
                    <a:pt x="8" y="50"/>
                  </a:lnTo>
                  <a:lnTo>
                    <a:pt x="8" y="48"/>
                  </a:lnTo>
                  <a:lnTo>
                    <a:pt x="8" y="50"/>
                  </a:lnTo>
                  <a:lnTo>
                    <a:pt x="8" y="48"/>
                  </a:lnTo>
                  <a:lnTo>
                    <a:pt x="10" y="48"/>
                  </a:lnTo>
                  <a:lnTo>
                    <a:pt x="10" y="47"/>
                  </a:lnTo>
                  <a:lnTo>
                    <a:pt x="10" y="45"/>
                  </a:lnTo>
                  <a:lnTo>
                    <a:pt x="10" y="47"/>
                  </a:lnTo>
                  <a:lnTo>
                    <a:pt x="11" y="47"/>
                  </a:lnTo>
                  <a:lnTo>
                    <a:pt x="11" y="45"/>
                  </a:lnTo>
                  <a:lnTo>
                    <a:pt x="13" y="43"/>
                  </a:lnTo>
                  <a:lnTo>
                    <a:pt x="15" y="43"/>
                  </a:lnTo>
                  <a:lnTo>
                    <a:pt x="17" y="41"/>
                  </a:lnTo>
                  <a:lnTo>
                    <a:pt x="21" y="37"/>
                  </a:lnTo>
                  <a:lnTo>
                    <a:pt x="23" y="35"/>
                  </a:lnTo>
                  <a:lnTo>
                    <a:pt x="23" y="33"/>
                  </a:lnTo>
                  <a:lnTo>
                    <a:pt x="25" y="31"/>
                  </a:lnTo>
                  <a:lnTo>
                    <a:pt x="25" y="29"/>
                  </a:lnTo>
                  <a:lnTo>
                    <a:pt x="23" y="29"/>
                  </a:lnTo>
                  <a:lnTo>
                    <a:pt x="21" y="29"/>
                  </a:lnTo>
                  <a:lnTo>
                    <a:pt x="21" y="27"/>
                  </a:lnTo>
                  <a:lnTo>
                    <a:pt x="19" y="27"/>
                  </a:lnTo>
                  <a:lnTo>
                    <a:pt x="17" y="27"/>
                  </a:lnTo>
                  <a:lnTo>
                    <a:pt x="17" y="25"/>
                  </a:lnTo>
                  <a:lnTo>
                    <a:pt x="17" y="23"/>
                  </a:lnTo>
                  <a:lnTo>
                    <a:pt x="17" y="22"/>
                  </a:lnTo>
                  <a:lnTo>
                    <a:pt x="19" y="22"/>
                  </a:lnTo>
                  <a:lnTo>
                    <a:pt x="19" y="20"/>
                  </a:lnTo>
                  <a:lnTo>
                    <a:pt x="17" y="20"/>
                  </a:lnTo>
                  <a:lnTo>
                    <a:pt x="17" y="18"/>
                  </a:lnTo>
                  <a:lnTo>
                    <a:pt x="17" y="16"/>
                  </a:lnTo>
                  <a:lnTo>
                    <a:pt x="17" y="14"/>
                  </a:lnTo>
                  <a:lnTo>
                    <a:pt x="19" y="14"/>
                  </a:lnTo>
                  <a:lnTo>
                    <a:pt x="19" y="12"/>
                  </a:lnTo>
                  <a:lnTo>
                    <a:pt x="19" y="10"/>
                  </a:lnTo>
                  <a:lnTo>
                    <a:pt x="19" y="12"/>
                  </a:lnTo>
                  <a:lnTo>
                    <a:pt x="19" y="10"/>
                  </a:lnTo>
                  <a:lnTo>
                    <a:pt x="19" y="8"/>
                  </a:lnTo>
                  <a:lnTo>
                    <a:pt x="21" y="8"/>
                  </a:lnTo>
                  <a:lnTo>
                    <a:pt x="23" y="8"/>
                  </a:lnTo>
                  <a:lnTo>
                    <a:pt x="23" y="6"/>
                  </a:lnTo>
                  <a:lnTo>
                    <a:pt x="25" y="6"/>
                  </a:lnTo>
                  <a:lnTo>
                    <a:pt x="25" y="8"/>
                  </a:lnTo>
                  <a:lnTo>
                    <a:pt x="27" y="8"/>
                  </a:lnTo>
                  <a:lnTo>
                    <a:pt x="27" y="10"/>
                  </a:lnTo>
                  <a:lnTo>
                    <a:pt x="29" y="10"/>
                  </a:lnTo>
                  <a:lnTo>
                    <a:pt x="29" y="8"/>
                  </a:lnTo>
                  <a:lnTo>
                    <a:pt x="31" y="8"/>
                  </a:lnTo>
                  <a:lnTo>
                    <a:pt x="33" y="6"/>
                  </a:lnTo>
                  <a:lnTo>
                    <a:pt x="33" y="8"/>
                  </a:lnTo>
                  <a:lnTo>
                    <a:pt x="34" y="8"/>
                  </a:lnTo>
                  <a:lnTo>
                    <a:pt x="34" y="10"/>
                  </a:lnTo>
                  <a:lnTo>
                    <a:pt x="36" y="10"/>
                  </a:lnTo>
                  <a:lnTo>
                    <a:pt x="38" y="12"/>
                  </a:lnTo>
                  <a:lnTo>
                    <a:pt x="38" y="10"/>
                  </a:lnTo>
                  <a:lnTo>
                    <a:pt x="38" y="8"/>
                  </a:lnTo>
                  <a:lnTo>
                    <a:pt x="40" y="8"/>
                  </a:lnTo>
                  <a:lnTo>
                    <a:pt x="42" y="8"/>
                  </a:lnTo>
                  <a:lnTo>
                    <a:pt x="44" y="8"/>
                  </a:lnTo>
                  <a:lnTo>
                    <a:pt x="46" y="8"/>
                  </a:lnTo>
                  <a:lnTo>
                    <a:pt x="46" y="6"/>
                  </a:lnTo>
                  <a:lnTo>
                    <a:pt x="48" y="6"/>
                  </a:lnTo>
                  <a:lnTo>
                    <a:pt x="50" y="6"/>
                  </a:lnTo>
                  <a:lnTo>
                    <a:pt x="52" y="6"/>
                  </a:lnTo>
                  <a:lnTo>
                    <a:pt x="52" y="8"/>
                  </a:lnTo>
                  <a:lnTo>
                    <a:pt x="54" y="8"/>
                  </a:lnTo>
                  <a:lnTo>
                    <a:pt x="56" y="8"/>
                  </a:lnTo>
                  <a:lnTo>
                    <a:pt x="58" y="8"/>
                  </a:lnTo>
                  <a:lnTo>
                    <a:pt x="59" y="6"/>
                  </a:lnTo>
                  <a:lnTo>
                    <a:pt x="59" y="4"/>
                  </a:lnTo>
                  <a:lnTo>
                    <a:pt x="61" y="4"/>
                  </a:lnTo>
                  <a:lnTo>
                    <a:pt x="61" y="2"/>
                  </a:lnTo>
                  <a:lnTo>
                    <a:pt x="63" y="0"/>
                  </a:lnTo>
                  <a:lnTo>
                    <a:pt x="65" y="0"/>
                  </a:lnTo>
                  <a:lnTo>
                    <a:pt x="65" y="2"/>
                  </a:lnTo>
                  <a:lnTo>
                    <a:pt x="65" y="4"/>
                  </a:lnTo>
                  <a:lnTo>
                    <a:pt x="65" y="6"/>
                  </a:lnTo>
                  <a:lnTo>
                    <a:pt x="67" y="6"/>
                  </a:lnTo>
                  <a:lnTo>
                    <a:pt x="67" y="8"/>
                  </a:lnTo>
                  <a:lnTo>
                    <a:pt x="67" y="6"/>
                  </a:lnTo>
                  <a:lnTo>
                    <a:pt x="67" y="8"/>
                  </a:lnTo>
                  <a:lnTo>
                    <a:pt x="67" y="6"/>
                  </a:lnTo>
                  <a:lnTo>
                    <a:pt x="67" y="8"/>
                  </a:lnTo>
                  <a:lnTo>
                    <a:pt x="69" y="8"/>
                  </a:lnTo>
                  <a:lnTo>
                    <a:pt x="71" y="8"/>
                  </a:lnTo>
                  <a:lnTo>
                    <a:pt x="71" y="10"/>
                  </a:lnTo>
                  <a:lnTo>
                    <a:pt x="71" y="12"/>
                  </a:lnTo>
                  <a:lnTo>
                    <a:pt x="69" y="12"/>
                  </a:lnTo>
                  <a:lnTo>
                    <a:pt x="71" y="12"/>
                  </a:lnTo>
                  <a:lnTo>
                    <a:pt x="69" y="12"/>
                  </a:lnTo>
                  <a:lnTo>
                    <a:pt x="71" y="14"/>
                  </a:lnTo>
                  <a:lnTo>
                    <a:pt x="71" y="16"/>
                  </a:lnTo>
                  <a:lnTo>
                    <a:pt x="73" y="16"/>
                  </a:lnTo>
                  <a:lnTo>
                    <a:pt x="73" y="18"/>
                  </a:lnTo>
                  <a:lnTo>
                    <a:pt x="73" y="20"/>
                  </a:lnTo>
                  <a:lnTo>
                    <a:pt x="73" y="22"/>
                  </a:lnTo>
                  <a:lnTo>
                    <a:pt x="75" y="22"/>
                  </a:lnTo>
                  <a:lnTo>
                    <a:pt x="75" y="20"/>
                  </a:lnTo>
                  <a:lnTo>
                    <a:pt x="75" y="22"/>
                  </a:lnTo>
                  <a:lnTo>
                    <a:pt x="75" y="23"/>
                  </a:lnTo>
                  <a:lnTo>
                    <a:pt x="77" y="23"/>
                  </a:lnTo>
                  <a:lnTo>
                    <a:pt x="77" y="25"/>
                  </a:lnTo>
                  <a:lnTo>
                    <a:pt x="79" y="25"/>
                  </a:lnTo>
                  <a:lnTo>
                    <a:pt x="79" y="27"/>
                  </a:lnTo>
                  <a:lnTo>
                    <a:pt x="77" y="27"/>
                  </a:lnTo>
                  <a:lnTo>
                    <a:pt x="77" y="29"/>
                  </a:lnTo>
                  <a:lnTo>
                    <a:pt x="79" y="29"/>
                  </a:lnTo>
                  <a:lnTo>
                    <a:pt x="79" y="31"/>
                  </a:lnTo>
                  <a:lnTo>
                    <a:pt x="79" y="33"/>
                  </a:lnTo>
                  <a:lnTo>
                    <a:pt x="79" y="35"/>
                  </a:lnTo>
                  <a:lnTo>
                    <a:pt x="79" y="37"/>
                  </a:lnTo>
                  <a:lnTo>
                    <a:pt x="79" y="39"/>
                  </a:lnTo>
                  <a:lnTo>
                    <a:pt x="77" y="39"/>
                  </a:lnTo>
                  <a:lnTo>
                    <a:pt x="77" y="41"/>
                  </a:lnTo>
                  <a:lnTo>
                    <a:pt x="77" y="43"/>
                  </a:lnTo>
                  <a:lnTo>
                    <a:pt x="75" y="43"/>
                  </a:lnTo>
                  <a:lnTo>
                    <a:pt x="77" y="43"/>
                  </a:lnTo>
                  <a:lnTo>
                    <a:pt x="75" y="43"/>
                  </a:lnTo>
                  <a:lnTo>
                    <a:pt x="77" y="43"/>
                  </a:lnTo>
                  <a:lnTo>
                    <a:pt x="77" y="45"/>
                  </a:lnTo>
                  <a:lnTo>
                    <a:pt x="75" y="45"/>
                  </a:lnTo>
                  <a:lnTo>
                    <a:pt x="73" y="45"/>
                  </a:lnTo>
                  <a:lnTo>
                    <a:pt x="73" y="47"/>
                  </a:lnTo>
                  <a:lnTo>
                    <a:pt x="71" y="47"/>
                  </a:lnTo>
                  <a:lnTo>
                    <a:pt x="71" y="48"/>
                  </a:lnTo>
                  <a:lnTo>
                    <a:pt x="71" y="50"/>
                  </a:lnTo>
                  <a:lnTo>
                    <a:pt x="69" y="50"/>
                  </a:lnTo>
                  <a:lnTo>
                    <a:pt x="71" y="50"/>
                  </a:lnTo>
                  <a:lnTo>
                    <a:pt x="69" y="50"/>
                  </a:lnTo>
                  <a:lnTo>
                    <a:pt x="69" y="52"/>
                  </a:lnTo>
                  <a:lnTo>
                    <a:pt x="69" y="50"/>
                  </a:lnTo>
                  <a:lnTo>
                    <a:pt x="69" y="52"/>
                  </a:lnTo>
                  <a:lnTo>
                    <a:pt x="67" y="52"/>
                  </a:lnTo>
                  <a:lnTo>
                    <a:pt x="67" y="54"/>
                  </a:lnTo>
                  <a:lnTo>
                    <a:pt x="67" y="52"/>
                  </a:lnTo>
                  <a:lnTo>
                    <a:pt x="67" y="54"/>
                  </a:lnTo>
                  <a:lnTo>
                    <a:pt x="65" y="54"/>
                  </a:lnTo>
                  <a:lnTo>
                    <a:pt x="65" y="56"/>
                  </a:lnTo>
                  <a:lnTo>
                    <a:pt x="65" y="58"/>
                  </a:lnTo>
                  <a:lnTo>
                    <a:pt x="65" y="60"/>
                  </a:lnTo>
                  <a:lnTo>
                    <a:pt x="63" y="60"/>
                  </a:lnTo>
                  <a:lnTo>
                    <a:pt x="63" y="62"/>
                  </a:lnTo>
                  <a:lnTo>
                    <a:pt x="63" y="64"/>
                  </a:lnTo>
                  <a:lnTo>
                    <a:pt x="63" y="66"/>
                  </a:lnTo>
                  <a:lnTo>
                    <a:pt x="63" y="68"/>
                  </a:lnTo>
                  <a:lnTo>
                    <a:pt x="63" y="70"/>
                  </a:lnTo>
                  <a:lnTo>
                    <a:pt x="63" y="75"/>
                  </a:lnTo>
                  <a:lnTo>
                    <a:pt x="63" y="7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323">
              <a:extLst>
                <a:ext uri="{FF2B5EF4-FFF2-40B4-BE49-F238E27FC236}">
                  <a16:creationId xmlns:a16="http://schemas.microsoft.com/office/drawing/2014/main" id="{908578D9-7EA4-401A-97AB-24D2FF65931B}"/>
                </a:ext>
              </a:extLst>
            </p:cNvPr>
            <p:cNvSpPr>
              <a:spLocks noEditPoints="1"/>
            </p:cNvSpPr>
            <p:nvPr/>
          </p:nvSpPr>
          <p:spPr bwMode="gray">
            <a:xfrm>
              <a:off x="3817772" y="4267204"/>
              <a:ext cx="143486" cy="183956"/>
            </a:xfrm>
            <a:custGeom>
              <a:avLst/>
              <a:gdLst>
                <a:gd name="T0" fmla="*/ 106 w 117"/>
                <a:gd name="T1" fmla="*/ 37 h 150"/>
                <a:gd name="T2" fmla="*/ 104 w 117"/>
                <a:gd name="T3" fmla="*/ 48 h 150"/>
                <a:gd name="T4" fmla="*/ 104 w 117"/>
                <a:gd name="T5" fmla="*/ 62 h 150"/>
                <a:gd name="T6" fmla="*/ 104 w 117"/>
                <a:gd name="T7" fmla="*/ 75 h 150"/>
                <a:gd name="T8" fmla="*/ 104 w 117"/>
                <a:gd name="T9" fmla="*/ 94 h 150"/>
                <a:gd name="T10" fmla="*/ 112 w 117"/>
                <a:gd name="T11" fmla="*/ 108 h 150"/>
                <a:gd name="T12" fmla="*/ 110 w 117"/>
                <a:gd name="T13" fmla="*/ 108 h 150"/>
                <a:gd name="T14" fmla="*/ 106 w 117"/>
                <a:gd name="T15" fmla="*/ 110 h 150"/>
                <a:gd name="T16" fmla="*/ 106 w 117"/>
                <a:gd name="T17" fmla="*/ 112 h 150"/>
                <a:gd name="T18" fmla="*/ 102 w 117"/>
                <a:gd name="T19" fmla="*/ 110 h 150"/>
                <a:gd name="T20" fmla="*/ 104 w 117"/>
                <a:gd name="T21" fmla="*/ 114 h 150"/>
                <a:gd name="T22" fmla="*/ 102 w 117"/>
                <a:gd name="T23" fmla="*/ 117 h 150"/>
                <a:gd name="T24" fmla="*/ 94 w 117"/>
                <a:gd name="T25" fmla="*/ 119 h 150"/>
                <a:gd name="T26" fmla="*/ 92 w 117"/>
                <a:gd name="T27" fmla="*/ 123 h 150"/>
                <a:gd name="T28" fmla="*/ 90 w 117"/>
                <a:gd name="T29" fmla="*/ 129 h 150"/>
                <a:gd name="T30" fmla="*/ 87 w 117"/>
                <a:gd name="T31" fmla="*/ 137 h 150"/>
                <a:gd name="T32" fmla="*/ 85 w 117"/>
                <a:gd name="T33" fmla="*/ 140 h 150"/>
                <a:gd name="T34" fmla="*/ 85 w 117"/>
                <a:gd name="T35" fmla="*/ 142 h 150"/>
                <a:gd name="T36" fmla="*/ 81 w 117"/>
                <a:gd name="T37" fmla="*/ 148 h 150"/>
                <a:gd name="T38" fmla="*/ 77 w 117"/>
                <a:gd name="T39" fmla="*/ 150 h 150"/>
                <a:gd name="T40" fmla="*/ 66 w 117"/>
                <a:gd name="T41" fmla="*/ 142 h 150"/>
                <a:gd name="T42" fmla="*/ 54 w 117"/>
                <a:gd name="T43" fmla="*/ 131 h 150"/>
                <a:gd name="T44" fmla="*/ 50 w 117"/>
                <a:gd name="T45" fmla="*/ 123 h 150"/>
                <a:gd name="T46" fmla="*/ 19 w 117"/>
                <a:gd name="T47" fmla="*/ 106 h 150"/>
                <a:gd name="T48" fmla="*/ 4 w 117"/>
                <a:gd name="T49" fmla="*/ 98 h 150"/>
                <a:gd name="T50" fmla="*/ 0 w 117"/>
                <a:gd name="T51" fmla="*/ 89 h 150"/>
                <a:gd name="T52" fmla="*/ 0 w 117"/>
                <a:gd name="T53" fmla="*/ 79 h 150"/>
                <a:gd name="T54" fmla="*/ 4 w 117"/>
                <a:gd name="T55" fmla="*/ 73 h 150"/>
                <a:gd name="T56" fmla="*/ 6 w 117"/>
                <a:gd name="T57" fmla="*/ 69 h 150"/>
                <a:gd name="T58" fmla="*/ 8 w 117"/>
                <a:gd name="T59" fmla="*/ 69 h 150"/>
                <a:gd name="T60" fmla="*/ 12 w 117"/>
                <a:gd name="T61" fmla="*/ 64 h 150"/>
                <a:gd name="T62" fmla="*/ 12 w 117"/>
                <a:gd name="T63" fmla="*/ 62 h 150"/>
                <a:gd name="T64" fmla="*/ 16 w 117"/>
                <a:gd name="T65" fmla="*/ 56 h 150"/>
                <a:gd name="T66" fmla="*/ 14 w 117"/>
                <a:gd name="T67" fmla="*/ 48 h 150"/>
                <a:gd name="T68" fmla="*/ 14 w 117"/>
                <a:gd name="T69" fmla="*/ 42 h 150"/>
                <a:gd name="T70" fmla="*/ 10 w 117"/>
                <a:gd name="T71" fmla="*/ 41 h 150"/>
                <a:gd name="T72" fmla="*/ 8 w 117"/>
                <a:gd name="T73" fmla="*/ 33 h 150"/>
                <a:gd name="T74" fmla="*/ 8 w 117"/>
                <a:gd name="T75" fmla="*/ 29 h 150"/>
                <a:gd name="T76" fmla="*/ 4 w 117"/>
                <a:gd name="T77" fmla="*/ 27 h 150"/>
                <a:gd name="T78" fmla="*/ 2 w 117"/>
                <a:gd name="T79" fmla="*/ 23 h 150"/>
                <a:gd name="T80" fmla="*/ 4 w 117"/>
                <a:gd name="T81" fmla="*/ 16 h 150"/>
                <a:gd name="T82" fmla="*/ 14 w 117"/>
                <a:gd name="T83" fmla="*/ 8 h 150"/>
                <a:gd name="T84" fmla="*/ 19 w 117"/>
                <a:gd name="T85" fmla="*/ 0 h 150"/>
                <a:gd name="T86" fmla="*/ 21 w 117"/>
                <a:gd name="T87" fmla="*/ 4 h 150"/>
                <a:gd name="T88" fmla="*/ 27 w 117"/>
                <a:gd name="T89" fmla="*/ 4 h 150"/>
                <a:gd name="T90" fmla="*/ 27 w 117"/>
                <a:gd name="T91" fmla="*/ 8 h 150"/>
                <a:gd name="T92" fmla="*/ 31 w 117"/>
                <a:gd name="T93" fmla="*/ 16 h 150"/>
                <a:gd name="T94" fmla="*/ 41 w 117"/>
                <a:gd name="T95" fmla="*/ 16 h 150"/>
                <a:gd name="T96" fmla="*/ 46 w 117"/>
                <a:gd name="T97" fmla="*/ 19 h 150"/>
                <a:gd name="T98" fmla="*/ 54 w 117"/>
                <a:gd name="T99" fmla="*/ 23 h 150"/>
                <a:gd name="T100" fmla="*/ 60 w 117"/>
                <a:gd name="T101" fmla="*/ 27 h 150"/>
                <a:gd name="T102" fmla="*/ 67 w 117"/>
                <a:gd name="T103" fmla="*/ 29 h 150"/>
                <a:gd name="T104" fmla="*/ 73 w 117"/>
                <a:gd name="T105" fmla="*/ 29 h 150"/>
                <a:gd name="T106" fmla="*/ 75 w 117"/>
                <a:gd name="T107" fmla="*/ 29 h 150"/>
                <a:gd name="T108" fmla="*/ 83 w 117"/>
                <a:gd name="T109" fmla="*/ 31 h 150"/>
                <a:gd name="T110" fmla="*/ 92 w 117"/>
                <a:gd name="T111" fmla="*/ 23 h 150"/>
                <a:gd name="T112" fmla="*/ 102 w 117"/>
                <a:gd name="T113" fmla="*/ 21 h 150"/>
                <a:gd name="T114" fmla="*/ 106 w 117"/>
                <a:gd name="T115" fmla="*/ 23 h 150"/>
                <a:gd name="T116" fmla="*/ 115 w 117"/>
                <a:gd name="T117" fmla="*/ 23 h 150"/>
                <a:gd name="T118" fmla="*/ 104 w 117"/>
                <a:gd name="T119" fmla="*/ 114 h 150"/>
                <a:gd name="T120" fmla="*/ 106 w 117"/>
                <a:gd name="T121" fmla="*/ 110 h 150"/>
                <a:gd name="T122" fmla="*/ 108 w 117"/>
                <a:gd name="T123" fmla="*/ 110 h 150"/>
                <a:gd name="T124" fmla="*/ 106 w 117"/>
                <a:gd name="T125" fmla="*/ 1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7" h="150">
                  <a:moveTo>
                    <a:pt x="117" y="23"/>
                  </a:moveTo>
                  <a:lnTo>
                    <a:pt x="115" y="23"/>
                  </a:lnTo>
                  <a:lnTo>
                    <a:pt x="108" y="35"/>
                  </a:lnTo>
                  <a:lnTo>
                    <a:pt x="108" y="37"/>
                  </a:lnTo>
                  <a:lnTo>
                    <a:pt x="106" y="37"/>
                  </a:lnTo>
                  <a:lnTo>
                    <a:pt x="106" y="39"/>
                  </a:lnTo>
                  <a:lnTo>
                    <a:pt x="104" y="39"/>
                  </a:lnTo>
                  <a:lnTo>
                    <a:pt x="104" y="41"/>
                  </a:lnTo>
                  <a:lnTo>
                    <a:pt x="104" y="42"/>
                  </a:lnTo>
                  <a:lnTo>
                    <a:pt x="104" y="48"/>
                  </a:lnTo>
                  <a:lnTo>
                    <a:pt x="104" y="50"/>
                  </a:lnTo>
                  <a:lnTo>
                    <a:pt x="104" y="52"/>
                  </a:lnTo>
                  <a:lnTo>
                    <a:pt x="104" y="54"/>
                  </a:lnTo>
                  <a:lnTo>
                    <a:pt x="104" y="56"/>
                  </a:lnTo>
                  <a:lnTo>
                    <a:pt x="104" y="62"/>
                  </a:lnTo>
                  <a:lnTo>
                    <a:pt x="104" y="64"/>
                  </a:lnTo>
                  <a:lnTo>
                    <a:pt x="104" y="66"/>
                  </a:lnTo>
                  <a:lnTo>
                    <a:pt x="104" y="67"/>
                  </a:lnTo>
                  <a:lnTo>
                    <a:pt x="104" y="71"/>
                  </a:lnTo>
                  <a:lnTo>
                    <a:pt x="104" y="75"/>
                  </a:lnTo>
                  <a:lnTo>
                    <a:pt x="104" y="81"/>
                  </a:lnTo>
                  <a:lnTo>
                    <a:pt x="104" y="83"/>
                  </a:lnTo>
                  <a:lnTo>
                    <a:pt x="104" y="85"/>
                  </a:lnTo>
                  <a:lnTo>
                    <a:pt x="104" y="92"/>
                  </a:lnTo>
                  <a:lnTo>
                    <a:pt x="104" y="94"/>
                  </a:lnTo>
                  <a:lnTo>
                    <a:pt x="106" y="96"/>
                  </a:lnTo>
                  <a:lnTo>
                    <a:pt x="108" y="98"/>
                  </a:lnTo>
                  <a:lnTo>
                    <a:pt x="112" y="104"/>
                  </a:lnTo>
                  <a:lnTo>
                    <a:pt x="112" y="106"/>
                  </a:lnTo>
                  <a:lnTo>
                    <a:pt x="112" y="108"/>
                  </a:lnTo>
                  <a:lnTo>
                    <a:pt x="110" y="108"/>
                  </a:lnTo>
                  <a:lnTo>
                    <a:pt x="112" y="108"/>
                  </a:lnTo>
                  <a:lnTo>
                    <a:pt x="110" y="108"/>
                  </a:lnTo>
                  <a:lnTo>
                    <a:pt x="110" y="110"/>
                  </a:lnTo>
                  <a:lnTo>
                    <a:pt x="110" y="108"/>
                  </a:lnTo>
                  <a:lnTo>
                    <a:pt x="110" y="110"/>
                  </a:lnTo>
                  <a:lnTo>
                    <a:pt x="108" y="110"/>
                  </a:lnTo>
                  <a:lnTo>
                    <a:pt x="110" y="110"/>
                  </a:lnTo>
                  <a:lnTo>
                    <a:pt x="108" y="110"/>
                  </a:lnTo>
                  <a:lnTo>
                    <a:pt x="106" y="110"/>
                  </a:lnTo>
                  <a:lnTo>
                    <a:pt x="106" y="112"/>
                  </a:lnTo>
                  <a:lnTo>
                    <a:pt x="106" y="110"/>
                  </a:lnTo>
                  <a:lnTo>
                    <a:pt x="106" y="112"/>
                  </a:lnTo>
                  <a:lnTo>
                    <a:pt x="106" y="110"/>
                  </a:lnTo>
                  <a:lnTo>
                    <a:pt x="106" y="112"/>
                  </a:lnTo>
                  <a:lnTo>
                    <a:pt x="104" y="112"/>
                  </a:lnTo>
                  <a:lnTo>
                    <a:pt x="104" y="110"/>
                  </a:lnTo>
                  <a:lnTo>
                    <a:pt x="104" y="112"/>
                  </a:lnTo>
                  <a:lnTo>
                    <a:pt x="102" y="112"/>
                  </a:lnTo>
                  <a:lnTo>
                    <a:pt x="102" y="110"/>
                  </a:lnTo>
                  <a:lnTo>
                    <a:pt x="100" y="110"/>
                  </a:lnTo>
                  <a:lnTo>
                    <a:pt x="102" y="110"/>
                  </a:lnTo>
                  <a:lnTo>
                    <a:pt x="102" y="112"/>
                  </a:lnTo>
                  <a:lnTo>
                    <a:pt x="102" y="114"/>
                  </a:lnTo>
                  <a:lnTo>
                    <a:pt x="104" y="114"/>
                  </a:lnTo>
                  <a:lnTo>
                    <a:pt x="104" y="115"/>
                  </a:lnTo>
                  <a:lnTo>
                    <a:pt x="102" y="115"/>
                  </a:lnTo>
                  <a:lnTo>
                    <a:pt x="100" y="115"/>
                  </a:lnTo>
                  <a:lnTo>
                    <a:pt x="102" y="115"/>
                  </a:lnTo>
                  <a:lnTo>
                    <a:pt x="102" y="117"/>
                  </a:lnTo>
                  <a:lnTo>
                    <a:pt x="100" y="117"/>
                  </a:lnTo>
                  <a:lnTo>
                    <a:pt x="98" y="117"/>
                  </a:lnTo>
                  <a:lnTo>
                    <a:pt x="98" y="119"/>
                  </a:lnTo>
                  <a:lnTo>
                    <a:pt x="96" y="119"/>
                  </a:lnTo>
                  <a:lnTo>
                    <a:pt x="94" y="119"/>
                  </a:lnTo>
                  <a:lnTo>
                    <a:pt x="92" y="119"/>
                  </a:lnTo>
                  <a:lnTo>
                    <a:pt x="92" y="121"/>
                  </a:lnTo>
                  <a:lnTo>
                    <a:pt x="92" y="123"/>
                  </a:lnTo>
                  <a:lnTo>
                    <a:pt x="92" y="121"/>
                  </a:lnTo>
                  <a:lnTo>
                    <a:pt x="92" y="123"/>
                  </a:lnTo>
                  <a:lnTo>
                    <a:pt x="90" y="125"/>
                  </a:lnTo>
                  <a:lnTo>
                    <a:pt x="92" y="125"/>
                  </a:lnTo>
                  <a:lnTo>
                    <a:pt x="92" y="127"/>
                  </a:lnTo>
                  <a:lnTo>
                    <a:pt x="90" y="127"/>
                  </a:lnTo>
                  <a:lnTo>
                    <a:pt x="90" y="129"/>
                  </a:lnTo>
                  <a:lnTo>
                    <a:pt x="90" y="131"/>
                  </a:lnTo>
                  <a:lnTo>
                    <a:pt x="89" y="131"/>
                  </a:lnTo>
                  <a:lnTo>
                    <a:pt x="89" y="133"/>
                  </a:lnTo>
                  <a:lnTo>
                    <a:pt x="87" y="135"/>
                  </a:lnTo>
                  <a:lnTo>
                    <a:pt x="87" y="137"/>
                  </a:lnTo>
                  <a:lnTo>
                    <a:pt x="87" y="138"/>
                  </a:lnTo>
                  <a:lnTo>
                    <a:pt x="85" y="138"/>
                  </a:lnTo>
                  <a:lnTo>
                    <a:pt x="85" y="140"/>
                  </a:lnTo>
                  <a:lnTo>
                    <a:pt x="83" y="140"/>
                  </a:lnTo>
                  <a:lnTo>
                    <a:pt x="85" y="140"/>
                  </a:lnTo>
                  <a:lnTo>
                    <a:pt x="83" y="140"/>
                  </a:lnTo>
                  <a:lnTo>
                    <a:pt x="85" y="140"/>
                  </a:lnTo>
                  <a:lnTo>
                    <a:pt x="83" y="140"/>
                  </a:lnTo>
                  <a:lnTo>
                    <a:pt x="85" y="140"/>
                  </a:lnTo>
                  <a:lnTo>
                    <a:pt x="85" y="142"/>
                  </a:lnTo>
                  <a:lnTo>
                    <a:pt x="83" y="142"/>
                  </a:lnTo>
                  <a:lnTo>
                    <a:pt x="83" y="144"/>
                  </a:lnTo>
                  <a:lnTo>
                    <a:pt x="83" y="146"/>
                  </a:lnTo>
                  <a:lnTo>
                    <a:pt x="81" y="146"/>
                  </a:lnTo>
                  <a:lnTo>
                    <a:pt x="81" y="148"/>
                  </a:lnTo>
                  <a:lnTo>
                    <a:pt x="81" y="150"/>
                  </a:lnTo>
                  <a:lnTo>
                    <a:pt x="79" y="150"/>
                  </a:lnTo>
                  <a:lnTo>
                    <a:pt x="79" y="148"/>
                  </a:lnTo>
                  <a:lnTo>
                    <a:pt x="79" y="150"/>
                  </a:lnTo>
                  <a:lnTo>
                    <a:pt x="77" y="150"/>
                  </a:lnTo>
                  <a:lnTo>
                    <a:pt x="77" y="148"/>
                  </a:lnTo>
                  <a:lnTo>
                    <a:pt x="71" y="144"/>
                  </a:lnTo>
                  <a:lnTo>
                    <a:pt x="69" y="144"/>
                  </a:lnTo>
                  <a:lnTo>
                    <a:pt x="67" y="142"/>
                  </a:lnTo>
                  <a:lnTo>
                    <a:pt x="66" y="142"/>
                  </a:lnTo>
                  <a:lnTo>
                    <a:pt x="60" y="137"/>
                  </a:lnTo>
                  <a:lnTo>
                    <a:pt x="56" y="135"/>
                  </a:lnTo>
                  <a:lnTo>
                    <a:pt x="56" y="133"/>
                  </a:lnTo>
                  <a:lnTo>
                    <a:pt x="54" y="133"/>
                  </a:lnTo>
                  <a:lnTo>
                    <a:pt x="54" y="131"/>
                  </a:lnTo>
                  <a:lnTo>
                    <a:pt x="56" y="131"/>
                  </a:lnTo>
                  <a:lnTo>
                    <a:pt x="56" y="129"/>
                  </a:lnTo>
                  <a:lnTo>
                    <a:pt x="56" y="127"/>
                  </a:lnTo>
                  <a:lnTo>
                    <a:pt x="52" y="123"/>
                  </a:lnTo>
                  <a:lnTo>
                    <a:pt x="50" y="123"/>
                  </a:lnTo>
                  <a:lnTo>
                    <a:pt x="42" y="119"/>
                  </a:lnTo>
                  <a:lnTo>
                    <a:pt x="33" y="114"/>
                  </a:lnTo>
                  <a:lnTo>
                    <a:pt x="31" y="114"/>
                  </a:lnTo>
                  <a:lnTo>
                    <a:pt x="31" y="112"/>
                  </a:lnTo>
                  <a:lnTo>
                    <a:pt x="19" y="106"/>
                  </a:lnTo>
                  <a:lnTo>
                    <a:pt x="16" y="104"/>
                  </a:lnTo>
                  <a:lnTo>
                    <a:pt x="12" y="102"/>
                  </a:lnTo>
                  <a:lnTo>
                    <a:pt x="8" y="100"/>
                  </a:lnTo>
                  <a:lnTo>
                    <a:pt x="6" y="98"/>
                  </a:lnTo>
                  <a:lnTo>
                    <a:pt x="4" y="98"/>
                  </a:lnTo>
                  <a:lnTo>
                    <a:pt x="4" y="96"/>
                  </a:lnTo>
                  <a:lnTo>
                    <a:pt x="2" y="96"/>
                  </a:lnTo>
                  <a:lnTo>
                    <a:pt x="0" y="96"/>
                  </a:lnTo>
                  <a:lnTo>
                    <a:pt x="0" y="94"/>
                  </a:lnTo>
                  <a:lnTo>
                    <a:pt x="0" y="89"/>
                  </a:lnTo>
                  <a:lnTo>
                    <a:pt x="0" y="87"/>
                  </a:lnTo>
                  <a:lnTo>
                    <a:pt x="0" y="85"/>
                  </a:lnTo>
                  <a:lnTo>
                    <a:pt x="0" y="83"/>
                  </a:lnTo>
                  <a:lnTo>
                    <a:pt x="0" y="81"/>
                  </a:lnTo>
                  <a:lnTo>
                    <a:pt x="0" y="79"/>
                  </a:lnTo>
                  <a:lnTo>
                    <a:pt x="2" y="79"/>
                  </a:lnTo>
                  <a:lnTo>
                    <a:pt x="2" y="77"/>
                  </a:lnTo>
                  <a:lnTo>
                    <a:pt x="2" y="75"/>
                  </a:lnTo>
                  <a:lnTo>
                    <a:pt x="2" y="73"/>
                  </a:lnTo>
                  <a:lnTo>
                    <a:pt x="4" y="73"/>
                  </a:lnTo>
                  <a:lnTo>
                    <a:pt x="4" y="71"/>
                  </a:lnTo>
                  <a:lnTo>
                    <a:pt x="4" y="73"/>
                  </a:lnTo>
                  <a:lnTo>
                    <a:pt x="4" y="71"/>
                  </a:lnTo>
                  <a:lnTo>
                    <a:pt x="6" y="71"/>
                  </a:lnTo>
                  <a:lnTo>
                    <a:pt x="6" y="69"/>
                  </a:lnTo>
                  <a:lnTo>
                    <a:pt x="6" y="71"/>
                  </a:lnTo>
                  <a:lnTo>
                    <a:pt x="6" y="69"/>
                  </a:lnTo>
                  <a:lnTo>
                    <a:pt x="8" y="69"/>
                  </a:lnTo>
                  <a:lnTo>
                    <a:pt x="6" y="69"/>
                  </a:lnTo>
                  <a:lnTo>
                    <a:pt x="8" y="69"/>
                  </a:lnTo>
                  <a:lnTo>
                    <a:pt x="8" y="67"/>
                  </a:lnTo>
                  <a:lnTo>
                    <a:pt x="8" y="66"/>
                  </a:lnTo>
                  <a:lnTo>
                    <a:pt x="10" y="66"/>
                  </a:lnTo>
                  <a:lnTo>
                    <a:pt x="10" y="64"/>
                  </a:lnTo>
                  <a:lnTo>
                    <a:pt x="12" y="64"/>
                  </a:lnTo>
                  <a:lnTo>
                    <a:pt x="14" y="64"/>
                  </a:lnTo>
                  <a:lnTo>
                    <a:pt x="14" y="62"/>
                  </a:lnTo>
                  <a:lnTo>
                    <a:pt x="12" y="62"/>
                  </a:lnTo>
                  <a:lnTo>
                    <a:pt x="14" y="62"/>
                  </a:lnTo>
                  <a:lnTo>
                    <a:pt x="12" y="62"/>
                  </a:lnTo>
                  <a:lnTo>
                    <a:pt x="14" y="62"/>
                  </a:lnTo>
                  <a:lnTo>
                    <a:pt x="14" y="60"/>
                  </a:lnTo>
                  <a:lnTo>
                    <a:pt x="14" y="58"/>
                  </a:lnTo>
                  <a:lnTo>
                    <a:pt x="16" y="58"/>
                  </a:lnTo>
                  <a:lnTo>
                    <a:pt x="16" y="56"/>
                  </a:lnTo>
                  <a:lnTo>
                    <a:pt x="16" y="54"/>
                  </a:lnTo>
                  <a:lnTo>
                    <a:pt x="16" y="52"/>
                  </a:lnTo>
                  <a:lnTo>
                    <a:pt x="16" y="50"/>
                  </a:lnTo>
                  <a:lnTo>
                    <a:pt x="16" y="48"/>
                  </a:lnTo>
                  <a:lnTo>
                    <a:pt x="14" y="48"/>
                  </a:lnTo>
                  <a:lnTo>
                    <a:pt x="14" y="46"/>
                  </a:lnTo>
                  <a:lnTo>
                    <a:pt x="16" y="46"/>
                  </a:lnTo>
                  <a:lnTo>
                    <a:pt x="16" y="44"/>
                  </a:lnTo>
                  <a:lnTo>
                    <a:pt x="14" y="44"/>
                  </a:lnTo>
                  <a:lnTo>
                    <a:pt x="14" y="42"/>
                  </a:lnTo>
                  <a:lnTo>
                    <a:pt x="12" y="42"/>
                  </a:lnTo>
                  <a:lnTo>
                    <a:pt x="12" y="41"/>
                  </a:lnTo>
                  <a:lnTo>
                    <a:pt x="12" y="39"/>
                  </a:lnTo>
                  <a:lnTo>
                    <a:pt x="12" y="41"/>
                  </a:lnTo>
                  <a:lnTo>
                    <a:pt x="10" y="41"/>
                  </a:lnTo>
                  <a:lnTo>
                    <a:pt x="10" y="39"/>
                  </a:lnTo>
                  <a:lnTo>
                    <a:pt x="10" y="37"/>
                  </a:lnTo>
                  <a:lnTo>
                    <a:pt x="10" y="35"/>
                  </a:lnTo>
                  <a:lnTo>
                    <a:pt x="8" y="35"/>
                  </a:lnTo>
                  <a:lnTo>
                    <a:pt x="8" y="33"/>
                  </a:lnTo>
                  <a:lnTo>
                    <a:pt x="6" y="31"/>
                  </a:lnTo>
                  <a:lnTo>
                    <a:pt x="8" y="31"/>
                  </a:lnTo>
                  <a:lnTo>
                    <a:pt x="6" y="31"/>
                  </a:lnTo>
                  <a:lnTo>
                    <a:pt x="8" y="31"/>
                  </a:lnTo>
                  <a:lnTo>
                    <a:pt x="8" y="29"/>
                  </a:lnTo>
                  <a:lnTo>
                    <a:pt x="8" y="27"/>
                  </a:lnTo>
                  <a:lnTo>
                    <a:pt x="6" y="27"/>
                  </a:lnTo>
                  <a:lnTo>
                    <a:pt x="4" y="27"/>
                  </a:lnTo>
                  <a:lnTo>
                    <a:pt x="4" y="25"/>
                  </a:lnTo>
                  <a:lnTo>
                    <a:pt x="4" y="27"/>
                  </a:lnTo>
                  <a:lnTo>
                    <a:pt x="4" y="25"/>
                  </a:lnTo>
                  <a:lnTo>
                    <a:pt x="4" y="27"/>
                  </a:lnTo>
                  <a:lnTo>
                    <a:pt x="4" y="25"/>
                  </a:lnTo>
                  <a:lnTo>
                    <a:pt x="2" y="25"/>
                  </a:lnTo>
                  <a:lnTo>
                    <a:pt x="2" y="23"/>
                  </a:lnTo>
                  <a:lnTo>
                    <a:pt x="2" y="21"/>
                  </a:lnTo>
                  <a:lnTo>
                    <a:pt x="2" y="19"/>
                  </a:lnTo>
                  <a:lnTo>
                    <a:pt x="0" y="19"/>
                  </a:lnTo>
                  <a:lnTo>
                    <a:pt x="2" y="17"/>
                  </a:lnTo>
                  <a:lnTo>
                    <a:pt x="4" y="16"/>
                  </a:lnTo>
                  <a:lnTo>
                    <a:pt x="6" y="16"/>
                  </a:lnTo>
                  <a:lnTo>
                    <a:pt x="6" y="14"/>
                  </a:lnTo>
                  <a:lnTo>
                    <a:pt x="8" y="14"/>
                  </a:lnTo>
                  <a:lnTo>
                    <a:pt x="10" y="12"/>
                  </a:lnTo>
                  <a:lnTo>
                    <a:pt x="14" y="8"/>
                  </a:lnTo>
                  <a:lnTo>
                    <a:pt x="16" y="6"/>
                  </a:lnTo>
                  <a:lnTo>
                    <a:pt x="18" y="6"/>
                  </a:lnTo>
                  <a:lnTo>
                    <a:pt x="18" y="4"/>
                  </a:lnTo>
                  <a:lnTo>
                    <a:pt x="19" y="2"/>
                  </a:lnTo>
                  <a:lnTo>
                    <a:pt x="19" y="0"/>
                  </a:lnTo>
                  <a:lnTo>
                    <a:pt x="19" y="2"/>
                  </a:lnTo>
                  <a:lnTo>
                    <a:pt x="21" y="2"/>
                  </a:lnTo>
                  <a:lnTo>
                    <a:pt x="19" y="2"/>
                  </a:lnTo>
                  <a:lnTo>
                    <a:pt x="19" y="4"/>
                  </a:lnTo>
                  <a:lnTo>
                    <a:pt x="21" y="4"/>
                  </a:lnTo>
                  <a:lnTo>
                    <a:pt x="21" y="2"/>
                  </a:lnTo>
                  <a:lnTo>
                    <a:pt x="23" y="2"/>
                  </a:lnTo>
                  <a:lnTo>
                    <a:pt x="25" y="2"/>
                  </a:lnTo>
                  <a:lnTo>
                    <a:pt x="27" y="2"/>
                  </a:lnTo>
                  <a:lnTo>
                    <a:pt x="27" y="4"/>
                  </a:lnTo>
                  <a:lnTo>
                    <a:pt x="29" y="4"/>
                  </a:lnTo>
                  <a:lnTo>
                    <a:pt x="27" y="4"/>
                  </a:lnTo>
                  <a:lnTo>
                    <a:pt x="29" y="6"/>
                  </a:lnTo>
                  <a:lnTo>
                    <a:pt x="27" y="6"/>
                  </a:lnTo>
                  <a:lnTo>
                    <a:pt x="27" y="8"/>
                  </a:lnTo>
                  <a:lnTo>
                    <a:pt x="27" y="10"/>
                  </a:lnTo>
                  <a:lnTo>
                    <a:pt x="27" y="12"/>
                  </a:lnTo>
                  <a:lnTo>
                    <a:pt x="29" y="14"/>
                  </a:lnTo>
                  <a:lnTo>
                    <a:pt x="29" y="16"/>
                  </a:lnTo>
                  <a:lnTo>
                    <a:pt x="31" y="16"/>
                  </a:lnTo>
                  <a:lnTo>
                    <a:pt x="33" y="16"/>
                  </a:lnTo>
                  <a:lnTo>
                    <a:pt x="35" y="16"/>
                  </a:lnTo>
                  <a:lnTo>
                    <a:pt x="37" y="16"/>
                  </a:lnTo>
                  <a:lnTo>
                    <a:pt x="39" y="16"/>
                  </a:lnTo>
                  <a:lnTo>
                    <a:pt x="41" y="16"/>
                  </a:lnTo>
                  <a:lnTo>
                    <a:pt x="42" y="16"/>
                  </a:lnTo>
                  <a:lnTo>
                    <a:pt x="44" y="16"/>
                  </a:lnTo>
                  <a:lnTo>
                    <a:pt x="44" y="17"/>
                  </a:lnTo>
                  <a:lnTo>
                    <a:pt x="46" y="17"/>
                  </a:lnTo>
                  <a:lnTo>
                    <a:pt x="46" y="19"/>
                  </a:lnTo>
                  <a:lnTo>
                    <a:pt x="48" y="19"/>
                  </a:lnTo>
                  <a:lnTo>
                    <a:pt x="50" y="19"/>
                  </a:lnTo>
                  <a:lnTo>
                    <a:pt x="50" y="21"/>
                  </a:lnTo>
                  <a:lnTo>
                    <a:pt x="52" y="21"/>
                  </a:lnTo>
                  <a:lnTo>
                    <a:pt x="54" y="23"/>
                  </a:lnTo>
                  <a:lnTo>
                    <a:pt x="56" y="23"/>
                  </a:lnTo>
                  <a:lnTo>
                    <a:pt x="56" y="25"/>
                  </a:lnTo>
                  <a:lnTo>
                    <a:pt x="58" y="25"/>
                  </a:lnTo>
                  <a:lnTo>
                    <a:pt x="58" y="27"/>
                  </a:lnTo>
                  <a:lnTo>
                    <a:pt x="60" y="27"/>
                  </a:lnTo>
                  <a:lnTo>
                    <a:pt x="62" y="27"/>
                  </a:lnTo>
                  <a:lnTo>
                    <a:pt x="62" y="29"/>
                  </a:lnTo>
                  <a:lnTo>
                    <a:pt x="64" y="29"/>
                  </a:lnTo>
                  <a:lnTo>
                    <a:pt x="66" y="29"/>
                  </a:lnTo>
                  <a:lnTo>
                    <a:pt x="67" y="29"/>
                  </a:lnTo>
                  <a:lnTo>
                    <a:pt x="67" y="27"/>
                  </a:lnTo>
                  <a:lnTo>
                    <a:pt x="67" y="29"/>
                  </a:lnTo>
                  <a:lnTo>
                    <a:pt x="69" y="29"/>
                  </a:lnTo>
                  <a:lnTo>
                    <a:pt x="71" y="29"/>
                  </a:lnTo>
                  <a:lnTo>
                    <a:pt x="73" y="29"/>
                  </a:lnTo>
                  <a:lnTo>
                    <a:pt x="73" y="31"/>
                  </a:lnTo>
                  <a:lnTo>
                    <a:pt x="73" y="29"/>
                  </a:lnTo>
                  <a:lnTo>
                    <a:pt x="75" y="29"/>
                  </a:lnTo>
                  <a:lnTo>
                    <a:pt x="75" y="31"/>
                  </a:lnTo>
                  <a:lnTo>
                    <a:pt x="75" y="29"/>
                  </a:lnTo>
                  <a:lnTo>
                    <a:pt x="77" y="29"/>
                  </a:lnTo>
                  <a:lnTo>
                    <a:pt x="77" y="31"/>
                  </a:lnTo>
                  <a:lnTo>
                    <a:pt x="79" y="31"/>
                  </a:lnTo>
                  <a:lnTo>
                    <a:pt x="81" y="31"/>
                  </a:lnTo>
                  <a:lnTo>
                    <a:pt x="83" y="31"/>
                  </a:lnTo>
                  <a:lnTo>
                    <a:pt x="87" y="27"/>
                  </a:lnTo>
                  <a:lnTo>
                    <a:pt x="87" y="25"/>
                  </a:lnTo>
                  <a:lnTo>
                    <a:pt x="89" y="23"/>
                  </a:lnTo>
                  <a:lnTo>
                    <a:pt x="90" y="23"/>
                  </a:lnTo>
                  <a:lnTo>
                    <a:pt x="92" y="23"/>
                  </a:lnTo>
                  <a:lnTo>
                    <a:pt x="92" y="21"/>
                  </a:lnTo>
                  <a:lnTo>
                    <a:pt x="96" y="21"/>
                  </a:lnTo>
                  <a:lnTo>
                    <a:pt x="100" y="19"/>
                  </a:lnTo>
                  <a:lnTo>
                    <a:pt x="102" y="19"/>
                  </a:lnTo>
                  <a:lnTo>
                    <a:pt x="102" y="21"/>
                  </a:lnTo>
                  <a:lnTo>
                    <a:pt x="104" y="21"/>
                  </a:lnTo>
                  <a:lnTo>
                    <a:pt x="104" y="23"/>
                  </a:lnTo>
                  <a:lnTo>
                    <a:pt x="106" y="23"/>
                  </a:lnTo>
                  <a:lnTo>
                    <a:pt x="108" y="23"/>
                  </a:lnTo>
                  <a:lnTo>
                    <a:pt x="106" y="23"/>
                  </a:lnTo>
                  <a:lnTo>
                    <a:pt x="108" y="23"/>
                  </a:lnTo>
                  <a:lnTo>
                    <a:pt x="110" y="23"/>
                  </a:lnTo>
                  <a:lnTo>
                    <a:pt x="112" y="23"/>
                  </a:lnTo>
                  <a:lnTo>
                    <a:pt x="113" y="23"/>
                  </a:lnTo>
                  <a:lnTo>
                    <a:pt x="115" y="23"/>
                  </a:lnTo>
                  <a:lnTo>
                    <a:pt x="117" y="23"/>
                  </a:lnTo>
                  <a:close/>
                  <a:moveTo>
                    <a:pt x="104" y="112"/>
                  </a:moveTo>
                  <a:lnTo>
                    <a:pt x="106" y="112"/>
                  </a:lnTo>
                  <a:lnTo>
                    <a:pt x="106" y="114"/>
                  </a:lnTo>
                  <a:lnTo>
                    <a:pt x="104" y="114"/>
                  </a:lnTo>
                  <a:lnTo>
                    <a:pt x="104" y="112"/>
                  </a:lnTo>
                  <a:close/>
                  <a:moveTo>
                    <a:pt x="108" y="110"/>
                  </a:moveTo>
                  <a:lnTo>
                    <a:pt x="108" y="112"/>
                  </a:lnTo>
                  <a:lnTo>
                    <a:pt x="108" y="110"/>
                  </a:lnTo>
                  <a:close/>
                  <a:moveTo>
                    <a:pt x="106" y="110"/>
                  </a:moveTo>
                  <a:lnTo>
                    <a:pt x="108" y="110"/>
                  </a:lnTo>
                  <a:lnTo>
                    <a:pt x="108" y="112"/>
                  </a:lnTo>
                  <a:lnTo>
                    <a:pt x="106" y="112"/>
                  </a:lnTo>
                  <a:lnTo>
                    <a:pt x="106" y="110"/>
                  </a:lnTo>
                  <a:close/>
                  <a:moveTo>
                    <a:pt x="108" y="110"/>
                  </a:moveTo>
                  <a:lnTo>
                    <a:pt x="108" y="112"/>
                  </a:lnTo>
                  <a:lnTo>
                    <a:pt x="108" y="110"/>
                  </a:lnTo>
                  <a:close/>
                  <a:moveTo>
                    <a:pt x="106" y="110"/>
                  </a:moveTo>
                  <a:lnTo>
                    <a:pt x="106" y="112"/>
                  </a:lnTo>
                  <a:lnTo>
                    <a:pt x="106" y="11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324">
              <a:extLst>
                <a:ext uri="{FF2B5EF4-FFF2-40B4-BE49-F238E27FC236}">
                  <a16:creationId xmlns:a16="http://schemas.microsoft.com/office/drawing/2014/main" id="{EFAF4C3D-EEFB-44EC-896D-84956A2C1113}"/>
                </a:ext>
              </a:extLst>
            </p:cNvPr>
            <p:cNvSpPr>
              <a:spLocks noEditPoints="1"/>
            </p:cNvSpPr>
            <p:nvPr/>
          </p:nvSpPr>
          <p:spPr bwMode="gray">
            <a:xfrm>
              <a:off x="3945315" y="4149472"/>
              <a:ext cx="186409" cy="247728"/>
            </a:xfrm>
            <a:custGeom>
              <a:avLst/>
              <a:gdLst>
                <a:gd name="T0" fmla="*/ 0 w 152"/>
                <a:gd name="T1" fmla="*/ 181 h 202"/>
                <a:gd name="T2" fmla="*/ 0 w 152"/>
                <a:gd name="T3" fmla="*/ 160 h 202"/>
                <a:gd name="T4" fmla="*/ 0 w 152"/>
                <a:gd name="T5" fmla="*/ 138 h 202"/>
                <a:gd name="T6" fmla="*/ 11 w 152"/>
                <a:gd name="T7" fmla="*/ 119 h 202"/>
                <a:gd name="T8" fmla="*/ 15 w 152"/>
                <a:gd name="T9" fmla="*/ 117 h 202"/>
                <a:gd name="T10" fmla="*/ 27 w 152"/>
                <a:gd name="T11" fmla="*/ 115 h 202"/>
                <a:gd name="T12" fmla="*/ 36 w 152"/>
                <a:gd name="T13" fmla="*/ 108 h 202"/>
                <a:gd name="T14" fmla="*/ 65 w 152"/>
                <a:gd name="T15" fmla="*/ 96 h 202"/>
                <a:gd name="T16" fmla="*/ 84 w 152"/>
                <a:gd name="T17" fmla="*/ 77 h 202"/>
                <a:gd name="T18" fmla="*/ 86 w 152"/>
                <a:gd name="T19" fmla="*/ 60 h 202"/>
                <a:gd name="T20" fmla="*/ 59 w 152"/>
                <a:gd name="T21" fmla="*/ 50 h 202"/>
                <a:gd name="T22" fmla="*/ 40 w 152"/>
                <a:gd name="T23" fmla="*/ 42 h 202"/>
                <a:gd name="T24" fmla="*/ 33 w 152"/>
                <a:gd name="T25" fmla="*/ 37 h 202"/>
                <a:gd name="T26" fmla="*/ 29 w 152"/>
                <a:gd name="T27" fmla="*/ 31 h 202"/>
                <a:gd name="T28" fmla="*/ 25 w 152"/>
                <a:gd name="T29" fmla="*/ 21 h 202"/>
                <a:gd name="T30" fmla="*/ 33 w 152"/>
                <a:gd name="T31" fmla="*/ 8 h 202"/>
                <a:gd name="T32" fmla="*/ 38 w 152"/>
                <a:gd name="T33" fmla="*/ 17 h 202"/>
                <a:gd name="T34" fmla="*/ 46 w 152"/>
                <a:gd name="T35" fmla="*/ 23 h 202"/>
                <a:gd name="T36" fmla="*/ 56 w 152"/>
                <a:gd name="T37" fmla="*/ 25 h 202"/>
                <a:gd name="T38" fmla="*/ 65 w 152"/>
                <a:gd name="T39" fmla="*/ 21 h 202"/>
                <a:gd name="T40" fmla="*/ 73 w 152"/>
                <a:gd name="T41" fmla="*/ 19 h 202"/>
                <a:gd name="T42" fmla="*/ 84 w 152"/>
                <a:gd name="T43" fmla="*/ 17 h 202"/>
                <a:gd name="T44" fmla="*/ 96 w 152"/>
                <a:gd name="T45" fmla="*/ 14 h 202"/>
                <a:gd name="T46" fmla="*/ 107 w 152"/>
                <a:gd name="T47" fmla="*/ 12 h 202"/>
                <a:gd name="T48" fmla="*/ 117 w 152"/>
                <a:gd name="T49" fmla="*/ 12 h 202"/>
                <a:gd name="T50" fmla="*/ 127 w 152"/>
                <a:gd name="T51" fmla="*/ 8 h 202"/>
                <a:gd name="T52" fmla="*/ 138 w 152"/>
                <a:gd name="T53" fmla="*/ 6 h 202"/>
                <a:gd name="T54" fmla="*/ 146 w 152"/>
                <a:gd name="T55" fmla="*/ 2 h 202"/>
                <a:gd name="T56" fmla="*/ 148 w 152"/>
                <a:gd name="T57" fmla="*/ 10 h 202"/>
                <a:gd name="T58" fmla="*/ 148 w 152"/>
                <a:gd name="T59" fmla="*/ 23 h 202"/>
                <a:gd name="T60" fmla="*/ 150 w 152"/>
                <a:gd name="T61" fmla="*/ 25 h 202"/>
                <a:gd name="T62" fmla="*/ 144 w 152"/>
                <a:gd name="T63" fmla="*/ 29 h 202"/>
                <a:gd name="T64" fmla="*/ 142 w 152"/>
                <a:gd name="T65" fmla="*/ 40 h 202"/>
                <a:gd name="T66" fmla="*/ 136 w 152"/>
                <a:gd name="T67" fmla="*/ 48 h 202"/>
                <a:gd name="T68" fmla="*/ 132 w 152"/>
                <a:gd name="T69" fmla="*/ 58 h 202"/>
                <a:gd name="T70" fmla="*/ 127 w 152"/>
                <a:gd name="T71" fmla="*/ 65 h 202"/>
                <a:gd name="T72" fmla="*/ 121 w 152"/>
                <a:gd name="T73" fmla="*/ 77 h 202"/>
                <a:gd name="T74" fmla="*/ 117 w 152"/>
                <a:gd name="T75" fmla="*/ 87 h 202"/>
                <a:gd name="T76" fmla="*/ 111 w 152"/>
                <a:gd name="T77" fmla="*/ 98 h 202"/>
                <a:gd name="T78" fmla="*/ 104 w 152"/>
                <a:gd name="T79" fmla="*/ 106 h 202"/>
                <a:gd name="T80" fmla="*/ 98 w 152"/>
                <a:gd name="T81" fmla="*/ 115 h 202"/>
                <a:gd name="T82" fmla="*/ 92 w 152"/>
                <a:gd name="T83" fmla="*/ 123 h 202"/>
                <a:gd name="T84" fmla="*/ 84 w 152"/>
                <a:gd name="T85" fmla="*/ 129 h 202"/>
                <a:gd name="T86" fmla="*/ 77 w 152"/>
                <a:gd name="T87" fmla="*/ 138 h 202"/>
                <a:gd name="T88" fmla="*/ 69 w 152"/>
                <a:gd name="T89" fmla="*/ 144 h 202"/>
                <a:gd name="T90" fmla="*/ 61 w 152"/>
                <a:gd name="T91" fmla="*/ 150 h 202"/>
                <a:gd name="T92" fmla="*/ 52 w 152"/>
                <a:gd name="T93" fmla="*/ 154 h 202"/>
                <a:gd name="T94" fmla="*/ 44 w 152"/>
                <a:gd name="T95" fmla="*/ 162 h 202"/>
                <a:gd name="T96" fmla="*/ 34 w 152"/>
                <a:gd name="T97" fmla="*/ 169 h 202"/>
                <a:gd name="T98" fmla="*/ 29 w 152"/>
                <a:gd name="T99" fmla="*/ 177 h 202"/>
                <a:gd name="T100" fmla="*/ 21 w 152"/>
                <a:gd name="T101" fmla="*/ 183 h 202"/>
                <a:gd name="T102" fmla="*/ 15 w 152"/>
                <a:gd name="T103" fmla="*/ 190 h 202"/>
                <a:gd name="T104" fmla="*/ 15 w 152"/>
                <a:gd name="T105" fmla="*/ 188 h 202"/>
                <a:gd name="T106" fmla="*/ 13 w 152"/>
                <a:gd name="T107" fmla="*/ 196 h 202"/>
                <a:gd name="T108" fmla="*/ 9 w 152"/>
                <a:gd name="T109" fmla="*/ 194 h 202"/>
                <a:gd name="T110" fmla="*/ 8 w 152"/>
                <a:gd name="T111" fmla="*/ 202 h 202"/>
                <a:gd name="T112" fmla="*/ 34 w 152"/>
                <a:gd name="T113" fmla="*/ 1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2" h="202">
                  <a:moveTo>
                    <a:pt x="8" y="202"/>
                  </a:moveTo>
                  <a:lnTo>
                    <a:pt x="8" y="200"/>
                  </a:lnTo>
                  <a:lnTo>
                    <a:pt x="4" y="194"/>
                  </a:lnTo>
                  <a:lnTo>
                    <a:pt x="2" y="192"/>
                  </a:lnTo>
                  <a:lnTo>
                    <a:pt x="0" y="190"/>
                  </a:lnTo>
                  <a:lnTo>
                    <a:pt x="0" y="188"/>
                  </a:lnTo>
                  <a:lnTo>
                    <a:pt x="0" y="181"/>
                  </a:lnTo>
                  <a:lnTo>
                    <a:pt x="0" y="179"/>
                  </a:lnTo>
                  <a:lnTo>
                    <a:pt x="0" y="177"/>
                  </a:lnTo>
                  <a:lnTo>
                    <a:pt x="0" y="171"/>
                  </a:lnTo>
                  <a:lnTo>
                    <a:pt x="0" y="167"/>
                  </a:lnTo>
                  <a:lnTo>
                    <a:pt x="0" y="163"/>
                  </a:lnTo>
                  <a:lnTo>
                    <a:pt x="0" y="162"/>
                  </a:lnTo>
                  <a:lnTo>
                    <a:pt x="0" y="160"/>
                  </a:lnTo>
                  <a:lnTo>
                    <a:pt x="0" y="158"/>
                  </a:lnTo>
                  <a:lnTo>
                    <a:pt x="0" y="152"/>
                  </a:lnTo>
                  <a:lnTo>
                    <a:pt x="0" y="150"/>
                  </a:lnTo>
                  <a:lnTo>
                    <a:pt x="0" y="148"/>
                  </a:lnTo>
                  <a:lnTo>
                    <a:pt x="0" y="146"/>
                  </a:lnTo>
                  <a:lnTo>
                    <a:pt x="0" y="144"/>
                  </a:lnTo>
                  <a:lnTo>
                    <a:pt x="0" y="138"/>
                  </a:lnTo>
                  <a:lnTo>
                    <a:pt x="0" y="137"/>
                  </a:lnTo>
                  <a:lnTo>
                    <a:pt x="0" y="135"/>
                  </a:lnTo>
                  <a:lnTo>
                    <a:pt x="2" y="135"/>
                  </a:lnTo>
                  <a:lnTo>
                    <a:pt x="2" y="133"/>
                  </a:lnTo>
                  <a:lnTo>
                    <a:pt x="4" y="133"/>
                  </a:lnTo>
                  <a:lnTo>
                    <a:pt x="4" y="131"/>
                  </a:lnTo>
                  <a:lnTo>
                    <a:pt x="11" y="119"/>
                  </a:lnTo>
                  <a:lnTo>
                    <a:pt x="13" y="119"/>
                  </a:lnTo>
                  <a:lnTo>
                    <a:pt x="13" y="117"/>
                  </a:lnTo>
                  <a:lnTo>
                    <a:pt x="15" y="117"/>
                  </a:lnTo>
                  <a:lnTo>
                    <a:pt x="15" y="115"/>
                  </a:lnTo>
                  <a:lnTo>
                    <a:pt x="15" y="117"/>
                  </a:lnTo>
                  <a:lnTo>
                    <a:pt x="15" y="115"/>
                  </a:lnTo>
                  <a:lnTo>
                    <a:pt x="15" y="117"/>
                  </a:lnTo>
                  <a:lnTo>
                    <a:pt x="17" y="117"/>
                  </a:lnTo>
                  <a:lnTo>
                    <a:pt x="17" y="115"/>
                  </a:lnTo>
                  <a:lnTo>
                    <a:pt x="19" y="115"/>
                  </a:lnTo>
                  <a:lnTo>
                    <a:pt x="21" y="115"/>
                  </a:lnTo>
                  <a:lnTo>
                    <a:pt x="23" y="115"/>
                  </a:lnTo>
                  <a:lnTo>
                    <a:pt x="25" y="115"/>
                  </a:lnTo>
                  <a:lnTo>
                    <a:pt x="27" y="115"/>
                  </a:lnTo>
                  <a:lnTo>
                    <a:pt x="27" y="113"/>
                  </a:lnTo>
                  <a:lnTo>
                    <a:pt x="29" y="113"/>
                  </a:lnTo>
                  <a:lnTo>
                    <a:pt x="29" y="112"/>
                  </a:lnTo>
                  <a:lnTo>
                    <a:pt x="29" y="110"/>
                  </a:lnTo>
                  <a:lnTo>
                    <a:pt x="31" y="110"/>
                  </a:lnTo>
                  <a:lnTo>
                    <a:pt x="34" y="108"/>
                  </a:lnTo>
                  <a:lnTo>
                    <a:pt x="36" y="108"/>
                  </a:lnTo>
                  <a:lnTo>
                    <a:pt x="38" y="106"/>
                  </a:lnTo>
                  <a:lnTo>
                    <a:pt x="44" y="104"/>
                  </a:lnTo>
                  <a:lnTo>
                    <a:pt x="52" y="106"/>
                  </a:lnTo>
                  <a:lnTo>
                    <a:pt x="56" y="106"/>
                  </a:lnTo>
                  <a:lnTo>
                    <a:pt x="57" y="106"/>
                  </a:lnTo>
                  <a:lnTo>
                    <a:pt x="59" y="104"/>
                  </a:lnTo>
                  <a:lnTo>
                    <a:pt x="65" y="96"/>
                  </a:lnTo>
                  <a:lnTo>
                    <a:pt x="67" y="94"/>
                  </a:lnTo>
                  <a:lnTo>
                    <a:pt x="73" y="90"/>
                  </a:lnTo>
                  <a:lnTo>
                    <a:pt x="75" y="89"/>
                  </a:lnTo>
                  <a:lnTo>
                    <a:pt x="75" y="87"/>
                  </a:lnTo>
                  <a:lnTo>
                    <a:pt x="77" y="85"/>
                  </a:lnTo>
                  <a:lnTo>
                    <a:pt x="81" y="83"/>
                  </a:lnTo>
                  <a:lnTo>
                    <a:pt x="84" y="77"/>
                  </a:lnTo>
                  <a:lnTo>
                    <a:pt x="86" y="77"/>
                  </a:lnTo>
                  <a:lnTo>
                    <a:pt x="92" y="69"/>
                  </a:lnTo>
                  <a:lnTo>
                    <a:pt x="94" y="67"/>
                  </a:lnTo>
                  <a:lnTo>
                    <a:pt x="96" y="67"/>
                  </a:lnTo>
                  <a:lnTo>
                    <a:pt x="102" y="60"/>
                  </a:lnTo>
                  <a:lnTo>
                    <a:pt x="88" y="60"/>
                  </a:lnTo>
                  <a:lnTo>
                    <a:pt x="86" y="60"/>
                  </a:lnTo>
                  <a:lnTo>
                    <a:pt x="84" y="58"/>
                  </a:lnTo>
                  <a:lnTo>
                    <a:pt x="77" y="56"/>
                  </a:lnTo>
                  <a:lnTo>
                    <a:pt x="67" y="54"/>
                  </a:lnTo>
                  <a:lnTo>
                    <a:pt x="65" y="52"/>
                  </a:lnTo>
                  <a:lnTo>
                    <a:pt x="63" y="52"/>
                  </a:lnTo>
                  <a:lnTo>
                    <a:pt x="61" y="52"/>
                  </a:lnTo>
                  <a:lnTo>
                    <a:pt x="59" y="50"/>
                  </a:lnTo>
                  <a:lnTo>
                    <a:pt x="56" y="50"/>
                  </a:lnTo>
                  <a:lnTo>
                    <a:pt x="56" y="48"/>
                  </a:lnTo>
                  <a:lnTo>
                    <a:pt x="54" y="48"/>
                  </a:lnTo>
                  <a:lnTo>
                    <a:pt x="50" y="46"/>
                  </a:lnTo>
                  <a:lnTo>
                    <a:pt x="48" y="46"/>
                  </a:lnTo>
                  <a:lnTo>
                    <a:pt x="44" y="44"/>
                  </a:lnTo>
                  <a:lnTo>
                    <a:pt x="40" y="42"/>
                  </a:lnTo>
                  <a:lnTo>
                    <a:pt x="40" y="40"/>
                  </a:lnTo>
                  <a:lnTo>
                    <a:pt x="38" y="40"/>
                  </a:lnTo>
                  <a:lnTo>
                    <a:pt x="36" y="40"/>
                  </a:lnTo>
                  <a:lnTo>
                    <a:pt x="36" y="39"/>
                  </a:lnTo>
                  <a:lnTo>
                    <a:pt x="34" y="39"/>
                  </a:lnTo>
                  <a:lnTo>
                    <a:pt x="34" y="37"/>
                  </a:lnTo>
                  <a:lnTo>
                    <a:pt x="33" y="37"/>
                  </a:lnTo>
                  <a:lnTo>
                    <a:pt x="33" y="35"/>
                  </a:lnTo>
                  <a:lnTo>
                    <a:pt x="33" y="33"/>
                  </a:lnTo>
                  <a:lnTo>
                    <a:pt x="31" y="33"/>
                  </a:lnTo>
                  <a:lnTo>
                    <a:pt x="31" y="31"/>
                  </a:lnTo>
                  <a:lnTo>
                    <a:pt x="31" y="33"/>
                  </a:lnTo>
                  <a:lnTo>
                    <a:pt x="31" y="31"/>
                  </a:lnTo>
                  <a:lnTo>
                    <a:pt x="29" y="31"/>
                  </a:lnTo>
                  <a:lnTo>
                    <a:pt x="29" y="29"/>
                  </a:lnTo>
                  <a:lnTo>
                    <a:pt x="29" y="27"/>
                  </a:lnTo>
                  <a:lnTo>
                    <a:pt x="27" y="27"/>
                  </a:lnTo>
                  <a:lnTo>
                    <a:pt x="27" y="25"/>
                  </a:lnTo>
                  <a:lnTo>
                    <a:pt x="25" y="25"/>
                  </a:lnTo>
                  <a:lnTo>
                    <a:pt x="25" y="23"/>
                  </a:lnTo>
                  <a:lnTo>
                    <a:pt x="25" y="21"/>
                  </a:lnTo>
                  <a:lnTo>
                    <a:pt x="25" y="19"/>
                  </a:lnTo>
                  <a:lnTo>
                    <a:pt x="27" y="19"/>
                  </a:lnTo>
                  <a:lnTo>
                    <a:pt x="27" y="17"/>
                  </a:lnTo>
                  <a:lnTo>
                    <a:pt x="29" y="16"/>
                  </a:lnTo>
                  <a:lnTo>
                    <a:pt x="29" y="14"/>
                  </a:lnTo>
                  <a:lnTo>
                    <a:pt x="33" y="10"/>
                  </a:lnTo>
                  <a:lnTo>
                    <a:pt x="33" y="8"/>
                  </a:lnTo>
                  <a:lnTo>
                    <a:pt x="34" y="10"/>
                  </a:lnTo>
                  <a:lnTo>
                    <a:pt x="36" y="10"/>
                  </a:lnTo>
                  <a:lnTo>
                    <a:pt x="36" y="12"/>
                  </a:lnTo>
                  <a:lnTo>
                    <a:pt x="36" y="14"/>
                  </a:lnTo>
                  <a:lnTo>
                    <a:pt x="38" y="14"/>
                  </a:lnTo>
                  <a:lnTo>
                    <a:pt x="38" y="16"/>
                  </a:lnTo>
                  <a:lnTo>
                    <a:pt x="38" y="17"/>
                  </a:lnTo>
                  <a:lnTo>
                    <a:pt x="40" y="17"/>
                  </a:lnTo>
                  <a:lnTo>
                    <a:pt x="40" y="19"/>
                  </a:lnTo>
                  <a:lnTo>
                    <a:pt x="42" y="19"/>
                  </a:lnTo>
                  <a:lnTo>
                    <a:pt x="42" y="21"/>
                  </a:lnTo>
                  <a:lnTo>
                    <a:pt x="44" y="21"/>
                  </a:lnTo>
                  <a:lnTo>
                    <a:pt x="46" y="21"/>
                  </a:lnTo>
                  <a:lnTo>
                    <a:pt x="46" y="23"/>
                  </a:lnTo>
                  <a:lnTo>
                    <a:pt x="48" y="23"/>
                  </a:lnTo>
                  <a:lnTo>
                    <a:pt x="48" y="25"/>
                  </a:lnTo>
                  <a:lnTo>
                    <a:pt x="50" y="25"/>
                  </a:lnTo>
                  <a:lnTo>
                    <a:pt x="52" y="25"/>
                  </a:lnTo>
                  <a:lnTo>
                    <a:pt x="54" y="25"/>
                  </a:lnTo>
                  <a:lnTo>
                    <a:pt x="54" y="23"/>
                  </a:lnTo>
                  <a:lnTo>
                    <a:pt x="56" y="25"/>
                  </a:lnTo>
                  <a:lnTo>
                    <a:pt x="57" y="25"/>
                  </a:lnTo>
                  <a:lnTo>
                    <a:pt x="57" y="23"/>
                  </a:lnTo>
                  <a:lnTo>
                    <a:pt x="59" y="23"/>
                  </a:lnTo>
                  <a:lnTo>
                    <a:pt x="61" y="23"/>
                  </a:lnTo>
                  <a:lnTo>
                    <a:pt x="61" y="21"/>
                  </a:lnTo>
                  <a:lnTo>
                    <a:pt x="63" y="21"/>
                  </a:lnTo>
                  <a:lnTo>
                    <a:pt x="65" y="21"/>
                  </a:lnTo>
                  <a:lnTo>
                    <a:pt x="65" y="19"/>
                  </a:lnTo>
                  <a:lnTo>
                    <a:pt x="67" y="19"/>
                  </a:lnTo>
                  <a:lnTo>
                    <a:pt x="69" y="19"/>
                  </a:lnTo>
                  <a:lnTo>
                    <a:pt x="69" y="17"/>
                  </a:lnTo>
                  <a:lnTo>
                    <a:pt x="71" y="17"/>
                  </a:lnTo>
                  <a:lnTo>
                    <a:pt x="71" y="19"/>
                  </a:lnTo>
                  <a:lnTo>
                    <a:pt x="73" y="19"/>
                  </a:lnTo>
                  <a:lnTo>
                    <a:pt x="75" y="19"/>
                  </a:lnTo>
                  <a:lnTo>
                    <a:pt x="77" y="19"/>
                  </a:lnTo>
                  <a:lnTo>
                    <a:pt x="79" y="19"/>
                  </a:lnTo>
                  <a:lnTo>
                    <a:pt x="81" y="19"/>
                  </a:lnTo>
                  <a:lnTo>
                    <a:pt x="82" y="19"/>
                  </a:lnTo>
                  <a:lnTo>
                    <a:pt x="84" y="19"/>
                  </a:lnTo>
                  <a:lnTo>
                    <a:pt x="84" y="17"/>
                  </a:lnTo>
                  <a:lnTo>
                    <a:pt x="86" y="17"/>
                  </a:lnTo>
                  <a:lnTo>
                    <a:pt x="88" y="16"/>
                  </a:lnTo>
                  <a:lnTo>
                    <a:pt x="90" y="16"/>
                  </a:lnTo>
                  <a:lnTo>
                    <a:pt x="90" y="14"/>
                  </a:lnTo>
                  <a:lnTo>
                    <a:pt x="92" y="14"/>
                  </a:lnTo>
                  <a:lnTo>
                    <a:pt x="94" y="14"/>
                  </a:lnTo>
                  <a:lnTo>
                    <a:pt x="96" y="14"/>
                  </a:lnTo>
                  <a:lnTo>
                    <a:pt x="98" y="14"/>
                  </a:lnTo>
                  <a:lnTo>
                    <a:pt x="100" y="14"/>
                  </a:lnTo>
                  <a:lnTo>
                    <a:pt x="102" y="14"/>
                  </a:lnTo>
                  <a:lnTo>
                    <a:pt x="104" y="14"/>
                  </a:lnTo>
                  <a:lnTo>
                    <a:pt x="105" y="14"/>
                  </a:lnTo>
                  <a:lnTo>
                    <a:pt x="105" y="12"/>
                  </a:lnTo>
                  <a:lnTo>
                    <a:pt x="107" y="12"/>
                  </a:lnTo>
                  <a:lnTo>
                    <a:pt x="109" y="12"/>
                  </a:lnTo>
                  <a:lnTo>
                    <a:pt x="111" y="12"/>
                  </a:lnTo>
                  <a:lnTo>
                    <a:pt x="111" y="10"/>
                  </a:lnTo>
                  <a:lnTo>
                    <a:pt x="111" y="12"/>
                  </a:lnTo>
                  <a:lnTo>
                    <a:pt x="113" y="12"/>
                  </a:lnTo>
                  <a:lnTo>
                    <a:pt x="115" y="12"/>
                  </a:lnTo>
                  <a:lnTo>
                    <a:pt x="117" y="12"/>
                  </a:lnTo>
                  <a:lnTo>
                    <a:pt x="119" y="12"/>
                  </a:lnTo>
                  <a:lnTo>
                    <a:pt x="121" y="12"/>
                  </a:lnTo>
                  <a:lnTo>
                    <a:pt x="121" y="10"/>
                  </a:lnTo>
                  <a:lnTo>
                    <a:pt x="123" y="10"/>
                  </a:lnTo>
                  <a:lnTo>
                    <a:pt x="125" y="10"/>
                  </a:lnTo>
                  <a:lnTo>
                    <a:pt x="125" y="8"/>
                  </a:lnTo>
                  <a:lnTo>
                    <a:pt x="127" y="8"/>
                  </a:lnTo>
                  <a:lnTo>
                    <a:pt x="128" y="8"/>
                  </a:lnTo>
                  <a:lnTo>
                    <a:pt x="130" y="8"/>
                  </a:lnTo>
                  <a:lnTo>
                    <a:pt x="132" y="8"/>
                  </a:lnTo>
                  <a:lnTo>
                    <a:pt x="134" y="8"/>
                  </a:lnTo>
                  <a:lnTo>
                    <a:pt x="134" y="6"/>
                  </a:lnTo>
                  <a:lnTo>
                    <a:pt x="136" y="6"/>
                  </a:lnTo>
                  <a:lnTo>
                    <a:pt x="138" y="6"/>
                  </a:lnTo>
                  <a:lnTo>
                    <a:pt x="138" y="4"/>
                  </a:lnTo>
                  <a:lnTo>
                    <a:pt x="140" y="2"/>
                  </a:lnTo>
                  <a:lnTo>
                    <a:pt x="142" y="2"/>
                  </a:lnTo>
                  <a:lnTo>
                    <a:pt x="142" y="0"/>
                  </a:lnTo>
                  <a:lnTo>
                    <a:pt x="144" y="0"/>
                  </a:lnTo>
                  <a:lnTo>
                    <a:pt x="144" y="2"/>
                  </a:lnTo>
                  <a:lnTo>
                    <a:pt x="146" y="2"/>
                  </a:lnTo>
                  <a:lnTo>
                    <a:pt x="148" y="2"/>
                  </a:lnTo>
                  <a:lnTo>
                    <a:pt x="150" y="2"/>
                  </a:lnTo>
                  <a:lnTo>
                    <a:pt x="150" y="4"/>
                  </a:lnTo>
                  <a:lnTo>
                    <a:pt x="150" y="6"/>
                  </a:lnTo>
                  <a:lnTo>
                    <a:pt x="148" y="6"/>
                  </a:lnTo>
                  <a:lnTo>
                    <a:pt x="148" y="8"/>
                  </a:lnTo>
                  <a:lnTo>
                    <a:pt x="148" y="10"/>
                  </a:lnTo>
                  <a:lnTo>
                    <a:pt x="148" y="12"/>
                  </a:lnTo>
                  <a:lnTo>
                    <a:pt x="148" y="14"/>
                  </a:lnTo>
                  <a:lnTo>
                    <a:pt x="148" y="16"/>
                  </a:lnTo>
                  <a:lnTo>
                    <a:pt x="148" y="17"/>
                  </a:lnTo>
                  <a:lnTo>
                    <a:pt x="148" y="19"/>
                  </a:lnTo>
                  <a:lnTo>
                    <a:pt x="148" y="21"/>
                  </a:lnTo>
                  <a:lnTo>
                    <a:pt x="148" y="23"/>
                  </a:lnTo>
                  <a:lnTo>
                    <a:pt x="146" y="23"/>
                  </a:lnTo>
                  <a:lnTo>
                    <a:pt x="146" y="25"/>
                  </a:lnTo>
                  <a:lnTo>
                    <a:pt x="148" y="23"/>
                  </a:lnTo>
                  <a:lnTo>
                    <a:pt x="150" y="23"/>
                  </a:lnTo>
                  <a:lnTo>
                    <a:pt x="152" y="23"/>
                  </a:lnTo>
                  <a:lnTo>
                    <a:pt x="152" y="25"/>
                  </a:lnTo>
                  <a:lnTo>
                    <a:pt x="150" y="25"/>
                  </a:lnTo>
                  <a:lnTo>
                    <a:pt x="150" y="23"/>
                  </a:lnTo>
                  <a:lnTo>
                    <a:pt x="148" y="23"/>
                  </a:lnTo>
                  <a:lnTo>
                    <a:pt x="148" y="25"/>
                  </a:lnTo>
                  <a:lnTo>
                    <a:pt x="146" y="25"/>
                  </a:lnTo>
                  <a:lnTo>
                    <a:pt x="144" y="25"/>
                  </a:lnTo>
                  <a:lnTo>
                    <a:pt x="144" y="27"/>
                  </a:lnTo>
                  <a:lnTo>
                    <a:pt x="144" y="29"/>
                  </a:lnTo>
                  <a:lnTo>
                    <a:pt x="144" y="31"/>
                  </a:lnTo>
                  <a:lnTo>
                    <a:pt x="144" y="33"/>
                  </a:lnTo>
                  <a:lnTo>
                    <a:pt x="144" y="35"/>
                  </a:lnTo>
                  <a:lnTo>
                    <a:pt x="144" y="37"/>
                  </a:lnTo>
                  <a:lnTo>
                    <a:pt x="144" y="39"/>
                  </a:lnTo>
                  <a:lnTo>
                    <a:pt x="144" y="40"/>
                  </a:lnTo>
                  <a:lnTo>
                    <a:pt x="142" y="40"/>
                  </a:lnTo>
                  <a:lnTo>
                    <a:pt x="142" y="42"/>
                  </a:lnTo>
                  <a:lnTo>
                    <a:pt x="140" y="42"/>
                  </a:lnTo>
                  <a:lnTo>
                    <a:pt x="140" y="44"/>
                  </a:lnTo>
                  <a:lnTo>
                    <a:pt x="140" y="46"/>
                  </a:lnTo>
                  <a:lnTo>
                    <a:pt x="138" y="46"/>
                  </a:lnTo>
                  <a:lnTo>
                    <a:pt x="138" y="48"/>
                  </a:lnTo>
                  <a:lnTo>
                    <a:pt x="136" y="48"/>
                  </a:lnTo>
                  <a:lnTo>
                    <a:pt x="136" y="50"/>
                  </a:lnTo>
                  <a:lnTo>
                    <a:pt x="136" y="52"/>
                  </a:lnTo>
                  <a:lnTo>
                    <a:pt x="136" y="54"/>
                  </a:lnTo>
                  <a:lnTo>
                    <a:pt x="134" y="54"/>
                  </a:lnTo>
                  <a:lnTo>
                    <a:pt x="134" y="56"/>
                  </a:lnTo>
                  <a:lnTo>
                    <a:pt x="132" y="56"/>
                  </a:lnTo>
                  <a:lnTo>
                    <a:pt x="132" y="58"/>
                  </a:lnTo>
                  <a:lnTo>
                    <a:pt x="130" y="58"/>
                  </a:lnTo>
                  <a:lnTo>
                    <a:pt x="130" y="60"/>
                  </a:lnTo>
                  <a:lnTo>
                    <a:pt x="128" y="60"/>
                  </a:lnTo>
                  <a:lnTo>
                    <a:pt x="128" y="62"/>
                  </a:lnTo>
                  <a:lnTo>
                    <a:pt x="128" y="64"/>
                  </a:lnTo>
                  <a:lnTo>
                    <a:pt x="128" y="65"/>
                  </a:lnTo>
                  <a:lnTo>
                    <a:pt x="127" y="65"/>
                  </a:lnTo>
                  <a:lnTo>
                    <a:pt x="127" y="67"/>
                  </a:lnTo>
                  <a:lnTo>
                    <a:pt x="127" y="69"/>
                  </a:lnTo>
                  <a:lnTo>
                    <a:pt x="125" y="71"/>
                  </a:lnTo>
                  <a:lnTo>
                    <a:pt x="123" y="73"/>
                  </a:lnTo>
                  <a:lnTo>
                    <a:pt x="123" y="75"/>
                  </a:lnTo>
                  <a:lnTo>
                    <a:pt x="121" y="75"/>
                  </a:lnTo>
                  <a:lnTo>
                    <a:pt x="121" y="77"/>
                  </a:lnTo>
                  <a:lnTo>
                    <a:pt x="121" y="79"/>
                  </a:lnTo>
                  <a:lnTo>
                    <a:pt x="119" y="79"/>
                  </a:lnTo>
                  <a:lnTo>
                    <a:pt x="119" y="81"/>
                  </a:lnTo>
                  <a:lnTo>
                    <a:pt x="119" y="83"/>
                  </a:lnTo>
                  <a:lnTo>
                    <a:pt x="117" y="83"/>
                  </a:lnTo>
                  <a:lnTo>
                    <a:pt x="117" y="85"/>
                  </a:lnTo>
                  <a:lnTo>
                    <a:pt x="117" y="87"/>
                  </a:lnTo>
                  <a:lnTo>
                    <a:pt x="117" y="89"/>
                  </a:lnTo>
                  <a:lnTo>
                    <a:pt x="115" y="90"/>
                  </a:lnTo>
                  <a:lnTo>
                    <a:pt x="113" y="92"/>
                  </a:lnTo>
                  <a:lnTo>
                    <a:pt x="113" y="94"/>
                  </a:lnTo>
                  <a:lnTo>
                    <a:pt x="113" y="96"/>
                  </a:lnTo>
                  <a:lnTo>
                    <a:pt x="111" y="96"/>
                  </a:lnTo>
                  <a:lnTo>
                    <a:pt x="111" y="98"/>
                  </a:lnTo>
                  <a:lnTo>
                    <a:pt x="109" y="98"/>
                  </a:lnTo>
                  <a:lnTo>
                    <a:pt x="109" y="100"/>
                  </a:lnTo>
                  <a:lnTo>
                    <a:pt x="107" y="102"/>
                  </a:lnTo>
                  <a:lnTo>
                    <a:pt x="107" y="104"/>
                  </a:lnTo>
                  <a:lnTo>
                    <a:pt x="105" y="104"/>
                  </a:lnTo>
                  <a:lnTo>
                    <a:pt x="105" y="106"/>
                  </a:lnTo>
                  <a:lnTo>
                    <a:pt x="104" y="106"/>
                  </a:lnTo>
                  <a:lnTo>
                    <a:pt x="104" y="108"/>
                  </a:lnTo>
                  <a:lnTo>
                    <a:pt x="104" y="110"/>
                  </a:lnTo>
                  <a:lnTo>
                    <a:pt x="102" y="110"/>
                  </a:lnTo>
                  <a:lnTo>
                    <a:pt x="102" y="112"/>
                  </a:lnTo>
                  <a:lnTo>
                    <a:pt x="100" y="113"/>
                  </a:lnTo>
                  <a:lnTo>
                    <a:pt x="100" y="115"/>
                  </a:lnTo>
                  <a:lnTo>
                    <a:pt x="98" y="115"/>
                  </a:lnTo>
                  <a:lnTo>
                    <a:pt x="98" y="117"/>
                  </a:lnTo>
                  <a:lnTo>
                    <a:pt x="96" y="117"/>
                  </a:lnTo>
                  <a:lnTo>
                    <a:pt x="96" y="119"/>
                  </a:lnTo>
                  <a:lnTo>
                    <a:pt x="94" y="119"/>
                  </a:lnTo>
                  <a:lnTo>
                    <a:pt x="94" y="121"/>
                  </a:lnTo>
                  <a:lnTo>
                    <a:pt x="92" y="121"/>
                  </a:lnTo>
                  <a:lnTo>
                    <a:pt x="92" y="123"/>
                  </a:lnTo>
                  <a:lnTo>
                    <a:pt x="90" y="123"/>
                  </a:lnTo>
                  <a:lnTo>
                    <a:pt x="90" y="125"/>
                  </a:lnTo>
                  <a:lnTo>
                    <a:pt x="88" y="125"/>
                  </a:lnTo>
                  <a:lnTo>
                    <a:pt x="88" y="127"/>
                  </a:lnTo>
                  <a:lnTo>
                    <a:pt x="86" y="127"/>
                  </a:lnTo>
                  <a:lnTo>
                    <a:pt x="86" y="129"/>
                  </a:lnTo>
                  <a:lnTo>
                    <a:pt x="84" y="129"/>
                  </a:lnTo>
                  <a:lnTo>
                    <a:pt x="84" y="131"/>
                  </a:lnTo>
                  <a:lnTo>
                    <a:pt x="82" y="133"/>
                  </a:lnTo>
                  <a:lnTo>
                    <a:pt x="81" y="135"/>
                  </a:lnTo>
                  <a:lnTo>
                    <a:pt x="79" y="135"/>
                  </a:lnTo>
                  <a:lnTo>
                    <a:pt x="79" y="137"/>
                  </a:lnTo>
                  <a:lnTo>
                    <a:pt x="77" y="137"/>
                  </a:lnTo>
                  <a:lnTo>
                    <a:pt x="77" y="138"/>
                  </a:lnTo>
                  <a:lnTo>
                    <a:pt x="75" y="138"/>
                  </a:lnTo>
                  <a:lnTo>
                    <a:pt x="75" y="140"/>
                  </a:lnTo>
                  <a:lnTo>
                    <a:pt x="73" y="140"/>
                  </a:lnTo>
                  <a:lnTo>
                    <a:pt x="73" y="142"/>
                  </a:lnTo>
                  <a:lnTo>
                    <a:pt x="71" y="142"/>
                  </a:lnTo>
                  <a:lnTo>
                    <a:pt x="71" y="144"/>
                  </a:lnTo>
                  <a:lnTo>
                    <a:pt x="69" y="144"/>
                  </a:lnTo>
                  <a:lnTo>
                    <a:pt x="67" y="144"/>
                  </a:lnTo>
                  <a:lnTo>
                    <a:pt x="67" y="146"/>
                  </a:lnTo>
                  <a:lnTo>
                    <a:pt x="65" y="146"/>
                  </a:lnTo>
                  <a:lnTo>
                    <a:pt x="65" y="148"/>
                  </a:lnTo>
                  <a:lnTo>
                    <a:pt x="63" y="148"/>
                  </a:lnTo>
                  <a:lnTo>
                    <a:pt x="61" y="148"/>
                  </a:lnTo>
                  <a:lnTo>
                    <a:pt x="61" y="150"/>
                  </a:lnTo>
                  <a:lnTo>
                    <a:pt x="59" y="150"/>
                  </a:lnTo>
                  <a:lnTo>
                    <a:pt x="57" y="150"/>
                  </a:lnTo>
                  <a:lnTo>
                    <a:pt x="57" y="152"/>
                  </a:lnTo>
                  <a:lnTo>
                    <a:pt x="56" y="152"/>
                  </a:lnTo>
                  <a:lnTo>
                    <a:pt x="54" y="152"/>
                  </a:lnTo>
                  <a:lnTo>
                    <a:pt x="54" y="154"/>
                  </a:lnTo>
                  <a:lnTo>
                    <a:pt x="52" y="154"/>
                  </a:lnTo>
                  <a:lnTo>
                    <a:pt x="52" y="156"/>
                  </a:lnTo>
                  <a:lnTo>
                    <a:pt x="50" y="156"/>
                  </a:lnTo>
                  <a:lnTo>
                    <a:pt x="48" y="158"/>
                  </a:lnTo>
                  <a:lnTo>
                    <a:pt x="46" y="158"/>
                  </a:lnTo>
                  <a:lnTo>
                    <a:pt x="46" y="160"/>
                  </a:lnTo>
                  <a:lnTo>
                    <a:pt x="44" y="160"/>
                  </a:lnTo>
                  <a:lnTo>
                    <a:pt x="44" y="162"/>
                  </a:lnTo>
                  <a:lnTo>
                    <a:pt x="42" y="162"/>
                  </a:lnTo>
                  <a:lnTo>
                    <a:pt x="42" y="163"/>
                  </a:lnTo>
                  <a:lnTo>
                    <a:pt x="40" y="163"/>
                  </a:lnTo>
                  <a:lnTo>
                    <a:pt x="40" y="165"/>
                  </a:lnTo>
                  <a:lnTo>
                    <a:pt x="38" y="165"/>
                  </a:lnTo>
                  <a:lnTo>
                    <a:pt x="36" y="167"/>
                  </a:lnTo>
                  <a:lnTo>
                    <a:pt x="34" y="169"/>
                  </a:lnTo>
                  <a:lnTo>
                    <a:pt x="34" y="171"/>
                  </a:lnTo>
                  <a:lnTo>
                    <a:pt x="33" y="171"/>
                  </a:lnTo>
                  <a:lnTo>
                    <a:pt x="33" y="173"/>
                  </a:lnTo>
                  <a:lnTo>
                    <a:pt x="31" y="173"/>
                  </a:lnTo>
                  <a:lnTo>
                    <a:pt x="31" y="175"/>
                  </a:lnTo>
                  <a:lnTo>
                    <a:pt x="29" y="175"/>
                  </a:lnTo>
                  <a:lnTo>
                    <a:pt x="29" y="177"/>
                  </a:lnTo>
                  <a:lnTo>
                    <a:pt x="27" y="177"/>
                  </a:lnTo>
                  <a:lnTo>
                    <a:pt x="27" y="179"/>
                  </a:lnTo>
                  <a:lnTo>
                    <a:pt x="25" y="179"/>
                  </a:lnTo>
                  <a:lnTo>
                    <a:pt x="25" y="181"/>
                  </a:lnTo>
                  <a:lnTo>
                    <a:pt x="23" y="181"/>
                  </a:lnTo>
                  <a:lnTo>
                    <a:pt x="23" y="183"/>
                  </a:lnTo>
                  <a:lnTo>
                    <a:pt x="21" y="183"/>
                  </a:lnTo>
                  <a:lnTo>
                    <a:pt x="21" y="185"/>
                  </a:lnTo>
                  <a:lnTo>
                    <a:pt x="19" y="185"/>
                  </a:lnTo>
                  <a:lnTo>
                    <a:pt x="19" y="186"/>
                  </a:lnTo>
                  <a:lnTo>
                    <a:pt x="19" y="188"/>
                  </a:lnTo>
                  <a:lnTo>
                    <a:pt x="17" y="188"/>
                  </a:lnTo>
                  <a:lnTo>
                    <a:pt x="17" y="190"/>
                  </a:lnTo>
                  <a:lnTo>
                    <a:pt x="15" y="190"/>
                  </a:lnTo>
                  <a:lnTo>
                    <a:pt x="15" y="188"/>
                  </a:lnTo>
                  <a:lnTo>
                    <a:pt x="15" y="190"/>
                  </a:lnTo>
                  <a:lnTo>
                    <a:pt x="13" y="190"/>
                  </a:lnTo>
                  <a:lnTo>
                    <a:pt x="13" y="188"/>
                  </a:lnTo>
                  <a:lnTo>
                    <a:pt x="13" y="190"/>
                  </a:lnTo>
                  <a:lnTo>
                    <a:pt x="15" y="190"/>
                  </a:lnTo>
                  <a:lnTo>
                    <a:pt x="15" y="188"/>
                  </a:lnTo>
                  <a:lnTo>
                    <a:pt x="15" y="190"/>
                  </a:lnTo>
                  <a:lnTo>
                    <a:pt x="15" y="192"/>
                  </a:lnTo>
                  <a:lnTo>
                    <a:pt x="13" y="192"/>
                  </a:lnTo>
                  <a:lnTo>
                    <a:pt x="13" y="190"/>
                  </a:lnTo>
                  <a:lnTo>
                    <a:pt x="13" y="192"/>
                  </a:lnTo>
                  <a:lnTo>
                    <a:pt x="13" y="194"/>
                  </a:lnTo>
                  <a:lnTo>
                    <a:pt x="13" y="196"/>
                  </a:lnTo>
                  <a:lnTo>
                    <a:pt x="13" y="194"/>
                  </a:lnTo>
                  <a:lnTo>
                    <a:pt x="13" y="196"/>
                  </a:lnTo>
                  <a:lnTo>
                    <a:pt x="11" y="196"/>
                  </a:lnTo>
                  <a:lnTo>
                    <a:pt x="11" y="194"/>
                  </a:lnTo>
                  <a:lnTo>
                    <a:pt x="9" y="194"/>
                  </a:lnTo>
                  <a:lnTo>
                    <a:pt x="9" y="196"/>
                  </a:lnTo>
                  <a:lnTo>
                    <a:pt x="9" y="194"/>
                  </a:lnTo>
                  <a:lnTo>
                    <a:pt x="11" y="194"/>
                  </a:lnTo>
                  <a:lnTo>
                    <a:pt x="11" y="196"/>
                  </a:lnTo>
                  <a:lnTo>
                    <a:pt x="11" y="198"/>
                  </a:lnTo>
                  <a:lnTo>
                    <a:pt x="9" y="198"/>
                  </a:lnTo>
                  <a:lnTo>
                    <a:pt x="9" y="200"/>
                  </a:lnTo>
                  <a:lnTo>
                    <a:pt x="8" y="200"/>
                  </a:lnTo>
                  <a:lnTo>
                    <a:pt x="8" y="202"/>
                  </a:lnTo>
                  <a:close/>
                  <a:moveTo>
                    <a:pt x="34" y="8"/>
                  </a:moveTo>
                  <a:lnTo>
                    <a:pt x="36" y="8"/>
                  </a:lnTo>
                  <a:lnTo>
                    <a:pt x="36" y="10"/>
                  </a:lnTo>
                  <a:lnTo>
                    <a:pt x="34" y="10"/>
                  </a:lnTo>
                  <a:lnTo>
                    <a:pt x="34" y="8"/>
                  </a:lnTo>
                  <a:close/>
                  <a:moveTo>
                    <a:pt x="34" y="8"/>
                  </a:moveTo>
                  <a:lnTo>
                    <a:pt x="34" y="10"/>
                  </a:lnTo>
                  <a:lnTo>
                    <a:pt x="34" y="8"/>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327">
              <a:extLst>
                <a:ext uri="{FF2B5EF4-FFF2-40B4-BE49-F238E27FC236}">
                  <a16:creationId xmlns:a16="http://schemas.microsoft.com/office/drawing/2014/main" id="{86062170-1CDB-4BC8-9A5C-6FCA1742747A}"/>
                </a:ext>
              </a:extLst>
            </p:cNvPr>
            <p:cNvSpPr>
              <a:spLocks noEditPoints="1"/>
            </p:cNvSpPr>
            <p:nvPr/>
          </p:nvSpPr>
          <p:spPr bwMode="gray">
            <a:xfrm>
              <a:off x="4432186" y="3685901"/>
              <a:ext cx="519984" cy="560454"/>
            </a:xfrm>
            <a:custGeom>
              <a:avLst/>
              <a:gdLst>
                <a:gd name="T0" fmla="*/ 42 w 424"/>
                <a:gd name="T1" fmla="*/ 186 h 457"/>
                <a:gd name="T2" fmla="*/ 19 w 424"/>
                <a:gd name="T3" fmla="*/ 146 h 457"/>
                <a:gd name="T4" fmla="*/ 62 w 424"/>
                <a:gd name="T5" fmla="*/ 117 h 457"/>
                <a:gd name="T6" fmla="*/ 92 w 424"/>
                <a:gd name="T7" fmla="*/ 79 h 457"/>
                <a:gd name="T8" fmla="*/ 104 w 424"/>
                <a:gd name="T9" fmla="*/ 54 h 457"/>
                <a:gd name="T10" fmla="*/ 88 w 424"/>
                <a:gd name="T11" fmla="*/ 29 h 457"/>
                <a:gd name="T12" fmla="*/ 110 w 424"/>
                <a:gd name="T13" fmla="*/ 17 h 457"/>
                <a:gd name="T14" fmla="*/ 146 w 424"/>
                <a:gd name="T15" fmla="*/ 13 h 457"/>
                <a:gd name="T16" fmla="*/ 161 w 424"/>
                <a:gd name="T17" fmla="*/ 46 h 457"/>
                <a:gd name="T18" fmla="*/ 158 w 424"/>
                <a:gd name="T19" fmla="*/ 75 h 457"/>
                <a:gd name="T20" fmla="*/ 177 w 424"/>
                <a:gd name="T21" fmla="*/ 103 h 457"/>
                <a:gd name="T22" fmla="*/ 192 w 424"/>
                <a:gd name="T23" fmla="*/ 127 h 457"/>
                <a:gd name="T24" fmla="*/ 229 w 424"/>
                <a:gd name="T25" fmla="*/ 138 h 457"/>
                <a:gd name="T26" fmla="*/ 259 w 424"/>
                <a:gd name="T27" fmla="*/ 151 h 457"/>
                <a:gd name="T28" fmla="*/ 292 w 424"/>
                <a:gd name="T29" fmla="*/ 150 h 457"/>
                <a:gd name="T30" fmla="*/ 302 w 424"/>
                <a:gd name="T31" fmla="*/ 134 h 457"/>
                <a:gd name="T32" fmla="*/ 346 w 424"/>
                <a:gd name="T33" fmla="*/ 146 h 457"/>
                <a:gd name="T34" fmla="*/ 390 w 424"/>
                <a:gd name="T35" fmla="*/ 134 h 457"/>
                <a:gd name="T36" fmla="*/ 422 w 424"/>
                <a:gd name="T37" fmla="*/ 142 h 457"/>
                <a:gd name="T38" fmla="*/ 396 w 424"/>
                <a:gd name="T39" fmla="*/ 161 h 457"/>
                <a:gd name="T40" fmla="*/ 369 w 424"/>
                <a:gd name="T41" fmla="*/ 194 h 457"/>
                <a:gd name="T42" fmla="*/ 359 w 424"/>
                <a:gd name="T43" fmla="*/ 224 h 457"/>
                <a:gd name="T44" fmla="*/ 348 w 424"/>
                <a:gd name="T45" fmla="*/ 203 h 457"/>
                <a:gd name="T46" fmla="*/ 340 w 424"/>
                <a:gd name="T47" fmla="*/ 194 h 457"/>
                <a:gd name="T48" fmla="*/ 342 w 424"/>
                <a:gd name="T49" fmla="*/ 175 h 457"/>
                <a:gd name="T50" fmla="*/ 311 w 424"/>
                <a:gd name="T51" fmla="*/ 161 h 457"/>
                <a:gd name="T52" fmla="*/ 300 w 424"/>
                <a:gd name="T53" fmla="*/ 155 h 457"/>
                <a:gd name="T54" fmla="*/ 294 w 424"/>
                <a:gd name="T55" fmla="*/ 178 h 457"/>
                <a:gd name="T56" fmla="*/ 302 w 424"/>
                <a:gd name="T57" fmla="*/ 203 h 457"/>
                <a:gd name="T58" fmla="*/ 302 w 424"/>
                <a:gd name="T59" fmla="*/ 224 h 457"/>
                <a:gd name="T60" fmla="*/ 290 w 424"/>
                <a:gd name="T61" fmla="*/ 226 h 457"/>
                <a:gd name="T62" fmla="*/ 273 w 424"/>
                <a:gd name="T63" fmla="*/ 249 h 457"/>
                <a:gd name="T64" fmla="*/ 244 w 424"/>
                <a:gd name="T65" fmla="*/ 271 h 457"/>
                <a:gd name="T66" fmla="*/ 207 w 424"/>
                <a:gd name="T67" fmla="*/ 301 h 457"/>
                <a:gd name="T68" fmla="*/ 183 w 424"/>
                <a:gd name="T69" fmla="*/ 321 h 457"/>
                <a:gd name="T70" fmla="*/ 177 w 424"/>
                <a:gd name="T71" fmla="*/ 359 h 457"/>
                <a:gd name="T72" fmla="*/ 169 w 424"/>
                <a:gd name="T73" fmla="*/ 403 h 457"/>
                <a:gd name="T74" fmla="*/ 156 w 424"/>
                <a:gd name="T75" fmla="*/ 418 h 457"/>
                <a:gd name="T76" fmla="*/ 127 w 424"/>
                <a:gd name="T77" fmla="*/ 430 h 457"/>
                <a:gd name="T78" fmla="*/ 113 w 424"/>
                <a:gd name="T79" fmla="*/ 395 h 457"/>
                <a:gd name="T80" fmla="*/ 96 w 424"/>
                <a:gd name="T81" fmla="*/ 361 h 457"/>
                <a:gd name="T82" fmla="*/ 85 w 424"/>
                <a:gd name="T83" fmla="*/ 328 h 457"/>
                <a:gd name="T84" fmla="*/ 75 w 424"/>
                <a:gd name="T85" fmla="*/ 301 h 457"/>
                <a:gd name="T86" fmla="*/ 71 w 424"/>
                <a:gd name="T87" fmla="*/ 271 h 457"/>
                <a:gd name="T88" fmla="*/ 65 w 424"/>
                <a:gd name="T89" fmla="*/ 240 h 457"/>
                <a:gd name="T90" fmla="*/ 50 w 424"/>
                <a:gd name="T91" fmla="*/ 242 h 457"/>
                <a:gd name="T92" fmla="*/ 12 w 424"/>
                <a:gd name="T93" fmla="*/ 221 h 457"/>
                <a:gd name="T94" fmla="*/ 33 w 424"/>
                <a:gd name="T95" fmla="*/ 209 h 457"/>
                <a:gd name="T96" fmla="*/ 6 w 424"/>
                <a:gd name="T97" fmla="*/ 203 h 457"/>
                <a:gd name="T98" fmla="*/ 361 w 424"/>
                <a:gd name="T99" fmla="*/ 370 h 457"/>
                <a:gd name="T100" fmla="*/ 361 w 424"/>
                <a:gd name="T101" fmla="*/ 359 h 457"/>
                <a:gd name="T102" fmla="*/ 357 w 424"/>
                <a:gd name="T103" fmla="*/ 380 h 457"/>
                <a:gd name="T104" fmla="*/ 353 w 424"/>
                <a:gd name="T105" fmla="*/ 397 h 457"/>
                <a:gd name="T106" fmla="*/ 373 w 424"/>
                <a:gd name="T107" fmla="*/ 445 h 457"/>
                <a:gd name="T108" fmla="*/ 367 w 424"/>
                <a:gd name="T109" fmla="*/ 436 h 457"/>
                <a:gd name="T110" fmla="*/ 373 w 424"/>
                <a:gd name="T111" fmla="*/ 440 h 457"/>
                <a:gd name="T112" fmla="*/ 300 w 424"/>
                <a:gd name="T113" fmla="*/ 228 h 457"/>
                <a:gd name="T114" fmla="*/ 363 w 424"/>
                <a:gd name="T115" fmla="*/ 374 h 457"/>
                <a:gd name="T116" fmla="*/ 363 w 424"/>
                <a:gd name="T117" fmla="*/ 432 h 457"/>
                <a:gd name="T118" fmla="*/ 363 w 424"/>
                <a:gd name="T119" fmla="*/ 374 h 457"/>
                <a:gd name="T120" fmla="*/ 254 w 424"/>
                <a:gd name="T121" fmla="*/ 261 h 457"/>
                <a:gd name="T122" fmla="*/ 363 w 424"/>
                <a:gd name="T123" fmla="*/ 355 h 457"/>
                <a:gd name="T124" fmla="*/ 165 w 424"/>
                <a:gd name="T125" fmla="*/ 42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4" h="457">
                  <a:moveTo>
                    <a:pt x="0" y="196"/>
                  </a:moveTo>
                  <a:lnTo>
                    <a:pt x="2" y="196"/>
                  </a:lnTo>
                  <a:lnTo>
                    <a:pt x="2" y="194"/>
                  </a:lnTo>
                  <a:lnTo>
                    <a:pt x="4" y="194"/>
                  </a:lnTo>
                  <a:lnTo>
                    <a:pt x="6" y="194"/>
                  </a:lnTo>
                  <a:lnTo>
                    <a:pt x="8" y="194"/>
                  </a:lnTo>
                  <a:lnTo>
                    <a:pt x="8" y="192"/>
                  </a:lnTo>
                  <a:lnTo>
                    <a:pt x="8" y="190"/>
                  </a:lnTo>
                  <a:lnTo>
                    <a:pt x="8" y="188"/>
                  </a:lnTo>
                  <a:lnTo>
                    <a:pt x="10" y="188"/>
                  </a:lnTo>
                  <a:lnTo>
                    <a:pt x="10" y="190"/>
                  </a:lnTo>
                  <a:lnTo>
                    <a:pt x="12" y="188"/>
                  </a:lnTo>
                  <a:lnTo>
                    <a:pt x="12" y="190"/>
                  </a:lnTo>
                  <a:lnTo>
                    <a:pt x="14" y="190"/>
                  </a:lnTo>
                  <a:lnTo>
                    <a:pt x="16" y="190"/>
                  </a:lnTo>
                  <a:lnTo>
                    <a:pt x="17" y="190"/>
                  </a:lnTo>
                  <a:lnTo>
                    <a:pt x="17" y="188"/>
                  </a:lnTo>
                  <a:lnTo>
                    <a:pt x="17" y="190"/>
                  </a:lnTo>
                  <a:lnTo>
                    <a:pt x="19" y="190"/>
                  </a:lnTo>
                  <a:lnTo>
                    <a:pt x="19" y="188"/>
                  </a:lnTo>
                  <a:lnTo>
                    <a:pt x="19" y="190"/>
                  </a:lnTo>
                  <a:lnTo>
                    <a:pt x="19" y="188"/>
                  </a:lnTo>
                  <a:lnTo>
                    <a:pt x="21" y="188"/>
                  </a:lnTo>
                  <a:lnTo>
                    <a:pt x="21" y="190"/>
                  </a:lnTo>
                  <a:lnTo>
                    <a:pt x="23" y="190"/>
                  </a:lnTo>
                  <a:lnTo>
                    <a:pt x="25" y="190"/>
                  </a:lnTo>
                  <a:lnTo>
                    <a:pt x="27" y="190"/>
                  </a:lnTo>
                  <a:lnTo>
                    <a:pt x="29" y="190"/>
                  </a:lnTo>
                  <a:lnTo>
                    <a:pt x="29" y="188"/>
                  </a:lnTo>
                  <a:lnTo>
                    <a:pt x="31" y="188"/>
                  </a:lnTo>
                  <a:lnTo>
                    <a:pt x="33" y="188"/>
                  </a:lnTo>
                  <a:lnTo>
                    <a:pt x="35" y="188"/>
                  </a:lnTo>
                  <a:lnTo>
                    <a:pt x="35" y="186"/>
                  </a:lnTo>
                  <a:lnTo>
                    <a:pt x="35" y="188"/>
                  </a:lnTo>
                  <a:lnTo>
                    <a:pt x="35" y="190"/>
                  </a:lnTo>
                  <a:lnTo>
                    <a:pt x="37" y="190"/>
                  </a:lnTo>
                  <a:lnTo>
                    <a:pt x="39" y="190"/>
                  </a:lnTo>
                  <a:lnTo>
                    <a:pt x="41" y="190"/>
                  </a:lnTo>
                  <a:lnTo>
                    <a:pt x="41" y="188"/>
                  </a:lnTo>
                  <a:lnTo>
                    <a:pt x="42" y="188"/>
                  </a:lnTo>
                  <a:lnTo>
                    <a:pt x="42" y="186"/>
                  </a:lnTo>
                  <a:lnTo>
                    <a:pt x="41" y="186"/>
                  </a:lnTo>
                  <a:lnTo>
                    <a:pt x="42" y="186"/>
                  </a:lnTo>
                  <a:lnTo>
                    <a:pt x="42" y="184"/>
                  </a:lnTo>
                  <a:lnTo>
                    <a:pt x="41" y="184"/>
                  </a:lnTo>
                  <a:lnTo>
                    <a:pt x="42" y="184"/>
                  </a:lnTo>
                  <a:lnTo>
                    <a:pt x="42" y="182"/>
                  </a:lnTo>
                  <a:lnTo>
                    <a:pt x="42" y="180"/>
                  </a:lnTo>
                  <a:lnTo>
                    <a:pt x="41" y="180"/>
                  </a:lnTo>
                  <a:lnTo>
                    <a:pt x="41" y="178"/>
                  </a:lnTo>
                  <a:lnTo>
                    <a:pt x="41" y="176"/>
                  </a:lnTo>
                  <a:lnTo>
                    <a:pt x="41" y="175"/>
                  </a:lnTo>
                  <a:lnTo>
                    <a:pt x="39" y="175"/>
                  </a:lnTo>
                  <a:lnTo>
                    <a:pt x="39" y="173"/>
                  </a:lnTo>
                  <a:lnTo>
                    <a:pt x="37" y="173"/>
                  </a:lnTo>
                  <a:lnTo>
                    <a:pt x="37" y="171"/>
                  </a:lnTo>
                  <a:lnTo>
                    <a:pt x="37" y="169"/>
                  </a:lnTo>
                  <a:lnTo>
                    <a:pt x="37" y="167"/>
                  </a:lnTo>
                  <a:lnTo>
                    <a:pt x="37" y="165"/>
                  </a:lnTo>
                  <a:lnTo>
                    <a:pt x="35" y="165"/>
                  </a:lnTo>
                  <a:lnTo>
                    <a:pt x="35" y="167"/>
                  </a:lnTo>
                  <a:lnTo>
                    <a:pt x="33" y="167"/>
                  </a:lnTo>
                  <a:lnTo>
                    <a:pt x="31" y="167"/>
                  </a:lnTo>
                  <a:lnTo>
                    <a:pt x="31" y="165"/>
                  </a:lnTo>
                  <a:lnTo>
                    <a:pt x="29" y="165"/>
                  </a:lnTo>
                  <a:lnTo>
                    <a:pt x="29" y="163"/>
                  </a:lnTo>
                  <a:lnTo>
                    <a:pt x="29" y="161"/>
                  </a:lnTo>
                  <a:lnTo>
                    <a:pt x="29" y="159"/>
                  </a:lnTo>
                  <a:lnTo>
                    <a:pt x="27" y="159"/>
                  </a:lnTo>
                  <a:lnTo>
                    <a:pt x="29" y="159"/>
                  </a:lnTo>
                  <a:lnTo>
                    <a:pt x="29" y="157"/>
                  </a:lnTo>
                  <a:lnTo>
                    <a:pt x="29" y="155"/>
                  </a:lnTo>
                  <a:lnTo>
                    <a:pt x="29" y="153"/>
                  </a:lnTo>
                  <a:lnTo>
                    <a:pt x="29" y="151"/>
                  </a:lnTo>
                  <a:lnTo>
                    <a:pt x="27" y="151"/>
                  </a:lnTo>
                  <a:lnTo>
                    <a:pt x="25" y="151"/>
                  </a:lnTo>
                  <a:lnTo>
                    <a:pt x="23" y="151"/>
                  </a:lnTo>
                  <a:lnTo>
                    <a:pt x="23" y="150"/>
                  </a:lnTo>
                  <a:lnTo>
                    <a:pt x="21" y="150"/>
                  </a:lnTo>
                  <a:lnTo>
                    <a:pt x="19" y="150"/>
                  </a:lnTo>
                  <a:lnTo>
                    <a:pt x="19" y="148"/>
                  </a:lnTo>
                  <a:lnTo>
                    <a:pt x="19" y="146"/>
                  </a:lnTo>
                  <a:lnTo>
                    <a:pt x="19" y="144"/>
                  </a:lnTo>
                  <a:lnTo>
                    <a:pt x="19" y="142"/>
                  </a:lnTo>
                  <a:lnTo>
                    <a:pt x="21" y="142"/>
                  </a:lnTo>
                  <a:lnTo>
                    <a:pt x="21" y="140"/>
                  </a:lnTo>
                  <a:lnTo>
                    <a:pt x="23" y="140"/>
                  </a:lnTo>
                  <a:lnTo>
                    <a:pt x="23" y="138"/>
                  </a:lnTo>
                  <a:lnTo>
                    <a:pt x="25" y="138"/>
                  </a:lnTo>
                  <a:lnTo>
                    <a:pt x="25" y="136"/>
                  </a:lnTo>
                  <a:lnTo>
                    <a:pt x="27" y="136"/>
                  </a:lnTo>
                  <a:lnTo>
                    <a:pt x="27" y="134"/>
                  </a:lnTo>
                  <a:lnTo>
                    <a:pt x="29" y="134"/>
                  </a:lnTo>
                  <a:lnTo>
                    <a:pt x="29" y="132"/>
                  </a:lnTo>
                  <a:lnTo>
                    <a:pt x="29" y="130"/>
                  </a:lnTo>
                  <a:lnTo>
                    <a:pt x="31" y="130"/>
                  </a:lnTo>
                  <a:lnTo>
                    <a:pt x="31" y="128"/>
                  </a:lnTo>
                  <a:lnTo>
                    <a:pt x="33" y="128"/>
                  </a:lnTo>
                  <a:lnTo>
                    <a:pt x="35" y="128"/>
                  </a:lnTo>
                  <a:lnTo>
                    <a:pt x="37" y="128"/>
                  </a:lnTo>
                  <a:lnTo>
                    <a:pt x="37" y="130"/>
                  </a:lnTo>
                  <a:lnTo>
                    <a:pt x="37" y="132"/>
                  </a:lnTo>
                  <a:lnTo>
                    <a:pt x="39" y="132"/>
                  </a:lnTo>
                  <a:lnTo>
                    <a:pt x="41" y="132"/>
                  </a:lnTo>
                  <a:lnTo>
                    <a:pt x="42" y="132"/>
                  </a:lnTo>
                  <a:lnTo>
                    <a:pt x="44" y="132"/>
                  </a:lnTo>
                  <a:lnTo>
                    <a:pt x="44" y="130"/>
                  </a:lnTo>
                  <a:lnTo>
                    <a:pt x="46" y="130"/>
                  </a:lnTo>
                  <a:lnTo>
                    <a:pt x="48" y="130"/>
                  </a:lnTo>
                  <a:lnTo>
                    <a:pt x="50" y="130"/>
                  </a:lnTo>
                  <a:lnTo>
                    <a:pt x="52" y="130"/>
                  </a:lnTo>
                  <a:lnTo>
                    <a:pt x="54" y="130"/>
                  </a:lnTo>
                  <a:lnTo>
                    <a:pt x="54" y="128"/>
                  </a:lnTo>
                  <a:lnTo>
                    <a:pt x="54" y="127"/>
                  </a:lnTo>
                  <a:lnTo>
                    <a:pt x="56" y="127"/>
                  </a:lnTo>
                  <a:lnTo>
                    <a:pt x="56" y="125"/>
                  </a:lnTo>
                  <a:lnTo>
                    <a:pt x="58" y="125"/>
                  </a:lnTo>
                  <a:lnTo>
                    <a:pt x="58" y="123"/>
                  </a:lnTo>
                  <a:lnTo>
                    <a:pt x="60" y="123"/>
                  </a:lnTo>
                  <a:lnTo>
                    <a:pt x="60" y="121"/>
                  </a:lnTo>
                  <a:lnTo>
                    <a:pt x="60" y="119"/>
                  </a:lnTo>
                  <a:lnTo>
                    <a:pt x="60" y="117"/>
                  </a:lnTo>
                  <a:lnTo>
                    <a:pt x="62" y="117"/>
                  </a:lnTo>
                  <a:lnTo>
                    <a:pt x="62" y="115"/>
                  </a:lnTo>
                  <a:lnTo>
                    <a:pt x="64" y="115"/>
                  </a:lnTo>
                  <a:lnTo>
                    <a:pt x="64" y="113"/>
                  </a:lnTo>
                  <a:lnTo>
                    <a:pt x="65" y="113"/>
                  </a:lnTo>
                  <a:lnTo>
                    <a:pt x="67" y="113"/>
                  </a:lnTo>
                  <a:lnTo>
                    <a:pt x="67" y="111"/>
                  </a:lnTo>
                  <a:lnTo>
                    <a:pt x="69" y="111"/>
                  </a:lnTo>
                  <a:lnTo>
                    <a:pt x="71" y="109"/>
                  </a:lnTo>
                  <a:lnTo>
                    <a:pt x="71" y="107"/>
                  </a:lnTo>
                  <a:lnTo>
                    <a:pt x="73" y="107"/>
                  </a:lnTo>
                  <a:lnTo>
                    <a:pt x="73" y="105"/>
                  </a:lnTo>
                  <a:lnTo>
                    <a:pt x="73" y="103"/>
                  </a:lnTo>
                  <a:lnTo>
                    <a:pt x="75" y="103"/>
                  </a:lnTo>
                  <a:lnTo>
                    <a:pt x="75" y="102"/>
                  </a:lnTo>
                  <a:lnTo>
                    <a:pt x="75" y="100"/>
                  </a:lnTo>
                  <a:lnTo>
                    <a:pt x="75" y="98"/>
                  </a:lnTo>
                  <a:lnTo>
                    <a:pt x="77" y="98"/>
                  </a:lnTo>
                  <a:lnTo>
                    <a:pt x="77" y="96"/>
                  </a:lnTo>
                  <a:lnTo>
                    <a:pt x="79" y="96"/>
                  </a:lnTo>
                  <a:lnTo>
                    <a:pt x="79" y="94"/>
                  </a:lnTo>
                  <a:lnTo>
                    <a:pt x="81" y="94"/>
                  </a:lnTo>
                  <a:lnTo>
                    <a:pt x="83" y="94"/>
                  </a:lnTo>
                  <a:lnTo>
                    <a:pt x="83" y="92"/>
                  </a:lnTo>
                  <a:lnTo>
                    <a:pt x="85" y="92"/>
                  </a:lnTo>
                  <a:lnTo>
                    <a:pt x="85" y="90"/>
                  </a:lnTo>
                  <a:lnTo>
                    <a:pt x="85" y="88"/>
                  </a:lnTo>
                  <a:lnTo>
                    <a:pt x="83" y="88"/>
                  </a:lnTo>
                  <a:lnTo>
                    <a:pt x="85" y="88"/>
                  </a:lnTo>
                  <a:lnTo>
                    <a:pt x="85" y="86"/>
                  </a:lnTo>
                  <a:lnTo>
                    <a:pt x="87" y="86"/>
                  </a:lnTo>
                  <a:lnTo>
                    <a:pt x="87" y="84"/>
                  </a:lnTo>
                  <a:lnTo>
                    <a:pt x="88" y="84"/>
                  </a:lnTo>
                  <a:lnTo>
                    <a:pt x="88" y="82"/>
                  </a:lnTo>
                  <a:lnTo>
                    <a:pt x="90" y="82"/>
                  </a:lnTo>
                  <a:lnTo>
                    <a:pt x="88" y="82"/>
                  </a:lnTo>
                  <a:lnTo>
                    <a:pt x="90" y="82"/>
                  </a:lnTo>
                  <a:lnTo>
                    <a:pt x="90" y="80"/>
                  </a:lnTo>
                  <a:lnTo>
                    <a:pt x="90" y="79"/>
                  </a:lnTo>
                  <a:lnTo>
                    <a:pt x="92" y="79"/>
                  </a:lnTo>
                  <a:lnTo>
                    <a:pt x="94" y="79"/>
                  </a:lnTo>
                  <a:lnTo>
                    <a:pt x="92" y="79"/>
                  </a:lnTo>
                  <a:lnTo>
                    <a:pt x="92" y="77"/>
                  </a:lnTo>
                  <a:lnTo>
                    <a:pt x="94" y="77"/>
                  </a:lnTo>
                  <a:lnTo>
                    <a:pt x="96" y="77"/>
                  </a:lnTo>
                  <a:lnTo>
                    <a:pt x="96" y="75"/>
                  </a:lnTo>
                  <a:lnTo>
                    <a:pt x="94" y="75"/>
                  </a:lnTo>
                  <a:lnTo>
                    <a:pt x="94" y="77"/>
                  </a:lnTo>
                  <a:lnTo>
                    <a:pt x="94" y="75"/>
                  </a:lnTo>
                  <a:lnTo>
                    <a:pt x="94" y="77"/>
                  </a:lnTo>
                  <a:lnTo>
                    <a:pt x="94" y="75"/>
                  </a:lnTo>
                  <a:lnTo>
                    <a:pt x="94" y="77"/>
                  </a:lnTo>
                  <a:lnTo>
                    <a:pt x="92" y="77"/>
                  </a:lnTo>
                  <a:lnTo>
                    <a:pt x="92" y="75"/>
                  </a:lnTo>
                  <a:lnTo>
                    <a:pt x="92" y="73"/>
                  </a:lnTo>
                  <a:lnTo>
                    <a:pt x="94" y="73"/>
                  </a:lnTo>
                  <a:lnTo>
                    <a:pt x="92" y="73"/>
                  </a:lnTo>
                  <a:lnTo>
                    <a:pt x="94" y="73"/>
                  </a:lnTo>
                  <a:lnTo>
                    <a:pt x="94" y="71"/>
                  </a:lnTo>
                  <a:lnTo>
                    <a:pt x="94" y="69"/>
                  </a:lnTo>
                  <a:lnTo>
                    <a:pt x="94" y="67"/>
                  </a:lnTo>
                  <a:lnTo>
                    <a:pt x="92" y="67"/>
                  </a:lnTo>
                  <a:lnTo>
                    <a:pt x="92" y="65"/>
                  </a:lnTo>
                  <a:lnTo>
                    <a:pt x="94" y="65"/>
                  </a:lnTo>
                  <a:lnTo>
                    <a:pt x="94" y="63"/>
                  </a:lnTo>
                  <a:lnTo>
                    <a:pt x="94" y="61"/>
                  </a:lnTo>
                  <a:lnTo>
                    <a:pt x="96" y="61"/>
                  </a:lnTo>
                  <a:lnTo>
                    <a:pt x="98" y="61"/>
                  </a:lnTo>
                  <a:lnTo>
                    <a:pt x="98" y="59"/>
                  </a:lnTo>
                  <a:lnTo>
                    <a:pt x="100" y="59"/>
                  </a:lnTo>
                  <a:lnTo>
                    <a:pt x="102" y="59"/>
                  </a:lnTo>
                  <a:lnTo>
                    <a:pt x="104" y="59"/>
                  </a:lnTo>
                  <a:lnTo>
                    <a:pt x="104" y="57"/>
                  </a:lnTo>
                  <a:lnTo>
                    <a:pt x="106" y="57"/>
                  </a:lnTo>
                  <a:lnTo>
                    <a:pt x="106" y="55"/>
                  </a:lnTo>
                  <a:lnTo>
                    <a:pt x="104" y="55"/>
                  </a:lnTo>
                  <a:lnTo>
                    <a:pt x="106" y="55"/>
                  </a:lnTo>
                  <a:lnTo>
                    <a:pt x="104" y="55"/>
                  </a:lnTo>
                  <a:lnTo>
                    <a:pt x="104" y="54"/>
                  </a:lnTo>
                  <a:lnTo>
                    <a:pt x="102" y="54"/>
                  </a:lnTo>
                  <a:lnTo>
                    <a:pt x="104" y="54"/>
                  </a:lnTo>
                  <a:lnTo>
                    <a:pt x="102" y="54"/>
                  </a:lnTo>
                  <a:lnTo>
                    <a:pt x="104" y="54"/>
                  </a:lnTo>
                  <a:lnTo>
                    <a:pt x="102" y="54"/>
                  </a:lnTo>
                  <a:lnTo>
                    <a:pt x="102" y="52"/>
                  </a:lnTo>
                  <a:lnTo>
                    <a:pt x="100" y="52"/>
                  </a:lnTo>
                  <a:lnTo>
                    <a:pt x="100" y="54"/>
                  </a:lnTo>
                  <a:lnTo>
                    <a:pt x="98" y="54"/>
                  </a:lnTo>
                  <a:lnTo>
                    <a:pt x="98" y="52"/>
                  </a:lnTo>
                  <a:lnTo>
                    <a:pt x="96" y="52"/>
                  </a:lnTo>
                  <a:lnTo>
                    <a:pt x="94" y="52"/>
                  </a:lnTo>
                  <a:lnTo>
                    <a:pt x="94" y="50"/>
                  </a:lnTo>
                  <a:lnTo>
                    <a:pt x="96" y="50"/>
                  </a:lnTo>
                  <a:lnTo>
                    <a:pt x="94" y="50"/>
                  </a:lnTo>
                  <a:lnTo>
                    <a:pt x="94" y="48"/>
                  </a:lnTo>
                  <a:lnTo>
                    <a:pt x="96" y="48"/>
                  </a:lnTo>
                  <a:lnTo>
                    <a:pt x="96" y="46"/>
                  </a:lnTo>
                  <a:lnTo>
                    <a:pt x="94" y="46"/>
                  </a:lnTo>
                  <a:lnTo>
                    <a:pt x="94" y="48"/>
                  </a:lnTo>
                  <a:lnTo>
                    <a:pt x="92" y="48"/>
                  </a:lnTo>
                  <a:lnTo>
                    <a:pt x="92" y="46"/>
                  </a:lnTo>
                  <a:lnTo>
                    <a:pt x="90" y="46"/>
                  </a:lnTo>
                  <a:lnTo>
                    <a:pt x="90" y="44"/>
                  </a:lnTo>
                  <a:lnTo>
                    <a:pt x="92" y="44"/>
                  </a:lnTo>
                  <a:lnTo>
                    <a:pt x="92" y="42"/>
                  </a:lnTo>
                  <a:lnTo>
                    <a:pt x="90" y="42"/>
                  </a:lnTo>
                  <a:lnTo>
                    <a:pt x="90" y="40"/>
                  </a:lnTo>
                  <a:lnTo>
                    <a:pt x="88" y="40"/>
                  </a:lnTo>
                  <a:lnTo>
                    <a:pt x="87" y="40"/>
                  </a:lnTo>
                  <a:lnTo>
                    <a:pt x="85" y="40"/>
                  </a:lnTo>
                  <a:lnTo>
                    <a:pt x="85" y="38"/>
                  </a:lnTo>
                  <a:lnTo>
                    <a:pt x="87" y="38"/>
                  </a:lnTo>
                  <a:lnTo>
                    <a:pt x="88" y="38"/>
                  </a:lnTo>
                  <a:lnTo>
                    <a:pt x="88" y="36"/>
                  </a:lnTo>
                  <a:lnTo>
                    <a:pt x="88" y="34"/>
                  </a:lnTo>
                  <a:lnTo>
                    <a:pt x="87" y="34"/>
                  </a:lnTo>
                  <a:lnTo>
                    <a:pt x="87" y="32"/>
                  </a:lnTo>
                  <a:lnTo>
                    <a:pt x="87" y="34"/>
                  </a:lnTo>
                  <a:lnTo>
                    <a:pt x="87" y="32"/>
                  </a:lnTo>
                  <a:lnTo>
                    <a:pt x="85" y="32"/>
                  </a:lnTo>
                  <a:lnTo>
                    <a:pt x="85" y="30"/>
                  </a:lnTo>
                  <a:lnTo>
                    <a:pt x="87" y="30"/>
                  </a:lnTo>
                  <a:lnTo>
                    <a:pt x="87" y="29"/>
                  </a:lnTo>
                  <a:lnTo>
                    <a:pt x="88" y="29"/>
                  </a:lnTo>
                  <a:lnTo>
                    <a:pt x="88" y="27"/>
                  </a:lnTo>
                  <a:lnTo>
                    <a:pt x="88" y="25"/>
                  </a:lnTo>
                  <a:lnTo>
                    <a:pt x="87" y="25"/>
                  </a:lnTo>
                  <a:lnTo>
                    <a:pt x="85" y="25"/>
                  </a:lnTo>
                  <a:lnTo>
                    <a:pt x="85" y="23"/>
                  </a:lnTo>
                  <a:lnTo>
                    <a:pt x="85" y="21"/>
                  </a:lnTo>
                  <a:lnTo>
                    <a:pt x="87" y="21"/>
                  </a:lnTo>
                  <a:lnTo>
                    <a:pt x="85" y="21"/>
                  </a:lnTo>
                  <a:lnTo>
                    <a:pt x="85" y="19"/>
                  </a:lnTo>
                  <a:lnTo>
                    <a:pt x="83" y="19"/>
                  </a:lnTo>
                  <a:lnTo>
                    <a:pt x="83" y="17"/>
                  </a:lnTo>
                  <a:lnTo>
                    <a:pt x="85" y="17"/>
                  </a:lnTo>
                  <a:lnTo>
                    <a:pt x="85" y="15"/>
                  </a:lnTo>
                  <a:lnTo>
                    <a:pt x="85" y="13"/>
                  </a:lnTo>
                  <a:lnTo>
                    <a:pt x="87" y="13"/>
                  </a:lnTo>
                  <a:lnTo>
                    <a:pt x="85" y="13"/>
                  </a:lnTo>
                  <a:lnTo>
                    <a:pt x="87" y="13"/>
                  </a:lnTo>
                  <a:lnTo>
                    <a:pt x="87" y="15"/>
                  </a:lnTo>
                  <a:lnTo>
                    <a:pt x="87" y="13"/>
                  </a:lnTo>
                  <a:lnTo>
                    <a:pt x="88" y="13"/>
                  </a:lnTo>
                  <a:lnTo>
                    <a:pt x="88" y="15"/>
                  </a:lnTo>
                  <a:lnTo>
                    <a:pt x="88" y="13"/>
                  </a:lnTo>
                  <a:lnTo>
                    <a:pt x="90" y="13"/>
                  </a:lnTo>
                  <a:lnTo>
                    <a:pt x="90" y="11"/>
                  </a:lnTo>
                  <a:lnTo>
                    <a:pt x="92" y="11"/>
                  </a:lnTo>
                  <a:lnTo>
                    <a:pt x="92" y="13"/>
                  </a:lnTo>
                  <a:lnTo>
                    <a:pt x="94" y="13"/>
                  </a:lnTo>
                  <a:lnTo>
                    <a:pt x="96" y="13"/>
                  </a:lnTo>
                  <a:lnTo>
                    <a:pt x="98" y="13"/>
                  </a:lnTo>
                  <a:lnTo>
                    <a:pt x="100" y="13"/>
                  </a:lnTo>
                  <a:lnTo>
                    <a:pt x="100" y="15"/>
                  </a:lnTo>
                  <a:lnTo>
                    <a:pt x="102" y="15"/>
                  </a:lnTo>
                  <a:lnTo>
                    <a:pt x="102" y="13"/>
                  </a:lnTo>
                  <a:lnTo>
                    <a:pt x="102" y="15"/>
                  </a:lnTo>
                  <a:lnTo>
                    <a:pt x="104" y="15"/>
                  </a:lnTo>
                  <a:lnTo>
                    <a:pt x="104" y="13"/>
                  </a:lnTo>
                  <a:lnTo>
                    <a:pt x="104" y="15"/>
                  </a:lnTo>
                  <a:lnTo>
                    <a:pt x="106" y="15"/>
                  </a:lnTo>
                  <a:lnTo>
                    <a:pt x="106" y="17"/>
                  </a:lnTo>
                  <a:lnTo>
                    <a:pt x="108" y="17"/>
                  </a:lnTo>
                  <a:lnTo>
                    <a:pt x="110" y="17"/>
                  </a:lnTo>
                  <a:lnTo>
                    <a:pt x="112" y="17"/>
                  </a:lnTo>
                  <a:lnTo>
                    <a:pt x="113" y="15"/>
                  </a:lnTo>
                  <a:lnTo>
                    <a:pt x="115" y="15"/>
                  </a:lnTo>
                  <a:lnTo>
                    <a:pt x="115" y="13"/>
                  </a:lnTo>
                  <a:lnTo>
                    <a:pt x="115" y="15"/>
                  </a:lnTo>
                  <a:lnTo>
                    <a:pt x="117" y="15"/>
                  </a:lnTo>
                  <a:lnTo>
                    <a:pt x="117" y="13"/>
                  </a:lnTo>
                  <a:lnTo>
                    <a:pt x="119" y="13"/>
                  </a:lnTo>
                  <a:lnTo>
                    <a:pt x="121" y="13"/>
                  </a:lnTo>
                  <a:lnTo>
                    <a:pt x="121" y="11"/>
                  </a:lnTo>
                  <a:lnTo>
                    <a:pt x="123" y="11"/>
                  </a:lnTo>
                  <a:lnTo>
                    <a:pt x="123" y="13"/>
                  </a:lnTo>
                  <a:lnTo>
                    <a:pt x="125" y="13"/>
                  </a:lnTo>
                  <a:lnTo>
                    <a:pt x="125" y="11"/>
                  </a:lnTo>
                  <a:lnTo>
                    <a:pt x="125" y="9"/>
                  </a:lnTo>
                  <a:lnTo>
                    <a:pt x="127" y="9"/>
                  </a:lnTo>
                  <a:lnTo>
                    <a:pt x="129" y="9"/>
                  </a:lnTo>
                  <a:lnTo>
                    <a:pt x="129" y="7"/>
                  </a:lnTo>
                  <a:lnTo>
                    <a:pt x="131" y="7"/>
                  </a:lnTo>
                  <a:lnTo>
                    <a:pt x="133" y="7"/>
                  </a:lnTo>
                  <a:lnTo>
                    <a:pt x="133" y="6"/>
                  </a:lnTo>
                  <a:lnTo>
                    <a:pt x="133" y="4"/>
                  </a:lnTo>
                  <a:lnTo>
                    <a:pt x="133" y="2"/>
                  </a:lnTo>
                  <a:lnTo>
                    <a:pt x="135" y="0"/>
                  </a:lnTo>
                  <a:lnTo>
                    <a:pt x="136" y="0"/>
                  </a:lnTo>
                  <a:lnTo>
                    <a:pt x="138" y="0"/>
                  </a:lnTo>
                  <a:lnTo>
                    <a:pt x="140" y="0"/>
                  </a:lnTo>
                  <a:lnTo>
                    <a:pt x="142" y="0"/>
                  </a:lnTo>
                  <a:lnTo>
                    <a:pt x="144" y="0"/>
                  </a:lnTo>
                  <a:lnTo>
                    <a:pt x="146" y="0"/>
                  </a:lnTo>
                  <a:lnTo>
                    <a:pt x="144" y="0"/>
                  </a:lnTo>
                  <a:lnTo>
                    <a:pt x="144" y="2"/>
                  </a:lnTo>
                  <a:lnTo>
                    <a:pt x="144" y="4"/>
                  </a:lnTo>
                  <a:lnTo>
                    <a:pt x="144" y="6"/>
                  </a:lnTo>
                  <a:lnTo>
                    <a:pt x="146" y="6"/>
                  </a:lnTo>
                  <a:lnTo>
                    <a:pt x="146" y="7"/>
                  </a:lnTo>
                  <a:lnTo>
                    <a:pt x="146" y="9"/>
                  </a:lnTo>
                  <a:lnTo>
                    <a:pt x="148" y="9"/>
                  </a:lnTo>
                  <a:lnTo>
                    <a:pt x="148" y="11"/>
                  </a:lnTo>
                  <a:lnTo>
                    <a:pt x="146" y="11"/>
                  </a:lnTo>
                  <a:lnTo>
                    <a:pt x="146" y="13"/>
                  </a:lnTo>
                  <a:lnTo>
                    <a:pt x="148" y="13"/>
                  </a:lnTo>
                  <a:lnTo>
                    <a:pt x="148" y="15"/>
                  </a:lnTo>
                  <a:lnTo>
                    <a:pt x="150" y="15"/>
                  </a:lnTo>
                  <a:lnTo>
                    <a:pt x="150" y="17"/>
                  </a:lnTo>
                  <a:lnTo>
                    <a:pt x="150" y="15"/>
                  </a:lnTo>
                  <a:lnTo>
                    <a:pt x="152" y="15"/>
                  </a:lnTo>
                  <a:lnTo>
                    <a:pt x="152" y="17"/>
                  </a:lnTo>
                  <a:lnTo>
                    <a:pt x="154" y="17"/>
                  </a:lnTo>
                  <a:lnTo>
                    <a:pt x="156" y="17"/>
                  </a:lnTo>
                  <a:lnTo>
                    <a:pt x="154" y="17"/>
                  </a:lnTo>
                  <a:lnTo>
                    <a:pt x="156" y="17"/>
                  </a:lnTo>
                  <a:lnTo>
                    <a:pt x="156" y="19"/>
                  </a:lnTo>
                  <a:lnTo>
                    <a:pt x="158" y="19"/>
                  </a:lnTo>
                  <a:lnTo>
                    <a:pt x="159" y="19"/>
                  </a:lnTo>
                  <a:lnTo>
                    <a:pt x="159" y="21"/>
                  </a:lnTo>
                  <a:lnTo>
                    <a:pt x="158" y="21"/>
                  </a:lnTo>
                  <a:lnTo>
                    <a:pt x="158" y="23"/>
                  </a:lnTo>
                  <a:lnTo>
                    <a:pt x="156" y="23"/>
                  </a:lnTo>
                  <a:lnTo>
                    <a:pt x="156" y="25"/>
                  </a:lnTo>
                  <a:lnTo>
                    <a:pt x="154" y="25"/>
                  </a:lnTo>
                  <a:lnTo>
                    <a:pt x="154" y="27"/>
                  </a:lnTo>
                  <a:lnTo>
                    <a:pt x="156" y="27"/>
                  </a:lnTo>
                  <a:lnTo>
                    <a:pt x="156" y="29"/>
                  </a:lnTo>
                  <a:lnTo>
                    <a:pt x="156" y="30"/>
                  </a:lnTo>
                  <a:lnTo>
                    <a:pt x="154" y="30"/>
                  </a:lnTo>
                  <a:lnTo>
                    <a:pt x="154" y="32"/>
                  </a:lnTo>
                  <a:lnTo>
                    <a:pt x="156" y="32"/>
                  </a:lnTo>
                  <a:lnTo>
                    <a:pt x="154" y="32"/>
                  </a:lnTo>
                  <a:lnTo>
                    <a:pt x="154" y="34"/>
                  </a:lnTo>
                  <a:lnTo>
                    <a:pt x="156" y="34"/>
                  </a:lnTo>
                  <a:lnTo>
                    <a:pt x="156" y="36"/>
                  </a:lnTo>
                  <a:lnTo>
                    <a:pt x="158" y="36"/>
                  </a:lnTo>
                  <a:lnTo>
                    <a:pt x="158" y="38"/>
                  </a:lnTo>
                  <a:lnTo>
                    <a:pt x="159" y="38"/>
                  </a:lnTo>
                  <a:lnTo>
                    <a:pt x="159" y="40"/>
                  </a:lnTo>
                  <a:lnTo>
                    <a:pt x="161" y="40"/>
                  </a:lnTo>
                  <a:lnTo>
                    <a:pt x="161" y="42"/>
                  </a:lnTo>
                  <a:lnTo>
                    <a:pt x="159" y="42"/>
                  </a:lnTo>
                  <a:lnTo>
                    <a:pt x="161" y="42"/>
                  </a:lnTo>
                  <a:lnTo>
                    <a:pt x="161" y="44"/>
                  </a:lnTo>
                  <a:lnTo>
                    <a:pt x="161" y="46"/>
                  </a:lnTo>
                  <a:lnTo>
                    <a:pt x="161" y="48"/>
                  </a:lnTo>
                  <a:lnTo>
                    <a:pt x="163" y="48"/>
                  </a:lnTo>
                  <a:lnTo>
                    <a:pt x="161" y="50"/>
                  </a:lnTo>
                  <a:lnTo>
                    <a:pt x="163" y="50"/>
                  </a:lnTo>
                  <a:lnTo>
                    <a:pt x="163" y="52"/>
                  </a:lnTo>
                  <a:lnTo>
                    <a:pt x="161" y="52"/>
                  </a:lnTo>
                  <a:lnTo>
                    <a:pt x="159" y="52"/>
                  </a:lnTo>
                  <a:lnTo>
                    <a:pt x="159" y="54"/>
                  </a:lnTo>
                  <a:lnTo>
                    <a:pt x="158" y="54"/>
                  </a:lnTo>
                  <a:lnTo>
                    <a:pt x="156" y="54"/>
                  </a:lnTo>
                  <a:lnTo>
                    <a:pt x="156" y="52"/>
                  </a:lnTo>
                  <a:lnTo>
                    <a:pt x="156" y="50"/>
                  </a:lnTo>
                  <a:lnTo>
                    <a:pt x="156" y="48"/>
                  </a:lnTo>
                  <a:lnTo>
                    <a:pt x="154" y="48"/>
                  </a:lnTo>
                  <a:lnTo>
                    <a:pt x="154" y="50"/>
                  </a:lnTo>
                  <a:lnTo>
                    <a:pt x="152" y="50"/>
                  </a:lnTo>
                  <a:lnTo>
                    <a:pt x="150" y="50"/>
                  </a:lnTo>
                  <a:lnTo>
                    <a:pt x="150" y="52"/>
                  </a:lnTo>
                  <a:lnTo>
                    <a:pt x="150" y="54"/>
                  </a:lnTo>
                  <a:lnTo>
                    <a:pt x="152" y="54"/>
                  </a:lnTo>
                  <a:lnTo>
                    <a:pt x="150" y="54"/>
                  </a:lnTo>
                  <a:lnTo>
                    <a:pt x="150" y="55"/>
                  </a:lnTo>
                  <a:lnTo>
                    <a:pt x="150" y="57"/>
                  </a:lnTo>
                  <a:lnTo>
                    <a:pt x="152" y="57"/>
                  </a:lnTo>
                  <a:lnTo>
                    <a:pt x="152" y="55"/>
                  </a:lnTo>
                  <a:lnTo>
                    <a:pt x="152" y="57"/>
                  </a:lnTo>
                  <a:lnTo>
                    <a:pt x="152" y="59"/>
                  </a:lnTo>
                  <a:lnTo>
                    <a:pt x="154" y="59"/>
                  </a:lnTo>
                  <a:lnTo>
                    <a:pt x="154" y="61"/>
                  </a:lnTo>
                  <a:lnTo>
                    <a:pt x="156" y="61"/>
                  </a:lnTo>
                  <a:lnTo>
                    <a:pt x="154" y="61"/>
                  </a:lnTo>
                  <a:lnTo>
                    <a:pt x="154" y="63"/>
                  </a:lnTo>
                  <a:lnTo>
                    <a:pt x="154" y="65"/>
                  </a:lnTo>
                  <a:lnTo>
                    <a:pt x="156" y="67"/>
                  </a:lnTo>
                  <a:lnTo>
                    <a:pt x="156" y="69"/>
                  </a:lnTo>
                  <a:lnTo>
                    <a:pt x="154" y="69"/>
                  </a:lnTo>
                  <a:lnTo>
                    <a:pt x="156" y="69"/>
                  </a:lnTo>
                  <a:lnTo>
                    <a:pt x="156" y="71"/>
                  </a:lnTo>
                  <a:lnTo>
                    <a:pt x="156" y="73"/>
                  </a:lnTo>
                  <a:lnTo>
                    <a:pt x="158" y="73"/>
                  </a:lnTo>
                  <a:lnTo>
                    <a:pt x="158" y="75"/>
                  </a:lnTo>
                  <a:lnTo>
                    <a:pt x="158" y="77"/>
                  </a:lnTo>
                  <a:lnTo>
                    <a:pt x="159" y="77"/>
                  </a:lnTo>
                  <a:lnTo>
                    <a:pt x="159" y="79"/>
                  </a:lnTo>
                  <a:lnTo>
                    <a:pt x="161" y="79"/>
                  </a:lnTo>
                  <a:lnTo>
                    <a:pt x="161" y="77"/>
                  </a:lnTo>
                  <a:lnTo>
                    <a:pt x="161" y="79"/>
                  </a:lnTo>
                  <a:lnTo>
                    <a:pt x="163" y="79"/>
                  </a:lnTo>
                  <a:lnTo>
                    <a:pt x="163" y="77"/>
                  </a:lnTo>
                  <a:lnTo>
                    <a:pt x="165" y="77"/>
                  </a:lnTo>
                  <a:lnTo>
                    <a:pt x="167" y="79"/>
                  </a:lnTo>
                  <a:lnTo>
                    <a:pt x="169" y="79"/>
                  </a:lnTo>
                  <a:lnTo>
                    <a:pt x="169" y="80"/>
                  </a:lnTo>
                  <a:lnTo>
                    <a:pt x="171" y="80"/>
                  </a:lnTo>
                  <a:lnTo>
                    <a:pt x="173" y="80"/>
                  </a:lnTo>
                  <a:lnTo>
                    <a:pt x="173" y="82"/>
                  </a:lnTo>
                  <a:lnTo>
                    <a:pt x="173" y="84"/>
                  </a:lnTo>
                  <a:lnTo>
                    <a:pt x="175" y="84"/>
                  </a:lnTo>
                  <a:lnTo>
                    <a:pt x="175" y="86"/>
                  </a:lnTo>
                  <a:lnTo>
                    <a:pt x="175" y="84"/>
                  </a:lnTo>
                  <a:lnTo>
                    <a:pt x="177" y="84"/>
                  </a:lnTo>
                  <a:lnTo>
                    <a:pt x="177" y="86"/>
                  </a:lnTo>
                  <a:lnTo>
                    <a:pt x="179" y="86"/>
                  </a:lnTo>
                  <a:lnTo>
                    <a:pt x="181" y="86"/>
                  </a:lnTo>
                  <a:lnTo>
                    <a:pt x="183" y="86"/>
                  </a:lnTo>
                  <a:lnTo>
                    <a:pt x="183" y="88"/>
                  </a:lnTo>
                  <a:lnTo>
                    <a:pt x="184" y="88"/>
                  </a:lnTo>
                  <a:lnTo>
                    <a:pt x="184" y="90"/>
                  </a:lnTo>
                  <a:lnTo>
                    <a:pt x="186" y="90"/>
                  </a:lnTo>
                  <a:lnTo>
                    <a:pt x="188" y="90"/>
                  </a:lnTo>
                  <a:lnTo>
                    <a:pt x="188" y="92"/>
                  </a:lnTo>
                  <a:lnTo>
                    <a:pt x="186" y="92"/>
                  </a:lnTo>
                  <a:lnTo>
                    <a:pt x="184" y="92"/>
                  </a:lnTo>
                  <a:lnTo>
                    <a:pt x="184" y="94"/>
                  </a:lnTo>
                  <a:lnTo>
                    <a:pt x="183" y="96"/>
                  </a:lnTo>
                  <a:lnTo>
                    <a:pt x="181" y="96"/>
                  </a:lnTo>
                  <a:lnTo>
                    <a:pt x="181" y="98"/>
                  </a:lnTo>
                  <a:lnTo>
                    <a:pt x="179" y="98"/>
                  </a:lnTo>
                  <a:lnTo>
                    <a:pt x="179" y="100"/>
                  </a:lnTo>
                  <a:lnTo>
                    <a:pt x="179" y="102"/>
                  </a:lnTo>
                  <a:lnTo>
                    <a:pt x="179" y="103"/>
                  </a:lnTo>
                  <a:lnTo>
                    <a:pt x="177" y="103"/>
                  </a:lnTo>
                  <a:lnTo>
                    <a:pt x="177" y="105"/>
                  </a:lnTo>
                  <a:lnTo>
                    <a:pt x="177" y="107"/>
                  </a:lnTo>
                  <a:lnTo>
                    <a:pt x="177" y="109"/>
                  </a:lnTo>
                  <a:lnTo>
                    <a:pt x="177" y="107"/>
                  </a:lnTo>
                  <a:lnTo>
                    <a:pt x="177" y="109"/>
                  </a:lnTo>
                  <a:lnTo>
                    <a:pt x="175" y="109"/>
                  </a:lnTo>
                  <a:lnTo>
                    <a:pt x="175" y="111"/>
                  </a:lnTo>
                  <a:lnTo>
                    <a:pt x="175" y="113"/>
                  </a:lnTo>
                  <a:lnTo>
                    <a:pt x="173" y="113"/>
                  </a:lnTo>
                  <a:lnTo>
                    <a:pt x="175" y="113"/>
                  </a:lnTo>
                  <a:lnTo>
                    <a:pt x="173" y="113"/>
                  </a:lnTo>
                  <a:lnTo>
                    <a:pt x="175" y="113"/>
                  </a:lnTo>
                  <a:lnTo>
                    <a:pt x="173" y="113"/>
                  </a:lnTo>
                  <a:lnTo>
                    <a:pt x="173" y="115"/>
                  </a:lnTo>
                  <a:lnTo>
                    <a:pt x="175" y="115"/>
                  </a:lnTo>
                  <a:lnTo>
                    <a:pt x="177" y="115"/>
                  </a:lnTo>
                  <a:lnTo>
                    <a:pt x="177" y="117"/>
                  </a:lnTo>
                  <a:lnTo>
                    <a:pt x="179" y="117"/>
                  </a:lnTo>
                  <a:lnTo>
                    <a:pt x="177" y="117"/>
                  </a:lnTo>
                  <a:lnTo>
                    <a:pt x="179" y="117"/>
                  </a:lnTo>
                  <a:lnTo>
                    <a:pt x="181" y="117"/>
                  </a:lnTo>
                  <a:lnTo>
                    <a:pt x="181" y="119"/>
                  </a:lnTo>
                  <a:lnTo>
                    <a:pt x="181" y="117"/>
                  </a:lnTo>
                  <a:lnTo>
                    <a:pt x="183" y="117"/>
                  </a:lnTo>
                  <a:lnTo>
                    <a:pt x="181" y="117"/>
                  </a:lnTo>
                  <a:lnTo>
                    <a:pt x="183" y="117"/>
                  </a:lnTo>
                  <a:lnTo>
                    <a:pt x="183" y="119"/>
                  </a:lnTo>
                  <a:lnTo>
                    <a:pt x="184" y="119"/>
                  </a:lnTo>
                  <a:lnTo>
                    <a:pt x="184" y="121"/>
                  </a:lnTo>
                  <a:lnTo>
                    <a:pt x="186" y="121"/>
                  </a:lnTo>
                  <a:lnTo>
                    <a:pt x="184" y="121"/>
                  </a:lnTo>
                  <a:lnTo>
                    <a:pt x="186" y="121"/>
                  </a:lnTo>
                  <a:lnTo>
                    <a:pt x="186" y="119"/>
                  </a:lnTo>
                  <a:lnTo>
                    <a:pt x="186" y="121"/>
                  </a:lnTo>
                  <a:lnTo>
                    <a:pt x="186" y="119"/>
                  </a:lnTo>
                  <a:lnTo>
                    <a:pt x="186" y="121"/>
                  </a:lnTo>
                  <a:lnTo>
                    <a:pt x="188" y="121"/>
                  </a:lnTo>
                  <a:lnTo>
                    <a:pt x="188" y="123"/>
                  </a:lnTo>
                  <a:lnTo>
                    <a:pt x="190" y="123"/>
                  </a:lnTo>
                  <a:lnTo>
                    <a:pt x="192" y="125"/>
                  </a:lnTo>
                  <a:lnTo>
                    <a:pt x="192" y="127"/>
                  </a:lnTo>
                  <a:lnTo>
                    <a:pt x="192" y="125"/>
                  </a:lnTo>
                  <a:lnTo>
                    <a:pt x="192" y="127"/>
                  </a:lnTo>
                  <a:lnTo>
                    <a:pt x="194" y="127"/>
                  </a:lnTo>
                  <a:lnTo>
                    <a:pt x="192" y="127"/>
                  </a:lnTo>
                  <a:lnTo>
                    <a:pt x="192" y="125"/>
                  </a:lnTo>
                  <a:lnTo>
                    <a:pt x="194" y="125"/>
                  </a:lnTo>
                  <a:lnTo>
                    <a:pt x="194" y="127"/>
                  </a:lnTo>
                  <a:lnTo>
                    <a:pt x="196" y="127"/>
                  </a:lnTo>
                  <a:lnTo>
                    <a:pt x="196" y="128"/>
                  </a:lnTo>
                  <a:lnTo>
                    <a:pt x="198" y="128"/>
                  </a:lnTo>
                  <a:lnTo>
                    <a:pt x="200" y="128"/>
                  </a:lnTo>
                  <a:lnTo>
                    <a:pt x="200" y="130"/>
                  </a:lnTo>
                  <a:lnTo>
                    <a:pt x="202" y="130"/>
                  </a:lnTo>
                  <a:lnTo>
                    <a:pt x="204" y="130"/>
                  </a:lnTo>
                  <a:lnTo>
                    <a:pt x="206" y="130"/>
                  </a:lnTo>
                  <a:lnTo>
                    <a:pt x="206" y="132"/>
                  </a:lnTo>
                  <a:lnTo>
                    <a:pt x="207" y="132"/>
                  </a:lnTo>
                  <a:lnTo>
                    <a:pt x="207" y="134"/>
                  </a:lnTo>
                  <a:lnTo>
                    <a:pt x="209" y="134"/>
                  </a:lnTo>
                  <a:lnTo>
                    <a:pt x="209" y="132"/>
                  </a:lnTo>
                  <a:lnTo>
                    <a:pt x="209" y="134"/>
                  </a:lnTo>
                  <a:lnTo>
                    <a:pt x="211" y="134"/>
                  </a:lnTo>
                  <a:lnTo>
                    <a:pt x="211" y="132"/>
                  </a:lnTo>
                  <a:lnTo>
                    <a:pt x="213" y="132"/>
                  </a:lnTo>
                  <a:lnTo>
                    <a:pt x="213" y="134"/>
                  </a:lnTo>
                  <a:lnTo>
                    <a:pt x="213" y="136"/>
                  </a:lnTo>
                  <a:lnTo>
                    <a:pt x="215" y="136"/>
                  </a:lnTo>
                  <a:lnTo>
                    <a:pt x="217" y="136"/>
                  </a:lnTo>
                  <a:lnTo>
                    <a:pt x="217" y="138"/>
                  </a:lnTo>
                  <a:lnTo>
                    <a:pt x="219" y="138"/>
                  </a:lnTo>
                  <a:lnTo>
                    <a:pt x="221" y="138"/>
                  </a:lnTo>
                  <a:lnTo>
                    <a:pt x="221" y="140"/>
                  </a:lnTo>
                  <a:lnTo>
                    <a:pt x="223" y="140"/>
                  </a:lnTo>
                  <a:lnTo>
                    <a:pt x="223" y="138"/>
                  </a:lnTo>
                  <a:lnTo>
                    <a:pt x="223" y="136"/>
                  </a:lnTo>
                  <a:lnTo>
                    <a:pt x="223" y="138"/>
                  </a:lnTo>
                  <a:lnTo>
                    <a:pt x="223" y="136"/>
                  </a:lnTo>
                  <a:lnTo>
                    <a:pt x="225" y="136"/>
                  </a:lnTo>
                  <a:lnTo>
                    <a:pt x="227" y="136"/>
                  </a:lnTo>
                  <a:lnTo>
                    <a:pt x="227" y="138"/>
                  </a:lnTo>
                  <a:lnTo>
                    <a:pt x="229" y="138"/>
                  </a:lnTo>
                  <a:lnTo>
                    <a:pt x="231" y="138"/>
                  </a:lnTo>
                  <a:lnTo>
                    <a:pt x="229" y="138"/>
                  </a:lnTo>
                  <a:lnTo>
                    <a:pt x="231" y="138"/>
                  </a:lnTo>
                  <a:lnTo>
                    <a:pt x="232" y="138"/>
                  </a:lnTo>
                  <a:lnTo>
                    <a:pt x="232" y="136"/>
                  </a:lnTo>
                  <a:lnTo>
                    <a:pt x="234" y="136"/>
                  </a:lnTo>
                  <a:lnTo>
                    <a:pt x="234" y="138"/>
                  </a:lnTo>
                  <a:lnTo>
                    <a:pt x="236" y="138"/>
                  </a:lnTo>
                  <a:lnTo>
                    <a:pt x="238" y="138"/>
                  </a:lnTo>
                  <a:lnTo>
                    <a:pt x="240" y="138"/>
                  </a:lnTo>
                  <a:lnTo>
                    <a:pt x="240" y="140"/>
                  </a:lnTo>
                  <a:lnTo>
                    <a:pt x="242" y="140"/>
                  </a:lnTo>
                  <a:lnTo>
                    <a:pt x="242" y="142"/>
                  </a:lnTo>
                  <a:lnTo>
                    <a:pt x="242" y="144"/>
                  </a:lnTo>
                  <a:lnTo>
                    <a:pt x="240" y="144"/>
                  </a:lnTo>
                  <a:lnTo>
                    <a:pt x="242" y="144"/>
                  </a:lnTo>
                  <a:lnTo>
                    <a:pt x="244" y="144"/>
                  </a:lnTo>
                  <a:lnTo>
                    <a:pt x="244" y="146"/>
                  </a:lnTo>
                  <a:lnTo>
                    <a:pt x="244" y="144"/>
                  </a:lnTo>
                  <a:lnTo>
                    <a:pt x="244" y="146"/>
                  </a:lnTo>
                  <a:lnTo>
                    <a:pt x="244" y="144"/>
                  </a:lnTo>
                  <a:lnTo>
                    <a:pt x="244" y="146"/>
                  </a:lnTo>
                  <a:lnTo>
                    <a:pt x="244" y="144"/>
                  </a:lnTo>
                  <a:lnTo>
                    <a:pt x="244" y="146"/>
                  </a:lnTo>
                  <a:lnTo>
                    <a:pt x="246" y="146"/>
                  </a:lnTo>
                  <a:lnTo>
                    <a:pt x="248" y="146"/>
                  </a:lnTo>
                  <a:lnTo>
                    <a:pt x="248" y="148"/>
                  </a:lnTo>
                  <a:lnTo>
                    <a:pt x="246" y="148"/>
                  </a:lnTo>
                  <a:lnTo>
                    <a:pt x="248" y="148"/>
                  </a:lnTo>
                  <a:lnTo>
                    <a:pt x="250" y="148"/>
                  </a:lnTo>
                  <a:lnTo>
                    <a:pt x="248" y="148"/>
                  </a:lnTo>
                  <a:lnTo>
                    <a:pt x="250" y="148"/>
                  </a:lnTo>
                  <a:lnTo>
                    <a:pt x="250" y="150"/>
                  </a:lnTo>
                  <a:lnTo>
                    <a:pt x="252" y="150"/>
                  </a:lnTo>
                  <a:lnTo>
                    <a:pt x="252" y="148"/>
                  </a:lnTo>
                  <a:lnTo>
                    <a:pt x="254" y="148"/>
                  </a:lnTo>
                  <a:lnTo>
                    <a:pt x="255" y="148"/>
                  </a:lnTo>
                  <a:lnTo>
                    <a:pt x="257" y="148"/>
                  </a:lnTo>
                  <a:lnTo>
                    <a:pt x="257" y="150"/>
                  </a:lnTo>
                  <a:lnTo>
                    <a:pt x="257" y="151"/>
                  </a:lnTo>
                  <a:lnTo>
                    <a:pt x="259" y="151"/>
                  </a:lnTo>
                  <a:lnTo>
                    <a:pt x="259" y="150"/>
                  </a:lnTo>
                  <a:lnTo>
                    <a:pt x="259" y="151"/>
                  </a:lnTo>
                  <a:lnTo>
                    <a:pt x="259" y="150"/>
                  </a:lnTo>
                  <a:lnTo>
                    <a:pt x="261" y="150"/>
                  </a:lnTo>
                  <a:lnTo>
                    <a:pt x="261" y="151"/>
                  </a:lnTo>
                  <a:lnTo>
                    <a:pt x="263" y="151"/>
                  </a:lnTo>
                  <a:lnTo>
                    <a:pt x="265" y="151"/>
                  </a:lnTo>
                  <a:lnTo>
                    <a:pt x="267" y="151"/>
                  </a:lnTo>
                  <a:lnTo>
                    <a:pt x="269" y="151"/>
                  </a:lnTo>
                  <a:lnTo>
                    <a:pt x="269" y="153"/>
                  </a:lnTo>
                  <a:lnTo>
                    <a:pt x="269" y="151"/>
                  </a:lnTo>
                  <a:lnTo>
                    <a:pt x="269" y="153"/>
                  </a:lnTo>
                  <a:lnTo>
                    <a:pt x="271" y="153"/>
                  </a:lnTo>
                  <a:lnTo>
                    <a:pt x="273" y="153"/>
                  </a:lnTo>
                  <a:lnTo>
                    <a:pt x="275" y="153"/>
                  </a:lnTo>
                  <a:lnTo>
                    <a:pt x="275" y="151"/>
                  </a:lnTo>
                  <a:lnTo>
                    <a:pt x="277" y="151"/>
                  </a:lnTo>
                  <a:lnTo>
                    <a:pt x="277" y="153"/>
                  </a:lnTo>
                  <a:lnTo>
                    <a:pt x="277" y="155"/>
                  </a:lnTo>
                  <a:lnTo>
                    <a:pt x="278" y="155"/>
                  </a:lnTo>
                  <a:lnTo>
                    <a:pt x="278" y="153"/>
                  </a:lnTo>
                  <a:lnTo>
                    <a:pt x="278" y="155"/>
                  </a:lnTo>
                  <a:lnTo>
                    <a:pt x="278" y="153"/>
                  </a:lnTo>
                  <a:lnTo>
                    <a:pt x="278" y="155"/>
                  </a:lnTo>
                  <a:lnTo>
                    <a:pt x="280" y="155"/>
                  </a:lnTo>
                  <a:lnTo>
                    <a:pt x="280" y="153"/>
                  </a:lnTo>
                  <a:lnTo>
                    <a:pt x="282" y="153"/>
                  </a:lnTo>
                  <a:lnTo>
                    <a:pt x="284" y="153"/>
                  </a:lnTo>
                  <a:lnTo>
                    <a:pt x="284" y="155"/>
                  </a:lnTo>
                  <a:lnTo>
                    <a:pt x="286" y="153"/>
                  </a:lnTo>
                  <a:lnTo>
                    <a:pt x="286" y="155"/>
                  </a:lnTo>
                  <a:lnTo>
                    <a:pt x="286" y="153"/>
                  </a:lnTo>
                  <a:lnTo>
                    <a:pt x="286" y="155"/>
                  </a:lnTo>
                  <a:lnTo>
                    <a:pt x="286" y="153"/>
                  </a:lnTo>
                  <a:lnTo>
                    <a:pt x="288" y="153"/>
                  </a:lnTo>
                  <a:lnTo>
                    <a:pt x="290" y="153"/>
                  </a:lnTo>
                  <a:lnTo>
                    <a:pt x="290" y="155"/>
                  </a:lnTo>
                  <a:lnTo>
                    <a:pt x="292" y="155"/>
                  </a:lnTo>
                  <a:lnTo>
                    <a:pt x="292" y="153"/>
                  </a:lnTo>
                  <a:lnTo>
                    <a:pt x="292" y="151"/>
                  </a:lnTo>
                  <a:lnTo>
                    <a:pt x="292" y="150"/>
                  </a:lnTo>
                  <a:lnTo>
                    <a:pt x="292" y="148"/>
                  </a:lnTo>
                  <a:lnTo>
                    <a:pt x="292" y="146"/>
                  </a:lnTo>
                  <a:lnTo>
                    <a:pt x="292" y="144"/>
                  </a:lnTo>
                  <a:lnTo>
                    <a:pt x="290" y="144"/>
                  </a:lnTo>
                  <a:lnTo>
                    <a:pt x="290" y="142"/>
                  </a:lnTo>
                  <a:lnTo>
                    <a:pt x="290" y="140"/>
                  </a:lnTo>
                  <a:lnTo>
                    <a:pt x="292" y="140"/>
                  </a:lnTo>
                  <a:lnTo>
                    <a:pt x="290" y="140"/>
                  </a:lnTo>
                  <a:lnTo>
                    <a:pt x="290" y="138"/>
                  </a:lnTo>
                  <a:lnTo>
                    <a:pt x="292" y="138"/>
                  </a:lnTo>
                  <a:lnTo>
                    <a:pt x="290" y="138"/>
                  </a:lnTo>
                  <a:lnTo>
                    <a:pt x="290" y="136"/>
                  </a:lnTo>
                  <a:lnTo>
                    <a:pt x="292" y="136"/>
                  </a:lnTo>
                  <a:lnTo>
                    <a:pt x="292" y="134"/>
                  </a:lnTo>
                  <a:lnTo>
                    <a:pt x="292" y="132"/>
                  </a:lnTo>
                  <a:lnTo>
                    <a:pt x="294" y="132"/>
                  </a:lnTo>
                  <a:lnTo>
                    <a:pt x="292" y="132"/>
                  </a:lnTo>
                  <a:lnTo>
                    <a:pt x="294" y="132"/>
                  </a:lnTo>
                  <a:lnTo>
                    <a:pt x="294" y="130"/>
                  </a:lnTo>
                  <a:lnTo>
                    <a:pt x="292" y="130"/>
                  </a:lnTo>
                  <a:lnTo>
                    <a:pt x="292" y="128"/>
                  </a:lnTo>
                  <a:lnTo>
                    <a:pt x="292" y="130"/>
                  </a:lnTo>
                  <a:lnTo>
                    <a:pt x="294" y="130"/>
                  </a:lnTo>
                  <a:lnTo>
                    <a:pt x="294" y="128"/>
                  </a:lnTo>
                  <a:lnTo>
                    <a:pt x="294" y="130"/>
                  </a:lnTo>
                  <a:lnTo>
                    <a:pt x="294" y="128"/>
                  </a:lnTo>
                  <a:lnTo>
                    <a:pt x="296" y="128"/>
                  </a:lnTo>
                  <a:lnTo>
                    <a:pt x="298" y="128"/>
                  </a:lnTo>
                  <a:lnTo>
                    <a:pt x="298" y="127"/>
                  </a:lnTo>
                  <a:lnTo>
                    <a:pt x="300" y="127"/>
                  </a:lnTo>
                  <a:lnTo>
                    <a:pt x="300" y="128"/>
                  </a:lnTo>
                  <a:lnTo>
                    <a:pt x="300" y="127"/>
                  </a:lnTo>
                  <a:lnTo>
                    <a:pt x="302" y="127"/>
                  </a:lnTo>
                  <a:lnTo>
                    <a:pt x="302" y="128"/>
                  </a:lnTo>
                  <a:lnTo>
                    <a:pt x="303" y="128"/>
                  </a:lnTo>
                  <a:lnTo>
                    <a:pt x="303" y="130"/>
                  </a:lnTo>
                  <a:lnTo>
                    <a:pt x="302" y="130"/>
                  </a:lnTo>
                  <a:lnTo>
                    <a:pt x="303" y="130"/>
                  </a:lnTo>
                  <a:lnTo>
                    <a:pt x="303" y="132"/>
                  </a:lnTo>
                  <a:lnTo>
                    <a:pt x="303" y="134"/>
                  </a:lnTo>
                  <a:lnTo>
                    <a:pt x="302" y="134"/>
                  </a:lnTo>
                  <a:lnTo>
                    <a:pt x="302" y="136"/>
                  </a:lnTo>
                  <a:lnTo>
                    <a:pt x="302" y="138"/>
                  </a:lnTo>
                  <a:lnTo>
                    <a:pt x="303" y="138"/>
                  </a:lnTo>
                  <a:lnTo>
                    <a:pt x="303" y="140"/>
                  </a:lnTo>
                  <a:lnTo>
                    <a:pt x="302" y="140"/>
                  </a:lnTo>
                  <a:lnTo>
                    <a:pt x="302" y="142"/>
                  </a:lnTo>
                  <a:lnTo>
                    <a:pt x="302" y="144"/>
                  </a:lnTo>
                  <a:lnTo>
                    <a:pt x="302" y="142"/>
                  </a:lnTo>
                  <a:lnTo>
                    <a:pt x="302" y="144"/>
                  </a:lnTo>
                  <a:lnTo>
                    <a:pt x="303" y="144"/>
                  </a:lnTo>
                  <a:lnTo>
                    <a:pt x="303" y="146"/>
                  </a:lnTo>
                  <a:lnTo>
                    <a:pt x="305" y="146"/>
                  </a:lnTo>
                  <a:lnTo>
                    <a:pt x="305" y="148"/>
                  </a:lnTo>
                  <a:lnTo>
                    <a:pt x="307" y="148"/>
                  </a:lnTo>
                  <a:lnTo>
                    <a:pt x="309" y="148"/>
                  </a:lnTo>
                  <a:lnTo>
                    <a:pt x="311" y="148"/>
                  </a:lnTo>
                  <a:lnTo>
                    <a:pt x="313" y="148"/>
                  </a:lnTo>
                  <a:lnTo>
                    <a:pt x="315" y="148"/>
                  </a:lnTo>
                  <a:lnTo>
                    <a:pt x="315" y="150"/>
                  </a:lnTo>
                  <a:lnTo>
                    <a:pt x="313" y="150"/>
                  </a:lnTo>
                  <a:lnTo>
                    <a:pt x="315" y="150"/>
                  </a:lnTo>
                  <a:lnTo>
                    <a:pt x="317" y="150"/>
                  </a:lnTo>
                  <a:lnTo>
                    <a:pt x="319" y="150"/>
                  </a:lnTo>
                  <a:lnTo>
                    <a:pt x="321" y="150"/>
                  </a:lnTo>
                  <a:lnTo>
                    <a:pt x="323" y="150"/>
                  </a:lnTo>
                  <a:lnTo>
                    <a:pt x="323" y="148"/>
                  </a:lnTo>
                  <a:lnTo>
                    <a:pt x="325" y="148"/>
                  </a:lnTo>
                  <a:lnTo>
                    <a:pt x="325" y="146"/>
                  </a:lnTo>
                  <a:lnTo>
                    <a:pt x="326" y="146"/>
                  </a:lnTo>
                  <a:lnTo>
                    <a:pt x="326" y="148"/>
                  </a:lnTo>
                  <a:lnTo>
                    <a:pt x="328" y="148"/>
                  </a:lnTo>
                  <a:lnTo>
                    <a:pt x="330" y="148"/>
                  </a:lnTo>
                  <a:lnTo>
                    <a:pt x="332" y="148"/>
                  </a:lnTo>
                  <a:lnTo>
                    <a:pt x="334" y="148"/>
                  </a:lnTo>
                  <a:lnTo>
                    <a:pt x="336" y="148"/>
                  </a:lnTo>
                  <a:lnTo>
                    <a:pt x="338" y="148"/>
                  </a:lnTo>
                  <a:lnTo>
                    <a:pt x="340" y="148"/>
                  </a:lnTo>
                  <a:lnTo>
                    <a:pt x="342" y="148"/>
                  </a:lnTo>
                  <a:lnTo>
                    <a:pt x="344" y="148"/>
                  </a:lnTo>
                  <a:lnTo>
                    <a:pt x="346" y="148"/>
                  </a:lnTo>
                  <a:lnTo>
                    <a:pt x="346" y="146"/>
                  </a:lnTo>
                  <a:lnTo>
                    <a:pt x="348" y="146"/>
                  </a:lnTo>
                  <a:lnTo>
                    <a:pt x="348" y="148"/>
                  </a:lnTo>
                  <a:lnTo>
                    <a:pt x="350" y="148"/>
                  </a:lnTo>
                  <a:lnTo>
                    <a:pt x="350" y="146"/>
                  </a:lnTo>
                  <a:lnTo>
                    <a:pt x="351" y="146"/>
                  </a:lnTo>
                  <a:lnTo>
                    <a:pt x="353" y="146"/>
                  </a:lnTo>
                  <a:lnTo>
                    <a:pt x="355" y="146"/>
                  </a:lnTo>
                  <a:lnTo>
                    <a:pt x="357" y="146"/>
                  </a:lnTo>
                  <a:lnTo>
                    <a:pt x="357" y="144"/>
                  </a:lnTo>
                  <a:lnTo>
                    <a:pt x="359" y="144"/>
                  </a:lnTo>
                  <a:lnTo>
                    <a:pt x="361" y="144"/>
                  </a:lnTo>
                  <a:lnTo>
                    <a:pt x="361" y="146"/>
                  </a:lnTo>
                  <a:lnTo>
                    <a:pt x="363" y="146"/>
                  </a:lnTo>
                  <a:lnTo>
                    <a:pt x="365" y="146"/>
                  </a:lnTo>
                  <a:lnTo>
                    <a:pt x="367" y="146"/>
                  </a:lnTo>
                  <a:lnTo>
                    <a:pt x="369" y="146"/>
                  </a:lnTo>
                  <a:lnTo>
                    <a:pt x="371" y="146"/>
                  </a:lnTo>
                  <a:lnTo>
                    <a:pt x="373" y="146"/>
                  </a:lnTo>
                  <a:lnTo>
                    <a:pt x="374" y="146"/>
                  </a:lnTo>
                  <a:lnTo>
                    <a:pt x="374" y="144"/>
                  </a:lnTo>
                  <a:lnTo>
                    <a:pt x="374" y="142"/>
                  </a:lnTo>
                  <a:lnTo>
                    <a:pt x="376" y="142"/>
                  </a:lnTo>
                  <a:lnTo>
                    <a:pt x="376" y="140"/>
                  </a:lnTo>
                  <a:lnTo>
                    <a:pt x="378" y="140"/>
                  </a:lnTo>
                  <a:lnTo>
                    <a:pt x="378" y="138"/>
                  </a:lnTo>
                  <a:lnTo>
                    <a:pt x="380" y="138"/>
                  </a:lnTo>
                  <a:lnTo>
                    <a:pt x="380" y="136"/>
                  </a:lnTo>
                  <a:lnTo>
                    <a:pt x="382" y="136"/>
                  </a:lnTo>
                  <a:lnTo>
                    <a:pt x="380" y="136"/>
                  </a:lnTo>
                  <a:lnTo>
                    <a:pt x="380" y="134"/>
                  </a:lnTo>
                  <a:lnTo>
                    <a:pt x="382" y="134"/>
                  </a:lnTo>
                  <a:lnTo>
                    <a:pt x="382" y="136"/>
                  </a:lnTo>
                  <a:lnTo>
                    <a:pt x="382" y="134"/>
                  </a:lnTo>
                  <a:lnTo>
                    <a:pt x="382" y="136"/>
                  </a:lnTo>
                  <a:lnTo>
                    <a:pt x="384" y="136"/>
                  </a:lnTo>
                  <a:lnTo>
                    <a:pt x="384" y="134"/>
                  </a:lnTo>
                  <a:lnTo>
                    <a:pt x="384" y="136"/>
                  </a:lnTo>
                  <a:lnTo>
                    <a:pt x="386" y="136"/>
                  </a:lnTo>
                  <a:lnTo>
                    <a:pt x="386" y="134"/>
                  </a:lnTo>
                  <a:lnTo>
                    <a:pt x="388" y="134"/>
                  </a:lnTo>
                  <a:lnTo>
                    <a:pt x="390" y="134"/>
                  </a:lnTo>
                  <a:lnTo>
                    <a:pt x="390" y="132"/>
                  </a:lnTo>
                  <a:lnTo>
                    <a:pt x="392" y="132"/>
                  </a:lnTo>
                  <a:lnTo>
                    <a:pt x="392" y="130"/>
                  </a:lnTo>
                  <a:lnTo>
                    <a:pt x="394" y="130"/>
                  </a:lnTo>
                  <a:lnTo>
                    <a:pt x="396" y="130"/>
                  </a:lnTo>
                  <a:lnTo>
                    <a:pt x="396" y="128"/>
                  </a:lnTo>
                  <a:lnTo>
                    <a:pt x="397" y="128"/>
                  </a:lnTo>
                  <a:lnTo>
                    <a:pt x="397" y="127"/>
                  </a:lnTo>
                  <a:lnTo>
                    <a:pt x="399" y="127"/>
                  </a:lnTo>
                  <a:lnTo>
                    <a:pt x="399" y="125"/>
                  </a:lnTo>
                  <a:lnTo>
                    <a:pt x="401" y="125"/>
                  </a:lnTo>
                  <a:lnTo>
                    <a:pt x="403" y="125"/>
                  </a:lnTo>
                  <a:lnTo>
                    <a:pt x="403" y="123"/>
                  </a:lnTo>
                  <a:lnTo>
                    <a:pt x="403" y="125"/>
                  </a:lnTo>
                  <a:lnTo>
                    <a:pt x="403" y="123"/>
                  </a:lnTo>
                  <a:lnTo>
                    <a:pt x="405" y="123"/>
                  </a:lnTo>
                  <a:lnTo>
                    <a:pt x="405" y="125"/>
                  </a:lnTo>
                  <a:lnTo>
                    <a:pt x="407" y="125"/>
                  </a:lnTo>
                  <a:lnTo>
                    <a:pt x="409" y="125"/>
                  </a:lnTo>
                  <a:lnTo>
                    <a:pt x="411" y="125"/>
                  </a:lnTo>
                  <a:lnTo>
                    <a:pt x="411" y="127"/>
                  </a:lnTo>
                  <a:lnTo>
                    <a:pt x="413" y="127"/>
                  </a:lnTo>
                  <a:lnTo>
                    <a:pt x="413" y="125"/>
                  </a:lnTo>
                  <a:lnTo>
                    <a:pt x="413" y="127"/>
                  </a:lnTo>
                  <a:lnTo>
                    <a:pt x="415" y="127"/>
                  </a:lnTo>
                  <a:lnTo>
                    <a:pt x="415" y="128"/>
                  </a:lnTo>
                  <a:lnTo>
                    <a:pt x="417" y="128"/>
                  </a:lnTo>
                  <a:lnTo>
                    <a:pt x="419" y="128"/>
                  </a:lnTo>
                  <a:lnTo>
                    <a:pt x="419" y="130"/>
                  </a:lnTo>
                  <a:lnTo>
                    <a:pt x="421" y="130"/>
                  </a:lnTo>
                  <a:lnTo>
                    <a:pt x="422" y="130"/>
                  </a:lnTo>
                  <a:lnTo>
                    <a:pt x="422" y="132"/>
                  </a:lnTo>
                  <a:lnTo>
                    <a:pt x="422" y="130"/>
                  </a:lnTo>
                  <a:lnTo>
                    <a:pt x="422" y="132"/>
                  </a:lnTo>
                  <a:lnTo>
                    <a:pt x="422" y="134"/>
                  </a:lnTo>
                  <a:lnTo>
                    <a:pt x="421" y="134"/>
                  </a:lnTo>
                  <a:lnTo>
                    <a:pt x="421" y="136"/>
                  </a:lnTo>
                  <a:lnTo>
                    <a:pt x="421" y="138"/>
                  </a:lnTo>
                  <a:lnTo>
                    <a:pt x="422" y="138"/>
                  </a:lnTo>
                  <a:lnTo>
                    <a:pt x="422" y="140"/>
                  </a:lnTo>
                  <a:lnTo>
                    <a:pt x="422" y="142"/>
                  </a:lnTo>
                  <a:lnTo>
                    <a:pt x="424" y="142"/>
                  </a:lnTo>
                  <a:lnTo>
                    <a:pt x="424" y="144"/>
                  </a:lnTo>
                  <a:lnTo>
                    <a:pt x="422" y="144"/>
                  </a:lnTo>
                  <a:lnTo>
                    <a:pt x="422" y="142"/>
                  </a:lnTo>
                  <a:lnTo>
                    <a:pt x="421" y="142"/>
                  </a:lnTo>
                  <a:lnTo>
                    <a:pt x="421" y="140"/>
                  </a:lnTo>
                  <a:lnTo>
                    <a:pt x="419" y="140"/>
                  </a:lnTo>
                  <a:lnTo>
                    <a:pt x="419" y="138"/>
                  </a:lnTo>
                  <a:lnTo>
                    <a:pt x="417" y="138"/>
                  </a:lnTo>
                  <a:lnTo>
                    <a:pt x="417" y="140"/>
                  </a:lnTo>
                  <a:lnTo>
                    <a:pt x="417" y="138"/>
                  </a:lnTo>
                  <a:lnTo>
                    <a:pt x="417" y="140"/>
                  </a:lnTo>
                  <a:lnTo>
                    <a:pt x="417" y="138"/>
                  </a:lnTo>
                  <a:lnTo>
                    <a:pt x="417" y="140"/>
                  </a:lnTo>
                  <a:lnTo>
                    <a:pt x="415" y="140"/>
                  </a:lnTo>
                  <a:lnTo>
                    <a:pt x="413" y="140"/>
                  </a:lnTo>
                  <a:lnTo>
                    <a:pt x="411" y="140"/>
                  </a:lnTo>
                  <a:lnTo>
                    <a:pt x="409" y="140"/>
                  </a:lnTo>
                  <a:lnTo>
                    <a:pt x="409" y="142"/>
                  </a:lnTo>
                  <a:lnTo>
                    <a:pt x="407" y="142"/>
                  </a:lnTo>
                  <a:lnTo>
                    <a:pt x="407" y="144"/>
                  </a:lnTo>
                  <a:lnTo>
                    <a:pt x="405" y="144"/>
                  </a:lnTo>
                  <a:lnTo>
                    <a:pt x="405" y="146"/>
                  </a:lnTo>
                  <a:lnTo>
                    <a:pt x="403" y="146"/>
                  </a:lnTo>
                  <a:lnTo>
                    <a:pt x="403" y="148"/>
                  </a:lnTo>
                  <a:lnTo>
                    <a:pt x="401" y="148"/>
                  </a:lnTo>
                  <a:lnTo>
                    <a:pt x="401" y="146"/>
                  </a:lnTo>
                  <a:lnTo>
                    <a:pt x="401" y="148"/>
                  </a:lnTo>
                  <a:lnTo>
                    <a:pt x="399" y="148"/>
                  </a:lnTo>
                  <a:lnTo>
                    <a:pt x="399" y="150"/>
                  </a:lnTo>
                  <a:lnTo>
                    <a:pt x="397" y="150"/>
                  </a:lnTo>
                  <a:lnTo>
                    <a:pt x="397" y="151"/>
                  </a:lnTo>
                  <a:lnTo>
                    <a:pt x="396" y="150"/>
                  </a:lnTo>
                  <a:lnTo>
                    <a:pt x="396" y="151"/>
                  </a:lnTo>
                  <a:lnTo>
                    <a:pt x="394" y="151"/>
                  </a:lnTo>
                  <a:lnTo>
                    <a:pt x="394" y="153"/>
                  </a:lnTo>
                  <a:lnTo>
                    <a:pt x="394" y="155"/>
                  </a:lnTo>
                  <a:lnTo>
                    <a:pt x="394" y="157"/>
                  </a:lnTo>
                  <a:lnTo>
                    <a:pt x="394" y="159"/>
                  </a:lnTo>
                  <a:lnTo>
                    <a:pt x="396" y="159"/>
                  </a:lnTo>
                  <a:lnTo>
                    <a:pt x="396" y="161"/>
                  </a:lnTo>
                  <a:lnTo>
                    <a:pt x="394" y="161"/>
                  </a:lnTo>
                  <a:lnTo>
                    <a:pt x="394" y="163"/>
                  </a:lnTo>
                  <a:lnTo>
                    <a:pt x="392" y="163"/>
                  </a:lnTo>
                  <a:lnTo>
                    <a:pt x="392" y="165"/>
                  </a:lnTo>
                  <a:lnTo>
                    <a:pt x="394" y="165"/>
                  </a:lnTo>
                  <a:lnTo>
                    <a:pt x="392" y="165"/>
                  </a:lnTo>
                  <a:lnTo>
                    <a:pt x="392" y="167"/>
                  </a:lnTo>
                  <a:lnTo>
                    <a:pt x="390" y="167"/>
                  </a:lnTo>
                  <a:lnTo>
                    <a:pt x="390" y="169"/>
                  </a:lnTo>
                  <a:lnTo>
                    <a:pt x="388" y="169"/>
                  </a:lnTo>
                  <a:lnTo>
                    <a:pt x="388" y="171"/>
                  </a:lnTo>
                  <a:lnTo>
                    <a:pt x="386" y="171"/>
                  </a:lnTo>
                  <a:lnTo>
                    <a:pt x="386" y="173"/>
                  </a:lnTo>
                  <a:lnTo>
                    <a:pt x="386" y="175"/>
                  </a:lnTo>
                  <a:lnTo>
                    <a:pt x="388" y="175"/>
                  </a:lnTo>
                  <a:lnTo>
                    <a:pt x="388" y="176"/>
                  </a:lnTo>
                  <a:lnTo>
                    <a:pt x="388" y="178"/>
                  </a:lnTo>
                  <a:lnTo>
                    <a:pt x="388" y="180"/>
                  </a:lnTo>
                  <a:lnTo>
                    <a:pt x="386" y="180"/>
                  </a:lnTo>
                  <a:lnTo>
                    <a:pt x="386" y="182"/>
                  </a:lnTo>
                  <a:lnTo>
                    <a:pt x="386" y="184"/>
                  </a:lnTo>
                  <a:lnTo>
                    <a:pt x="384" y="184"/>
                  </a:lnTo>
                  <a:lnTo>
                    <a:pt x="384" y="186"/>
                  </a:lnTo>
                  <a:lnTo>
                    <a:pt x="384" y="188"/>
                  </a:lnTo>
                  <a:lnTo>
                    <a:pt x="382" y="188"/>
                  </a:lnTo>
                  <a:lnTo>
                    <a:pt x="382" y="190"/>
                  </a:lnTo>
                  <a:lnTo>
                    <a:pt x="382" y="192"/>
                  </a:lnTo>
                  <a:lnTo>
                    <a:pt x="380" y="192"/>
                  </a:lnTo>
                  <a:lnTo>
                    <a:pt x="380" y="194"/>
                  </a:lnTo>
                  <a:lnTo>
                    <a:pt x="380" y="196"/>
                  </a:lnTo>
                  <a:lnTo>
                    <a:pt x="378" y="196"/>
                  </a:lnTo>
                  <a:lnTo>
                    <a:pt x="380" y="196"/>
                  </a:lnTo>
                  <a:lnTo>
                    <a:pt x="378" y="196"/>
                  </a:lnTo>
                  <a:lnTo>
                    <a:pt x="378" y="194"/>
                  </a:lnTo>
                  <a:lnTo>
                    <a:pt x="376" y="194"/>
                  </a:lnTo>
                  <a:lnTo>
                    <a:pt x="374" y="194"/>
                  </a:lnTo>
                  <a:lnTo>
                    <a:pt x="373" y="194"/>
                  </a:lnTo>
                  <a:lnTo>
                    <a:pt x="371" y="194"/>
                  </a:lnTo>
                  <a:lnTo>
                    <a:pt x="369" y="194"/>
                  </a:lnTo>
                  <a:lnTo>
                    <a:pt x="369" y="192"/>
                  </a:lnTo>
                  <a:lnTo>
                    <a:pt x="369" y="194"/>
                  </a:lnTo>
                  <a:lnTo>
                    <a:pt x="369" y="192"/>
                  </a:lnTo>
                  <a:lnTo>
                    <a:pt x="369" y="194"/>
                  </a:lnTo>
                  <a:lnTo>
                    <a:pt x="369" y="196"/>
                  </a:lnTo>
                  <a:lnTo>
                    <a:pt x="369" y="194"/>
                  </a:lnTo>
                  <a:lnTo>
                    <a:pt x="369" y="196"/>
                  </a:lnTo>
                  <a:lnTo>
                    <a:pt x="369" y="198"/>
                  </a:lnTo>
                  <a:lnTo>
                    <a:pt x="369" y="200"/>
                  </a:lnTo>
                  <a:lnTo>
                    <a:pt x="369" y="201"/>
                  </a:lnTo>
                  <a:lnTo>
                    <a:pt x="369" y="203"/>
                  </a:lnTo>
                  <a:lnTo>
                    <a:pt x="369" y="205"/>
                  </a:lnTo>
                  <a:lnTo>
                    <a:pt x="369" y="207"/>
                  </a:lnTo>
                  <a:lnTo>
                    <a:pt x="369" y="209"/>
                  </a:lnTo>
                  <a:lnTo>
                    <a:pt x="367" y="209"/>
                  </a:lnTo>
                  <a:lnTo>
                    <a:pt x="369" y="209"/>
                  </a:lnTo>
                  <a:lnTo>
                    <a:pt x="367" y="209"/>
                  </a:lnTo>
                  <a:lnTo>
                    <a:pt x="365" y="209"/>
                  </a:lnTo>
                  <a:lnTo>
                    <a:pt x="365" y="211"/>
                  </a:lnTo>
                  <a:lnTo>
                    <a:pt x="365" y="213"/>
                  </a:lnTo>
                  <a:lnTo>
                    <a:pt x="365" y="215"/>
                  </a:lnTo>
                  <a:lnTo>
                    <a:pt x="365" y="217"/>
                  </a:lnTo>
                  <a:lnTo>
                    <a:pt x="365" y="219"/>
                  </a:lnTo>
                  <a:lnTo>
                    <a:pt x="367" y="219"/>
                  </a:lnTo>
                  <a:lnTo>
                    <a:pt x="365" y="219"/>
                  </a:lnTo>
                  <a:lnTo>
                    <a:pt x="367" y="219"/>
                  </a:lnTo>
                  <a:lnTo>
                    <a:pt x="365" y="219"/>
                  </a:lnTo>
                  <a:lnTo>
                    <a:pt x="367" y="219"/>
                  </a:lnTo>
                  <a:lnTo>
                    <a:pt x="367" y="221"/>
                  </a:lnTo>
                  <a:lnTo>
                    <a:pt x="365" y="221"/>
                  </a:lnTo>
                  <a:lnTo>
                    <a:pt x="365" y="223"/>
                  </a:lnTo>
                  <a:lnTo>
                    <a:pt x="365" y="221"/>
                  </a:lnTo>
                  <a:lnTo>
                    <a:pt x="365" y="223"/>
                  </a:lnTo>
                  <a:lnTo>
                    <a:pt x="363" y="223"/>
                  </a:lnTo>
                  <a:lnTo>
                    <a:pt x="363" y="224"/>
                  </a:lnTo>
                  <a:lnTo>
                    <a:pt x="363" y="226"/>
                  </a:lnTo>
                  <a:lnTo>
                    <a:pt x="361" y="226"/>
                  </a:lnTo>
                  <a:lnTo>
                    <a:pt x="363" y="226"/>
                  </a:lnTo>
                  <a:lnTo>
                    <a:pt x="361" y="226"/>
                  </a:lnTo>
                  <a:lnTo>
                    <a:pt x="361" y="224"/>
                  </a:lnTo>
                  <a:lnTo>
                    <a:pt x="361" y="223"/>
                  </a:lnTo>
                  <a:lnTo>
                    <a:pt x="359" y="223"/>
                  </a:lnTo>
                  <a:lnTo>
                    <a:pt x="359" y="224"/>
                  </a:lnTo>
                  <a:lnTo>
                    <a:pt x="359" y="223"/>
                  </a:lnTo>
                  <a:lnTo>
                    <a:pt x="359" y="224"/>
                  </a:lnTo>
                  <a:lnTo>
                    <a:pt x="357" y="224"/>
                  </a:lnTo>
                  <a:lnTo>
                    <a:pt x="357" y="223"/>
                  </a:lnTo>
                  <a:lnTo>
                    <a:pt x="357" y="221"/>
                  </a:lnTo>
                  <a:lnTo>
                    <a:pt x="357" y="219"/>
                  </a:lnTo>
                  <a:lnTo>
                    <a:pt x="357" y="217"/>
                  </a:lnTo>
                  <a:lnTo>
                    <a:pt x="355" y="217"/>
                  </a:lnTo>
                  <a:lnTo>
                    <a:pt x="357" y="217"/>
                  </a:lnTo>
                  <a:lnTo>
                    <a:pt x="357" y="215"/>
                  </a:lnTo>
                  <a:lnTo>
                    <a:pt x="355" y="215"/>
                  </a:lnTo>
                  <a:lnTo>
                    <a:pt x="357" y="215"/>
                  </a:lnTo>
                  <a:lnTo>
                    <a:pt x="355" y="215"/>
                  </a:lnTo>
                  <a:lnTo>
                    <a:pt x="357" y="215"/>
                  </a:lnTo>
                  <a:lnTo>
                    <a:pt x="355" y="215"/>
                  </a:lnTo>
                  <a:lnTo>
                    <a:pt x="357" y="215"/>
                  </a:lnTo>
                  <a:lnTo>
                    <a:pt x="355" y="215"/>
                  </a:lnTo>
                  <a:lnTo>
                    <a:pt x="355" y="213"/>
                  </a:lnTo>
                  <a:lnTo>
                    <a:pt x="355" y="211"/>
                  </a:lnTo>
                  <a:lnTo>
                    <a:pt x="353" y="211"/>
                  </a:lnTo>
                  <a:lnTo>
                    <a:pt x="353" y="209"/>
                  </a:lnTo>
                  <a:lnTo>
                    <a:pt x="353" y="207"/>
                  </a:lnTo>
                  <a:lnTo>
                    <a:pt x="353" y="205"/>
                  </a:lnTo>
                  <a:lnTo>
                    <a:pt x="355" y="205"/>
                  </a:lnTo>
                  <a:lnTo>
                    <a:pt x="353" y="205"/>
                  </a:lnTo>
                  <a:lnTo>
                    <a:pt x="353" y="203"/>
                  </a:lnTo>
                  <a:lnTo>
                    <a:pt x="353" y="205"/>
                  </a:lnTo>
                  <a:lnTo>
                    <a:pt x="353" y="203"/>
                  </a:lnTo>
                  <a:lnTo>
                    <a:pt x="353" y="201"/>
                  </a:lnTo>
                  <a:lnTo>
                    <a:pt x="353" y="200"/>
                  </a:lnTo>
                  <a:lnTo>
                    <a:pt x="353" y="198"/>
                  </a:lnTo>
                  <a:lnTo>
                    <a:pt x="351" y="198"/>
                  </a:lnTo>
                  <a:lnTo>
                    <a:pt x="351" y="200"/>
                  </a:lnTo>
                  <a:lnTo>
                    <a:pt x="351" y="198"/>
                  </a:lnTo>
                  <a:lnTo>
                    <a:pt x="350" y="198"/>
                  </a:lnTo>
                  <a:lnTo>
                    <a:pt x="350" y="200"/>
                  </a:lnTo>
                  <a:lnTo>
                    <a:pt x="348" y="200"/>
                  </a:lnTo>
                  <a:lnTo>
                    <a:pt x="348" y="198"/>
                  </a:lnTo>
                  <a:lnTo>
                    <a:pt x="348" y="200"/>
                  </a:lnTo>
                  <a:lnTo>
                    <a:pt x="348" y="201"/>
                  </a:lnTo>
                  <a:lnTo>
                    <a:pt x="348" y="203"/>
                  </a:lnTo>
                  <a:lnTo>
                    <a:pt x="348" y="201"/>
                  </a:lnTo>
                  <a:lnTo>
                    <a:pt x="348" y="203"/>
                  </a:lnTo>
                  <a:lnTo>
                    <a:pt x="348" y="201"/>
                  </a:lnTo>
                  <a:lnTo>
                    <a:pt x="348" y="203"/>
                  </a:lnTo>
                  <a:lnTo>
                    <a:pt x="346" y="203"/>
                  </a:lnTo>
                  <a:lnTo>
                    <a:pt x="346" y="205"/>
                  </a:lnTo>
                  <a:lnTo>
                    <a:pt x="346" y="207"/>
                  </a:lnTo>
                  <a:lnTo>
                    <a:pt x="346" y="209"/>
                  </a:lnTo>
                  <a:lnTo>
                    <a:pt x="344" y="209"/>
                  </a:lnTo>
                  <a:lnTo>
                    <a:pt x="344" y="211"/>
                  </a:lnTo>
                  <a:lnTo>
                    <a:pt x="342" y="211"/>
                  </a:lnTo>
                  <a:lnTo>
                    <a:pt x="344" y="211"/>
                  </a:lnTo>
                  <a:lnTo>
                    <a:pt x="344" y="209"/>
                  </a:lnTo>
                  <a:lnTo>
                    <a:pt x="342" y="209"/>
                  </a:lnTo>
                  <a:lnTo>
                    <a:pt x="342" y="211"/>
                  </a:lnTo>
                  <a:lnTo>
                    <a:pt x="342" y="209"/>
                  </a:lnTo>
                  <a:lnTo>
                    <a:pt x="344" y="209"/>
                  </a:lnTo>
                  <a:lnTo>
                    <a:pt x="342" y="209"/>
                  </a:lnTo>
                  <a:lnTo>
                    <a:pt x="342" y="207"/>
                  </a:lnTo>
                  <a:lnTo>
                    <a:pt x="340" y="207"/>
                  </a:lnTo>
                  <a:lnTo>
                    <a:pt x="342" y="207"/>
                  </a:lnTo>
                  <a:lnTo>
                    <a:pt x="342" y="205"/>
                  </a:lnTo>
                  <a:lnTo>
                    <a:pt x="340" y="205"/>
                  </a:lnTo>
                  <a:lnTo>
                    <a:pt x="340" y="207"/>
                  </a:lnTo>
                  <a:lnTo>
                    <a:pt x="340" y="209"/>
                  </a:lnTo>
                  <a:lnTo>
                    <a:pt x="340" y="207"/>
                  </a:lnTo>
                  <a:lnTo>
                    <a:pt x="338" y="207"/>
                  </a:lnTo>
                  <a:lnTo>
                    <a:pt x="338" y="205"/>
                  </a:lnTo>
                  <a:lnTo>
                    <a:pt x="338" y="203"/>
                  </a:lnTo>
                  <a:lnTo>
                    <a:pt x="338" y="201"/>
                  </a:lnTo>
                  <a:lnTo>
                    <a:pt x="336" y="201"/>
                  </a:lnTo>
                  <a:lnTo>
                    <a:pt x="338" y="201"/>
                  </a:lnTo>
                  <a:lnTo>
                    <a:pt x="336" y="201"/>
                  </a:lnTo>
                  <a:lnTo>
                    <a:pt x="338" y="201"/>
                  </a:lnTo>
                  <a:lnTo>
                    <a:pt x="336" y="201"/>
                  </a:lnTo>
                  <a:lnTo>
                    <a:pt x="336" y="200"/>
                  </a:lnTo>
                  <a:lnTo>
                    <a:pt x="336" y="198"/>
                  </a:lnTo>
                  <a:lnTo>
                    <a:pt x="338" y="198"/>
                  </a:lnTo>
                  <a:lnTo>
                    <a:pt x="338" y="196"/>
                  </a:lnTo>
                  <a:lnTo>
                    <a:pt x="338" y="194"/>
                  </a:lnTo>
                  <a:lnTo>
                    <a:pt x="340" y="194"/>
                  </a:lnTo>
                  <a:lnTo>
                    <a:pt x="340" y="192"/>
                  </a:lnTo>
                  <a:lnTo>
                    <a:pt x="342" y="192"/>
                  </a:lnTo>
                  <a:lnTo>
                    <a:pt x="344" y="192"/>
                  </a:lnTo>
                  <a:lnTo>
                    <a:pt x="344" y="190"/>
                  </a:lnTo>
                  <a:lnTo>
                    <a:pt x="344" y="192"/>
                  </a:lnTo>
                  <a:lnTo>
                    <a:pt x="344" y="190"/>
                  </a:lnTo>
                  <a:lnTo>
                    <a:pt x="344" y="192"/>
                  </a:lnTo>
                  <a:lnTo>
                    <a:pt x="344" y="190"/>
                  </a:lnTo>
                  <a:lnTo>
                    <a:pt x="344" y="192"/>
                  </a:lnTo>
                  <a:lnTo>
                    <a:pt x="346" y="192"/>
                  </a:lnTo>
                  <a:lnTo>
                    <a:pt x="346" y="190"/>
                  </a:lnTo>
                  <a:lnTo>
                    <a:pt x="348" y="190"/>
                  </a:lnTo>
                  <a:lnTo>
                    <a:pt x="348" y="192"/>
                  </a:lnTo>
                  <a:lnTo>
                    <a:pt x="348" y="190"/>
                  </a:lnTo>
                  <a:lnTo>
                    <a:pt x="348" y="188"/>
                  </a:lnTo>
                  <a:lnTo>
                    <a:pt x="348" y="190"/>
                  </a:lnTo>
                  <a:lnTo>
                    <a:pt x="348" y="188"/>
                  </a:lnTo>
                  <a:lnTo>
                    <a:pt x="350" y="188"/>
                  </a:lnTo>
                  <a:lnTo>
                    <a:pt x="350" y="186"/>
                  </a:lnTo>
                  <a:lnTo>
                    <a:pt x="351" y="186"/>
                  </a:lnTo>
                  <a:lnTo>
                    <a:pt x="351" y="184"/>
                  </a:lnTo>
                  <a:lnTo>
                    <a:pt x="351" y="186"/>
                  </a:lnTo>
                  <a:lnTo>
                    <a:pt x="351" y="184"/>
                  </a:lnTo>
                  <a:lnTo>
                    <a:pt x="351" y="182"/>
                  </a:lnTo>
                  <a:lnTo>
                    <a:pt x="353" y="182"/>
                  </a:lnTo>
                  <a:lnTo>
                    <a:pt x="353" y="180"/>
                  </a:lnTo>
                  <a:lnTo>
                    <a:pt x="351" y="180"/>
                  </a:lnTo>
                  <a:lnTo>
                    <a:pt x="351" y="178"/>
                  </a:lnTo>
                  <a:lnTo>
                    <a:pt x="353" y="178"/>
                  </a:lnTo>
                  <a:lnTo>
                    <a:pt x="353" y="180"/>
                  </a:lnTo>
                  <a:lnTo>
                    <a:pt x="355" y="180"/>
                  </a:lnTo>
                  <a:lnTo>
                    <a:pt x="355" y="178"/>
                  </a:lnTo>
                  <a:lnTo>
                    <a:pt x="355" y="176"/>
                  </a:lnTo>
                  <a:lnTo>
                    <a:pt x="353" y="176"/>
                  </a:lnTo>
                  <a:lnTo>
                    <a:pt x="351" y="176"/>
                  </a:lnTo>
                  <a:lnTo>
                    <a:pt x="351" y="175"/>
                  </a:lnTo>
                  <a:lnTo>
                    <a:pt x="350" y="175"/>
                  </a:lnTo>
                  <a:lnTo>
                    <a:pt x="348" y="175"/>
                  </a:lnTo>
                  <a:lnTo>
                    <a:pt x="346" y="175"/>
                  </a:lnTo>
                  <a:lnTo>
                    <a:pt x="344" y="175"/>
                  </a:lnTo>
                  <a:lnTo>
                    <a:pt x="342" y="175"/>
                  </a:lnTo>
                  <a:lnTo>
                    <a:pt x="344" y="175"/>
                  </a:lnTo>
                  <a:lnTo>
                    <a:pt x="342" y="175"/>
                  </a:lnTo>
                  <a:lnTo>
                    <a:pt x="340" y="175"/>
                  </a:lnTo>
                  <a:lnTo>
                    <a:pt x="338" y="175"/>
                  </a:lnTo>
                  <a:lnTo>
                    <a:pt x="336" y="175"/>
                  </a:lnTo>
                  <a:lnTo>
                    <a:pt x="334" y="175"/>
                  </a:lnTo>
                  <a:lnTo>
                    <a:pt x="332" y="175"/>
                  </a:lnTo>
                  <a:lnTo>
                    <a:pt x="330" y="175"/>
                  </a:lnTo>
                  <a:lnTo>
                    <a:pt x="328" y="175"/>
                  </a:lnTo>
                  <a:lnTo>
                    <a:pt x="326" y="175"/>
                  </a:lnTo>
                  <a:lnTo>
                    <a:pt x="325" y="175"/>
                  </a:lnTo>
                  <a:lnTo>
                    <a:pt x="323" y="175"/>
                  </a:lnTo>
                  <a:lnTo>
                    <a:pt x="321" y="175"/>
                  </a:lnTo>
                  <a:lnTo>
                    <a:pt x="321" y="173"/>
                  </a:lnTo>
                  <a:lnTo>
                    <a:pt x="319" y="173"/>
                  </a:lnTo>
                  <a:lnTo>
                    <a:pt x="317" y="173"/>
                  </a:lnTo>
                  <a:lnTo>
                    <a:pt x="317" y="171"/>
                  </a:lnTo>
                  <a:lnTo>
                    <a:pt x="317" y="169"/>
                  </a:lnTo>
                  <a:lnTo>
                    <a:pt x="317" y="167"/>
                  </a:lnTo>
                  <a:lnTo>
                    <a:pt x="317" y="165"/>
                  </a:lnTo>
                  <a:lnTo>
                    <a:pt x="317" y="163"/>
                  </a:lnTo>
                  <a:lnTo>
                    <a:pt x="317" y="161"/>
                  </a:lnTo>
                  <a:lnTo>
                    <a:pt x="317" y="163"/>
                  </a:lnTo>
                  <a:lnTo>
                    <a:pt x="317" y="161"/>
                  </a:lnTo>
                  <a:lnTo>
                    <a:pt x="317" y="159"/>
                  </a:lnTo>
                  <a:lnTo>
                    <a:pt x="315" y="159"/>
                  </a:lnTo>
                  <a:lnTo>
                    <a:pt x="315" y="157"/>
                  </a:lnTo>
                  <a:lnTo>
                    <a:pt x="313" y="157"/>
                  </a:lnTo>
                  <a:lnTo>
                    <a:pt x="315" y="157"/>
                  </a:lnTo>
                  <a:lnTo>
                    <a:pt x="315" y="159"/>
                  </a:lnTo>
                  <a:lnTo>
                    <a:pt x="313" y="159"/>
                  </a:lnTo>
                  <a:lnTo>
                    <a:pt x="315" y="159"/>
                  </a:lnTo>
                  <a:lnTo>
                    <a:pt x="313" y="159"/>
                  </a:lnTo>
                  <a:lnTo>
                    <a:pt x="313" y="157"/>
                  </a:lnTo>
                  <a:lnTo>
                    <a:pt x="313" y="159"/>
                  </a:lnTo>
                  <a:lnTo>
                    <a:pt x="315" y="159"/>
                  </a:lnTo>
                  <a:lnTo>
                    <a:pt x="313" y="159"/>
                  </a:lnTo>
                  <a:lnTo>
                    <a:pt x="313" y="161"/>
                  </a:lnTo>
                  <a:lnTo>
                    <a:pt x="313" y="159"/>
                  </a:lnTo>
                  <a:lnTo>
                    <a:pt x="313" y="161"/>
                  </a:lnTo>
                  <a:lnTo>
                    <a:pt x="311" y="161"/>
                  </a:lnTo>
                  <a:lnTo>
                    <a:pt x="309" y="161"/>
                  </a:lnTo>
                  <a:lnTo>
                    <a:pt x="309" y="159"/>
                  </a:lnTo>
                  <a:lnTo>
                    <a:pt x="307" y="159"/>
                  </a:lnTo>
                  <a:lnTo>
                    <a:pt x="307" y="157"/>
                  </a:lnTo>
                  <a:lnTo>
                    <a:pt x="305" y="157"/>
                  </a:lnTo>
                  <a:lnTo>
                    <a:pt x="305" y="155"/>
                  </a:lnTo>
                  <a:lnTo>
                    <a:pt x="307" y="155"/>
                  </a:lnTo>
                  <a:lnTo>
                    <a:pt x="307" y="157"/>
                  </a:lnTo>
                  <a:lnTo>
                    <a:pt x="307" y="155"/>
                  </a:lnTo>
                  <a:lnTo>
                    <a:pt x="305" y="155"/>
                  </a:lnTo>
                  <a:lnTo>
                    <a:pt x="305" y="153"/>
                  </a:lnTo>
                  <a:lnTo>
                    <a:pt x="303" y="153"/>
                  </a:lnTo>
                  <a:lnTo>
                    <a:pt x="305" y="153"/>
                  </a:lnTo>
                  <a:lnTo>
                    <a:pt x="303" y="153"/>
                  </a:lnTo>
                  <a:lnTo>
                    <a:pt x="305" y="153"/>
                  </a:lnTo>
                  <a:lnTo>
                    <a:pt x="303" y="153"/>
                  </a:lnTo>
                  <a:lnTo>
                    <a:pt x="303" y="155"/>
                  </a:lnTo>
                  <a:lnTo>
                    <a:pt x="305" y="155"/>
                  </a:lnTo>
                  <a:lnTo>
                    <a:pt x="303" y="155"/>
                  </a:lnTo>
                  <a:lnTo>
                    <a:pt x="305" y="155"/>
                  </a:lnTo>
                  <a:lnTo>
                    <a:pt x="303" y="155"/>
                  </a:lnTo>
                  <a:lnTo>
                    <a:pt x="305" y="155"/>
                  </a:lnTo>
                  <a:lnTo>
                    <a:pt x="303" y="155"/>
                  </a:lnTo>
                  <a:lnTo>
                    <a:pt x="305" y="155"/>
                  </a:lnTo>
                  <a:lnTo>
                    <a:pt x="305" y="157"/>
                  </a:lnTo>
                  <a:lnTo>
                    <a:pt x="305" y="155"/>
                  </a:lnTo>
                  <a:lnTo>
                    <a:pt x="305" y="157"/>
                  </a:lnTo>
                  <a:lnTo>
                    <a:pt x="303" y="157"/>
                  </a:lnTo>
                  <a:lnTo>
                    <a:pt x="302" y="157"/>
                  </a:lnTo>
                  <a:lnTo>
                    <a:pt x="302" y="155"/>
                  </a:lnTo>
                  <a:lnTo>
                    <a:pt x="302" y="157"/>
                  </a:lnTo>
                  <a:lnTo>
                    <a:pt x="300" y="157"/>
                  </a:lnTo>
                  <a:lnTo>
                    <a:pt x="300" y="155"/>
                  </a:lnTo>
                  <a:lnTo>
                    <a:pt x="300" y="157"/>
                  </a:lnTo>
                  <a:lnTo>
                    <a:pt x="300" y="155"/>
                  </a:lnTo>
                  <a:lnTo>
                    <a:pt x="302" y="155"/>
                  </a:lnTo>
                  <a:lnTo>
                    <a:pt x="300" y="155"/>
                  </a:lnTo>
                  <a:lnTo>
                    <a:pt x="300" y="153"/>
                  </a:lnTo>
                  <a:lnTo>
                    <a:pt x="300" y="155"/>
                  </a:lnTo>
                  <a:lnTo>
                    <a:pt x="300" y="153"/>
                  </a:lnTo>
                  <a:lnTo>
                    <a:pt x="300" y="155"/>
                  </a:lnTo>
                  <a:lnTo>
                    <a:pt x="300" y="153"/>
                  </a:lnTo>
                  <a:lnTo>
                    <a:pt x="298" y="153"/>
                  </a:lnTo>
                  <a:lnTo>
                    <a:pt x="298" y="151"/>
                  </a:lnTo>
                  <a:lnTo>
                    <a:pt x="296" y="151"/>
                  </a:lnTo>
                  <a:lnTo>
                    <a:pt x="296" y="153"/>
                  </a:lnTo>
                  <a:lnTo>
                    <a:pt x="294" y="153"/>
                  </a:lnTo>
                  <a:lnTo>
                    <a:pt x="296" y="153"/>
                  </a:lnTo>
                  <a:lnTo>
                    <a:pt x="298" y="153"/>
                  </a:lnTo>
                  <a:lnTo>
                    <a:pt x="298" y="155"/>
                  </a:lnTo>
                  <a:lnTo>
                    <a:pt x="296" y="155"/>
                  </a:lnTo>
                  <a:lnTo>
                    <a:pt x="296" y="157"/>
                  </a:lnTo>
                  <a:lnTo>
                    <a:pt x="294" y="157"/>
                  </a:lnTo>
                  <a:lnTo>
                    <a:pt x="294" y="159"/>
                  </a:lnTo>
                  <a:lnTo>
                    <a:pt x="292" y="159"/>
                  </a:lnTo>
                  <a:lnTo>
                    <a:pt x="292" y="161"/>
                  </a:lnTo>
                  <a:lnTo>
                    <a:pt x="292" y="163"/>
                  </a:lnTo>
                  <a:lnTo>
                    <a:pt x="292" y="165"/>
                  </a:lnTo>
                  <a:lnTo>
                    <a:pt x="294" y="165"/>
                  </a:lnTo>
                  <a:lnTo>
                    <a:pt x="292" y="165"/>
                  </a:lnTo>
                  <a:lnTo>
                    <a:pt x="294" y="165"/>
                  </a:lnTo>
                  <a:lnTo>
                    <a:pt x="296" y="165"/>
                  </a:lnTo>
                  <a:lnTo>
                    <a:pt x="296" y="167"/>
                  </a:lnTo>
                  <a:lnTo>
                    <a:pt x="298" y="167"/>
                  </a:lnTo>
                  <a:lnTo>
                    <a:pt x="298" y="169"/>
                  </a:lnTo>
                  <a:lnTo>
                    <a:pt x="300" y="169"/>
                  </a:lnTo>
                  <a:lnTo>
                    <a:pt x="302" y="169"/>
                  </a:lnTo>
                  <a:lnTo>
                    <a:pt x="302" y="171"/>
                  </a:lnTo>
                  <a:lnTo>
                    <a:pt x="303" y="171"/>
                  </a:lnTo>
                  <a:lnTo>
                    <a:pt x="303" y="173"/>
                  </a:lnTo>
                  <a:lnTo>
                    <a:pt x="305" y="173"/>
                  </a:lnTo>
                  <a:lnTo>
                    <a:pt x="303" y="173"/>
                  </a:lnTo>
                  <a:lnTo>
                    <a:pt x="303" y="175"/>
                  </a:lnTo>
                  <a:lnTo>
                    <a:pt x="302" y="175"/>
                  </a:lnTo>
                  <a:lnTo>
                    <a:pt x="300" y="175"/>
                  </a:lnTo>
                  <a:lnTo>
                    <a:pt x="298" y="175"/>
                  </a:lnTo>
                  <a:lnTo>
                    <a:pt x="296" y="175"/>
                  </a:lnTo>
                  <a:lnTo>
                    <a:pt x="298" y="175"/>
                  </a:lnTo>
                  <a:lnTo>
                    <a:pt x="296" y="175"/>
                  </a:lnTo>
                  <a:lnTo>
                    <a:pt x="296" y="176"/>
                  </a:lnTo>
                  <a:lnTo>
                    <a:pt x="296" y="178"/>
                  </a:lnTo>
                  <a:lnTo>
                    <a:pt x="294" y="178"/>
                  </a:lnTo>
                  <a:lnTo>
                    <a:pt x="296" y="178"/>
                  </a:lnTo>
                  <a:lnTo>
                    <a:pt x="296" y="180"/>
                  </a:lnTo>
                  <a:lnTo>
                    <a:pt x="294" y="180"/>
                  </a:lnTo>
                  <a:lnTo>
                    <a:pt x="294" y="178"/>
                  </a:lnTo>
                  <a:lnTo>
                    <a:pt x="292" y="178"/>
                  </a:lnTo>
                  <a:lnTo>
                    <a:pt x="292" y="180"/>
                  </a:lnTo>
                  <a:lnTo>
                    <a:pt x="292" y="182"/>
                  </a:lnTo>
                  <a:lnTo>
                    <a:pt x="290" y="182"/>
                  </a:lnTo>
                  <a:lnTo>
                    <a:pt x="292" y="182"/>
                  </a:lnTo>
                  <a:lnTo>
                    <a:pt x="290" y="182"/>
                  </a:lnTo>
                  <a:lnTo>
                    <a:pt x="290" y="184"/>
                  </a:lnTo>
                  <a:lnTo>
                    <a:pt x="292" y="184"/>
                  </a:lnTo>
                  <a:lnTo>
                    <a:pt x="292" y="186"/>
                  </a:lnTo>
                  <a:lnTo>
                    <a:pt x="294" y="186"/>
                  </a:lnTo>
                  <a:lnTo>
                    <a:pt x="296" y="186"/>
                  </a:lnTo>
                  <a:lnTo>
                    <a:pt x="296" y="188"/>
                  </a:lnTo>
                  <a:lnTo>
                    <a:pt x="298" y="188"/>
                  </a:lnTo>
                  <a:lnTo>
                    <a:pt x="300" y="188"/>
                  </a:lnTo>
                  <a:lnTo>
                    <a:pt x="302" y="188"/>
                  </a:lnTo>
                  <a:lnTo>
                    <a:pt x="302" y="190"/>
                  </a:lnTo>
                  <a:lnTo>
                    <a:pt x="300" y="190"/>
                  </a:lnTo>
                  <a:lnTo>
                    <a:pt x="300" y="192"/>
                  </a:lnTo>
                  <a:lnTo>
                    <a:pt x="302" y="192"/>
                  </a:lnTo>
                  <a:lnTo>
                    <a:pt x="302" y="194"/>
                  </a:lnTo>
                  <a:lnTo>
                    <a:pt x="302" y="196"/>
                  </a:lnTo>
                  <a:lnTo>
                    <a:pt x="300" y="196"/>
                  </a:lnTo>
                  <a:lnTo>
                    <a:pt x="298" y="196"/>
                  </a:lnTo>
                  <a:lnTo>
                    <a:pt x="300" y="196"/>
                  </a:lnTo>
                  <a:lnTo>
                    <a:pt x="298" y="196"/>
                  </a:lnTo>
                  <a:lnTo>
                    <a:pt x="300" y="196"/>
                  </a:lnTo>
                  <a:lnTo>
                    <a:pt x="300" y="198"/>
                  </a:lnTo>
                  <a:lnTo>
                    <a:pt x="298" y="198"/>
                  </a:lnTo>
                  <a:lnTo>
                    <a:pt x="298" y="200"/>
                  </a:lnTo>
                  <a:lnTo>
                    <a:pt x="300" y="200"/>
                  </a:lnTo>
                  <a:lnTo>
                    <a:pt x="298" y="200"/>
                  </a:lnTo>
                  <a:lnTo>
                    <a:pt x="300" y="200"/>
                  </a:lnTo>
                  <a:lnTo>
                    <a:pt x="300" y="201"/>
                  </a:lnTo>
                  <a:lnTo>
                    <a:pt x="302" y="201"/>
                  </a:lnTo>
                  <a:lnTo>
                    <a:pt x="302" y="203"/>
                  </a:lnTo>
                  <a:lnTo>
                    <a:pt x="302" y="205"/>
                  </a:lnTo>
                  <a:lnTo>
                    <a:pt x="302" y="203"/>
                  </a:lnTo>
                  <a:lnTo>
                    <a:pt x="302" y="205"/>
                  </a:lnTo>
                  <a:lnTo>
                    <a:pt x="300" y="205"/>
                  </a:lnTo>
                  <a:lnTo>
                    <a:pt x="302" y="205"/>
                  </a:lnTo>
                  <a:lnTo>
                    <a:pt x="300" y="205"/>
                  </a:lnTo>
                  <a:lnTo>
                    <a:pt x="302" y="205"/>
                  </a:lnTo>
                  <a:lnTo>
                    <a:pt x="303" y="205"/>
                  </a:lnTo>
                  <a:lnTo>
                    <a:pt x="305" y="205"/>
                  </a:lnTo>
                  <a:lnTo>
                    <a:pt x="303" y="205"/>
                  </a:lnTo>
                  <a:lnTo>
                    <a:pt x="303" y="207"/>
                  </a:lnTo>
                  <a:lnTo>
                    <a:pt x="303" y="209"/>
                  </a:lnTo>
                  <a:lnTo>
                    <a:pt x="302" y="209"/>
                  </a:lnTo>
                  <a:lnTo>
                    <a:pt x="303" y="209"/>
                  </a:lnTo>
                  <a:lnTo>
                    <a:pt x="303" y="211"/>
                  </a:lnTo>
                  <a:lnTo>
                    <a:pt x="303" y="213"/>
                  </a:lnTo>
                  <a:lnTo>
                    <a:pt x="303" y="215"/>
                  </a:lnTo>
                  <a:lnTo>
                    <a:pt x="303" y="217"/>
                  </a:lnTo>
                  <a:lnTo>
                    <a:pt x="305" y="217"/>
                  </a:lnTo>
                  <a:lnTo>
                    <a:pt x="305" y="219"/>
                  </a:lnTo>
                  <a:lnTo>
                    <a:pt x="303" y="219"/>
                  </a:lnTo>
                  <a:lnTo>
                    <a:pt x="305" y="219"/>
                  </a:lnTo>
                  <a:lnTo>
                    <a:pt x="305" y="221"/>
                  </a:lnTo>
                  <a:lnTo>
                    <a:pt x="305" y="223"/>
                  </a:lnTo>
                  <a:lnTo>
                    <a:pt x="305" y="224"/>
                  </a:lnTo>
                  <a:lnTo>
                    <a:pt x="305" y="226"/>
                  </a:lnTo>
                  <a:lnTo>
                    <a:pt x="303" y="226"/>
                  </a:lnTo>
                  <a:lnTo>
                    <a:pt x="302" y="226"/>
                  </a:lnTo>
                  <a:lnTo>
                    <a:pt x="302" y="228"/>
                  </a:lnTo>
                  <a:lnTo>
                    <a:pt x="303" y="228"/>
                  </a:lnTo>
                  <a:lnTo>
                    <a:pt x="303" y="230"/>
                  </a:lnTo>
                  <a:lnTo>
                    <a:pt x="302" y="230"/>
                  </a:lnTo>
                  <a:lnTo>
                    <a:pt x="303" y="230"/>
                  </a:lnTo>
                  <a:lnTo>
                    <a:pt x="302" y="230"/>
                  </a:lnTo>
                  <a:lnTo>
                    <a:pt x="300" y="230"/>
                  </a:lnTo>
                  <a:lnTo>
                    <a:pt x="300" y="228"/>
                  </a:lnTo>
                  <a:lnTo>
                    <a:pt x="302" y="228"/>
                  </a:lnTo>
                  <a:lnTo>
                    <a:pt x="300" y="228"/>
                  </a:lnTo>
                  <a:lnTo>
                    <a:pt x="300" y="226"/>
                  </a:lnTo>
                  <a:lnTo>
                    <a:pt x="302" y="226"/>
                  </a:lnTo>
                  <a:lnTo>
                    <a:pt x="300" y="226"/>
                  </a:lnTo>
                  <a:lnTo>
                    <a:pt x="302" y="226"/>
                  </a:lnTo>
                  <a:lnTo>
                    <a:pt x="302" y="224"/>
                  </a:lnTo>
                  <a:lnTo>
                    <a:pt x="300" y="224"/>
                  </a:lnTo>
                  <a:lnTo>
                    <a:pt x="302" y="224"/>
                  </a:lnTo>
                  <a:lnTo>
                    <a:pt x="300" y="224"/>
                  </a:lnTo>
                  <a:lnTo>
                    <a:pt x="300" y="226"/>
                  </a:lnTo>
                  <a:lnTo>
                    <a:pt x="298" y="226"/>
                  </a:lnTo>
                  <a:lnTo>
                    <a:pt x="298" y="228"/>
                  </a:lnTo>
                  <a:lnTo>
                    <a:pt x="298" y="226"/>
                  </a:lnTo>
                  <a:lnTo>
                    <a:pt x="298" y="228"/>
                  </a:lnTo>
                  <a:lnTo>
                    <a:pt x="298" y="226"/>
                  </a:lnTo>
                  <a:lnTo>
                    <a:pt x="296" y="226"/>
                  </a:lnTo>
                  <a:lnTo>
                    <a:pt x="298" y="226"/>
                  </a:lnTo>
                  <a:lnTo>
                    <a:pt x="298" y="228"/>
                  </a:lnTo>
                  <a:lnTo>
                    <a:pt x="296" y="228"/>
                  </a:lnTo>
                  <a:lnTo>
                    <a:pt x="298" y="228"/>
                  </a:lnTo>
                  <a:lnTo>
                    <a:pt x="296" y="228"/>
                  </a:lnTo>
                  <a:lnTo>
                    <a:pt x="296" y="230"/>
                  </a:lnTo>
                  <a:lnTo>
                    <a:pt x="296" y="232"/>
                  </a:lnTo>
                  <a:lnTo>
                    <a:pt x="296" y="230"/>
                  </a:lnTo>
                  <a:lnTo>
                    <a:pt x="296" y="228"/>
                  </a:lnTo>
                  <a:lnTo>
                    <a:pt x="296" y="230"/>
                  </a:lnTo>
                  <a:lnTo>
                    <a:pt x="294" y="230"/>
                  </a:lnTo>
                  <a:lnTo>
                    <a:pt x="296" y="230"/>
                  </a:lnTo>
                  <a:lnTo>
                    <a:pt x="294" y="230"/>
                  </a:lnTo>
                  <a:lnTo>
                    <a:pt x="294" y="228"/>
                  </a:lnTo>
                  <a:lnTo>
                    <a:pt x="294" y="230"/>
                  </a:lnTo>
                  <a:lnTo>
                    <a:pt x="294" y="232"/>
                  </a:lnTo>
                  <a:lnTo>
                    <a:pt x="294" y="230"/>
                  </a:lnTo>
                  <a:lnTo>
                    <a:pt x="294" y="228"/>
                  </a:lnTo>
                  <a:lnTo>
                    <a:pt x="292" y="228"/>
                  </a:lnTo>
                  <a:lnTo>
                    <a:pt x="292" y="226"/>
                  </a:lnTo>
                  <a:lnTo>
                    <a:pt x="292" y="224"/>
                  </a:lnTo>
                  <a:lnTo>
                    <a:pt x="294" y="224"/>
                  </a:lnTo>
                  <a:lnTo>
                    <a:pt x="294" y="223"/>
                  </a:lnTo>
                  <a:lnTo>
                    <a:pt x="292" y="223"/>
                  </a:lnTo>
                  <a:lnTo>
                    <a:pt x="292" y="221"/>
                  </a:lnTo>
                  <a:lnTo>
                    <a:pt x="290" y="221"/>
                  </a:lnTo>
                  <a:lnTo>
                    <a:pt x="290" y="223"/>
                  </a:lnTo>
                  <a:lnTo>
                    <a:pt x="292" y="223"/>
                  </a:lnTo>
                  <a:lnTo>
                    <a:pt x="292" y="224"/>
                  </a:lnTo>
                  <a:lnTo>
                    <a:pt x="290" y="224"/>
                  </a:lnTo>
                  <a:lnTo>
                    <a:pt x="290" y="226"/>
                  </a:lnTo>
                  <a:lnTo>
                    <a:pt x="290" y="228"/>
                  </a:lnTo>
                  <a:lnTo>
                    <a:pt x="288" y="228"/>
                  </a:lnTo>
                  <a:lnTo>
                    <a:pt x="288" y="230"/>
                  </a:lnTo>
                  <a:lnTo>
                    <a:pt x="286" y="230"/>
                  </a:lnTo>
                  <a:lnTo>
                    <a:pt x="284" y="230"/>
                  </a:lnTo>
                  <a:lnTo>
                    <a:pt x="282" y="230"/>
                  </a:lnTo>
                  <a:lnTo>
                    <a:pt x="282" y="232"/>
                  </a:lnTo>
                  <a:lnTo>
                    <a:pt x="280" y="232"/>
                  </a:lnTo>
                  <a:lnTo>
                    <a:pt x="278" y="232"/>
                  </a:lnTo>
                  <a:lnTo>
                    <a:pt x="277" y="232"/>
                  </a:lnTo>
                  <a:lnTo>
                    <a:pt x="277" y="234"/>
                  </a:lnTo>
                  <a:lnTo>
                    <a:pt x="275" y="234"/>
                  </a:lnTo>
                  <a:lnTo>
                    <a:pt x="275" y="236"/>
                  </a:lnTo>
                  <a:lnTo>
                    <a:pt x="273" y="236"/>
                  </a:lnTo>
                  <a:lnTo>
                    <a:pt x="275" y="236"/>
                  </a:lnTo>
                  <a:lnTo>
                    <a:pt x="273" y="236"/>
                  </a:lnTo>
                  <a:lnTo>
                    <a:pt x="273" y="238"/>
                  </a:lnTo>
                  <a:lnTo>
                    <a:pt x="273" y="240"/>
                  </a:lnTo>
                  <a:lnTo>
                    <a:pt x="275" y="240"/>
                  </a:lnTo>
                  <a:lnTo>
                    <a:pt x="275" y="242"/>
                  </a:lnTo>
                  <a:lnTo>
                    <a:pt x="275" y="244"/>
                  </a:lnTo>
                  <a:lnTo>
                    <a:pt x="273" y="244"/>
                  </a:lnTo>
                  <a:lnTo>
                    <a:pt x="275" y="244"/>
                  </a:lnTo>
                  <a:lnTo>
                    <a:pt x="275" y="246"/>
                  </a:lnTo>
                  <a:lnTo>
                    <a:pt x="277" y="246"/>
                  </a:lnTo>
                  <a:lnTo>
                    <a:pt x="275" y="246"/>
                  </a:lnTo>
                  <a:lnTo>
                    <a:pt x="275" y="248"/>
                  </a:lnTo>
                  <a:lnTo>
                    <a:pt x="273" y="248"/>
                  </a:lnTo>
                  <a:lnTo>
                    <a:pt x="273" y="249"/>
                  </a:lnTo>
                  <a:lnTo>
                    <a:pt x="273" y="248"/>
                  </a:lnTo>
                  <a:lnTo>
                    <a:pt x="271" y="248"/>
                  </a:lnTo>
                  <a:lnTo>
                    <a:pt x="271" y="249"/>
                  </a:lnTo>
                  <a:lnTo>
                    <a:pt x="273" y="249"/>
                  </a:lnTo>
                  <a:lnTo>
                    <a:pt x="271" y="249"/>
                  </a:lnTo>
                  <a:lnTo>
                    <a:pt x="271" y="251"/>
                  </a:lnTo>
                  <a:lnTo>
                    <a:pt x="271" y="249"/>
                  </a:lnTo>
                  <a:lnTo>
                    <a:pt x="271" y="251"/>
                  </a:lnTo>
                  <a:lnTo>
                    <a:pt x="271" y="249"/>
                  </a:lnTo>
                  <a:lnTo>
                    <a:pt x="273" y="249"/>
                  </a:lnTo>
                  <a:lnTo>
                    <a:pt x="273" y="251"/>
                  </a:lnTo>
                  <a:lnTo>
                    <a:pt x="273" y="249"/>
                  </a:lnTo>
                  <a:lnTo>
                    <a:pt x="273" y="251"/>
                  </a:lnTo>
                  <a:lnTo>
                    <a:pt x="271" y="251"/>
                  </a:lnTo>
                  <a:lnTo>
                    <a:pt x="271" y="253"/>
                  </a:lnTo>
                  <a:lnTo>
                    <a:pt x="271" y="251"/>
                  </a:lnTo>
                  <a:lnTo>
                    <a:pt x="271" y="253"/>
                  </a:lnTo>
                  <a:lnTo>
                    <a:pt x="269" y="253"/>
                  </a:lnTo>
                  <a:lnTo>
                    <a:pt x="269" y="255"/>
                  </a:lnTo>
                  <a:lnTo>
                    <a:pt x="267" y="255"/>
                  </a:lnTo>
                  <a:lnTo>
                    <a:pt x="267" y="257"/>
                  </a:lnTo>
                  <a:lnTo>
                    <a:pt x="265" y="257"/>
                  </a:lnTo>
                  <a:lnTo>
                    <a:pt x="267" y="257"/>
                  </a:lnTo>
                  <a:lnTo>
                    <a:pt x="265" y="257"/>
                  </a:lnTo>
                  <a:lnTo>
                    <a:pt x="263" y="257"/>
                  </a:lnTo>
                  <a:lnTo>
                    <a:pt x="263" y="259"/>
                  </a:lnTo>
                  <a:lnTo>
                    <a:pt x="265" y="257"/>
                  </a:lnTo>
                  <a:lnTo>
                    <a:pt x="265" y="259"/>
                  </a:lnTo>
                  <a:lnTo>
                    <a:pt x="263" y="259"/>
                  </a:lnTo>
                  <a:lnTo>
                    <a:pt x="261" y="259"/>
                  </a:lnTo>
                  <a:lnTo>
                    <a:pt x="259" y="259"/>
                  </a:lnTo>
                  <a:lnTo>
                    <a:pt x="257" y="259"/>
                  </a:lnTo>
                  <a:lnTo>
                    <a:pt x="257" y="261"/>
                  </a:lnTo>
                  <a:lnTo>
                    <a:pt x="255" y="261"/>
                  </a:lnTo>
                  <a:lnTo>
                    <a:pt x="254" y="261"/>
                  </a:lnTo>
                  <a:lnTo>
                    <a:pt x="255" y="261"/>
                  </a:lnTo>
                  <a:lnTo>
                    <a:pt x="254" y="261"/>
                  </a:lnTo>
                  <a:lnTo>
                    <a:pt x="254" y="263"/>
                  </a:lnTo>
                  <a:lnTo>
                    <a:pt x="252" y="263"/>
                  </a:lnTo>
                  <a:lnTo>
                    <a:pt x="250" y="263"/>
                  </a:lnTo>
                  <a:lnTo>
                    <a:pt x="250" y="265"/>
                  </a:lnTo>
                  <a:lnTo>
                    <a:pt x="248" y="265"/>
                  </a:lnTo>
                  <a:lnTo>
                    <a:pt x="248" y="267"/>
                  </a:lnTo>
                  <a:lnTo>
                    <a:pt x="246" y="267"/>
                  </a:lnTo>
                  <a:lnTo>
                    <a:pt x="248" y="267"/>
                  </a:lnTo>
                  <a:lnTo>
                    <a:pt x="246" y="267"/>
                  </a:lnTo>
                  <a:lnTo>
                    <a:pt x="246" y="269"/>
                  </a:lnTo>
                  <a:lnTo>
                    <a:pt x="246" y="267"/>
                  </a:lnTo>
                  <a:lnTo>
                    <a:pt x="246" y="269"/>
                  </a:lnTo>
                  <a:lnTo>
                    <a:pt x="244" y="269"/>
                  </a:lnTo>
                  <a:lnTo>
                    <a:pt x="244" y="271"/>
                  </a:lnTo>
                  <a:lnTo>
                    <a:pt x="242" y="271"/>
                  </a:lnTo>
                  <a:lnTo>
                    <a:pt x="244" y="271"/>
                  </a:lnTo>
                  <a:lnTo>
                    <a:pt x="242" y="271"/>
                  </a:lnTo>
                  <a:lnTo>
                    <a:pt x="242" y="273"/>
                  </a:lnTo>
                  <a:lnTo>
                    <a:pt x="240" y="273"/>
                  </a:lnTo>
                  <a:lnTo>
                    <a:pt x="240" y="274"/>
                  </a:lnTo>
                  <a:lnTo>
                    <a:pt x="240" y="276"/>
                  </a:lnTo>
                  <a:lnTo>
                    <a:pt x="238" y="276"/>
                  </a:lnTo>
                  <a:lnTo>
                    <a:pt x="238" y="278"/>
                  </a:lnTo>
                  <a:lnTo>
                    <a:pt x="236" y="278"/>
                  </a:lnTo>
                  <a:lnTo>
                    <a:pt x="236" y="280"/>
                  </a:lnTo>
                  <a:lnTo>
                    <a:pt x="236" y="278"/>
                  </a:lnTo>
                  <a:lnTo>
                    <a:pt x="236" y="280"/>
                  </a:lnTo>
                  <a:lnTo>
                    <a:pt x="234" y="280"/>
                  </a:lnTo>
                  <a:lnTo>
                    <a:pt x="234" y="282"/>
                  </a:lnTo>
                  <a:lnTo>
                    <a:pt x="232" y="282"/>
                  </a:lnTo>
                  <a:lnTo>
                    <a:pt x="234" y="282"/>
                  </a:lnTo>
                  <a:lnTo>
                    <a:pt x="232" y="282"/>
                  </a:lnTo>
                  <a:lnTo>
                    <a:pt x="232" y="284"/>
                  </a:lnTo>
                  <a:lnTo>
                    <a:pt x="231" y="284"/>
                  </a:lnTo>
                  <a:lnTo>
                    <a:pt x="229" y="284"/>
                  </a:lnTo>
                  <a:lnTo>
                    <a:pt x="229" y="286"/>
                  </a:lnTo>
                  <a:lnTo>
                    <a:pt x="227" y="286"/>
                  </a:lnTo>
                  <a:lnTo>
                    <a:pt x="227" y="288"/>
                  </a:lnTo>
                  <a:lnTo>
                    <a:pt x="225" y="288"/>
                  </a:lnTo>
                  <a:lnTo>
                    <a:pt x="225" y="290"/>
                  </a:lnTo>
                  <a:lnTo>
                    <a:pt x="223" y="290"/>
                  </a:lnTo>
                  <a:lnTo>
                    <a:pt x="223" y="288"/>
                  </a:lnTo>
                  <a:lnTo>
                    <a:pt x="223" y="290"/>
                  </a:lnTo>
                  <a:lnTo>
                    <a:pt x="223" y="292"/>
                  </a:lnTo>
                  <a:lnTo>
                    <a:pt x="221" y="292"/>
                  </a:lnTo>
                  <a:lnTo>
                    <a:pt x="221" y="294"/>
                  </a:lnTo>
                  <a:lnTo>
                    <a:pt x="219" y="294"/>
                  </a:lnTo>
                  <a:lnTo>
                    <a:pt x="219" y="296"/>
                  </a:lnTo>
                  <a:lnTo>
                    <a:pt x="217" y="296"/>
                  </a:lnTo>
                  <a:lnTo>
                    <a:pt x="215" y="296"/>
                  </a:lnTo>
                  <a:lnTo>
                    <a:pt x="215" y="297"/>
                  </a:lnTo>
                  <a:lnTo>
                    <a:pt x="213" y="297"/>
                  </a:lnTo>
                  <a:lnTo>
                    <a:pt x="211" y="297"/>
                  </a:lnTo>
                  <a:lnTo>
                    <a:pt x="211" y="299"/>
                  </a:lnTo>
                  <a:lnTo>
                    <a:pt x="209" y="299"/>
                  </a:lnTo>
                  <a:lnTo>
                    <a:pt x="209" y="301"/>
                  </a:lnTo>
                  <a:lnTo>
                    <a:pt x="207" y="301"/>
                  </a:lnTo>
                  <a:lnTo>
                    <a:pt x="207" y="303"/>
                  </a:lnTo>
                  <a:lnTo>
                    <a:pt x="206" y="303"/>
                  </a:lnTo>
                  <a:lnTo>
                    <a:pt x="206" y="305"/>
                  </a:lnTo>
                  <a:lnTo>
                    <a:pt x="207" y="305"/>
                  </a:lnTo>
                  <a:lnTo>
                    <a:pt x="207" y="303"/>
                  </a:lnTo>
                  <a:lnTo>
                    <a:pt x="207" y="305"/>
                  </a:lnTo>
                  <a:lnTo>
                    <a:pt x="207" y="307"/>
                  </a:lnTo>
                  <a:lnTo>
                    <a:pt x="207" y="309"/>
                  </a:lnTo>
                  <a:lnTo>
                    <a:pt x="206" y="309"/>
                  </a:lnTo>
                  <a:lnTo>
                    <a:pt x="207" y="309"/>
                  </a:lnTo>
                  <a:lnTo>
                    <a:pt x="206" y="309"/>
                  </a:lnTo>
                  <a:lnTo>
                    <a:pt x="207" y="309"/>
                  </a:lnTo>
                  <a:lnTo>
                    <a:pt x="206" y="309"/>
                  </a:lnTo>
                  <a:lnTo>
                    <a:pt x="206" y="311"/>
                  </a:lnTo>
                  <a:lnTo>
                    <a:pt x="204" y="311"/>
                  </a:lnTo>
                  <a:lnTo>
                    <a:pt x="202" y="311"/>
                  </a:lnTo>
                  <a:lnTo>
                    <a:pt x="202" y="313"/>
                  </a:lnTo>
                  <a:lnTo>
                    <a:pt x="202" y="311"/>
                  </a:lnTo>
                  <a:lnTo>
                    <a:pt x="202" y="313"/>
                  </a:lnTo>
                  <a:lnTo>
                    <a:pt x="200" y="313"/>
                  </a:lnTo>
                  <a:lnTo>
                    <a:pt x="198" y="313"/>
                  </a:lnTo>
                  <a:lnTo>
                    <a:pt x="196" y="313"/>
                  </a:lnTo>
                  <a:lnTo>
                    <a:pt x="194" y="313"/>
                  </a:lnTo>
                  <a:lnTo>
                    <a:pt x="192" y="313"/>
                  </a:lnTo>
                  <a:lnTo>
                    <a:pt x="192" y="315"/>
                  </a:lnTo>
                  <a:lnTo>
                    <a:pt x="190" y="315"/>
                  </a:lnTo>
                  <a:lnTo>
                    <a:pt x="190" y="317"/>
                  </a:lnTo>
                  <a:lnTo>
                    <a:pt x="190" y="319"/>
                  </a:lnTo>
                  <a:lnTo>
                    <a:pt x="188" y="319"/>
                  </a:lnTo>
                  <a:lnTo>
                    <a:pt x="188" y="321"/>
                  </a:lnTo>
                  <a:lnTo>
                    <a:pt x="188" y="322"/>
                  </a:lnTo>
                  <a:lnTo>
                    <a:pt x="188" y="321"/>
                  </a:lnTo>
                  <a:lnTo>
                    <a:pt x="188" y="322"/>
                  </a:lnTo>
                  <a:lnTo>
                    <a:pt x="188" y="321"/>
                  </a:lnTo>
                  <a:lnTo>
                    <a:pt x="188" y="322"/>
                  </a:lnTo>
                  <a:lnTo>
                    <a:pt x="188" y="321"/>
                  </a:lnTo>
                  <a:lnTo>
                    <a:pt x="186" y="321"/>
                  </a:lnTo>
                  <a:lnTo>
                    <a:pt x="184" y="321"/>
                  </a:lnTo>
                  <a:lnTo>
                    <a:pt x="184" y="322"/>
                  </a:lnTo>
                  <a:lnTo>
                    <a:pt x="184" y="321"/>
                  </a:lnTo>
                  <a:lnTo>
                    <a:pt x="183" y="321"/>
                  </a:lnTo>
                  <a:lnTo>
                    <a:pt x="181" y="321"/>
                  </a:lnTo>
                  <a:lnTo>
                    <a:pt x="179" y="321"/>
                  </a:lnTo>
                  <a:lnTo>
                    <a:pt x="179" y="322"/>
                  </a:lnTo>
                  <a:lnTo>
                    <a:pt x="177" y="322"/>
                  </a:lnTo>
                  <a:lnTo>
                    <a:pt x="177" y="324"/>
                  </a:lnTo>
                  <a:lnTo>
                    <a:pt x="177" y="326"/>
                  </a:lnTo>
                  <a:lnTo>
                    <a:pt x="175" y="326"/>
                  </a:lnTo>
                  <a:lnTo>
                    <a:pt x="175" y="328"/>
                  </a:lnTo>
                  <a:lnTo>
                    <a:pt x="175" y="330"/>
                  </a:lnTo>
                  <a:lnTo>
                    <a:pt x="175" y="332"/>
                  </a:lnTo>
                  <a:lnTo>
                    <a:pt x="173" y="332"/>
                  </a:lnTo>
                  <a:lnTo>
                    <a:pt x="173" y="334"/>
                  </a:lnTo>
                  <a:lnTo>
                    <a:pt x="175" y="334"/>
                  </a:lnTo>
                  <a:lnTo>
                    <a:pt x="175" y="336"/>
                  </a:lnTo>
                  <a:lnTo>
                    <a:pt x="175" y="338"/>
                  </a:lnTo>
                  <a:lnTo>
                    <a:pt x="175" y="340"/>
                  </a:lnTo>
                  <a:lnTo>
                    <a:pt x="177" y="340"/>
                  </a:lnTo>
                  <a:lnTo>
                    <a:pt x="175" y="340"/>
                  </a:lnTo>
                  <a:lnTo>
                    <a:pt x="177" y="340"/>
                  </a:lnTo>
                  <a:lnTo>
                    <a:pt x="175" y="340"/>
                  </a:lnTo>
                  <a:lnTo>
                    <a:pt x="177" y="340"/>
                  </a:lnTo>
                  <a:lnTo>
                    <a:pt x="175" y="340"/>
                  </a:lnTo>
                  <a:lnTo>
                    <a:pt x="177" y="340"/>
                  </a:lnTo>
                  <a:lnTo>
                    <a:pt x="175" y="340"/>
                  </a:lnTo>
                  <a:lnTo>
                    <a:pt x="175" y="342"/>
                  </a:lnTo>
                  <a:lnTo>
                    <a:pt x="175" y="344"/>
                  </a:lnTo>
                  <a:lnTo>
                    <a:pt x="175" y="345"/>
                  </a:lnTo>
                  <a:lnTo>
                    <a:pt x="175" y="347"/>
                  </a:lnTo>
                  <a:lnTo>
                    <a:pt x="175" y="349"/>
                  </a:lnTo>
                  <a:lnTo>
                    <a:pt x="177" y="349"/>
                  </a:lnTo>
                  <a:lnTo>
                    <a:pt x="177" y="351"/>
                  </a:lnTo>
                  <a:lnTo>
                    <a:pt x="177" y="353"/>
                  </a:lnTo>
                  <a:lnTo>
                    <a:pt x="177" y="355"/>
                  </a:lnTo>
                  <a:lnTo>
                    <a:pt x="177" y="357"/>
                  </a:lnTo>
                  <a:lnTo>
                    <a:pt x="179" y="357"/>
                  </a:lnTo>
                  <a:lnTo>
                    <a:pt x="177" y="357"/>
                  </a:lnTo>
                  <a:lnTo>
                    <a:pt x="179" y="357"/>
                  </a:lnTo>
                  <a:lnTo>
                    <a:pt x="179" y="359"/>
                  </a:lnTo>
                  <a:lnTo>
                    <a:pt x="179" y="361"/>
                  </a:lnTo>
                  <a:lnTo>
                    <a:pt x="177" y="361"/>
                  </a:lnTo>
                  <a:lnTo>
                    <a:pt x="177" y="359"/>
                  </a:lnTo>
                  <a:lnTo>
                    <a:pt x="177" y="361"/>
                  </a:lnTo>
                  <a:lnTo>
                    <a:pt x="179" y="361"/>
                  </a:lnTo>
                  <a:lnTo>
                    <a:pt x="177" y="361"/>
                  </a:lnTo>
                  <a:lnTo>
                    <a:pt x="179" y="361"/>
                  </a:lnTo>
                  <a:lnTo>
                    <a:pt x="177" y="361"/>
                  </a:lnTo>
                  <a:lnTo>
                    <a:pt x="177" y="363"/>
                  </a:lnTo>
                  <a:lnTo>
                    <a:pt x="177" y="361"/>
                  </a:lnTo>
                  <a:lnTo>
                    <a:pt x="177" y="363"/>
                  </a:lnTo>
                  <a:lnTo>
                    <a:pt x="177" y="365"/>
                  </a:lnTo>
                  <a:lnTo>
                    <a:pt x="177" y="367"/>
                  </a:lnTo>
                  <a:lnTo>
                    <a:pt x="177" y="369"/>
                  </a:lnTo>
                  <a:lnTo>
                    <a:pt x="177" y="370"/>
                  </a:lnTo>
                  <a:lnTo>
                    <a:pt x="175" y="370"/>
                  </a:lnTo>
                  <a:lnTo>
                    <a:pt x="175" y="372"/>
                  </a:lnTo>
                  <a:lnTo>
                    <a:pt x="175" y="374"/>
                  </a:lnTo>
                  <a:lnTo>
                    <a:pt x="173" y="374"/>
                  </a:lnTo>
                  <a:lnTo>
                    <a:pt x="173" y="376"/>
                  </a:lnTo>
                  <a:lnTo>
                    <a:pt x="171" y="376"/>
                  </a:lnTo>
                  <a:lnTo>
                    <a:pt x="171" y="378"/>
                  </a:lnTo>
                  <a:lnTo>
                    <a:pt x="171" y="380"/>
                  </a:lnTo>
                  <a:lnTo>
                    <a:pt x="171" y="382"/>
                  </a:lnTo>
                  <a:lnTo>
                    <a:pt x="169" y="382"/>
                  </a:lnTo>
                  <a:lnTo>
                    <a:pt x="169" y="384"/>
                  </a:lnTo>
                  <a:lnTo>
                    <a:pt x="169" y="382"/>
                  </a:lnTo>
                  <a:lnTo>
                    <a:pt x="169" y="384"/>
                  </a:lnTo>
                  <a:lnTo>
                    <a:pt x="169" y="386"/>
                  </a:lnTo>
                  <a:lnTo>
                    <a:pt x="171" y="386"/>
                  </a:lnTo>
                  <a:lnTo>
                    <a:pt x="171" y="388"/>
                  </a:lnTo>
                  <a:lnTo>
                    <a:pt x="169" y="388"/>
                  </a:lnTo>
                  <a:lnTo>
                    <a:pt x="171" y="388"/>
                  </a:lnTo>
                  <a:lnTo>
                    <a:pt x="171" y="390"/>
                  </a:lnTo>
                  <a:lnTo>
                    <a:pt x="171" y="392"/>
                  </a:lnTo>
                  <a:lnTo>
                    <a:pt x="171" y="394"/>
                  </a:lnTo>
                  <a:lnTo>
                    <a:pt x="171" y="395"/>
                  </a:lnTo>
                  <a:lnTo>
                    <a:pt x="171" y="397"/>
                  </a:lnTo>
                  <a:lnTo>
                    <a:pt x="171" y="399"/>
                  </a:lnTo>
                  <a:lnTo>
                    <a:pt x="171" y="401"/>
                  </a:lnTo>
                  <a:lnTo>
                    <a:pt x="171" y="403"/>
                  </a:lnTo>
                  <a:lnTo>
                    <a:pt x="171" y="405"/>
                  </a:lnTo>
                  <a:lnTo>
                    <a:pt x="169" y="405"/>
                  </a:lnTo>
                  <a:lnTo>
                    <a:pt x="169" y="403"/>
                  </a:lnTo>
                  <a:lnTo>
                    <a:pt x="167" y="403"/>
                  </a:lnTo>
                  <a:lnTo>
                    <a:pt x="165" y="403"/>
                  </a:lnTo>
                  <a:lnTo>
                    <a:pt x="167" y="403"/>
                  </a:lnTo>
                  <a:lnTo>
                    <a:pt x="165" y="403"/>
                  </a:lnTo>
                  <a:lnTo>
                    <a:pt x="163" y="403"/>
                  </a:lnTo>
                  <a:lnTo>
                    <a:pt x="163" y="405"/>
                  </a:lnTo>
                  <a:lnTo>
                    <a:pt x="163" y="403"/>
                  </a:lnTo>
                  <a:lnTo>
                    <a:pt x="163" y="405"/>
                  </a:lnTo>
                  <a:lnTo>
                    <a:pt x="163" y="403"/>
                  </a:lnTo>
                  <a:lnTo>
                    <a:pt x="163" y="405"/>
                  </a:lnTo>
                  <a:lnTo>
                    <a:pt x="163" y="403"/>
                  </a:lnTo>
                  <a:lnTo>
                    <a:pt x="163" y="405"/>
                  </a:lnTo>
                  <a:lnTo>
                    <a:pt x="163" y="403"/>
                  </a:lnTo>
                  <a:lnTo>
                    <a:pt x="163" y="405"/>
                  </a:lnTo>
                  <a:lnTo>
                    <a:pt x="161" y="405"/>
                  </a:lnTo>
                  <a:lnTo>
                    <a:pt x="163" y="405"/>
                  </a:lnTo>
                  <a:lnTo>
                    <a:pt x="161" y="405"/>
                  </a:lnTo>
                  <a:lnTo>
                    <a:pt x="161" y="407"/>
                  </a:lnTo>
                  <a:lnTo>
                    <a:pt x="161" y="409"/>
                  </a:lnTo>
                  <a:lnTo>
                    <a:pt x="159" y="409"/>
                  </a:lnTo>
                  <a:lnTo>
                    <a:pt x="159" y="411"/>
                  </a:lnTo>
                  <a:lnTo>
                    <a:pt x="159" y="413"/>
                  </a:lnTo>
                  <a:lnTo>
                    <a:pt x="158" y="413"/>
                  </a:lnTo>
                  <a:lnTo>
                    <a:pt x="158" y="415"/>
                  </a:lnTo>
                  <a:lnTo>
                    <a:pt x="158" y="417"/>
                  </a:lnTo>
                  <a:lnTo>
                    <a:pt x="158" y="418"/>
                  </a:lnTo>
                  <a:lnTo>
                    <a:pt x="159" y="418"/>
                  </a:lnTo>
                  <a:lnTo>
                    <a:pt x="161" y="418"/>
                  </a:lnTo>
                  <a:lnTo>
                    <a:pt x="163" y="418"/>
                  </a:lnTo>
                  <a:lnTo>
                    <a:pt x="163" y="420"/>
                  </a:lnTo>
                  <a:lnTo>
                    <a:pt x="165" y="420"/>
                  </a:lnTo>
                  <a:lnTo>
                    <a:pt x="163" y="420"/>
                  </a:lnTo>
                  <a:lnTo>
                    <a:pt x="163" y="418"/>
                  </a:lnTo>
                  <a:lnTo>
                    <a:pt x="161" y="418"/>
                  </a:lnTo>
                  <a:lnTo>
                    <a:pt x="161" y="420"/>
                  </a:lnTo>
                  <a:lnTo>
                    <a:pt x="161" y="418"/>
                  </a:lnTo>
                  <a:lnTo>
                    <a:pt x="159" y="418"/>
                  </a:lnTo>
                  <a:lnTo>
                    <a:pt x="158" y="418"/>
                  </a:lnTo>
                  <a:lnTo>
                    <a:pt x="158" y="420"/>
                  </a:lnTo>
                  <a:lnTo>
                    <a:pt x="158" y="418"/>
                  </a:lnTo>
                  <a:lnTo>
                    <a:pt x="156" y="418"/>
                  </a:lnTo>
                  <a:lnTo>
                    <a:pt x="156" y="420"/>
                  </a:lnTo>
                  <a:lnTo>
                    <a:pt x="154" y="420"/>
                  </a:lnTo>
                  <a:lnTo>
                    <a:pt x="152" y="420"/>
                  </a:lnTo>
                  <a:lnTo>
                    <a:pt x="150" y="420"/>
                  </a:lnTo>
                  <a:lnTo>
                    <a:pt x="150" y="422"/>
                  </a:lnTo>
                  <a:lnTo>
                    <a:pt x="148" y="422"/>
                  </a:lnTo>
                  <a:lnTo>
                    <a:pt x="148" y="424"/>
                  </a:lnTo>
                  <a:lnTo>
                    <a:pt x="146" y="424"/>
                  </a:lnTo>
                  <a:lnTo>
                    <a:pt x="146" y="426"/>
                  </a:lnTo>
                  <a:lnTo>
                    <a:pt x="148" y="426"/>
                  </a:lnTo>
                  <a:lnTo>
                    <a:pt x="146" y="426"/>
                  </a:lnTo>
                  <a:lnTo>
                    <a:pt x="148" y="426"/>
                  </a:lnTo>
                  <a:lnTo>
                    <a:pt x="146" y="426"/>
                  </a:lnTo>
                  <a:lnTo>
                    <a:pt x="146" y="428"/>
                  </a:lnTo>
                  <a:lnTo>
                    <a:pt x="146" y="430"/>
                  </a:lnTo>
                  <a:lnTo>
                    <a:pt x="146" y="432"/>
                  </a:lnTo>
                  <a:lnTo>
                    <a:pt x="144" y="432"/>
                  </a:lnTo>
                  <a:lnTo>
                    <a:pt x="144" y="434"/>
                  </a:lnTo>
                  <a:lnTo>
                    <a:pt x="142" y="434"/>
                  </a:lnTo>
                  <a:lnTo>
                    <a:pt x="144" y="434"/>
                  </a:lnTo>
                  <a:lnTo>
                    <a:pt x="142" y="434"/>
                  </a:lnTo>
                  <a:lnTo>
                    <a:pt x="140" y="434"/>
                  </a:lnTo>
                  <a:lnTo>
                    <a:pt x="140" y="436"/>
                  </a:lnTo>
                  <a:lnTo>
                    <a:pt x="138" y="436"/>
                  </a:lnTo>
                  <a:lnTo>
                    <a:pt x="136" y="436"/>
                  </a:lnTo>
                  <a:lnTo>
                    <a:pt x="136" y="438"/>
                  </a:lnTo>
                  <a:lnTo>
                    <a:pt x="136" y="436"/>
                  </a:lnTo>
                  <a:lnTo>
                    <a:pt x="136" y="438"/>
                  </a:lnTo>
                  <a:lnTo>
                    <a:pt x="136" y="436"/>
                  </a:lnTo>
                  <a:lnTo>
                    <a:pt x="135" y="436"/>
                  </a:lnTo>
                  <a:lnTo>
                    <a:pt x="133" y="436"/>
                  </a:lnTo>
                  <a:lnTo>
                    <a:pt x="135" y="436"/>
                  </a:lnTo>
                  <a:lnTo>
                    <a:pt x="133" y="436"/>
                  </a:lnTo>
                  <a:lnTo>
                    <a:pt x="135" y="436"/>
                  </a:lnTo>
                  <a:lnTo>
                    <a:pt x="133" y="436"/>
                  </a:lnTo>
                  <a:lnTo>
                    <a:pt x="133" y="434"/>
                  </a:lnTo>
                  <a:lnTo>
                    <a:pt x="131" y="434"/>
                  </a:lnTo>
                  <a:lnTo>
                    <a:pt x="129" y="434"/>
                  </a:lnTo>
                  <a:lnTo>
                    <a:pt x="129" y="432"/>
                  </a:lnTo>
                  <a:lnTo>
                    <a:pt x="129" y="430"/>
                  </a:lnTo>
                  <a:lnTo>
                    <a:pt x="127" y="430"/>
                  </a:lnTo>
                  <a:lnTo>
                    <a:pt x="127" y="428"/>
                  </a:lnTo>
                  <a:lnTo>
                    <a:pt x="125" y="428"/>
                  </a:lnTo>
                  <a:lnTo>
                    <a:pt x="125" y="426"/>
                  </a:lnTo>
                  <a:lnTo>
                    <a:pt x="123" y="426"/>
                  </a:lnTo>
                  <a:lnTo>
                    <a:pt x="123" y="424"/>
                  </a:lnTo>
                  <a:lnTo>
                    <a:pt x="125" y="424"/>
                  </a:lnTo>
                  <a:lnTo>
                    <a:pt x="123" y="424"/>
                  </a:lnTo>
                  <a:lnTo>
                    <a:pt x="125" y="424"/>
                  </a:lnTo>
                  <a:lnTo>
                    <a:pt x="123" y="424"/>
                  </a:lnTo>
                  <a:lnTo>
                    <a:pt x="125" y="424"/>
                  </a:lnTo>
                  <a:lnTo>
                    <a:pt x="125" y="422"/>
                  </a:lnTo>
                  <a:lnTo>
                    <a:pt x="125" y="424"/>
                  </a:lnTo>
                  <a:lnTo>
                    <a:pt x="123" y="424"/>
                  </a:lnTo>
                  <a:lnTo>
                    <a:pt x="123" y="422"/>
                  </a:lnTo>
                  <a:lnTo>
                    <a:pt x="123" y="424"/>
                  </a:lnTo>
                  <a:lnTo>
                    <a:pt x="123" y="422"/>
                  </a:lnTo>
                  <a:lnTo>
                    <a:pt x="123" y="424"/>
                  </a:lnTo>
                  <a:lnTo>
                    <a:pt x="123" y="422"/>
                  </a:lnTo>
                  <a:lnTo>
                    <a:pt x="121" y="422"/>
                  </a:lnTo>
                  <a:lnTo>
                    <a:pt x="121" y="420"/>
                  </a:lnTo>
                  <a:lnTo>
                    <a:pt x="121" y="418"/>
                  </a:lnTo>
                  <a:lnTo>
                    <a:pt x="119" y="418"/>
                  </a:lnTo>
                  <a:lnTo>
                    <a:pt x="119" y="417"/>
                  </a:lnTo>
                  <a:lnTo>
                    <a:pt x="119" y="415"/>
                  </a:lnTo>
                  <a:lnTo>
                    <a:pt x="119" y="413"/>
                  </a:lnTo>
                  <a:lnTo>
                    <a:pt x="119" y="411"/>
                  </a:lnTo>
                  <a:lnTo>
                    <a:pt x="119" y="409"/>
                  </a:lnTo>
                  <a:lnTo>
                    <a:pt x="117" y="409"/>
                  </a:lnTo>
                  <a:lnTo>
                    <a:pt x="117" y="407"/>
                  </a:lnTo>
                  <a:lnTo>
                    <a:pt x="117" y="405"/>
                  </a:lnTo>
                  <a:lnTo>
                    <a:pt x="117" y="403"/>
                  </a:lnTo>
                  <a:lnTo>
                    <a:pt x="115" y="403"/>
                  </a:lnTo>
                  <a:lnTo>
                    <a:pt x="115" y="401"/>
                  </a:lnTo>
                  <a:lnTo>
                    <a:pt x="115" y="399"/>
                  </a:lnTo>
                  <a:lnTo>
                    <a:pt x="115" y="401"/>
                  </a:lnTo>
                  <a:lnTo>
                    <a:pt x="115" y="399"/>
                  </a:lnTo>
                  <a:lnTo>
                    <a:pt x="115" y="401"/>
                  </a:lnTo>
                  <a:lnTo>
                    <a:pt x="115" y="399"/>
                  </a:lnTo>
                  <a:lnTo>
                    <a:pt x="113" y="399"/>
                  </a:lnTo>
                  <a:lnTo>
                    <a:pt x="113" y="397"/>
                  </a:lnTo>
                  <a:lnTo>
                    <a:pt x="113" y="395"/>
                  </a:lnTo>
                  <a:lnTo>
                    <a:pt x="113" y="397"/>
                  </a:lnTo>
                  <a:lnTo>
                    <a:pt x="113" y="395"/>
                  </a:lnTo>
                  <a:lnTo>
                    <a:pt x="113" y="397"/>
                  </a:lnTo>
                  <a:lnTo>
                    <a:pt x="113" y="395"/>
                  </a:lnTo>
                  <a:lnTo>
                    <a:pt x="113" y="394"/>
                  </a:lnTo>
                  <a:lnTo>
                    <a:pt x="112" y="394"/>
                  </a:lnTo>
                  <a:lnTo>
                    <a:pt x="112" y="392"/>
                  </a:lnTo>
                  <a:lnTo>
                    <a:pt x="112" y="390"/>
                  </a:lnTo>
                  <a:lnTo>
                    <a:pt x="112" y="388"/>
                  </a:lnTo>
                  <a:lnTo>
                    <a:pt x="110" y="388"/>
                  </a:lnTo>
                  <a:lnTo>
                    <a:pt x="110" y="386"/>
                  </a:lnTo>
                  <a:lnTo>
                    <a:pt x="108" y="386"/>
                  </a:lnTo>
                  <a:lnTo>
                    <a:pt x="108" y="384"/>
                  </a:lnTo>
                  <a:lnTo>
                    <a:pt x="108" y="382"/>
                  </a:lnTo>
                  <a:lnTo>
                    <a:pt x="106" y="382"/>
                  </a:lnTo>
                  <a:lnTo>
                    <a:pt x="106" y="380"/>
                  </a:lnTo>
                  <a:lnTo>
                    <a:pt x="104" y="380"/>
                  </a:lnTo>
                  <a:lnTo>
                    <a:pt x="106" y="380"/>
                  </a:lnTo>
                  <a:lnTo>
                    <a:pt x="104" y="380"/>
                  </a:lnTo>
                  <a:lnTo>
                    <a:pt x="104" y="378"/>
                  </a:lnTo>
                  <a:lnTo>
                    <a:pt x="104" y="380"/>
                  </a:lnTo>
                  <a:lnTo>
                    <a:pt x="104" y="378"/>
                  </a:lnTo>
                  <a:lnTo>
                    <a:pt x="104" y="380"/>
                  </a:lnTo>
                  <a:lnTo>
                    <a:pt x="104" y="378"/>
                  </a:lnTo>
                  <a:lnTo>
                    <a:pt x="102" y="378"/>
                  </a:lnTo>
                  <a:lnTo>
                    <a:pt x="102" y="376"/>
                  </a:lnTo>
                  <a:lnTo>
                    <a:pt x="102" y="374"/>
                  </a:lnTo>
                  <a:lnTo>
                    <a:pt x="100" y="374"/>
                  </a:lnTo>
                  <a:lnTo>
                    <a:pt x="100" y="372"/>
                  </a:lnTo>
                  <a:lnTo>
                    <a:pt x="100" y="370"/>
                  </a:lnTo>
                  <a:lnTo>
                    <a:pt x="98" y="370"/>
                  </a:lnTo>
                  <a:lnTo>
                    <a:pt x="98" y="369"/>
                  </a:lnTo>
                  <a:lnTo>
                    <a:pt x="98" y="370"/>
                  </a:lnTo>
                  <a:lnTo>
                    <a:pt x="98" y="369"/>
                  </a:lnTo>
                  <a:lnTo>
                    <a:pt x="98" y="367"/>
                  </a:lnTo>
                  <a:lnTo>
                    <a:pt x="98" y="365"/>
                  </a:lnTo>
                  <a:lnTo>
                    <a:pt x="96" y="365"/>
                  </a:lnTo>
                  <a:lnTo>
                    <a:pt x="98" y="365"/>
                  </a:lnTo>
                  <a:lnTo>
                    <a:pt x="96" y="365"/>
                  </a:lnTo>
                  <a:lnTo>
                    <a:pt x="96" y="363"/>
                  </a:lnTo>
                  <a:lnTo>
                    <a:pt x="96" y="361"/>
                  </a:lnTo>
                  <a:lnTo>
                    <a:pt x="96" y="359"/>
                  </a:lnTo>
                  <a:lnTo>
                    <a:pt x="96" y="357"/>
                  </a:lnTo>
                  <a:lnTo>
                    <a:pt x="96" y="355"/>
                  </a:lnTo>
                  <a:lnTo>
                    <a:pt x="94" y="355"/>
                  </a:lnTo>
                  <a:lnTo>
                    <a:pt x="94" y="353"/>
                  </a:lnTo>
                  <a:lnTo>
                    <a:pt x="94" y="355"/>
                  </a:lnTo>
                  <a:lnTo>
                    <a:pt x="96" y="355"/>
                  </a:lnTo>
                  <a:lnTo>
                    <a:pt x="94" y="355"/>
                  </a:lnTo>
                  <a:lnTo>
                    <a:pt x="94" y="353"/>
                  </a:lnTo>
                  <a:lnTo>
                    <a:pt x="96" y="353"/>
                  </a:lnTo>
                  <a:lnTo>
                    <a:pt x="96" y="355"/>
                  </a:lnTo>
                  <a:lnTo>
                    <a:pt x="96" y="353"/>
                  </a:lnTo>
                  <a:lnTo>
                    <a:pt x="94" y="353"/>
                  </a:lnTo>
                  <a:lnTo>
                    <a:pt x="94" y="351"/>
                  </a:lnTo>
                  <a:lnTo>
                    <a:pt x="94" y="349"/>
                  </a:lnTo>
                  <a:lnTo>
                    <a:pt x="92" y="349"/>
                  </a:lnTo>
                  <a:lnTo>
                    <a:pt x="94" y="349"/>
                  </a:lnTo>
                  <a:lnTo>
                    <a:pt x="92" y="349"/>
                  </a:lnTo>
                  <a:lnTo>
                    <a:pt x="92" y="347"/>
                  </a:lnTo>
                  <a:lnTo>
                    <a:pt x="92" y="345"/>
                  </a:lnTo>
                  <a:lnTo>
                    <a:pt x="92" y="344"/>
                  </a:lnTo>
                  <a:lnTo>
                    <a:pt x="90" y="344"/>
                  </a:lnTo>
                  <a:lnTo>
                    <a:pt x="90" y="342"/>
                  </a:lnTo>
                  <a:lnTo>
                    <a:pt x="90" y="340"/>
                  </a:lnTo>
                  <a:lnTo>
                    <a:pt x="90" y="342"/>
                  </a:lnTo>
                  <a:lnTo>
                    <a:pt x="90" y="340"/>
                  </a:lnTo>
                  <a:lnTo>
                    <a:pt x="90" y="342"/>
                  </a:lnTo>
                  <a:lnTo>
                    <a:pt x="90" y="340"/>
                  </a:lnTo>
                  <a:lnTo>
                    <a:pt x="88" y="340"/>
                  </a:lnTo>
                  <a:lnTo>
                    <a:pt x="88" y="338"/>
                  </a:lnTo>
                  <a:lnTo>
                    <a:pt x="87" y="338"/>
                  </a:lnTo>
                  <a:lnTo>
                    <a:pt x="88" y="338"/>
                  </a:lnTo>
                  <a:lnTo>
                    <a:pt x="87" y="338"/>
                  </a:lnTo>
                  <a:lnTo>
                    <a:pt x="87" y="336"/>
                  </a:lnTo>
                  <a:lnTo>
                    <a:pt x="87" y="338"/>
                  </a:lnTo>
                  <a:lnTo>
                    <a:pt x="87" y="336"/>
                  </a:lnTo>
                  <a:lnTo>
                    <a:pt x="87" y="334"/>
                  </a:lnTo>
                  <a:lnTo>
                    <a:pt x="85" y="334"/>
                  </a:lnTo>
                  <a:lnTo>
                    <a:pt x="85" y="332"/>
                  </a:lnTo>
                  <a:lnTo>
                    <a:pt x="85" y="330"/>
                  </a:lnTo>
                  <a:lnTo>
                    <a:pt x="85" y="328"/>
                  </a:lnTo>
                  <a:lnTo>
                    <a:pt x="83" y="328"/>
                  </a:lnTo>
                  <a:lnTo>
                    <a:pt x="83" y="326"/>
                  </a:lnTo>
                  <a:lnTo>
                    <a:pt x="83" y="328"/>
                  </a:lnTo>
                  <a:lnTo>
                    <a:pt x="83" y="326"/>
                  </a:lnTo>
                  <a:lnTo>
                    <a:pt x="83" y="328"/>
                  </a:lnTo>
                  <a:lnTo>
                    <a:pt x="83" y="326"/>
                  </a:lnTo>
                  <a:lnTo>
                    <a:pt x="83" y="328"/>
                  </a:lnTo>
                  <a:lnTo>
                    <a:pt x="83" y="326"/>
                  </a:lnTo>
                  <a:lnTo>
                    <a:pt x="85" y="326"/>
                  </a:lnTo>
                  <a:lnTo>
                    <a:pt x="83" y="326"/>
                  </a:lnTo>
                  <a:lnTo>
                    <a:pt x="81" y="326"/>
                  </a:lnTo>
                  <a:lnTo>
                    <a:pt x="81" y="324"/>
                  </a:lnTo>
                  <a:lnTo>
                    <a:pt x="81" y="322"/>
                  </a:lnTo>
                  <a:lnTo>
                    <a:pt x="81" y="321"/>
                  </a:lnTo>
                  <a:lnTo>
                    <a:pt x="79" y="321"/>
                  </a:lnTo>
                  <a:lnTo>
                    <a:pt x="79" y="319"/>
                  </a:lnTo>
                  <a:lnTo>
                    <a:pt x="77" y="319"/>
                  </a:lnTo>
                  <a:lnTo>
                    <a:pt x="79" y="319"/>
                  </a:lnTo>
                  <a:lnTo>
                    <a:pt x="77" y="319"/>
                  </a:lnTo>
                  <a:lnTo>
                    <a:pt x="77" y="317"/>
                  </a:lnTo>
                  <a:lnTo>
                    <a:pt x="77" y="315"/>
                  </a:lnTo>
                  <a:lnTo>
                    <a:pt x="77" y="313"/>
                  </a:lnTo>
                  <a:lnTo>
                    <a:pt x="75" y="313"/>
                  </a:lnTo>
                  <a:lnTo>
                    <a:pt x="77" y="313"/>
                  </a:lnTo>
                  <a:lnTo>
                    <a:pt x="75" y="313"/>
                  </a:lnTo>
                  <a:lnTo>
                    <a:pt x="77" y="313"/>
                  </a:lnTo>
                  <a:lnTo>
                    <a:pt x="75" y="313"/>
                  </a:lnTo>
                  <a:lnTo>
                    <a:pt x="75" y="311"/>
                  </a:lnTo>
                  <a:lnTo>
                    <a:pt x="75" y="309"/>
                  </a:lnTo>
                  <a:lnTo>
                    <a:pt x="75" y="311"/>
                  </a:lnTo>
                  <a:lnTo>
                    <a:pt x="75" y="309"/>
                  </a:lnTo>
                  <a:lnTo>
                    <a:pt x="75" y="311"/>
                  </a:lnTo>
                  <a:lnTo>
                    <a:pt x="75" y="309"/>
                  </a:lnTo>
                  <a:lnTo>
                    <a:pt x="77" y="309"/>
                  </a:lnTo>
                  <a:lnTo>
                    <a:pt x="75" y="309"/>
                  </a:lnTo>
                  <a:lnTo>
                    <a:pt x="75" y="307"/>
                  </a:lnTo>
                  <a:lnTo>
                    <a:pt x="75" y="305"/>
                  </a:lnTo>
                  <a:lnTo>
                    <a:pt x="75" y="303"/>
                  </a:lnTo>
                  <a:lnTo>
                    <a:pt x="75" y="301"/>
                  </a:lnTo>
                  <a:lnTo>
                    <a:pt x="75" y="303"/>
                  </a:lnTo>
                  <a:lnTo>
                    <a:pt x="75" y="301"/>
                  </a:lnTo>
                  <a:lnTo>
                    <a:pt x="75" y="299"/>
                  </a:lnTo>
                  <a:lnTo>
                    <a:pt x="73" y="299"/>
                  </a:lnTo>
                  <a:lnTo>
                    <a:pt x="75" y="299"/>
                  </a:lnTo>
                  <a:lnTo>
                    <a:pt x="73" y="299"/>
                  </a:lnTo>
                  <a:lnTo>
                    <a:pt x="73" y="297"/>
                  </a:lnTo>
                  <a:lnTo>
                    <a:pt x="75" y="297"/>
                  </a:lnTo>
                  <a:lnTo>
                    <a:pt x="73" y="297"/>
                  </a:lnTo>
                  <a:lnTo>
                    <a:pt x="73" y="296"/>
                  </a:lnTo>
                  <a:lnTo>
                    <a:pt x="73" y="294"/>
                  </a:lnTo>
                  <a:lnTo>
                    <a:pt x="73" y="292"/>
                  </a:lnTo>
                  <a:lnTo>
                    <a:pt x="73" y="290"/>
                  </a:lnTo>
                  <a:lnTo>
                    <a:pt x="71" y="290"/>
                  </a:lnTo>
                  <a:lnTo>
                    <a:pt x="71" y="288"/>
                  </a:lnTo>
                  <a:lnTo>
                    <a:pt x="71" y="286"/>
                  </a:lnTo>
                  <a:lnTo>
                    <a:pt x="69" y="286"/>
                  </a:lnTo>
                  <a:lnTo>
                    <a:pt x="71" y="286"/>
                  </a:lnTo>
                  <a:lnTo>
                    <a:pt x="71" y="284"/>
                  </a:lnTo>
                  <a:lnTo>
                    <a:pt x="69" y="284"/>
                  </a:lnTo>
                  <a:lnTo>
                    <a:pt x="71" y="284"/>
                  </a:lnTo>
                  <a:lnTo>
                    <a:pt x="71" y="282"/>
                  </a:lnTo>
                  <a:lnTo>
                    <a:pt x="69" y="282"/>
                  </a:lnTo>
                  <a:lnTo>
                    <a:pt x="69" y="280"/>
                  </a:lnTo>
                  <a:lnTo>
                    <a:pt x="69" y="278"/>
                  </a:lnTo>
                  <a:lnTo>
                    <a:pt x="69" y="280"/>
                  </a:lnTo>
                  <a:lnTo>
                    <a:pt x="69" y="278"/>
                  </a:lnTo>
                  <a:lnTo>
                    <a:pt x="69" y="276"/>
                  </a:lnTo>
                  <a:lnTo>
                    <a:pt x="69" y="274"/>
                  </a:lnTo>
                  <a:lnTo>
                    <a:pt x="71" y="276"/>
                  </a:lnTo>
                  <a:lnTo>
                    <a:pt x="71" y="274"/>
                  </a:lnTo>
                  <a:lnTo>
                    <a:pt x="69" y="274"/>
                  </a:lnTo>
                  <a:lnTo>
                    <a:pt x="69" y="273"/>
                  </a:lnTo>
                  <a:lnTo>
                    <a:pt x="69" y="274"/>
                  </a:lnTo>
                  <a:lnTo>
                    <a:pt x="69" y="273"/>
                  </a:lnTo>
                  <a:lnTo>
                    <a:pt x="69" y="274"/>
                  </a:lnTo>
                  <a:lnTo>
                    <a:pt x="69" y="273"/>
                  </a:lnTo>
                  <a:lnTo>
                    <a:pt x="69" y="274"/>
                  </a:lnTo>
                  <a:lnTo>
                    <a:pt x="69" y="273"/>
                  </a:lnTo>
                  <a:lnTo>
                    <a:pt x="71" y="273"/>
                  </a:lnTo>
                  <a:lnTo>
                    <a:pt x="69" y="273"/>
                  </a:lnTo>
                  <a:lnTo>
                    <a:pt x="71" y="273"/>
                  </a:lnTo>
                  <a:lnTo>
                    <a:pt x="71" y="271"/>
                  </a:lnTo>
                  <a:lnTo>
                    <a:pt x="69" y="271"/>
                  </a:lnTo>
                  <a:lnTo>
                    <a:pt x="69" y="273"/>
                  </a:lnTo>
                  <a:lnTo>
                    <a:pt x="67" y="273"/>
                  </a:lnTo>
                  <a:lnTo>
                    <a:pt x="69" y="273"/>
                  </a:lnTo>
                  <a:lnTo>
                    <a:pt x="67" y="273"/>
                  </a:lnTo>
                  <a:lnTo>
                    <a:pt x="67" y="274"/>
                  </a:lnTo>
                  <a:lnTo>
                    <a:pt x="67" y="273"/>
                  </a:lnTo>
                  <a:lnTo>
                    <a:pt x="67" y="274"/>
                  </a:lnTo>
                  <a:lnTo>
                    <a:pt x="67" y="273"/>
                  </a:lnTo>
                  <a:lnTo>
                    <a:pt x="67" y="271"/>
                  </a:lnTo>
                  <a:lnTo>
                    <a:pt x="67" y="269"/>
                  </a:lnTo>
                  <a:lnTo>
                    <a:pt x="67" y="267"/>
                  </a:lnTo>
                  <a:lnTo>
                    <a:pt x="69" y="267"/>
                  </a:lnTo>
                  <a:lnTo>
                    <a:pt x="67" y="267"/>
                  </a:lnTo>
                  <a:lnTo>
                    <a:pt x="67" y="265"/>
                  </a:lnTo>
                  <a:lnTo>
                    <a:pt x="67" y="263"/>
                  </a:lnTo>
                  <a:lnTo>
                    <a:pt x="65" y="263"/>
                  </a:lnTo>
                  <a:lnTo>
                    <a:pt x="67" y="263"/>
                  </a:lnTo>
                  <a:lnTo>
                    <a:pt x="65" y="263"/>
                  </a:lnTo>
                  <a:lnTo>
                    <a:pt x="65" y="261"/>
                  </a:lnTo>
                  <a:lnTo>
                    <a:pt x="67" y="261"/>
                  </a:lnTo>
                  <a:lnTo>
                    <a:pt x="65" y="261"/>
                  </a:lnTo>
                  <a:lnTo>
                    <a:pt x="65" y="259"/>
                  </a:lnTo>
                  <a:lnTo>
                    <a:pt x="65" y="257"/>
                  </a:lnTo>
                  <a:lnTo>
                    <a:pt x="67" y="257"/>
                  </a:lnTo>
                  <a:lnTo>
                    <a:pt x="67" y="255"/>
                  </a:lnTo>
                  <a:lnTo>
                    <a:pt x="65" y="255"/>
                  </a:lnTo>
                  <a:lnTo>
                    <a:pt x="67" y="255"/>
                  </a:lnTo>
                  <a:lnTo>
                    <a:pt x="67" y="253"/>
                  </a:lnTo>
                  <a:lnTo>
                    <a:pt x="67" y="251"/>
                  </a:lnTo>
                  <a:lnTo>
                    <a:pt x="67" y="249"/>
                  </a:lnTo>
                  <a:lnTo>
                    <a:pt x="69" y="249"/>
                  </a:lnTo>
                  <a:lnTo>
                    <a:pt x="69" y="248"/>
                  </a:lnTo>
                  <a:lnTo>
                    <a:pt x="69" y="246"/>
                  </a:lnTo>
                  <a:lnTo>
                    <a:pt x="69" y="244"/>
                  </a:lnTo>
                  <a:lnTo>
                    <a:pt x="67" y="244"/>
                  </a:lnTo>
                  <a:lnTo>
                    <a:pt x="69" y="244"/>
                  </a:lnTo>
                  <a:lnTo>
                    <a:pt x="67" y="244"/>
                  </a:lnTo>
                  <a:lnTo>
                    <a:pt x="67" y="242"/>
                  </a:lnTo>
                  <a:lnTo>
                    <a:pt x="67" y="240"/>
                  </a:lnTo>
                  <a:lnTo>
                    <a:pt x="65" y="240"/>
                  </a:lnTo>
                  <a:lnTo>
                    <a:pt x="65" y="238"/>
                  </a:lnTo>
                  <a:lnTo>
                    <a:pt x="65" y="240"/>
                  </a:lnTo>
                  <a:lnTo>
                    <a:pt x="65" y="238"/>
                  </a:lnTo>
                  <a:lnTo>
                    <a:pt x="65" y="240"/>
                  </a:lnTo>
                  <a:lnTo>
                    <a:pt x="65" y="238"/>
                  </a:lnTo>
                  <a:lnTo>
                    <a:pt x="65" y="236"/>
                  </a:lnTo>
                  <a:lnTo>
                    <a:pt x="64" y="236"/>
                  </a:lnTo>
                  <a:lnTo>
                    <a:pt x="65" y="236"/>
                  </a:lnTo>
                  <a:lnTo>
                    <a:pt x="65" y="234"/>
                  </a:lnTo>
                  <a:lnTo>
                    <a:pt x="65" y="232"/>
                  </a:lnTo>
                  <a:lnTo>
                    <a:pt x="65" y="230"/>
                  </a:lnTo>
                  <a:lnTo>
                    <a:pt x="67" y="230"/>
                  </a:lnTo>
                  <a:lnTo>
                    <a:pt x="65" y="230"/>
                  </a:lnTo>
                  <a:lnTo>
                    <a:pt x="64" y="230"/>
                  </a:lnTo>
                  <a:lnTo>
                    <a:pt x="64" y="228"/>
                  </a:lnTo>
                  <a:lnTo>
                    <a:pt x="64" y="226"/>
                  </a:lnTo>
                  <a:lnTo>
                    <a:pt x="64" y="224"/>
                  </a:lnTo>
                  <a:lnTo>
                    <a:pt x="62" y="224"/>
                  </a:lnTo>
                  <a:lnTo>
                    <a:pt x="62" y="223"/>
                  </a:lnTo>
                  <a:lnTo>
                    <a:pt x="62" y="224"/>
                  </a:lnTo>
                  <a:lnTo>
                    <a:pt x="62" y="223"/>
                  </a:lnTo>
                  <a:lnTo>
                    <a:pt x="60" y="223"/>
                  </a:lnTo>
                  <a:lnTo>
                    <a:pt x="60" y="224"/>
                  </a:lnTo>
                  <a:lnTo>
                    <a:pt x="60" y="226"/>
                  </a:lnTo>
                  <a:lnTo>
                    <a:pt x="60" y="228"/>
                  </a:lnTo>
                  <a:lnTo>
                    <a:pt x="60" y="230"/>
                  </a:lnTo>
                  <a:lnTo>
                    <a:pt x="60" y="228"/>
                  </a:lnTo>
                  <a:lnTo>
                    <a:pt x="60" y="230"/>
                  </a:lnTo>
                  <a:lnTo>
                    <a:pt x="60" y="232"/>
                  </a:lnTo>
                  <a:lnTo>
                    <a:pt x="60" y="234"/>
                  </a:lnTo>
                  <a:lnTo>
                    <a:pt x="58" y="234"/>
                  </a:lnTo>
                  <a:lnTo>
                    <a:pt x="58" y="236"/>
                  </a:lnTo>
                  <a:lnTo>
                    <a:pt x="58" y="238"/>
                  </a:lnTo>
                  <a:lnTo>
                    <a:pt x="58" y="236"/>
                  </a:lnTo>
                  <a:lnTo>
                    <a:pt x="58" y="238"/>
                  </a:lnTo>
                  <a:lnTo>
                    <a:pt x="56" y="238"/>
                  </a:lnTo>
                  <a:lnTo>
                    <a:pt x="56" y="240"/>
                  </a:lnTo>
                  <a:lnTo>
                    <a:pt x="54" y="240"/>
                  </a:lnTo>
                  <a:lnTo>
                    <a:pt x="52" y="240"/>
                  </a:lnTo>
                  <a:lnTo>
                    <a:pt x="52" y="242"/>
                  </a:lnTo>
                  <a:lnTo>
                    <a:pt x="50" y="242"/>
                  </a:lnTo>
                  <a:lnTo>
                    <a:pt x="48" y="242"/>
                  </a:lnTo>
                  <a:lnTo>
                    <a:pt x="48" y="244"/>
                  </a:lnTo>
                  <a:lnTo>
                    <a:pt x="46" y="244"/>
                  </a:lnTo>
                  <a:lnTo>
                    <a:pt x="44" y="244"/>
                  </a:lnTo>
                  <a:lnTo>
                    <a:pt x="44" y="246"/>
                  </a:lnTo>
                  <a:lnTo>
                    <a:pt x="42" y="246"/>
                  </a:lnTo>
                  <a:lnTo>
                    <a:pt x="41" y="246"/>
                  </a:lnTo>
                  <a:lnTo>
                    <a:pt x="39" y="246"/>
                  </a:lnTo>
                  <a:lnTo>
                    <a:pt x="37" y="246"/>
                  </a:lnTo>
                  <a:lnTo>
                    <a:pt x="37" y="244"/>
                  </a:lnTo>
                  <a:lnTo>
                    <a:pt x="37" y="246"/>
                  </a:lnTo>
                  <a:lnTo>
                    <a:pt x="37" y="244"/>
                  </a:lnTo>
                  <a:lnTo>
                    <a:pt x="35" y="244"/>
                  </a:lnTo>
                  <a:lnTo>
                    <a:pt x="37" y="244"/>
                  </a:lnTo>
                  <a:lnTo>
                    <a:pt x="35" y="244"/>
                  </a:lnTo>
                  <a:lnTo>
                    <a:pt x="33" y="244"/>
                  </a:lnTo>
                  <a:lnTo>
                    <a:pt x="33" y="242"/>
                  </a:lnTo>
                  <a:lnTo>
                    <a:pt x="31" y="242"/>
                  </a:lnTo>
                  <a:lnTo>
                    <a:pt x="29" y="242"/>
                  </a:lnTo>
                  <a:lnTo>
                    <a:pt x="29" y="240"/>
                  </a:lnTo>
                  <a:lnTo>
                    <a:pt x="27" y="240"/>
                  </a:lnTo>
                  <a:lnTo>
                    <a:pt x="27" y="238"/>
                  </a:lnTo>
                  <a:lnTo>
                    <a:pt x="27" y="236"/>
                  </a:lnTo>
                  <a:lnTo>
                    <a:pt x="25" y="236"/>
                  </a:lnTo>
                  <a:lnTo>
                    <a:pt x="25" y="234"/>
                  </a:lnTo>
                  <a:lnTo>
                    <a:pt x="23" y="234"/>
                  </a:lnTo>
                  <a:lnTo>
                    <a:pt x="23" y="232"/>
                  </a:lnTo>
                  <a:lnTo>
                    <a:pt x="21" y="232"/>
                  </a:lnTo>
                  <a:lnTo>
                    <a:pt x="21" y="230"/>
                  </a:lnTo>
                  <a:lnTo>
                    <a:pt x="21" y="232"/>
                  </a:lnTo>
                  <a:lnTo>
                    <a:pt x="21" y="230"/>
                  </a:lnTo>
                  <a:lnTo>
                    <a:pt x="19" y="230"/>
                  </a:lnTo>
                  <a:lnTo>
                    <a:pt x="19" y="228"/>
                  </a:lnTo>
                  <a:lnTo>
                    <a:pt x="17" y="228"/>
                  </a:lnTo>
                  <a:lnTo>
                    <a:pt x="17" y="226"/>
                  </a:lnTo>
                  <a:lnTo>
                    <a:pt x="16" y="226"/>
                  </a:lnTo>
                  <a:lnTo>
                    <a:pt x="16" y="224"/>
                  </a:lnTo>
                  <a:lnTo>
                    <a:pt x="14" y="224"/>
                  </a:lnTo>
                  <a:lnTo>
                    <a:pt x="14" y="223"/>
                  </a:lnTo>
                  <a:lnTo>
                    <a:pt x="12" y="223"/>
                  </a:lnTo>
                  <a:lnTo>
                    <a:pt x="12" y="221"/>
                  </a:lnTo>
                  <a:lnTo>
                    <a:pt x="12" y="219"/>
                  </a:lnTo>
                  <a:lnTo>
                    <a:pt x="14" y="219"/>
                  </a:lnTo>
                  <a:lnTo>
                    <a:pt x="14" y="217"/>
                  </a:lnTo>
                  <a:lnTo>
                    <a:pt x="14" y="219"/>
                  </a:lnTo>
                  <a:lnTo>
                    <a:pt x="16" y="219"/>
                  </a:lnTo>
                  <a:lnTo>
                    <a:pt x="16" y="221"/>
                  </a:lnTo>
                  <a:lnTo>
                    <a:pt x="14" y="221"/>
                  </a:lnTo>
                  <a:lnTo>
                    <a:pt x="16" y="221"/>
                  </a:lnTo>
                  <a:lnTo>
                    <a:pt x="14" y="221"/>
                  </a:lnTo>
                  <a:lnTo>
                    <a:pt x="16" y="221"/>
                  </a:lnTo>
                  <a:lnTo>
                    <a:pt x="14" y="221"/>
                  </a:lnTo>
                  <a:lnTo>
                    <a:pt x="16" y="221"/>
                  </a:lnTo>
                  <a:lnTo>
                    <a:pt x="17" y="221"/>
                  </a:lnTo>
                  <a:lnTo>
                    <a:pt x="19" y="221"/>
                  </a:lnTo>
                  <a:lnTo>
                    <a:pt x="19" y="219"/>
                  </a:lnTo>
                  <a:lnTo>
                    <a:pt x="21" y="219"/>
                  </a:lnTo>
                  <a:lnTo>
                    <a:pt x="21" y="221"/>
                  </a:lnTo>
                  <a:lnTo>
                    <a:pt x="21" y="219"/>
                  </a:lnTo>
                  <a:lnTo>
                    <a:pt x="23" y="219"/>
                  </a:lnTo>
                  <a:lnTo>
                    <a:pt x="21" y="219"/>
                  </a:lnTo>
                  <a:lnTo>
                    <a:pt x="23" y="219"/>
                  </a:lnTo>
                  <a:lnTo>
                    <a:pt x="25" y="219"/>
                  </a:lnTo>
                  <a:lnTo>
                    <a:pt x="23" y="219"/>
                  </a:lnTo>
                  <a:lnTo>
                    <a:pt x="25" y="219"/>
                  </a:lnTo>
                  <a:lnTo>
                    <a:pt x="25" y="217"/>
                  </a:lnTo>
                  <a:lnTo>
                    <a:pt x="25" y="219"/>
                  </a:lnTo>
                  <a:lnTo>
                    <a:pt x="25" y="217"/>
                  </a:lnTo>
                  <a:lnTo>
                    <a:pt x="25" y="219"/>
                  </a:lnTo>
                  <a:lnTo>
                    <a:pt x="25" y="217"/>
                  </a:lnTo>
                  <a:lnTo>
                    <a:pt x="27" y="217"/>
                  </a:lnTo>
                  <a:lnTo>
                    <a:pt x="25" y="217"/>
                  </a:lnTo>
                  <a:lnTo>
                    <a:pt x="27" y="217"/>
                  </a:lnTo>
                  <a:lnTo>
                    <a:pt x="25" y="217"/>
                  </a:lnTo>
                  <a:lnTo>
                    <a:pt x="27" y="217"/>
                  </a:lnTo>
                  <a:lnTo>
                    <a:pt x="29" y="217"/>
                  </a:lnTo>
                  <a:lnTo>
                    <a:pt x="29" y="215"/>
                  </a:lnTo>
                  <a:lnTo>
                    <a:pt x="31" y="215"/>
                  </a:lnTo>
                  <a:lnTo>
                    <a:pt x="31" y="213"/>
                  </a:lnTo>
                  <a:lnTo>
                    <a:pt x="31" y="211"/>
                  </a:lnTo>
                  <a:lnTo>
                    <a:pt x="33" y="211"/>
                  </a:lnTo>
                  <a:lnTo>
                    <a:pt x="33" y="209"/>
                  </a:lnTo>
                  <a:lnTo>
                    <a:pt x="33" y="211"/>
                  </a:lnTo>
                  <a:lnTo>
                    <a:pt x="33" y="209"/>
                  </a:lnTo>
                  <a:lnTo>
                    <a:pt x="35" y="209"/>
                  </a:lnTo>
                  <a:lnTo>
                    <a:pt x="33" y="209"/>
                  </a:lnTo>
                  <a:lnTo>
                    <a:pt x="35" y="209"/>
                  </a:lnTo>
                  <a:lnTo>
                    <a:pt x="33" y="209"/>
                  </a:lnTo>
                  <a:lnTo>
                    <a:pt x="35" y="209"/>
                  </a:lnTo>
                  <a:lnTo>
                    <a:pt x="33" y="209"/>
                  </a:lnTo>
                  <a:lnTo>
                    <a:pt x="33" y="211"/>
                  </a:lnTo>
                  <a:lnTo>
                    <a:pt x="31" y="211"/>
                  </a:lnTo>
                  <a:lnTo>
                    <a:pt x="31" y="209"/>
                  </a:lnTo>
                  <a:lnTo>
                    <a:pt x="29" y="209"/>
                  </a:lnTo>
                  <a:lnTo>
                    <a:pt x="31" y="209"/>
                  </a:lnTo>
                  <a:lnTo>
                    <a:pt x="29" y="209"/>
                  </a:lnTo>
                  <a:lnTo>
                    <a:pt x="29" y="211"/>
                  </a:lnTo>
                  <a:lnTo>
                    <a:pt x="27" y="211"/>
                  </a:lnTo>
                  <a:lnTo>
                    <a:pt x="25" y="211"/>
                  </a:lnTo>
                  <a:lnTo>
                    <a:pt x="23" y="211"/>
                  </a:lnTo>
                  <a:lnTo>
                    <a:pt x="23" y="213"/>
                  </a:lnTo>
                  <a:lnTo>
                    <a:pt x="21" y="213"/>
                  </a:lnTo>
                  <a:lnTo>
                    <a:pt x="19" y="213"/>
                  </a:lnTo>
                  <a:lnTo>
                    <a:pt x="17" y="213"/>
                  </a:lnTo>
                  <a:lnTo>
                    <a:pt x="16" y="213"/>
                  </a:lnTo>
                  <a:lnTo>
                    <a:pt x="16" y="211"/>
                  </a:lnTo>
                  <a:lnTo>
                    <a:pt x="14" y="211"/>
                  </a:lnTo>
                  <a:lnTo>
                    <a:pt x="12" y="211"/>
                  </a:lnTo>
                  <a:lnTo>
                    <a:pt x="12" y="209"/>
                  </a:lnTo>
                  <a:lnTo>
                    <a:pt x="10" y="209"/>
                  </a:lnTo>
                  <a:lnTo>
                    <a:pt x="8" y="209"/>
                  </a:lnTo>
                  <a:lnTo>
                    <a:pt x="8" y="207"/>
                  </a:lnTo>
                  <a:lnTo>
                    <a:pt x="6" y="207"/>
                  </a:lnTo>
                  <a:lnTo>
                    <a:pt x="6" y="205"/>
                  </a:lnTo>
                  <a:lnTo>
                    <a:pt x="8" y="205"/>
                  </a:lnTo>
                  <a:lnTo>
                    <a:pt x="6" y="205"/>
                  </a:lnTo>
                  <a:lnTo>
                    <a:pt x="8" y="205"/>
                  </a:lnTo>
                  <a:lnTo>
                    <a:pt x="6" y="205"/>
                  </a:lnTo>
                  <a:lnTo>
                    <a:pt x="8" y="205"/>
                  </a:lnTo>
                  <a:lnTo>
                    <a:pt x="6" y="205"/>
                  </a:lnTo>
                  <a:lnTo>
                    <a:pt x="4" y="205"/>
                  </a:lnTo>
                  <a:lnTo>
                    <a:pt x="4" y="203"/>
                  </a:lnTo>
                  <a:lnTo>
                    <a:pt x="6" y="203"/>
                  </a:lnTo>
                  <a:lnTo>
                    <a:pt x="4" y="203"/>
                  </a:lnTo>
                  <a:lnTo>
                    <a:pt x="4" y="201"/>
                  </a:lnTo>
                  <a:lnTo>
                    <a:pt x="4" y="203"/>
                  </a:lnTo>
                  <a:lnTo>
                    <a:pt x="4" y="201"/>
                  </a:lnTo>
                  <a:lnTo>
                    <a:pt x="4" y="203"/>
                  </a:lnTo>
                  <a:lnTo>
                    <a:pt x="4" y="201"/>
                  </a:lnTo>
                  <a:lnTo>
                    <a:pt x="4" y="200"/>
                  </a:lnTo>
                  <a:lnTo>
                    <a:pt x="6" y="200"/>
                  </a:lnTo>
                  <a:lnTo>
                    <a:pt x="6" y="198"/>
                  </a:lnTo>
                  <a:lnTo>
                    <a:pt x="8" y="198"/>
                  </a:lnTo>
                  <a:lnTo>
                    <a:pt x="8" y="196"/>
                  </a:lnTo>
                  <a:lnTo>
                    <a:pt x="10" y="196"/>
                  </a:lnTo>
                  <a:lnTo>
                    <a:pt x="8" y="196"/>
                  </a:lnTo>
                  <a:lnTo>
                    <a:pt x="6" y="196"/>
                  </a:lnTo>
                  <a:lnTo>
                    <a:pt x="6" y="198"/>
                  </a:lnTo>
                  <a:lnTo>
                    <a:pt x="4" y="198"/>
                  </a:lnTo>
                  <a:lnTo>
                    <a:pt x="4" y="200"/>
                  </a:lnTo>
                  <a:lnTo>
                    <a:pt x="2" y="200"/>
                  </a:lnTo>
                  <a:lnTo>
                    <a:pt x="0" y="200"/>
                  </a:lnTo>
                  <a:lnTo>
                    <a:pt x="2" y="200"/>
                  </a:lnTo>
                  <a:lnTo>
                    <a:pt x="2" y="198"/>
                  </a:lnTo>
                  <a:lnTo>
                    <a:pt x="2" y="200"/>
                  </a:lnTo>
                  <a:lnTo>
                    <a:pt x="2" y="198"/>
                  </a:lnTo>
                  <a:lnTo>
                    <a:pt x="2" y="200"/>
                  </a:lnTo>
                  <a:lnTo>
                    <a:pt x="0" y="200"/>
                  </a:lnTo>
                  <a:lnTo>
                    <a:pt x="0" y="198"/>
                  </a:lnTo>
                  <a:lnTo>
                    <a:pt x="0" y="196"/>
                  </a:lnTo>
                  <a:close/>
                  <a:moveTo>
                    <a:pt x="361" y="365"/>
                  </a:moveTo>
                  <a:lnTo>
                    <a:pt x="363" y="365"/>
                  </a:lnTo>
                  <a:lnTo>
                    <a:pt x="361" y="365"/>
                  </a:lnTo>
                  <a:lnTo>
                    <a:pt x="363" y="365"/>
                  </a:lnTo>
                  <a:lnTo>
                    <a:pt x="363" y="367"/>
                  </a:lnTo>
                  <a:lnTo>
                    <a:pt x="363" y="369"/>
                  </a:lnTo>
                  <a:lnTo>
                    <a:pt x="363" y="370"/>
                  </a:lnTo>
                  <a:lnTo>
                    <a:pt x="363" y="372"/>
                  </a:lnTo>
                  <a:lnTo>
                    <a:pt x="363" y="370"/>
                  </a:lnTo>
                  <a:lnTo>
                    <a:pt x="363" y="372"/>
                  </a:lnTo>
                  <a:lnTo>
                    <a:pt x="361" y="372"/>
                  </a:lnTo>
                  <a:lnTo>
                    <a:pt x="363" y="372"/>
                  </a:lnTo>
                  <a:lnTo>
                    <a:pt x="361" y="372"/>
                  </a:lnTo>
                  <a:lnTo>
                    <a:pt x="361" y="370"/>
                  </a:lnTo>
                  <a:lnTo>
                    <a:pt x="361" y="372"/>
                  </a:lnTo>
                  <a:lnTo>
                    <a:pt x="361" y="374"/>
                  </a:lnTo>
                  <a:lnTo>
                    <a:pt x="359" y="374"/>
                  </a:lnTo>
                  <a:lnTo>
                    <a:pt x="359" y="372"/>
                  </a:lnTo>
                  <a:lnTo>
                    <a:pt x="359" y="370"/>
                  </a:lnTo>
                  <a:lnTo>
                    <a:pt x="359" y="369"/>
                  </a:lnTo>
                  <a:lnTo>
                    <a:pt x="361" y="369"/>
                  </a:lnTo>
                  <a:lnTo>
                    <a:pt x="359" y="369"/>
                  </a:lnTo>
                  <a:lnTo>
                    <a:pt x="359" y="367"/>
                  </a:lnTo>
                  <a:lnTo>
                    <a:pt x="359" y="365"/>
                  </a:lnTo>
                  <a:lnTo>
                    <a:pt x="359" y="367"/>
                  </a:lnTo>
                  <a:lnTo>
                    <a:pt x="359" y="365"/>
                  </a:lnTo>
                  <a:lnTo>
                    <a:pt x="359" y="367"/>
                  </a:lnTo>
                  <a:lnTo>
                    <a:pt x="359" y="365"/>
                  </a:lnTo>
                  <a:lnTo>
                    <a:pt x="361" y="365"/>
                  </a:lnTo>
                  <a:close/>
                  <a:moveTo>
                    <a:pt x="363" y="355"/>
                  </a:moveTo>
                  <a:lnTo>
                    <a:pt x="363" y="357"/>
                  </a:lnTo>
                  <a:lnTo>
                    <a:pt x="365" y="357"/>
                  </a:lnTo>
                  <a:lnTo>
                    <a:pt x="363" y="357"/>
                  </a:lnTo>
                  <a:lnTo>
                    <a:pt x="365" y="357"/>
                  </a:lnTo>
                  <a:lnTo>
                    <a:pt x="363" y="357"/>
                  </a:lnTo>
                  <a:lnTo>
                    <a:pt x="365" y="357"/>
                  </a:lnTo>
                  <a:lnTo>
                    <a:pt x="365" y="359"/>
                  </a:lnTo>
                  <a:lnTo>
                    <a:pt x="363" y="359"/>
                  </a:lnTo>
                  <a:lnTo>
                    <a:pt x="365" y="359"/>
                  </a:lnTo>
                  <a:lnTo>
                    <a:pt x="365" y="361"/>
                  </a:lnTo>
                  <a:lnTo>
                    <a:pt x="363" y="361"/>
                  </a:lnTo>
                  <a:lnTo>
                    <a:pt x="363" y="363"/>
                  </a:lnTo>
                  <a:lnTo>
                    <a:pt x="361" y="363"/>
                  </a:lnTo>
                  <a:lnTo>
                    <a:pt x="363" y="363"/>
                  </a:lnTo>
                  <a:lnTo>
                    <a:pt x="363" y="365"/>
                  </a:lnTo>
                  <a:lnTo>
                    <a:pt x="361" y="365"/>
                  </a:lnTo>
                  <a:lnTo>
                    <a:pt x="361" y="363"/>
                  </a:lnTo>
                  <a:lnTo>
                    <a:pt x="361" y="365"/>
                  </a:lnTo>
                  <a:lnTo>
                    <a:pt x="361" y="363"/>
                  </a:lnTo>
                  <a:lnTo>
                    <a:pt x="361" y="365"/>
                  </a:lnTo>
                  <a:lnTo>
                    <a:pt x="361" y="363"/>
                  </a:lnTo>
                  <a:lnTo>
                    <a:pt x="361" y="361"/>
                  </a:lnTo>
                  <a:lnTo>
                    <a:pt x="361" y="359"/>
                  </a:lnTo>
                  <a:lnTo>
                    <a:pt x="361" y="361"/>
                  </a:lnTo>
                  <a:lnTo>
                    <a:pt x="361" y="359"/>
                  </a:lnTo>
                  <a:lnTo>
                    <a:pt x="361" y="361"/>
                  </a:lnTo>
                  <a:lnTo>
                    <a:pt x="361" y="359"/>
                  </a:lnTo>
                  <a:lnTo>
                    <a:pt x="361" y="357"/>
                  </a:lnTo>
                  <a:lnTo>
                    <a:pt x="361" y="355"/>
                  </a:lnTo>
                  <a:lnTo>
                    <a:pt x="363" y="355"/>
                  </a:lnTo>
                  <a:lnTo>
                    <a:pt x="363" y="357"/>
                  </a:lnTo>
                  <a:lnTo>
                    <a:pt x="363" y="355"/>
                  </a:lnTo>
                  <a:lnTo>
                    <a:pt x="361" y="355"/>
                  </a:lnTo>
                  <a:lnTo>
                    <a:pt x="363" y="355"/>
                  </a:lnTo>
                  <a:close/>
                  <a:moveTo>
                    <a:pt x="359" y="376"/>
                  </a:moveTo>
                  <a:lnTo>
                    <a:pt x="359" y="378"/>
                  </a:lnTo>
                  <a:lnTo>
                    <a:pt x="359" y="380"/>
                  </a:lnTo>
                  <a:lnTo>
                    <a:pt x="359" y="382"/>
                  </a:lnTo>
                  <a:lnTo>
                    <a:pt x="359" y="380"/>
                  </a:lnTo>
                  <a:lnTo>
                    <a:pt x="359" y="382"/>
                  </a:lnTo>
                  <a:lnTo>
                    <a:pt x="359" y="384"/>
                  </a:lnTo>
                  <a:lnTo>
                    <a:pt x="359" y="382"/>
                  </a:lnTo>
                  <a:lnTo>
                    <a:pt x="359" y="384"/>
                  </a:lnTo>
                  <a:lnTo>
                    <a:pt x="359" y="382"/>
                  </a:lnTo>
                  <a:lnTo>
                    <a:pt x="359" y="384"/>
                  </a:lnTo>
                  <a:lnTo>
                    <a:pt x="359" y="382"/>
                  </a:lnTo>
                  <a:lnTo>
                    <a:pt x="359" y="384"/>
                  </a:lnTo>
                  <a:lnTo>
                    <a:pt x="359" y="382"/>
                  </a:lnTo>
                  <a:lnTo>
                    <a:pt x="359" y="384"/>
                  </a:lnTo>
                  <a:lnTo>
                    <a:pt x="359" y="386"/>
                  </a:lnTo>
                  <a:lnTo>
                    <a:pt x="357" y="386"/>
                  </a:lnTo>
                  <a:lnTo>
                    <a:pt x="357" y="384"/>
                  </a:lnTo>
                  <a:lnTo>
                    <a:pt x="357" y="386"/>
                  </a:lnTo>
                  <a:lnTo>
                    <a:pt x="357" y="384"/>
                  </a:lnTo>
                  <a:lnTo>
                    <a:pt x="357" y="382"/>
                  </a:lnTo>
                  <a:lnTo>
                    <a:pt x="357" y="384"/>
                  </a:lnTo>
                  <a:lnTo>
                    <a:pt x="357" y="382"/>
                  </a:lnTo>
                  <a:lnTo>
                    <a:pt x="357" y="380"/>
                  </a:lnTo>
                  <a:lnTo>
                    <a:pt x="357" y="382"/>
                  </a:lnTo>
                  <a:lnTo>
                    <a:pt x="357" y="380"/>
                  </a:lnTo>
                  <a:lnTo>
                    <a:pt x="357" y="382"/>
                  </a:lnTo>
                  <a:lnTo>
                    <a:pt x="355" y="382"/>
                  </a:lnTo>
                  <a:lnTo>
                    <a:pt x="355" y="380"/>
                  </a:lnTo>
                  <a:lnTo>
                    <a:pt x="357" y="380"/>
                  </a:lnTo>
                  <a:lnTo>
                    <a:pt x="355" y="380"/>
                  </a:lnTo>
                  <a:lnTo>
                    <a:pt x="357" y="380"/>
                  </a:lnTo>
                  <a:lnTo>
                    <a:pt x="357" y="378"/>
                  </a:lnTo>
                  <a:lnTo>
                    <a:pt x="357" y="376"/>
                  </a:lnTo>
                  <a:lnTo>
                    <a:pt x="359" y="376"/>
                  </a:lnTo>
                  <a:lnTo>
                    <a:pt x="359" y="374"/>
                  </a:lnTo>
                  <a:lnTo>
                    <a:pt x="359" y="376"/>
                  </a:lnTo>
                  <a:lnTo>
                    <a:pt x="357" y="376"/>
                  </a:lnTo>
                  <a:lnTo>
                    <a:pt x="359" y="376"/>
                  </a:lnTo>
                  <a:lnTo>
                    <a:pt x="359" y="374"/>
                  </a:lnTo>
                  <a:lnTo>
                    <a:pt x="359" y="376"/>
                  </a:lnTo>
                  <a:lnTo>
                    <a:pt x="359" y="374"/>
                  </a:lnTo>
                  <a:lnTo>
                    <a:pt x="359" y="376"/>
                  </a:lnTo>
                  <a:close/>
                  <a:moveTo>
                    <a:pt x="376" y="449"/>
                  </a:moveTo>
                  <a:lnTo>
                    <a:pt x="376" y="451"/>
                  </a:lnTo>
                  <a:lnTo>
                    <a:pt x="376" y="453"/>
                  </a:lnTo>
                  <a:lnTo>
                    <a:pt x="376" y="455"/>
                  </a:lnTo>
                  <a:lnTo>
                    <a:pt x="376" y="457"/>
                  </a:lnTo>
                  <a:lnTo>
                    <a:pt x="374" y="457"/>
                  </a:lnTo>
                  <a:lnTo>
                    <a:pt x="374" y="455"/>
                  </a:lnTo>
                  <a:lnTo>
                    <a:pt x="374" y="453"/>
                  </a:lnTo>
                  <a:lnTo>
                    <a:pt x="374" y="455"/>
                  </a:lnTo>
                  <a:lnTo>
                    <a:pt x="374" y="453"/>
                  </a:lnTo>
                  <a:lnTo>
                    <a:pt x="373" y="453"/>
                  </a:lnTo>
                  <a:lnTo>
                    <a:pt x="373" y="451"/>
                  </a:lnTo>
                  <a:lnTo>
                    <a:pt x="373" y="449"/>
                  </a:lnTo>
                  <a:lnTo>
                    <a:pt x="374" y="449"/>
                  </a:lnTo>
                  <a:lnTo>
                    <a:pt x="376" y="449"/>
                  </a:lnTo>
                  <a:close/>
                  <a:moveTo>
                    <a:pt x="355" y="395"/>
                  </a:moveTo>
                  <a:lnTo>
                    <a:pt x="357" y="395"/>
                  </a:lnTo>
                  <a:lnTo>
                    <a:pt x="357" y="397"/>
                  </a:lnTo>
                  <a:lnTo>
                    <a:pt x="357" y="395"/>
                  </a:lnTo>
                  <a:lnTo>
                    <a:pt x="357" y="397"/>
                  </a:lnTo>
                  <a:lnTo>
                    <a:pt x="357" y="399"/>
                  </a:lnTo>
                  <a:lnTo>
                    <a:pt x="357" y="401"/>
                  </a:lnTo>
                  <a:lnTo>
                    <a:pt x="355" y="401"/>
                  </a:lnTo>
                  <a:lnTo>
                    <a:pt x="355" y="399"/>
                  </a:lnTo>
                  <a:lnTo>
                    <a:pt x="355" y="401"/>
                  </a:lnTo>
                  <a:lnTo>
                    <a:pt x="353" y="401"/>
                  </a:lnTo>
                  <a:lnTo>
                    <a:pt x="353" y="399"/>
                  </a:lnTo>
                  <a:lnTo>
                    <a:pt x="355" y="399"/>
                  </a:lnTo>
                  <a:lnTo>
                    <a:pt x="353" y="399"/>
                  </a:lnTo>
                  <a:lnTo>
                    <a:pt x="353" y="397"/>
                  </a:lnTo>
                  <a:lnTo>
                    <a:pt x="355" y="397"/>
                  </a:lnTo>
                  <a:lnTo>
                    <a:pt x="355" y="395"/>
                  </a:lnTo>
                  <a:close/>
                  <a:moveTo>
                    <a:pt x="302" y="226"/>
                  </a:moveTo>
                  <a:lnTo>
                    <a:pt x="303" y="226"/>
                  </a:lnTo>
                  <a:lnTo>
                    <a:pt x="305" y="226"/>
                  </a:lnTo>
                  <a:lnTo>
                    <a:pt x="305" y="228"/>
                  </a:lnTo>
                  <a:lnTo>
                    <a:pt x="305" y="230"/>
                  </a:lnTo>
                  <a:lnTo>
                    <a:pt x="305" y="232"/>
                  </a:lnTo>
                  <a:lnTo>
                    <a:pt x="305" y="230"/>
                  </a:lnTo>
                  <a:lnTo>
                    <a:pt x="305" y="232"/>
                  </a:lnTo>
                  <a:lnTo>
                    <a:pt x="303" y="232"/>
                  </a:lnTo>
                  <a:lnTo>
                    <a:pt x="303" y="230"/>
                  </a:lnTo>
                  <a:lnTo>
                    <a:pt x="303" y="228"/>
                  </a:lnTo>
                  <a:lnTo>
                    <a:pt x="303" y="230"/>
                  </a:lnTo>
                  <a:lnTo>
                    <a:pt x="303" y="228"/>
                  </a:lnTo>
                  <a:lnTo>
                    <a:pt x="302" y="228"/>
                  </a:lnTo>
                  <a:lnTo>
                    <a:pt x="303" y="228"/>
                  </a:lnTo>
                  <a:lnTo>
                    <a:pt x="303" y="226"/>
                  </a:lnTo>
                  <a:lnTo>
                    <a:pt x="302" y="226"/>
                  </a:lnTo>
                  <a:close/>
                  <a:moveTo>
                    <a:pt x="292" y="228"/>
                  </a:moveTo>
                  <a:lnTo>
                    <a:pt x="292" y="230"/>
                  </a:lnTo>
                  <a:lnTo>
                    <a:pt x="290" y="230"/>
                  </a:lnTo>
                  <a:lnTo>
                    <a:pt x="292" y="230"/>
                  </a:lnTo>
                  <a:lnTo>
                    <a:pt x="292" y="228"/>
                  </a:lnTo>
                  <a:lnTo>
                    <a:pt x="292" y="226"/>
                  </a:lnTo>
                  <a:lnTo>
                    <a:pt x="292" y="228"/>
                  </a:lnTo>
                  <a:close/>
                  <a:moveTo>
                    <a:pt x="359" y="374"/>
                  </a:moveTo>
                  <a:lnTo>
                    <a:pt x="361" y="374"/>
                  </a:lnTo>
                  <a:lnTo>
                    <a:pt x="361" y="378"/>
                  </a:lnTo>
                  <a:lnTo>
                    <a:pt x="359" y="378"/>
                  </a:lnTo>
                  <a:lnTo>
                    <a:pt x="359" y="374"/>
                  </a:lnTo>
                  <a:close/>
                  <a:moveTo>
                    <a:pt x="367" y="438"/>
                  </a:moveTo>
                  <a:lnTo>
                    <a:pt x="371" y="438"/>
                  </a:lnTo>
                  <a:lnTo>
                    <a:pt x="371" y="440"/>
                  </a:lnTo>
                  <a:lnTo>
                    <a:pt x="367" y="440"/>
                  </a:lnTo>
                  <a:lnTo>
                    <a:pt x="367" y="438"/>
                  </a:lnTo>
                  <a:close/>
                  <a:moveTo>
                    <a:pt x="373" y="445"/>
                  </a:moveTo>
                  <a:lnTo>
                    <a:pt x="374" y="445"/>
                  </a:lnTo>
                  <a:lnTo>
                    <a:pt x="374" y="449"/>
                  </a:lnTo>
                  <a:lnTo>
                    <a:pt x="373" y="449"/>
                  </a:lnTo>
                  <a:lnTo>
                    <a:pt x="373" y="445"/>
                  </a:lnTo>
                  <a:close/>
                  <a:moveTo>
                    <a:pt x="298" y="228"/>
                  </a:moveTo>
                  <a:lnTo>
                    <a:pt x="300" y="228"/>
                  </a:lnTo>
                  <a:lnTo>
                    <a:pt x="300" y="232"/>
                  </a:lnTo>
                  <a:lnTo>
                    <a:pt x="298" y="232"/>
                  </a:lnTo>
                  <a:lnTo>
                    <a:pt x="298" y="228"/>
                  </a:lnTo>
                  <a:close/>
                  <a:moveTo>
                    <a:pt x="359" y="418"/>
                  </a:moveTo>
                  <a:lnTo>
                    <a:pt x="361" y="418"/>
                  </a:lnTo>
                  <a:lnTo>
                    <a:pt x="361" y="422"/>
                  </a:lnTo>
                  <a:lnTo>
                    <a:pt x="359" y="422"/>
                  </a:lnTo>
                  <a:lnTo>
                    <a:pt x="359" y="418"/>
                  </a:lnTo>
                  <a:close/>
                  <a:moveTo>
                    <a:pt x="357" y="386"/>
                  </a:moveTo>
                  <a:lnTo>
                    <a:pt x="359" y="386"/>
                  </a:lnTo>
                  <a:lnTo>
                    <a:pt x="359" y="388"/>
                  </a:lnTo>
                  <a:lnTo>
                    <a:pt x="357" y="388"/>
                  </a:lnTo>
                  <a:lnTo>
                    <a:pt x="357" y="386"/>
                  </a:lnTo>
                  <a:close/>
                  <a:moveTo>
                    <a:pt x="64" y="230"/>
                  </a:moveTo>
                  <a:lnTo>
                    <a:pt x="67" y="230"/>
                  </a:lnTo>
                  <a:lnTo>
                    <a:pt x="67" y="232"/>
                  </a:lnTo>
                  <a:lnTo>
                    <a:pt x="64" y="232"/>
                  </a:lnTo>
                  <a:lnTo>
                    <a:pt x="64" y="230"/>
                  </a:lnTo>
                  <a:close/>
                  <a:moveTo>
                    <a:pt x="371" y="434"/>
                  </a:moveTo>
                  <a:lnTo>
                    <a:pt x="371" y="438"/>
                  </a:lnTo>
                  <a:lnTo>
                    <a:pt x="371" y="434"/>
                  </a:lnTo>
                  <a:close/>
                  <a:moveTo>
                    <a:pt x="357" y="363"/>
                  </a:moveTo>
                  <a:lnTo>
                    <a:pt x="359" y="363"/>
                  </a:lnTo>
                  <a:lnTo>
                    <a:pt x="359" y="367"/>
                  </a:lnTo>
                  <a:lnTo>
                    <a:pt x="357" y="367"/>
                  </a:lnTo>
                  <a:lnTo>
                    <a:pt x="357" y="363"/>
                  </a:lnTo>
                  <a:close/>
                  <a:moveTo>
                    <a:pt x="186" y="321"/>
                  </a:moveTo>
                  <a:lnTo>
                    <a:pt x="188" y="321"/>
                  </a:lnTo>
                  <a:lnTo>
                    <a:pt x="188" y="322"/>
                  </a:lnTo>
                  <a:lnTo>
                    <a:pt x="186" y="322"/>
                  </a:lnTo>
                  <a:lnTo>
                    <a:pt x="186" y="321"/>
                  </a:lnTo>
                  <a:close/>
                  <a:moveTo>
                    <a:pt x="363" y="378"/>
                  </a:moveTo>
                  <a:lnTo>
                    <a:pt x="365" y="378"/>
                  </a:lnTo>
                  <a:lnTo>
                    <a:pt x="365" y="380"/>
                  </a:lnTo>
                  <a:lnTo>
                    <a:pt x="363" y="380"/>
                  </a:lnTo>
                  <a:lnTo>
                    <a:pt x="363" y="378"/>
                  </a:lnTo>
                  <a:close/>
                  <a:moveTo>
                    <a:pt x="365" y="432"/>
                  </a:moveTo>
                  <a:lnTo>
                    <a:pt x="367" y="432"/>
                  </a:lnTo>
                  <a:lnTo>
                    <a:pt x="367" y="436"/>
                  </a:lnTo>
                  <a:lnTo>
                    <a:pt x="365" y="436"/>
                  </a:lnTo>
                  <a:lnTo>
                    <a:pt x="365" y="432"/>
                  </a:lnTo>
                  <a:close/>
                  <a:moveTo>
                    <a:pt x="300" y="230"/>
                  </a:moveTo>
                  <a:lnTo>
                    <a:pt x="302" y="230"/>
                  </a:lnTo>
                  <a:lnTo>
                    <a:pt x="302" y="232"/>
                  </a:lnTo>
                  <a:lnTo>
                    <a:pt x="300" y="232"/>
                  </a:lnTo>
                  <a:lnTo>
                    <a:pt x="300" y="230"/>
                  </a:lnTo>
                  <a:close/>
                  <a:moveTo>
                    <a:pt x="300" y="226"/>
                  </a:moveTo>
                  <a:lnTo>
                    <a:pt x="300" y="228"/>
                  </a:lnTo>
                  <a:lnTo>
                    <a:pt x="300" y="226"/>
                  </a:lnTo>
                  <a:close/>
                  <a:moveTo>
                    <a:pt x="58" y="384"/>
                  </a:moveTo>
                  <a:lnTo>
                    <a:pt x="60" y="384"/>
                  </a:lnTo>
                  <a:lnTo>
                    <a:pt x="60" y="386"/>
                  </a:lnTo>
                  <a:lnTo>
                    <a:pt x="58" y="386"/>
                  </a:lnTo>
                  <a:lnTo>
                    <a:pt x="58" y="384"/>
                  </a:lnTo>
                  <a:close/>
                  <a:moveTo>
                    <a:pt x="184" y="321"/>
                  </a:moveTo>
                  <a:lnTo>
                    <a:pt x="186" y="321"/>
                  </a:lnTo>
                  <a:lnTo>
                    <a:pt x="186" y="322"/>
                  </a:lnTo>
                  <a:lnTo>
                    <a:pt x="184" y="322"/>
                  </a:lnTo>
                  <a:lnTo>
                    <a:pt x="184" y="321"/>
                  </a:lnTo>
                  <a:close/>
                  <a:moveTo>
                    <a:pt x="363" y="376"/>
                  </a:moveTo>
                  <a:lnTo>
                    <a:pt x="365" y="376"/>
                  </a:lnTo>
                  <a:lnTo>
                    <a:pt x="365" y="378"/>
                  </a:lnTo>
                  <a:lnTo>
                    <a:pt x="363" y="378"/>
                  </a:lnTo>
                  <a:lnTo>
                    <a:pt x="363" y="376"/>
                  </a:lnTo>
                  <a:close/>
                  <a:moveTo>
                    <a:pt x="300" y="224"/>
                  </a:moveTo>
                  <a:lnTo>
                    <a:pt x="300" y="226"/>
                  </a:lnTo>
                  <a:lnTo>
                    <a:pt x="300" y="224"/>
                  </a:lnTo>
                  <a:close/>
                  <a:moveTo>
                    <a:pt x="290" y="224"/>
                  </a:moveTo>
                  <a:lnTo>
                    <a:pt x="292" y="224"/>
                  </a:lnTo>
                  <a:lnTo>
                    <a:pt x="292" y="226"/>
                  </a:lnTo>
                  <a:lnTo>
                    <a:pt x="290" y="226"/>
                  </a:lnTo>
                  <a:lnTo>
                    <a:pt x="290" y="224"/>
                  </a:lnTo>
                  <a:close/>
                  <a:moveTo>
                    <a:pt x="351" y="384"/>
                  </a:moveTo>
                  <a:lnTo>
                    <a:pt x="353" y="384"/>
                  </a:lnTo>
                  <a:lnTo>
                    <a:pt x="353" y="386"/>
                  </a:lnTo>
                  <a:lnTo>
                    <a:pt x="351" y="386"/>
                  </a:lnTo>
                  <a:lnTo>
                    <a:pt x="351" y="384"/>
                  </a:lnTo>
                  <a:close/>
                  <a:moveTo>
                    <a:pt x="371" y="438"/>
                  </a:moveTo>
                  <a:lnTo>
                    <a:pt x="373" y="438"/>
                  </a:lnTo>
                  <a:lnTo>
                    <a:pt x="373" y="440"/>
                  </a:lnTo>
                  <a:lnTo>
                    <a:pt x="371" y="440"/>
                  </a:lnTo>
                  <a:lnTo>
                    <a:pt x="371" y="438"/>
                  </a:lnTo>
                  <a:close/>
                  <a:moveTo>
                    <a:pt x="298" y="230"/>
                  </a:moveTo>
                  <a:lnTo>
                    <a:pt x="300" y="230"/>
                  </a:lnTo>
                  <a:lnTo>
                    <a:pt x="300" y="232"/>
                  </a:lnTo>
                  <a:lnTo>
                    <a:pt x="298" y="232"/>
                  </a:lnTo>
                  <a:lnTo>
                    <a:pt x="298" y="230"/>
                  </a:lnTo>
                  <a:close/>
                  <a:moveTo>
                    <a:pt x="294" y="230"/>
                  </a:moveTo>
                  <a:lnTo>
                    <a:pt x="296" y="230"/>
                  </a:lnTo>
                  <a:lnTo>
                    <a:pt x="296" y="232"/>
                  </a:lnTo>
                  <a:lnTo>
                    <a:pt x="294" y="232"/>
                  </a:lnTo>
                  <a:lnTo>
                    <a:pt x="294" y="230"/>
                  </a:lnTo>
                  <a:close/>
                  <a:moveTo>
                    <a:pt x="296" y="228"/>
                  </a:moveTo>
                  <a:lnTo>
                    <a:pt x="298" y="228"/>
                  </a:lnTo>
                  <a:lnTo>
                    <a:pt x="298" y="230"/>
                  </a:lnTo>
                  <a:lnTo>
                    <a:pt x="296" y="230"/>
                  </a:lnTo>
                  <a:lnTo>
                    <a:pt x="296" y="228"/>
                  </a:lnTo>
                  <a:close/>
                  <a:moveTo>
                    <a:pt x="296" y="230"/>
                  </a:moveTo>
                  <a:lnTo>
                    <a:pt x="298" y="230"/>
                  </a:lnTo>
                  <a:lnTo>
                    <a:pt x="296" y="230"/>
                  </a:lnTo>
                  <a:close/>
                  <a:moveTo>
                    <a:pt x="363" y="376"/>
                  </a:moveTo>
                  <a:lnTo>
                    <a:pt x="365" y="376"/>
                  </a:lnTo>
                  <a:lnTo>
                    <a:pt x="365" y="378"/>
                  </a:lnTo>
                  <a:lnTo>
                    <a:pt x="363" y="378"/>
                  </a:lnTo>
                  <a:lnTo>
                    <a:pt x="363" y="376"/>
                  </a:lnTo>
                  <a:close/>
                  <a:moveTo>
                    <a:pt x="302" y="232"/>
                  </a:moveTo>
                  <a:lnTo>
                    <a:pt x="303" y="232"/>
                  </a:lnTo>
                  <a:lnTo>
                    <a:pt x="302" y="232"/>
                  </a:lnTo>
                  <a:close/>
                  <a:moveTo>
                    <a:pt x="292" y="230"/>
                  </a:moveTo>
                  <a:lnTo>
                    <a:pt x="294" y="230"/>
                  </a:lnTo>
                  <a:lnTo>
                    <a:pt x="294" y="232"/>
                  </a:lnTo>
                  <a:lnTo>
                    <a:pt x="292" y="232"/>
                  </a:lnTo>
                  <a:lnTo>
                    <a:pt x="292" y="230"/>
                  </a:lnTo>
                  <a:close/>
                  <a:moveTo>
                    <a:pt x="359" y="374"/>
                  </a:moveTo>
                  <a:lnTo>
                    <a:pt x="359" y="376"/>
                  </a:lnTo>
                  <a:lnTo>
                    <a:pt x="359" y="374"/>
                  </a:lnTo>
                  <a:close/>
                  <a:moveTo>
                    <a:pt x="363" y="376"/>
                  </a:moveTo>
                  <a:lnTo>
                    <a:pt x="363" y="378"/>
                  </a:lnTo>
                  <a:lnTo>
                    <a:pt x="363" y="376"/>
                  </a:lnTo>
                  <a:close/>
                  <a:moveTo>
                    <a:pt x="298" y="228"/>
                  </a:moveTo>
                  <a:lnTo>
                    <a:pt x="300" y="228"/>
                  </a:lnTo>
                  <a:lnTo>
                    <a:pt x="300" y="230"/>
                  </a:lnTo>
                  <a:lnTo>
                    <a:pt x="298" y="230"/>
                  </a:lnTo>
                  <a:lnTo>
                    <a:pt x="298" y="228"/>
                  </a:lnTo>
                  <a:close/>
                  <a:moveTo>
                    <a:pt x="79" y="407"/>
                  </a:moveTo>
                  <a:lnTo>
                    <a:pt x="81" y="407"/>
                  </a:lnTo>
                  <a:lnTo>
                    <a:pt x="79" y="407"/>
                  </a:lnTo>
                  <a:close/>
                  <a:moveTo>
                    <a:pt x="298" y="228"/>
                  </a:moveTo>
                  <a:lnTo>
                    <a:pt x="300" y="228"/>
                  </a:lnTo>
                  <a:lnTo>
                    <a:pt x="298" y="228"/>
                  </a:lnTo>
                  <a:close/>
                  <a:moveTo>
                    <a:pt x="373" y="430"/>
                  </a:moveTo>
                  <a:lnTo>
                    <a:pt x="373" y="432"/>
                  </a:lnTo>
                  <a:lnTo>
                    <a:pt x="373" y="430"/>
                  </a:lnTo>
                  <a:close/>
                  <a:moveTo>
                    <a:pt x="296" y="228"/>
                  </a:moveTo>
                  <a:lnTo>
                    <a:pt x="298" y="228"/>
                  </a:lnTo>
                  <a:lnTo>
                    <a:pt x="296" y="228"/>
                  </a:lnTo>
                  <a:close/>
                  <a:moveTo>
                    <a:pt x="361" y="372"/>
                  </a:moveTo>
                  <a:lnTo>
                    <a:pt x="363" y="372"/>
                  </a:lnTo>
                  <a:lnTo>
                    <a:pt x="361" y="372"/>
                  </a:lnTo>
                  <a:close/>
                  <a:moveTo>
                    <a:pt x="363" y="380"/>
                  </a:moveTo>
                  <a:lnTo>
                    <a:pt x="365" y="380"/>
                  </a:lnTo>
                  <a:lnTo>
                    <a:pt x="365" y="382"/>
                  </a:lnTo>
                  <a:lnTo>
                    <a:pt x="363" y="382"/>
                  </a:lnTo>
                  <a:lnTo>
                    <a:pt x="363" y="380"/>
                  </a:lnTo>
                  <a:close/>
                  <a:moveTo>
                    <a:pt x="365" y="374"/>
                  </a:moveTo>
                  <a:lnTo>
                    <a:pt x="365" y="376"/>
                  </a:lnTo>
                  <a:lnTo>
                    <a:pt x="365" y="374"/>
                  </a:lnTo>
                  <a:close/>
                  <a:moveTo>
                    <a:pt x="359" y="367"/>
                  </a:moveTo>
                  <a:lnTo>
                    <a:pt x="359" y="369"/>
                  </a:lnTo>
                  <a:lnTo>
                    <a:pt x="359" y="367"/>
                  </a:lnTo>
                  <a:close/>
                  <a:moveTo>
                    <a:pt x="298" y="228"/>
                  </a:moveTo>
                  <a:lnTo>
                    <a:pt x="300" y="228"/>
                  </a:lnTo>
                  <a:lnTo>
                    <a:pt x="300" y="230"/>
                  </a:lnTo>
                  <a:lnTo>
                    <a:pt x="298" y="230"/>
                  </a:lnTo>
                  <a:lnTo>
                    <a:pt x="298" y="228"/>
                  </a:lnTo>
                  <a:close/>
                  <a:moveTo>
                    <a:pt x="165" y="403"/>
                  </a:moveTo>
                  <a:lnTo>
                    <a:pt x="169" y="403"/>
                  </a:lnTo>
                  <a:lnTo>
                    <a:pt x="169" y="405"/>
                  </a:lnTo>
                  <a:lnTo>
                    <a:pt x="165" y="405"/>
                  </a:lnTo>
                  <a:lnTo>
                    <a:pt x="165" y="403"/>
                  </a:lnTo>
                  <a:close/>
                  <a:moveTo>
                    <a:pt x="361" y="374"/>
                  </a:moveTo>
                  <a:lnTo>
                    <a:pt x="363" y="374"/>
                  </a:lnTo>
                  <a:lnTo>
                    <a:pt x="361" y="374"/>
                  </a:lnTo>
                  <a:close/>
                  <a:moveTo>
                    <a:pt x="363" y="363"/>
                  </a:moveTo>
                  <a:lnTo>
                    <a:pt x="363" y="365"/>
                  </a:lnTo>
                  <a:lnTo>
                    <a:pt x="363" y="363"/>
                  </a:lnTo>
                  <a:close/>
                  <a:moveTo>
                    <a:pt x="16" y="217"/>
                  </a:moveTo>
                  <a:lnTo>
                    <a:pt x="16" y="219"/>
                  </a:lnTo>
                  <a:lnTo>
                    <a:pt x="16" y="217"/>
                  </a:lnTo>
                  <a:close/>
                  <a:moveTo>
                    <a:pt x="361" y="374"/>
                  </a:moveTo>
                  <a:lnTo>
                    <a:pt x="361" y="376"/>
                  </a:lnTo>
                  <a:lnTo>
                    <a:pt x="361" y="374"/>
                  </a:lnTo>
                  <a:close/>
                  <a:moveTo>
                    <a:pt x="357" y="384"/>
                  </a:moveTo>
                  <a:lnTo>
                    <a:pt x="357" y="386"/>
                  </a:lnTo>
                  <a:lnTo>
                    <a:pt x="357" y="384"/>
                  </a:lnTo>
                  <a:close/>
                  <a:moveTo>
                    <a:pt x="371" y="436"/>
                  </a:moveTo>
                  <a:lnTo>
                    <a:pt x="373" y="436"/>
                  </a:lnTo>
                  <a:lnTo>
                    <a:pt x="373" y="438"/>
                  </a:lnTo>
                  <a:lnTo>
                    <a:pt x="371" y="438"/>
                  </a:lnTo>
                  <a:lnTo>
                    <a:pt x="371" y="436"/>
                  </a:lnTo>
                  <a:close/>
                  <a:moveTo>
                    <a:pt x="14" y="217"/>
                  </a:moveTo>
                  <a:lnTo>
                    <a:pt x="14" y="219"/>
                  </a:lnTo>
                  <a:lnTo>
                    <a:pt x="14" y="217"/>
                  </a:lnTo>
                  <a:close/>
                  <a:moveTo>
                    <a:pt x="275" y="244"/>
                  </a:moveTo>
                  <a:lnTo>
                    <a:pt x="277" y="244"/>
                  </a:lnTo>
                  <a:lnTo>
                    <a:pt x="275" y="244"/>
                  </a:lnTo>
                  <a:close/>
                  <a:moveTo>
                    <a:pt x="273" y="244"/>
                  </a:moveTo>
                  <a:lnTo>
                    <a:pt x="275" y="244"/>
                  </a:lnTo>
                  <a:lnTo>
                    <a:pt x="273" y="244"/>
                  </a:lnTo>
                  <a:close/>
                  <a:moveTo>
                    <a:pt x="184" y="321"/>
                  </a:moveTo>
                  <a:lnTo>
                    <a:pt x="184" y="322"/>
                  </a:lnTo>
                  <a:lnTo>
                    <a:pt x="184" y="321"/>
                  </a:lnTo>
                  <a:close/>
                  <a:moveTo>
                    <a:pt x="361" y="363"/>
                  </a:moveTo>
                  <a:lnTo>
                    <a:pt x="363" y="363"/>
                  </a:lnTo>
                  <a:lnTo>
                    <a:pt x="361" y="363"/>
                  </a:lnTo>
                  <a:close/>
                  <a:moveTo>
                    <a:pt x="16" y="217"/>
                  </a:moveTo>
                  <a:lnTo>
                    <a:pt x="17" y="217"/>
                  </a:lnTo>
                  <a:lnTo>
                    <a:pt x="17" y="219"/>
                  </a:lnTo>
                  <a:lnTo>
                    <a:pt x="16" y="219"/>
                  </a:lnTo>
                  <a:lnTo>
                    <a:pt x="16" y="217"/>
                  </a:lnTo>
                  <a:close/>
                  <a:moveTo>
                    <a:pt x="363" y="432"/>
                  </a:moveTo>
                  <a:lnTo>
                    <a:pt x="365" y="432"/>
                  </a:lnTo>
                  <a:lnTo>
                    <a:pt x="363" y="432"/>
                  </a:lnTo>
                  <a:close/>
                  <a:moveTo>
                    <a:pt x="359" y="378"/>
                  </a:moveTo>
                  <a:lnTo>
                    <a:pt x="359" y="380"/>
                  </a:lnTo>
                  <a:lnTo>
                    <a:pt x="359" y="378"/>
                  </a:lnTo>
                  <a:close/>
                  <a:moveTo>
                    <a:pt x="292" y="232"/>
                  </a:moveTo>
                  <a:lnTo>
                    <a:pt x="294" y="232"/>
                  </a:lnTo>
                  <a:lnTo>
                    <a:pt x="292" y="232"/>
                  </a:lnTo>
                  <a:close/>
                  <a:moveTo>
                    <a:pt x="357" y="378"/>
                  </a:moveTo>
                  <a:lnTo>
                    <a:pt x="357" y="380"/>
                  </a:lnTo>
                  <a:lnTo>
                    <a:pt x="357" y="378"/>
                  </a:lnTo>
                  <a:close/>
                  <a:moveTo>
                    <a:pt x="357" y="384"/>
                  </a:moveTo>
                  <a:lnTo>
                    <a:pt x="357" y="386"/>
                  </a:lnTo>
                  <a:lnTo>
                    <a:pt x="357" y="384"/>
                  </a:lnTo>
                  <a:close/>
                  <a:moveTo>
                    <a:pt x="357" y="384"/>
                  </a:moveTo>
                  <a:lnTo>
                    <a:pt x="357" y="386"/>
                  </a:lnTo>
                  <a:lnTo>
                    <a:pt x="357" y="384"/>
                  </a:lnTo>
                  <a:close/>
                  <a:moveTo>
                    <a:pt x="65" y="399"/>
                  </a:moveTo>
                  <a:lnTo>
                    <a:pt x="65" y="401"/>
                  </a:lnTo>
                  <a:lnTo>
                    <a:pt x="65" y="399"/>
                  </a:lnTo>
                  <a:close/>
                  <a:moveTo>
                    <a:pt x="67" y="390"/>
                  </a:moveTo>
                  <a:lnTo>
                    <a:pt x="67" y="392"/>
                  </a:lnTo>
                  <a:lnTo>
                    <a:pt x="67" y="390"/>
                  </a:lnTo>
                  <a:close/>
                  <a:moveTo>
                    <a:pt x="359" y="365"/>
                  </a:moveTo>
                  <a:lnTo>
                    <a:pt x="359" y="367"/>
                  </a:lnTo>
                  <a:lnTo>
                    <a:pt x="359" y="365"/>
                  </a:lnTo>
                  <a:close/>
                  <a:moveTo>
                    <a:pt x="359" y="365"/>
                  </a:moveTo>
                  <a:lnTo>
                    <a:pt x="361" y="365"/>
                  </a:lnTo>
                  <a:lnTo>
                    <a:pt x="359" y="365"/>
                  </a:lnTo>
                  <a:close/>
                  <a:moveTo>
                    <a:pt x="58" y="395"/>
                  </a:moveTo>
                  <a:lnTo>
                    <a:pt x="60" y="395"/>
                  </a:lnTo>
                  <a:lnTo>
                    <a:pt x="58" y="395"/>
                  </a:lnTo>
                  <a:close/>
                  <a:moveTo>
                    <a:pt x="363" y="353"/>
                  </a:moveTo>
                  <a:lnTo>
                    <a:pt x="365" y="353"/>
                  </a:lnTo>
                  <a:lnTo>
                    <a:pt x="365" y="355"/>
                  </a:lnTo>
                  <a:lnTo>
                    <a:pt x="363" y="355"/>
                  </a:lnTo>
                  <a:lnTo>
                    <a:pt x="363" y="353"/>
                  </a:lnTo>
                  <a:close/>
                  <a:moveTo>
                    <a:pt x="25" y="217"/>
                  </a:moveTo>
                  <a:lnTo>
                    <a:pt x="27" y="217"/>
                  </a:lnTo>
                  <a:lnTo>
                    <a:pt x="25" y="217"/>
                  </a:lnTo>
                  <a:close/>
                  <a:moveTo>
                    <a:pt x="363" y="374"/>
                  </a:moveTo>
                  <a:lnTo>
                    <a:pt x="363" y="376"/>
                  </a:lnTo>
                  <a:lnTo>
                    <a:pt x="363" y="374"/>
                  </a:lnTo>
                  <a:close/>
                  <a:moveTo>
                    <a:pt x="67" y="267"/>
                  </a:moveTo>
                  <a:lnTo>
                    <a:pt x="69" y="267"/>
                  </a:lnTo>
                  <a:lnTo>
                    <a:pt x="67" y="267"/>
                  </a:lnTo>
                  <a:close/>
                  <a:moveTo>
                    <a:pt x="169" y="403"/>
                  </a:moveTo>
                  <a:lnTo>
                    <a:pt x="169" y="405"/>
                  </a:lnTo>
                  <a:lnTo>
                    <a:pt x="169" y="403"/>
                  </a:lnTo>
                  <a:close/>
                  <a:moveTo>
                    <a:pt x="302" y="224"/>
                  </a:moveTo>
                  <a:lnTo>
                    <a:pt x="302" y="226"/>
                  </a:lnTo>
                  <a:lnTo>
                    <a:pt x="302" y="224"/>
                  </a:lnTo>
                  <a:close/>
                  <a:moveTo>
                    <a:pt x="359" y="369"/>
                  </a:moveTo>
                  <a:lnTo>
                    <a:pt x="359" y="370"/>
                  </a:lnTo>
                  <a:lnTo>
                    <a:pt x="359" y="369"/>
                  </a:lnTo>
                  <a:close/>
                  <a:moveTo>
                    <a:pt x="273" y="249"/>
                  </a:moveTo>
                  <a:lnTo>
                    <a:pt x="273" y="251"/>
                  </a:lnTo>
                  <a:lnTo>
                    <a:pt x="273" y="249"/>
                  </a:lnTo>
                  <a:close/>
                  <a:moveTo>
                    <a:pt x="277" y="244"/>
                  </a:moveTo>
                  <a:lnTo>
                    <a:pt x="277" y="246"/>
                  </a:lnTo>
                  <a:lnTo>
                    <a:pt x="277" y="244"/>
                  </a:lnTo>
                  <a:close/>
                  <a:moveTo>
                    <a:pt x="373" y="449"/>
                  </a:moveTo>
                  <a:lnTo>
                    <a:pt x="374" y="449"/>
                  </a:lnTo>
                  <a:lnTo>
                    <a:pt x="373" y="449"/>
                  </a:lnTo>
                  <a:close/>
                  <a:moveTo>
                    <a:pt x="69" y="244"/>
                  </a:moveTo>
                  <a:lnTo>
                    <a:pt x="69" y="246"/>
                  </a:lnTo>
                  <a:lnTo>
                    <a:pt x="69" y="244"/>
                  </a:lnTo>
                  <a:close/>
                  <a:moveTo>
                    <a:pt x="363" y="376"/>
                  </a:moveTo>
                  <a:lnTo>
                    <a:pt x="363" y="378"/>
                  </a:lnTo>
                  <a:lnTo>
                    <a:pt x="363" y="376"/>
                  </a:lnTo>
                  <a:close/>
                  <a:moveTo>
                    <a:pt x="65" y="382"/>
                  </a:moveTo>
                  <a:lnTo>
                    <a:pt x="67" y="382"/>
                  </a:lnTo>
                  <a:lnTo>
                    <a:pt x="67" y="384"/>
                  </a:lnTo>
                  <a:lnTo>
                    <a:pt x="65" y="384"/>
                  </a:lnTo>
                  <a:lnTo>
                    <a:pt x="65" y="382"/>
                  </a:lnTo>
                  <a:close/>
                  <a:moveTo>
                    <a:pt x="359" y="388"/>
                  </a:moveTo>
                  <a:lnTo>
                    <a:pt x="359" y="390"/>
                  </a:lnTo>
                  <a:lnTo>
                    <a:pt x="359" y="388"/>
                  </a:lnTo>
                  <a:close/>
                  <a:moveTo>
                    <a:pt x="169" y="405"/>
                  </a:moveTo>
                  <a:lnTo>
                    <a:pt x="171" y="405"/>
                  </a:lnTo>
                  <a:lnTo>
                    <a:pt x="169" y="405"/>
                  </a:lnTo>
                  <a:close/>
                  <a:moveTo>
                    <a:pt x="254" y="261"/>
                  </a:moveTo>
                  <a:lnTo>
                    <a:pt x="255" y="261"/>
                  </a:lnTo>
                  <a:lnTo>
                    <a:pt x="254" y="261"/>
                  </a:lnTo>
                  <a:close/>
                  <a:moveTo>
                    <a:pt x="275" y="246"/>
                  </a:moveTo>
                  <a:lnTo>
                    <a:pt x="277" y="246"/>
                  </a:lnTo>
                  <a:lnTo>
                    <a:pt x="275" y="246"/>
                  </a:lnTo>
                  <a:close/>
                  <a:moveTo>
                    <a:pt x="361" y="372"/>
                  </a:moveTo>
                  <a:lnTo>
                    <a:pt x="361" y="374"/>
                  </a:lnTo>
                  <a:lnTo>
                    <a:pt x="361" y="372"/>
                  </a:lnTo>
                  <a:close/>
                  <a:moveTo>
                    <a:pt x="357" y="394"/>
                  </a:moveTo>
                  <a:lnTo>
                    <a:pt x="357" y="395"/>
                  </a:lnTo>
                  <a:lnTo>
                    <a:pt x="357" y="394"/>
                  </a:lnTo>
                  <a:close/>
                  <a:moveTo>
                    <a:pt x="359" y="365"/>
                  </a:moveTo>
                  <a:lnTo>
                    <a:pt x="361" y="365"/>
                  </a:lnTo>
                  <a:lnTo>
                    <a:pt x="359" y="365"/>
                  </a:lnTo>
                  <a:close/>
                  <a:moveTo>
                    <a:pt x="25" y="215"/>
                  </a:moveTo>
                  <a:lnTo>
                    <a:pt x="27" y="215"/>
                  </a:lnTo>
                  <a:lnTo>
                    <a:pt x="25" y="215"/>
                  </a:lnTo>
                  <a:close/>
                  <a:moveTo>
                    <a:pt x="113" y="395"/>
                  </a:moveTo>
                  <a:lnTo>
                    <a:pt x="113" y="397"/>
                  </a:lnTo>
                  <a:lnTo>
                    <a:pt x="113" y="395"/>
                  </a:lnTo>
                  <a:close/>
                  <a:moveTo>
                    <a:pt x="190" y="315"/>
                  </a:moveTo>
                  <a:lnTo>
                    <a:pt x="190" y="317"/>
                  </a:lnTo>
                  <a:lnTo>
                    <a:pt x="190" y="315"/>
                  </a:lnTo>
                  <a:close/>
                  <a:moveTo>
                    <a:pt x="263" y="257"/>
                  </a:moveTo>
                  <a:lnTo>
                    <a:pt x="265" y="257"/>
                  </a:lnTo>
                  <a:lnTo>
                    <a:pt x="263" y="257"/>
                  </a:lnTo>
                  <a:close/>
                  <a:moveTo>
                    <a:pt x="81" y="328"/>
                  </a:moveTo>
                  <a:lnTo>
                    <a:pt x="83" y="328"/>
                  </a:lnTo>
                  <a:lnTo>
                    <a:pt x="81" y="328"/>
                  </a:lnTo>
                  <a:close/>
                  <a:moveTo>
                    <a:pt x="232" y="282"/>
                  </a:moveTo>
                  <a:lnTo>
                    <a:pt x="234" y="282"/>
                  </a:lnTo>
                  <a:lnTo>
                    <a:pt x="232" y="282"/>
                  </a:lnTo>
                  <a:close/>
                  <a:moveTo>
                    <a:pt x="359" y="365"/>
                  </a:moveTo>
                  <a:lnTo>
                    <a:pt x="359" y="367"/>
                  </a:lnTo>
                  <a:lnTo>
                    <a:pt x="359" y="365"/>
                  </a:lnTo>
                  <a:close/>
                  <a:moveTo>
                    <a:pt x="246" y="267"/>
                  </a:moveTo>
                  <a:lnTo>
                    <a:pt x="248" y="267"/>
                  </a:lnTo>
                  <a:lnTo>
                    <a:pt x="246" y="267"/>
                  </a:lnTo>
                  <a:close/>
                  <a:moveTo>
                    <a:pt x="60" y="394"/>
                  </a:moveTo>
                  <a:lnTo>
                    <a:pt x="62" y="394"/>
                  </a:lnTo>
                  <a:lnTo>
                    <a:pt x="60" y="394"/>
                  </a:lnTo>
                  <a:close/>
                  <a:moveTo>
                    <a:pt x="361" y="355"/>
                  </a:moveTo>
                  <a:lnTo>
                    <a:pt x="363" y="355"/>
                  </a:lnTo>
                  <a:lnTo>
                    <a:pt x="361" y="355"/>
                  </a:lnTo>
                  <a:close/>
                  <a:moveTo>
                    <a:pt x="273" y="244"/>
                  </a:moveTo>
                  <a:lnTo>
                    <a:pt x="275" y="244"/>
                  </a:lnTo>
                  <a:lnTo>
                    <a:pt x="273" y="244"/>
                  </a:lnTo>
                  <a:close/>
                  <a:moveTo>
                    <a:pt x="359" y="367"/>
                  </a:moveTo>
                  <a:lnTo>
                    <a:pt x="359" y="369"/>
                  </a:lnTo>
                  <a:lnTo>
                    <a:pt x="359" y="367"/>
                  </a:lnTo>
                  <a:close/>
                  <a:moveTo>
                    <a:pt x="87" y="338"/>
                  </a:moveTo>
                  <a:lnTo>
                    <a:pt x="88" y="338"/>
                  </a:lnTo>
                  <a:lnTo>
                    <a:pt x="87" y="338"/>
                  </a:lnTo>
                  <a:close/>
                  <a:moveTo>
                    <a:pt x="359" y="374"/>
                  </a:moveTo>
                  <a:lnTo>
                    <a:pt x="359" y="376"/>
                  </a:lnTo>
                  <a:lnTo>
                    <a:pt x="359" y="374"/>
                  </a:lnTo>
                  <a:close/>
                  <a:moveTo>
                    <a:pt x="175" y="340"/>
                  </a:moveTo>
                  <a:lnTo>
                    <a:pt x="177" y="340"/>
                  </a:lnTo>
                  <a:lnTo>
                    <a:pt x="175" y="340"/>
                  </a:lnTo>
                  <a:close/>
                  <a:moveTo>
                    <a:pt x="25" y="217"/>
                  </a:moveTo>
                  <a:lnTo>
                    <a:pt x="27" y="217"/>
                  </a:lnTo>
                  <a:lnTo>
                    <a:pt x="25" y="217"/>
                  </a:lnTo>
                  <a:close/>
                  <a:moveTo>
                    <a:pt x="165" y="420"/>
                  </a:moveTo>
                  <a:lnTo>
                    <a:pt x="165" y="422"/>
                  </a:lnTo>
                  <a:lnTo>
                    <a:pt x="165" y="420"/>
                  </a:lnTo>
                  <a:close/>
                  <a:moveTo>
                    <a:pt x="184" y="321"/>
                  </a:moveTo>
                  <a:lnTo>
                    <a:pt x="184" y="322"/>
                  </a:lnTo>
                  <a:lnTo>
                    <a:pt x="184" y="321"/>
                  </a:lnTo>
                  <a:close/>
                  <a:moveTo>
                    <a:pt x="190" y="315"/>
                  </a:moveTo>
                  <a:lnTo>
                    <a:pt x="190" y="317"/>
                  </a:lnTo>
                  <a:lnTo>
                    <a:pt x="190" y="315"/>
                  </a:lnTo>
                  <a:close/>
                  <a:moveTo>
                    <a:pt x="169" y="403"/>
                  </a:moveTo>
                  <a:lnTo>
                    <a:pt x="169" y="405"/>
                  </a:lnTo>
                  <a:lnTo>
                    <a:pt x="169" y="403"/>
                  </a:lnTo>
                  <a:close/>
                  <a:moveTo>
                    <a:pt x="292" y="230"/>
                  </a:moveTo>
                  <a:lnTo>
                    <a:pt x="294" y="230"/>
                  </a:lnTo>
                  <a:lnTo>
                    <a:pt x="292" y="230"/>
                  </a:lnTo>
                  <a:close/>
                  <a:moveTo>
                    <a:pt x="113" y="395"/>
                  </a:moveTo>
                  <a:lnTo>
                    <a:pt x="113" y="397"/>
                  </a:lnTo>
                  <a:lnTo>
                    <a:pt x="113" y="395"/>
                  </a:lnTo>
                  <a:close/>
                  <a:moveTo>
                    <a:pt x="177" y="357"/>
                  </a:moveTo>
                  <a:lnTo>
                    <a:pt x="179" y="357"/>
                  </a:lnTo>
                  <a:lnTo>
                    <a:pt x="177" y="357"/>
                  </a:lnTo>
                  <a:close/>
                  <a:moveTo>
                    <a:pt x="165" y="420"/>
                  </a:moveTo>
                  <a:lnTo>
                    <a:pt x="165" y="422"/>
                  </a:lnTo>
                  <a:lnTo>
                    <a:pt x="165" y="420"/>
                  </a:lnTo>
                  <a:close/>
                  <a:moveTo>
                    <a:pt x="246" y="267"/>
                  </a:moveTo>
                  <a:lnTo>
                    <a:pt x="248" y="267"/>
                  </a:lnTo>
                  <a:lnTo>
                    <a:pt x="246" y="267"/>
                  </a:lnTo>
                  <a:close/>
                  <a:moveTo>
                    <a:pt x="25" y="217"/>
                  </a:moveTo>
                  <a:lnTo>
                    <a:pt x="27" y="217"/>
                  </a:lnTo>
                  <a:lnTo>
                    <a:pt x="25" y="217"/>
                  </a:lnTo>
                  <a:close/>
                  <a:moveTo>
                    <a:pt x="17" y="219"/>
                  </a:moveTo>
                  <a:lnTo>
                    <a:pt x="17" y="221"/>
                  </a:lnTo>
                  <a:lnTo>
                    <a:pt x="17" y="219"/>
                  </a:lnTo>
                  <a:close/>
                  <a:moveTo>
                    <a:pt x="165" y="422"/>
                  </a:moveTo>
                  <a:lnTo>
                    <a:pt x="167" y="422"/>
                  </a:lnTo>
                  <a:lnTo>
                    <a:pt x="165" y="422"/>
                  </a:lnTo>
                  <a:close/>
                  <a:moveTo>
                    <a:pt x="365" y="357"/>
                  </a:moveTo>
                  <a:lnTo>
                    <a:pt x="365" y="359"/>
                  </a:lnTo>
                  <a:lnTo>
                    <a:pt x="365" y="357"/>
                  </a:lnTo>
                  <a:close/>
                  <a:moveTo>
                    <a:pt x="165" y="422"/>
                  </a:moveTo>
                  <a:lnTo>
                    <a:pt x="167" y="422"/>
                  </a:lnTo>
                  <a:lnTo>
                    <a:pt x="165" y="42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328">
              <a:extLst>
                <a:ext uri="{FF2B5EF4-FFF2-40B4-BE49-F238E27FC236}">
                  <a16:creationId xmlns:a16="http://schemas.microsoft.com/office/drawing/2014/main" id="{D539CEF0-A504-4F5B-AD9A-428B33523672}"/>
                </a:ext>
              </a:extLst>
            </p:cNvPr>
            <p:cNvSpPr>
              <a:spLocks noEditPoints="1"/>
            </p:cNvSpPr>
            <p:nvPr/>
          </p:nvSpPr>
          <p:spPr bwMode="gray">
            <a:xfrm>
              <a:off x="3966163" y="4020702"/>
              <a:ext cx="221975" cy="126317"/>
            </a:xfrm>
            <a:custGeom>
              <a:avLst/>
              <a:gdLst>
                <a:gd name="T0" fmla="*/ 150 w 181"/>
                <a:gd name="T1" fmla="*/ 38 h 103"/>
                <a:gd name="T2" fmla="*/ 146 w 181"/>
                <a:gd name="T3" fmla="*/ 44 h 103"/>
                <a:gd name="T4" fmla="*/ 142 w 181"/>
                <a:gd name="T5" fmla="*/ 53 h 103"/>
                <a:gd name="T6" fmla="*/ 136 w 181"/>
                <a:gd name="T7" fmla="*/ 57 h 103"/>
                <a:gd name="T8" fmla="*/ 129 w 181"/>
                <a:gd name="T9" fmla="*/ 59 h 103"/>
                <a:gd name="T10" fmla="*/ 117 w 181"/>
                <a:gd name="T11" fmla="*/ 61 h 103"/>
                <a:gd name="T12" fmla="*/ 108 w 181"/>
                <a:gd name="T13" fmla="*/ 65 h 103"/>
                <a:gd name="T14" fmla="*/ 102 w 181"/>
                <a:gd name="T15" fmla="*/ 69 h 103"/>
                <a:gd name="T16" fmla="*/ 96 w 181"/>
                <a:gd name="T17" fmla="*/ 72 h 103"/>
                <a:gd name="T18" fmla="*/ 92 w 181"/>
                <a:gd name="T19" fmla="*/ 74 h 103"/>
                <a:gd name="T20" fmla="*/ 87 w 181"/>
                <a:gd name="T21" fmla="*/ 74 h 103"/>
                <a:gd name="T22" fmla="*/ 77 w 181"/>
                <a:gd name="T23" fmla="*/ 78 h 103"/>
                <a:gd name="T24" fmla="*/ 67 w 181"/>
                <a:gd name="T25" fmla="*/ 82 h 103"/>
                <a:gd name="T26" fmla="*/ 56 w 181"/>
                <a:gd name="T27" fmla="*/ 84 h 103"/>
                <a:gd name="T28" fmla="*/ 48 w 181"/>
                <a:gd name="T29" fmla="*/ 90 h 103"/>
                <a:gd name="T30" fmla="*/ 42 w 181"/>
                <a:gd name="T31" fmla="*/ 94 h 103"/>
                <a:gd name="T32" fmla="*/ 40 w 181"/>
                <a:gd name="T33" fmla="*/ 94 h 103"/>
                <a:gd name="T34" fmla="*/ 39 w 181"/>
                <a:gd name="T35" fmla="*/ 94 h 103"/>
                <a:gd name="T36" fmla="*/ 37 w 181"/>
                <a:gd name="T37" fmla="*/ 94 h 103"/>
                <a:gd name="T38" fmla="*/ 27 w 181"/>
                <a:gd name="T39" fmla="*/ 97 h 103"/>
                <a:gd name="T40" fmla="*/ 23 w 181"/>
                <a:gd name="T41" fmla="*/ 96 h 103"/>
                <a:gd name="T42" fmla="*/ 17 w 181"/>
                <a:gd name="T43" fmla="*/ 92 h 103"/>
                <a:gd name="T44" fmla="*/ 16 w 181"/>
                <a:gd name="T45" fmla="*/ 80 h 103"/>
                <a:gd name="T46" fmla="*/ 12 w 181"/>
                <a:gd name="T47" fmla="*/ 71 h 103"/>
                <a:gd name="T48" fmla="*/ 10 w 181"/>
                <a:gd name="T49" fmla="*/ 63 h 103"/>
                <a:gd name="T50" fmla="*/ 10 w 181"/>
                <a:gd name="T51" fmla="*/ 57 h 103"/>
                <a:gd name="T52" fmla="*/ 8 w 181"/>
                <a:gd name="T53" fmla="*/ 57 h 103"/>
                <a:gd name="T54" fmla="*/ 8 w 181"/>
                <a:gd name="T55" fmla="*/ 55 h 103"/>
                <a:gd name="T56" fmla="*/ 10 w 181"/>
                <a:gd name="T57" fmla="*/ 48 h 103"/>
                <a:gd name="T58" fmla="*/ 8 w 181"/>
                <a:gd name="T59" fmla="*/ 40 h 103"/>
                <a:gd name="T60" fmla="*/ 14 w 181"/>
                <a:gd name="T61" fmla="*/ 36 h 103"/>
                <a:gd name="T62" fmla="*/ 14 w 181"/>
                <a:gd name="T63" fmla="*/ 30 h 103"/>
                <a:gd name="T64" fmla="*/ 16 w 181"/>
                <a:gd name="T65" fmla="*/ 26 h 103"/>
                <a:gd name="T66" fmla="*/ 19 w 181"/>
                <a:gd name="T67" fmla="*/ 21 h 103"/>
                <a:gd name="T68" fmla="*/ 29 w 181"/>
                <a:gd name="T69" fmla="*/ 24 h 103"/>
                <a:gd name="T70" fmla="*/ 44 w 181"/>
                <a:gd name="T71" fmla="*/ 23 h 103"/>
                <a:gd name="T72" fmla="*/ 71 w 181"/>
                <a:gd name="T73" fmla="*/ 30 h 103"/>
                <a:gd name="T74" fmla="*/ 110 w 181"/>
                <a:gd name="T75" fmla="*/ 3 h 103"/>
                <a:gd name="T76" fmla="*/ 154 w 181"/>
                <a:gd name="T77" fmla="*/ 24 h 103"/>
                <a:gd name="T78" fmla="*/ 167 w 181"/>
                <a:gd name="T79" fmla="*/ 96 h 103"/>
                <a:gd name="T80" fmla="*/ 177 w 181"/>
                <a:gd name="T81" fmla="*/ 96 h 103"/>
                <a:gd name="T82" fmla="*/ 179 w 181"/>
                <a:gd name="T83" fmla="*/ 99 h 103"/>
                <a:gd name="T84" fmla="*/ 167 w 181"/>
                <a:gd name="T85" fmla="*/ 101 h 103"/>
                <a:gd name="T86" fmla="*/ 163 w 181"/>
                <a:gd name="T87" fmla="*/ 96 h 103"/>
                <a:gd name="T88" fmla="*/ 148 w 181"/>
                <a:gd name="T89" fmla="*/ 103 h 103"/>
                <a:gd name="T90" fmla="*/ 144 w 181"/>
                <a:gd name="T91" fmla="*/ 101 h 103"/>
                <a:gd name="T92" fmla="*/ 8 w 181"/>
                <a:gd name="T93" fmla="*/ 76 h 103"/>
                <a:gd name="T94" fmla="*/ 158 w 181"/>
                <a:gd name="T95" fmla="*/ 103 h 103"/>
                <a:gd name="T96" fmla="*/ 4 w 181"/>
                <a:gd name="T97" fmla="*/ 40 h 103"/>
                <a:gd name="T98" fmla="*/ 0 w 181"/>
                <a:gd name="T99" fmla="*/ 42 h 103"/>
                <a:gd name="T100" fmla="*/ 4 w 181"/>
                <a:gd name="T101" fmla="*/ 53 h 103"/>
                <a:gd name="T102" fmla="*/ 12 w 181"/>
                <a:gd name="T103" fmla="*/ 67 h 103"/>
                <a:gd name="T104" fmla="*/ 8 w 181"/>
                <a:gd name="T105" fmla="*/ 80 h 103"/>
                <a:gd name="T106" fmla="*/ 10 w 181"/>
                <a:gd name="T107" fmla="*/ 76 h 103"/>
                <a:gd name="T108" fmla="*/ 12 w 181"/>
                <a:gd name="T109" fmla="*/ 61 h 103"/>
                <a:gd name="T110" fmla="*/ 6 w 181"/>
                <a:gd name="T111" fmla="*/ 5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103">
                  <a:moveTo>
                    <a:pt x="159" y="36"/>
                  </a:moveTo>
                  <a:lnTo>
                    <a:pt x="158" y="36"/>
                  </a:lnTo>
                  <a:lnTo>
                    <a:pt x="156" y="36"/>
                  </a:lnTo>
                  <a:lnTo>
                    <a:pt x="154" y="36"/>
                  </a:lnTo>
                  <a:lnTo>
                    <a:pt x="154" y="38"/>
                  </a:lnTo>
                  <a:lnTo>
                    <a:pt x="152" y="38"/>
                  </a:lnTo>
                  <a:lnTo>
                    <a:pt x="150" y="38"/>
                  </a:lnTo>
                  <a:lnTo>
                    <a:pt x="150" y="40"/>
                  </a:lnTo>
                  <a:lnTo>
                    <a:pt x="150" y="38"/>
                  </a:lnTo>
                  <a:lnTo>
                    <a:pt x="150" y="40"/>
                  </a:lnTo>
                  <a:lnTo>
                    <a:pt x="148" y="40"/>
                  </a:lnTo>
                  <a:lnTo>
                    <a:pt x="148" y="42"/>
                  </a:lnTo>
                  <a:lnTo>
                    <a:pt x="146" y="42"/>
                  </a:lnTo>
                  <a:lnTo>
                    <a:pt x="146" y="44"/>
                  </a:lnTo>
                  <a:lnTo>
                    <a:pt x="146" y="46"/>
                  </a:lnTo>
                  <a:lnTo>
                    <a:pt x="146" y="48"/>
                  </a:lnTo>
                  <a:lnTo>
                    <a:pt x="146" y="49"/>
                  </a:lnTo>
                  <a:lnTo>
                    <a:pt x="146" y="51"/>
                  </a:lnTo>
                  <a:lnTo>
                    <a:pt x="144" y="51"/>
                  </a:lnTo>
                  <a:lnTo>
                    <a:pt x="142" y="51"/>
                  </a:lnTo>
                  <a:lnTo>
                    <a:pt x="142" y="53"/>
                  </a:lnTo>
                  <a:lnTo>
                    <a:pt x="140" y="53"/>
                  </a:lnTo>
                  <a:lnTo>
                    <a:pt x="138" y="53"/>
                  </a:lnTo>
                  <a:lnTo>
                    <a:pt x="138" y="55"/>
                  </a:lnTo>
                  <a:lnTo>
                    <a:pt x="136" y="55"/>
                  </a:lnTo>
                  <a:lnTo>
                    <a:pt x="136" y="57"/>
                  </a:lnTo>
                  <a:lnTo>
                    <a:pt x="136" y="55"/>
                  </a:lnTo>
                  <a:lnTo>
                    <a:pt x="136" y="57"/>
                  </a:lnTo>
                  <a:lnTo>
                    <a:pt x="135" y="57"/>
                  </a:lnTo>
                  <a:lnTo>
                    <a:pt x="135" y="55"/>
                  </a:lnTo>
                  <a:lnTo>
                    <a:pt x="135" y="57"/>
                  </a:lnTo>
                  <a:lnTo>
                    <a:pt x="133" y="57"/>
                  </a:lnTo>
                  <a:lnTo>
                    <a:pt x="131" y="57"/>
                  </a:lnTo>
                  <a:lnTo>
                    <a:pt x="129" y="57"/>
                  </a:lnTo>
                  <a:lnTo>
                    <a:pt x="129" y="59"/>
                  </a:lnTo>
                  <a:lnTo>
                    <a:pt x="127" y="59"/>
                  </a:lnTo>
                  <a:lnTo>
                    <a:pt x="125" y="59"/>
                  </a:lnTo>
                  <a:lnTo>
                    <a:pt x="123" y="59"/>
                  </a:lnTo>
                  <a:lnTo>
                    <a:pt x="121" y="59"/>
                  </a:lnTo>
                  <a:lnTo>
                    <a:pt x="121" y="61"/>
                  </a:lnTo>
                  <a:lnTo>
                    <a:pt x="119" y="61"/>
                  </a:lnTo>
                  <a:lnTo>
                    <a:pt x="117" y="61"/>
                  </a:lnTo>
                  <a:lnTo>
                    <a:pt x="117" y="63"/>
                  </a:lnTo>
                  <a:lnTo>
                    <a:pt x="115" y="63"/>
                  </a:lnTo>
                  <a:lnTo>
                    <a:pt x="113" y="63"/>
                  </a:lnTo>
                  <a:lnTo>
                    <a:pt x="111" y="63"/>
                  </a:lnTo>
                  <a:lnTo>
                    <a:pt x="110" y="63"/>
                  </a:lnTo>
                  <a:lnTo>
                    <a:pt x="110" y="65"/>
                  </a:lnTo>
                  <a:lnTo>
                    <a:pt x="108" y="65"/>
                  </a:lnTo>
                  <a:lnTo>
                    <a:pt x="106" y="65"/>
                  </a:lnTo>
                  <a:lnTo>
                    <a:pt x="108" y="65"/>
                  </a:lnTo>
                  <a:lnTo>
                    <a:pt x="106" y="65"/>
                  </a:lnTo>
                  <a:lnTo>
                    <a:pt x="104" y="65"/>
                  </a:lnTo>
                  <a:lnTo>
                    <a:pt x="104" y="67"/>
                  </a:lnTo>
                  <a:lnTo>
                    <a:pt x="102" y="67"/>
                  </a:lnTo>
                  <a:lnTo>
                    <a:pt x="102" y="69"/>
                  </a:lnTo>
                  <a:lnTo>
                    <a:pt x="102" y="67"/>
                  </a:lnTo>
                  <a:lnTo>
                    <a:pt x="100" y="67"/>
                  </a:lnTo>
                  <a:lnTo>
                    <a:pt x="100" y="69"/>
                  </a:lnTo>
                  <a:lnTo>
                    <a:pt x="100" y="71"/>
                  </a:lnTo>
                  <a:lnTo>
                    <a:pt x="98" y="71"/>
                  </a:lnTo>
                  <a:lnTo>
                    <a:pt x="98" y="72"/>
                  </a:lnTo>
                  <a:lnTo>
                    <a:pt x="96" y="72"/>
                  </a:lnTo>
                  <a:lnTo>
                    <a:pt x="96" y="74"/>
                  </a:lnTo>
                  <a:lnTo>
                    <a:pt x="94" y="74"/>
                  </a:lnTo>
                  <a:lnTo>
                    <a:pt x="92" y="74"/>
                  </a:lnTo>
                  <a:lnTo>
                    <a:pt x="92" y="76"/>
                  </a:lnTo>
                  <a:lnTo>
                    <a:pt x="92" y="74"/>
                  </a:lnTo>
                  <a:lnTo>
                    <a:pt x="92" y="76"/>
                  </a:lnTo>
                  <a:lnTo>
                    <a:pt x="92" y="74"/>
                  </a:lnTo>
                  <a:lnTo>
                    <a:pt x="90" y="74"/>
                  </a:lnTo>
                  <a:lnTo>
                    <a:pt x="90" y="76"/>
                  </a:lnTo>
                  <a:lnTo>
                    <a:pt x="88" y="76"/>
                  </a:lnTo>
                  <a:lnTo>
                    <a:pt x="87" y="76"/>
                  </a:lnTo>
                  <a:lnTo>
                    <a:pt x="87" y="74"/>
                  </a:lnTo>
                  <a:lnTo>
                    <a:pt x="87" y="76"/>
                  </a:lnTo>
                  <a:lnTo>
                    <a:pt x="87" y="74"/>
                  </a:lnTo>
                  <a:lnTo>
                    <a:pt x="85" y="74"/>
                  </a:lnTo>
                  <a:lnTo>
                    <a:pt x="83" y="74"/>
                  </a:lnTo>
                  <a:lnTo>
                    <a:pt x="83" y="76"/>
                  </a:lnTo>
                  <a:lnTo>
                    <a:pt x="81" y="76"/>
                  </a:lnTo>
                  <a:lnTo>
                    <a:pt x="81" y="78"/>
                  </a:lnTo>
                  <a:lnTo>
                    <a:pt x="79" y="78"/>
                  </a:lnTo>
                  <a:lnTo>
                    <a:pt x="77" y="78"/>
                  </a:lnTo>
                  <a:lnTo>
                    <a:pt x="77" y="80"/>
                  </a:lnTo>
                  <a:lnTo>
                    <a:pt x="75" y="80"/>
                  </a:lnTo>
                  <a:lnTo>
                    <a:pt x="75" y="82"/>
                  </a:lnTo>
                  <a:lnTo>
                    <a:pt x="73" y="82"/>
                  </a:lnTo>
                  <a:lnTo>
                    <a:pt x="71" y="82"/>
                  </a:lnTo>
                  <a:lnTo>
                    <a:pt x="69" y="82"/>
                  </a:lnTo>
                  <a:lnTo>
                    <a:pt x="67" y="82"/>
                  </a:lnTo>
                  <a:lnTo>
                    <a:pt x="67" y="84"/>
                  </a:lnTo>
                  <a:lnTo>
                    <a:pt x="65" y="84"/>
                  </a:lnTo>
                  <a:lnTo>
                    <a:pt x="64" y="84"/>
                  </a:lnTo>
                  <a:lnTo>
                    <a:pt x="62" y="84"/>
                  </a:lnTo>
                  <a:lnTo>
                    <a:pt x="60" y="84"/>
                  </a:lnTo>
                  <a:lnTo>
                    <a:pt x="58" y="84"/>
                  </a:lnTo>
                  <a:lnTo>
                    <a:pt x="56" y="84"/>
                  </a:lnTo>
                  <a:lnTo>
                    <a:pt x="54" y="84"/>
                  </a:lnTo>
                  <a:lnTo>
                    <a:pt x="52" y="84"/>
                  </a:lnTo>
                  <a:lnTo>
                    <a:pt x="52" y="86"/>
                  </a:lnTo>
                  <a:lnTo>
                    <a:pt x="50" y="86"/>
                  </a:lnTo>
                  <a:lnTo>
                    <a:pt x="48" y="86"/>
                  </a:lnTo>
                  <a:lnTo>
                    <a:pt x="48" y="88"/>
                  </a:lnTo>
                  <a:lnTo>
                    <a:pt x="48" y="90"/>
                  </a:lnTo>
                  <a:lnTo>
                    <a:pt x="46" y="90"/>
                  </a:lnTo>
                  <a:lnTo>
                    <a:pt x="44" y="90"/>
                  </a:lnTo>
                  <a:lnTo>
                    <a:pt x="42" y="90"/>
                  </a:lnTo>
                  <a:lnTo>
                    <a:pt x="42" y="92"/>
                  </a:lnTo>
                  <a:lnTo>
                    <a:pt x="42" y="94"/>
                  </a:lnTo>
                  <a:lnTo>
                    <a:pt x="40" y="94"/>
                  </a:lnTo>
                  <a:lnTo>
                    <a:pt x="42" y="94"/>
                  </a:lnTo>
                  <a:lnTo>
                    <a:pt x="40" y="94"/>
                  </a:lnTo>
                  <a:lnTo>
                    <a:pt x="42" y="94"/>
                  </a:lnTo>
                  <a:lnTo>
                    <a:pt x="40" y="94"/>
                  </a:lnTo>
                  <a:lnTo>
                    <a:pt x="42" y="94"/>
                  </a:lnTo>
                  <a:lnTo>
                    <a:pt x="40" y="94"/>
                  </a:lnTo>
                  <a:lnTo>
                    <a:pt x="42" y="94"/>
                  </a:lnTo>
                  <a:lnTo>
                    <a:pt x="40" y="94"/>
                  </a:lnTo>
                  <a:lnTo>
                    <a:pt x="39" y="94"/>
                  </a:lnTo>
                  <a:lnTo>
                    <a:pt x="40" y="94"/>
                  </a:lnTo>
                  <a:lnTo>
                    <a:pt x="39" y="94"/>
                  </a:lnTo>
                  <a:lnTo>
                    <a:pt x="40" y="94"/>
                  </a:lnTo>
                  <a:lnTo>
                    <a:pt x="39" y="94"/>
                  </a:lnTo>
                  <a:lnTo>
                    <a:pt x="40" y="96"/>
                  </a:lnTo>
                  <a:lnTo>
                    <a:pt x="39" y="94"/>
                  </a:lnTo>
                  <a:lnTo>
                    <a:pt x="39" y="96"/>
                  </a:lnTo>
                  <a:lnTo>
                    <a:pt x="39" y="94"/>
                  </a:lnTo>
                  <a:lnTo>
                    <a:pt x="39" y="96"/>
                  </a:lnTo>
                  <a:lnTo>
                    <a:pt x="39" y="94"/>
                  </a:lnTo>
                  <a:lnTo>
                    <a:pt x="39" y="96"/>
                  </a:lnTo>
                  <a:lnTo>
                    <a:pt x="39" y="94"/>
                  </a:lnTo>
                  <a:lnTo>
                    <a:pt x="37" y="94"/>
                  </a:lnTo>
                  <a:lnTo>
                    <a:pt x="35" y="94"/>
                  </a:lnTo>
                  <a:lnTo>
                    <a:pt x="33" y="94"/>
                  </a:lnTo>
                  <a:lnTo>
                    <a:pt x="33" y="96"/>
                  </a:lnTo>
                  <a:lnTo>
                    <a:pt x="31" y="96"/>
                  </a:lnTo>
                  <a:lnTo>
                    <a:pt x="29" y="96"/>
                  </a:lnTo>
                  <a:lnTo>
                    <a:pt x="27" y="96"/>
                  </a:lnTo>
                  <a:lnTo>
                    <a:pt x="27" y="97"/>
                  </a:lnTo>
                  <a:lnTo>
                    <a:pt x="27" y="96"/>
                  </a:lnTo>
                  <a:lnTo>
                    <a:pt x="27" y="97"/>
                  </a:lnTo>
                  <a:lnTo>
                    <a:pt x="27" y="96"/>
                  </a:lnTo>
                  <a:lnTo>
                    <a:pt x="27" y="97"/>
                  </a:lnTo>
                  <a:lnTo>
                    <a:pt x="25" y="97"/>
                  </a:lnTo>
                  <a:lnTo>
                    <a:pt x="25" y="96"/>
                  </a:lnTo>
                  <a:lnTo>
                    <a:pt x="23" y="96"/>
                  </a:lnTo>
                  <a:lnTo>
                    <a:pt x="21" y="96"/>
                  </a:lnTo>
                  <a:lnTo>
                    <a:pt x="21" y="94"/>
                  </a:lnTo>
                  <a:lnTo>
                    <a:pt x="19" y="94"/>
                  </a:lnTo>
                  <a:lnTo>
                    <a:pt x="19" y="96"/>
                  </a:lnTo>
                  <a:lnTo>
                    <a:pt x="19" y="94"/>
                  </a:lnTo>
                  <a:lnTo>
                    <a:pt x="19" y="92"/>
                  </a:lnTo>
                  <a:lnTo>
                    <a:pt x="17" y="92"/>
                  </a:lnTo>
                  <a:lnTo>
                    <a:pt x="17" y="90"/>
                  </a:lnTo>
                  <a:lnTo>
                    <a:pt x="16" y="90"/>
                  </a:lnTo>
                  <a:lnTo>
                    <a:pt x="16" y="88"/>
                  </a:lnTo>
                  <a:lnTo>
                    <a:pt x="16" y="86"/>
                  </a:lnTo>
                  <a:lnTo>
                    <a:pt x="16" y="84"/>
                  </a:lnTo>
                  <a:lnTo>
                    <a:pt x="16" y="82"/>
                  </a:lnTo>
                  <a:lnTo>
                    <a:pt x="16" y="80"/>
                  </a:lnTo>
                  <a:lnTo>
                    <a:pt x="16" y="78"/>
                  </a:lnTo>
                  <a:lnTo>
                    <a:pt x="16" y="76"/>
                  </a:lnTo>
                  <a:lnTo>
                    <a:pt x="14" y="76"/>
                  </a:lnTo>
                  <a:lnTo>
                    <a:pt x="14" y="74"/>
                  </a:lnTo>
                  <a:lnTo>
                    <a:pt x="14" y="72"/>
                  </a:lnTo>
                  <a:lnTo>
                    <a:pt x="12" y="72"/>
                  </a:lnTo>
                  <a:lnTo>
                    <a:pt x="12" y="71"/>
                  </a:lnTo>
                  <a:lnTo>
                    <a:pt x="12" y="69"/>
                  </a:lnTo>
                  <a:lnTo>
                    <a:pt x="12" y="67"/>
                  </a:lnTo>
                  <a:lnTo>
                    <a:pt x="12" y="69"/>
                  </a:lnTo>
                  <a:lnTo>
                    <a:pt x="12" y="67"/>
                  </a:lnTo>
                  <a:lnTo>
                    <a:pt x="12" y="65"/>
                  </a:lnTo>
                  <a:lnTo>
                    <a:pt x="12" y="63"/>
                  </a:lnTo>
                  <a:lnTo>
                    <a:pt x="10" y="63"/>
                  </a:lnTo>
                  <a:lnTo>
                    <a:pt x="10" y="61"/>
                  </a:lnTo>
                  <a:lnTo>
                    <a:pt x="10" y="63"/>
                  </a:lnTo>
                  <a:lnTo>
                    <a:pt x="12" y="63"/>
                  </a:lnTo>
                  <a:lnTo>
                    <a:pt x="12" y="61"/>
                  </a:lnTo>
                  <a:lnTo>
                    <a:pt x="10" y="61"/>
                  </a:lnTo>
                  <a:lnTo>
                    <a:pt x="10" y="59"/>
                  </a:lnTo>
                  <a:lnTo>
                    <a:pt x="10" y="57"/>
                  </a:lnTo>
                  <a:lnTo>
                    <a:pt x="8" y="57"/>
                  </a:lnTo>
                  <a:lnTo>
                    <a:pt x="6" y="57"/>
                  </a:lnTo>
                  <a:lnTo>
                    <a:pt x="8" y="57"/>
                  </a:lnTo>
                  <a:lnTo>
                    <a:pt x="8" y="55"/>
                  </a:lnTo>
                  <a:lnTo>
                    <a:pt x="8" y="57"/>
                  </a:lnTo>
                  <a:lnTo>
                    <a:pt x="8" y="55"/>
                  </a:lnTo>
                  <a:lnTo>
                    <a:pt x="8" y="57"/>
                  </a:lnTo>
                  <a:lnTo>
                    <a:pt x="8" y="55"/>
                  </a:lnTo>
                  <a:lnTo>
                    <a:pt x="8" y="57"/>
                  </a:lnTo>
                  <a:lnTo>
                    <a:pt x="10" y="57"/>
                  </a:lnTo>
                  <a:lnTo>
                    <a:pt x="10" y="55"/>
                  </a:lnTo>
                  <a:lnTo>
                    <a:pt x="8" y="55"/>
                  </a:lnTo>
                  <a:lnTo>
                    <a:pt x="10" y="55"/>
                  </a:lnTo>
                  <a:lnTo>
                    <a:pt x="8" y="55"/>
                  </a:lnTo>
                  <a:lnTo>
                    <a:pt x="10" y="55"/>
                  </a:lnTo>
                  <a:lnTo>
                    <a:pt x="8" y="55"/>
                  </a:lnTo>
                  <a:lnTo>
                    <a:pt x="8" y="53"/>
                  </a:lnTo>
                  <a:lnTo>
                    <a:pt x="8" y="51"/>
                  </a:lnTo>
                  <a:lnTo>
                    <a:pt x="8" y="49"/>
                  </a:lnTo>
                  <a:lnTo>
                    <a:pt x="8" y="48"/>
                  </a:lnTo>
                  <a:lnTo>
                    <a:pt x="10" y="48"/>
                  </a:lnTo>
                  <a:lnTo>
                    <a:pt x="10" y="46"/>
                  </a:lnTo>
                  <a:lnTo>
                    <a:pt x="10" y="44"/>
                  </a:lnTo>
                  <a:lnTo>
                    <a:pt x="10" y="42"/>
                  </a:lnTo>
                  <a:lnTo>
                    <a:pt x="10" y="40"/>
                  </a:lnTo>
                  <a:lnTo>
                    <a:pt x="8" y="40"/>
                  </a:lnTo>
                  <a:lnTo>
                    <a:pt x="10" y="40"/>
                  </a:lnTo>
                  <a:lnTo>
                    <a:pt x="8" y="40"/>
                  </a:lnTo>
                  <a:lnTo>
                    <a:pt x="10" y="40"/>
                  </a:lnTo>
                  <a:lnTo>
                    <a:pt x="12" y="40"/>
                  </a:lnTo>
                  <a:lnTo>
                    <a:pt x="12" y="38"/>
                  </a:lnTo>
                  <a:lnTo>
                    <a:pt x="14" y="38"/>
                  </a:lnTo>
                  <a:lnTo>
                    <a:pt x="14" y="36"/>
                  </a:lnTo>
                  <a:lnTo>
                    <a:pt x="14" y="34"/>
                  </a:lnTo>
                  <a:lnTo>
                    <a:pt x="14" y="36"/>
                  </a:lnTo>
                  <a:lnTo>
                    <a:pt x="16" y="36"/>
                  </a:lnTo>
                  <a:lnTo>
                    <a:pt x="16" y="34"/>
                  </a:lnTo>
                  <a:lnTo>
                    <a:pt x="16" y="32"/>
                  </a:lnTo>
                  <a:lnTo>
                    <a:pt x="14" y="32"/>
                  </a:lnTo>
                  <a:lnTo>
                    <a:pt x="14" y="30"/>
                  </a:lnTo>
                  <a:lnTo>
                    <a:pt x="16" y="30"/>
                  </a:lnTo>
                  <a:lnTo>
                    <a:pt x="14" y="30"/>
                  </a:lnTo>
                  <a:lnTo>
                    <a:pt x="16" y="30"/>
                  </a:lnTo>
                  <a:lnTo>
                    <a:pt x="16" y="28"/>
                  </a:lnTo>
                  <a:lnTo>
                    <a:pt x="14" y="28"/>
                  </a:lnTo>
                  <a:lnTo>
                    <a:pt x="14" y="26"/>
                  </a:lnTo>
                  <a:lnTo>
                    <a:pt x="16" y="26"/>
                  </a:lnTo>
                  <a:lnTo>
                    <a:pt x="16" y="24"/>
                  </a:lnTo>
                  <a:lnTo>
                    <a:pt x="16" y="26"/>
                  </a:lnTo>
                  <a:lnTo>
                    <a:pt x="16" y="24"/>
                  </a:lnTo>
                  <a:lnTo>
                    <a:pt x="17" y="24"/>
                  </a:lnTo>
                  <a:lnTo>
                    <a:pt x="16" y="24"/>
                  </a:lnTo>
                  <a:lnTo>
                    <a:pt x="16" y="23"/>
                  </a:lnTo>
                  <a:lnTo>
                    <a:pt x="17" y="23"/>
                  </a:lnTo>
                  <a:lnTo>
                    <a:pt x="17" y="21"/>
                  </a:lnTo>
                  <a:lnTo>
                    <a:pt x="19" y="21"/>
                  </a:lnTo>
                  <a:lnTo>
                    <a:pt x="19" y="23"/>
                  </a:lnTo>
                  <a:lnTo>
                    <a:pt x="21" y="23"/>
                  </a:lnTo>
                  <a:lnTo>
                    <a:pt x="21" y="24"/>
                  </a:lnTo>
                  <a:lnTo>
                    <a:pt x="23" y="24"/>
                  </a:lnTo>
                  <a:lnTo>
                    <a:pt x="25" y="24"/>
                  </a:lnTo>
                  <a:lnTo>
                    <a:pt x="27" y="24"/>
                  </a:lnTo>
                  <a:lnTo>
                    <a:pt x="29" y="24"/>
                  </a:lnTo>
                  <a:lnTo>
                    <a:pt x="29" y="23"/>
                  </a:lnTo>
                  <a:lnTo>
                    <a:pt x="31" y="23"/>
                  </a:lnTo>
                  <a:lnTo>
                    <a:pt x="33" y="23"/>
                  </a:lnTo>
                  <a:lnTo>
                    <a:pt x="35" y="24"/>
                  </a:lnTo>
                  <a:lnTo>
                    <a:pt x="37" y="23"/>
                  </a:lnTo>
                  <a:lnTo>
                    <a:pt x="39" y="23"/>
                  </a:lnTo>
                  <a:lnTo>
                    <a:pt x="44" y="23"/>
                  </a:lnTo>
                  <a:lnTo>
                    <a:pt x="46" y="24"/>
                  </a:lnTo>
                  <a:lnTo>
                    <a:pt x="56" y="26"/>
                  </a:lnTo>
                  <a:lnTo>
                    <a:pt x="58" y="26"/>
                  </a:lnTo>
                  <a:lnTo>
                    <a:pt x="62" y="26"/>
                  </a:lnTo>
                  <a:lnTo>
                    <a:pt x="67" y="26"/>
                  </a:lnTo>
                  <a:lnTo>
                    <a:pt x="67" y="28"/>
                  </a:lnTo>
                  <a:lnTo>
                    <a:pt x="71" y="30"/>
                  </a:lnTo>
                  <a:lnTo>
                    <a:pt x="73" y="30"/>
                  </a:lnTo>
                  <a:lnTo>
                    <a:pt x="77" y="28"/>
                  </a:lnTo>
                  <a:lnTo>
                    <a:pt x="79" y="23"/>
                  </a:lnTo>
                  <a:lnTo>
                    <a:pt x="88" y="11"/>
                  </a:lnTo>
                  <a:lnTo>
                    <a:pt x="94" y="9"/>
                  </a:lnTo>
                  <a:lnTo>
                    <a:pt x="102" y="5"/>
                  </a:lnTo>
                  <a:lnTo>
                    <a:pt x="110" y="3"/>
                  </a:lnTo>
                  <a:lnTo>
                    <a:pt x="119" y="3"/>
                  </a:lnTo>
                  <a:lnTo>
                    <a:pt x="125" y="3"/>
                  </a:lnTo>
                  <a:lnTo>
                    <a:pt x="138" y="0"/>
                  </a:lnTo>
                  <a:lnTo>
                    <a:pt x="144" y="0"/>
                  </a:lnTo>
                  <a:lnTo>
                    <a:pt x="148" y="9"/>
                  </a:lnTo>
                  <a:lnTo>
                    <a:pt x="156" y="24"/>
                  </a:lnTo>
                  <a:lnTo>
                    <a:pt x="154" y="24"/>
                  </a:lnTo>
                  <a:lnTo>
                    <a:pt x="156" y="26"/>
                  </a:lnTo>
                  <a:lnTo>
                    <a:pt x="158" y="30"/>
                  </a:lnTo>
                  <a:lnTo>
                    <a:pt x="159" y="32"/>
                  </a:lnTo>
                  <a:lnTo>
                    <a:pt x="159" y="34"/>
                  </a:lnTo>
                  <a:lnTo>
                    <a:pt x="159" y="36"/>
                  </a:lnTo>
                  <a:close/>
                  <a:moveTo>
                    <a:pt x="165" y="96"/>
                  </a:moveTo>
                  <a:lnTo>
                    <a:pt x="167" y="96"/>
                  </a:lnTo>
                  <a:lnTo>
                    <a:pt x="169" y="96"/>
                  </a:lnTo>
                  <a:lnTo>
                    <a:pt x="169" y="97"/>
                  </a:lnTo>
                  <a:lnTo>
                    <a:pt x="171" y="97"/>
                  </a:lnTo>
                  <a:lnTo>
                    <a:pt x="171" y="96"/>
                  </a:lnTo>
                  <a:lnTo>
                    <a:pt x="173" y="96"/>
                  </a:lnTo>
                  <a:lnTo>
                    <a:pt x="175" y="96"/>
                  </a:lnTo>
                  <a:lnTo>
                    <a:pt x="177" y="96"/>
                  </a:lnTo>
                  <a:lnTo>
                    <a:pt x="179" y="96"/>
                  </a:lnTo>
                  <a:lnTo>
                    <a:pt x="179" y="97"/>
                  </a:lnTo>
                  <a:lnTo>
                    <a:pt x="179" y="96"/>
                  </a:lnTo>
                  <a:lnTo>
                    <a:pt x="179" y="97"/>
                  </a:lnTo>
                  <a:lnTo>
                    <a:pt x="181" y="97"/>
                  </a:lnTo>
                  <a:lnTo>
                    <a:pt x="179" y="97"/>
                  </a:lnTo>
                  <a:lnTo>
                    <a:pt x="179" y="99"/>
                  </a:lnTo>
                  <a:lnTo>
                    <a:pt x="177" y="99"/>
                  </a:lnTo>
                  <a:lnTo>
                    <a:pt x="175" y="99"/>
                  </a:lnTo>
                  <a:lnTo>
                    <a:pt x="173" y="99"/>
                  </a:lnTo>
                  <a:lnTo>
                    <a:pt x="173" y="101"/>
                  </a:lnTo>
                  <a:lnTo>
                    <a:pt x="171" y="101"/>
                  </a:lnTo>
                  <a:lnTo>
                    <a:pt x="169" y="101"/>
                  </a:lnTo>
                  <a:lnTo>
                    <a:pt x="167" y="101"/>
                  </a:lnTo>
                  <a:lnTo>
                    <a:pt x="165" y="101"/>
                  </a:lnTo>
                  <a:lnTo>
                    <a:pt x="167" y="101"/>
                  </a:lnTo>
                  <a:lnTo>
                    <a:pt x="165" y="101"/>
                  </a:lnTo>
                  <a:lnTo>
                    <a:pt x="165" y="99"/>
                  </a:lnTo>
                  <a:lnTo>
                    <a:pt x="163" y="99"/>
                  </a:lnTo>
                  <a:lnTo>
                    <a:pt x="163" y="97"/>
                  </a:lnTo>
                  <a:lnTo>
                    <a:pt x="163" y="96"/>
                  </a:lnTo>
                  <a:lnTo>
                    <a:pt x="165" y="96"/>
                  </a:lnTo>
                  <a:close/>
                  <a:moveTo>
                    <a:pt x="144" y="101"/>
                  </a:moveTo>
                  <a:lnTo>
                    <a:pt x="146" y="101"/>
                  </a:lnTo>
                  <a:lnTo>
                    <a:pt x="146" y="103"/>
                  </a:lnTo>
                  <a:lnTo>
                    <a:pt x="148" y="103"/>
                  </a:lnTo>
                  <a:lnTo>
                    <a:pt x="150" y="103"/>
                  </a:lnTo>
                  <a:lnTo>
                    <a:pt x="148" y="103"/>
                  </a:lnTo>
                  <a:lnTo>
                    <a:pt x="150" y="103"/>
                  </a:lnTo>
                  <a:lnTo>
                    <a:pt x="148" y="103"/>
                  </a:lnTo>
                  <a:lnTo>
                    <a:pt x="146" y="103"/>
                  </a:lnTo>
                  <a:lnTo>
                    <a:pt x="144" y="103"/>
                  </a:lnTo>
                  <a:lnTo>
                    <a:pt x="144" y="101"/>
                  </a:lnTo>
                  <a:lnTo>
                    <a:pt x="144" y="103"/>
                  </a:lnTo>
                  <a:lnTo>
                    <a:pt x="144" y="101"/>
                  </a:lnTo>
                  <a:close/>
                  <a:moveTo>
                    <a:pt x="6" y="53"/>
                  </a:moveTo>
                  <a:lnTo>
                    <a:pt x="6" y="57"/>
                  </a:lnTo>
                  <a:lnTo>
                    <a:pt x="6" y="53"/>
                  </a:lnTo>
                  <a:close/>
                  <a:moveTo>
                    <a:pt x="8" y="74"/>
                  </a:moveTo>
                  <a:lnTo>
                    <a:pt x="10" y="74"/>
                  </a:lnTo>
                  <a:lnTo>
                    <a:pt x="10" y="76"/>
                  </a:lnTo>
                  <a:lnTo>
                    <a:pt x="8" y="76"/>
                  </a:lnTo>
                  <a:lnTo>
                    <a:pt x="8" y="74"/>
                  </a:lnTo>
                  <a:close/>
                  <a:moveTo>
                    <a:pt x="8" y="78"/>
                  </a:moveTo>
                  <a:lnTo>
                    <a:pt x="8" y="80"/>
                  </a:lnTo>
                  <a:lnTo>
                    <a:pt x="8" y="78"/>
                  </a:lnTo>
                  <a:close/>
                  <a:moveTo>
                    <a:pt x="158" y="103"/>
                  </a:moveTo>
                  <a:lnTo>
                    <a:pt x="159" y="103"/>
                  </a:lnTo>
                  <a:lnTo>
                    <a:pt x="158" y="103"/>
                  </a:lnTo>
                  <a:close/>
                  <a:moveTo>
                    <a:pt x="2" y="49"/>
                  </a:moveTo>
                  <a:lnTo>
                    <a:pt x="4" y="49"/>
                  </a:lnTo>
                  <a:lnTo>
                    <a:pt x="2" y="49"/>
                  </a:lnTo>
                  <a:close/>
                  <a:moveTo>
                    <a:pt x="2" y="40"/>
                  </a:moveTo>
                  <a:lnTo>
                    <a:pt x="2" y="42"/>
                  </a:lnTo>
                  <a:lnTo>
                    <a:pt x="2" y="40"/>
                  </a:lnTo>
                  <a:close/>
                  <a:moveTo>
                    <a:pt x="4" y="40"/>
                  </a:moveTo>
                  <a:lnTo>
                    <a:pt x="4" y="42"/>
                  </a:lnTo>
                  <a:lnTo>
                    <a:pt x="4" y="40"/>
                  </a:lnTo>
                  <a:close/>
                  <a:moveTo>
                    <a:pt x="8" y="78"/>
                  </a:moveTo>
                  <a:lnTo>
                    <a:pt x="10" y="78"/>
                  </a:lnTo>
                  <a:lnTo>
                    <a:pt x="8" y="78"/>
                  </a:lnTo>
                  <a:close/>
                  <a:moveTo>
                    <a:pt x="0" y="40"/>
                  </a:moveTo>
                  <a:lnTo>
                    <a:pt x="0" y="42"/>
                  </a:lnTo>
                  <a:lnTo>
                    <a:pt x="0" y="40"/>
                  </a:lnTo>
                  <a:close/>
                  <a:moveTo>
                    <a:pt x="161" y="103"/>
                  </a:moveTo>
                  <a:lnTo>
                    <a:pt x="163" y="103"/>
                  </a:lnTo>
                  <a:lnTo>
                    <a:pt x="161" y="103"/>
                  </a:lnTo>
                  <a:close/>
                  <a:moveTo>
                    <a:pt x="2" y="51"/>
                  </a:moveTo>
                  <a:lnTo>
                    <a:pt x="4" y="51"/>
                  </a:lnTo>
                  <a:lnTo>
                    <a:pt x="4" y="53"/>
                  </a:lnTo>
                  <a:lnTo>
                    <a:pt x="2" y="53"/>
                  </a:lnTo>
                  <a:lnTo>
                    <a:pt x="2" y="51"/>
                  </a:lnTo>
                  <a:close/>
                  <a:moveTo>
                    <a:pt x="4" y="53"/>
                  </a:moveTo>
                  <a:lnTo>
                    <a:pt x="6" y="53"/>
                  </a:lnTo>
                  <a:lnTo>
                    <a:pt x="4" y="53"/>
                  </a:lnTo>
                  <a:close/>
                  <a:moveTo>
                    <a:pt x="10" y="67"/>
                  </a:moveTo>
                  <a:lnTo>
                    <a:pt x="12" y="67"/>
                  </a:lnTo>
                  <a:lnTo>
                    <a:pt x="10" y="67"/>
                  </a:lnTo>
                  <a:close/>
                  <a:moveTo>
                    <a:pt x="0" y="40"/>
                  </a:moveTo>
                  <a:lnTo>
                    <a:pt x="2" y="40"/>
                  </a:lnTo>
                  <a:lnTo>
                    <a:pt x="0" y="40"/>
                  </a:lnTo>
                  <a:close/>
                  <a:moveTo>
                    <a:pt x="8" y="80"/>
                  </a:moveTo>
                  <a:lnTo>
                    <a:pt x="8" y="82"/>
                  </a:lnTo>
                  <a:lnTo>
                    <a:pt x="8" y="80"/>
                  </a:lnTo>
                  <a:close/>
                  <a:moveTo>
                    <a:pt x="6" y="46"/>
                  </a:moveTo>
                  <a:lnTo>
                    <a:pt x="6" y="48"/>
                  </a:lnTo>
                  <a:lnTo>
                    <a:pt x="6" y="46"/>
                  </a:lnTo>
                  <a:close/>
                  <a:moveTo>
                    <a:pt x="8" y="80"/>
                  </a:moveTo>
                  <a:lnTo>
                    <a:pt x="10" y="80"/>
                  </a:lnTo>
                  <a:lnTo>
                    <a:pt x="8" y="80"/>
                  </a:lnTo>
                  <a:close/>
                  <a:moveTo>
                    <a:pt x="10" y="76"/>
                  </a:moveTo>
                  <a:lnTo>
                    <a:pt x="10" y="78"/>
                  </a:lnTo>
                  <a:lnTo>
                    <a:pt x="10" y="76"/>
                  </a:lnTo>
                  <a:close/>
                  <a:moveTo>
                    <a:pt x="10" y="63"/>
                  </a:moveTo>
                  <a:lnTo>
                    <a:pt x="12" y="63"/>
                  </a:lnTo>
                  <a:lnTo>
                    <a:pt x="10" y="63"/>
                  </a:lnTo>
                  <a:close/>
                  <a:moveTo>
                    <a:pt x="10" y="61"/>
                  </a:moveTo>
                  <a:lnTo>
                    <a:pt x="12" y="61"/>
                  </a:lnTo>
                  <a:lnTo>
                    <a:pt x="10" y="61"/>
                  </a:lnTo>
                  <a:close/>
                  <a:moveTo>
                    <a:pt x="4" y="42"/>
                  </a:moveTo>
                  <a:lnTo>
                    <a:pt x="6" y="42"/>
                  </a:lnTo>
                  <a:lnTo>
                    <a:pt x="4" y="42"/>
                  </a:lnTo>
                  <a:close/>
                  <a:moveTo>
                    <a:pt x="6" y="53"/>
                  </a:moveTo>
                  <a:lnTo>
                    <a:pt x="6" y="55"/>
                  </a:lnTo>
                  <a:lnTo>
                    <a:pt x="6" y="53"/>
                  </a:lnTo>
                  <a:close/>
                  <a:moveTo>
                    <a:pt x="8" y="76"/>
                  </a:moveTo>
                  <a:lnTo>
                    <a:pt x="8" y="78"/>
                  </a:lnTo>
                  <a:lnTo>
                    <a:pt x="8" y="76"/>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329">
              <a:extLst>
                <a:ext uri="{FF2B5EF4-FFF2-40B4-BE49-F238E27FC236}">
                  <a16:creationId xmlns:a16="http://schemas.microsoft.com/office/drawing/2014/main" id="{F624FD24-6E6D-4565-B100-578842CF9CE1}"/>
                </a:ext>
              </a:extLst>
            </p:cNvPr>
            <p:cNvSpPr>
              <a:spLocks noEditPoints="1"/>
            </p:cNvSpPr>
            <p:nvPr/>
          </p:nvSpPr>
          <p:spPr bwMode="gray">
            <a:xfrm>
              <a:off x="4142761" y="3875989"/>
              <a:ext cx="138581" cy="188862"/>
            </a:xfrm>
            <a:custGeom>
              <a:avLst/>
              <a:gdLst>
                <a:gd name="T0" fmla="*/ 65 w 113"/>
                <a:gd name="T1" fmla="*/ 29 h 154"/>
                <a:gd name="T2" fmla="*/ 69 w 113"/>
                <a:gd name="T3" fmla="*/ 35 h 154"/>
                <a:gd name="T4" fmla="*/ 77 w 113"/>
                <a:gd name="T5" fmla="*/ 41 h 154"/>
                <a:gd name="T6" fmla="*/ 88 w 113"/>
                <a:gd name="T7" fmla="*/ 43 h 154"/>
                <a:gd name="T8" fmla="*/ 96 w 113"/>
                <a:gd name="T9" fmla="*/ 45 h 154"/>
                <a:gd name="T10" fmla="*/ 100 w 113"/>
                <a:gd name="T11" fmla="*/ 50 h 154"/>
                <a:gd name="T12" fmla="*/ 106 w 113"/>
                <a:gd name="T13" fmla="*/ 58 h 154"/>
                <a:gd name="T14" fmla="*/ 111 w 113"/>
                <a:gd name="T15" fmla="*/ 62 h 154"/>
                <a:gd name="T16" fmla="*/ 111 w 113"/>
                <a:gd name="T17" fmla="*/ 71 h 154"/>
                <a:gd name="T18" fmla="*/ 108 w 113"/>
                <a:gd name="T19" fmla="*/ 77 h 154"/>
                <a:gd name="T20" fmla="*/ 100 w 113"/>
                <a:gd name="T21" fmla="*/ 83 h 154"/>
                <a:gd name="T22" fmla="*/ 98 w 113"/>
                <a:gd name="T23" fmla="*/ 87 h 154"/>
                <a:gd name="T24" fmla="*/ 96 w 113"/>
                <a:gd name="T25" fmla="*/ 91 h 154"/>
                <a:gd name="T26" fmla="*/ 94 w 113"/>
                <a:gd name="T27" fmla="*/ 94 h 154"/>
                <a:gd name="T28" fmla="*/ 90 w 113"/>
                <a:gd name="T29" fmla="*/ 96 h 154"/>
                <a:gd name="T30" fmla="*/ 88 w 113"/>
                <a:gd name="T31" fmla="*/ 93 h 154"/>
                <a:gd name="T32" fmla="*/ 85 w 113"/>
                <a:gd name="T33" fmla="*/ 102 h 154"/>
                <a:gd name="T34" fmla="*/ 85 w 113"/>
                <a:gd name="T35" fmla="*/ 112 h 154"/>
                <a:gd name="T36" fmla="*/ 81 w 113"/>
                <a:gd name="T37" fmla="*/ 118 h 154"/>
                <a:gd name="T38" fmla="*/ 71 w 113"/>
                <a:gd name="T39" fmla="*/ 121 h 154"/>
                <a:gd name="T40" fmla="*/ 65 w 113"/>
                <a:gd name="T41" fmla="*/ 129 h 154"/>
                <a:gd name="T42" fmla="*/ 60 w 113"/>
                <a:gd name="T43" fmla="*/ 133 h 154"/>
                <a:gd name="T44" fmla="*/ 50 w 113"/>
                <a:gd name="T45" fmla="*/ 137 h 154"/>
                <a:gd name="T46" fmla="*/ 48 w 113"/>
                <a:gd name="T47" fmla="*/ 141 h 154"/>
                <a:gd name="T48" fmla="*/ 44 w 113"/>
                <a:gd name="T49" fmla="*/ 146 h 154"/>
                <a:gd name="T50" fmla="*/ 33 w 113"/>
                <a:gd name="T51" fmla="*/ 148 h 154"/>
                <a:gd name="T52" fmla="*/ 23 w 113"/>
                <a:gd name="T53" fmla="*/ 152 h 154"/>
                <a:gd name="T54" fmla="*/ 15 w 113"/>
                <a:gd name="T55" fmla="*/ 150 h 154"/>
                <a:gd name="T56" fmla="*/ 0 w 113"/>
                <a:gd name="T57" fmla="*/ 116 h 154"/>
                <a:gd name="T58" fmla="*/ 12 w 113"/>
                <a:gd name="T59" fmla="*/ 112 h 154"/>
                <a:gd name="T60" fmla="*/ 25 w 113"/>
                <a:gd name="T61" fmla="*/ 108 h 154"/>
                <a:gd name="T62" fmla="*/ 37 w 113"/>
                <a:gd name="T63" fmla="*/ 104 h 154"/>
                <a:gd name="T64" fmla="*/ 44 w 113"/>
                <a:gd name="T65" fmla="*/ 96 h 154"/>
                <a:gd name="T66" fmla="*/ 48 w 113"/>
                <a:gd name="T67" fmla="*/ 83 h 154"/>
                <a:gd name="T68" fmla="*/ 52 w 113"/>
                <a:gd name="T69" fmla="*/ 71 h 154"/>
                <a:gd name="T70" fmla="*/ 46 w 113"/>
                <a:gd name="T71" fmla="*/ 54 h 154"/>
                <a:gd name="T72" fmla="*/ 52 w 113"/>
                <a:gd name="T73" fmla="*/ 46 h 154"/>
                <a:gd name="T74" fmla="*/ 54 w 113"/>
                <a:gd name="T75" fmla="*/ 39 h 154"/>
                <a:gd name="T76" fmla="*/ 54 w 113"/>
                <a:gd name="T77" fmla="*/ 35 h 154"/>
                <a:gd name="T78" fmla="*/ 56 w 113"/>
                <a:gd name="T79" fmla="*/ 23 h 154"/>
                <a:gd name="T80" fmla="*/ 58 w 113"/>
                <a:gd name="T81" fmla="*/ 23 h 154"/>
                <a:gd name="T82" fmla="*/ 62 w 113"/>
                <a:gd name="T83" fmla="*/ 12 h 154"/>
                <a:gd name="T84" fmla="*/ 62 w 113"/>
                <a:gd name="T85" fmla="*/ 6 h 154"/>
                <a:gd name="T86" fmla="*/ 63 w 113"/>
                <a:gd name="T87" fmla="*/ 2 h 154"/>
                <a:gd name="T88" fmla="*/ 63 w 113"/>
                <a:gd name="T89" fmla="*/ 0 h 154"/>
                <a:gd name="T90" fmla="*/ 63 w 113"/>
                <a:gd name="T91" fmla="*/ 2 h 154"/>
                <a:gd name="T92" fmla="*/ 63 w 113"/>
                <a:gd name="T93" fmla="*/ 4 h 154"/>
                <a:gd name="T94" fmla="*/ 65 w 113"/>
                <a:gd name="T95" fmla="*/ 4 h 154"/>
                <a:gd name="T96" fmla="*/ 65 w 113"/>
                <a:gd name="T97" fmla="*/ 6 h 154"/>
                <a:gd name="T98" fmla="*/ 62 w 113"/>
                <a:gd name="T99" fmla="*/ 12 h 154"/>
                <a:gd name="T100" fmla="*/ 98 w 113"/>
                <a:gd name="T101" fmla="*/ 96 h 154"/>
                <a:gd name="T102" fmla="*/ 100 w 113"/>
                <a:gd name="T103" fmla="*/ 93 h 154"/>
                <a:gd name="T104" fmla="*/ 60 w 113"/>
                <a:gd name="T105" fmla="*/ 141 h 154"/>
                <a:gd name="T106" fmla="*/ 96 w 113"/>
                <a:gd name="T107" fmla="*/ 93 h 154"/>
                <a:gd name="T108" fmla="*/ 96 w 113"/>
                <a:gd name="T109" fmla="*/ 91 h 154"/>
                <a:gd name="T110" fmla="*/ 98 w 113"/>
                <a:gd name="T111" fmla="*/ 89 h 154"/>
                <a:gd name="T112" fmla="*/ 65 w 113"/>
                <a:gd name="T113" fmla="*/ 4 h 154"/>
                <a:gd name="T114" fmla="*/ 96 w 113"/>
                <a:gd name="T115" fmla="*/ 91 h 154"/>
                <a:gd name="T116" fmla="*/ 94 w 113"/>
                <a:gd name="T117" fmla="*/ 9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3" h="154">
                  <a:moveTo>
                    <a:pt x="63" y="23"/>
                  </a:moveTo>
                  <a:lnTo>
                    <a:pt x="63" y="25"/>
                  </a:lnTo>
                  <a:lnTo>
                    <a:pt x="65" y="25"/>
                  </a:lnTo>
                  <a:lnTo>
                    <a:pt x="65" y="27"/>
                  </a:lnTo>
                  <a:lnTo>
                    <a:pt x="65" y="25"/>
                  </a:lnTo>
                  <a:lnTo>
                    <a:pt x="65" y="27"/>
                  </a:lnTo>
                  <a:lnTo>
                    <a:pt x="65" y="29"/>
                  </a:lnTo>
                  <a:lnTo>
                    <a:pt x="67" y="29"/>
                  </a:lnTo>
                  <a:lnTo>
                    <a:pt x="67" y="31"/>
                  </a:lnTo>
                  <a:lnTo>
                    <a:pt x="67" y="29"/>
                  </a:lnTo>
                  <a:lnTo>
                    <a:pt x="67" y="31"/>
                  </a:lnTo>
                  <a:lnTo>
                    <a:pt x="69" y="31"/>
                  </a:lnTo>
                  <a:lnTo>
                    <a:pt x="69" y="33"/>
                  </a:lnTo>
                  <a:lnTo>
                    <a:pt x="69" y="35"/>
                  </a:lnTo>
                  <a:lnTo>
                    <a:pt x="71" y="35"/>
                  </a:lnTo>
                  <a:lnTo>
                    <a:pt x="71" y="37"/>
                  </a:lnTo>
                  <a:lnTo>
                    <a:pt x="73" y="37"/>
                  </a:lnTo>
                  <a:lnTo>
                    <a:pt x="73" y="39"/>
                  </a:lnTo>
                  <a:lnTo>
                    <a:pt x="75" y="39"/>
                  </a:lnTo>
                  <a:lnTo>
                    <a:pt x="75" y="41"/>
                  </a:lnTo>
                  <a:lnTo>
                    <a:pt x="77" y="41"/>
                  </a:lnTo>
                  <a:lnTo>
                    <a:pt x="79" y="41"/>
                  </a:lnTo>
                  <a:lnTo>
                    <a:pt x="81" y="41"/>
                  </a:lnTo>
                  <a:lnTo>
                    <a:pt x="81" y="43"/>
                  </a:lnTo>
                  <a:lnTo>
                    <a:pt x="83" y="43"/>
                  </a:lnTo>
                  <a:lnTo>
                    <a:pt x="85" y="43"/>
                  </a:lnTo>
                  <a:lnTo>
                    <a:pt x="86" y="43"/>
                  </a:lnTo>
                  <a:lnTo>
                    <a:pt x="88" y="43"/>
                  </a:lnTo>
                  <a:lnTo>
                    <a:pt x="90" y="43"/>
                  </a:lnTo>
                  <a:lnTo>
                    <a:pt x="90" y="45"/>
                  </a:lnTo>
                  <a:lnTo>
                    <a:pt x="92" y="45"/>
                  </a:lnTo>
                  <a:lnTo>
                    <a:pt x="94" y="45"/>
                  </a:lnTo>
                  <a:lnTo>
                    <a:pt x="96" y="45"/>
                  </a:lnTo>
                  <a:lnTo>
                    <a:pt x="96" y="46"/>
                  </a:lnTo>
                  <a:lnTo>
                    <a:pt x="96" y="45"/>
                  </a:lnTo>
                  <a:lnTo>
                    <a:pt x="96" y="46"/>
                  </a:lnTo>
                  <a:lnTo>
                    <a:pt x="98" y="46"/>
                  </a:lnTo>
                  <a:lnTo>
                    <a:pt x="96" y="46"/>
                  </a:lnTo>
                  <a:lnTo>
                    <a:pt x="98" y="46"/>
                  </a:lnTo>
                  <a:lnTo>
                    <a:pt x="98" y="48"/>
                  </a:lnTo>
                  <a:lnTo>
                    <a:pt x="100" y="48"/>
                  </a:lnTo>
                  <a:lnTo>
                    <a:pt x="100" y="50"/>
                  </a:lnTo>
                  <a:lnTo>
                    <a:pt x="102" y="50"/>
                  </a:lnTo>
                  <a:lnTo>
                    <a:pt x="102" y="52"/>
                  </a:lnTo>
                  <a:lnTo>
                    <a:pt x="102" y="54"/>
                  </a:lnTo>
                  <a:lnTo>
                    <a:pt x="104" y="54"/>
                  </a:lnTo>
                  <a:lnTo>
                    <a:pt x="106" y="54"/>
                  </a:lnTo>
                  <a:lnTo>
                    <a:pt x="106" y="56"/>
                  </a:lnTo>
                  <a:lnTo>
                    <a:pt x="106" y="58"/>
                  </a:lnTo>
                  <a:lnTo>
                    <a:pt x="108" y="58"/>
                  </a:lnTo>
                  <a:lnTo>
                    <a:pt x="108" y="60"/>
                  </a:lnTo>
                  <a:lnTo>
                    <a:pt x="110" y="60"/>
                  </a:lnTo>
                  <a:lnTo>
                    <a:pt x="110" y="62"/>
                  </a:lnTo>
                  <a:lnTo>
                    <a:pt x="111" y="62"/>
                  </a:lnTo>
                  <a:lnTo>
                    <a:pt x="113" y="62"/>
                  </a:lnTo>
                  <a:lnTo>
                    <a:pt x="111" y="62"/>
                  </a:lnTo>
                  <a:lnTo>
                    <a:pt x="113" y="62"/>
                  </a:lnTo>
                  <a:lnTo>
                    <a:pt x="113" y="64"/>
                  </a:lnTo>
                  <a:lnTo>
                    <a:pt x="113" y="66"/>
                  </a:lnTo>
                  <a:lnTo>
                    <a:pt x="113" y="68"/>
                  </a:lnTo>
                  <a:lnTo>
                    <a:pt x="111" y="68"/>
                  </a:lnTo>
                  <a:lnTo>
                    <a:pt x="111" y="69"/>
                  </a:lnTo>
                  <a:lnTo>
                    <a:pt x="111" y="71"/>
                  </a:lnTo>
                  <a:lnTo>
                    <a:pt x="110" y="71"/>
                  </a:lnTo>
                  <a:lnTo>
                    <a:pt x="110" y="73"/>
                  </a:lnTo>
                  <a:lnTo>
                    <a:pt x="110" y="75"/>
                  </a:lnTo>
                  <a:lnTo>
                    <a:pt x="108" y="75"/>
                  </a:lnTo>
                  <a:lnTo>
                    <a:pt x="110" y="75"/>
                  </a:lnTo>
                  <a:lnTo>
                    <a:pt x="108" y="75"/>
                  </a:lnTo>
                  <a:lnTo>
                    <a:pt x="108" y="77"/>
                  </a:lnTo>
                  <a:lnTo>
                    <a:pt x="108" y="79"/>
                  </a:lnTo>
                  <a:lnTo>
                    <a:pt x="106" y="79"/>
                  </a:lnTo>
                  <a:lnTo>
                    <a:pt x="106" y="81"/>
                  </a:lnTo>
                  <a:lnTo>
                    <a:pt x="104" y="81"/>
                  </a:lnTo>
                  <a:lnTo>
                    <a:pt x="102" y="81"/>
                  </a:lnTo>
                  <a:lnTo>
                    <a:pt x="102" y="83"/>
                  </a:lnTo>
                  <a:lnTo>
                    <a:pt x="100" y="83"/>
                  </a:lnTo>
                  <a:lnTo>
                    <a:pt x="100" y="85"/>
                  </a:lnTo>
                  <a:lnTo>
                    <a:pt x="100" y="87"/>
                  </a:lnTo>
                  <a:lnTo>
                    <a:pt x="98" y="87"/>
                  </a:lnTo>
                  <a:lnTo>
                    <a:pt x="100" y="87"/>
                  </a:lnTo>
                  <a:lnTo>
                    <a:pt x="98" y="87"/>
                  </a:lnTo>
                  <a:lnTo>
                    <a:pt x="100" y="87"/>
                  </a:lnTo>
                  <a:lnTo>
                    <a:pt x="98" y="87"/>
                  </a:lnTo>
                  <a:lnTo>
                    <a:pt x="98" y="89"/>
                  </a:lnTo>
                  <a:lnTo>
                    <a:pt x="96" y="89"/>
                  </a:lnTo>
                  <a:lnTo>
                    <a:pt x="98" y="89"/>
                  </a:lnTo>
                  <a:lnTo>
                    <a:pt x="96" y="89"/>
                  </a:lnTo>
                  <a:lnTo>
                    <a:pt x="96" y="91"/>
                  </a:lnTo>
                  <a:lnTo>
                    <a:pt x="98" y="91"/>
                  </a:lnTo>
                  <a:lnTo>
                    <a:pt x="96" y="91"/>
                  </a:lnTo>
                  <a:lnTo>
                    <a:pt x="96" y="89"/>
                  </a:lnTo>
                  <a:lnTo>
                    <a:pt x="96" y="91"/>
                  </a:lnTo>
                  <a:lnTo>
                    <a:pt x="96" y="93"/>
                  </a:lnTo>
                  <a:lnTo>
                    <a:pt x="96" y="94"/>
                  </a:lnTo>
                  <a:lnTo>
                    <a:pt x="94" y="94"/>
                  </a:lnTo>
                  <a:lnTo>
                    <a:pt x="96" y="94"/>
                  </a:lnTo>
                  <a:lnTo>
                    <a:pt x="94" y="94"/>
                  </a:lnTo>
                  <a:lnTo>
                    <a:pt x="96" y="94"/>
                  </a:lnTo>
                  <a:lnTo>
                    <a:pt x="94" y="94"/>
                  </a:lnTo>
                  <a:lnTo>
                    <a:pt x="94" y="96"/>
                  </a:lnTo>
                  <a:lnTo>
                    <a:pt x="92" y="96"/>
                  </a:lnTo>
                  <a:lnTo>
                    <a:pt x="90" y="96"/>
                  </a:lnTo>
                  <a:lnTo>
                    <a:pt x="92" y="96"/>
                  </a:lnTo>
                  <a:lnTo>
                    <a:pt x="90" y="96"/>
                  </a:lnTo>
                  <a:lnTo>
                    <a:pt x="90" y="94"/>
                  </a:lnTo>
                  <a:lnTo>
                    <a:pt x="90" y="93"/>
                  </a:lnTo>
                  <a:lnTo>
                    <a:pt x="92" y="93"/>
                  </a:lnTo>
                  <a:lnTo>
                    <a:pt x="90" y="93"/>
                  </a:lnTo>
                  <a:lnTo>
                    <a:pt x="92" y="93"/>
                  </a:lnTo>
                  <a:lnTo>
                    <a:pt x="90" y="93"/>
                  </a:lnTo>
                  <a:lnTo>
                    <a:pt x="88" y="93"/>
                  </a:lnTo>
                  <a:lnTo>
                    <a:pt x="88" y="94"/>
                  </a:lnTo>
                  <a:lnTo>
                    <a:pt x="86" y="94"/>
                  </a:lnTo>
                  <a:lnTo>
                    <a:pt x="86" y="96"/>
                  </a:lnTo>
                  <a:lnTo>
                    <a:pt x="86" y="98"/>
                  </a:lnTo>
                  <a:lnTo>
                    <a:pt x="85" y="98"/>
                  </a:lnTo>
                  <a:lnTo>
                    <a:pt x="85" y="100"/>
                  </a:lnTo>
                  <a:lnTo>
                    <a:pt x="85" y="102"/>
                  </a:lnTo>
                  <a:lnTo>
                    <a:pt x="85" y="104"/>
                  </a:lnTo>
                  <a:lnTo>
                    <a:pt x="83" y="104"/>
                  </a:lnTo>
                  <a:lnTo>
                    <a:pt x="83" y="106"/>
                  </a:lnTo>
                  <a:lnTo>
                    <a:pt x="83" y="108"/>
                  </a:lnTo>
                  <a:lnTo>
                    <a:pt x="83" y="110"/>
                  </a:lnTo>
                  <a:lnTo>
                    <a:pt x="85" y="110"/>
                  </a:lnTo>
                  <a:lnTo>
                    <a:pt x="85" y="112"/>
                  </a:lnTo>
                  <a:lnTo>
                    <a:pt x="83" y="112"/>
                  </a:lnTo>
                  <a:lnTo>
                    <a:pt x="83" y="114"/>
                  </a:lnTo>
                  <a:lnTo>
                    <a:pt x="85" y="114"/>
                  </a:lnTo>
                  <a:lnTo>
                    <a:pt x="85" y="116"/>
                  </a:lnTo>
                  <a:lnTo>
                    <a:pt x="85" y="118"/>
                  </a:lnTo>
                  <a:lnTo>
                    <a:pt x="83" y="118"/>
                  </a:lnTo>
                  <a:lnTo>
                    <a:pt x="81" y="118"/>
                  </a:lnTo>
                  <a:lnTo>
                    <a:pt x="79" y="118"/>
                  </a:lnTo>
                  <a:lnTo>
                    <a:pt x="77" y="118"/>
                  </a:lnTo>
                  <a:lnTo>
                    <a:pt x="77" y="119"/>
                  </a:lnTo>
                  <a:lnTo>
                    <a:pt x="75" y="119"/>
                  </a:lnTo>
                  <a:lnTo>
                    <a:pt x="73" y="119"/>
                  </a:lnTo>
                  <a:lnTo>
                    <a:pt x="71" y="119"/>
                  </a:lnTo>
                  <a:lnTo>
                    <a:pt x="71" y="121"/>
                  </a:lnTo>
                  <a:lnTo>
                    <a:pt x="69" y="121"/>
                  </a:lnTo>
                  <a:lnTo>
                    <a:pt x="69" y="123"/>
                  </a:lnTo>
                  <a:lnTo>
                    <a:pt x="67" y="123"/>
                  </a:lnTo>
                  <a:lnTo>
                    <a:pt x="67" y="125"/>
                  </a:lnTo>
                  <a:lnTo>
                    <a:pt x="67" y="127"/>
                  </a:lnTo>
                  <a:lnTo>
                    <a:pt x="67" y="129"/>
                  </a:lnTo>
                  <a:lnTo>
                    <a:pt x="65" y="129"/>
                  </a:lnTo>
                  <a:lnTo>
                    <a:pt x="65" y="131"/>
                  </a:lnTo>
                  <a:lnTo>
                    <a:pt x="63" y="131"/>
                  </a:lnTo>
                  <a:lnTo>
                    <a:pt x="63" y="133"/>
                  </a:lnTo>
                  <a:lnTo>
                    <a:pt x="63" y="135"/>
                  </a:lnTo>
                  <a:lnTo>
                    <a:pt x="63" y="133"/>
                  </a:lnTo>
                  <a:lnTo>
                    <a:pt x="62" y="133"/>
                  </a:lnTo>
                  <a:lnTo>
                    <a:pt x="60" y="133"/>
                  </a:lnTo>
                  <a:lnTo>
                    <a:pt x="58" y="133"/>
                  </a:lnTo>
                  <a:lnTo>
                    <a:pt x="58" y="135"/>
                  </a:lnTo>
                  <a:lnTo>
                    <a:pt x="56" y="135"/>
                  </a:lnTo>
                  <a:lnTo>
                    <a:pt x="54" y="135"/>
                  </a:lnTo>
                  <a:lnTo>
                    <a:pt x="52" y="135"/>
                  </a:lnTo>
                  <a:lnTo>
                    <a:pt x="50" y="135"/>
                  </a:lnTo>
                  <a:lnTo>
                    <a:pt x="50" y="137"/>
                  </a:lnTo>
                  <a:lnTo>
                    <a:pt x="48" y="137"/>
                  </a:lnTo>
                  <a:lnTo>
                    <a:pt x="48" y="139"/>
                  </a:lnTo>
                  <a:lnTo>
                    <a:pt x="46" y="139"/>
                  </a:lnTo>
                  <a:lnTo>
                    <a:pt x="48" y="139"/>
                  </a:lnTo>
                  <a:lnTo>
                    <a:pt x="46" y="139"/>
                  </a:lnTo>
                  <a:lnTo>
                    <a:pt x="46" y="141"/>
                  </a:lnTo>
                  <a:lnTo>
                    <a:pt x="48" y="141"/>
                  </a:lnTo>
                  <a:lnTo>
                    <a:pt x="48" y="142"/>
                  </a:lnTo>
                  <a:lnTo>
                    <a:pt x="46" y="142"/>
                  </a:lnTo>
                  <a:lnTo>
                    <a:pt x="46" y="144"/>
                  </a:lnTo>
                  <a:lnTo>
                    <a:pt x="48" y="144"/>
                  </a:lnTo>
                  <a:lnTo>
                    <a:pt x="46" y="144"/>
                  </a:lnTo>
                  <a:lnTo>
                    <a:pt x="46" y="146"/>
                  </a:lnTo>
                  <a:lnTo>
                    <a:pt x="44" y="146"/>
                  </a:lnTo>
                  <a:lnTo>
                    <a:pt x="44" y="148"/>
                  </a:lnTo>
                  <a:lnTo>
                    <a:pt x="42" y="148"/>
                  </a:lnTo>
                  <a:lnTo>
                    <a:pt x="40" y="148"/>
                  </a:lnTo>
                  <a:lnTo>
                    <a:pt x="39" y="148"/>
                  </a:lnTo>
                  <a:lnTo>
                    <a:pt x="37" y="148"/>
                  </a:lnTo>
                  <a:lnTo>
                    <a:pt x="35" y="148"/>
                  </a:lnTo>
                  <a:lnTo>
                    <a:pt x="33" y="148"/>
                  </a:lnTo>
                  <a:lnTo>
                    <a:pt x="31" y="148"/>
                  </a:lnTo>
                  <a:lnTo>
                    <a:pt x="29" y="148"/>
                  </a:lnTo>
                  <a:lnTo>
                    <a:pt x="29" y="150"/>
                  </a:lnTo>
                  <a:lnTo>
                    <a:pt x="27" y="150"/>
                  </a:lnTo>
                  <a:lnTo>
                    <a:pt x="25" y="150"/>
                  </a:lnTo>
                  <a:lnTo>
                    <a:pt x="23" y="150"/>
                  </a:lnTo>
                  <a:lnTo>
                    <a:pt x="23" y="152"/>
                  </a:lnTo>
                  <a:lnTo>
                    <a:pt x="21" y="152"/>
                  </a:lnTo>
                  <a:lnTo>
                    <a:pt x="19" y="152"/>
                  </a:lnTo>
                  <a:lnTo>
                    <a:pt x="17" y="152"/>
                  </a:lnTo>
                  <a:lnTo>
                    <a:pt x="15" y="152"/>
                  </a:lnTo>
                  <a:lnTo>
                    <a:pt x="15" y="154"/>
                  </a:lnTo>
                  <a:lnTo>
                    <a:pt x="15" y="152"/>
                  </a:lnTo>
                  <a:lnTo>
                    <a:pt x="15" y="150"/>
                  </a:lnTo>
                  <a:lnTo>
                    <a:pt x="14" y="148"/>
                  </a:lnTo>
                  <a:lnTo>
                    <a:pt x="12" y="144"/>
                  </a:lnTo>
                  <a:lnTo>
                    <a:pt x="10" y="142"/>
                  </a:lnTo>
                  <a:lnTo>
                    <a:pt x="12" y="142"/>
                  </a:lnTo>
                  <a:lnTo>
                    <a:pt x="4" y="127"/>
                  </a:lnTo>
                  <a:lnTo>
                    <a:pt x="0" y="118"/>
                  </a:lnTo>
                  <a:lnTo>
                    <a:pt x="0" y="116"/>
                  </a:lnTo>
                  <a:lnTo>
                    <a:pt x="2" y="116"/>
                  </a:lnTo>
                  <a:lnTo>
                    <a:pt x="4" y="116"/>
                  </a:lnTo>
                  <a:lnTo>
                    <a:pt x="6" y="116"/>
                  </a:lnTo>
                  <a:lnTo>
                    <a:pt x="6" y="114"/>
                  </a:lnTo>
                  <a:lnTo>
                    <a:pt x="8" y="114"/>
                  </a:lnTo>
                  <a:lnTo>
                    <a:pt x="10" y="114"/>
                  </a:lnTo>
                  <a:lnTo>
                    <a:pt x="12" y="112"/>
                  </a:lnTo>
                  <a:lnTo>
                    <a:pt x="14" y="112"/>
                  </a:lnTo>
                  <a:lnTo>
                    <a:pt x="15" y="112"/>
                  </a:lnTo>
                  <a:lnTo>
                    <a:pt x="17" y="110"/>
                  </a:lnTo>
                  <a:lnTo>
                    <a:pt x="19" y="110"/>
                  </a:lnTo>
                  <a:lnTo>
                    <a:pt x="21" y="110"/>
                  </a:lnTo>
                  <a:lnTo>
                    <a:pt x="23" y="108"/>
                  </a:lnTo>
                  <a:lnTo>
                    <a:pt x="25" y="108"/>
                  </a:lnTo>
                  <a:lnTo>
                    <a:pt x="27" y="108"/>
                  </a:lnTo>
                  <a:lnTo>
                    <a:pt x="29" y="106"/>
                  </a:lnTo>
                  <a:lnTo>
                    <a:pt x="31" y="106"/>
                  </a:lnTo>
                  <a:lnTo>
                    <a:pt x="33" y="106"/>
                  </a:lnTo>
                  <a:lnTo>
                    <a:pt x="33" y="104"/>
                  </a:lnTo>
                  <a:lnTo>
                    <a:pt x="35" y="104"/>
                  </a:lnTo>
                  <a:lnTo>
                    <a:pt x="37" y="104"/>
                  </a:lnTo>
                  <a:lnTo>
                    <a:pt x="39" y="104"/>
                  </a:lnTo>
                  <a:lnTo>
                    <a:pt x="40" y="102"/>
                  </a:lnTo>
                  <a:lnTo>
                    <a:pt x="42" y="102"/>
                  </a:lnTo>
                  <a:lnTo>
                    <a:pt x="44" y="102"/>
                  </a:lnTo>
                  <a:lnTo>
                    <a:pt x="44" y="100"/>
                  </a:lnTo>
                  <a:lnTo>
                    <a:pt x="44" y="98"/>
                  </a:lnTo>
                  <a:lnTo>
                    <a:pt x="44" y="96"/>
                  </a:lnTo>
                  <a:lnTo>
                    <a:pt x="46" y="94"/>
                  </a:lnTo>
                  <a:lnTo>
                    <a:pt x="46" y="93"/>
                  </a:lnTo>
                  <a:lnTo>
                    <a:pt x="46" y="91"/>
                  </a:lnTo>
                  <a:lnTo>
                    <a:pt x="48" y="89"/>
                  </a:lnTo>
                  <a:lnTo>
                    <a:pt x="48" y="87"/>
                  </a:lnTo>
                  <a:lnTo>
                    <a:pt x="48" y="85"/>
                  </a:lnTo>
                  <a:lnTo>
                    <a:pt x="48" y="83"/>
                  </a:lnTo>
                  <a:lnTo>
                    <a:pt x="50" y="83"/>
                  </a:lnTo>
                  <a:lnTo>
                    <a:pt x="50" y="81"/>
                  </a:lnTo>
                  <a:lnTo>
                    <a:pt x="50" y="79"/>
                  </a:lnTo>
                  <a:lnTo>
                    <a:pt x="52" y="77"/>
                  </a:lnTo>
                  <a:lnTo>
                    <a:pt x="52" y="75"/>
                  </a:lnTo>
                  <a:lnTo>
                    <a:pt x="52" y="73"/>
                  </a:lnTo>
                  <a:lnTo>
                    <a:pt x="52" y="71"/>
                  </a:lnTo>
                  <a:lnTo>
                    <a:pt x="54" y="69"/>
                  </a:lnTo>
                  <a:lnTo>
                    <a:pt x="50" y="66"/>
                  </a:lnTo>
                  <a:lnTo>
                    <a:pt x="50" y="64"/>
                  </a:lnTo>
                  <a:lnTo>
                    <a:pt x="46" y="60"/>
                  </a:lnTo>
                  <a:lnTo>
                    <a:pt x="46" y="58"/>
                  </a:lnTo>
                  <a:lnTo>
                    <a:pt x="46" y="56"/>
                  </a:lnTo>
                  <a:lnTo>
                    <a:pt x="46" y="54"/>
                  </a:lnTo>
                  <a:lnTo>
                    <a:pt x="46" y="52"/>
                  </a:lnTo>
                  <a:lnTo>
                    <a:pt x="48" y="52"/>
                  </a:lnTo>
                  <a:lnTo>
                    <a:pt x="48" y="50"/>
                  </a:lnTo>
                  <a:lnTo>
                    <a:pt x="48" y="48"/>
                  </a:lnTo>
                  <a:lnTo>
                    <a:pt x="50" y="48"/>
                  </a:lnTo>
                  <a:lnTo>
                    <a:pt x="50" y="46"/>
                  </a:lnTo>
                  <a:lnTo>
                    <a:pt x="52" y="46"/>
                  </a:lnTo>
                  <a:lnTo>
                    <a:pt x="52" y="45"/>
                  </a:lnTo>
                  <a:lnTo>
                    <a:pt x="52" y="43"/>
                  </a:lnTo>
                  <a:lnTo>
                    <a:pt x="52" y="41"/>
                  </a:lnTo>
                  <a:lnTo>
                    <a:pt x="50" y="41"/>
                  </a:lnTo>
                  <a:lnTo>
                    <a:pt x="50" y="39"/>
                  </a:lnTo>
                  <a:lnTo>
                    <a:pt x="52" y="39"/>
                  </a:lnTo>
                  <a:lnTo>
                    <a:pt x="54" y="39"/>
                  </a:lnTo>
                  <a:lnTo>
                    <a:pt x="54" y="37"/>
                  </a:lnTo>
                  <a:lnTo>
                    <a:pt x="56" y="39"/>
                  </a:lnTo>
                  <a:lnTo>
                    <a:pt x="56" y="37"/>
                  </a:lnTo>
                  <a:lnTo>
                    <a:pt x="58" y="37"/>
                  </a:lnTo>
                  <a:lnTo>
                    <a:pt x="58" y="35"/>
                  </a:lnTo>
                  <a:lnTo>
                    <a:pt x="56" y="35"/>
                  </a:lnTo>
                  <a:lnTo>
                    <a:pt x="54" y="35"/>
                  </a:lnTo>
                  <a:lnTo>
                    <a:pt x="56" y="33"/>
                  </a:lnTo>
                  <a:lnTo>
                    <a:pt x="56" y="31"/>
                  </a:lnTo>
                  <a:lnTo>
                    <a:pt x="54" y="29"/>
                  </a:lnTo>
                  <a:lnTo>
                    <a:pt x="56" y="29"/>
                  </a:lnTo>
                  <a:lnTo>
                    <a:pt x="56" y="27"/>
                  </a:lnTo>
                  <a:lnTo>
                    <a:pt x="56" y="25"/>
                  </a:lnTo>
                  <a:lnTo>
                    <a:pt x="56" y="23"/>
                  </a:lnTo>
                  <a:lnTo>
                    <a:pt x="58" y="21"/>
                  </a:lnTo>
                  <a:lnTo>
                    <a:pt x="58" y="23"/>
                  </a:lnTo>
                  <a:lnTo>
                    <a:pt x="60" y="23"/>
                  </a:lnTo>
                  <a:lnTo>
                    <a:pt x="58" y="23"/>
                  </a:lnTo>
                  <a:lnTo>
                    <a:pt x="60" y="23"/>
                  </a:lnTo>
                  <a:lnTo>
                    <a:pt x="60" y="25"/>
                  </a:lnTo>
                  <a:lnTo>
                    <a:pt x="58" y="23"/>
                  </a:lnTo>
                  <a:lnTo>
                    <a:pt x="58" y="25"/>
                  </a:lnTo>
                  <a:lnTo>
                    <a:pt x="60" y="27"/>
                  </a:lnTo>
                  <a:lnTo>
                    <a:pt x="60" y="25"/>
                  </a:lnTo>
                  <a:lnTo>
                    <a:pt x="62" y="25"/>
                  </a:lnTo>
                  <a:lnTo>
                    <a:pt x="62" y="23"/>
                  </a:lnTo>
                  <a:lnTo>
                    <a:pt x="63" y="23"/>
                  </a:lnTo>
                  <a:close/>
                  <a:moveTo>
                    <a:pt x="62" y="12"/>
                  </a:moveTo>
                  <a:lnTo>
                    <a:pt x="60" y="12"/>
                  </a:lnTo>
                  <a:lnTo>
                    <a:pt x="60" y="10"/>
                  </a:lnTo>
                  <a:lnTo>
                    <a:pt x="60" y="8"/>
                  </a:lnTo>
                  <a:lnTo>
                    <a:pt x="62" y="8"/>
                  </a:lnTo>
                  <a:lnTo>
                    <a:pt x="60" y="8"/>
                  </a:lnTo>
                  <a:lnTo>
                    <a:pt x="60" y="6"/>
                  </a:lnTo>
                  <a:lnTo>
                    <a:pt x="62" y="6"/>
                  </a:lnTo>
                  <a:lnTo>
                    <a:pt x="60" y="6"/>
                  </a:lnTo>
                  <a:lnTo>
                    <a:pt x="60" y="4"/>
                  </a:lnTo>
                  <a:lnTo>
                    <a:pt x="60" y="6"/>
                  </a:lnTo>
                  <a:lnTo>
                    <a:pt x="60" y="4"/>
                  </a:lnTo>
                  <a:lnTo>
                    <a:pt x="60" y="2"/>
                  </a:lnTo>
                  <a:lnTo>
                    <a:pt x="62" y="2"/>
                  </a:lnTo>
                  <a:lnTo>
                    <a:pt x="63" y="2"/>
                  </a:lnTo>
                  <a:lnTo>
                    <a:pt x="62" y="2"/>
                  </a:lnTo>
                  <a:lnTo>
                    <a:pt x="63" y="2"/>
                  </a:lnTo>
                  <a:lnTo>
                    <a:pt x="62" y="2"/>
                  </a:lnTo>
                  <a:lnTo>
                    <a:pt x="63" y="2"/>
                  </a:lnTo>
                  <a:lnTo>
                    <a:pt x="63" y="0"/>
                  </a:lnTo>
                  <a:lnTo>
                    <a:pt x="65" y="0"/>
                  </a:lnTo>
                  <a:lnTo>
                    <a:pt x="63" y="0"/>
                  </a:lnTo>
                  <a:lnTo>
                    <a:pt x="65" y="0"/>
                  </a:lnTo>
                  <a:lnTo>
                    <a:pt x="63" y="0"/>
                  </a:lnTo>
                  <a:lnTo>
                    <a:pt x="65" y="0"/>
                  </a:lnTo>
                  <a:lnTo>
                    <a:pt x="63" y="0"/>
                  </a:lnTo>
                  <a:lnTo>
                    <a:pt x="63" y="2"/>
                  </a:lnTo>
                  <a:lnTo>
                    <a:pt x="65" y="2"/>
                  </a:lnTo>
                  <a:lnTo>
                    <a:pt x="63" y="2"/>
                  </a:lnTo>
                  <a:lnTo>
                    <a:pt x="63" y="4"/>
                  </a:lnTo>
                  <a:lnTo>
                    <a:pt x="65" y="4"/>
                  </a:lnTo>
                  <a:lnTo>
                    <a:pt x="63" y="4"/>
                  </a:lnTo>
                  <a:lnTo>
                    <a:pt x="65" y="4"/>
                  </a:lnTo>
                  <a:lnTo>
                    <a:pt x="63" y="4"/>
                  </a:lnTo>
                  <a:lnTo>
                    <a:pt x="65" y="4"/>
                  </a:lnTo>
                  <a:lnTo>
                    <a:pt x="63" y="4"/>
                  </a:lnTo>
                  <a:lnTo>
                    <a:pt x="63" y="2"/>
                  </a:lnTo>
                  <a:lnTo>
                    <a:pt x="63" y="4"/>
                  </a:lnTo>
                  <a:lnTo>
                    <a:pt x="63" y="2"/>
                  </a:lnTo>
                  <a:lnTo>
                    <a:pt x="63" y="4"/>
                  </a:lnTo>
                  <a:lnTo>
                    <a:pt x="63" y="2"/>
                  </a:lnTo>
                  <a:lnTo>
                    <a:pt x="63" y="4"/>
                  </a:lnTo>
                  <a:lnTo>
                    <a:pt x="65" y="4"/>
                  </a:lnTo>
                  <a:lnTo>
                    <a:pt x="63" y="4"/>
                  </a:lnTo>
                  <a:lnTo>
                    <a:pt x="63" y="6"/>
                  </a:lnTo>
                  <a:lnTo>
                    <a:pt x="65" y="6"/>
                  </a:lnTo>
                  <a:lnTo>
                    <a:pt x="63" y="6"/>
                  </a:lnTo>
                  <a:lnTo>
                    <a:pt x="63" y="8"/>
                  </a:lnTo>
                  <a:lnTo>
                    <a:pt x="65" y="8"/>
                  </a:lnTo>
                  <a:lnTo>
                    <a:pt x="65" y="6"/>
                  </a:lnTo>
                  <a:lnTo>
                    <a:pt x="65" y="8"/>
                  </a:lnTo>
                  <a:lnTo>
                    <a:pt x="63" y="8"/>
                  </a:lnTo>
                  <a:lnTo>
                    <a:pt x="63" y="10"/>
                  </a:lnTo>
                  <a:lnTo>
                    <a:pt x="62" y="10"/>
                  </a:lnTo>
                  <a:lnTo>
                    <a:pt x="63" y="10"/>
                  </a:lnTo>
                  <a:lnTo>
                    <a:pt x="62" y="10"/>
                  </a:lnTo>
                  <a:lnTo>
                    <a:pt x="62" y="12"/>
                  </a:lnTo>
                  <a:close/>
                  <a:moveTo>
                    <a:pt x="100" y="91"/>
                  </a:moveTo>
                  <a:lnTo>
                    <a:pt x="100" y="93"/>
                  </a:lnTo>
                  <a:lnTo>
                    <a:pt x="102" y="93"/>
                  </a:lnTo>
                  <a:lnTo>
                    <a:pt x="102" y="94"/>
                  </a:lnTo>
                  <a:lnTo>
                    <a:pt x="100" y="94"/>
                  </a:lnTo>
                  <a:lnTo>
                    <a:pt x="100" y="96"/>
                  </a:lnTo>
                  <a:lnTo>
                    <a:pt x="98" y="96"/>
                  </a:lnTo>
                  <a:lnTo>
                    <a:pt x="98" y="98"/>
                  </a:lnTo>
                  <a:lnTo>
                    <a:pt x="96" y="98"/>
                  </a:lnTo>
                  <a:lnTo>
                    <a:pt x="96" y="96"/>
                  </a:lnTo>
                  <a:lnTo>
                    <a:pt x="98" y="96"/>
                  </a:lnTo>
                  <a:lnTo>
                    <a:pt x="98" y="94"/>
                  </a:lnTo>
                  <a:lnTo>
                    <a:pt x="98" y="93"/>
                  </a:lnTo>
                  <a:lnTo>
                    <a:pt x="100" y="93"/>
                  </a:lnTo>
                  <a:lnTo>
                    <a:pt x="100" y="91"/>
                  </a:lnTo>
                  <a:close/>
                  <a:moveTo>
                    <a:pt x="62" y="18"/>
                  </a:moveTo>
                  <a:lnTo>
                    <a:pt x="63" y="18"/>
                  </a:lnTo>
                  <a:lnTo>
                    <a:pt x="62" y="18"/>
                  </a:lnTo>
                  <a:close/>
                  <a:moveTo>
                    <a:pt x="58" y="139"/>
                  </a:moveTo>
                  <a:lnTo>
                    <a:pt x="60" y="139"/>
                  </a:lnTo>
                  <a:lnTo>
                    <a:pt x="60" y="141"/>
                  </a:lnTo>
                  <a:lnTo>
                    <a:pt x="58" y="141"/>
                  </a:lnTo>
                  <a:lnTo>
                    <a:pt x="58" y="139"/>
                  </a:lnTo>
                  <a:close/>
                  <a:moveTo>
                    <a:pt x="98" y="89"/>
                  </a:moveTo>
                  <a:lnTo>
                    <a:pt x="98" y="91"/>
                  </a:lnTo>
                  <a:lnTo>
                    <a:pt x="98" y="89"/>
                  </a:lnTo>
                  <a:close/>
                  <a:moveTo>
                    <a:pt x="96" y="91"/>
                  </a:moveTo>
                  <a:lnTo>
                    <a:pt x="96" y="93"/>
                  </a:lnTo>
                  <a:lnTo>
                    <a:pt x="96" y="91"/>
                  </a:lnTo>
                  <a:close/>
                  <a:moveTo>
                    <a:pt x="90" y="93"/>
                  </a:moveTo>
                  <a:lnTo>
                    <a:pt x="90" y="94"/>
                  </a:lnTo>
                  <a:lnTo>
                    <a:pt x="90" y="93"/>
                  </a:lnTo>
                  <a:close/>
                  <a:moveTo>
                    <a:pt x="96" y="91"/>
                  </a:moveTo>
                  <a:lnTo>
                    <a:pt x="98" y="91"/>
                  </a:lnTo>
                  <a:lnTo>
                    <a:pt x="96" y="91"/>
                  </a:lnTo>
                  <a:close/>
                  <a:moveTo>
                    <a:pt x="94" y="43"/>
                  </a:moveTo>
                  <a:lnTo>
                    <a:pt x="94" y="45"/>
                  </a:lnTo>
                  <a:lnTo>
                    <a:pt x="94" y="43"/>
                  </a:lnTo>
                  <a:close/>
                  <a:moveTo>
                    <a:pt x="96" y="45"/>
                  </a:moveTo>
                  <a:lnTo>
                    <a:pt x="96" y="46"/>
                  </a:lnTo>
                  <a:lnTo>
                    <a:pt x="96" y="45"/>
                  </a:lnTo>
                  <a:close/>
                  <a:moveTo>
                    <a:pt x="98" y="89"/>
                  </a:moveTo>
                  <a:lnTo>
                    <a:pt x="98" y="91"/>
                  </a:lnTo>
                  <a:lnTo>
                    <a:pt x="98" y="89"/>
                  </a:lnTo>
                  <a:close/>
                  <a:moveTo>
                    <a:pt x="65" y="0"/>
                  </a:moveTo>
                  <a:lnTo>
                    <a:pt x="65" y="2"/>
                  </a:lnTo>
                  <a:lnTo>
                    <a:pt x="65" y="0"/>
                  </a:lnTo>
                  <a:close/>
                  <a:moveTo>
                    <a:pt x="65" y="2"/>
                  </a:moveTo>
                  <a:lnTo>
                    <a:pt x="65" y="4"/>
                  </a:lnTo>
                  <a:lnTo>
                    <a:pt x="65" y="2"/>
                  </a:lnTo>
                  <a:close/>
                  <a:moveTo>
                    <a:pt x="65" y="6"/>
                  </a:moveTo>
                  <a:lnTo>
                    <a:pt x="65" y="8"/>
                  </a:lnTo>
                  <a:lnTo>
                    <a:pt x="65" y="6"/>
                  </a:lnTo>
                  <a:close/>
                  <a:moveTo>
                    <a:pt x="96" y="91"/>
                  </a:moveTo>
                  <a:lnTo>
                    <a:pt x="98" y="91"/>
                  </a:lnTo>
                  <a:lnTo>
                    <a:pt x="96" y="91"/>
                  </a:lnTo>
                  <a:close/>
                  <a:moveTo>
                    <a:pt x="98" y="89"/>
                  </a:moveTo>
                  <a:lnTo>
                    <a:pt x="98" y="91"/>
                  </a:lnTo>
                  <a:lnTo>
                    <a:pt x="98" y="89"/>
                  </a:lnTo>
                  <a:close/>
                  <a:moveTo>
                    <a:pt x="98" y="89"/>
                  </a:moveTo>
                  <a:lnTo>
                    <a:pt x="98" y="91"/>
                  </a:lnTo>
                  <a:lnTo>
                    <a:pt x="98" y="89"/>
                  </a:lnTo>
                  <a:close/>
                  <a:moveTo>
                    <a:pt x="94" y="94"/>
                  </a:moveTo>
                  <a:lnTo>
                    <a:pt x="96" y="94"/>
                  </a:lnTo>
                  <a:lnTo>
                    <a:pt x="94" y="94"/>
                  </a:lnTo>
                  <a:close/>
                  <a:moveTo>
                    <a:pt x="58" y="141"/>
                  </a:moveTo>
                  <a:lnTo>
                    <a:pt x="60" y="141"/>
                  </a:lnTo>
                  <a:lnTo>
                    <a:pt x="58" y="141"/>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330">
              <a:extLst>
                <a:ext uri="{FF2B5EF4-FFF2-40B4-BE49-F238E27FC236}">
                  <a16:creationId xmlns:a16="http://schemas.microsoft.com/office/drawing/2014/main" id="{5D70C227-DB44-4DC7-8CC0-A4C55121A1D4}"/>
                </a:ext>
              </a:extLst>
            </p:cNvPr>
            <p:cNvSpPr>
              <a:spLocks noEditPoints="1"/>
            </p:cNvSpPr>
            <p:nvPr/>
          </p:nvSpPr>
          <p:spPr bwMode="gray">
            <a:xfrm>
              <a:off x="3819986" y="3756591"/>
              <a:ext cx="381404" cy="313952"/>
            </a:xfrm>
            <a:custGeom>
              <a:avLst/>
              <a:gdLst>
                <a:gd name="T0" fmla="*/ 196 w 311"/>
                <a:gd name="T1" fmla="*/ 62 h 256"/>
                <a:gd name="T2" fmla="*/ 209 w 311"/>
                <a:gd name="T3" fmla="*/ 73 h 256"/>
                <a:gd name="T4" fmla="*/ 211 w 311"/>
                <a:gd name="T5" fmla="*/ 77 h 256"/>
                <a:gd name="T6" fmla="*/ 215 w 311"/>
                <a:gd name="T7" fmla="*/ 83 h 256"/>
                <a:gd name="T8" fmla="*/ 221 w 311"/>
                <a:gd name="T9" fmla="*/ 87 h 256"/>
                <a:gd name="T10" fmla="*/ 228 w 311"/>
                <a:gd name="T11" fmla="*/ 93 h 256"/>
                <a:gd name="T12" fmla="*/ 228 w 311"/>
                <a:gd name="T13" fmla="*/ 102 h 256"/>
                <a:gd name="T14" fmla="*/ 228 w 311"/>
                <a:gd name="T15" fmla="*/ 108 h 256"/>
                <a:gd name="T16" fmla="*/ 236 w 311"/>
                <a:gd name="T17" fmla="*/ 121 h 256"/>
                <a:gd name="T18" fmla="*/ 248 w 311"/>
                <a:gd name="T19" fmla="*/ 127 h 256"/>
                <a:gd name="T20" fmla="*/ 303 w 311"/>
                <a:gd name="T21" fmla="*/ 158 h 256"/>
                <a:gd name="T22" fmla="*/ 303 w 311"/>
                <a:gd name="T23" fmla="*/ 189 h 256"/>
                <a:gd name="T24" fmla="*/ 286 w 311"/>
                <a:gd name="T25" fmla="*/ 204 h 256"/>
                <a:gd name="T26" fmla="*/ 259 w 311"/>
                <a:gd name="T27" fmla="*/ 214 h 256"/>
                <a:gd name="T28" fmla="*/ 180 w 311"/>
                <a:gd name="T29" fmla="*/ 242 h 256"/>
                <a:gd name="T30" fmla="*/ 136 w 311"/>
                <a:gd name="T31" fmla="*/ 240 h 256"/>
                <a:gd name="T32" fmla="*/ 127 w 311"/>
                <a:gd name="T33" fmla="*/ 244 h 256"/>
                <a:gd name="T34" fmla="*/ 125 w 311"/>
                <a:gd name="T35" fmla="*/ 256 h 256"/>
                <a:gd name="T36" fmla="*/ 115 w 311"/>
                <a:gd name="T37" fmla="*/ 244 h 256"/>
                <a:gd name="T38" fmla="*/ 109 w 311"/>
                <a:gd name="T39" fmla="*/ 233 h 256"/>
                <a:gd name="T40" fmla="*/ 102 w 311"/>
                <a:gd name="T41" fmla="*/ 227 h 256"/>
                <a:gd name="T42" fmla="*/ 98 w 311"/>
                <a:gd name="T43" fmla="*/ 214 h 256"/>
                <a:gd name="T44" fmla="*/ 90 w 311"/>
                <a:gd name="T45" fmla="*/ 204 h 256"/>
                <a:gd name="T46" fmla="*/ 81 w 311"/>
                <a:gd name="T47" fmla="*/ 196 h 256"/>
                <a:gd name="T48" fmla="*/ 71 w 311"/>
                <a:gd name="T49" fmla="*/ 185 h 256"/>
                <a:gd name="T50" fmla="*/ 69 w 311"/>
                <a:gd name="T51" fmla="*/ 177 h 256"/>
                <a:gd name="T52" fmla="*/ 67 w 311"/>
                <a:gd name="T53" fmla="*/ 169 h 256"/>
                <a:gd name="T54" fmla="*/ 67 w 311"/>
                <a:gd name="T55" fmla="*/ 167 h 256"/>
                <a:gd name="T56" fmla="*/ 67 w 311"/>
                <a:gd name="T57" fmla="*/ 162 h 256"/>
                <a:gd name="T58" fmla="*/ 63 w 311"/>
                <a:gd name="T59" fmla="*/ 148 h 256"/>
                <a:gd name="T60" fmla="*/ 58 w 311"/>
                <a:gd name="T61" fmla="*/ 141 h 256"/>
                <a:gd name="T62" fmla="*/ 54 w 311"/>
                <a:gd name="T63" fmla="*/ 135 h 256"/>
                <a:gd name="T64" fmla="*/ 48 w 311"/>
                <a:gd name="T65" fmla="*/ 131 h 256"/>
                <a:gd name="T66" fmla="*/ 40 w 311"/>
                <a:gd name="T67" fmla="*/ 121 h 256"/>
                <a:gd name="T68" fmla="*/ 33 w 311"/>
                <a:gd name="T69" fmla="*/ 108 h 256"/>
                <a:gd name="T70" fmla="*/ 27 w 311"/>
                <a:gd name="T71" fmla="*/ 96 h 256"/>
                <a:gd name="T72" fmla="*/ 17 w 311"/>
                <a:gd name="T73" fmla="*/ 81 h 256"/>
                <a:gd name="T74" fmla="*/ 8 w 311"/>
                <a:gd name="T75" fmla="*/ 70 h 256"/>
                <a:gd name="T76" fmla="*/ 4 w 311"/>
                <a:gd name="T77" fmla="*/ 64 h 256"/>
                <a:gd name="T78" fmla="*/ 21 w 311"/>
                <a:gd name="T79" fmla="*/ 50 h 256"/>
                <a:gd name="T80" fmla="*/ 46 w 311"/>
                <a:gd name="T81" fmla="*/ 33 h 256"/>
                <a:gd name="T82" fmla="*/ 44 w 311"/>
                <a:gd name="T83" fmla="*/ 10 h 256"/>
                <a:gd name="T84" fmla="*/ 77 w 311"/>
                <a:gd name="T85" fmla="*/ 2 h 256"/>
                <a:gd name="T86" fmla="*/ 115 w 311"/>
                <a:gd name="T87" fmla="*/ 22 h 256"/>
                <a:gd name="T88" fmla="*/ 132 w 311"/>
                <a:gd name="T89" fmla="*/ 37 h 256"/>
                <a:gd name="T90" fmla="*/ 150 w 311"/>
                <a:gd name="T91" fmla="*/ 50 h 256"/>
                <a:gd name="T92" fmla="*/ 177 w 311"/>
                <a:gd name="T93" fmla="*/ 54 h 256"/>
                <a:gd name="T94" fmla="*/ 113 w 311"/>
                <a:gd name="T95" fmla="*/ 252 h 256"/>
                <a:gd name="T96" fmla="*/ 0 w 311"/>
                <a:gd name="T97" fmla="*/ 71 h 256"/>
                <a:gd name="T98" fmla="*/ 107 w 311"/>
                <a:gd name="T99" fmla="*/ 250 h 256"/>
                <a:gd name="T100" fmla="*/ 81 w 311"/>
                <a:gd name="T101" fmla="*/ 196 h 256"/>
                <a:gd name="T102" fmla="*/ 34 w 311"/>
                <a:gd name="T103" fmla="*/ 114 h 256"/>
                <a:gd name="T104" fmla="*/ 107 w 311"/>
                <a:gd name="T105" fmla="*/ 244 h 256"/>
                <a:gd name="T106" fmla="*/ 217 w 311"/>
                <a:gd name="T107" fmla="*/ 83 h 256"/>
                <a:gd name="T108" fmla="*/ 217 w 311"/>
                <a:gd name="T109" fmla="*/ 85 h 256"/>
                <a:gd name="T110" fmla="*/ 94 w 311"/>
                <a:gd name="T111" fmla="*/ 212 h 256"/>
                <a:gd name="T112" fmla="*/ 117 w 311"/>
                <a:gd name="T113" fmla="*/ 248 h 256"/>
                <a:gd name="T114" fmla="*/ 98 w 311"/>
                <a:gd name="T115" fmla="*/ 223 h 256"/>
                <a:gd name="T116" fmla="*/ 2 w 311"/>
                <a:gd name="T117" fmla="*/ 7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1" h="256">
                  <a:moveTo>
                    <a:pt x="177" y="52"/>
                  </a:moveTo>
                  <a:lnTo>
                    <a:pt x="178" y="52"/>
                  </a:lnTo>
                  <a:lnTo>
                    <a:pt x="178" y="54"/>
                  </a:lnTo>
                  <a:lnTo>
                    <a:pt x="180" y="54"/>
                  </a:lnTo>
                  <a:lnTo>
                    <a:pt x="182" y="54"/>
                  </a:lnTo>
                  <a:lnTo>
                    <a:pt x="184" y="54"/>
                  </a:lnTo>
                  <a:lnTo>
                    <a:pt x="186" y="54"/>
                  </a:lnTo>
                  <a:lnTo>
                    <a:pt x="188" y="54"/>
                  </a:lnTo>
                  <a:lnTo>
                    <a:pt x="190" y="54"/>
                  </a:lnTo>
                  <a:lnTo>
                    <a:pt x="190" y="56"/>
                  </a:lnTo>
                  <a:lnTo>
                    <a:pt x="192" y="56"/>
                  </a:lnTo>
                  <a:lnTo>
                    <a:pt x="192" y="58"/>
                  </a:lnTo>
                  <a:lnTo>
                    <a:pt x="192" y="60"/>
                  </a:lnTo>
                  <a:lnTo>
                    <a:pt x="194" y="62"/>
                  </a:lnTo>
                  <a:lnTo>
                    <a:pt x="196" y="62"/>
                  </a:lnTo>
                  <a:lnTo>
                    <a:pt x="201" y="62"/>
                  </a:lnTo>
                  <a:lnTo>
                    <a:pt x="203" y="62"/>
                  </a:lnTo>
                  <a:lnTo>
                    <a:pt x="205" y="62"/>
                  </a:lnTo>
                  <a:lnTo>
                    <a:pt x="205" y="64"/>
                  </a:lnTo>
                  <a:lnTo>
                    <a:pt x="205" y="66"/>
                  </a:lnTo>
                  <a:lnTo>
                    <a:pt x="205" y="64"/>
                  </a:lnTo>
                  <a:lnTo>
                    <a:pt x="205" y="66"/>
                  </a:lnTo>
                  <a:lnTo>
                    <a:pt x="205" y="64"/>
                  </a:lnTo>
                  <a:lnTo>
                    <a:pt x="205" y="66"/>
                  </a:lnTo>
                  <a:lnTo>
                    <a:pt x="205" y="68"/>
                  </a:lnTo>
                  <a:lnTo>
                    <a:pt x="207" y="68"/>
                  </a:lnTo>
                  <a:lnTo>
                    <a:pt x="207" y="70"/>
                  </a:lnTo>
                  <a:lnTo>
                    <a:pt x="207" y="71"/>
                  </a:lnTo>
                  <a:lnTo>
                    <a:pt x="209" y="71"/>
                  </a:lnTo>
                  <a:lnTo>
                    <a:pt x="209" y="73"/>
                  </a:lnTo>
                  <a:lnTo>
                    <a:pt x="211" y="73"/>
                  </a:lnTo>
                  <a:lnTo>
                    <a:pt x="211" y="75"/>
                  </a:lnTo>
                  <a:lnTo>
                    <a:pt x="211" y="73"/>
                  </a:lnTo>
                  <a:lnTo>
                    <a:pt x="211" y="75"/>
                  </a:lnTo>
                  <a:lnTo>
                    <a:pt x="209" y="75"/>
                  </a:lnTo>
                  <a:lnTo>
                    <a:pt x="211" y="75"/>
                  </a:lnTo>
                  <a:lnTo>
                    <a:pt x="209" y="75"/>
                  </a:lnTo>
                  <a:lnTo>
                    <a:pt x="211" y="75"/>
                  </a:lnTo>
                  <a:lnTo>
                    <a:pt x="211" y="73"/>
                  </a:lnTo>
                  <a:lnTo>
                    <a:pt x="209" y="73"/>
                  </a:lnTo>
                  <a:lnTo>
                    <a:pt x="211" y="73"/>
                  </a:lnTo>
                  <a:lnTo>
                    <a:pt x="209" y="73"/>
                  </a:lnTo>
                  <a:lnTo>
                    <a:pt x="209" y="75"/>
                  </a:lnTo>
                  <a:lnTo>
                    <a:pt x="209" y="77"/>
                  </a:lnTo>
                  <a:lnTo>
                    <a:pt x="211" y="77"/>
                  </a:lnTo>
                  <a:lnTo>
                    <a:pt x="211" y="75"/>
                  </a:lnTo>
                  <a:lnTo>
                    <a:pt x="211" y="77"/>
                  </a:lnTo>
                  <a:lnTo>
                    <a:pt x="211" y="79"/>
                  </a:lnTo>
                  <a:lnTo>
                    <a:pt x="211" y="77"/>
                  </a:lnTo>
                  <a:lnTo>
                    <a:pt x="211" y="79"/>
                  </a:lnTo>
                  <a:lnTo>
                    <a:pt x="211" y="77"/>
                  </a:lnTo>
                  <a:lnTo>
                    <a:pt x="213" y="77"/>
                  </a:lnTo>
                  <a:lnTo>
                    <a:pt x="213" y="79"/>
                  </a:lnTo>
                  <a:lnTo>
                    <a:pt x="215" y="79"/>
                  </a:lnTo>
                  <a:lnTo>
                    <a:pt x="217" y="79"/>
                  </a:lnTo>
                  <a:lnTo>
                    <a:pt x="217" y="81"/>
                  </a:lnTo>
                  <a:lnTo>
                    <a:pt x="215" y="81"/>
                  </a:lnTo>
                  <a:lnTo>
                    <a:pt x="217" y="81"/>
                  </a:lnTo>
                  <a:lnTo>
                    <a:pt x="217" y="83"/>
                  </a:lnTo>
                  <a:lnTo>
                    <a:pt x="215" y="83"/>
                  </a:lnTo>
                  <a:lnTo>
                    <a:pt x="217" y="83"/>
                  </a:lnTo>
                  <a:lnTo>
                    <a:pt x="217" y="85"/>
                  </a:lnTo>
                  <a:lnTo>
                    <a:pt x="219" y="85"/>
                  </a:lnTo>
                  <a:lnTo>
                    <a:pt x="217" y="85"/>
                  </a:lnTo>
                  <a:lnTo>
                    <a:pt x="219" y="85"/>
                  </a:lnTo>
                  <a:lnTo>
                    <a:pt x="219" y="87"/>
                  </a:lnTo>
                  <a:lnTo>
                    <a:pt x="219" y="85"/>
                  </a:lnTo>
                  <a:lnTo>
                    <a:pt x="219" y="87"/>
                  </a:lnTo>
                  <a:lnTo>
                    <a:pt x="219" y="85"/>
                  </a:lnTo>
                  <a:lnTo>
                    <a:pt x="221" y="85"/>
                  </a:lnTo>
                  <a:lnTo>
                    <a:pt x="221" y="87"/>
                  </a:lnTo>
                  <a:lnTo>
                    <a:pt x="221" y="85"/>
                  </a:lnTo>
                  <a:lnTo>
                    <a:pt x="221" y="87"/>
                  </a:lnTo>
                  <a:lnTo>
                    <a:pt x="223" y="87"/>
                  </a:lnTo>
                  <a:lnTo>
                    <a:pt x="221" y="87"/>
                  </a:lnTo>
                  <a:lnTo>
                    <a:pt x="223" y="87"/>
                  </a:lnTo>
                  <a:lnTo>
                    <a:pt x="221" y="87"/>
                  </a:lnTo>
                  <a:lnTo>
                    <a:pt x="223" y="87"/>
                  </a:lnTo>
                  <a:lnTo>
                    <a:pt x="223" y="89"/>
                  </a:lnTo>
                  <a:lnTo>
                    <a:pt x="224" y="89"/>
                  </a:lnTo>
                  <a:lnTo>
                    <a:pt x="224" y="91"/>
                  </a:lnTo>
                  <a:lnTo>
                    <a:pt x="226" y="91"/>
                  </a:lnTo>
                  <a:lnTo>
                    <a:pt x="228" y="91"/>
                  </a:lnTo>
                  <a:lnTo>
                    <a:pt x="228" y="93"/>
                  </a:lnTo>
                  <a:lnTo>
                    <a:pt x="230" y="93"/>
                  </a:lnTo>
                  <a:lnTo>
                    <a:pt x="230" y="94"/>
                  </a:lnTo>
                  <a:lnTo>
                    <a:pt x="230" y="93"/>
                  </a:lnTo>
                  <a:lnTo>
                    <a:pt x="230" y="94"/>
                  </a:lnTo>
                  <a:lnTo>
                    <a:pt x="230" y="93"/>
                  </a:lnTo>
                  <a:lnTo>
                    <a:pt x="228" y="93"/>
                  </a:lnTo>
                  <a:lnTo>
                    <a:pt x="226" y="93"/>
                  </a:lnTo>
                  <a:lnTo>
                    <a:pt x="228" y="93"/>
                  </a:lnTo>
                  <a:lnTo>
                    <a:pt x="228" y="94"/>
                  </a:lnTo>
                  <a:lnTo>
                    <a:pt x="226" y="94"/>
                  </a:lnTo>
                  <a:lnTo>
                    <a:pt x="228" y="94"/>
                  </a:lnTo>
                  <a:lnTo>
                    <a:pt x="228" y="96"/>
                  </a:lnTo>
                  <a:lnTo>
                    <a:pt x="230" y="96"/>
                  </a:lnTo>
                  <a:lnTo>
                    <a:pt x="230" y="98"/>
                  </a:lnTo>
                  <a:lnTo>
                    <a:pt x="230" y="100"/>
                  </a:lnTo>
                  <a:lnTo>
                    <a:pt x="230" y="102"/>
                  </a:lnTo>
                  <a:lnTo>
                    <a:pt x="230" y="104"/>
                  </a:lnTo>
                  <a:lnTo>
                    <a:pt x="228" y="104"/>
                  </a:lnTo>
                  <a:lnTo>
                    <a:pt x="228" y="102"/>
                  </a:lnTo>
                  <a:lnTo>
                    <a:pt x="228" y="100"/>
                  </a:lnTo>
                  <a:lnTo>
                    <a:pt x="228" y="102"/>
                  </a:lnTo>
                  <a:lnTo>
                    <a:pt x="226" y="102"/>
                  </a:lnTo>
                  <a:lnTo>
                    <a:pt x="228" y="102"/>
                  </a:lnTo>
                  <a:lnTo>
                    <a:pt x="226" y="102"/>
                  </a:lnTo>
                  <a:lnTo>
                    <a:pt x="228" y="102"/>
                  </a:lnTo>
                  <a:lnTo>
                    <a:pt x="226" y="102"/>
                  </a:lnTo>
                  <a:lnTo>
                    <a:pt x="228" y="102"/>
                  </a:lnTo>
                  <a:lnTo>
                    <a:pt x="226" y="102"/>
                  </a:lnTo>
                  <a:lnTo>
                    <a:pt x="226" y="104"/>
                  </a:lnTo>
                  <a:lnTo>
                    <a:pt x="228" y="104"/>
                  </a:lnTo>
                  <a:lnTo>
                    <a:pt x="228" y="106"/>
                  </a:lnTo>
                  <a:lnTo>
                    <a:pt x="228" y="108"/>
                  </a:lnTo>
                  <a:lnTo>
                    <a:pt x="230" y="108"/>
                  </a:lnTo>
                  <a:lnTo>
                    <a:pt x="230" y="110"/>
                  </a:lnTo>
                  <a:lnTo>
                    <a:pt x="230" y="108"/>
                  </a:lnTo>
                  <a:lnTo>
                    <a:pt x="228" y="108"/>
                  </a:lnTo>
                  <a:lnTo>
                    <a:pt x="230" y="108"/>
                  </a:lnTo>
                  <a:lnTo>
                    <a:pt x="230" y="110"/>
                  </a:lnTo>
                  <a:lnTo>
                    <a:pt x="230" y="112"/>
                  </a:lnTo>
                  <a:lnTo>
                    <a:pt x="232" y="112"/>
                  </a:lnTo>
                  <a:lnTo>
                    <a:pt x="232" y="114"/>
                  </a:lnTo>
                  <a:lnTo>
                    <a:pt x="234" y="114"/>
                  </a:lnTo>
                  <a:lnTo>
                    <a:pt x="232" y="114"/>
                  </a:lnTo>
                  <a:lnTo>
                    <a:pt x="232" y="112"/>
                  </a:lnTo>
                  <a:lnTo>
                    <a:pt x="232" y="114"/>
                  </a:lnTo>
                  <a:lnTo>
                    <a:pt x="234" y="114"/>
                  </a:lnTo>
                  <a:lnTo>
                    <a:pt x="234" y="116"/>
                  </a:lnTo>
                  <a:lnTo>
                    <a:pt x="234" y="118"/>
                  </a:lnTo>
                  <a:lnTo>
                    <a:pt x="236" y="118"/>
                  </a:lnTo>
                  <a:lnTo>
                    <a:pt x="236" y="119"/>
                  </a:lnTo>
                  <a:lnTo>
                    <a:pt x="236" y="121"/>
                  </a:lnTo>
                  <a:lnTo>
                    <a:pt x="238" y="121"/>
                  </a:lnTo>
                  <a:lnTo>
                    <a:pt x="238" y="123"/>
                  </a:lnTo>
                  <a:lnTo>
                    <a:pt x="238" y="125"/>
                  </a:lnTo>
                  <a:lnTo>
                    <a:pt x="240" y="125"/>
                  </a:lnTo>
                  <a:lnTo>
                    <a:pt x="240" y="127"/>
                  </a:lnTo>
                  <a:lnTo>
                    <a:pt x="242" y="127"/>
                  </a:lnTo>
                  <a:lnTo>
                    <a:pt x="242" y="129"/>
                  </a:lnTo>
                  <a:lnTo>
                    <a:pt x="244" y="129"/>
                  </a:lnTo>
                  <a:lnTo>
                    <a:pt x="246" y="129"/>
                  </a:lnTo>
                  <a:lnTo>
                    <a:pt x="248" y="129"/>
                  </a:lnTo>
                  <a:lnTo>
                    <a:pt x="248" y="127"/>
                  </a:lnTo>
                  <a:lnTo>
                    <a:pt x="249" y="127"/>
                  </a:lnTo>
                  <a:lnTo>
                    <a:pt x="248" y="127"/>
                  </a:lnTo>
                  <a:lnTo>
                    <a:pt x="249" y="127"/>
                  </a:lnTo>
                  <a:lnTo>
                    <a:pt x="248" y="127"/>
                  </a:lnTo>
                  <a:lnTo>
                    <a:pt x="248" y="129"/>
                  </a:lnTo>
                  <a:lnTo>
                    <a:pt x="246" y="129"/>
                  </a:lnTo>
                  <a:lnTo>
                    <a:pt x="246" y="131"/>
                  </a:lnTo>
                  <a:lnTo>
                    <a:pt x="248" y="131"/>
                  </a:lnTo>
                  <a:lnTo>
                    <a:pt x="249" y="131"/>
                  </a:lnTo>
                  <a:lnTo>
                    <a:pt x="249" y="133"/>
                  </a:lnTo>
                  <a:lnTo>
                    <a:pt x="251" y="133"/>
                  </a:lnTo>
                  <a:lnTo>
                    <a:pt x="251" y="135"/>
                  </a:lnTo>
                  <a:lnTo>
                    <a:pt x="255" y="141"/>
                  </a:lnTo>
                  <a:lnTo>
                    <a:pt x="261" y="148"/>
                  </a:lnTo>
                  <a:lnTo>
                    <a:pt x="263" y="150"/>
                  </a:lnTo>
                  <a:lnTo>
                    <a:pt x="265" y="154"/>
                  </a:lnTo>
                  <a:lnTo>
                    <a:pt x="278" y="156"/>
                  </a:lnTo>
                  <a:lnTo>
                    <a:pt x="301" y="158"/>
                  </a:lnTo>
                  <a:lnTo>
                    <a:pt x="303" y="158"/>
                  </a:lnTo>
                  <a:lnTo>
                    <a:pt x="307" y="162"/>
                  </a:lnTo>
                  <a:lnTo>
                    <a:pt x="307" y="164"/>
                  </a:lnTo>
                  <a:lnTo>
                    <a:pt x="311" y="167"/>
                  </a:lnTo>
                  <a:lnTo>
                    <a:pt x="309" y="169"/>
                  </a:lnTo>
                  <a:lnTo>
                    <a:pt x="309" y="171"/>
                  </a:lnTo>
                  <a:lnTo>
                    <a:pt x="309" y="173"/>
                  </a:lnTo>
                  <a:lnTo>
                    <a:pt x="309" y="175"/>
                  </a:lnTo>
                  <a:lnTo>
                    <a:pt x="307" y="177"/>
                  </a:lnTo>
                  <a:lnTo>
                    <a:pt x="307" y="179"/>
                  </a:lnTo>
                  <a:lnTo>
                    <a:pt x="307" y="181"/>
                  </a:lnTo>
                  <a:lnTo>
                    <a:pt x="305" y="181"/>
                  </a:lnTo>
                  <a:lnTo>
                    <a:pt x="305" y="183"/>
                  </a:lnTo>
                  <a:lnTo>
                    <a:pt x="305" y="185"/>
                  </a:lnTo>
                  <a:lnTo>
                    <a:pt x="305" y="187"/>
                  </a:lnTo>
                  <a:lnTo>
                    <a:pt x="303" y="189"/>
                  </a:lnTo>
                  <a:lnTo>
                    <a:pt x="303" y="191"/>
                  </a:lnTo>
                  <a:lnTo>
                    <a:pt x="303" y="192"/>
                  </a:lnTo>
                  <a:lnTo>
                    <a:pt x="301" y="194"/>
                  </a:lnTo>
                  <a:lnTo>
                    <a:pt x="301" y="196"/>
                  </a:lnTo>
                  <a:lnTo>
                    <a:pt x="301" y="198"/>
                  </a:lnTo>
                  <a:lnTo>
                    <a:pt x="301" y="200"/>
                  </a:lnTo>
                  <a:lnTo>
                    <a:pt x="299" y="200"/>
                  </a:lnTo>
                  <a:lnTo>
                    <a:pt x="297" y="200"/>
                  </a:lnTo>
                  <a:lnTo>
                    <a:pt x="296" y="202"/>
                  </a:lnTo>
                  <a:lnTo>
                    <a:pt x="294" y="202"/>
                  </a:lnTo>
                  <a:lnTo>
                    <a:pt x="292" y="202"/>
                  </a:lnTo>
                  <a:lnTo>
                    <a:pt x="290" y="202"/>
                  </a:lnTo>
                  <a:lnTo>
                    <a:pt x="290" y="204"/>
                  </a:lnTo>
                  <a:lnTo>
                    <a:pt x="288" y="204"/>
                  </a:lnTo>
                  <a:lnTo>
                    <a:pt x="286" y="204"/>
                  </a:lnTo>
                  <a:lnTo>
                    <a:pt x="284" y="206"/>
                  </a:lnTo>
                  <a:lnTo>
                    <a:pt x="282" y="206"/>
                  </a:lnTo>
                  <a:lnTo>
                    <a:pt x="280" y="206"/>
                  </a:lnTo>
                  <a:lnTo>
                    <a:pt x="278" y="208"/>
                  </a:lnTo>
                  <a:lnTo>
                    <a:pt x="276" y="208"/>
                  </a:lnTo>
                  <a:lnTo>
                    <a:pt x="274" y="208"/>
                  </a:lnTo>
                  <a:lnTo>
                    <a:pt x="272" y="210"/>
                  </a:lnTo>
                  <a:lnTo>
                    <a:pt x="271" y="210"/>
                  </a:lnTo>
                  <a:lnTo>
                    <a:pt x="269" y="210"/>
                  </a:lnTo>
                  <a:lnTo>
                    <a:pt x="267" y="212"/>
                  </a:lnTo>
                  <a:lnTo>
                    <a:pt x="265" y="212"/>
                  </a:lnTo>
                  <a:lnTo>
                    <a:pt x="263" y="212"/>
                  </a:lnTo>
                  <a:lnTo>
                    <a:pt x="263" y="214"/>
                  </a:lnTo>
                  <a:lnTo>
                    <a:pt x="261" y="214"/>
                  </a:lnTo>
                  <a:lnTo>
                    <a:pt x="259" y="214"/>
                  </a:lnTo>
                  <a:lnTo>
                    <a:pt x="257" y="214"/>
                  </a:lnTo>
                  <a:lnTo>
                    <a:pt x="257" y="216"/>
                  </a:lnTo>
                  <a:lnTo>
                    <a:pt x="251" y="216"/>
                  </a:lnTo>
                  <a:lnTo>
                    <a:pt x="238" y="219"/>
                  </a:lnTo>
                  <a:lnTo>
                    <a:pt x="232" y="219"/>
                  </a:lnTo>
                  <a:lnTo>
                    <a:pt x="223" y="219"/>
                  </a:lnTo>
                  <a:lnTo>
                    <a:pt x="215" y="221"/>
                  </a:lnTo>
                  <a:lnTo>
                    <a:pt x="207" y="225"/>
                  </a:lnTo>
                  <a:lnTo>
                    <a:pt x="201" y="227"/>
                  </a:lnTo>
                  <a:lnTo>
                    <a:pt x="192" y="239"/>
                  </a:lnTo>
                  <a:lnTo>
                    <a:pt x="190" y="244"/>
                  </a:lnTo>
                  <a:lnTo>
                    <a:pt x="186" y="246"/>
                  </a:lnTo>
                  <a:lnTo>
                    <a:pt x="184" y="246"/>
                  </a:lnTo>
                  <a:lnTo>
                    <a:pt x="180" y="244"/>
                  </a:lnTo>
                  <a:lnTo>
                    <a:pt x="180" y="242"/>
                  </a:lnTo>
                  <a:lnTo>
                    <a:pt x="175" y="242"/>
                  </a:lnTo>
                  <a:lnTo>
                    <a:pt x="171" y="242"/>
                  </a:lnTo>
                  <a:lnTo>
                    <a:pt x="169" y="242"/>
                  </a:lnTo>
                  <a:lnTo>
                    <a:pt x="159" y="240"/>
                  </a:lnTo>
                  <a:lnTo>
                    <a:pt x="157" y="239"/>
                  </a:lnTo>
                  <a:lnTo>
                    <a:pt x="152" y="239"/>
                  </a:lnTo>
                  <a:lnTo>
                    <a:pt x="150" y="239"/>
                  </a:lnTo>
                  <a:lnTo>
                    <a:pt x="148" y="240"/>
                  </a:lnTo>
                  <a:lnTo>
                    <a:pt x="146" y="239"/>
                  </a:lnTo>
                  <a:lnTo>
                    <a:pt x="144" y="239"/>
                  </a:lnTo>
                  <a:lnTo>
                    <a:pt x="142" y="239"/>
                  </a:lnTo>
                  <a:lnTo>
                    <a:pt x="142" y="240"/>
                  </a:lnTo>
                  <a:lnTo>
                    <a:pt x="140" y="240"/>
                  </a:lnTo>
                  <a:lnTo>
                    <a:pt x="138" y="240"/>
                  </a:lnTo>
                  <a:lnTo>
                    <a:pt x="136" y="240"/>
                  </a:lnTo>
                  <a:lnTo>
                    <a:pt x="134" y="240"/>
                  </a:lnTo>
                  <a:lnTo>
                    <a:pt x="134" y="239"/>
                  </a:lnTo>
                  <a:lnTo>
                    <a:pt x="132" y="239"/>
                  </a:lnTo>
                  <a:lnTo>
                    <a:pt x="132" y="237"/>
                  </a:lnTo>
                  <a:lnTo>
                    <a:pt x="130" y="237"/>
                  </a:lnTo>
                  <a:lnTo>
                    <a:pt x="130" y="239"/>
                  </a:lnTo>
                  <a:lnTo>
                    <a:pt x="129" y="239"/>
                  </a:lnTo>
                  <a:lnTo>
                    <a:pt x="129" y="240"/>
                  </a:lnTo>
                  <a:lnTo>
                    <a:pt x="130" y="240"/>
                  </a:lnTo>
                  <a:lnTo>
                    <a:pt x="129" y="240"/>
                  </a:lnTo>
                  <a:lnTo>
                    <a:pt x="129" y="242"/>
                  </a:lnTo>
                  <a:lnTo>
                    <a:pt x="129" y="240"/>
                  </a:lnTo>
                  <a:lnTo>
                    <a:pt x="129" y="242"/>
                  </a:lnTo>
                  <a:lnTo>
                    <a:pt x="127" y="242"/>
                  </a:lnTo>
                  <a:lnTo>
                    <a:pt x="127" y="244"/>
                  </a:lnTo>
                  <a:lnTo>
                    <a:pt x="129" y="244"/>
                  </a:lnTo>
                  <a:lnTo>
                    <a:pt x="129" y="246"/>
                  </a:lnTo>
                  <a:lnTo>
                    <a:pt x="127" y="246"/>
                  </a:lnTo>
                  <a:lnTo>
                    <a:pt x="129" y="246"/>
                  </a:lnTo>
                  <a:lnTo>
                    <a:pt x="127" y="246"/>
                  </a:lnTo>
                  <a:lnTo>
                    <a:pt x="127" y="248"/>
                  </a:lnTo>
                  <a:lnTo>
                    <a:pt x="129" y="248"/>
                  </a:lnTo>
                  <a:lnTo>
                    <a:pt x="129" y="250"/>
                  </a:lnTo>
                  <a:lnTo>
                    <a:pt x="129" y="252"/>
                  </a:lnTo>
                  <a:lnTo>
                    <a:pt x="127" y="252"/>
                  </a:lnTo>
                  <a:lnTo>
                    <a:pt x="127" y="250"/>
                  </a:lnTo>
                  <a:lnTo>
                    <a:pt x="127" y="252"/>
                  </a:lnTo>
                  <a:lnTo>
                    <a:pt x="127" y="254"/>
                  </a:lnTo>
                  <a:lnTo>
                    <a:pt x="125" y="254"/>
                  </a:lnTo>
                  <a:lnTo>
                    <a:pt x="125" y="256"/>
                  </a:lnTo>
                  <a:lnTo>
                    <a:pt x="123" y="256"/>
                  </a:lnTo>
                  <a:lnTo>
                    <a:pt x="121" y="256"/>
                  </a:lnTo>
                  <a:lnTo>
                    <a:pt x="121" y="254"/>
                  </a:lnTo>
                  <a:lnTo>
                    <a:pt x="121" y="252"/>
                  </a:lnTo>
                  <a:lnTo>
                    <a:pt x="121" y="250"/>
                  </a:lnTo>
                  <a:lnTo>
                    <a:pt x="121" y="248"/>
                  </a:lnTo>
                  <a:lnTo>
                    <a:pt x="119" y="248"/>
                  </a:lnTo>
                  <a:lnTo>
                    <a:pt x="117" y="248"/>
                  </a:lnTo>
                  <a:lnTo>
                    <a:pt x="119" y="248"/>
                  </a:lnTo>
                  <a:lnTo>
                    <a:pt x="119" y="246"/>
                  </a:lnTo>
                  <a:lnTo>
                    <a:pt x="117" y="246"/>
                  </a:lnTo>
                  <a:lnTo>
                    <a:pt x="117" y="244"/>
                  </a:lnTo>
                  <a:lnTo>
                    <a:pt x="115" y="244"/>
                  </a:lnTo>
                  <a:lnTo>
                    <a:pt x="115" y="242"/>
                  </a:lnTo>
                  <a:lnTo>
                    <a:pt x="115" y="244"/>
                  </a:lnTo>
                  <a:lnTo>
                    <a:pt x="115" y="246"/>
                  </a:lnTo>
                  <a:lnTo>
                    <a:pt x="115" y="244"/>
                  </a:lnTo>
                  <a:lnTo>
                    <a:pt x="115" y="242"/>
                  </a:lnTo>
                  <a:lnTo>
                    <a:pt x="115" y="240"/>
                  </a:lnTo>
                  <a:lnTo>
                    <a:pt x="115" y="239"/>
                  </a:lnTo>
                  <a:lnTo>
                    <a:pt x="113" y="239"/>
                  </a:lnTo>
                  <a:lnTo>
                    <a:pt x="113" y="237"/>
                  </a:lnTo>
                  <a:lnTo>
                    <a:pt x="111" y="237"/>
                  </a:lnTo>
                  <a:lnTo>
                    <a:pt x="113" y="237"/>
                  </a:lnTo>
                  <a:lnTo>
                    <a:pt x="111" y="237"/>
                  </a:lnTo>
                  <a:lnTo>
                    <a:pt x="113" y="237"/>
                  </a:lnTo>
                  <a:lnTo>
                    <a:pt x="111" y="237"/>
                  </a:lnTo>
                  <a:lnTo>
                    <a:pt x="111" y="235"/>
                  </a:lnTo>
                  <a:lnTo>
                    <a:pt x="109" y="235"/>
                  </a:lnTo>
                  <a:lnTo>
                    <a:pt x="109" y="233"/>
                  </a:lnTo>
                  <a:lnTo>
                    <a:pt x="107" y="233"/>
                  </a:lnTo>
                  <a:lnTo>
                    <a:pt x="105" y="233"/>
                  </a:lnTo>
                  <a:lnTo>
                    <a:pt x="105" y="231"/>
                  </a:lnTo>
                  <a:lnTo>
                    <a:pt x="105" y="229"/>
                  </a:lnTo>
                  <a:lnTo>
                    <a:pt x="104" y="229"/>
                  </a:lnTo>
                  <a:lnTo>
                    <a:pt x="104" y="227"/>
                  </a:lnTo>
                  <a:lnTo>
                    <a:pt x="104" y="229"/>
                  </a:lnTo>
                  <a:lnTo>
                    <a:pt x="104" y="227"/>
                  </a:lnTo>
                  <a:lnTo>
                    <a:pt x="104" y="225"/>
                  </a:lnTo>
                  <a:lnTo>
                    <a:pt x="104" y="227"/>
                  </a:lnTo>
                  <a:lnTo>
                    <a:pt x="104" y="225"/>
                  </a:lnTo>
                  <a:lnTo>
                    <a:pt x="104" y="227"/>
                  </a:lnTo>
                  <a:lnTo>
                    <a:pt x="102" y="227"/>
                  </a:lnTo>
                  <a:lnTo>
                    <a:pt x="104" y="227"/>
                  </a:lnTo>
                  <a:lnTo>
                    <a:pt x="102" y="227"/>
                  </a:lnTo>
                  <a:lnTo>
                    <a:pt x="102" y="225"/>
                  </a:lnTo>
                  <a:lnTo>
                    <a:pt x="104" y="225"/>
                  </a:lnTo>
                  <a:lnTo>
                    <a:pt x="102" y="225"/>
                  </a:lnTo>
                  <a:lnTo>
                    <a:pt x="102" y="223"/>
                  </a:lnTo>
                  <a:lnTo>
                    <a:pt x="102" y="221"/>
                  </a:lnTo>
                  <a:lnTo>
                    <a:pt x="100" y="221"/>
                  </a:lnTo>
                  <a:lnTo>
                    <a:pt x="100" y="219"/>
                  </a:lnTo>
                  <a:lnTo>
                    <a:pt x="98" y="219"/>
                  </a:lnTo>
                  <a:lnTo>
                    <a:pt x="100" y="219"/>
                  </a:lnTo>
                  <a:lnTo>
                    <a:pt x="98" y="219"/>
                  </a:lnTo>
                  <a:lnTo>
                    <a:pt x="100" y="219"/>
                  </a:lnTo>
                  <a:lnTo>
                    <a:pt x="100" y="217"/>
                  </a:lnTo>
                  <a:lnTo>
                    <a:pt x="98" y="217"/>
                  </a:lnTo>
                  <a:lnTo>
                    <a:pt x="98" y="216"/>
                  </a:lnTo>
                  <a:lnTo>
                    <a:pt x="98" y="214"/>
                  </a:lnTo>
                  <a:lnTo>
                    <a:pt x="96" y="214"/>
                  </a:lnTo>
                  <a:lnTo>
                    <a:pt x="96" y="212"/>
                  </a:lnTo>
                  <a:lnTo>
                    <a:pt x="96" y="210"/>
                  </a:lnTo>
                  <a:lnTo>
                    <a:pt x="94" y="210"/>
                  </a:lnTo>
                  <a:lnTo>
                    <a:pt x="96" y="210"/>
                  </a:lnTo>
                  <a:lnTo>
                    <a:pt x="94" y="210"/>
                  </a:lnTo>
                  <a:lnTo>
                    <a:pt x="94" y="208"/>
                  </a:lnTo>
                  <a:lnTo>
                    <a:pt x="96" y="208"/>
                  </a:lnTo>
                  <a:lnTo>
                    <a:pt x="94" y="208"/>
                  </a:lnTo>
                  <a:lnTo>
                    <a:pt x="94" y="206"/>
                  </a:lnTo>
                  <a:lnTo>
                    <a:pt x="92" y="206"/>
                  </a:lnTo>
                  <a:lnTo>
                    <a:pt x="92" y="204"/>
                  </a:lnTo>
                  <a:lnTo>
                    <a:pt x="92" y="202"/>
                  </a:lnTo>
                  <a:lnTo>
                    <a:pt x="90" y="202"/>
                  </a:lnTo>
                  <a:lnTo>
                    <a:pt x="90" y="204"/>
                  </a:lnTo>
                  <a:lnTo>
                    <a:pt x="90" y="202"/>
                  </a:lnTo>
                  <a:lnTo>
                    <a:pt x="88" y="202"/>
                  </a:lnTo>
                  <a:lnTo>
                    <a:pt x="88" y="200"/>
                  </a:lnTo>
                  <a:lnTo>
                    <a:pt x="88" y="198"/>
                  </a:lnTo>
                  <a:lnTo>
                    <a:pt x="86" y="198"/>
                  </a:lnTo>
                  <a:lnTo>
                    <a:pt x="84" y="198"/>
                  </a:lnTo>
                  <a:lnTo>
                    <a:pt x="84" y="196"/>
                  </a:lnTo>
                  <a:lnTo>
                    <a:pt x="82" y="196"/>
                  </a:lnTo>
                  <a:lnTo>
                    <a:pt x="82" y="194"/>
                  </a:lnTo>
                  <a:lnTo>
                    <a:pt x="81" y="194"/>
                  </a:lnTo>
                  <a:lnTo>
                    <a:pt x="81" y="196"/>
                  </a:lnTo>
                  <a:lnTo>
                    <a:pt x="81" y="194"/>
                  </a:lnTo>
                  <a:lnTo>
                    <a:pt x="79" y="194"/>
                  </a:lnTo>
                  <a:lnTo>
                    <a:pt x="81" y="194"/>
                  </a:lnTo>
                  <a:lnTo>
                    <a:pt x="81" y="196"/>
                  </a:lnTo>
                  <a:lnTo>
                    <a:pt x="81" y="194"/>
                  </a:lnTo>
                  <a:lnTo>
                    <a:pt x="79" y="194"/>
                  </a:lnTo>
                  <a:lnTo>
                    <a:pt x="77" y="194"/>
                  </a:lnTo>
                  <a:lnTo>
                    <a:pt x="77" y="192"/>
                  </a:lnTo>
                  <a:lnTo>
                    <a:pt x="75" y="192"/>
                  </a:lnTo>
                  <a:lnTo>
                    <a:pt x="75" y="191"/>
                  </a:lnTo>
                  <a:lnTo>
                    <a:pt x="75" y="189"/>
                  </a:lnTo>
                  <a:lnTo>
                    <a:pt x="73" y="189"/>
                  </a:lnTo>
                  <a:lnTo>
                    <a:pt x="73" y="187"/>
                  </a:lnTo>
                  <a:lnTo>
                    <a:pt x="73" y="189"/>
                  </a:lnTo>
                  <a:lnTo>
                    <a:pt x="73" y="187"/>
                  </a:lnTo>
                  <a:lnTo>
                    <a:pt x="73" y="189"/>
                  </a:lnTo>
                  <a:lnTo>
                    <a:pt x="73" y="187"/>
                  </a:lnTo>
                  <a:lnTo>
                    <a:pt x="71" y="187"/>
                  </a:lnTo>
                  <a:lnTo>
                    <a:pt x="71" y="185"/>
                  </a:lnTo>
                  <a:lnTo>
                    <a:pt x="71" y="187"/>
                  </a:lnTo>
                  <a:lnTo>
                    <a:pt x="71" y="185"/>
                  </a:lnTo>
                  <a:lnTo>
                    <a:pt x="71" y="183"/>
                  </a:lnTo>
                  <a:lnTo>
                    <a:pt x="69" y="183"/>
                  </a:lnTo>
                  <a:lnTo>
                    <a:pt x="69" y="181"/>
                  </a:lnTo>
                  <a:lnTo>
                    <a:pt x="69" y="179"/>
                  </a:lnTo>
                  <a:lnTo>
                    <a:pt x="67" y="179"/>
                  </a:lnTo>
                  <a:lnTo>
                    <a:pt x="69" y="179"/>
                  </a:lnTo>
                  <a:lnTo>
                    <a:pt x="67" y="179"/>
                  </a:lnTo>
                  <a:lnTo>
                    <a:pt x="69" y="179"/>
                  </a:lnTo>
                  <a:lnTo>
                    <a:pt x="69" y="177"/>
                  </a:lnTo>
                  <a:lnTo>
                    <a:pt x="69" y="175"/>
                  </a:lnTo>
                  <a:lnTo>
                    <a:pt x="69" y="177"/>
                  </a:lnTo>
                  <a:lnTo>
                    <a:pt x="69" y="175"/>
                  </a:lnTo>
                  <a:lnTo>
                    <a:pt x="69" y="177"/>
                  </a:lnTo>
                  <a:lnTo>
                    <a:pt x="69" y="175"/>
                  </a:lnTo>
                  <a:lnTo>
                    <a:pt x="67" y="175"/>
                  </a:lnTo>
                  <a:lnTo>
                    <a:pt x="67" y="173"/>
                  </a:lnTo>
                  <a:lnTo>
                    <a:pt x="69" y="173"/>
                  </a:lnTo>
                  <a:lnTo>
                    <a:pt x="69" y="171"/>
                  </a:lnTo>
                  <a:lnTo>
                    <a:pt x="67" y="171"/>
                  </a:lnTo>
                  <a:lnTo>
                    <a:pt x="67" y="173"/>
                  </a:lnTo>
                  <a:lnTo>
                    <a:pt x="67" y="171"/>
                  </a:lnTo>
                  <a:lnTo>
                    <a:pt x="67" y="173"/>
                  </a:lnTo>
                  <a:lnTo>
                    <a:pt x="67" y="171"/>
                  </a:lnTo>
                  <a:lnTo>
                    <a:pt x="65" y="171"/>
                  </a:lnTo>
                  <a:lnTo>
                    <a:pt x="67" y="171"/>
                  </a:lnTo>
                  <a:lnTo>
                    <a:pt x="65" y="171"/>
                  </a:lnTo>
                  <a:lnTo>
                    <a:pt x="65" y="169"/>
                  </a:lnTo>
                  <a:lnTo>
                    <a:pt x="67" y="169"/>
                  </a:lnTo>
                  <a:lnTo>
                    <a:pt x="65" y="169"/>
                  </a:lnTo>
                  <a:lnTo>
                    <a:pt x="67" y="169"/>
                  </a:lnTo>
                  <a:lnTo>
                    <a:pt x="67" y="171"/>
                  </a:lnTo>
                  <a:lnTo>
                    <a:pt x="67" y="169"/>
                  </a:lnTo>
                  <a:lnTo>
                    <a:pt x="65" y="169"/>
                  </a:lnTo>
                  <a:lnTo>
                    <a:pt x="65" y="167"/>
                  </a:lnTo>
                  <a:lnTo>
                    <a:pt x="67" y="167"/>
                  </a:lnTo>
                  <a:lnTo>
                    <a:pt x="65" y="167"/>
                  </a:lnTo>
                  <a:lnTo>
                    <a:pt x="65" y="169"/>
                  </a:lnTo>
                  <a:lnTo>
                    <a:pt x="65" y="167"/>
                  </a:lnTo>
                  <a:lnTo>
                    <a:pt x="65" y="169"/>
                  </a:lnTo>
                  <a:lnTo>
                    <a:pt x="65" y="167"/>
                  </a:lnTo>
                  <a:lnTo>
                    <a:pt x="65" y="169"/>
                  </a:lnTo>
                  <a:lnTo>
                    <a:pt x="65" y="167"/>
                  </a:lnTo>
                  <a:lnTo>
                    <a:pt x="67" y="167"/>
                  </a:lnTo>
                  <a:lnTo>
                    <a:pt x="67" y="169"/>
                  </a:lnTo>
                  <a:lnTo>
                    <a:pt x="67" y="167"/>
                  </a:lnTo>
                  <a:lnTo>
                    <a:pt x="67" y="166"/>
                  </a:lnTo>
                  <a:lnTo>
                    <a:pt x="67" y="167"/>
                  </a:lnTo>
                  <a:lnTo>
                    <a:pt x="67" y="166"/>
                  </a:lnTo>
                  <a:lnTo>
                    <a:pt x="67" y="164"/>
                  </a:lnTo>
                  <a:lnTo>
                    <a:pt x="67" y="162"/>
                  </a:lnTo>
                  <a:lnTo>
                    <a:pt x="67" y="164"/>
                  </a:lnTo>
                  <a:lnTo>
                    <a:pt x="67" y="162"/>
                  </a:lnTo>
                  <a:lnTo>
                    <a:pt x="67" y="164"/>
                  </a:lnTo>
                  <a:lnTo>
                    <a:pt x="67" y="162"/>
                  </a:lnTo>
                  <a:lnTo>
                    <a:pt x="69" y="162"/>
                  </a:lnTo>
                  <a:lnTo>
                    <a:pt x="67" y="162"/>
                  </a:lnTo>
                  <a:lnTo>
                    <a:pt x="69" y="162"/>
                  </a:lnTo>
                  <a:lnTo>
                    <a:pt x="67" y="162"/>
                  </a:lnTo>
                  <a:lnTo>
                    <a:pt x="67" y="160"/>
                  </a:lnTo>
                  <a:lnTo>
                    <a:pt x="67" y="158"/>
                  </a:lnTo>
                  <a:lnTo>
                    <a:pt x="67" y="156"/>
                  </a:lnTo>
                  <a:lnTo>
                    <a:pt x="65" y="156"/>
                  </a:lnTo>
                  <a:lnTo>
                    <a:pt x="67" y="156"/>
                  </a:lnTo>
                  <a:lnTo>
                    <a:pt x="65" y="156"/>
                  </a:lnTo>
                  <a:lnTo>
                    <a:pt x="65" y="154"/>
                  </a:lnTo>
                  <a:lnTo>
                    <a:pt x="63" y="154"/>
                  </a:lnTo>
                  <a:lnTo>
                    <a:pt x="65" y="154"/>
                  </a:lnTo>
                  <a:lnTo>
                    <a:pt x="63" y="154"/>
                  </a:lnTo>
                  <a:lnTo>
                    <a:pt x="65" y="154"/>
                  </a:lnTo>
                  <a:lnTo>
                    <a:pt x="65" y="152"/>
                  </a:lnTo>
                  <a:lnTo>
                    <a:pt x="63" y="152"/>
                  </a:lnTo>
                  <a:lnTo>
                    <a:pt x="63" y="150"/>
                  </a:lnTo>
                  <a:lnTo>
                    <a:pt x="63" y="148"/>
                  </a:lnTo>
                  <a:lnTo>
                    <a:pt x="61" y="148"/>
                  </a:lnTo>
                  <a:lnTo>
                    <a:pt x="61" y="146"/>
                  </a:lnTo>
                  <a:lnTo>
                    <a:pt x="61" y="144"/>
                  </a:lnTo>
                  <a:lnTo>
                    <a:pt x="61" y="143"/>
                  </a:lnTo>
                  <a:lnTo>
                    <a:pt x="59" y="143"/>
                  </a:lnTo>
                  <a:lnTo>
                    <a:pt x="59" y="144"/>
                  </a:lnTo>
                  <a:lnTo>
                    <a:pt x="59" y="143"/>
                  </a:lnTo>
                  <a:lnTo>
                    <a:pt x="59" y="144"/>
                  </a:lnTo>
                  <a:lnTo>
                    <a:pt x="59" y="143"/>
                  </a:lnTo>
                  <a:lnTo>
                    <a:pt x="59" y="144"/>
                  </a:lnTo>
                  <a:lnTo>
                    <a:pt x="61" y="144"/>
                  </a:lnTo>
                  <a:lnTo>
                    <a:pt x="59" y="144"/>
                  </a:lnTo>
                  <a:lnTo>
                    <a:pt x="59" y="143"/>
                  </a:lnTo>
                  <a:lnTo>
                    <a:pt x="59" y="141"/>
                  </a:lnTo>
                  <a:lnTo>
                    <a:pt x="58" y="141"/>
                  </a:lnTo>
                  <a:lnTo>
                    <a:pt x="59" y="141"/>
                  </a:lnTo>
                  <a:lnTo>
                    <a:pt x="58" y="141"/>
                  </a:lnTo>
                  <a:lnTo>
                    <a:pt x="58" y="139"/>
                  </a:lnTo>
                  <a:lnTo>
                    <a:pt x="56" y="139"/>
                  </a:lnTo>
                  <a:lnTo>
                    <a:pt x="56" y="137"/>
                  </a:lnTo>
                  <a:lnTo>
                    <a:pt x="56" y="139"/>
                  </a:lnTo>
                  <a:lnTo>
                    <a:pt x="56" y="137"/>
                  </a:lnTo>
                  <a:lnTo>
                    <a:pt x="56" y="139"/>
                  </a:lnTo>
                  <a:lnTo>
                    <a:pt x="56" y="137"/>
                  </a:lnTo>
                  <a:lnTo>
                    <a:pt x="54" y="137"/>
                  </a:lnTo>
                  <a:lnTo>
                    <a:pt x="56" y="137"/>
                  </a:lnTo>
                  <a:lnTo>
                    <a:pt x="54" y="137"/>
                  </a:lnTo>
                  <a:lnTo>
                    <a:pt x="54" y="135"/>
                  </a:lnTo>
                  <a:lnTo>
                    <a:pt x="52" y="135"/>
                  </a:lnTo>
                  <a:lnTo>
                    <a:pt x="54" y="135"/>
                  </a:lnTo>
                  <a:lnTo>
                    <a:pt x="52" y="135"/>
                  </a:lnTo>
                  <a:lnTo>
                    <a:pt x="50" y="135"/>
                  </a:lnTo>
                  <a:lnTo>
                    <a:pt x="52" y="135"/>
                  </a:lnTo>
                  <a:lnTo>
                    <a:pt x="52" y="133"/>
                  </a:lnTo>
                  <a:lnTo>
                    <a:pt x="52" y="135"/>
                  </a:lnTo>
                  <a:lnTo>
                    <a:pt x="52" y="133"/>
                  </a:lnTo>
                  <a:lnTo>
                    <a:pt x="50" y="133"/>
                  </a:lnTo>
                  <a:lnTo>
                    <a:pt x="52" y="133"/>
                  </a:lnTo>
                  <a:lnTo>
                    <a:pt x="50" y="133"/>
                  </a:lnTo>
                  <a:lnTo>
                    <a:pt x="52" y="133"/>
                  </a:lnTo>
                  <a:lnTo>
                    <a:pt x="50" y="133"/>
                  </a:lnTo>
                  <a:lnTo>
                    <a:pt x="50" y="135"/>
                  </a:lnTo>
                  <a:lnTo>
                    <a:pt x="50" y="133"/>
                  </a:lnTo>
                  <a:lnTo>
                    <a:pt x="48" y="133"/>
                  </a:lnTo>
                  <a:lnTo>
                    <a:pt x="48" y="131"/>
                  </a:lnTo>
                  <a:lnTo>
                    <a:pt x="46" y="131"/>
                  </a:lnTo>
                  <a:lnTo>
                    <a:pt x="48" y="131"/>
                  </a:lnTo>
                  <a:lnTo>
                    <a:pt x="46" y="131"/>
                  </a:lnTo>
                  <a:lnTo>
                    <a:pt x="46" y="133"/>
                  </a:lnTo>
                  <a:lnTo>
                    <a:pt x="44" y="133"/>
                  </a:lnTo>
                  <a:lnTo>
                    <a:pt x="44" y="131"/>
                  </a:lnTo>
                  <a:lnTo>
                    <a:pt x="44" y="129"/>
                  </a:lnTo>
                  <a:lnTo>
                    <a:pt x="44" y="131"/>
                  </a:lnTo>
                  <a:lnTo>
                    <a:pt x="44" y="129"/>
                  </a:lnTo>
                  <a:lnTo>
                    <a:pt x="42" y="129"/>
                  </a:lnTo>
                  <a:lnTo>
                    <a:pt x="42" y="127"/>
                  </a:lnTo>
                  <a:lnTo>
                    <a:pt x="42" y="125"/>
                  </a:lnTo>
                  <a:lnTo>
                    <a:pt x="40" y="125"/>
                  </a:lnTo>
                  <a:lnTo>
                    <a:pt x="40" y="123"/>
                  </a:lnTo>
                  <a:lnTo>
                    <a:pt x="40" y="121"/>
                  </a:lnTo>
                  <a:lnTo>
                    <a:pt x="42" y="121"/>
                  </a:lnTo>
                  <a:lnTo>
                    <a:pt x="42" y="119"/>
                  </a:lnTo>
                  <a:lnTo>
                    <a:pt x="40" y="119"/>
                  </a:lnTo>
                  <a:lnTo>
                    <a:pt x="40" y="118"/>
                  </a:lnTo>
                  <a:lnTo>
                    <a:pt x="40" y="116"/>
                  </a:lnTo>
                  <a:lnTo>
                    <a:pt x="38" y="116"/>
                  </a:lnTo>
                  <a:lnTo>
                    <a:pt x="38" y="114"/>
                  </a:lnTo>
                  <a:lnTo>
                    <a:pt x="38" y="112"/>
                  </a:lnTo>
                  <a:lnTo>
                    <a:pt x="38" y="114"/>
                  </a:lnTo>
                  <a:lnTo>
                    <a:pt x="38" y="112"/>
                  </a:lnTo>
                  <a:lnTo>
                    <a:pt x="36" y="112"/>
                  </a:lnTo>
                  <a:lnTo>
                    <a:pt x="36" y="110"/>
                  </a:lnTo>
                  <a:lnTo>
                    <a:pt x="34" y="110"/>
                  </a:lnTo>
                  <a:lnTo>
                    <a:pt x="34" y="108"/>
                  </a:lnTo>
                  <a:lnTo>
                    <a:pt x="33" y="108"/>
                  </a:lnTo>
                  <a:lnTo>
                    <a:pt x="33" y="106"/>
                  </a:lnTo>
                  <a:lnTo>
                    <a:pt x="33" y="104"/>
                  </a:lnTo>
                  <a:lnTo>
                    <a:pt x="33" y="102"/>
                  </a:lnTo>
                  <a:lnTo>
                    <a:pt x="31" y="102"/>
                  </a:lnTo>
                  <a:lnTo>
                    <a:pt x="31" y="104"/>
                  </a:lnTo>
                  <a:lnTo>
                    <a:pt x="31" y="102"/>
                  </a:lnTo>
                  <a:lnTo>
                    <a:pt x="31" y="104"/>
                  </a:lnTo>
                  <a:lnTo>
                    <a:pt x="31" y="102"/>
                  </a:lnTo>
                  <a:lnTo>
                    <a:pt x="31" y="104"/>
                  </a:lnTo>
                  <a:lnTo>
                    <a:pt x="31" y="102"/>
                  </a:lnTo>
                  <a:lnTo>
                    <a:pt x="29" y="102"/>
                  </a:lnTo>
                  <a:lnTo>
                    <a:pt x="29" y="100"/>
                  </a:lnTo>
                  <a:lnTo>
                    <a:pt x="29" y="98"/>
                  </a:lnTo>
                  <a:lnTo>
                    <a:pt x="27" y="98"/>
                  </a:lnTo>
                  <a:lnTo>
                    <a:pt x="27" y="96"/>
                  </a:lnTo>
                  <a:lnTo>
                    <a:pt x="27" y="94"/>
                  </a:lnTo>
                  <a:lnTo>
                    <a:pt x="25" y="94"/>
                  </a:lnTo>
                  <a:lnTo>
                    <a:pt x="25" y="93"/>
                  </a:lnTo>
                  <a:lnTo>
                    <a:pt x="23" y="93"/>
                  </a:lnTo>
                  <a:lnTo>
                    <a:pt x="23" y="91"/>
                  </a:lnTo>
                  <a:lnTo>
                    <a:pt x="23" y="89"/>
                  </a:lnTo>
                  <a:lnTo>
                    <a:pt x="21" y="89"/>
                  </a:lnTo>
                  <a:lnTo>
                    <a:pt x="23" y="89"/>
                  </a:lnTo>
                  <a:lnTo>
                    <a:pt x="21" y="89"/>
                  </a:lnTo>
                  <a:lnTo>
                    <a:pt x="21" y="87"/>
                  </a:lnTo>
                  <a:lnTo>
                    <a:pt x="19" y="87"/>
                  </a:lnTo>
                  <a:lnTo>
                    <a:pt x="19" y="85"/>
                  </a:lnTo>
                  <a:lnTo>
                    <a:pt x="19" y="83"/>
                  </a:lnTo>
                  <a:lnTo>
                    <a:pt x="17" y="83"/>
                  </a:lnTo>
                  <a:lnTo>
                    <a:pt x="17" y="81"/>
                  </a:lnTo>
                  <a:lnTo>
                    <a:pt x="17" y="83"/>
                  </a:lnTo>
                  <a:lnTo>
                    <a:pt x="17" y="81"/>
                  </a:lnTo>
                  <a:lnTo>
                    <a:pt x="17" y="79"/>
                  </a:lnTo>
                  <a:lnTo>
                    <a:pt x="15" y="79"/>
                  </a:lnTo>
                  <a:lnTo>
                    <a:pt x="15" y="77"/>
                  </a:lnTo>
                  <a:lnTo>
                    <a:pt x="15" y="75"/>
                  </a:lnTo>
                  <a:lnTo>
                    <a:pt x="13" y="75"/>
                  </a:lnTo>
                  <a:lnTo>
                    <a:pt x="13" y="73"/>
                  </a:lnTo>
                  <a:lnTo>
                    <a:pt x="11" y="73"/>
                  </a:lnTo>
                  <a:lnTo>
                    <a:pt x="11" y="71"/>
                  </a:lnTo>
                  <a:lnTo>
                    <a:pt x="10" y="71"/>
                  </a:lnTo>
                  <a:lnTo>
                    <a:pt x="11" y="71"/>
                  </a:lnTo>
                  <a:lnTo>
                    <a:pt x="11" y="70"/>
                  </a:lnTo>
                  <a:lnTo>
                    <a:pt x="10" y="70"/>
                  </a:lnTo>
                  <a:lnTo>
                    <a:pt x="8" y="70"/>
                  </a:lnTo>
                  <a:lnTo>
                    <a:pt x="6" y="70"/>
                  </a:lnTo>
                  <a:lnTo>
                    <a:pt x="4" y="70"/>
                  </a:lnTo>
                  <a:lnTo>
                    <a:pt x="2" y="70"/>
                  </a:lnTo>
                  <a:lnTo>
                    <a:pt x="4" y="70"/>
                  </a:lnTo>
                  <a:lnTo>
                    <a:pt x="2" y="70"/>
                  </a:lnTo>
                  <a:lnTo>
                    <a:pt x="2" y="71"/>
                  </a:lnTo>
                  <a:lnTo>
                    <a:pt x="2" y="70"/>
                  </a:lnTo>
                  <a:lnTo>
                    <a:pt x="2" y="71"/>
                  </a:lnTo>
                  <a:lnTo>
                    <a:pt x="2" y="70"/>
                  </a:lnTo>
                  <a:lnTo>
                    <a:pt x="2" y="68"/>
                  </a:lnTo>
                  <a:lnTo>
                    <a:pt x="4" y="68"/>
                  </a:lnTo>
                  <a:lnTo>
                    <a:pt x="2" y="68"/>
                  </a:lnTo>
                  <a:lnTo>
                    <a:pt x="4" y="68"/>
                  </a:lnTo>
                  <a:lnTo>
                    <a:pt x="4" y="66"/>
                  </a:lnTo>
                  <a:lnTo>
                    <a:pt x="4" y="64"/>
                  </a:lnTo>
                  <a:lnTo>
                    <a:pt x="6" y="64"/>
                  </a:lnTo>
                  <a:lnTo>
                    <a:pt x="6" y="62"/>
                  </a:lnTo>
                  <a:lnTo>
                    <a:pt x="6" y="60"/>
                  </a:lnTo>
                  <a:lnTo>
                    <a:pt x="4" y="60"/>
                  </a:lnTo>
                  <a:lnTo>
                    <a:pt x="6" y="60"/>
                  </a:lnTo>
                  <a:lnTo>
                    <a:pt x="6" y="58"/>
                  </a:lnTo>
                  <a:lnTo>
                    <a:pt x="6" y="56"/>
                  </a:lnTo>
                  <a:lnTo>
                    <a:pt x="6" y="54"/>
                  </a:lnTo>
                  <a:lnTo>
                    <a:pt x="6" y="52"/>
                  </a:lnTo>
                  <a:lnTo>
                    <a:pt x="6" y="50"/>
                  </a:lnTo>
                  <a:lnTo>
                    <a:pt x="8" y="50"/>
                  </a:lnTo>
                  <a:lnTo>
                    <a:pt x="8" y="48"/>
                  </a:lnTo>
                  <a:lnTo>
                    <a:pt x="13" y="50"/>
                  </a:lnTo>
                  <a:lnTo>
                    <a:pt x="17" y="50"/>
                  </a:lnTo>
                  <a:lnTo>
                    <a:pt x="21" y="50"/>
                  </a:lnTo>
                  <a:lnTo>
                    <a:pt x="23" y="52"/>
                  </a:lnTo>
                  <a:lnTo>
                    <a:pt x="27" y="48"/>
                  </a:lnTo>
                  <a:lnTo>
                    <a:pt x="29" y="48"/>
                  </a:lnTo>
                  <a:lnTo>
                    <a:pt x="29" y="46"/>
                  </a:lnTo>
                  <a:lnTo>
                    <a:pt x="31" y="46"/>
                  </a:lnTo>
                  <a:lnTo>
                    <a:pt x="31" y="45"/>
                  </a:lnTo>
                  <a:lnTo>
                    <a:pt x="31" y="43"/>
                  </a:lnTo>
                  <a:lnTo>
                    <a:pt x="33" y="43"/>
                  </a:lnTo>
                  <a:lnTo>
                    <a:pt x="33" y="41"/>
                  </a:lnTo>
                  <a:lnTo>
                    <a:pt x="34" y="41"/>
                  </a:lnTo>
                  <a:lnTo>
                    <a:pt x="34" y="39"/>
                  </a:lnTo>
                  <a:lnTo>
                    <a:pt x="44" y="39"/>
                  </a:lnTo>
                  <a:lnTo>
                    <a:pt x="44" y="37"/>
                  </a:lnTo>
                  <a:lnTo>
                    <a:pt x="46" y="35"/>
                  </a:lnTo>
                  <a:lnTo>
                    <a:pt x="46" y="33"/>
                  </a:lnTo>
                  <a:lnTo>
                    <a:pt x="48" y="31"/>
                  </a:lnTo>
                  <a:lnTo>
                    <a:pt x="50" y="31"/>
                  </a:lnTo>
                  <a:lnTo>
                    <a:pt x="52" y="29"/>
                  </a:lnTo>
                  <a:lnTo>
                    <a:pt x="48" y="25"/>
                  </a:lnTo>
                  <a:lnTo>
                    <a:pt x="46" y="23"/>
                  </a:lnTo>
                  <a:lnTo>
                    <a:pt x="46" y="22"/>
                  </a:lnTo>
                  <a:lnTo>
                    <a:pt x="42" y="18"/>
                  </a:lnTo>
                  <a:lnTo>
                    <a:pt x="40" y="16"/>
                  </a:lnTo>
                  <a:lnTo>
                    <a:pt x="38" y="14"/>
                  </a:lnTo>
                  <a:lnTo>
                    <a:pt x="38" y="12"/>
                  </a:lnTo>
                  <a:lnTo>
                    <a:pt x="36" y="12"/>
                  </a:lnTo>
                  <a:lnTo>
                    <a:pt x="38" y="12"/>
                  </a:lnTo>
                  <a:lnTo>
                    <a:pt x="40" y="12"/>
                  </a:lnTo>
                  <a:lnTo>
                    <a:pt x="42" y="10"/>
                  </a:lnTo>
                  <a:lnTo>
                    <a:pt x="44" y="10"/>
                  </a:lnTo>
                  <a:lnTo>
                    <a:pt x="46" y="10"/>
                  </a:lnTo>
                  <a:lnTo>
                    <a:pt x="48" y="10"/>
                  </a:lnTo>
                  <a:lnTo>
                    <a:pt x="50" y="8"/>
                  </a:lnTo>
                  <a:lnTo>
                    <a:pt x="52" y="8"/>
                  </a:lnTo>
                  <a:lnTo>
                    <a:pt x="54" y="8"/>
                  </a:lnTo>
                  <a:lnTo>
                    <a:pt x="56" y="6"/>
                  </a:lnTo>
                  <a:lnTo>
                    <a:pt x="63" y="4"/>
                  </a:lnTo>
                  <a:lnTo>
                    <a:pt x="65" y="4"/>
                  </a:lnTo>
                  <a:lnTo>
                    <a:pt x="67" y="4"/>
                  </a:lnTo>
                  <a:lnTo>
                    <a:pt x="67" y="2"/>
                  </a:lnTo>
                  <a:lnTo>
                    <a:pt x="69" y="2"/>
                  </a:lnTo>
                  <a:lnTo>
                    <a:pt x="69" y="0"/>
                  </a:lnTo>
                  <a:lnTo>
                    <a:pt x="71" y="0"/>
                  </a:lnTo>
                  <a:lnTo>
                    <a:pt x="75" y="2"/>
                  </a:lnTo>
                  <a:lnTo>
                    <a:pt x="77" y="2"/>
                  </a:lnTo>
                  <a:lnTo>
                    <a:pt x="79" y="2"/>
                  </a:lnTo>
                  <a:lnTo>
                    <a:pt x="81" y="4"/>
                  </a:lnTo>
                  <a:lnTo>
                    <a:pt x="82" y="4"/>
                  </a:lnTo>
                  <a:lnTo>
                    <a:pt x="84" y="4"/>
                  </a:lnTo>
                  <a:lnTo>
                    <a:pt x="86" y="4"/>
                  </a:lnTo>
                  <a:lnTo>
                    <a:pt x="102" y="14"/>
                  </a:lnTo>
                  <a:lnTo>
                    <a:pt x="104" y="16"/>
                  </a:lnTo>
                  <a:lnTo>
                    <a:pt x="105" y="16"/>
                  </a:lnTo>
                  <a:lnTo>
                    <a:pt x="107" y="16"/>
                  </a:lnTo>
                  <a:lnTo>
                    <a:pt x="107" y="18"/>
                  </a:lnTo>
                  <a:lnTo>
                    <a:pt x="109" y="18"/>
                  </a:lnTo>
                  <a:lnTo>
                    <a:pt x="111" y="20"/>
                  </a:lnTo>
                  <a:lnTo>
                    <a:pt x="113" y="20"/>
                  </a:lnTo>
                  <a:lnTo>
                    <a:pt x="113" y="22"/>
                  </a:lnTo>
                  <a:lnTo>
                    <a:pt x="115" y="22"/>
                  </a:lnTo>
                  <a:lnTo>
                    <a:pt x="115" y="23"/>
                  </a:lnTo>
                  <a:lnTo>
                    <a:pt x="117" y="23"/>
                  </a:lnTo>
                  <a:lnTo>
                    <a:pt x="119" y="25"/>
                  </a:lnTo>
                  <a:lnTo>
                    <a:pt x="121" y="25"/>
                  </a:lnTo>
                  <a:lnTo>
                    <a:pt x="121" y="27"/>
                  </a:lnTo>
                  <a:lnTo>
                    <a:pt x="123" y="27"/>
                  </a:lnTo>
                  <a:lnTo>
                    <a:pt x="123" y="29"/>
                  </a:lnTo>
                  <a:lnTo>
                    <a:pt x="125" y="29"/>
                  </a:lnTo>
                  <a:lnTo>
                    <a:pt x="125" y="31"/>
                  </a:lnTo>
                  <a:lnTo>
                    <a:pt x="127" y="31"/>
                  </a:lnTo>
                  <a:lnTo>
                    <a:pt x="127" y="33"/>
                  </a:lnTo>
                  <a:lnTo>
                    <a:pt x="129" y="33"/>
                  </a:lnTo>
                  <a:lnTo>
                    <a:pt x="130" y="35"/>
                  </a:lnTo>
                  <a:lnTo>
                    <a:pt x="132" y="35"/>
                  </a:lnTo>
                  <a:lnTo>
                    <a:pt x="132" y="37"/>
                  </a:lnTo>
                  <a:lnTo>
                    <a:pt x="134" y="37"/>
                  </a:lnTo>
                  <a:lnTo>
                    <a:pt x="134" y="39"/>
                  </a:lnTo>
                  <a:lnTo>
                    <a:pt x="136" y="39"/>
                  </a:lnTo>
                  <a:lnTo>
                    <a:pt x="136" y="41"/>
                  </a:lnTo>
                  <a:lnTo>
                    <a:pt x="138" y="41"/>
                  </a:lnTo>
                  <a:lnTo>
                    <a:pt x="138" y="43"/>
                  </a:lnTo>
                  <a:lnTo>
                    <a:pt x="140" y="43"/>
                  </a:lnTo>
                  <a:lnTo>
                    <a:pt x="142" y="45"/>
                  </a:lnTo>
                  <a:lnTo>
                    <a:pt x="144" y="45"/>
                  </a:lnTo>
                  <a:lnTo>
                    <a:pt x="144" y="46"/>
                  </a:lnTo>
                  <a:lnTo>
                    <a:pt x="146" y="46"/>
                  </a:lnTo>
                  <a:lnTo>
                    <a:pt x="146" y="48"/>
                  </a:lnTo>
                  <a:lnTo>
                    <a:pt x="148" y="48"/>
                  </a:lnTo>
                  <a:lnTo>
                    <a:pt x="148" y="50"/>
                  </a:lnTo>
                  <a:lnTo>
                    <a:pt x="150" y="50"/>
                  </a:lnTo>
                  <a:lnTo>
                    <a:pt x="150" y="52"/>
                  </a:lnTo>
                  <a:lnTo>
                    <a:pt x="152" y="52"/>
                  </a:lnTo>
                  <a:lnTo>
                    <a:pt x="153" y="52"/>
                  </a:lnTo>
                  <a:lnTo>
                    <a:pt x="155" y="52"/>
                  </a:lnTo>
                  <a:lnTo>
                    <a:pt x="157" y="52"/>
                  </a:lnTo>
                  <a:lnTo>
                    <a:pt x="159" y="52"/>
                  </a:lnTo>
                  <a:lnTo>
                    <a:pt x="161" y="52"/>
                  </a:lnTo>
                  <a:lnTo>
                    <a:pt x="163" y="52"/>
                  </a:lnTo>
                  <a:lnTo>
                    <a:pt x="165" y="52"/>
                  </a:lnTo>
                  <a:lnTo>
                    <a:pt x="167" y="52"/>
                  </a:lnTo>
                  <a:lnTo>
                    <a:pt x="169" y="52"/>
                  </a:lnTo>
                  <a:lnTo>
                    <a:pt x="171" y="54"/>
                  </a:lnTo>
                  <a:lnTo>
                    <a:pt x="173" y="54"/>
                  </a:lnTo>
                  <a:lnTo>
                    <a:pt x="175" y="54"/>
                  </a:lnTo>
                  <a:lnTo>
                    <a:pt x="177" y="54"/>
                  </a:lnTo>
                  <a:lnTo>
                    <a:pt x="177" y="52"/>
                  </a:lnTo>
                  <a:close/>
                  <a:moveTo>
                    <a:pt x="107" y="248"/>
                  </a:moveTo>
                  <a:lnTo>
                    <a:pt x="107" y="250"/>
                  </a:lnTo>
                  <a:lnTo>
                    <a:pt x="109" y="250"/>
                  </a:lnTo>
                  <a:lnTo>
                    <a:pt x="111" y="250"/>
                  </a:lnTo>
                  <a:lnTo>
                    <a:pt x="111" y="248"/>
                  </a:lnTo>
                  <a:lnTo>
                    <a:pt x="111" y="250"/>
                  </a:lnTo>
                  <a:lnTo>
                    <a:pt x="111" y="248"/>
                  </a:lnTo>
                  <a:lnTo>
                    <a:pt x="111" y="250"/>
                  </a:lnTo>
                  <a:lnTo>
                    <a:pt x="111" y="248"/>
                  </a:lnTo>
                  <a:lnTo>
                    <a:pt x="111" y="250"/>
                  </a:lnTo>
                  <a:lnTo>
                    <a:pt x="111" y="248"/>
                  </a:lnTo>
                  <a:lnTo>
                    <a:pt x="111" y="250"/>
                  </a:lnTo>
                  <a:lnTo>
                    <a:pt x="113" y="250"/>
                  </a:lnTo>
                  <a:lnTo>
                    <a:pt x="113" y="252"/>
                  </a:lnTo>
                  <a:lnTo>
                    <a:pt x="111" y="252"/>
                  </a:lnTo>
                  <a:lnTo>
                    <a:pt x="111" y="250"/>
                  </a:lnTo>
                  <a:lnTo>
                    <a:pt x="109" y="250"/>
                  </a:lnTo>
                  <a:lnTo>
                    <a:pt x="107" y="250"/>
                  </a:lnTo>
                  <a:lnTo>
                    <a:pt x="107" y="248"/>
                  </a:lnTo>
                  <a:close/>
                  <a:moveTo>
                    <a:pt x="107" y="246"/>
                  </a:moveTo>
                  <a:lnTo>
                    <a:pt x="111" y="246"/>
                  </a:lnTo>
                  <a:lnTo>
                    <a:pt x="111" y="250"/>
                  </a:lnTo>
                  <a:lnTo>
                    <a:pt x="107" y="250"/>
                  </a:lnTo>
                  <a:lnTo>
                    <a:pt x="107" y="246"/>
                  </a:lnTo>
                  <a:close/>
                  <a:moveTo>
                    <a:pt x="0" y="71"/>
                  </a:moveTo>
                  <a:lnTo>
                    <a:pt x="2" y="71"/>
                  </a:lnTo>
                  <a:lnTo>
                    <a:pt x="2" y="73"/>
                  </a:lnTo>
                  <a:lnTo>
                    <a:pt x="0" y="73"/>
                  </a:lnTo>
                  <a:lnTo>
                    <a:pt x="0" y="71"/>
                  </a:lnTo>
                  <a:close/>
                  <a:moveTo>
                    <a:pt x="219" y="81"/>
                  </a:moveTo>
                  <a:lnTo>
                    <a:pt x="223" y="81"/>
                  </a:lnTo>
                  <a:lnTo>
                    <a:pt x="223" y="83"/>
                  </a:lnTo>
                  <a:lnTo>
                    <a:pt x="219" y="83"/>
                  </a:lnTo>
                  <a:lnTo>
                    <a:pt x="219" y="81"/>
                  </a:lnTo>
                  <a:close/>
                  <a:moveTo>
                    <a:pt x="105" y="246"/>
                  </a:moveTo>
                  <a:lnTo>
                    <a:pt x="105" y="248"/>
                  </a:lnTo>
                  <a:lnTo>
                    <a:pt x="105" y="246"/>
                  </a:lnTo>
                  <a:close/>
                  <a:moveTo>
                    <a:pt x="219" y="83"/>
                  </a:moveTo>
                  <a:lnTo>
                    <a:pt x="221" y="83"/>
                  </a:lnTo>
                  <a:lnTo>
                    <a:pt x="221" y="85"/>
                  </a:lnTo>
                  <a:lnTo>
                    <a:pt x="219" y="85"/>
                  </a:lnTo>
                  <a:lnTo>
                    <a:pt x="219" y="83"/>
                  </a:lnTo>
                  <a:close/>
                  <a:moveTo>
                    <a:pt x="105" y="250"/>
                  </a:moveTo>
                  <a:lnTo>
                    <a:pt x="107" y="250"/>
                  </a:lnTo>
                  <a:lnTo>
                    <a:pt x="105" y="250"/>
                  </a:lnTo>
                  <a:close/>
                  <a:moveTo>
                    <a:pt x="2" y="71"/>
                  </a:moveTo>
                  <a:lnTo>
                    <a:pt x="4" y="71"/>
                  </a:lnTo>
                  <a:lnTo>
                    <a:pt x="4" y="73"/>
                  </a:lnTo>
                  <a:lnTo>
                    <a:pt x="2" y="73"/>
                  </a:lnTo>
                  <a:lnTo>
                    <a:pt x="2" y="71"/>
                  </a:lnTo>
                  <a:close/>
                  <a:moveTo>
                    <a:pt x="104" y="248"/>
                  </a:moveTo>
                  <a:lnTo>
                    <a:pt x="105" y="248"/>
                  </a:lnTo>
                  <a:lnTo>
                    <a:pt x="104" y="248"/>
                  </a:lnTo>
                  <a:close/>
                  <a:moveTo>
                    <a:pt x="29" y="110"/>
                  </a:moveTo>
                  <a:lnTo>
                    <a:pt x="31" y="110"/>
                  </a:lnTo>
                  <a:lnTo>
                    <a:pt x="29" y="110"/>
                  </a:lnTo>
                  <a:close/>
                  <a:moveTo>
                    <a:pt x="81" y="196"/>
                  </a:moveTo>
                  <a:lnTo>
                    <a:pt x="84" y="196"/>
                  </a:lnTo>
                  <a:lnTo>
                    <a:pt x="81" y="196"/>
                  </a:lnTo>
                  <a:close/>
                  <a:moveTo>
                    <a:pt x="109" y="252"/>
                  </a:moveTo>
                  <a:lnTo>
                    <a:pt x="111" y="252"/>
                  </a:lnTo>
                  <a:lnTo>
                    <a:pt x="109" y="252"/>
                  </a:lnTo>
                  <a:close/>
                  <a:moveTo>
                    <a:pt x="36" y="112"/>
                  </a:moveTo>
                  <a:lnTo>
                    <a:pt x="38" y="112"/>
                  </a:lnTo>
                  <a:lnTo>
                    <a:pt x="38" y="114"/>
                  </a:lnTo>
                  <a:lnTo>
                    <a:pt x="36" y="114"/>
                  </a:lnTo>
                  <a:lnTo>
                    <a:pt x="36" y="112"/>
                  </a:lnTo>
                  <a:close/>
                  <a:moveTo>
                    <a:pt x="111" y="252"/>
                  </a:moveTo>
                  <a:lnTo>
                    <a:pt x="111" y="254"/>
                  </a:lnTo>
                  <a:lnTo>
                    <a:pt x="111" y="252"/>
                  </a:lnTo>
                  <a:close/>
                  <a:moveTo>
                    <a:pt x="107" y="246"/>
                  </a:moveTo>
                  <a:lnTo>
                    <a:pt x="109" y="246"/>
                  </a:lnTo>
                  <a:lnTo>
                    <a:pt x="107" y="246"/>
                  </a:lnTo>
                  <a:close/>
                  <a:moveTo>
                    <a:pt x="34" y="114"/>
                  </a:moveTo>
                  <a:lnTo>
                    <a:pt x="36" y="114"/>
                  </a:lnTo>
                  <a:lnTo>
                    <a:pt x="34" y="114"/>
                  </a:lnTo>
                  <a:close/>
                  <a:moveTo>
                    <a:pt x="19" y="85"/>
                  </a:moveTo>
                  <a:lnTo>
                    <a:pt x="19" y="87"/>
                  </a:lnTo>
                  <a:lnTo>
                    <a:pt x="19" y="85"/>
                  </a:lnTo>
                  <a:close/>
                  <a:moveTo>
                    <a:pt x="31" y="108"/>
                  </a:moveTo>
                  <a:lnTo>
                    <a:pt x="31" y="110"/>
                  </a:lnTo>
                  <a:lnTo>
                    <a:pt x="31" y="108"/>
                  </a:lnTo>
                  <a:close/>
                  <a:moveTo>
                    <a:pt x="105" y="248"/>
                  </a:moveTo>
                  <a:lnTo>
                    <a:pt x="107" y="248"/>
                  </a:lnTo>
                  <a:lnTo>
                    <a:pt x="107" y="250"/>
                  </a:lnTo>
                  <a:lnTo>
                    <a:pt x="105" y="250"/>
                  </a:lnTo>
                  <a:lnTo>
                    <a:pt x="105" y="248"/>
                  </a:lnTo>
                  <a:close/>
                  <a:moveTo>
                    <a:pt x="105" y="244"/>
                  </a:moveTo>
                  <a:lnTo>
                    <a:pt x="107" y="244"/>
                  </a:lnTo>
                  <a:lnTo>
                    <a:pt x="105" y="244"/>
                  </a:lnTo>
                  <a:close/>
                  <a:moveTo>
                    <a:pt x="34" y="114"/>
                  </a:moveTo>
                  <a:lnTo>
                    <a:pt x="36" y="114"/>
                  </a:lnTo>
                  <a:lnTo>
                    <a:pt x="34" y="114"/>
                  </a:lnTo>
                  <a:close/>
                  <a:moveTo>
                    <a:pt x="107" y="250"/>
                  </a:moveTo>
                  <a:lnTo>
                    <a:pt x="109" y="250"/>
                  </a:lnTo>
                  <a:lnTo>
                    <a:pt x="109" y="252"/>
                  </a:lnTo>
                  <a:lnTo>
                    <a:pt x="107" y="252"/>
                  </a:lnTo>
                  <a:lnTo>
                    <a:pt x="107" y="250"/>
                  </a:lnTo>
                  <a:close/>
                  <a:moveTo>
                    <a:pt x="109" y="248"/>
                  </a:moveTo>
                  <a:lnTo>
                    <a:pt x="111" y="248"/>
                  </a:lnTo>
                  <a:lnTo>
                    <a:pt x="109" y="248"/>
                  </a:lnTo>
                  <a:close/>
                  <a:moveTo>
                    <a:pt x="217" y="83"/>
                  </a:moveTo>
                  <a:lnTo>
                    <a:pt x="217" y="85"/>
                  </a:lnTo>
                  <a:lnTo>
                    <a:pt x="217" y="83"/>
                  </a:lnTo>
                  <a:close/>
                  <a:moveTo>
                    <a:pt x="215" y="81"/>
                  </a:moveTo>
                  <a:lnTo>
                    <a:pt x="217" y="81"/>
                  </a:lnTo>
                  <a:lnTo>
                    <a:pt x="215" y="81"/>
                  </a:lnTo>
                  <a:close/>
                  <a:moveTo>
                    <a:pt x="104" y="248"/>
                  </a:moveTo>
                  <a:lnTo>
                    <a:pt x="105" y="248"/>
                  </a:lnTo>
                  <a:lnTo>
                    <a:pt x="104" y="248"/>
                  </a:lnTo>
                  <a:close/>
                  <a:moveTo>
                    <a:pt x="36" y="110"/>
                  </a:moveTo>
                  <a:lnTo>
                    <a:pt x="36" y="112"/>
                  </a:lnTo>
                  <a:lnTo>
                    <a:pt x="36" y="110"/>
                  </a:lnTo>
                  <a:close/>
                  <a:moveTo>
                    <a:pt x="109" y="248"/>
                  </a:moveTo>
                  <a:lnTo>
                    <a:pt x="111" y="248"/>
                  </a:lnTo>
                  <a:lnTo>
                    <a:pt x="111" y="250"/>
                  </a:lnTo>
                  <a:lnTo>
                    <a:pt x="109" y="250"/>
                  </a:lnTo>
                  <a:lnTo>
                    <a:pt x="109" y="248"/>
                  </a:lnTo>
                  <a:close/>
                  <a:moveTo>
                    <a:pt x="217" y="85"/>
                  </a:moveTo>
                  <a:lnTo>
                    <a:pt x="219" y="85"/>
                  </a:lnTo>
                  <a:lnTo>
                    <a:pt x="217" y="85"/>
                  </a:lnTo>
                  <a:close/>
                  <a:moveTo>
                    <a:pt x="219" y="85"/>
                  </a:moveTo>
                  <a:lnTo>
                    <a:pt x="221" y="85"/>
                  </a:lnTo>
                  <a:lnTo>
                    <a:pt x="219" y="85"/>
                  </a:lnTo>
                  <a:close/>
                  <a:moveTo>
                    <a:pt x="113" y="254"/>
                  </a:moveTo>
                  <a:lnTo>
                    <a:pt x="115" y="254"/>
                  </a:lnTo>
                  <a:lnTo>
                    <a:pt x="115" y="256"/>
                  </a:lnTo>
                  <a:lnTo>
                    <a:pt x="113" y="256"/>
                  </a:lnTo>
                  <a:lnTo>
                    <a:pt x="113" y="254"/>
                  </a:lnTo>
                  <a:close/>
                  <a:moveTo>
                    <a:pt x="105" y="246"/>
                  </a:moveTo>
                  <a:lnTo>
                    <a:pt x="105" y="248"/>
                  </a:lnTo>
                  <a:lnTo>
                    <a:pt x="105" y="246"/>
                  </a:lnTo>
                  <a:close/>
                  <a:moveTo>
                    <a:pt x="94" y="210"/>
                  </a:moveTo>
                  <a:lnTo>
                    <a:pt x="94" y="212"/>
                  </a:lnTo>
                  <a:lnTo>
                    <a:pt x="94" y="210"/>
                  </a:lnTo>
                  <a:close/>
                  <a:moveTo>
                    <a:pt x="27" y="100"/>
                  </a:moveTo>
                  <a:lnTo>
                    <a:pt x="29" y="100"/>
                  </a:lnTo>
                  <a:lnTo>
                    <a:pt x="29" y="102"/>
                  </a:lnTo>
                  <a:lnTo>
                    <a:pt x="27" y="102"/>
                  </a:lnTo>
                  <a:lnTo>
                    <a:pt x="27" y="100"/>
                  </a:lnTo>
                  <a:close/>
                  <a:moveTo>
                    <a:pt x="63" y="152"/>
                  </a:moveTo>
                  <a:lnTo>
                    <a:pt x="65" y="152"/>
                  </a:lnTo>
                  <a:lnTo>
                    <a:pt x="65" y="154"/>
                  </a:lnTo>
                  <a:lnTo>
                    <a:pt x="63" y="154"/>
                  </a:lnTo>
                  <a:lnTo>
                    <a:pt x="63" y="152"/>
                  </a:lnTo>
                  <a:close/>
                  <a:moveTo>
                    <a:pt x="221" y="85"/>
                  </a:moveTo>
                  <a:lnTo>
                    <a:pt x="221" y="87"/>
                  </a:lnTo>
                  <a:lnTo>
                    <a:pt x="221" y="85"/>
                  </a:lnTo>
                  <a:close/>
                  <a:moveTo>
                    <a:pt x="117" y="248"/>
                  </a:moveTo>
                  <a:lnTo>
                    <a:pt x="117" y="250"/>
                  </a:lnTo>
                  <a:lnTo>
                    <a:pt x="117" y="248"/>
                  </a:lnTo>
                  <a:close/>
                  <a:moveTo>
                    <a:pt x="6" y="71"/>
                  </a:moveTo>
                  <a:lnTo>
                    <a:pt x="6" y="73"/>
                  </a:lnTo>
                  <a:lnTo>
                    <a:pt x="6" y="71"/>
                  </a:lnTo>
                  <a:close/>
                  <a:moveTo>
                    <a:pt x="92" y="204"/>
                  </a:moveTo>
                  <a:lnTo>
                    <a:pt x="92" y="206"/>
                  </a:lnTo>
                  <a:lnTo>
                    <a:pt x="92" y="204"/>
                  </a:lnTo>
                  <a:close/>
                  <a:moveTo>
                    <a:pt x="10" y="75"/>
                  </a:moveTo>
                  <a:lnTo>
                    <a:pt x="11" y="75"/>
                  </a:lnTo>
                  <a:lnTo>
                    <a:pt x="10" y="75"/>
                  </a:lnTo>
                  <a:close/>
                  <a:moveTo>
                    <a:pt x="4" y="70"/>
                  </a:moveTo>
                  <a:lnTo>
                    <a:pt x="4" y="71"/>
                  </a:lnTo>
                  <a:lnTo>
                    <a:pt x="4" y="70"/>
                  </a:lnTo>
                  <a:close/>
                  <a:moveTo>
                    <a:pt x="98" y="223"/>
                  </a:moveTo>
                  <a:lnTo>
                    <a:pt x="100" y="223"/>
                  </a:lnTo>
                  <a:lnTo>
                    <a:pt x="100" y="225"/>
                  </a:lnTo>
                  <a:lnTo>
                    <a:pt x="98" y="225"/>
                  </a:lnTo>
                  <a:lnTo>
                    <a:pt x="98" y="223"/>
                  </a:lnTo>
                  <a:close/>
                  <a:moveTo>
                    <a:pt x="92" y="208"/>
                  </a:moveTo>
                  <a:lnTo>
                    <a:pt x="94" y="208"/>
                  </a:lnTo>
                  <a:lnTo>
                    <a:pt x="92" y="208"/>
                  </a:lnTo>
                  <a:close/>
                  <a:moveTo>
                    <a:pt x="81" y="196"/>
                  </a:moveTo>
                  <a:lnTo>
                    <a:pt x="82" y="196"/>
                  </a:lnTo>
                  <a:lnTo>
                    <a:pt x="81" y="196"/>
                  </a:lnTo>
                  <a:close/>
                  <a:moveTo>
                    <a:pt x="2" y="70"/>
                  </a:moveTo>
                  <a:lnTo>
                    <a:pt x="4" y="70"/>
                  </a:lnTo>
                  <a:lnTo>
                    <a:pt x="4" y="71"/>
                  </a:lnTo>
                  <a:lnTo>
                    <a:pt x="2" y="71"/>
                  </a:lnTo>
                  <a:lnTo>
                    <a:pt x="2" y="70"/>
                  </a:lnTo>
                  <a:close/>
                  <a:moveTo>
                    <a:pt x="90" y="204"/>
                  </a:moveTo>
                  <a:lnTo>
                    <a:pt x="92" y="204"/>
                  </a:lnTo>
                  <a:lnTo>
                    <a:pt x="90" y="204"/>
                  </a:lnTo>
                  <a:close/>
                  <a:moveTo>
                    <a:pt x="4" y="70"/>
                  </a:moveTo>
                  <a:lnTo>
                    <a:pt x="4" y="71"/>
                  </a:lnTo>
                  <a:lnTo>
                    <a:pt x="4" y="70"/>
                  </a:lnTo>
                  <a:close/>
                  <a:moveTo>
                    <a:pt x="63" y="152"/>
                  </a:moveTo>
                  <a:lnTo>
                    <a:pt x="65" y="152"/>
                  </a:lnTo>
                  <a:lnTo>
                    <a:pt x="65" y="154"/>
                  </a:lnTo>
                  <a:lnTo>
                    <a:pt x="63" y="154"/>
                  </a:lnTo>
                  <a:lnTo>
                    <a:pt x="63" y="152"/>
                  </a:lnTo>
                  <a:close/>
                  <a:moveTo>
                    <a:pt x="34" y="112"/>
                  </a:moveTo>
                  <a:lnTo>
                    <a:pt x="34" y="114"/>
                  </a:lnTo>
                  <a:lnTo>
                    <a:pt x="34" y="112"/>
                  </a:lnTo>
                  <a:close/>
                </a:path>
              </a:pathLst>
            </a:custGeom>
            <a:solidFill>
              <a:schemeClr val="accent1">
                <a:lumMod val="40000"/>
                <a:lumOff val="60000"/>
              </a:schemeClr>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331">
              <a:extLst>
                <a:ext uri="{FF2B5EF4-FFF2-40B4-BE49-F238E27FC236}">
                  <a16:creationId xmlns:a16="http://schemas.microsoft.com/office/drawing/2014/main" id="{E51E5DF1-89B2-4C56-BA30-ECB44951B6E8}"/>
                </a:ext>
              </a:extLst>
            </p:cNvPr>
            <p:cNvSpPr>
              <a:spLocks noEditPoints="1"/>
            </p:cNvSpPr>
            <p:nvPr/>
          </p:nvSpPr>
          <p:spPr bwMode="gray">
            <a:xfrm>
              <a:off x="4132950" y="3880895"/>
              <a:ext cx="87073" cy="68677"/>
            </a:xfrm>
            <a:custGeom>
              <a:avLst/>
              <a:gdLst>
                <a:gd name="T0" fmla="*/ 71 w 71"/>
                <a:gd name="T1" fmla="*/ 12 h 56"/>
                <a:gd name="T2" fmla="*/ 71 w 71"/>
                <a:gd name="T3" fmla="*/ 19 h 56"/>
                <a:gd name="T4" fmla="*/ 68 w 71"/>
                <a:gd name="T5" fmla="*/ 19 h 56"/>
                <a:gd name="T6" fmla="*/ 64 w 71"/>
                <a:gd name="T7" fmla="*/ 25 h 56"/>
                <a:gd name="T8" fmla="*/ 64 w 71"/>
                <a:gd name="T9" fmla="*/ 33 h 56"/>
                <a:gd name="T10" fmla="*/ 60 w 71"/>
                <a:gd name="T11" fmla="*/ 39 h 56"/>
                <a:gd name="T12" fmla="*/ 54 w 71"/>
                <a:gd name="T13" fmla="*/ 48 h 56"/>
                <a:gd name="T14" fmla="*/ 14 w 71"/>
                <a:gd name="T15" fmla="*/ 48 h 56"/>
                <a:gd name="T16" fmla="*/ 0 w 71"/>
                <a:gd name="T17" fmla="*/ 29 h 56"/>
                <a:gd name="T18" fmla="*/ 4 w 71"/>
                <a:gd name="T19" fmla="*/ 29 h 56"/>
                <a:gd name="T20" fmla="*/ 14 w 71"/>
                <a:gd name="T21" fmla="*/ 33 h 56"/>
                <a:gd name="T22" fmla="*/ 22 w 71"/>
                <a:gd name="T23" fmla="*/ 33 h 56"/>
                <a:gd name="T24" fmla="*/ 23 w 71"/>
                <a:gd name="T25" fmla="*/ 31 h 56"/>
                <a:gd name="T26" fmla="*/ 25 w 71"/>
                <a:gd name="T27" fmla="*/ 33 h 56"/>
                <a:gd name="T28" fmla="*/ 37 w 71"/>
                <a:gd name="T29" fmla="*/ 33 h 56"/>
                <a:gd name="T30" fmla="*/ 37 w 71"/>
                <a:gd name="T31" fmla="*/ 31 h 56"/>
                <a:gd name="T32" fmla="*/ 43 w 71"/>
                <a:gd name="T33" fmla="*/ 29 h 56"/>
                <a:gd name="T34" fmla="*/ 45 w 71"/>
                <a:gd name="T35" fmla="*/ 27 h 56"/>
                <a:gd name="T36" fmla="*/ 47 w 71"/>
                <a:gd name="T37" fmla="*/ 21 h 56"/>
                <a:gd name="T38" fmla="*/ 48 w 71"/>
                <a:gd name="T39" fmla="*/ 19 h 56"/>
                <a:gd name="T40" fmla="*/ 50 w 71"/>
                <a:gd name="T41" fmla="*/ 17 h 56"/>
                <a:gd name="T42" fmla="*/ 52 w 71"/>
                <a:gd name="T43" fmla="*/ 19 h 56"/>
                <a:gd name="T44" fmla="*/ 56 w 71"/>
                <a:gd name="T45" fmla="*/ 14 h 56"/>
                <a:gd name="T46" fmla="*/ 56 w 71"/>
                <a:gd name="T47" fmla="*/ 14 h 56"/>
                <a:gd name="T48" fmla="*/ 56 w 71"/>
                <a:gd name="T49" fmla="*/ 14 h 56"/>
                <a:gd name="T50" fmla="*/ 58 w 71"/>
                <a:gd name="T51" fmla="*/ 12 h 56"/>
                <a:gd name="T52" fmla="*/ 60 w 71"/>
                <a:gd name="T53" fmla="*/ 10 h 56"/>
                <a:gd name="T54" fmla="*/ 60 w 71"/>
                <a:gd name="T55" fmla="*/ 10 h 56"/>
                <a:gd name="T56" fmla="*/ 62 w 71"/>
                <a:gd name="T57" fmla="*/ 8 h 56"/>
                <a:gd name="T58" fmla="*/ 68 w 71"/>
                <a:gd name="T59" fmla="*/ 4 h 56"/>
                <a:gd name="T60" fmla="*/ 66 w 71"/>
                <a:gd name="T61" fmla="*/ 2 h 56"/>
                <a:gd name="T62" fmla="*/ 68 w 71"/>
                <a:gd name="T63" fmla="*/ 4 h 56"/>
                <a:gd name="T64" fmla="*/ 37 w 71"/>
                <a:gd name="T65" fmla="*/ 31 h 56"/>
                <a:gd name="T66" fmla="*/ 35 w 71"/>
                <a:gd name="T67" fmla="*/ 33 h 56"/>
                <a:gd name="T68" fmla="*/ 33 w 71"/>
                <a:gd name="T69" fmla="*/ 31 h 56"/>
                <a:gd name="T70" fmla="*/ 41 w 71"/>
                <a:gd name="T71" fmla="*/ 25 h 56"/>
                <a:gd name="T72" fmla="*/ 16 w 71"/>
                <a:gd name="T73" fmla="*/ 31 h 56"/>
                <a:gd name="T74" fmla="*/ 45 w 71"/>
                <a:gd name="T75" fmla="*/ 25 h 56"/>
                <a:gd name="T76" fmla="*/ 23 w 71"/>
                <a:gd name="T77" fmla="*/ 31 h 56"/>
                <a:gd name="T78" fmla="*/ 25 w 71"/>
                <a:gd name="T79" fmla="*/ 29 h 56"/>
                <a:gd name="T80" fmla="*/ 45 w 71"/>
                <a:gd name="T81" fmla="*/ 27 h 56"/>
                <a:gd name="T82" fmla="*/ 43 w 71"/>
                <a:gd name="T83" fmla="*/ 27 h 56"/>
                <a:gd name="T84" fmla="*/ 41 w 71"/>
                <a:gd name="T85" fmla="*/ 27 h 56"/>
                <a:gd name="T86" fmla="*/ 39 w 71"/>
                <a:gd name="T87" fmla="*/ 16 h 56"/>
                <a:gd name="T88" fmla="*/ 62 w 71"/>
                <a:gd name="T89" fmla="*/ 8 h 56"/>
                <a:gd name="T90" fmla="*/ 23 w 71"/>
                <a:gd name="T91" fmla="*/ 21 h 56"/>
                <a:gd name="T92" fmla="*/ 50 w 71"/>
                <a:gd name="T93" fmla="*/ 17 h 56"/>
                <a:gd name="T94" fmla="*/ 52 w 71"/>
                <a:gd name="T95" fmla="*/ 17 h 56"/>
                <a:gd name="T96" fmla="*/ 43 w 71"/>
                <a:gd name="T97" fmla="*/ 31 h 56"/>
                <a:gd name="T98" fmla="*/ 45 w 71"/>
                <a:gd name="T99" fmla="*/ 23 h 56"/>
                <a:gd name="T100" fmla="*/ 47 w 71"/>
                <a:gd name="T101" fmla="*/ 21 h 56"/>
                <a:gd name="T102" fmla="*/ 43 w 71"/>
                <a:gd name="T103" fmla="*/ 29 h 56"/>
                <a:gd name="T104" fmla="*/ 54 w 71"/>
                <a:gd name="T105" fmla="*/ 14 h 56"/>
                <a:gd name="T106" fmla="*/ 45 w 71"/>
                <a:gd name="T107" fmla="*/ 29 h 56"/>
                <a:gd name="T108" fmla="*/ 41 w 71"/>
                <a:gd name="T109" fmla="*/ 29 h 56"/>
                <a:gd name="T110" fmla="*/ 39 w 71"/>
                <a:gd name="T111" fmla="*/ 27 h 56"/>
                <a:gd name="T112" fmla="*/ 16 w 71"/>
                <a:gd name="T113" fmla="*/ 29 h 56"/>
                <a:gd name="T114" fmla="*/ 41 w 71"/>
                <a:gd name="T115" fmla="*/ 29 h 56"/>
                <a:gd name="T116" fmla="*/ 41 w 71"/>
                <a:gd name="T117" fmla="*/ 29 h 56"/>
                <a:gd name="T118" fmla="*/ 8 w 71"/>
                <a:gd name="T119" fmla="*/ 31 h 56"/>
                <a:gd name="T120" fmla="*/ 54 w 71"/>
                <a:gd name="T121" fmla="*/ 16 h 56"/>
                <a:gd name="T122" fmla="*/ 43 w 71"/>
                <a:gd name="T123" fmla="*/ 2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 h="56">
                  <a:moveTo>
                    <a:pt x="70" y="8"/>
                  </a:moveTo>
                  <a:lnTo>
                    <a:pt x="71" y="8"/>
                  </a:lnTo>
                  <a:lnTo>
                    <a:pt x="71" y="10"/>
                  </a:lnTo>
                  <a:lnTo>
                    <a:pt x="71" y="12"/>
                  </a:lnTo>
                  <a:lnTo>
                    <a:pt x="71" y="10"/>
                  </a:lnTo>
                  <a:lnTo>
                    <a:pt x="71" y="12"/>
                  </a:lnTo>
                  <a:lnTo>
                    <a:pt x="71" y="10"/>
                  </a:lnTo>
                  <a:lnTo>
                    <a:pt x="71" y="12"/>
                  </a:lnTo>
                  <a:lnTo>
                    <a:pt x="71" y="14"/>
                  </a:lnTo>
                  <a:lnTo>
                    <a:pt x="71" y="12"/>
                  </a:lnTo>
                  <a:lnTo>
                    <a:pt x="71" y="14"/>
                  </a:lnTo>
                  <a:lnTo>
                    <a:pt x="71" y="16"/>
                  </a:lnTo>
                  <a:lnTo>
                    <a:pt x="71" y="17"/>
                  </a:lnTo>
                  <a:lnTo>
                    <a:pt x="71" y="16"/>
                  </a:lnTo>
                  <a:lnTo>
                    <a:pt x="71" y="17"/>
                  </a:lnTo>
                  <a:lnTo>
                    <a:pt x="71" y="19"/>
                  </a:lnTo>
                  <a:lnTo>
                    <a:pt x="70" y="19"/>
                  </a:lnTo>
                  <a:lnTo>
                    <a:pt x="70" y="21"/>
                  </a:lnTo>
                  <a:lnTo>
                    <a:pt x="68" y="21"/>
                  </a:lnTo>
                  <a:lnTo>
                    <a:pt x="68" y="23"/>
                  </a:lnTo>
                  <a:lnTo>
                    <a:pt x="66" y="21"/>
                  </a:lnTo>
                  <a:lnTo>
                    <a:pt x="66" y="19"/>
                  </a:lnTo>
                  <a:lnTo>
                    <a:pt x="68" y="21"/>
                  </a:lnTo>
                  <a:lnTo>
                    <a:pt x="68" y="19"/>
                  </a:lnTo>
                  <a:lnTo>
                    <a:pt x="66" y="19"/>
                  </a:lnTo>
                  <a:lnTo>
                    <a:pt x="68" y="19"/>
                  </a:lnTo>
                  <a:lnTo>
                    <a:pt x="66" y="19"/>
                  </a:lnTo>
                  <a:lnTo>
                    <a:pt x="66" y="17"/>
                  </a:lnTo>
                  <a:lnTo>
                    <a:pt x="64" y="19"/>
                  </a:lnTo>
                  <a:lnTo>
                    <a:pt x="64" y="21"/>
                  </a:lnTo>
                  <a:lnTo>
                    <a:pt x="64" y="23"/>
                  </a:lnTo>
                  <a:lnTo>
                    <a:pt x="64" y="25"/>
                  </a:lnTo>
                  <a:lnTo>
                    <a:pt x="62" y="25"/>
                  </a:lnTo>
                  <a:lnTo>
                    <a:pt x="64" y="27"/>
                  </a:lnTo>
                  <a:lnTo>
                    <a:pt x="64" y="29"/>
                  </a:lnTo>
                  <a:lnTo>
                    <a:pt x="62" y="31"/>
                  </a:lnTo>
                  <a:lnTo>
                    <a:pt x="64" y="31"/>
                  </a:lnTo>
                  <a:lnTo>
                    <a:pt x="66" y="31"/>
                  </a:lnTo>
                  <a:lnTo>
                    <a:pt x="66" y="33"/>
                  </a:lnTo>
                  <a:lnTo>
                    <a:pt x="64" y="33"/>
                  </a:lnTo>
                  <a:lnTo>
                    <a:pt x="64" y="35"/>
                  </a:lnTo>
                  <a:lnTo>
                    <a:pt x="62" y="33"/>
                  </a:lnTo>
                  <a:lnTo>
                    <a:pt x="62" y="35"/>
                  </a:lnTo>
                  <a:lnTo>
                    <a:pt x="60" y="35"/>
                  </a:lnTo>
                  <a:lnTo>
                    <a:pt x="58" y="35"/>
                  </a:lnTo>
                  <a:lnTo>
                    <a:pt x="58" y="37"/>
                  </a:lnTo>
                  <a:lnTo>
                    <a:pt x="60" y="37"/>
                  </a:lnTo>
                  <a:lnTo>
                    <a:pt x="60" y="39"/>
                  </a:lnTo>
                  <a:lnTo>
                    <a:pt x="60" y="41"/>
                  </a:lnTo>
                  <a:lnTo>
                    <a:pt x="60" y="42"/>
                  </a:lnTo>
                  <a:lnTo>
                    <a:pt x="58" y="42"/>
                  </a:lnTo>
                  <a:lnTo>
                    <a:pt x="58" y="44"/>
                  </a:lnTo>
                  <a:lnTo>
                    <a:pt x="56" y="44"/>
                  </a:lnTo>
                  <a:lnTo>
                    <a:pt x="56" y="46"/>
                  </a:lnTo>
                  <a:lnTo>
                    <a:pt x="56" y="48"/>
                  </a:lnTo>
                  <a:lnTo>
                    <a:pt x="54" y="48"/>
                  </a:lnTo>
                  <a:lnTo>
                    <a:pt x="54" y="50"/>
                  </a:lnTo>
                  <a:lnTo>
                    <a:pt x="54" y="52"/>
                  </a:lnTo>
                  <a:lnTo>
                    <a:pt x="54" y="54"/>
                  </a:lnTo>
                  <a:lnTo>
                    <a:pt x="54" y="56"/>
                  </a:lnTo>
                  <a:lnTo>
                    <a:pt x="52" y="56"/>
                  </a:lnTo>
                  <a:lnTo>
                    <a:pt x="29" y="54"/>
                  </a:lnTo>
                  <a:lnTo>
                    <a:pt x="16" y="52"/>
                  </a:lnTo>
                  <a:lnTo>
                    <a:pt x="14" y="48"/>
                  </a:lnTo>
                  <a:lnTo>
                    <a:pt x="12" y="46"/>
                  </a:lnTo>
                  <a:lnTo>
                    <a:pt x="6" y="39"/>
                  </a:lnTo>
                  <a:lnTo>
                    <a:pt x="2" y="33"/>
                  </a:lnTo>
                  <a:lnTo>
                    <a:pt x="2" y="31"/>
                  </a:lnTo>
                  <a:lnTo>
                    <a:pt x="2" y="29"/>
                  </a:lnTo>
                  <a:lnTo>
                    <a:pt x="0" y="29"/>
                  </a:lnTo>
                  <a:lnTo>
                    <a:pt x="2" y="29"/>
                  </a:lnTo>
                  <a:lnTo>
                    <a:pt x="0" y="29"/>
                  </a:lnTo>
                  <a:lnTo>
                    <a:pt x="2" y="29"/>
                  </a:lnTo>
                  <a:lnTo>
                    <a:pt x="2" y="31"/>
                  </a:lnTo>
                  <a:lnTo>
                    <a:pt x="2" y="29"/>
                  </a:lnTo>
                  <a:lnTo>
                    <a:pt x="2" y="31"/>
                  </a:lnTo>
                  <a:lnTo>
                    <a:pt x="4" y="31"/>
                  </a:lnTo>
                  <a:lnTo>
                    <a:pt x="2" y="31"/>
                  </a:lnTo>
                  <a:lnTo>
                    <a:pt x="4" y="31"/>
                  </a:lnTo>
                  <a:lnTo>
                    <a:pt x="4" y="29"/>
                  </a:lnTo>
                  <a:lnTo>
                    <a:pt x="4" y="31"/>
                  </a:lnTo>
                  <a:lnTo>
                    <a:pt x="4" y="33"/>
                  </a:lnTo>
                  <a:lnTo>
                    <a:pt x="4" y="35"/>
                  </a:lnTo>
                  <a:lnTo>
                    <a:pt x="6" y="35"/>
                  </a:lnTo>
                  <a:lnTo>
                    <a:pt x="8" y="35"/>
                  </a:lnTo>
                  <a:lnTo>
                    <a:pt x="10" y="35"/>
                  </a:lnTo>
                  <a:lnTo>
                    <a:pt x="12" y="35"/>
                  </a:lnTo>
                  <a:lnTo>
                    <a:pt x="14" y="33"/>
                  </a:lnTo>
                  <a:lnTo>
                    <a:pt x="16" y="33"/>
                  </a:lnTo>
                  <a:lnTo>
                    <a:pt x="16" y="31"/>
                  </a:lnTo>
                  <a:lnTo>
                    <a:pt x="18" y="31"/>
                  </a:lnTo>
                  <a:lnTo>
                    <a:pt x="18" y="33"/>
                  </a:lnTo>
                  <a:lnTo>
                    <a:pt x="20" y="33"/>
                  </a:lnTo>
                  <a:lnTo>
                    <a:pt x="22" y="33"/>
                  </a:lnTo>
                  <a:lnTo>
                    <a:pt x="23" y="33"/>
                  </a:lnTo>
                  <a:lnTo>
                    <a:pt x="22" y="33"/>
                  </a:lnTo>
                  <a:lnTo>
                    <a:pt x="22" y="31"/>
                  </a:lnTo>
                  <a:lnTo>
                    <a:pt x="22" y="33"/>
                  </a:lnTo>
                  <a:lnTo>
                    <a:pt x="23" y="33"/>
                  </a:lnTo>
                  <a:lnTo>
                    <a:pt x="23" y="31"/>
                  </a:lnTo>
                  <a:lnTo>
                    <a:pt x="23" y="33"/>
                  </a:lnTo>
                  <a:lnTo>
                    <a:pt x="23" y="31"/>
                  </a:lnTo>
                  <a:lnTo>
                    <a:pt x="23" y="33"/>
                  </a:lnTo>
                  <a:lnTo>
                    <a:pt x="23" y="31"/>
                  </a:lnTo>
                  <a:lnTo>
                    <a:pt x="23" y="33"/>
                  </a:lnTo>
                  <a:lnTo>
                    <a:pt x="23" y="31"/>
                  </a:lnTo>
                  <a:lnTo>
                    <a:pt x="23" y="33"/>
                  </a:lnTo>
                  <a:lnTo>
                    <a:pt x="25" y="33"/>
                  </a:lnTo>
                  <a:lnTo>
                    <a:pt x="27" y="33"/>
                  </a:lnTo>
                  <a:lnTo>
                    <a:pt x="25" y="33"/>
                  </a:lnTo>
                  <a:lnTo>
                    <a:pt x="27" y="33"/>
                  </a:lnTo>
                  <a:lnTo>
                    <a:pt x="25" y="33"/>
                  </a:lnTo>
                  <a:lnTo>
                    <a:pt x="27" y="33"/>
                  </a:lnTo>
                  <a:lnTo>
                    <a:pt x="29" y="33"/>
                  </a:lnTo>
                  <a:lnTo>
                    <a:pt x="31" y="33"/>
                  </a:lnTo>
                  <a:lnTo>
                    <a:pt x="33" y="33"/>
                  </a:lnTo>
                  <a:lnTo>
                    <a:pt x="35" y="33"/>
                  </a:lnTo>
                  <a:lnTo>
                    <a:pt x="37" y="33"/>
                  </a:lnTo>
                  <a:lnTo>
                    <a:pt x="39" y="33"/>
                  </a:lnTo>
                  <a:lnTo>
                    <a:pt x="37" y="33"/>
                  </a:lnTo>
                  <a:lnTo>
                    <a:pt x="37" y="31"/>
                  </a:lnTo>
                  <a:lnTo>
                    <a:pt x="39" y="33"/>
                  </a:lnTo>
                  <a:lnTo>
                    <a:pt x="39" y="31"/>
                  </a:lnTo>
                  <a:lnTo>
                    <a:pt x="37" y="31"/>
                  </a:lnTo>
                  <a:lnTo>
                    <a:pt x="39" y="31"/>
                  </a:lnTo>
                  <a:lnTo>
                    <a:pt x="37" y="31"/>
                  </a:lnTo>
                  <a:lnTo>
                    <a:pt x="39" y="31"/>
                  </a:lnTo>
                  <a:lnTo>
                    <a:pt x="37" y="31"/>
                  </a:lnTo>
                  <a:lnTo>
                    <a:pt x="39" y="31"/>
                  </a:lnTo>
                  <a:lnTo>
                    <a:pt x="37" y="31"/>
                  </a:lnTo>
                  <a:lnTo>
                    <a:pt x="39" y="31"/>
                  </a:lnTo>
                  <a:lnTo>
                    <a:pt x="39" y="29"/>
                  </a:lnTo>
                  <a:lnTo>
                    <a:pt x="39" y="31"/>
                  </a:lnTo>
                  <a:lnTo>
                    <a:pt x="41" y="31"/>
                  </a:lnTo>
                  <a:lnTo>
                    <a:pt x="43" y="31"/>
                  </a:lnTo>
                  <a:lnTo>
                    <a:pt x="43" y="29"/>
                  </a:lnTo>
                  <a:lnTo>
                    <a:pt x="45" y="29"/>
                  </a:lnTo>
                  <a:lnTo>
                    <a:pt x="43" y="29"/>
                  </a:lnTo>
                  <a:lnTo>
                    <a:pt x="45" y="29"/>
                  </a:lnTo>
                  <a:lnTo>
                    <a:pt x="45" y="27"/>
                  </a:lnTo>
                  <a:lnTo>
                    <a:pt x="45" y="29"/>
                  </a:lnTo>
                  <a:lnTo>
                    <a:pt x="45" y="27"/>
                  </a:lnTo>
                  <a:lnTo>
                    <a:pt x="47" y="27"/>
                  </a:lnTo>
                  <a:lnTo>
                    <a:pt x="45" y="27"/>
                  </a:lnTo>
                  <a:lnTo>
                    <a:pt x="47" y="27"/>
                  </a:lnTo>
                  <a:lnTo>
                    <a:pt x="47" y="25"/>
                  </a:lnTo>
                  <a:lnTo>
                    <a:pt x="47" y="23"/>
                  </a:lnTo>
                  <a:lnTo>
                    <a:pt x="47" y="21"/>
                  </a:lnTo>
                  <a:lnTo>
                    <a:pt x="47" y="23"/>
                  </a:lnTo>
                  <a:lnTo>
                    <a:pt x="47" y="21"/>
                  </a:lnTo>
                  <a:lnTo>
                    <a:pt x="47" y="23"/>
                  </a:lnTo>
                  <a:lnTo>
                    <a:pt x="47" y="21"/>
                  </a:lnTo>
                  <a:lnTo>
                    <a:pt x="47" y="23"/>
                  </a:lnTo>
                  <a:lnTo>
                    <a:pt x="47" y="21"/>
                  </a:lnTo>
                  <a:lnTo>
                    <a:pt x="47" y="23"/>
                  </a:lnTo>
                  <a:lnTo>
                    <a:pt x="47" y="21"/>
                  </a:lnTo>
                  <a:lnTo>
                    <a:pt x="47" y="23"/>
                  </a:lnTo>
                  <a:lnTo>
                    <a:pt x="47" y="21"/>
                  </a:lnTo>
                  <a:lnTo>
                    <a:pt x="48" y="21"/>
                  </a:lnTo>
                  <a:lnTo>
                    <a:pt x="48" y="19"/>
                  </a:lnTo>
                  <a:lnTo>
                    <a:pt x="50" y="21"/>
                  </a:lnTo>
                  <a:lnTo>
                    <a:pt x="48" y="19"/>
                  </a:lnTo>
                  <a:lnTo>
                    <a:pt x="50" y="19"/>
                  </a:lnTo>
                  <a:lnTo>
                    <a:pt x="50" y="17"/>
                  </a:lnTo>
                  <a:lnTo>
                    <a:pt x="50" y="19"/>
                  </a:lnTo>
                  <a:lnTo>
                    <a:pt x="52" y="19"/>
                  </a:lnTo>
                  <a:lnTo>
                    <a:pt x="52" y="17"/>
                  </a:lnTo>
                  <a:lnTo>
                    <a:pt x="50" y="17"/>
                  </a:lnTo>
                  <a:lnTo>
                    <a:pt x="52" y="17"/>
                  </a:lnTo>
                  <a:lnTo>
                    <a:pt x="52" y="19"/>
                  </a:lnTo>
                  <a:lnTo>
                    <a:pt x="52" y="17"/>
                  </a:lnTo>
                  <a:lnTo>
                    <a:pt x="52" y="19"/>
                  </a:lnTo>
                  <a:lnTo>
                    <a:pt x="52" y="17"/>
                  </a:lnTo>
                  <a:lnTo>
                    <a:pt x="52" y="19"/>
                  </a:lnTo>
                  <a:lnTo>
                    <a:pt x="52" y="17"/>
                  </a:lnTo>
                  <a:lnTo>
                    <a:pt x="52" y="19"/>
                  </a:lnTo>
                  <a:lnTo>
                    <a:pt x="52" y="17"/>
                  </a:lnTo>
                  <a:lnTo>
                    <a:pt x="52" y="19"/>
                  </a:lnTo>
                  <a:lnTo>
                    <a:pt x="52" y="17"/>
                  </a:lnTo>
                  <a:lnTo>
                    <a:pt x="54" y="17"/>
                  </a:lnTo>
                  <a:lnTo>
                    <a:pt x="54" y="16"/>
                  </a:lnTo>
                  <a:lnTo>
                    <a:pt x="54" y="17"/>
                  </a:lnTo>
                  <a:lnTo>
                    <a:pt x="54" y="16"/>
                  </a:lnTo>
                  <a:lnTo>
                    <a:pt x="56" y="14"/>
                  </a:lnTo>
                  <a:lnTo>
                    <a:pt x="54" y="14"/>
                  </a:lnTo>
                  <a:lnTo>
                    <a:pt x="56" y="14"/>
                  </a:lnTo>
                  <a:lnTo>
                    <a:pt x="54" y="14"/>
                  </a:lnTo>
                  <a:lnTo>
                    <a:pt x="56" y="14"/>
                  </a:lnTo>
                  <a:lnTo>
                    <a:pt x="54" y="14"/>
                  </a:lnTo>
                  <a:lnTo>
                    <a:pt x="56" y="14"/>
                  </a:lnTo>
                  <a:lnTo>
                    <a:pt x="54" y="14"/>
                  </a:lnTo>
                  <a:lnTo>
                    <a:pt x="56" y="14"/>
                  </a:lnTo>
                  <a:lnTo>
                    <a:pt x="56" y="16"/>
                  </a:lnTo>
                  <a:lnTo>
                    <a:pt x="56" y="14"/>
                  </a:lnTo>
                  <a:lnTo>
                    <a:pt x="56" y="16"/>
                  </a:lnTo>
                  <a:lnTo>
                    <a:pt x="56" y="14"/>
                  </a:lnTo>
                  <a:lnTo>
                    <a:pt x="56" y="12"/>
                  </a:lnTo>
                  <a:lnTo>
                    <a:pt x="56" y="14"/>
                  </a:lnTo>
                  <a:lnTo>
                    <a:pt x="56" y="12"/>
                  </a:lnTo>
                  <a:lnTo>
                    <a:pt x="56" y="14"/>
                  </a:lnTo>
                  <a:lnTo>
                    <a:pt x="56" y="12"/>
                  </a:lnTo>
                  <a:lnTo>
                    <a:pt x="58" y="12"/>
                  </a:lnTo>
                  <a:lnTo>
                    <a:pt x="56" y="12"/>
                  </a:lnTo>
                  <a:lnTo>
                    <a:pt x="58" y="12"/>
                  </a:lnTo>
                  <a:lnTo>
                    <a:pt x="56" y="12"/>
                  </a:lnTo>
                  <a:lnTo>
                    <a:pt x="58" y="12"/>
                  </a:lnTo>
                  <a:lnTo>
                    <a:pt x="58" y="10"/>
                  </a:lnTo>
                  <a:lnTo>
                    <a:pt x="58" y="12"/>
                  </a:lnTo>
                  <a:lnTo>
                    <a:pt x="58" y="10"/>
                  </a:lnTo>
                  <a:lnTo>
                    <a:pt x="58" y="12"/>
                  </a:lnTo>
                  <a:lnTo>
                    <a:pt x="58" y="10"/>
                  </a:lnTo>
                  <a:lnTo>
                    <a:pt x="58" y="12"/>
                  </a:lnTo>
                  <a:lnTo>
                    <a:pt x="58" y="10"/>
                  </a:lnTo>
                  <a:lnTo>
                    <a:pt x="60" y="10"/>
                  </a:lnTo>
                  <a:lnTo>
                    <a:pt x="58" y="10"/>
                  </a:lnTo>
                  <a:lnTo>
                    <a:pt x="60" y="10"/>
                  </a:lnTo>
                  <a:lnTo>
                    <a:pt x="58" y="10"/>
                  </a:lnTo>
                  <a:lnTo>
                    <a:pt x="60" y="10"/>
                  </a:lnTo>
                  <a:lnTo>
                    <a:pt x="58" y="10"/>
                  </a:lnTo>
                  <a:lnTo>
                    <a:pt x="60" y="10"/>
                  </a:lnTo>
                  <a:lnTo>
                    <a:pt x="58" y="10"/>
                  </a:lnTo>
                  <a:lnTo>
                    <a:pt x="60" y="10"/>
                  </a:lnTo>
                  <a:lnTo>
                    <a:pt x="58" y="10"/>
                  </a:lnTo>
                  <a:lnTo>
                    <a:pt x="60" y="10"/>
                  </a:lnTo>
                  <a:lnTo>
                    <a:pt x="60" y="8"/>
                  </a:lnTo>
                  <a:lnTo>
                    <a:pt x="60" y="10"/>
                  </a:lnTo>
                  <a:lnTo>
                    <a:pt x="60" y="8"/>
                  </a:lnTo>
                  <a:lnTo>
                    <a:pt x="62" y="8"/>
                  </a:lnTo>
                  <a:lnTo>
                    <a:pt x="64" y="8"/>
                  </a:lnTo>
                  <a:lnTo>
                    <a:pt x="62" y="8"/>
                  </a:lnTo>
                  <a:lnTo>
                    <a:pt x="64" y="8"/>
                  </a:lnTo>
                  <a:lnTo>
                    <a:pt x="62" y="8"/>
                  </a:lnTo>
                  <a:lnTo>
                    <a:pt x="64" y="6"/>
                  </a:lnTo>
                  <a:lnTo>
                    <a:pt x="66" y="6"/>
                  </a:lnTo>
                  <a:lnTo>
                    <a:pt x="64" y="6"/>
                  </a:lnTo>
                  <a:lnTo>
                    <a:pt x="66" y="6"/>
                  </a:lnTo>
                  <a:lnTo>
                    <a:pt x="66" y="4"/>
                  </a:lnTo>
                  <a:lnTo>
                    <a:pt x="66" y="6"/>
                  </a:lnTo>
                  <a:lnTo>
                    <a:pt x="66" y="4"/>
                  </a:lnTo>
                  <a:lnTo>
                    <a:pt x="68" y="4"/>
                  </a:lnTo>
                  <a:lnTo>
                    <a:pt x="66" y="4"/>
                  </a:lnTo>
                  <a:lnTo>
                    <a:pt x="66" y="2"/>
                  </a:lnTo>
                  <a:lnTo>
                    <a:pt x="68" y="2"/>
                  </a:lnTo>
                  <a:lnTo>
                    <a:pt x="68" y="4"/>
                  </a:lnTo>
                  <a:lnTo>
                    <a:pt x="68" y="2"/>
                  </a:lnTo>
                  <a:lnTo>
                    <a:pt x="66" y="2"/>
                  </a:lnTo>
                  <a:lnTo>
                    <a:pt x="68" y="2"/>
                  </a:lnTo>
                  <a:lnTo>
                    <a:pt x="66" y="2"/>
                  </a:lnTo>
                  <a:lnTo>
                    <a:pt x="68" y="2"/>
                  </a:lnTo>
                  <a:lnTo>
                    <a:pt x="68" y="0"/>
                  </a:lnTo>
                  <a:lnTo>
                    <a:pt x="68" y="2"/>
                  </a:lnTo>
                  <a:lnTo>
                    <a:pt x="70" y="2"/>
                  </a:lnTo>
                  <a:lnTo>
                    <a:pt x="68" y="2"/>
                  </a:lnTo>
                  <a:lnTo>
                    <a:pt x="68" y="4"/>
                  </a:lnTo>
                  <a:lnTo>
                    <a:pt x="70" y="4"/>
                  </a:lnTo>
                  <a:lnTo>
                    <a:pt x="68" y="4"/>
                  </a:lnTo>
                  <a:lnTo>
                    <a:pt x="68" y="6"/>
                  </a:lnTo>
                  <a:lnTo>
                    <a:pt x="68" y="8"/>
                  </a:lnTo>
                  <a:lnTo>
                    <a:pt x="70" y="8"/>
                  </a:lnTo>
                  <a:close/>
                  <a:moveTo>
                    <a:pt x="70" y="14"/>
                  </a:moveTo>
                  <a:lnTo>
                    <a:pt x="71" y="14"/>
                  </a:lnTo>
                  <a:lnTo>
                    <a:pt x="70" y="14"/>
                  </a:lnTo>
                  <a:close/>
                  <a:moveTo>
                    <a:pt x="35" y="31"/>
                  </a:moveTo>
                  <a:lnTo>
                    <a:pt x="37" y="31"/>
                  </a:lnTo>
                  <a:lnTo>
                    <a:pt x="37" y="33"/>
                  </a:lnTo>
                  <a:lnTo>
                    <a:pt x="35" y="33"/>
                  </a:lnTo>
                  <a:lnTo>
                    <a:pt x="37" y="33"/>
                  </a:lnTo>
                  <a:lnTo>
                    <a:pt x="37" y="31"/>
                  </a:lnTo>
                  <a:lnTo>
                    <a:pt x="37" y="33"/>
                  </a:lnTo>
                  <a:lnTo>
                    <a:pt x="35" y="33"/>
                  </a:lnTo>
                  <a:lnTo>
                    <a:pt x="35" y="31"/>
                  </a:lnTo>
                  <a:lnTo>
                    <a:pt x="35" y="33"/>
                  </a:lnTo>
                  <a:lnTo>
                    <a:pt x="33" y="33"/>
                  </a:lnTo>
                  <a:lnTo>
                    <a:pt x="33" y="31"/>
                  </a:lnTo>
                  <a:lnTo>
                    <a:pt x="31" y="31"/>
                  </a:lnTo>
                  <a:lnTo>
                    <a:pt x="31" y="33"/>
                  </a:lnTo>
                  <a:lnTo>
                    <a:pt x="31" y="31"/>
                  </a:lnTo>
                  <a:lnTo>
                    <a:pt x="33" y="31"/>
                  </a:lnTo>
                  <a:lnTo>
                    <a:pt x="35" y="31"/>
                  </a:lnTo>
                  <a:lnTo>
                    <a:pt x="33" y="31"/>
                  </a:lnTo>
                  <a:lnTo>
                    <a:pt x="35" y="31"/>
                  </a:lnTo>
                  <a:lnTo>
                    <a:pt x="33" y="31"/>
                  </a:lnTo>
                  <a:lnTo>
                    <a:pt x="35" y="31"/>
                  </a:lnTo>
                  <a:lnTo>
                    <a:pt x="33" y="31"/>
                  </a:lnTo>
                  <a:lnTo>
                    <a:pt x="35" y="31"/>
                  </a:lnTo>
                  <a:lnTo>
                    <a:pt x="33" y="31"/>
                  </a:lnTo>
                  <a:lnTo>
                    <a:pt x="35" y="31"/>
                  </a:lnTo>
                  <a:close/>
                  <a:moveTo>
                    <a:pt x="41" y="25"/>
                  </a:moveTo>
                  <a:lnTo>
                    <a:pt x="45" y="25"/>
                  </a:lnTo>
                  <a:lnTo>
                    <a:pt x="45" y="29"/>
                  </a:lnTo>
                  <a:lnTo>
                    <a:pt x="41" y="29"/>
                  </a:lnTo>
                  <a:lnTo>
                    <a:pt x="41" y="25"/>
                  </a:lnTo>
                  <a:close/>
                  <a:moveTo>
                    <a:pt x="16" y="29"/>
                  </a:moveTo>
                  <a:lnTo>
                    <a:pt x="18" y="29"/>
                  </a:lnTo>
                  <a:lnTo>
                    <a:pt x="18" y="31"/>
                  </a:lnTo>
                  <a:lnTo>
                    <a:pt x="16" y="31"/>
                  </a:lnTo>
                  <a:lnTo>
                    <a:pt x="16" y="29"/>
                  </a:lnTo>
                  <a:close/>
                  <a:moveTo>
                    <a:pt x="39" y="29"/>
                  </a:moveTo>
                  <a:lnTo>
                    <a:pt x="41" y="29"/>
                  </a:lnTo>
                  <a:lnTo>
                    <a:pt x="41" y="31"/>
                  </a:lnTo>
                  <a:lnTo>
                    <a:pt x="39" y="31"/>
                  </a:lnTo>
                  <a:lnTo>
                    <a:pt x="39" y="29"/>
                  </a:lnTo>
                  <a:close/>
                  <a:moveTo>
                    <a:pt x="43" y="25"/>
                  </a:moveTo>
                  <a:lnTo>
                    <a:pt x="45" y="25"/>
                  </a:lnTo>
                  <a:lnTo>
                    <a:pt x="45" y="27"/>
                  </a:lnTo>
                  <a:lnTo>
                    <a:pt x="43" y="27"/>
                  </a:lnTo>
                  <a:lnTo>
                    <a:pt x="43" y="25"/>
                  </a:lnTo>
                  <a:close/>
                  <a:moveTo>
                    <a:pt x="23" y="31"/>
                  </a:moveTo>
                  <a:lnTo>
                    <a:pt x="25" y="31"/>
                  </a:lnTo>
                  <a:lnTo>
                    <a:pt x="25" y="33"/>
                  </a:lnTo>
                  <a:lnTo>
                    <a:pt x="23" y="33"/>
                  </a:lnTo>
                  <a:lnTo>
                    <a:pt x="23" y="31"/>
                  </a:lnTo>
                  <a:close/>
                  <a:moveTo>
                    <a:pt x="12" y="25"/>
                  </a:moveTo>
                  <a:lnTo>
                    <a:pt x="12" y="27"/>
                  </a:lnTo>
                  <a:lnTo>
                    <a:pt x="12" y="25"/>
                  </a:lnTo>
                  <a:close/>
                  <a:moveTo>
                    <a:pt x="25" y="29"/>
                  </a:moveTo>
                  <a:lnTo>
                    <a:pt x="27" y="29"/>
                  </a:lnTo>
                  <a:lnTo>
                    <a:pt x="27" y="31"/>
                  </a:lnTo>
                  <a:lnTo>
                    <a:pt x="25" y="31"/>
                  </a:lnTo>
                  <a:lnTo>
                    <a:pt x="25" y="29"/>
                  </a:lnTo>
                  <a:close/>
                  <a:moveTo>
                    <a:pt x="41" y="27"/>
                  </a:moveTo>
                  <a:lnTo>
                    <a:pt x="43" y="27"/>
                  </a:lnTo>
                  <a:lnTo>
                    <a:pt x="43" y="29"/>
                  </a:lnTo>
                  <a:lnTo>
                    <a:pt x="41" y="29"/>
                  </a:lnTo>
                  <a:lnTo>
                    <a:pt x="41" y="27"/>
                  </a:lnTo>
                  <a:close/>
                  <a:moveTo>
                    <a:pt x="43" y="25"/>
                  </a:moveTo>
                  <a:lnTo>
                    <a:pt x="45" y="25"/>
                  </a:lnTo>
                  <a:lnTo>
                    <a:pt x="45" y="27"/>
                  </a:lnTo>
                  <a:lnTo>
                    <a:pt x="43" y="27"/>
                  </a:lnTo>
                  <a:lnTo>
                    <a:pt x="43" y="25"/>
                  </a:lnTo>
                  <a:close/>
                  <a:moveTo>
                    <a:pt x="45" y="25"/>
                  </a:moveTo>
                  <a:lnTo>
                    <a:pt x="47" y="25"/>
                  </a:lnTo>
                  <a:lnTo>
                    <a:pt x="47" y="27"/>
                  </a:lnTo>
                  <a:lnTo>
                    <a:pt x="45" y="27"/>
                  </a:lnTo>
                  <a:lnTo>
                    <a:pt x="45" y="25"/>
                  </a:lnTo>
                  <a:close/>
                  <a:moveTo>
                    <a:pt x="43" y="27"/>
                  </a:moveTo>
                  <a:lnTo>
                    <a:pt x="43" y="29"/>
                  </a:lnTo>
                  <a:lnTo>
                    <a:pt x="43" y="27"/>
                  </a:lnTo>
                  <a:close/>
                  <a:moveTo>
                    <a:pt x="39" y="27"/>
                  </a:moveTo>
                  <a:lnTo>
                    <a:pt x="41" y="27"/>
                  </a:lnTo>
                  <a:lnTo>
                    <a:pt x="41" y="29"/>
                  </a:lnTo>
                  <a:lnTo>
                    <a:pt x="39" y="29"/>
                  </a:lnTo>
                  <a:lnTo>
                    <a:pt x="39" y="27"/>
                  </a:lnTo>
                  <a:close/>
                  <a:moveTo>
                    <a:pt x="41" y="27"/>
                  </a:moveTo>
                  <a:lnTo>
                    <a:pt x="43" y="27"/>
                  </a:lnTo>
                  <a:lnTo>
                    <a:pt x="43" y="29"/>
                  </a:lnTo>
                  <a:lnTo>
                    <a:pt x="41" y="29"/>
                  </a:lnTo>
                  <a:lnTo>
                    <a:pt x="41" y="27"/>
                  </a:lnTo>
                  <a:close/>
                  <a:moveTo>
                    <a:pt x="39" y="14"/>
                  </a:moveTo>
                  <a:lnTo>
                    <a:pt x="41" y="14"/>
                  </a:lnTo>
                  <a:lnTo>
                    <a:pt x="41" y="16"/>
                  </a:lnTo>
                  <a:lnTo>
                    <a:pt x="39" y="16"/>
                  </a:lnTo>
                  <a:lnTo>
                    <a:pt x="39" y="14"/>
                  </a:lnTo>
                  <a:close/>
                  <a:moveTo>
                    <a:pt x="45" y="23"/>
                  </a:moveTo>
                  <a:lnTo>
                    <a:pt x="47" y="23"/>
                  </a:lnTo>
                  <a:lnTo>
                    <a:pt x="47" y="25"/>
                  </a:lnTo>
                  <a:lnTo>
                    <a:pt x="45" y="25"/>
                  </a:lnTo>
                  <a:lnTo>
                    <a:pt x="45" y="23"/>
                  </a:lnTo>
                  <a:close/>
                  <a:moveTo>
                    <a:pt x="60" y="8"/>
                  </a:moveTo>
                  <a:lnTo>
                    <a:pt x="62" y="8"/>
                  </a:lnTo>
                  <a:lnTo>
                    <a:pt x="62" y="10"/>
                  </a:lnTo>
                  <a:lnTo>
                    <a:pt x="60" y="10"/>
                  </a:lnTo>
                  <a:lnTo>
                    <a:pt x="60" y="8"/>
                  </a:lnTo>
                  <a:close/>
                  <a:moveTo>
                    <a:pt x="27" y="31"/>
                  </a:moveTo>
                  <a:lnTo>
                    <a:pt x="29" y="31"/>
                  </a:lnTo>
                  <a:lnTo>
                    <a:pt x="27" y="31"/>
                  </a:lnTo>
                  <a:close/>
                  <a:moveTo>
                    <a:pt x="23" y="19"/>
                  </a:moveTo>
                  <a:lnTo>
                    <a:pt x="23" y="21"/>
                  </a:lnTo>
                  <a:lnTo>
                    <a:pt x="23" y="19"/>
                  </a:lnTo>
                  <a:close/>
                  <a:moveTo>
                    <a:pt x="54" y="14"/>
                  </a:moveTo>
                  <a:lnTo>
                    <a:pt x="54" y="16"/>
                  </a:lnTo>
                  <a:lnTo>
                    <a:pt x="54" y="14"/>
                  </a:lnTo>
                  <a:close/>
                  <a:moveTo>
                    <a:pt x="45" y="23"/>
                  </a:moveTo>
                  <a:lnTo>
                    <a:pt x="45" y="25"/>
                  </a:lnTo>
                  <a:lnTo>
                    <a:pt x="45" y="23"/>
                  </a:lnTo>
                  <a:close/>
                  <a:moveTo>
                    <a:pt x="50" y="17"/>
                  </a:moveTo>
                  <a:lnTo>
                    <a:pt x="52" y="17"/>
                  </a:lnTo>
                  <a:lnTo>
                    <a:pt x="52" y="19"/>
                  </a:lnTo>
                  <a:lnTo>
                    <a:pt x="50" y="19"/>
                  </a:lnTo>
                  <a:lnTo>
                    <a:pt x="50" y="17"/>
                  </a:lnTo>
                  <a:close/>
                  <a:moveTo>
                    <a:pt x="52" y="16"/>
                  </a:moveTo>
                  <a:lnTo>
                    <a:pt x="54" y="16"/>
                  </a:lnTo>
                  <a:lnTo>
                    <a:pt x="54" y="17"/>
                  </a:lnTo>
                  <a:lnTo>
                    <a:pt x="52" y="17"/>
                  </a:lnTo>
                  <a:lnTo>
                    <a:pt x="52" y="16"/>
                  </a:lnTo>
                  <a:close/>
                  <a:moveTo>
                    <a:pt x="41" y="25"/>
                  </a:moveTo>
                  <a:lnTo>
                    <a:pt x="43" y="25"/>
                  </a:lnTo>
                  <a:lnTo>
                    <a:pt x="43" y="27"/>
                  </a:lnTo>
                  <a:lnTo>
                    <a:pt x="41" y="27"/>
                  </a:lnTo>
                  <a:lnTo>
                    <a:pt x="41" y="25"/>
                  </a:lnTo>
                  <a:close/>
                  <a:moveTo>
                    <a:pt x="41" y="31"/>
                  </a:moveTo>
                  <a:lnTo>
                    <a:pt x="43" y="31"/>
                  </a:lnTo>
                  <a:lnTo>
                    <a:pt x="41" y="31"/>
                  </a:lnTo>
                  <a:close/>
                  <a:moveTo>
                    <a:pt x="43" y="27"/>
                  </a:moveTo>
                  <a:lnTo>
                    <a:pt x="45" y="27"/>
                  </a:lnTo>
                  <a:lnTo>
                    <a:pt x="43" y="27"/>
                  </a:lnTo>
                  <a:close/>
                  <a:moveTo>
                    <a:pt x="2" y="25"/>
                  </a:moveTo>
                  <a:lnTo>
                    <a:pt x="4" y="25"/>
                  </a:lnTo>
                  <a:lnTo>
                    <a:pt x="2" y="25"/>
                  </a:lnTo>
                  <a:close/>
                  <a:moveTo>
                    <a:pt x="45" y="23"/>
                  </a:moveTo>
                  <a:lnTo>
                    <a:pt x="47" y="23"/>
                  </a:lnTo>
                  <a:lnTo>
                    <a:pt x="45" y="23"/>
                  </a:lnTo>
                  <a:close/>
                  <a:moveTo>
                    <a:pt x="27" y="25"/>
                  </a:moveTo>
                  <a:lnTo>
                    <a:pt x="27" y="27"/>
                  </a:lnTo>
                  <a:lnTo>
                    <a:pt x="27" y="25"/>
                  </a:lnTo>
                  <a:close/>
                  <a:moveTo>
                    <a:pt x="47" y="21"/>
                  </a:moveTo>
                  <a:lnTo>
                    <a:pt x="48" y="21"/>
                  </a:lnTo>
                  <a:lnTo>
                    <a:pt x="47" y="21"/>
                  </a:lnTo>
                  <a:close/>
                  <a:moveTo>
                    <a:pt x="52" y="16"/>
                  </a:moveTo>
                  <a:lnTo>
                    <a:pt x="54" y="16"/>
                  </a:lnTo>
                  <a:lnTo>
                    <a:pt x="54" y="17"/>
                  </a:lnTo>
                  <a:lnTo>
                    <a:pt x="52" y="17"/>
                  </a:lnTo>
                  <a:lnTo>
                    <a:pt x="52" y="16"/>
                  </a:lnTo>
                  <a:close/>
                  <a:moveTo>
                    <a:pt x="43" y="29"/>
                  </a:moveTo>
                  <a:lnTo>
                    <a:pt x="43" y="31"/>
                  </a:lnTo>
                  <a:lnTo>
                    <a:pt x="43" y="29"/>
                  </a:lnTo>
                  <a:close/>
                  <a:moveTo>
                    <a:pt x="35" y="31"/>
                  </a:moveTo>
                  <a:lnTo>
                    <a:pt x="35" y="33"/>
                  </a:lnTo>
                  <a:lnTo>
                    <a:pt x="35" y="31"/>
                  </a:lnTo>
                  <a:close/>
                  <a:moveTo>
                    <a:pt x="54" y="14"/>
                  </a:moveTo>
                  <a:lnTo>
                    <a:pt x="54" y="16"/>
                  </a:lnTo>
                  <a:lnTo>
                    <a:pt x="54" y="14"/>
                  </a:lnTo>
                  <a:close/>
                  <a:moveTo>
                    <a:pt x="54" y="12"/>
                  </a:moveTo>
                  <a:lnTo>
                    <a:pt x="54" y="14"/>
                  </a:lnTo>
                  <a:lnTo>
                    <a:pt x="54" y="12"/>
                  </a:lnTo>
                  <a:close/>
                  <a:moveTo>
                    <a:pt x="33" y="29"/>
                  </a:moveTo>
                  <a:lnTo>
                    <a:pt x="35" y="29"/>
                  </a:lnTo>
                  <a:lnTo>
                    <a:pt x="35" y="31"/>
                  </a:lnTo>
                  <a:lnTo>
                    <a:pt x="33" y="31"/>
                  </a:lnTo>
                  <a:lnTo>
                    <a:pt x="33" y="29"/>
                  </a:lnTo>
                  <a:close/>
                  <a:moveTo>
                    <a:pt x="43" y="29"/>
                  </a:moveTo>
                  <a:lnTo>
                    <a:pt x="45" y="29"/>
                  </a:lnTo>
                  <a:lnTo>
                    <a:pt x="43" y="29"/>
                  </a:lnTo>
                  <a:close/>
                  <a:moveTo>
                    <a:pt x="60" y="8"/>
                  </a:moveTo>
                  <a:lnTo>
                    <a:pt x="60" y="10"/>
                  </a:lnTo>
                  <a:lnTo>
                    <a:pt x="60" y="8"/>
                  </a:lnTo>
                  <a:close/>
                  <a:moveTo>
                    <a:pt x="41" y="27"/>
                  </a:moveTo>
                  <a:lnTo>
                    <a:pt x="43" y="27"/>
                  </a:lnTo>
                  <a:lnTo>
                    <a:pt x="43" y="29"/>
                  </a:lnTo>
                  <a:lnTo>
                    <a:pt x="41" y="29"/>
                  </a:lnTo>
                  <a:lnTo>
                    <a:pt x="41" y="27"/>
                  </a:lnTo>
                  <a:close/>
                  <a:moveTo>
                    <a:pt x="52" y="17"/>
                  </a:moveTo>
                  <a:lnTo>
                    <a:pt x="54" y="17"/>
                  </a:lnTo>
                  <a:lnTo>
                    <a:pt x="52" y="17"/>
                  </a:lnTo>
                  <a:close/>
                  <a:moveTo>
                    <a:pt x="47" y="21"/>
                  </a:moveTo>
                  <a:lnTo>
                    <a:pt x="48" y="21"/>
                  </a:lnTo>
                  <a:lnTo>
                    <a:pt x="47" y="21"/>
                  </a:lnTo>
                  <a:close/>
                  <a:moveTo>
                    <a:pt x="39" y="27"/>
                  </a:moveTo>
                  <a:lnTo>
                    <a:pt x="41" y="27"/>
                  </a:lnTo>
                  <a:lnTo>
                    <a:pt x="41" y="29"/>
                  </a:lnTo>
                  <a:lnTo>
                    <a:pt x="39" y="29"/>
                  </a:lnTo>
                  <a:lnTo>
                    <a:pt x="39" y="27"/>
                  </a:lnTo>
                  <a:close/>
                  <a:moveTo>
                    <a:pt x="43" y="25"/>
                  </a:moveTo>
                  <a:lnTo>
                    <a:pt x="45" y="25"/>
                  </a:lnTo>
                  <a:lnTo>
                    <a:pt x="43" y="25"/>
                  </a:lnTo>
                  <a:close/>
                  <a:moveTo>
                    <a:pt x="16" y="29"/>
                  </a:moveTo>
                  <a:lnTo>
                    <a:pt x="18" y="29"/>
                  </a:lnTo>
                  <a:lnTo>
                    <a:pt x="16" y="29"/>
                  </a:lnTo>
                  <a:close/>
                  <a:moveTo>
                    <a:pt x="18" y="29"/>
                  </a:moveTo>
                  <a:lnTo>
                    <a:pt x="20" y="29"/>
                  </a:lnTo>
                  <a:lnTo>
                    <a:pt x="18" y="29"/>
                  </a:lnTo>
                  <a:close/>
                  <a:moveTo>
                    <a:pt x="41" y="29"/>
                  </a:moveTo>
                  <a:lnTo>
                    <a:pt x="43" y="29"/>
                  </a:lnTo>
                  <a:lnTo>
                    <a:pt x="41" y="29"/>
                  </a:lnTo>
                  <a:close/>
                  <a:moveTo>
                    <a:pt x="43" y="27"/>
                  </a:moveTo>
                  <a:lnTo>
                    <a:pt x="45" y="27"/>
                  </a:lnTo>
                  <a:lnTo>
                    <a:pt x="43" y="27"/>
                  </a:lnTo>
                  <a:close/>
                  <a:moveTo>
                    <a:pt x="0" y="27"/>
                  </a:moveTo>
                  <a:lnTo>
                    <a:pt x="0" y="29"/>
                  </a:lnTo>
                  <a:lnTo>
                    <a:pt x="0" y="27"/>
                  </a:lnTo>
                  <a:close/>
                  <a:moveTo>
                    <a:pt x="41" y="27"/>
                  </a:moveTo>
                  <a:lnTo>
                    <a:pt x="41" y="29"/>
                  </a:lnTo>
                  <a:lnTo>
                    <a:pt x="41" y="27"/>
                  </a:lnTo>
                  <a:close/>
                  <a:moveTo>
                    <a:pt x="39" y="29"/>
                  </a:moveTo>
                  <a:lnTo>
                    <a:pt x="41" y="29"/>
                  </a:lnTo>
                  <a:lnTo>
                    <a:pt x="39" y="29"/>
                  </a:lnTo>
                  <a:close/>
                  <a:moveTo>
                    <a:pt x="43" y="25"/>
                  </a:moveTo>
                  <a:lnTo>
                    <a:pt x="45" y="25"/>
                  </a:lnTo>
                  <a:lnTo>
                    <a:pt x="43" y="25"/>
                  </a:lnTo>
                  <a:close/>
                  <a:moveTo>
                    <a:pt x="8" y="31"/>
                  </a:moveTo>
                  <a:lnTo>
                    <a:pt x="8" y="33"/>
                  </a:lnTo>
                  <a:lnTo>
                    <a:pt x="8" y="31"/>
                  </a:lnTo>
                  <a:close/>
                  <a:moveTo>
                    <a:pt x="22" y="31"/>
                  </a:moveTo>
                  <a:lnTo>
                    <a:pt x="22" y="33"/>
                  </a:lnTo>
                  <a:lnTo>
                    <a:pt x="22" y="31"/>
                  </a:lnTo>
                  <a:close/>
                  <a:moveTo>
                    <a:pt x="54" y="16"/>
                  </a:moveTo>
                  <a:lnTo>
                    <a:pt x="54" y="17"/>
                  </a:lnTo>
                  <a:lnTo>
                    <a:pt x="54" y="16"/>
                  </a:lnTo>
                  <a:close/>
                  <a:moveTo>
                    <a:pt x="4" y="25"/>
                  </a:moveTo>
                  <a:lnTo>
                    <a:pt x="4" y="27"/>
                  </a:lnTo>
                  <a:lnTo>
                    <a:pt x="4" y="25"/>
                  </a:lnTo>
                  <a:close/>
                  <a:moveTo>
                    <a:pt x="54" y="14"/>
                  </a:moveTo>
                  <a:lnTo>
                    <a:pt x="54" y="16"/>
                  </a:lnTo>
                  <a:lnTo>
                    <a:pt x="54" y="14"/>
                  </a:lnTo>
                  <a:close/>
                  <a:moveTo>
                    <a:pt x="43" y="25"/>
                  </a:moveTo>
                  <a:lnTo>
                    <a:pt x="43" y="27"/>
                  </a:lnTo>
                  <a:lnTo>
                    <a:pt x="43" y="25"/>
                  </a:lnTo>
                  <a:close/>
                  <a:moveTo>
                    <a:pt x="54" y="14"/>
                  </a:moveTo>
                  <a:lnTo>
                    <a:pt x="54" y="16"/>
                  </a:lnTo>
                  <a:lnTo>
                    <a:pt x="54" y="14"/>
                  </a:lnTo>
                  <a:close/>
                  <a:moveTo>
                    <a:pt x="41" y="27"/>
                  </a:moveTo>
                  <a:lnTo>
                    <a:pt x="43" y="27"/>
                  </a:lnTo>
                  <a:lnTo>
                    <a:pt x="41" y="27"/>
                  </a:lnTo>
                  <a:close/>
                </a:path>
              </a:pathLst>
            </a:custGeom>
            <a:solidFill>
              <a:schemeClr val="accent1">
                <a:lumMod val="40000"/>
                <a:lumOff val="60000"/>
              </a:schemeClr>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332">
              <a:extLst>
                <a:ext uri="{FF2B5EF4-FFF2-40B4-BE49-F238E27FC236}">
                  <a16:creationId xmlns:a16="http://schemas.microsoft.com/office/drawing/2014/main" id="{C289A2A9-DDF3-4981-93C3-BC2A47D71411}"/>
                </a:ext>
              </a:extLst>
            </p:cNvPr>
            <p:cNvSpPr>
              <a:spLocks noEditPoints="1"/>
            </p:cNvSpPr>
            <p:nvPr/>
          </p:nvSpPr>
          <p:spPr bwMode="gray">
            <a:xfrm>
              <a:off x="4119460" y="3878442"/>
              <a:ext cx="15943" cy="35565"/>
            </a:xfrm>
            <a:custGeom>
              <a:avLst/>
              <a:gdLst>
                <a:gd name="T0" fmla="*/ 6 w 13"/>
                <a:gd name="T1" fmla="*/ 29 h 29"/>
                <a:gd name="T2" fmla="*/ 4 w 13"/>
                <a:gd name="T3" fmla="*/ 27 h 29"/>
                <a:gd name="T4" fmla="*/ 2 w 13"/>
                <a:gd name="T5" fmla="*/ 25 h 29"/>
                <a:gd name="T6" fmla="*/ 2 w 13"/>
                <a:gd name="T7" fmla="*/ 21 h 29"/>
                <a:gd name="T8" fmla="*/ 0 w 13"/>
                <a:gd name="T9" fmla="*/ 19 h 29"/>
                <a:gd name="T10" fmla="*/ 0 w 13"/>
                <a:gd name="T11" fmla="*/ 19 h 29"/>
                <a:gd name="T12" fmla="*/ 0 w 13"/>
                <a:gd name="T13" fmla="*/ 19 h 29"/>
                <a:gd name="T14" fmla="*/ 0 w 13"/>
                <a:gd name="T15" fmla="*/ 19 h 29"/>
                <a:gd name="T16" fmla="*/ 0 w 13"/>
                <a:gd name="T17" fmla="*/ 16 h 29"/>
                <a:gd name="T18" fmla="*/ 0 w 13"/>
                <a:gd name="T19" fmla="*/ 12 h 29"/>
                <a:gd name="T20" fmla="*/ 2 w 13"/>
                <a:gd name="T21" fmla="*/ 14 h 29"/>
                <a:gd name="T22" fmla="*/ 2 w 13"/>
                <a:gd name="T23" fmla="*/ 10 h 29"/>
                <a:gd name="T24" fmla="*/ 2 w 13"/>
                <a:gd name="T25" fmla="*/ 10 h 29"/>
                <a:gd name="T26" fmla="*/ 2 w 13"/>
                <a:gd name="T27" fmla="*/ 10 h 29"/>
                <a:gd name="T28" fmla="*/ 2 w 13"/>
                <a:gd name="T29" fmla="*/ 10 h 29"/>
                <a:gd name="T30" fmla="*/ 4 w 13"/>
                <a:gd name="T31" fmla="*/ 8 h 29"/>
                <a:gd name="T32" fmla="*/ 4 w 13"/>
                <a:gd name="T33" fmla="*/ 4 h 29"/>
                <a:gd name="T34" fmla="*/ 6 w 13"/>
                <a:gd name="T35" fmla="*/ 2 h 29"/>
                <a:gd name="T36" fmla="*/ 10 w 13"/>
                <a:gd name="T37" fmla="*/ 2 h 29"/>
                <a:gd name="T38" fmla="*/ 11 w 13"/>
                <a:gd name="T39" fmla="*/ 4 h 29"/>
                <a:gd name="T40" fmla="*/ 13 w 13"/>
                <a:gd name="T41" fmla="*/ 6 h 29"/>
                <a:gd name="T42" fmla="*/ 13 w 13"/>
                <a:gd name="T43" fmla="*/ 6 h 29"/>
                <a:gd name="T44" fmla="*/ 13 w 13"/>
                <a:gd name="T45" fmla="*/ 6 h 29"/>
                <a:gd name="T46" fmla="*/ 13 w 13"/>
                <a:gd name="T47" fmla="*/ 6 h 29"/>
                <a:gd name="T48" fmla="*/ 13 w 13"/>
                <a:gd name="T49" fmla="*/ 6 h 29"/>
                <a:gd name="T50" fmla="*/ 11 w 13"/>
                <a:gd name="T51" fmla="*/ 8 h 29"/>
                <a:gd name="T52" fmla="*/ 13 w 13"/>
                <a:gd name="T53" fmla="*/ 10 h 29"/>
                <a:gd name="T54" fmla="*/ 11 w 13"/>
                <a:gd name="T55" fmla="*/ 8 h 29"/>
                <a:gd name="T56" fmla="*/ 11 w 13"/>
                <a:gd name="T57" fmla="*/ 12 h 29"/>
                <a:gd name="T58" fmla="*/ 11 w 13"/>
                <a:gd name="T59" fmla="*/ 16 h 29"/>
                <a:gd name="T60" fmla="*/ 13 w 13"/>
                <a:gd name="T61" fmla="*/ 18 h 29"/>
                <a:gd name="T62" fmla="*/ 13 w 13"/>
                <a:gd name="T63" fmla="*/ 21 h 29"/>
                <a:gd name="T64" fmla="*/ 13 w 13"/>
                <a:gd name="T65" fmla="*/ 21 h 29"/>
                <a:gd name="T66" fmla="*/ 11 w 13"/>
                <a:gd name="T67" fmla="*/ 23 h 29"/>
                <a:gd name="T68" fmla="*/ 10 w 13"/>
                <a:gd name="T69" fmla="*/ 25 h 29"/>
                <a:gd name="T70" fmla="*/ 10 w 13"/>
                <a:gd name="T71" fmla="*/ 25 h 29"/>
                <a:gd name="T72" fmla="*/ 10 w 13"/>
                <a:gd name="T73" fmla="*/ 25 h 29"/>
                <a:gd name="T74" fmla="*/ 8 w 13"/>
                <a:gd name="T75" fmla="*/ 27 h 29"/>
                <a:gd name="T76" fmla="*/ 8 w 13"/>
                <a:gd name="T77" fmla="*/ 27 h 29"/>
                <a:gd name="T78" fmla="*/ 10 w 13"/>
                <a:gd name="T79" fmla="*/ 25 h 29"/>
                <a:gd name="T80" fmla="*/ 10 w 13"/>
                <a:gd name="T81" fmla="*/ 25 h 29"/>
                <a:gd name="T82" fmla="*/ 8 w 13"/>
                <a:gd name="T83" fmla="*/ 2 h 29"/>
                <a:gd name="T84" fmla="*/ 11 w 13"/>
                <a:gd name="T85" fmla="*/ 8 h 29"/>
                <a:gd name="T86" fmla="*/ 11 w 13"/>
                <a:gd name="T87" fmla="*/ 8 h 29"/>
                <a:gd name="T88" fmla="*/ 13 w 13"/>
                <a:gd name="T89" fmla="*/ 8 h 29"/>
                <a:gd name="T90" fmla="*/ 11 w 13"/>
                <a:gd name="T91" fmla="*/ 8 h 29"/>
                <a:gd name="T92" fmla="*/ 11 w 13"/>
                <a:gd name="T93"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 h="29">
                  <a:moveTo>
                    <a:pt x="8" y="29"/>
                  </a:moveTo>
                  <a:lnTo>
                    <a:pt x="6" y="29"/>
                  </a:lnTo>
                  <a:lnTo>
                    <a:pt x="4" y="29"/>
                  </a:lnTo>
                  <a:lnTo>
                    <a:pt x="4" y="27"/>
                  </a:lnTo>
                  <a:lnTo>
                    <a:pt x="2" y="27"/>
                  </a:lnTo>
                  <a:lnTo>
                    <a:pt x="2" y="25"/>
                  </a:lnTo>
                  <a:lnTo>
                    <a:pt x="2" y="23"/>
                  </a:lnTo>
                  <a:lnTo>
                    <a:pt x="2" y="21"/>
                  </a:lnTo>
                  <a:lnTo>
                    <a:pt x="0" y="21"/>
                  </a:lnTo>
                  <a:lnTo>
                    <a:pt x="0" y="19"/>
                  </a:lnTo>
                  <a:lnTo>
                    <a:pt x="2" y="19"/>
                  </a:lnTo>
                  <a:lnTo>
                    <a:pt x="0" y="19"/>
                  </a:lnTo>
                  <a:lnTo>
                    <a:pt x="2" y="19"/>
                  </a:lnTo>
                  <a:lnTo>
                    <a:pt x="0" y="19"/>
                  </a:lnTo>
                  <a:lnTo>
                    <a:pt x="2" y="19"/>
                  </a:lnTo>
                  <a:lnTo>
                    <a:pt x="0" y="19"/>
                  </a:lnTo>
                  <a:lnTo>
                    <a:pt x="0" y="18"/>
                  </a:lnTo>
                  <a:lnTo>
                    <a:pt x="0" y="16"/>
                  </a:lnTo>
                  <a:lnTo>
                    <a:pt x="0" y="14"/>
                  </a:lnTo>
                  <a:lnTo>
                    <a:pt x="0" y="12"/>
                  </a:lnTo>
                  <a:lnTo>
                    <a:pt x="2" y="12"/>
                  </a:lnTo>
                  <a:lnTo>
                    <a:pt x="2" y="14"/>
                  </a:lnTo>
                  <a:lnTo>
                    <a:pt x="2" y="12"/>
                  </a:lnTo>
                  <a:lnTo>
                    <a:pt x="2" y="10"/>
                  </a:lnTo>
                  <a:lnTo>
                    <a:pt x="0" y="10"/>
                  </a:lnTo>
                  <a:lnTo>
                    <a:pt x="2" y="10"/>
                  </a:lnTo>
                  <a:lnTo>
                    <a:pt x="2" y="12"/>
                  </a:lnTo>
                  <a:lnTo>
                    <a:pt x="2" y="10"/>
                  </a:lnTo>
                  <a:lnTo>
                    <a:pt x="4" y="10"/>
                  </a:lnTo>
                  <a:lnTo>
                    <a:pt x="2" y="10"/>
                  </a:lnTo>
                  <a:lnTo>
                    <a:pt x="2" y="8"/>
                  </a:lnTo>
                  <a:lnTo>
                    <a:pt x="4" y="8"/>
                  </a:lnTo>
                  <a:lnTo>
                    <a:pt x="4" y="6"/>
                  </a:lnTo>
                  <a:lnTo>
                    <a:pt x="4" y="4"/>
                  </a:lnTo>
                  <a:lnTo>
                    <a:pt x="6" y="4"/>
                  </a:lnTo>
                  <a:lnTo>
                    <a:pt x="6" y="2"/>
                  </a:lnTo>
                  <a:lnTo>
                    <a:pt x="8" y="2"/>
                  </a:lnTo>
                  <a:lnTo>
                    <a:pt x="10" y="2"/>
                  </a:lnTo>
                  <a:lnTo>
                    <a:pt x="10" y="4"/>
                  </a:lnTo>
                  <a:lnTo>
                    <a:pt x="11" y="4"/>
                  </a:lnTo>
                  <a:lnTo>
                    <a:pt x="11" y="6"/>
                  </a:lnTo>
                  <a:lnTo>
                    <a:pt x="13" y="6"/>
                  </a:lnTo>
                  <a:lnTo>
                    <a:pt x="13" y="4"/>
                  </a:lnTo>
                  <a:lnTo>
                    <a:pt x="13" y="6"/>
                  </a:lnTo>
                  <a:lnTo>
                    <a:pt x="11" y="6"/>
                  </a:lnTo>
                  <a:lnTo>
                    <a:pt x="13" y="6"/>
                  </a:lnTo>
                  <a:lnTo>
                    <a:pt x="11" y="6"/>
                  </a:lnTo>
                  <a:lnTo>
                    <a:pt x="13" y="6"/>
                  </a:lnTo>
                  <a:lnTo>
                    <a:pt x="11" y="6"/>
                  </a:lnTo>
                  <a:lnTo>
                    <a:pt x="13" y="6"/>
                  </a:lnTo>
                  <a:lnTo>
                    <a:pt x="13" y="8"/>
                  </a:lnTo>
                  <a:lnTo>
                    <a:pt x="11" y="8"/>
                  </a:lnTo>
                  <a:lnTo>
                    <a:pt x="13" y="8"/>
                  </a:lnTo>
                  <a:lnTo>
                    <a:pt x="13" y="10"/>
                  </a:lnTo>
                  <a:lnTo>
                    <a:pt x="11" y="10"/>
                  </a:lnTo>
                  <a:lnTo>
                    <a:pt x="11" y="8"/>
                  </a:lnTo>
                  <a:lnTo>
                    <a:pt x="11" y="10"/>
                  </a:lnTo>
                  <a:lnTo>
                    <a:pt x="11" y="12"/>
                  </a:lnTo>
                  <a:lnTo>
                    <a:pt x="11" y="14"/>
                  </a:lnTo>
                  <a:lnTo>
                    <a:pt x="11" y="16"/>
                  </a:lnTo>
                  <a:lnTo>
                    <a:pt x="13" y="16"/>
                  </a:lnTo>
                  <a:lnTo>
                    <a:pt x="13" y="18"/>
                  </a:lnTo>
                  <a:lnTo>
                    <a:pt x="13" y="19"/>
                  </a:lnTo>
                  <a:lnTo>
                    <a:pt x="13" y="21"/>
                  </a:lnTo>
                  <a:lnTo>
                    <a:pt x="11" y="21"/>
                  </a:lnTo>
                  <a:lnTo>
                    <a:pt x="13" y="21"/>
                  </a:lnTo>
                  <a:lnTo>
                    <a:pt x="11" y="21"/>
                  </a:lnTo>
                  <a:lnTo>
                    <a:pt x="11" y="23"/>
                  </a:lnTo>
                  <a:lnTo>
                    <a:pt x="11" y="25"/>
                  </a:lnTo>
                  <a:lnTo>
                    <a:pt x="10" y="25"/>
                  </a:lnTo>
                  <a:lnTo>
                    <a:pt x="10" y="27"/>
                  </a:lnTo>
                  <a:lnTo>
                    <a:pt x="10" y="25"/>
                  </a:lnTo>
                  <a:lnTo>
                    <a:pt x="8" y="25"/>
                  </a:lnTo>
                  <a:lnTo>
                    <a:pt x="10" y="25"/>
                  </a:lnTo>
                  <a:lnTo>
                    <a:pt x="8" y="25"/>
                  </a:lnTo>
                  <a:lnTo>
                    <a:pt x="8" y="27"/>
                  </a:lnTo>
                  <a:lnTo>
                    <a:pt x="8" y="25"/>
                  </a:lnTo>
                  <a:lnTo>
                    <a:pt x="8" y="27"/>
                  </a:lnTo>
                  <a:lnTo>
                    <a:pt x="8" y="29"/>
                  </a:lnTo>
                  <a:close/>
                  <a:moveTo>
                    <a:pt x="10" y="25"/>
                  </a:moveTo>
                  <a:lnTo>
                    <a:pt x="10" y="27"/>
                  </a:lnTo>
                  <a:lnTo>
                    <a:pt x="10" y="25"/>
                  </a:lnTo>
                  <a:close/>
                  <a:moveTo>
                    <a:pt x="8" y="0"/>
                  </a:moveTo>
                  <a:lnTo>
                    <a:pt x="8" y="2"/>
                  </a:lnTo>
                  <a:lnTo>
                    <a:pt x="8" y="0"/>
                  </a:lnTo>
                  <a:close/>
                  <a:moveTo>
                    <a:pt x="11" y="8"/>
                  </a:moveTo>
                  <a:lnTo>
                    <a:pt x="13" y="8"/>
                  </a:lnTo>
                  <a:lnTo>
                    <a:pt x="11" y="8"/>
                  </a:lnTo>
                  <a:close/>
                  <a:moveTo>
                    <a:pt x="11" y="8"/>
                  </a:moveTo>
                  <a:lnTo>
                    <a:pt x="13" y="8"/>
                  </a:lnTo>
                  <a:lnTo>
                    <a:pt x="11" y="8"/>
                  </a:lnTo>
                  <a:close/>
                  <a:moveTo>
                    <a:pt x="11" y="8"/>
                  </a:moveTo>
                  <a:lnTo>
                    <a:pt x="13" y="8"/>
                  </a:lnTo>
                  <a:lnTo>
                    <a:pt x="11" y="8"/>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333">
              <a:extLst>
                <a:ext uri="{FF2B5EF4-FFF2-40B4-BE49-F238E27FC236}">
                  <a16:creationId xmlns:a16="http://schemas.microsoft.com/office/drawing/2014/main" id="{F8E7E005-52BB-4B09-9AB0-B28C30C6A7EA}"/>
                </a:ext>
              </a:extLst>
            </p:cNvPr>
            <p:cNvSpPr>
              <a:spLocks noEditPoints="1"/>
            </p:cNvSpPr>
            <p:nvPr/>
          </p:nvSpPr>
          <p:spPr bwMode="gray">
            <a:xfrm>
              <a:off x="4112102" y="3875989"/>
              <a:ext cx="9811" cy="17169"/>
            </a:xfrm>
            <a:custGeom>
              <a:avLst/>
              <a:gdLst>
                <a:gd name="T0" fmla="*/ 4 w 8"/>
                <a:gd name="T1" fmla="*/ 2 h 14"/>
                <a:gd name="T2" fmla="*/ 4 w 8"/>
                <a:gd name="T3" fmla="*/ 4 h 14"/>
                <a:gd name="T4" fmla="*/ 4 w 8"/>
                <a:gd name="T5" fmla="*/ 6 h 14"/>
                <a:gd name="T6" fmla="*/ 4 w 8"/>
                <a:gd name="T7" fmla="*/ 8 h 14"/>
                <a:gd name="T8" fmla="*/ 4 w 8"/>
                <a:gd name="T9" fmla="*/ 10 h 14"/>
                <a:gd name="T10" fmla="*/ 4 w 8"/>
                <a:gd name="T11" fmla="*/ 8 h 14"/>
                <a:gd name="T12" fmla="*/ 2 w 8"/>
                <a:gd name="T13" fmla="*/ 8 h 14"/>
                <a:gd name="T14" fmla="*/ 2 w 8"/>
                <a:gd name="T15" fmla="*/ 6 h 14"/>
                <a:gd name="T16" fmla="*/ 2 w 8"/>
                <a:gd name="T17" fmla="*/ 4 h 14"/>
                <a:gd name="T18" fmla="*/ 2 w 8"/>
                <a:gd name="T19" fmla="*/ 2 h 14"/>
                <a:gd name="T20" fmla="*/ 4 w 8"/>
                <a:gd name="T21" fmla="*/ 2 h 14"/>
                <a:gd name="T22" fmla="*/ 2 w 8"/>
                <a:gd name="T23" fmla="*/ 2 h 14"/>
                <a:gd name="T24" fmla="*/ 4 w 8"/>
                <a:gd name="T25" fmla="*/ 2 h 14"/>
                <a:gd name="T26" fmla="*/ 4 w 8"/>
                <a:gd name="T27" fmla="*/ 0 h 14"/>
                <a:gd name="T28" fmla="*/ 6 w 8"/>
                <a:gd name="T29" fmla="*/ 0 h 14"/>
                <a:gd name="T30" fmla="*/ 6 w 8"/>
                <a:gd name="T31" fmla="*/ 2 h 14"/>
                <a:gd name="T32" fmla="*/ 4 w 8"/>
                <a:gd name="T33" fmla="*/ 2 h 14"/>
                <a:gd name="T34" fmla="*/ 4 w 8"/>
                <a:gd name="T35" fmla="*/ 0 h 14"/>
                <a:gd name="T36" fmla="*/ 6 w 8"/>
                <a:gd name="T37" fmla="*/ 10 h 14"/>
                <a:gd name="T38" fmla="*/ 8 w 8"/>
                <a:gd name="T39" fmla="*/ 10 h 14"/>
                <a:gd name="T40" fmla="*/ 8 w 8"/>
                <a:gd name="T41" fmla="*/ 14 h 14"/>
                <a:gd name="T42" fmla="*/ 6 w 8"/>
                <a:gd name="T43" fmla="*/ 14 h 14"/>
                <a:gd name="T44" fmla="*/ 6 w 8"/>
                <a:gd name="T45" fmla="*/ 10 h 14"/>
                <a:gd name="T46" fmla="*/ 4 w 8"/>
                <a:gd name="T47" fmla="*/ 2 h 14"/>
                <a:gd name="T48" fmla="*/ 6 w 8"/>
                <a:gd name="T49" fmla="*/ 2 h 14"/>
                <a:gd name="T50" fmla="*/ 6 w 8"/>
                <a:gd name="T51" fmla="*/ 4 h 14"/>
                <a:gd name="T52" fmla="*/ 4 w 8"/>
                <a:gd name="T53" fmla="*/ 4 h 14"/>
                <a:gd name="T54" fmla="*/ 4 w 8"/>
                <a:gd name="T55" fmla="*/ 2 h 14"/>
                <a:gd name="T56" fmla="*/ 0 w 8"/>
                <a:gd name="T57" fmla="*/ 2 h 14"/>
                <a:gd name="T58" fmla="*/ 2 w 8"/>
                <a:gd name="T59" fmla="*/ 2 h 14"/>
                <a:gd name="T60" fmla="*/ 2 w 8"/>
                <a:gd name="T61" fmla="*/ 4 h 14"/>
                <a:gd name="T62" fmla="*/ 0 w 8"/>
                <a:gd name="T63" fmla="*/ 4 h 14"/>
                <a:gd name="T64" fmla="*/ 0 w 8"/>
                <a:gd name="T65" fmla="*/ 2 h 14"/>
                <a:gd name="T66" fmla="*/ 6 w 8"/>
                <a:gd name="T67" fmla="*/ 12 h 14"/>
                <a:gd name="T68" fmla="*/ 8 w 8"/>
                <a:gd name="T69" fmla="*/ 12 h 14"/>
                <a:gd name="T70" fmla="*/ 6 w 8"/>
                <a:gd name="T71" fmla="*/ 12 h 14"/>
                <a:gd name="T72" fmla="*/ 4 w 8"/>
                <a:gd name="T73" fmla="*/ 8 h 14"/>
                <a:gd name="T74" fmla="*/ 4 w 8"/>
                <a:gd name="T75" fmla="*/ 10 h 14"/>
                <a:gd name="T76" fmla="*/ 4 w 8"/>
                <a:gd name="T77" fmla="*/ 8 h 14"/>
                <a:gd name="T78" fmla="*/ 4 w 8"/>
                <a:gd name="T79" fmla="*/ 2 h 14"/>
                <a:gd name="T80" fmla="*/ 4 w 8"/>
                <a:gd name="T81" fmla="*/ 4 h 14"/>
                <a:gd name="T82" fmla="*/ 4 w 8"/>
                <a:gd name="T83" fmla="*/ 2 h 14"/>
                <a:gd name="T84" fmla="*/ 4 w 8"/>
                <a:gd name="T85" fmla="*/ 0 h 14"/>
                <a:gd name="T86" fmla="*/ 6 w 8"/>
                <a:gd name="T87" fmla="*/ 0 h 14"/>
                <a:gd name="T88" fmla="*/ 6 w 8"/>
                <a:gd name="T89" fmla="*/ 2 h 14"/>
                <a:gd name="T90" fmla="*/ 4 w 8"/>
                <a:gd name="T91" fmla="*/ 2 h 14"/>
                <a:gd name="T92" fmla="*/ 4 w 8"/>
                <a:gd name="T93" fmla="*/ 0 h 14"/>
                <a:gd name="T94" fmla="*/ 4 w 8"/>
                <a:gd name="T95" fmla="*/ 0 h 14"/>
                <a:gd name="T96" fmla="*/ 6 w 8"/>
                <a:gd name="T97" fmla="*/ 0 h 14"/>
                <a:gd name="T98" fmla="*/ 6 w 8"/>
                <a:gd name="T99" fmla="*/ 2 h 14"/>
                <a:gd name="T100" fmla="*/ 4 w 8"/>
                <a:gd name="T101" fmla="*/ 2 h 14"/>
                <a:gd name="T102" fmla="*/ 4 w 8"/>
                <a:gd name="T103" fmla="*/ 0 h 14"/>
                <a:gd name="T104" fmla="*/ 6 w 8"/>
                <a:gd name="T105" fmla="*/ 12 h 14"/>
                <a:gd name="T106" fmla="*/ 8 w 8"/>
                <a:gd name="T107" fmla="*/ 12 h 14"/>
                <a:gd name="T108" fmla="*/ 6 w 8"/>
                <a:gd name="T10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 h="14">
                  <a:moveTo>
                    <a:pt x="4" y="2"/>
                  </a:moveTo>
                  <a:lnTo>
                    <a:pt x="4" y="4"/>
                  </a:lnTo>
                  <a:lnTo>
                    <a:pt x="4" y="6"/>
                  </a:lnTo>
                  <a:lnTo>
                    <a:pt x="4" y="8"/>
                  </a:lnTo>
                  <a:lnTo>
                    <a:pt x="4" y="10"/>
                  </a:lnTo>
                  <a:lnTo>
                    <a:pt x="4" y="8"/>
                  </a:lnTo>
                  <a:lnTo>
                    <a:pt x="2" y="8"/>
                  </a:lnTo>
                  <a:lnTo>
                    <a:pt x="2" y="6"/>
                  </a:lnTo>
                  <a:lnTo>
                    <a:pt x="2" y="4"/>
                  </a:lnTo>
                  <a:lnTo>
                    <a:pt x="2" y="2"/>
                  </a:lnTo>
                  <a:lnTo>
                    <a:pt x="4" y="2"/>
                  </a:lnTo>
                  <a:lnTo>
                    <a:pt x="2" y="2"/>
                  </a:lnTo>
                  <a:lnTo>
                    <a:pt x="4" y="2"/>
                  </a:lnTo>
                  <a:close/>
                  <a:moveTo>
                    <a:pt x="4" y="0"/>
                  </a:moveTo>
                  <a:lnTo>
                    <a:pt x="6" y="0"/>
                  </a:lnTo>
                  <a:lnTo>
                    <a:pt x="6" y="2"/>
                  </a:lnTo>
                  <a:lnTo>
                    <a:pt x="4" y="2"/>
                  </a:lnTo>
                  <a:lnTo>
                    <a:pt x="4" y="0"/>
                  </a:lnTo>
                  <a:close/>
                  <a:moveTo>
                    <a:pt x="6" y="10"/>
                  </a:moveTo>
                  <a:lnTo>
                    <a:pt x="8" y="10"/>
                  </a:lnTo>
                  <a:lnTo>
                    <a:pt x="8" y="14"/>
                  </a:lnTo>
                  <a:lnTo>
                    <a:pt x="6" y="14"/>
                  </a:lnTo>
                  <a:lnTo>
                    <a:pt x="6" y="10"/>
                  </a:lnTo>
                  <a:close/>
                  <a:moveTo>
                    <a:pt x="4" y="2"/>
                  </a:moveTo>
                  <a:lnTo>
                    <a:pt x="6" y="2"/>
                  </a:lnTo>
                  <a:lnTo>
                    <a:pt x="6" y="4"/>
                  </a:lnTo>
                  <a:lnTo>
                    <a:pt x="4" y="4"/>
                  </a:lnTo>
                  <a:lnTo>
                    <a:pt x="4" y="2"/>
                  </a:lnTo>
                  <a:close/>
                  <a:moveTo>
                    <a:pt x="0" y="2"/>
                  </a:moveTo>
                  <a:lnTo>
                    <a:pt x="2" y="2"/>
                  </a:lnTo>
                  <a:lnTo>
                    <a:pt x="2" y="4"/>
                  </a:lnTo>
                  <a:lnTo>
                    <a:pt x="0" y="4"/>
                  </a:lnTo>
                  <a:lnTo>
                    <a:pt x="0" y="2"/>
                  </a:lnTo>
                  <a:close/>
                  <a:moveTo>
                    <a:pt x="6" y="12"/>
                  </a:moveTo>
                  <a:lnTo>
                    <a:pt x="8" y="12"/>
                  </a:lnTo>
                  <a:lnTo>
                    <a:pt x="6" y="12"/>
                  </a:lnTo>
                  <a:close/>
                  <a:moveTo>
                    <a:pt x="4" y="8"/>
                  </a:moveTo>
                  <a:lnTo>
                    <a:pt x="4" y="10"/>
                  </a:lnTo>
                  <a:lnTo>
                    <a:pt x="4" y="8"/>
                  </a:lnTo>
                  <a:close/>
                  <a:moveTo>
                    <a:pt x="4" y="2"/>
                  </a:moveTo>
                  <a:lnTo>
                    <a:pt x="4" y="4"/>
                  </a:lnTo>
                  <a:lnTo>
                    <a:pt x="4" y="2"/>
                  </a:lnTo>
                  <a:close/>
                  <a:moveTo>
                    <a:pt x="4" y="0"/>
                  </a:moveTo>
                  <a:lnTo>
                    <a:pt x="6" y="0"/>
                  </a:lnTo>
                  <a:lnTo>
                    <a:pt x="6" y="2"/>
                  </a:lnTo>
                  <a:lnTo>
                    <a:pt x="4" y="2"/>
                  </a:lnTo>
                  <a:lnTo>
                    <a:pt x="4" y="0"/>
                  </a:lnTo>
                  <a:close/>
                  <a:moveTo>
                    <a:pt x="4" y="0"/>
                  </a:moveTo>
                  <a:lnTo>
                    <a:pt x="6" y="0"/>
                  </a:lnTo>
                  <a:lnTo>
                    <a:pt x="6" y="2"/>
                  </a:lnTo>
                  <a:lnTo>
                    <a:pt x="4" y="2"/>
                  </a:lnTo>
                  <a:lnTo>
                    <a:pt x="4" y="0"/>
                  </a:lnTo>
                  <a:close/>
                  <a:moveTo>
                    <a:pt x="6" y="12"/>
                  </a:moveTo>
                  <a:lnTo>
                    <a:pt x="8" y="12"/>
                  </a:lnTo>
                  <a:lnTo>
                    <a:pt x="6" y="1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334">
              <a:extLst>
                <a:ext uri="{FF2B5EF4-FFF2-40B4-BE49-F238E27FC236}">
                  <a16:creationId xmlns:a16="http://schemas.microsoft.com/office/drawing/2014/main" id="{84FE507E-D6E1-4332-85C4-7E4C2A11A8A2}"/>
                </a:ext>
              </a:extLst>
            </p:cNvPr>
            <p:cNvSpPr>
              <a:spLocks noEditPoints="1"/>
            </p:cNvSpPr>
            <p:nvPr/>
          </p:nvSpPr>
          <p:spPr bwMode="gray">
            <a:xfrm>
              <a:off x="4044651" y="3801181"/>
              <a:ext cx="31886" cy="30660"/>
            </a:xfrm>
            <a:custGeom>
              <a:avLst/>
              <a:gdLst>
                <a:gd name="T0" fmla="*/ 24 w 26"/>
                <a:gd name="T1" fmla="*/ 25 h 25"/>
                <a:gd name="T2" fmla="*/ 17 w 26"/>
                <a:gd name="T3" fmla="*/ 25 h 25"/>
                <a:gd name="T4" fmla="*/ 15 w 26"/>
                <a:gd name="T5" fmla="*/ 21 h 25"/>
                <a:gd name="T6" fmla="*/ 13 w 26"/>
                <a:gd name="T7" fmla="*/ 19 h 25"/>
                <a:gd name="T8" fmla="*/ 11 w 26"/>
                <a:gd name="T9" fmla="*/ 17 h 25"/>
                <a:gd name="T10" fmla="*/ 7 w 26"/>
                <a:gd name="T11" fmla="*/ 17 h 25"/>
                <a:gd name="T12" fmla="*/ 3 w 26"/>
                <a:gd name="T13" fmla="*/ 17 h 25"/>
                <a:gd name="T14" fmla="*/ 1 w 26"/>
                <a:gd name="T15" fmla="*/ 15 h 25"/>
                <a:gd name="T16" fmla="*/ 1 w 26"/>
                <a:gd name="T17" fmla="*/ 15 h 25"/>
                <a:gd name="T18" fmla="*/ 3 w 26"/>
                <a:gd name="T19" fmla="*/ 13 h 25"/>
                <a:gd name="T20" fmla="*/ 5 w 26"/>
                <a:gd name="T21" fmla="*/ 9 h 25"/>
                <a:gd name="T22" fmla="*/ 7 w 26"/>
                <a:gd name="T23" fmla="*/ 6 h 25"/>
                <a:gd name="T24" fmla="*/ 7 w 26"/>
                <a:gd name="T25" fmla="*/ 2 h 25"/>
                <a:gd name="T26" fmla="*/ 9 w 26"/>
                <a:gd name="T27" fmla="*/ 0 h 25"/>
                <a:gd name="T28" fmla="*/ 13 w 26"/>
                <a:gd name="T29" fmla="*/ 0 h 25"/>
                <a:gd name="T30" fmla="*/ 19 w 26"/>
                <a:gd name="T31" fmla="*/ 0 h 25"/>
                <a:gd name="T32" fmla="*/ 21 w 26"/>
                <a:gd name="T33" fmla="*/ 2 h 25"/>
                <a:gd name="T34" fmla="*/ 23 w 26"/>
                <a:gd name="T35" fmla="*/ 4 h 25"/>
                <a:gd name="T36" fmla="*/ 23 w 26"/>
                <a:gd name="T37" fmla="*/ 8 h 25"/>
                <a:gd name="T38" fmla="*/ 24 w 26"/>
                <a:gd name="T39" fmla="*/ 9 h 25"/>
                <a:gd name="T40" fmla="*/ 23 w 26"/>
                <a:gd name="T41" fmla="*/ 8 h 25"/>
                <a:gd name="T42" fmla="*/ 24 w 26"/>
                <a:gd name="T43" fmla="*/ 9 h 25"/>
                <a:gd name="T44" fmla="*/ 23 w 26"/>
                <a:gd name="T45" fmla="*/ 8 h 25"/>
                <a:gd name="T46" fmla="*/ 23 w 26"/>
                <a:gd name="T47" fmla="*/ 8 h 25"/>
                <a:gd name="T48" fmla="*/ 21 w 26"/>
                <a:gd name="T49" fmla="*/ 9 h 25"/>
                <a:gd name="T50" fmla="*/ 17 w 26"/>
                <a:gd name="T51" fmla="*/ 9 h 25"/>
                <a:gd name="T52" fmla="*/ 19 w 26"/>
                <a:gd name="T53" fmla="*/ 11 h 25"/>
                <a:gd name="T54" fmla="*/ 19 w 26"/>
                <a:gd name="T55" fmla="*/ 11 h 25"/>
                <a:gd name="T56" fmla="*/ 23 w 26"/>
                <a:gd name="T57" fmla="*/ 11 h 25"/>
                <a:gd name="T58" fmla="*/ 23 w 26"/>
                <a:gd name="T59" fmla="*/ 15 h 25"/>
                <a:gd name="T60" fmla="*/ 24 w 26"/>
                <a:gd name="T61" fmla="*/ 17 h 25"/>
                <a:gd name="T62" fmla="*/ 24 w 26"/>
                <a:gd name="T63" fmla="*/ 17 h 25"/>
                <a:gd name="T64" fmla="*/ 24 w 26"/>
                <a:gd name="T65" fmla="*/ 17 h 25"/>
                <a:gd name="T66" fmla="*/ 24 w 26"/>
                <a:gd name="T67" fmla="*/ 21 h 25"/>
                <a:gd name="T68" fmla="*/ 26 w 26"/>
                <a:gd name="T69" fmla="*/ 23 h 25"/>
                <a:gd name="T70" fmla="*/ 23 w 26"/>
                <a:gd name="T71" fmla="*/ 2 h 25"/>
                <a:gd name="T72" fmla="*/ 24 w 26"/>
                <a:gd name="T73" fmla="*/ 4 h 25"/>
                <a:gd name="T74" fmla="*/ 26 w 26"/>
                <a:gd name="T75" fmla="*/ 6 h 25"/>
                <a:gd name="T76" fmla="*/ 24 w 26"/>
                <a:gd name="T77" fmla="*/ 8 h 25"/>
                <a:gd name="T78" fmla="*/ 23 w 26"/>
                <a:gd name="T79" fmla="*/ 6 h 25"/>
                <a:gd name="T80" fmla="*/ 23 w 26"/>
                <a:gd name="T81" fmla="*/ 6 h 25"/>
                <a:gd name="T82" fmla="*/ 24 w 26"/>
                <a:gd name="T83" fmla="*/ 4 h 25"/>
                <a:gd name="T84" fmla="*/ 23 w 26"/>
                <a:gd name="T85" fmla="*/ 2 h 25"/>
                <a:gd name="T86" fmla="*/ 26 w 26"/>
                <a:gd name="T87" fmla="*/ 9 h 25"/>
                <a:gd name="T88" fmla="*/ 24 w 26"/>
                <a:gd name="T89" fmla="*/ 11 h 25"/>
                <a:gd name="T90" fmla="*/ 21 w 26"/>
                <a:gd name="T91" fmla="*/ 0 h 25"/>
                <a:gd name="T92" fmla="*/ 23 w 26"/>
                <a:gd name="T93" fmla="*/ 2 h 25"/>
                <a:gd name="T94" fmla="*/ 21 w 26"/>
                <a:gd name="T95" fmla="*/ 0 h 25"/>
                <a:gd name="T96" fmla="*/ 23 w 26"/>
                <a:gd name="T97" fmla="*/ 4 h 25"/>
                <a:gd name="T98" fmla="*/ 21 w 26"/>
                <a:gd name="T99" fmla="*/ 2 h 25"/>
                <a:gd name="T100" fmla="*/ 23 w 26"/>
                <a:gd name="T101" fmla="*/ 4 h 25"/>
                <a:gd name="T102" fmla="*/ 21 w 26"/>
                <a:gd name="T103" fmla="*/ 2 h 25"/>
                <a:gd name="T104" fmla="*/ 23 w 26"/>
                <a:gd name="T105" fmla="*/ 4 h 25"/>
                <a:gd name="T106" fmla="*/ 23 w 26"/>
                <a:gd name="T107" fmla="*/ 2 h 25"/>
                <a:gd name="T108" fmla="*/ 23 w 26"/>
                <a:gd name="T109" fmla="*/ 2 h 25"/>
                <a:gd name="T110" fmla="*/ 24 w 26"/>
                <a:gd name="T111" fmla="*/ 4 h 25"/>
                <a:gd name="T112" fmla="*/ 23 w 26"/>
                <a:gd name="T113" fmla="*/ 4 h 25"/>
                <a:gd name="T114" fmla="*/ 23 w 26"/>
                <a:gd name="T115"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 h="25">
                  <a:moveTo>
                    <a:pt x="26" y="25"/>
                  </a:moveTo>
                  <a:lnTo>
                    <a:pt x="24" y="25"/>
                  </a:lnTo>
                  <a:lnTo>
                    <a:pt x="19" y="25"/>
                  </a:lnTo>
                  <a:lnTo>
                    <a:pt x="17" y="25"/>
                  </a:lnTo>
                  <a:lnTo>
                    <a:pt x="15" y="23"/>
                  </a:lnTo>
                  <a:lnTo>
                    <a:pt x="15" y="21"/>
                  </a:lnTo>
                  <a:lnTo>
                    <a:pt x="15" y="19"/>
                  </a:lnTo>
                  <a:lnTo>
                    <a:pt x="13" y="19"/>
                  </a:lnTo>
                  <a:lnTo>
                    <a:pt x="13" y="17"/>
                  </a:lnTo>
                  <a:lnTo>
                    <a:pt x="11" y="17"/>
                  </a:lnTo>
                  <a:lnTo>
                    <a:pt x="9" y="17"/>
                  </a:lnTo>
                  <a:lnTo>
                    <a:pt x="7" y="17"/>
                  </a:lnTo>
                  <a:lnTo>
                    <a:pt x="5" y="17"/>
                  </a:lnTo>
                  <a:lnTo>
                    <a:pt x="3" y="17"/>
                  </a:lnTo>
                  <a:lnTo>
                    <a:pt x="1" y="17"/>
                  </a:lnTo>
                  <a:lnTo>
                    <a:pt x="1" y="15"/>
                  </a:lnTo>
                  <a:lnTo>
                    <a:pt x="0" y="15"/>
                  </a:lnTo>
                  <a:lnTo>
                    <a:pt x="1" y="15"/>
                  </a:lnTo>
                  <a:lnTo>
                    <a:pt x="1" y="13"/>
                  </a:lnTo>
                  <a:lnTo>
                    <a:pt x="3" y="13"/>
                  </a:lnTo>
                  <a:lnTo>
                    <a:pt x="3" y="11"/>
                  </a:lnTo>
                  <a:lnTo>
                    <a:pt x="5" y="9"/>
                  </a:lnTo>
                  <a:lnTo>
                    <a:pt x="5" y="8"/>
                  </a:lnTo>
                  <a:lnTo>
                    <a:pt x="7" y="6"/>
                  </a:lnTo>
                  <a:lnTo>
                    <a:pt x="7" y="4"/>
                  </a:lnTo>
                  <a:lnTo>
                    <a:pt x="7" y="2"/>
                  </a:lnTo>
                  <a:lnTo>
                    <a:pt x="9" y="2"/>
                  </a:lnTo>
                  <a:lnTo>
                    <a:pt x="9" y="0"/>
                  </a:lnTo>
                  <a:lnTo>
                    <a:pt x="11" y="0"/>
                  </a:lnTo>
                  <a:lnTo>
                    <a:pt x="13" y="0"/>
                  </a:lnTo>
                  <a:lnTo>
                    <a:pt x="17" y="0"/>
                  </a:lnTo>
                  <a:lnTo>
                    <a:pt x="19" y="0"/>
                  </a:lnTo>
                  <a:lnTo>
                    <a:pt x="21" y="0"/>
                  </a:lnTo>
                  <a:lnTo>
                    <a:pt x="21" y="2"/>
                  </a:lnTo>
                  <a:lnTo>
                    <a:pt x="21" y="4"/>
                  </a:lnTo>
                  <a:lnTo>
                    <a:pt x="23" y="4"/>
                  </a:lnTo>
                  <a:lnTo>
                    <a:pt x="23" y="6"/>
                  </a:lnTo>
                  <a:lnTo>
                    <a:pt x="23" y="8"/>
                  </a:lnTo>
                  <a:lnTo>
                    <a:pt x="24" y="8"/>
                  </a:lnTo>
                  <a:lnTo>
                    <a:pt x="24" y="9"/>
                  </a:lnTo>
                  <a:lnTo>
                    <a:pt x="23" y="9"/>
                  </a:lnTo>
                  <a:lnTo>
                    <a:pt x="23" y="8"/>
                  </a:lnTo>
                  <a:lnTo>
                    <a:pt x="23" y="9"/>
                  </a:lnTo>
                  <a:lnTo>
                    <a:pt x="24" y="9"/>
                  </a:lnTo>
                  <a:lnTo>
                    <a:pt x="24" y="8"/>
                  </a:lnTo>
                  <a:lnTo>
                    <a:pt x="23" y="8"/>
                  </a:lnTo>
                  <a:lnTo>
                    <a:pt x="23" y="9"/>
                  </a:lnTo>
                  <a:lnTo>
                    <a:pt x="23" y="8"/>
                  </a:lnTo>
                  <a:lnTo>
                    <a:pt x="21" y="8"/>
                  </a:lnTo>
                  <a:lnTo>
                    <a:pt x="21" y="9"/>
                  </a:lnTo>
                  <a:lnTo>
                    <a:pt x="19" y="9"/>
                  </a:lnTo>
                  <a:lnTo>
                    <a:pt x="17" y="9"/>
                  </a:lnTo>
                  <a:lnTo>
                    <a:pt x="17" y="11"/>
                  </a:lnTo>
                  <a:lnTo>
                    <a:pt x="19" y="11"/>
                  </a:lnTo>
                  <a:lnTo>
                    <a:pt x="21" y="11"/>
                  </a:lnTo>
                  <a:lnTo>
                    <a:pt x="19" y="11"/>
                  </a:lnTo>
                  <a:lnTo>
                    <a:pt x="21" y="11"/>
                  </a:lnTo>
                  <a:lnTo>
                    <a:pt x="23" y="11"/>
                  </a:lnTo>
                  <a:lnTo>
                    <a:pt x="23" y="13"/>
                  </a:lnTo>
                  <a:lnTo>
                    <a:pt x="23" y="15"/>
                  </a:lnTo>
                  <a:lnTo>
                    <a:pt x="23" y="17"/>
                  </a:lnTo>
                  <a:lnTo>
                    <a:pt x="24" y="17"/>
                  </a:lnTo>
                  <a:lnTo>
                    <a:pt x="23" y="17"/>
                  </a:lnTo>
                  <a:lnTo>
                    <a:pt x="24" y="17"/>
                  </a:lnTo>
                  <a:lnTo>
                    <a:pt x="23" y="17"/>
                  </a:lnTo>
                  <a:lnTo>
                    <a:pt x="24" y="17"/>
                  </a:lnTo>
                  <a:lnTo>
                    <a:pt x="24" y="19"/>
                  </a:lnTo>
                  <a:lnTo>
                    <a:pt x="24" y="21"/>
                  </a:lnTo>
                  <a:lnTo>
                    <a:pt x="26" y="21"/>
                  </a:lnTo>
                  <a:lnTo>
                    <a:pt x="26" y="23"/>
                  </a:lnTo>
                  <a:lnTo>
                    <a:pt x="26" y="25"/>
                  </a:lnTo>
                  <a:close/>
                  <a:moveTo>
                    <a:pt x="23" y="2"/>
                  </a:moveTo>
                  <a:lnTo>
                    <a:pt x="24" y="2"/>
                  </a:lnTo>
                  <a:lnTo>
                    <a:pt x="24" y="4"/>
                  </a:lnTo>
                  <a:lnTo>
                    <a:pt x="26" y="4"/>
                  </a:lnTo>
                  <a:lnTo>
                    <a:pt x="26" y="6"/>
                  </a:lnTo>
                  <a:lnTo>
                    <a:pt x="26" y="8"/>
                  </a:lnTo>
                  <a:lnTo>
                    <a:pt x="24" y="8"/>
                  </a:lnTo>
                  <a:lnTo>
                    <a:pt x="23" y="8"/>
                  </a:lnTo>
                  <a:lnTo>
                    <a:pt x="23" y="6"/>
                  </a:lnTo>
                  <a:lnTo>
                    <a:pt x="23" y="4"/>
                  </a:lnTo>
                  <a:lnTo>
                    <a:pt x="23" y="6"/>
                  </a:lnTo>
                  <a:lnTo>
                    <a:pt x="23" y="4"/>
                  </a:lnTo>
                  <a:lnTo>
                    <a:pt x="24" y="4"/>
                  </a:lnTo>
                  <a:lnTo>
                    <a:pt x="24" y="2"/>
                  </a:lnTo>
                  <a:lnTo>
                    <a:pt x="23" y="2"/>
                  </a:lnTo>
                  <a:close/>
                  <a:moveTo>
                    <a:pt x="24" y="9"/>
                  </a:moveTo>
                  <a:lnTo>
                    <a:pt x="26" y="9"/>
                  </a:lnTo>
                  <a:lnTo>
                    <a:pt x="26" y="11"/>
                  </a:lnTo>
                  <a:lnTo>
                    <a:pt x="24" y="11"/>
                  </a:lnTo>
                  <a:lnTo>
                    <a:pt x="24" y="9"/>
                  </a:lnTo>
                  <a:close/>
                  <a:moveTo>
                    <a:pt x="21" y="0"/>
                  </a:moveTo>
                  <a:lnTo>
                    <a:pt x="23" y="0"/>
                  </a:lnTo>
                  <a:lnTo>
                    <a:pt x="23" y="2"/>
                  </a:lnTo>
                  <a:lnTo>
                    <a:pt x="21" y="2"/>
                  </a:lnTo>
                  <a:lnTo>
                    <a:pt x="21" y="0"/>
                  </a:lnTo>
                  <a:close/>
                  <a:moveTo>
                    <a:pt x="21" y="4"/>
                  </a:moveTo>
                  <a:lnTo>
                    <a:pt x="23" y="4"/>
                  </a:lnTo>
                  <a:lnTo>
                    <a:pt x="21" y="4"/>
                  </a:lnTo>
                  <a:close/>
                  <a:moveTo>
                    <a:pt x="21" y="2"/>
                  </a:moveTo>
                  <a:lnTo>
                    <a:pt x="23" y="2"/>
                  </a:lnTo>
                  <a:lnTo>
                    <a:pt x="23" y="4"/>
                  </a:lnTo>
                  <a:lnTo>
                    <a:pt x="21" y="4"/>
                  </a:lnTo>
                  <a:lnTo>
                    <a:pt x="21" y="2"/>
                  </a:lnTo>
                  <a:close/>
                  <a:moveTo>
                    <a:pt x="21" y="4"/>
                  </a:moveTo>
                  <a:lnTo>
                    <a:pt x="23" y="4"/>
                  </a:lnTo>
                  <a:lnTo>
                    <a:pt x="21" y="4"/>
                  </a:lnTo>
                  <a:close/>
                  <a:moveTo>
                    <a:pt x="23" y="2"/>
                  </a:moveTo>
                  <a:lnTo>
                    <a:pt x="23" y="4"/>
                  </a:lnTo>
                  <a:lnTo>
                    <a:pt x="23" y="2"/>
                  </a:lnTo>
                  <a:close/>
                  <a:moveTo>
                    <a:pt x="23" y="4"/>
                  </a:moveTo>
                  <a:lnTo>
                    <a:pt x="24" y="4"/>
                  </a:lnTo>
                  <a:lnTo>
                    <a:pt x="23" y="4"/>
                  </a:lnTo>
                  <a:close/>
                  <a:moveTo>
                    <a:pt x="23" y="4"/>
                  </a:moveTo>
                  <a:lnTo>
                    <a:pt x="24" y="4"/>
                  </a:lnTo>
                  <a:lnTo>
                    <a:pt x="23" y="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335">
              <a:extLst>
                <a:ext uri="{FF2B5EF4-FFF2-40B4-BE49-F238E27FC236}">
                  <a16:creationId xmlns:a16="http://schemas.microsoft.com/office/drawing/2014/main" id="{60E8E7C7-C8E3-46C8-854C-582FC412A3C4}"/>
                </a:ext>
              </a:extLst>
            </p:cNvPr>
            <p:cNvSpPr>
              <a:spLocks noEditPoints="1"/>
            </p:cNvSpPr>
            <p:nvPr/>
          </p:nvSpPr>
          <p:spPr bwMode="gray">
            <a:xfrm>
              <a:off x="3999275" y="3586565"/>
              <a:ext cx="345838" cy="315179"/>
            </a:xfrm>
            <a:custGeom>
              <a:avLst/>
              <a:gdLst>
                <a:gd name="T0" fmla="*/ 25 w 282"/>
                <a:gd name="T1" fmla="*/ 17 h 257"/>
                <a:gd name="T2" fmla="*/ 46 w 282"/>
                <a:gd name="T3" fmla="*/ 10 h 257"/>
                <a:gd name="T4" fmla="*/ 61 w 282"/>
                <a:gd name="T5" fmla="*/ 10 h 257"/>
                <a:gd name="T6" fmla="*/ 67 w 282"/>
                <a:gd name="T7" fmla="*/ 25 h 257"/>
                <a:gd name="T8" fmla="*/ 81 w 282"/>
                <a:gd name="T9" fmla="*/ 44 h 257"/>
                <a:gd name="T10" fmla="*/ 102 w 282"/>
                <a:gd name="T11" fmla="*/ 56 h 257"/>
                <a:gd name="T12" fmla="*/ 115 w 282"/>
                <a:gd name="T13" fmla="*/ 60 h 257"/>
                <a:gd name="T14" fmla="*/ 123 w 282"/>
                <a:gd name="T15" fmla="*/ 58 h 257"/>
                <a:gd name="T16" fmla="*/ 144 w 282"/>
                <a:gd name="T17" fmla="*/ 54 h 257"/>
                <a:gd name="T18" fmla="*/ 142 w 282"/>
                <a:gd name="T19" fmla="*/ 58 h 257"/>
                <a:gd name="T20" fmla="*/ 148 w 282"/>
                <a:gd name="T21" fmla="*/ 46 h 257"/>
                <a:gd name="T22" fmla="*/ 167 w 282"/>
                <a:gd name="T23" fmla="*/ 33 h 257"/>
                <a:gd name="T24" fmla="*/ 192 w 282"/>
                <a:gd name="T25" fmla="*/ 29 h 257"/>
                <a:gd name="T26" fmla="*/ 209 w 282"/>
                <a:gd name="T27" fmla="*/ 40 h 257"/>
                <a:gd name="T28" fmla="*/ 228 w 282"/>
                <a:gd name="T29" fmla="*/ 50 h 257"/>
                <a:gd name="T30" fmla="*/ 250 w 282"/>
                <a:gd name="T31" fmla="*/ 62 h 257"/>
                <a:gd name="T32" fmla="*/ 251 w 282"/>
                <a:gd name="T33" fmla="*/ 81 h 257"/>
                <a:gd name="T34" fmla="*/ 246 w 282"/>
                <a:gd name="T35" fmla="*/ 100 h 257"/>
                <a:gd name="T36" fmla="*/ 244 w 282"/>
                <a:gd name="T37" fmla="*/ 121 h 257"/>
                <a:gd name="T38" fmla="*/ 251 w 282"/>
                <a:gd name="T39" fmla="*/ 152 h 257"/>
                <a:gd name="T40" fmla="*/ 250 w 282"/>
                <a:gd name="T41" fmla="*/ 183 h 257"/>
                <a:gd name="T42" fmla="*/ 269 w 282"/>
                <a:gd name="T43" fmla="*/ 202 h 257"/>
                <a:gd name="T44" fmla="*/ 280 w 282"/>
                <a:gd name="T45" fmla="*/ 223 h 257"/>
                <a:gd name="T46" fmla="*/ 275 w 282"/>
                <a:gd name="T47" fmla="*/ 232 h 257"/>
                <a:gd name="T48" fmla="*/ 261 w 282"/>
                <a:gd name="T49" fmla="*/ 240 h 257"/>
                <a:gd name="T50" fmla="*/ 251 w 282"/>
                <a:gd name="T51" fmla="*/ 256 h 257"/>
                <a:gd name="T52" fmla="*/ 230 w 282"/>
                <a:gd name="T53" fmla="*/ 252 h 257"/>
                <a:gd name="T54" fmla="*/ 219 w 282"/>
                <a:gd name="T55" fmla="*/ 250 h 257"/>
                <a:gd name="T56" fmla="*/ 203 w 282"/>
                <a:gd name="T57" fmla="*/ 248 h 257"/>
                <a:gd name="T58" fmla="*/ 190 w 282"/>
                <a:gd name="T59" fmla="*/ 236 h 257"/>
                <a:gd name="T60" fmla="*/ 190 w 282"/>
                <a:gd name="T61" fmla="*/ 227 h 257"/>
                <a:gd name="T62" fmla="*/ 188 w 282"/>
                <a:gd name="T63" fmla="*/ 223 h 257"/>
                <a:gd name="T64" fmla="*/ 167 w 282"/>
                <a:gd name="T65" fmla="*/ 227 h 257"/>
                <a:gd name="T66" fmla="*/ 150 w 282"/>
                <a:gd name="T67" fmla="*/ 231 h 257"/>
                <a:gd name="T68" fmla="*/ 127 w 282"/>
                <a:gd name="T69" fmla="*/ 221 h 257"/>
                <a:gd name="T70" fmla="*/ 111 w 282"/>
                <a:gd name="T71" fmla="*/ 211 h 257"/>
                <a:gd name="T72" fmla="*/ 106 w 282"/>
                <a:gd name="T73" fmla="*/ 208 h 257"/>
                <a:gd name="T74" fmla="*/ 100 w 282"/>
                <a:gd name="T75" fmla="*/ 196 h 257"/>
                <a:gd name="T76" fmla="*/ 98 w 282"/>
                <a:gd name="T77" fmla="*/ 188 h 257"/>
                <a:gd name="T78" fmla="*/ 90 w 282"/>
                <a:gd name="T79" fmla="*/ 175 h 257"/>
                <a:gd name="T80" fmla="*/ 73 w 282"/>
                <a:gd name="T81" fmla="*/ 171 h 257"/>
                <a:gd name="T82" fmla="*/ 71 w 282"/>
                <a:gd name="T83" fmla="*/ 171 h 257"/>
                <a:gd name="T84" fmla="*/ 56 w 282"/>
                <a:gd name="T85" fmla="*/ 160 h 257"/>
                <a:gd name="T86" fmla="*/ 50 w 282"/>
                <a:gd name="T87" fmla="*/ 136 h 257"/>
                <a:gd name="T88" fmla="*/ 35 w 282"/>
                <a:gd name="T89" fmla="*/ 125 h 257"/>
                <a:gd name="T90" fmla="*/ 23 w 282"/>
                <a:gd name="T91" fmla="*/ 111 h 257"/>
                <a:gd name="T92" fmla="*/ 25 w 282"/>
                <a:gd name="T93" fmla="*/ 98 h 257"/>
                <a:gd name="T94" fmla="*/ 31 w 282"/>
                <a:gd name="T95" fmla="*/ 87 h 257"/>
                <a:gd name="T96" fmla="*/ 25 w 282"/>
                <a:gd name="T97" fmla="*/ 75 h 257"/>
                <a:gd name="T98" fmla="*/ 13 w 282"/>
                <a:gd name="T99" fmla="*/ 58 h 257"/>
                <a:gd name="T100" fmla="*/ 8 w 282"/>
                <a:gd name="T101" fmla="*/ 42 h 257"/>
                <a:gd name="T102" fmla="*/ 8 w 282"/>
                <a:gd name="T103" fmla="*/ 29 h 257"/>
                <a:gd name="T104" fmla="*/ 6 w 282"/>
                <a:gd name="T105" fmla="*/ 6 h 257"/>
                <a:gd name="T106" fmla="*/ 167 w 282"/>
                <a:gd name="T107" fmla="*/ 232 h 257"/>
                <a:gd name="T108" fmla="*/ 173 w 282"/>
                <a:gd name="T109" fmla="*/ 229 h 257"/>
                <a:gd name="T110" fmla="*/ 180 w 282"/>
                <a:gd name="T111" fmla="*/ 225 h 257"/>
                <a:gd name="T112" fmla="*/ 75 w 282"/>
                <a:gd name="T113" fmla="*/ 169 h 257"/>
                <a:gd name="T114" fmla="*/ 92 w 282"/>
                <a:gd name="T115" fmla="*/ 186 h 257"/>
                <a:gd name="T116" fmla="*/ 190 w 282"/>
                <a:gd name="T117" fmla="*/ 234 h 257"/>
                <a:gd name="T118" fmla="*/ 77 w 282"/>
                <a:gd name="T119" fmla="*/ 16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2" h="257">
                  <a:moveTo>
                    <a:pt x="12" y="4"/>
                  </a:moveTo>
                  <a:lnTo>
                    <a:pt x="13" y="4"/>
                  </a:lnTo>
                  <a:lnTo>
                    <a:pt x="12" y="4"/>
                  </a:lnTo>
                  <a:lnTo>
                    <a:pt x="13" y="4"/>
                  </a:lnTo>
                  <a:lnTo>
                    <a:pt x="12" y="4"/>
                  </a:lnTo>
                  <a:lnTo>
                    <a:pt x="13" y="4"/>
                  </a:lnTo>
                  <a:lnTo>
                    <a:pt x="13" y="6"/>
                  </a:lnTo>
                  <a:lnTo>
                    <a:pt x="13" y="8"/>
                  </a:lnTo>
                  <a:lnTo>
                    <a:pt x="15" y="8"/>
                  </a:lnTo>
                  <a:lnTo>
                    <a:pt x="15" y="10"/>
                  </a:lnTo>
                  <a:lnTo>
                    <a:pt x="15" y="12"/>
                  </a:lnTo>
                  <a:lnTo>
                    <a:pt x="17" y="12"/>
                  </a:lnTo>
                  <a:lnTo>
                    <a:pt x="19" y="12"/>
                  </a:lnTo>
                  <a:lnTo>
                    <a:pt x="19" y="14"/>
                  </a:lnTo>
                  <a:lnTo>
                    <a:pt x="21" y="14"/>
                  </a:lnTo>
                  <a:lnTo>
                    <a:pt x="21" y="15"/>
                  </a:lnTo>
                  <a:lnTo>
                    <a:pt x="23" y="15"/>
                  </a:lnTo>
                  <a:lnTo>
                    <a:pt x="23" y="17"/>
                  </a:lnTo>
                  <a:lnTo>
                    <a:pt x="25" y="17"/>
                  </a:lnTo>
                  <a:lnTo>
                    <a:pt x="27" y="17"/>
                  </a:lnTo>
                  <a:lnTo>
                    <a:pt x="29" y="17"/>
                  </a:lnTo>
                  <a:lnTo>
                    <a:pt x="31" y="17"/>
                  </a:lnTo>
                  <a:lnTo>
                    <a:pt x="31" y="19"/>
                  </a:lnTo>
                  <a:lnTo>
                    <a:pt x="33" y="19"/>
                  </a:lnTo>
                  <a:lnTo>
                    <a:pt x="33" y="17"/>
                  </a:lnTo>
                  <a:lnTo>
                    <a:pt x="35" y="17"/>
                  </a:lnTo>
                  <a:lnTo>
                    <a:pt x="37" y="17"/>
                  </a:lnTo>
                  <a:lnTo>
                    <a:pt x="38" y="17"/>
                  </a:lnTo>
                  <a:lnTo>
                    <a:pt x="38" y="15"/>
                  </a:lnTo>
                  <a:lnTo>
                    <a:pt x="40" y="15"/>
                  </a:lnTo>
                  <a:lnTo>
                    <a:pt x="40" y="14"/>
                  </a:lnTo>
                  <a:lnTo>
                    <a:pt x="42" y="14"/>
                  </a:lnTo>
                  <a:lnTo>
                    <a:pt x="42" y="12"/>
                  </a:lnTo>
                  <a:lnTo>
                    <a:pt x="42" y="14"/>
                  </a:lnTo>
                  <a:lnTo>
                    <a:pt x="44" y="14"/>
                  </a:lnTo>
                  <a:lnTo>
                    <a:pt x="44" y="12"/>
                  </a:lnTo>
                  <a:lnTo>
                    <a:pt x="44" y="10"/>
                  </a:lnTo>
                  <a:lnTo>
                    <a:pt x="46" y="10"/>
                  </a:lnTo>
                  <a:lnTo>
                    <a:pt x="48" y="10"/>
                  </a:lnTo>
                  <a:lnTo>
                    <a:pt x="48" y="8"/>
                  </a:lnTo>
                  <a:lnTo>
                    <a:pt x="50" y="8"/>
                  </a:lnTo>
                  <a:lnTo>
                    <a:pt x="50" y="6"/>
                  </a:lnTo>
                  <a:lnTo>
                    <a:pt x="50" y="8"/>
                  </a:lnTo>
                  <a:lnTo>
                    <a:pt x="50" y="6"/>
                  </a:lnTo>
                  <a:lnTo>
                    <a:pt x="52" y="6"/>
                  </a:lnTo>
                  <a:lnTo>
                    <a:pt x="54" y="6"/>
                  </a:lnTo>
                  <a:lnTo>
                    <a:pt x="54" y="4"/>
                  </a:lnTo>
                  <a:lnTo>
                    <a:pt x="56" y="4"/>
                  </a:lnTo>
                  <a:lnTo>
                    <a:pt x="58" y="4"/>
                  </a:lnTo>
                  <a:lnTo>
                    <a:pt x="58" y="2"/>
                  </a:lnTo>
                  <a:lnTo>
                    <a:pt x="58" y="4"/>
                  </a:lnTo>
                  <a:lnTo>
                    <a:pt x="58" y="2"/>
                  </a:lnTo>
                  <a:lnTo>
                    <a:pt x="60" y="4"/>
                  </a:lnTo>
                  <a:lnTo>
                    <a:pt x="61" y="6"/>
                  </a:lnTo>
                  <a:lnTo>
                    <a:pt x="63" y="8"/>
                  </a:lnTo>
                  <a:lnTo>
                    <a:pt x="63" y="10"/>
                  </a:lnTo>
                  <a:lnTo>
                    <a:pt x="61" y="10"/>
                  </a:lnTo>
                  <a:lnTo>
                    <a:pt x="60" y="10"/>
                  </a:lnTo>
                  <a:lnTo>
                    <a:pt x="60" y="12"/>
                  </a:lnTo>
                  <a:lnTo>
                    <a:pt x="61" y="12"/>
                  </a:lnTo>
                  <a:lnTo>
                    <a:pt x="61" y="14"/>
                  </a:lnTo>
                  <a:lnTo>
                    <a:pt x="63" y="14"/>
                  </a:lnTo>
                  <a:lnTo>
                    <a:pt x="63" y="15"/>
                  </a:lnTo>
                  <a:lnTo>
                    <a:pt x="61" y="15"/>
                  </a:lnTo>
                  <a:lnTo>
                    <a:pt x="61" y="17"/>
                  </a:lnTo>
                  <a:lnTo>
                    <a:pt x="60" y="17"/>
                  </a:lnTo>
                  <a:lnTo>
                    <a:pt x="58" y="17"/>
                  </a:lnTo>
                  <a:lnTo>
                    <a:pt x="58" y="19"/>
                  </a:lnTo>
                  <a:lnTo>
                    <a:pt x="60" y="19"/>
                  </a:lnTo>
                  <a:lnTo>
                    <a:pt x="61" y="19"/>
                  </a:lnTo>
                  <a:lnTo>
                    <a:pt x="61" y="21"/>
                  </a:lnTo>
                  <a:lnTo>
                    <a:pt x="61" y="23"/>
                  </a:lnTo>
                  <a:lnTo>
                    <a:pt x="63" y="23"/>
                  </a:lnTo>
                  <a:lnTo>
                    <a:pt x="65" y="23"/>
                  </a:lnTo>
                  <a:lnTo>
                    <a:pt x="65" y="25"/>
                  </a:lnTo>
                  <a:lnTo>
                    <a:pt x="67" y="25"/>
                  </a:lnTo>
                  <a:lnTo>
                    <a:pt x="67" y="27"/>
                  </a:lnTo>
                  <a:lnTo>
                    <a:pt x="69" y="27"/>
                  </a:lnTo>
                  <a:lnTo>
                    <a:pt x="69" y="25"/>
                  </a:lnTo>
                  <a:lnTo>
                    <a:pt x="71" y="25"/>
                  </a:lnTo>
                  <a:lnTo>
                    <a:pt x="71" y="27"/>
                  </a:lnTo>
                  <a:lnTo>
                    <a:pt x="71" y="29"/>
                  </a:lnTo>
                  <a:lnTo>
                    <a:pt x="71" y="31"/>
                  </a:lnTo>
                  <a:lnTo>
                    <a:pt x="71" y="33"/>
                  </a:lnTo>
                  <a:lnTo>
                    <a:pt x="71" y="35"/>
                  </a:lnTo>
                  <a:lnTo>
                    <a:pt x="71" y="37"/>
                  </a:lnTo>
                  <a:lnTo>
                    <a:pt x="73" y="37"/>
                  </a:lnTo>
                  <a:lnTo>
                    <a:pt x="73" y="38"/>
                  </a:lnTo>
                  <a:lnTo>
                    <a:pt x="73" y="40"/>
                  </a:lnTo>
                  <a:lnTo>
                    <a:pt x="75" y="40"/>
                  </a:lnTo>
                  <a:lnTo>
                    <a:pt x="75" y="42"/>
                  </a:lnTo>
                  <a:lnTo>
                    <a:pt x="77" y="42"/>
                  </a:lnTo>
                  <a:lnTo>
                    <a:pt x="77" y="44"/>
                  </a:lnTo>
                  <a:lnTo>
                    <a:pt x="79" y="44"/>
                  </a:lnTo>
                  <a:lnTo>
                    <a:pt x="81" y="44"/>
                  </a:lnTo>
                  <a:lnTo>
                    <a:pt x="83" y="44"/>
                  </a:lnTo>
                  <a:lnTo>
                    <a:pt x="84" y="44"/>
                  </a:lnTo>
                  <a:lnTo>
                    <a:pt x="86" y="44"/>
                  </a:lnTo>
                  <a:lnTo>
                    <a:pt x="84" y="44"/>
                  </a:lnTo>
                  <a:lnTo>
                    <a:pt x="86" y="44"/>
                  </a:lnTo>
                  <a:lnTo>
                    <a:pt x="88" y="44"/>
                  </a:lnTo>
                  <a:lnTo>
                    <a:pt x="88" y="46"/>
                  </a:lnTo>
                  <a:lnTo>
                    <a:pt x="90" y="46"/>
                  </a:lnTo>
                  <a:lnTo>
                    <a:pt x="90" y="48"/>
                  </a:lnTo>
                  <a:lnTo>
                    <a:pt x="92" y="48"/>
                  </a:lnTo>
                  <a:lnTo>
                    <a:pt x="92" y="50"/>
                  </a:lnTo>
                  <a:lnTo>
                    <a:pt x="92" y="52"/>
                  </a:lnTo>
                  <a:lnTo>
                    <a:pt x="94" y="52"/>
                  </a:lnTo>
                  <a:lnTo>
                    <a:pt x="96" y="52"/>
                  </a:lnTo>
                  <a:lnTo>
                    <a:pt x="96" y="54"/>
                  </a:lnTo>
                  <a:lnTo>
                    <a:pt x="98" y="54"/>
                  </a:lnTo>
                  <a:lnTo>
                    <a:pt x="98" y="56"/>
                  </a:lnTo>
                  <a:lnTo>
                    <a:pt x="100" y="56"/>
                  </a:lnTo>
                  <a:lnTo>
                    <a:pt x="102" y="56"/>
                  </a:lnTo>
                  <a:lnTo>
                    <a:pt x="102" y="58"/>
                  </a:lnTo>
                  <a:lnTo>
                    <a:pt x="104" y="58"/>
                  </a:lnTo>
                  <a:lnTo>
                    <a:pt x="106" y="58"/>
                  </a:lnTo>
                  <a:lnTo>
                    <a:pt x="108" y="58"/>
                  </a:lnTo>
                  <a:lnTo>
                    <a:pt x="108" y="60"/>
                  </a:lnTo>
                  <a:lnTo>
                    <a:pt x="109" y="60"/>
                  </a:lnTo>
                  <a:lnTo>
                    <a:pt x="111" y="60"/>
                  </a:lnTo>
                  <a:lnTo>
                    <a:pt x="113" y="60"/>
                  </a:lnTo>
                  <a:lnTo>
                    <a:pt x="115" y="60"/>
                  </a:lnTo>
                  <a:lnTo>
                    <a:pt x="115" y="62"/>
                  </a:lnTo>
                  <a:lnTo>
                    <a:pt x="115" y="60"/>
                  </a:lnTo>
                  <a:lnTo>
                    <a:pt x="115" y="62"/>
                  </a:lnTo>
                  <a:lnTo>
                    <a:pt x="115" y="60"/>
                  </a:lnTo>
                  <a:lnTo>
                    <a:pt x="115" y="62"/>
                  </a:lnTo>
                  <a:lnTo>
                    <a:pt x="115" y="60"/>
                  </a:lnTo>
                  <a:lnTo>
                    <a:pt x="115" y="62"/>
                  </a:lnTo>
                  <a:lnTo>
                    <a:pt x="115" y="60"/>
                  </a:lnTo>
                  <a:lnTo>
                    <a:pt x="115" y="62"/>
                  </a:lnTo>
                  <a:lnTo>
                    <a:pt x="115" y="60"/>
                  </a:lnTo>
                  <a:lnTo>
                    <a:pt x="115" y="62"/>
                  </a:lnTo>
                  <a:lnTo>
                    <a:pt x="115" y="60"/>
                  </a:lnTo>
                  <a:lnTo>
                    <a:pt x="115" y="62"/>
                  </a:lnTo>
                  <a:lnTo>
                    <a:pt x="115" y="60"/>
                  </a:lnTo>
                  <a:lnTo>
                    <a:pt x="115" y="62"/>
                  </a:lnTo>
                  <a:lnTo>
                    <a:pt x="115" y="60"/>
                  </a:lnTo>
                  <a:lnTo>
                    <a:pt x="115" y="62"/>
                  </a:lnTo>
                  <a:lnTo>
                    <a:pt x="115" y="60"/>
                  </a:lnTo>
                  <a:lnTo>
                    <a:pt x="115" y="62"/>
                  </a:lnTo>
                  <a:lnTo>
                    <a:pt x="115" y="60"/>
                  </a:lnTo>
                  <a:lnTo>
                    <a:pt x="115" y="62"/>
                  </a:lnTo>
                  <a:lnTo>
                    <a:pt x="115" y="60"/>
                  </a:lnTo>
                  <a:lnTo>
                    <a:pt x="115" y="62"/>
                  </a:lnTo>
                  <a:lnTo>
                    <a:pt x="115" y="60"/>
                  </a:lnTo>
                  <a:lnTo>
                    <a:pt x="117" y="60"/>
                  </a:lnTo>
                  <a:lnTo>
                    <a:pt x="119" y="60"/>
                  </a:lnTo>
                  <a:lnTo>
                    <a:pt x="121" y="60"/>
                  </a:lnTo>
                  <a:lnTo>
                    <a:pt x="123" y="60"/>
                  </a:lnTo>
                  <a:lnTo>
                    <a:pt x="123" y="58"/>
                  </a:lnTo>
                  <a:lnTo>
                    <a:pt x="125" y="58"/>
                  </a:lnTo>
                  <a:lnTo>
                    <a:pt x="127" y="58"/>
                  </a:lnTo>
                  <a:lnTo>
                    <a:pt x="129" y="58"/>
                  </a:lnTo>
                  <a:lnTo>
                    <a:pt x="131" y="58"/>
                  </a:lnTo>
                  <a:lnTo>
                    <a:pt x="131" y="56"/>
                  </a:lnTo>
                  <a:lnTo>
                    <a:pt x="132" y="56"/>
                  </a:lnTo>
                  <a:lnTo>
                    <a:pt x="134" y="56"/>
                  </a:lnTo>
                  <a:lnTo>
                    <a:pt x="136" y="56"/>
                  </a:lnTo>
                  <a:lnTo>
                    <a:pt x="138" y="56"/>
                  </a:lnTo>
                  <a:lnTo>
                    <a:pt x="140" y="56"/>
                  </a:lnTo>
                  <a:lnTo>
                    <a:pt x="142" y="56"/>
                  </a:lnTo>
                  <a:lnTo>
                    <a:pt x="142" y="54"/>
                  </a:lnTo>
                  <a:lnTo>
                    <a:pt x="144" y="54"/>
                  </a:lnTo>
                  <a:lnTo>
                    <a:pt x="146" y="54"/>
                  </a:lnTo>
                  <a:lnTo>
                    <a:pt x="144" y="54"/>
                  </a:lnTo>
                  <a:lnTo>
                    <a:pt x="144" y="56"/>
                  </a:lnTo>
                  <a:lnTo>
                    <a:pt x="144" y="54"/>
                  </a:lnTo>
                  <a:lnTo>
                    <a:pt x="144" y="56"/>
                  </a:lnTo>
                  <a:lnTo>
                    <a:pt x="144" y="54"/>
                  </a:lnTo>
                  <a:lnTo>
                    <a:pt x="144" y="56"/>
                  </a:lnTo>
                  <a:lnTo>
                    <a:pt x="142" y="56"/>
                  </a:lnTo>
                  <a:lnTo>
                    <a:pt x="140" y="56"/>
                  </a:lnTo>
                  <a:lnTo>
                    <a:pt x="138" y="56"/>
                  </a:lnTo>
                  <a:lnTo>
                    <a:pt x="140" y="56"/>
                  </a:lnTo>
                  <a:lnTo>
                    <a:pt x="138" y="56"/>
                  </a:lnTo>
                  <a:lnTo>
                    <a:pt x="136" y="56"/>
                  </a:lnTo>
                  <a:lnTo>
                    <a:pt x="138" y="56"/>
                  </a:lnTo>
                  <a:lnTo>
                    <a:pt x="140" y="56"/>
                  </a:lnTo>
                  <a:lnTo>
                    <a:pt x="140" y="58"/>
                  </a:lnTo>
                  <a:lnTo>
                    <a:pt x="140" y="56"/>
                  </a:lnTo>
                  <a:lnTo>
                    <a:pt x="140" y="58"/>
                  </a:lnTo>
                  <a:lnTo>
                    <a:pt x="140" y="56"/>
                  </a:lnTo>
                  <a:lnTo>
                    <a:pt x="140" y="58"/>
                  </a:lnTo>
                  <a:lnTo>
                    <a:pt x="140" y="56"/>
                  </a:lnTo>
                  <a:lnTo>
                    <a:pt x="140" y="58"/>
                  </a:lnTo>
                  <a:lnTo>
                    <a:pt x="140" y="56"/>
                  </a:lnTo>
                  <a:lnTo>
                    <a:pt x="142" y="56"/>
                  </a:lnTo>
                  <a:lnTo>
                    <a:pt x="142" y="58"/>
                  </a:lnTo>
                  <a:lnTo>
                    <a:pt x="142" y="56"/>
                  </a:lnTo>
                  <a:lnTo>
                    <a:pt x="144" y="56"/>
                  </a:lnTo>
                  <a:lnTo>
                    <a:pt x="144" y="58"/>
                  </a:lnTo>
                  <a:lnTo>
                    <a:pt x="144" y="56"/>
                  </a:lnTo>
                  <a:lnTo>
                    <a:pt x="144" y="58"/>
                  </a:lnTo>
                  <a:lnTo>
                    <a:pt x="144" y="56"/>
                  </a:lnTo>
                  <a:lnTo>
                    <a:pt x="144" y="58"/>
                  </a:lnTo>
                  <a:lnTo>
                    <a:pt x="144" y="56"/>
                  </a:lnTo>
                  <a:lnTo>
                    <a:pt x="144" y="58"/>
                  </a:lnTo>
                  <a:lnTo>
                    <a:pt x="144" y="56"/>
                  </a:lnTo>
                  <a:lnTo>
                    <a:pt x="144" y="58"/>
                  </a:lnTo>
                  <a:lnTo>
                    <a:pt x="144" y="56"/>
                  </a:lnTo>
                  <a:lnTo>
                    <a:pt x="146" y="56"/>
                  </a:lnTo>
                  <a:lnTo>
                    <a:pt x="146" y="54"/>
                  </a:lnTo>
                  <a:lnTo>
                    <a:pt x="146" y="52"/>
                  </a:lnTo>
                  <a:lnTo>
                    <a:pt x="146" y="50"/>
                  </a:lnTo>
                  <a:lnTo>
                    <a:pt x="146" y="48"/>
                  </a:lnTo>
                  <a:lnTo>
                    <a:pt x="146" y="46"/>
                  </a:lnTo>
                  <a:lnTo>
                    <a:pt x="148" y="46"/>
                  </a:lnTo>
                  <a:lnTo>
                    <a:pt x="150" y="46"/>
                  </a:lnTo>
                  <a:lnTo>
                    <a:pt x="152" y="46"/>
                  </a:lnTo>
                  <a:lnTo>
                    <a:pt x="154" y="46"/>
                  </a:lnTo>
                  <a:lnTo>
                    <a:pt x="154" y="44"/>
                  </a:lnTo>
                  <a:lnTo>
                    <a:pt x="156" y="44"/>
                  </a:lnTo>
                  <a:lnTo>
                    <a:pt x="157" y="44"/>
                  </a:lnTo>
                  <a:lnTo>
                    <a:pt x="157" y="42"/>
                  </a:lnTo>
                  <a:lnTo>
                    <a:pt x="157" y="40"/>
                  </a:lnTo>
                  <a:lnTo>
                    <a:pt x="157" y="38"/>
                  </a:lnTo>
                  <a:lnTo>
                    <a:pt x="159" y="38"/>
                  </a:lnTo>
                  <a:lnTo>
                    <a:pt x="159" y="37"/>
                  </a:lnTo>
                  <a:lnTo>
                    <a:pt x="161" y="37"/>
                  </a:lnTo>
                  <a:lnTo>
                    <a:pt x="159" y="37"/>
                  </a:lnTo>
                  <a:lnTo>
                    <a:pt x="161" y="37"/>
                  </a:lnTo>
                  <a:lnTo>
                    <a:pt x="161" y="35"/>
                  </a:lnTo>
                  <a:lnTo>
                    <a:pt x="163" y="35"/>
                  </a:lnTo>
                  <a:lnTo>
                    <a:pt x="165" y="35"/>
                  </a:lnTo>
                  <a:lnTo>
                    <a:pt x="165" y="33"/>
                  </a:lnTo>
                  <a:lnTo>
                    <a:pt x="167" y="33"/>
                  </a:lnTo>
                  <a:lnTo>
                    <a:pt x="169" y="33"/>
                  </a:lnTo>
                  <a:lnTo>
                    <a:pt x="171" y="33"/>
                  </a:lnTo>
                  <a:lnTo>
                    <a:pt x="173" y="33"/>
                  </a:lnTo>
                  <a:lnTo>
                    <a:pt x="175" y="33"/>
                  </a:lnTo>
                  <a:lnTo>
                    <a:pt x="177" y="33"/>
                  </a:lnTo>
                  <a:lnTo>
                    <a:pt x="179" y="33"/>
                  </a:lnTo>
                  <a:lnTo>
                    <a:pt x="180" y="33"/>
                  </a:lnTo>
                  <a:lnTo>
                    <a:pt x="180" y="31"/>
                  </a:lnTo>
                  <a:lnTo>
                    <a:pt x="180" y="29"/>
                  </a:lnTo>
                  <a:lnTo>
                    <a:pt x="182" y="29"/>
                  </a:lnTo>
                  <a:lnTo>
                    <a:pt x="184" y="29"/>
                  </a:lnTo>
                  <a:lnTo>
                    <a:pt x="184" y="31"/>
                  </a:lnTo>
                  <a:lnTo>
                    <a:pt x="184" y="29"/>
                  </a:lnTo>
                  <a:lnTo>
                    <a:pt x="186" y="29"/>
                  </a:lnTo>
                  <a:lnTo>
                    <a:pt x="186" y="31"/>
                  </a:lnTo>
                  <a:lnTo>
                    <a:pt x="188" y="31"/>
                  </a:lnTo>
                  <a:lnTo>
                    <a:pt x="190" y="31"/>
                  </a:lnTo>
                  <a:lnTo>
                    <a:pt x="192" y="31"/>
                  </a:lnTo>
                  <a:lnTo>
                    <a:pt x="192" y="29"/>
                  </a:lnTo>
                  <a:lnTo>
                    <a:pt x="194" y="29"/>
                  </a:lnTo>
                  <a:lnTo>
                    <a:pt x="194" y="31"/>
                  </a:lnTo>
                  <a:lnTo>
                    <a:pt x="194" y="33"/>
                  </a:lnTo>
                  <a:lnTo>
                    <a:pt x="196" y="33"/>
                  </a:lnTo>
                  <a:lnTo>
                    <a:pt x="196" y="35"/>
                  </a:lnTo>
                  <a:lnTo>
                    <a:pt x="194" y="35"/>
                  </a:lnTo>
                  <a:lnTo>
                    <a:pt x="196" y="35"/>
                  </a:lnTo>
                  <a:lnTo>
                    <a:pt x="198" y="35"/>
                  </a:lnTo>
                  <a:lnTo>
                    <a:pt x="198" y="37"/>
                  </a:lnTo>
                  <a:lnTo>
                    <a:pt x="198" y="35"/>
                  </a:lnTo>
                  <a:lnTo>
                    <a:pt x="198" y="37"/>
                  </a:lnTo>
                  <a:lnTo>
                    <a:pt x="200" y="37"/>
                  </a:lnTo>
                  <a:lnTo>
                    <a:pt x="202" y="37"/>
                  </a:lnTo>
                  <a:lnTo>
                    <a:pt x="203" y="37"/>
                  </a:lnTo>
                  <a:lnTo>
                    <a:pt x="203" y="38"/>
                  </a:lnTo>
                  <a:lnTo>
                    <a:pt x="205" y="38"/>
                  </a:lnTo>
                  <a:lnTo>
                    <a:pt x="207" y="38"/>
                  </a:lnTo>
                  <a:lnTo>
                    <a:pt x="207" y="40"/>
                  </a:lnTo>
                  <a:lnTo>
                    <a:pt x="209" y="40"/>
                  </a:lnTo>
                  <a:lnTo>
                    <a:pt x="211" y="40"/>
                  </a:lnTo>
                  <a:lnTo>
                    <a:pt x="213" y="40"/>
                  </a:lnTo>
                  <a:lnTo>
                    <a:pt x="215" y="40"/>
                  </a:lnTo>
                  <a:lnTo>
                    <a:pt x="217" y="40"/>
                  </a:lnTo>
                  <a:lnTo>
                    <a:pt x="219" y="40"/>
                  </a:lnTo>
                  <a:lnTo>
                    <a:pt x="219" y="42"/>
                  </a:lnTo>
                  <a:lnTo>
                    <a:pt x="221" y="42"/>
                  </a:lnTo>
                  <a:lnTo>
                    <a:pt x="223" y="42"/>
                  </a:lnTo>
                  <a:lnTo>
                    <a:pt x="223" y="44"/>
                  </a:lnTo>
                  <a:lnTo>
                    <a:pt x="223" y="42"/>
                  </a:lnTo>
                  <a:lnTo>
                    <a:pt x="223" y="44"/>
                  </a:lnTo>
                  <a:lnTo>
                    <a:pt x="223" y="42"/>
                  </a:lnTo>
                  <a:lnTo>
                    <a:pt x="225" y="42"/>
                  </a:lnTo>
                  <a:lnTo>
                    <a:pt x="225" y="44"/>
                  </a:lnTo>
                  <a:lnTo>
                    <a:pt x="225" y="46"/>
                  </a:lnTo>
                  <a:lnTo>
                    <a:pt x="225" y="48"/>
                  </a:lnTo>
                  <a:lnTo>
                    <a:pt x="227" y="48"/>
                  </a:lnTo>
                  <a:lnTo>
                    <a:pt x="227" y="50"/>
                  </a:lnTo>
                  <a:lnTo>
                    <a:pt x="228" y="50"/>
                  </a:lnTo>
                  <a:lnTo>
                    <a:pt x="230" y="50"/>
                  </a:lnTo>
                  <a:lnTo>
                    <a:pt x="230" y="52"/>
                  </a:lnTo>
                  <a:lnTo>
                    <a:pt x="232" y="52"/>
                  </a:lnTo>
                  <a:lnTo>
                    <a:pt x="234" y="52"/>
                  </a:lnTo>
                  <a:lnTo>
                    <a:pt x="234" y="54"/>
                  </a:lnTo>
                  <a:lnTo>
                    <a:pt x="236" y="54"/>
                  </a:lnTo>
                  <a:lnTo>
                    <a:pt x="236" y="56"/>
                  </a:lnTo>
                  <a:lnTo>
                    <a:pt x="236" y="58"/>
                  </a:lnTo>
                  <a:lnTo>
                    <a:pt x="238" y="58"/>
                  </a:lnTo>
                  <a:lnTo>
                    <a:pt x="238" y="60"/>
                  </a:lnTo>
                  <a:lnTo>
                    <a:pt x="240" y="60"/>
                  </a:lnTo>
                  <a:lnTo>
                    <a:pt x="242" y="60"/>
                  </a:lnTo>
                  <a:lnTo>
                    <a:pt x="244" y="60"/>
                  </a:lnTo>
                  <a:lnTo>
                    <a:pt x="246" y="60"/>
                  </a:lnTo>
                  <a:lnTo>
                    <a:pt x="248" y="60"/>
                  </a:lnTo>
                  <a:lnTo>
                    <a:pt x="250" y="60"/>
                  </a:lnTo>
                  <a:lnTo>
                    <a:pt x="251" y="60"/>
                  </a:lnTo>
                  <a:lnTo>
                    <a:pt x="251" y="62"/>
                  </a:lnTo>
                  <a:lnTo>
                    <a:pt x="250" y="62"/>
                  </a:lnTo>
                  <a:lnTo>
                    <a:pt x="251" y="62"/>
                  </a:lnTo>
                  <a:lnTo>
                    <a:pt x="251" y="63"/>
                  </a:lnTo>
                  <a:lnTo>
                    <a:pt x="250" y="63"/>
                  </a:lnTo>
                  <a:lnTo>
                    <a:pt x="251" y="63"/>
                  </a:lnTo>
                  <a:lnTo>
                    <a:pt x="250" y="63"/>
                  </a:lnTo>
                  <a:lnTo>
                    <a:pt x="250" y="65"/>
                  </a:lnTo>
                  <a:lnTo>
                    <a:pt x="251" y="65"/>
                  </a:lnTo>
                  <a:lnTo>
                    <a:pt x="251" y="67"/>
                  </a:lnTo>
                  <a:lnTo>
                    <a:pt x="251" y="69"/>
                  </a:lnTo>
                  <a:lnTo>
                    <a:pt x="251" y="71"/>
                  </a:lnTo>
                  <a:lnTo>
                    <a:pt x="250" y="71"/>
                  </a:lnTo>
                  <a:lnTo>
                    <a:pt x="251" y="71"/>
                  </a:lnTo>
                  <a:lnTo>
                    <a:pt x="250" y="71"/>
                  </a:lnTo>
                  <a:lnTo>
                    <a:pt x="251" y="71"/>
                  </a:lnTo>
                  <a:lnTo>
                    <a:pt x="251" y="73"/>
                  </a:lnTo>
                  <a:lnTo>
                    <a:pt x="251" y="75"/>
                  </a:lnTo>
                  <a:lnTo>
                    <a:pt x="251" y="77"/>
                  </a:lnTo>
                  <a:lnTo>
                    <a:pt x="251" y="79"/>
                  </a:lnTo>
                  <a:lnTo>
                    <a:pt x="251" y="81"/>
                  </a:lnTo>
                  <a:lnTo>
                    <a:pt x="251" y="83"/>
                  </a:lnTo>
                  <a:lnTo>
                    <a:pt x="251" y="85"/>
                  </a:lnTo>
                  <a:lnTo>
                    <a:pt x="250" y="85"/>
                  </a:lnTo>
                  <a:lnTo>
                    <a:pt x="250" y="87"/>
                  </a:lnTo>
                  <a:lnTo>
                    <a:pt x="250" y="88"/>
                  </a:lnTo>
                  <a:lnTo>
                    <a:pt x="250" y="90"/>
                  </a:lnTo>
                  <a:lnTo>
                    <a:pt x="250" y="92"/>
                  </a:lnTo>
                  <a:lnTo>
                    <a:pt x="250" y="94"/>
                  </a:lnTo>
                  <a:lnTo>
                    <a:pt x="248" y="94"/>
                  </a:lnTo>
                  <a:lnTo>
                    <a:pt x="248" y="96"/>
                  </a:lnTo>
                  <a:lnTo>
                    <a:pt x="246" y="96"/>
                  </a:lnTo>
                  <a:lnTo>
                    <a:pt x="246" y="98"/>
                  </a:lnTo>
                  <a:lnTo>
                    <a:pt x="246" y="96"/>
                  </a:lnTo>
                  <a:lnTo>
                    <a:pt x="246" y="98"/>
                  </a:lnTo>
                  <a:lnTo>
                    <a:pt x="246" y="96"/>
                  </a:lnTo>
                  <a:lnTo>
                    <a:pt x="246" y="98"/>
                  </a:lnTo>
                  <a:lnTo>
                    <a:pt x="244" y="98"/>
                  </a:lnTo>
                  <a:lnTo>
                    <a:pt x="246" y="98"/>
                  </a:lnTo>
                  <a:lnTo>
                    <a:pt x="246" y="100"/>
                  </a:lnTo>
                  <a:lnTo>
                    <a:pt x="246" y="102"/>
                  </a:lnTo>
                  <a:lnTo>
                    <a:pt x="248" y="102"/>
                  </a:lnTo>
                  <a:lnTo>
                    <a:pt x="246" y="102"/>
                  </a:lnTo>
                  <a:lnTo>
                    <a:pt x="244" y="102"/>
                  </a:lnTo>
                  <a:lnTo>
                    <a:pt x="242" y="102"/>
                  </a:lnTo>
                  <a:lnTo>
                    <a:pt x="242" y="104"/>
                  </a:lnTo>
                  <a:lnTo>
                    <a:pt x="240" y="104"/>
                  </a:lnTo>
                  <a:lnTo>
                    <a:pt x="240" y="106"/>
                  </a:lnTo>
                  <a:lnTo>
                    <a:pt x="242" y="108"/>
                  </a:lnTo>
                  <a:lnTo>
                    <a:pt x="242" y="110"/>
                  </a:lnTo>
                  <a:lnTo>
                    <a:pt x="242" y="111"/>
                  </a:lnTo>
                  <a:lnTo>
                    <a:pt x="242" y="113"/>
                  </a:lnTo>
                  <a:lnTo>
                    <a:pt x="244" y="115"/>
                  </a:lnTo>
                  <a:lnTo>
                    <a:pt x="246" y="115"/>
                  </a:lnTo>
                  <a:lnTo>
                    <a:pt x="248" y="115"/>
                  </a:lnTo>
                  <a:lnTo>
                    <a:pt x="246" y="115"/>
                  </a:lnTo>
                  <a:lnTo>
                    <a:pt x="246" y="117"/>
                  </a:lnTo>
                  <a:lnTo>
                    <a:pt x="244" y="119"/>
                  </a:lnTo>
                  <a:lnTo>
                    <a:pt x="244" y="121"/>
                  </a:lnTo>
                  <a:lnTo>
                    <a:pt x="242" y="121"/>
                  </a:lnTo>
                  <a:lnTo>
                    <a:pt x="242" y="123"/>
                  </a:lnTo>
                  <a:lnTo>
                    <a:pt x="242" y="125"/>
                  </a:lnTo>
                  <a:lnTo>
                    <a:pt x="244" y="125"/>
                  </a:lnTo>
                  <a:lnTo>
                    <a:pt x="244" y="127"/>
                  </a:lnTo>
                  <a:lnTo>
                    <a:pt x="244" y="129"/>
                  </a:lnTo>
                  <a:lnTo>
                    <a:pt x="244" y="131"/>
                  </a:lnTo>
                  <a:lnTo>
                    <a:pt x="246" y="133"/>
                  </a:lnTo>
                  <a:lnTo>
                    <a:pt x="246" y="135"/>
                  </a:lnTo>
                  <a:lnTo>
                    <a:pt x="246" y="136"/>
                  </a:lnTo>
                  <a:lnTo>
                    <a:pt x="246" y="138"/>
                  </a:lnTo>
                  <a:lnTo>
                    <a:pt x="246" y="140"/>
                  </a:lnTo>
                  <a:lnTo>
                    <a:pt x="246" y="142"/>
                  </a:lnTo>
                  <a:lnTo>
                    <a:pt x="246" y="144"/>
                  </a:lnTo>
                  <a:lnTo>
                    <a:pt x="246" y="146"/>
                  </a:lnTo>
                  <a:lnTo>
                    <a:pt x="246" y="148"/>
                  </a:lnTo>
                  <a:lnTo>
                    <a:pt x="246" y="150"/>
                  </a:lnTo>
                  <a:lnTo>
                    <a:pt x="248" y="150"/>
                  </a:lnTo>
                  <a:lnTo>
                    <a:pt x="251" y="152"/>
                  </a:lnTo>
                  <a:lnTo>
                    <a:pt x="253" y="152"/>
                  </a:lnTo>
                  <a:lnTo>
                    <a:pt x="255" y="152"/>
                  </a:lnTo>
                  <a:lnTo>
                    <a:pt x="257" y="152"/>
                  </a:lnTo>
                  <a:lnTo>
                    <a:pt x="259" y="152"/>
                  </a:lnTo>
                  <a:lnTo>
                    <a:pt x="259" y="154"/>
                  </a:lnTo>
                  <a:lnTo>
                    <a:pt x="259" y="156"/>
                  </a:lnTo>
                  <a:lnTo>
                    <a:pt x="259" y="158"/>
                  </a:lnTo>
                  <a:lnTo>
                    <a:pt x="261" y="158"/>
                  </a:lnTo>
                  <a:lnTo>
                    <a:pt x="261" y="160"/>
                  </a:lnTo>
                  <a:lnTo>
                    <a:pt x="259" y="160"/>
                  </a:lnTo>
                  <a:lnTo>
                    <a:pt x="259" y="161"/>
                  </a:lnTo>
                  <a:lnTo>
                    <a:pt x="257" y="165"/>
                  </a:lnTo>
                  <a:lnTo>
                    <a:pt x="253" y="169"/>
                  </a:lnTo>
                  <a:lnTo>
                    <a:pt x="251" y="173"/>
                  </a:lnTo>
                  <a:lnTo>
                    <a:pt x="250" y="175"/>
                  </a:lnTo>
                  <a:lnTo>
                    <a:pt x="246" y="179"/>
                  </a:lnTo>
                  <a:lnTo>
                    <a:pt x="248" y="179"/>
                  </a:lnTo>
                  <a:lnTo>
                    <a:pt x="248" y="181"/>
                  </a:lnTo>
                  <a:lnTo>
                    <a:pt x="250" y="183"/>
                  </a:lnTo>
                  <a:lnTo>
                    <a:pt x="250" y="184"/>
                  </a:lnTo>
                  <a:lnTo>
                    <a:pt x="251" y="184"/>
                  </a:lnTo>
                  <a:lnTo>
                    <a:pt x="251" y="186"/>
                  </a:lnTo>
                  <a:lnTo>
                    <a:pt x="253" y="186"/>
                  </a:lnTo>
                  <a:lnTo>
                    <a:pt x="253" y="188"/>
                  </a:lnTo>
                  <a:lnTo>
                    <a:pt x="253" y="190"/>
                  </a:lnTo>
                  <a:lnTo>
                    <a:pt x="255" y="190"/>
                  </a:lnTo>
                  <a:lnTo>
                    <a:pt x="255" y="192"/>
                  </a:lnTo>
                  <a:lnTo>
                    <a:pt x="257" y="194"/>
                  </a:lnTo>
                  <a:lnTo>
                    <a:pt x="257" y="196"/>
                  </a:lnTo>
                  <a:lnTo>
                    <a:pt x="259" y="196"/>
                  </a:lnTo>
                  <a:lnTo>
                    <a:pt x="259" y="198"/>
                  </a:lnTo>
                  <a:lnTo>
                    <a:pt x="261" y="198"/>
                  </a:lnTo>
                  <a:lnTo>
                    <a:pt x="261" y="200"/>
                  </a:lnTo>
                  <a:lnTo>
                    <a:pt x="263" y="200"/>
                  </a:lnTo>
                  <a:lnTo>
                    <a:pt x="263" y="202"/>
                  </a:lnTo>
                  <a:lnTo>
                    <a:pt x="265" y="202"/>
                  </a:lnTo>
                  <a:lnTo>
                    <a:pt x="267" y="202"/>
                  </a:lnTo>
                  <a:lnTo>
                    <a:pt x="269" y="202"/>
                  </a:lnTo>
                  <a:lnTo>
                    <a:pt x="269" y="204"/>
                  </a:lnTo>
                  <a:lnTo>
                    <a:pt x="271" y="204"/>
                  </a:lnTo>
                  <a:lnTo>
                    <a:pt x="271" y="206"/>
                  </a:lnTo>
                  <a:lnTo>
                    <a:pt x="273" y="206"/>
                  </a:lnTo>
                  <a:lnTo>
                    <a:pt x="275" y="206"/>
                  </a:lnTo>
                  <a:lnTo>
                    <a:pt x="275" y="208"/>
                  </a:lnTo>
                  <a:lnTo>
                    <a:pt x="275" y="209"/>
                  </a:lnTo>
                  <a:lnTo>
                    <a:pt x="275" y="211"/>
                  </a:lnTo>
                  <a:lnTo>
                    <a:pt x="275" y="213"/>
                  </a:lnTo>
                  <a:lnTo>
                    <a:pt x="275" y="215"/>
                  </a:lnTo>
                  <a:lnTo>
                    <a:pt x="275" y="217"/>
                  </a:lnTo>
                  <a:lnTo>
                    <a:pt x="275" y="219"/>
                  </a:lnTo>
                  <a:lnTo>
                    <a:pt x="275" y="221"/>
                  </a:lnTo>
                  <a:lnTo>
                    <a:pt x="275" y="223"/>
                  </a:lnTo>
                  <a:lnTo>
                    <a:pt x="276" y="223"/>
                  </a:lnTo>
                  <a:lnTo>
                    <a:pt x="278" y="223"/>
                  </a:lnTo>
                  <a:lnTo>
                    <a:pt x="278" y="221"/>
                  </a:lnTo>
                  <a:lnTo>
                    <a:pt x="280" y="221"/>
                  </a:lnTo>
                  <a:lnTo>
                    <a:pt x="280" y="223"/>
                  </a:lnTo>
                  <a:lnTo>
                    <a:pt x="282" y="223"/>
                  </a:lnTo>
                  <a:lnTo>
                    <a:pt x="282" y="225"/>
                  </a:lnTo>
                  <a:lnTo>
                    <a:pt x="282" y="223"/>
                  </a:lnTo>
                  <a:lnTo>
                    <a:pt x="282" y="225"/>
                  </a:lnTo>
                  <a:lnTo>
                    <a:pt x="280" y="225"/>
                  </a:lnTo>
                  <a:lnTo>
                    <a:pt x="280" y="227"/>
                  </a:lnTo>
                  <a:lnTo>
                    <a:pt x="280" y="229"/>
                  </a:lnTo>
                  <a:lnTo>
                    <a:pt x="280" y="231"/>
                  </a:lnTo>
                  <a:lnTo>
                    <a:pt x="280" y="232"/>
                  </a:lnTo>
                  <a:lnTo>
                    <a:pt x="280" y="231"/>
                  </a:lnTo>
                  <a:lnTo>
                    <a:pt x="278" y="232"/>
                  </a:lnTo>
                  <a:lnTo>
                    <a:pt x="278" y="231"/>
                  </a:lnTo>
                  <a:lnTo>
                    <a:pt x="278" y="232"/>
                  </a:lnTo>
                  <a:lnTo>
                    <a:pt x="276" y="232"/>
                  </a:lnTo>
                  <a:lnTo>
                    <a:pt x="276" y="231"/>
                  </a:lnTo>
                  <a:lnTo>
                    <a:pt x="276" y="232"/>
                  </a:lnTo>
                  <a:lnTo>
                    <a:pt x="276" y="231"/>
                  </a:lnTo>
                  <a:lnTo>
                    <a:pt x="276" y="232"/>
                  </a:lnTo>
                  <a:lnTo>
                    <a:pt x="275" y="232"/>
                  </a:lnTo>
                  <a:lnTo>
                    <a:pt x="275" y="231"/>
                  </a:lnTo>
                  <a:lnTo>
                    <a:pt x="275" y="232"/>
                  </a:lnTo>
                  <a:lnTo>
                    <a:pt x="275" y="231"/>
                  </a:lnTo>
                  <a:lnTo>
                    <a:pt x="275" y="232"/>
                  </a:lnTo>
                  <a:lnTo>
                    <a:pt x="273" y="232"/>
                  </a:lnTo>
                  <a:lnTo>
                    <a:pt x="275" y="232"/>
                  </a:lnTo>
                  <a:lnTo>
                    <a:pt x="273" y="232"/>
                  </a:lnTo>
                  <a:lnTo>
                    <a:pt x="271" y="232"/>
                  </a:lnTo>
                  <a:lnTo>
                    <a:pt x="269" y="232"/>
                  </a:lnTo>
                  <a:lnTo>
                    <a:pt x="269" y="234"/>
                  </a:lnTo>
                  <a:lnTo>
                    <a:pt x="267" y="234"/>
                  </a:lnTo>
                  <a:lnTo>
                    <a:pt x="267" y="236"/>
                  </a:lnTo>
                  <a:lnTo>
                    <a:pt x="267" y="238"/>
                  </a:lnTo>
                  <a:lnTo>
                    <a:pt x="265" y="238"/>
                  </a:lnTo>
                  <a:lnTo>
                    <a:pt x="265" y="236"/>
                  </a:lnTo>
                  <a:lnTo>
                    <a:pt x="263" y="236"/>
                  </a:lnTo>
                  <a:lnTo>
                    <a:pt x="263" y="238"/>
                  </a:lnTo>
                  <a:lnTo>
                    <a:pt x="261" y="238"/>
                  </a:lnTo>
                  <a:lnTo>
                    <a:pt x="261" y="240"/>
                  </a:lnTo>
                  <a:lnTo>
                    <a:pt x="261" y="242"/>
                  </a:lnTo>
                  <a:lnTo>
                    <a:pt x="261" y="244"/>
                  </a:lnTo>
                  <a:lnTo>
                    <a:pt x="261" y="246"/>
                  </a:lnTo>
                  <a:lnTo>
                    <a:pt x="259" y="246"/>
                  </a:lnTo>
                  <a:lnTo>
                    <a:pt x="259" y="248"/>
                  </a:lnTo>
                  <a:lnTo>
                    <a:pt x="257" y="248"/>
                  </a:lnTo>
                  <a:lnTo>
                    <a:pt x="257" y="250"/>
                  </a:lnTo>
                  <a:lnTo>
                    <a:pt x="257" y="252"/>
                  </a:lnTo>
                  <a:lnTo>
                    <a:pt x="257" y="254"/>
                  </a:lnTo>
                  <a:lnTo>
                    <a:pt x="257" y="256"/>
                  </a:lnTo>
                  <a:lnTo>
                    <a:pt x="255" y="256"/>
                  </a:lnTo>
                  <a:lnTo>
                    <a:pt x="257" y="256"/>
                  </a:lnTo>
                  <a:lnTo>
                    <a:pt x="255" y="256"/>
                  </a:lnTo>
                  <a:lnTo>
                    <a:pt x="255" y="254"/>
                  </a:lnTo>
                  <a:lnTo>
                    <a:pt x="255" y="256"/>
                  </a:lnTo>
                  <a:lnTo>
                    <a:pt x="255" y="257"/>
                  </a:lnTo>
                  <a:lnTo>
                    <a:pt x="253" y="257"/>
                  </a:lnTo>
                  <a:lnTo>
                    <a:pt x="251" y="257"/>
                  </a:lnTo>
                  <a:lnTo>
                    <a:pt x="251" y="256"/>
                  </a:lnTo>
                  <a:lnTo>
                    <a:pt x="250" y="256"/>
                  </a:lnTo>
                  <a:lnTo>
                    <a:pt x="248" y="256"/>
                  </a:lnTo>
                  <a:lnTo>
                    <a:pt x="248" y="254"/>
                  </a:lnTo>
                  <a:lnTo>
                    <a:pt x="246" y="254"/>
                  </a:lnTo>
                  <a:lnTo>
                    <a:pt x="244" y="254"/>
                  </a:lnTo>
                  <a:lnTo>
                    <a:pt x="242" y="254"/>
                  </a:lnTo>
                  <a:lnTo>
                    <a:pt x="242" y="252"/>
                  </a:lnTo>
                  <a:lnTo>
                    <a:pt x="240" y="252"/>
                  </a:lnTo>
                  <a:lnTo>
                    <a:pt x="240" y="254"/>
                  </a:lnTo>
                  <a:lnTo>
                    <a:pt x="238" y="254"/>
                  </a:lnTo>
                  <a:lnTo>
                    <a:pt x="238" y="252"/>
                  </a:lnTo>
                  <a:lnTo>
                    <a:pt x="236" y="252"/>
                  </a:lnTo>
                  <a:lnTo>
                    <a:pt x="236" y="254"/>
                  </a:lnTo>
                  <a:lnTo>
                    <a:pt x="234" y="254"/>
                  </a:lnTo>
                  <a:lnTo>
                    <a:pt x="234" y="252"/>
                  </a:lnTo>
                  <a:lnTo>
                    <a:pt x="236" y="252"/>
                  </a:lnTo>
                  <a:lnTo>
                    <a:pt x="234" y="252"/>
                  </a:lnTo>
                  <a:lnTo>
                    <a:pt x="232" y="252"/>
                  </a:lnTo>
                  <a:lnTo>
                    <a:pt x="230" y="252"/>
                  </a:lnTo>
                  <a:lnTo>
                    <a:pt x="232" y="252"/>
                  </a:lnTo>
                  <a:lnTo>
                    <a:pt x="230" y="252"/>
                  </a:lnTo>
                  <a:lnTo>
                    <a:pt x="228" y="252"/>
                  </a:lnTo>
                  <a:lnTo>
                    <a:pt x="227" y="252"/>
                  </a:lnTo>
                  <a:lnTo>
                    <a:pt x="227" y="250"/>
                  </a:lnTo>
                  <a:lnTo>
                    <a:pt x="225" y="250"/>
                  </a:lnTo>
                  <a:lnTo>
                    <a:pt x="225" y="252"/>
                  </a:lnTo>
                  <a:lnTo>
                    <a:pt x="223" y="252"/>
                  </a:lnTo>
                  <a:lnTo>
                    <a:pt x="223" y="250"/>
                  </a:lnTo>
                  <a:lnTo>
                    <a:pt x="223" y="252"/>
                  </a:lnTo>
                  <a:lnTo>
                    <a:pt x="221" y="252"/>
                  </a:lnTo>
                  <a:lnTo>
                    <a:pt x="221" y="250"/>
                  </a:lnTo>
                  <a:lnTo>
                    <a:pt x="221" y="252"/>
                  </a:lnTo>
                  <a:lnTo>
                    <a:pt x="221" y="250"/>
                  </a:lnTo>
                  <a:lnTo>
                    <a:pt x="221" y="252"/>
                  </a:lnTo>
                  <a:lnTo>
                    <a:pt x="223" y="252"/>
                  </a:lnTo>
                  <a:lnTo>
                    <a:pt x="221" y="252"/>
                  </a:lnTo>
                  <a:lnTo>
                    <a:pt x="219" y="252"/>
                  </a:lnTo>
                  <a:lnTo>
                    <a:pt x="219" y="250"/>
                  </a:lnTo>
                  <a:lnTo>
                    <a:pt x="217" y="250"/>
                  </a:lnTo>
                  <a:lnTo>
                    <a:pt x="215" y="250"/>
                  </a:lnTo>
                  <a:lnTo>
                    <a:pt x="213" y="250"/>
                  </a:lnTo>
                  <a:lnTo>
                    <a:pt x="213" y="248"/>
                  </a:lnTo>
                  <a:lnTo>
                    <a:pt x="211" y="248"/>
                  </a:lnTo>
                  <a:lnTo>
                    <a:pt x="211" y="250"/>
                  </a:lnTo>
                  <a:lnTo>
                    <a:pt x="211" y="248"/>
                  </a:lnTo>
                  <a:lnTo>
                    <a:pt x="209" y="248"/>
                  </a:lnTo>
                  <a:lnTo>
                    <a:pt x="211" y="248"/>
                  </a:lnTo>
                  <a:lnTo>
                    <a:pt x="209" y="248"/>
                  </a:lnTo>
                  <a:lnTo>
                    <a:pt x="209" y="250"/>
                  </a:lnTo>
                  <a:lnTo>
                    <a:pt x="209" y="248"/>
                  </a:lnTo>
                  <a:lnTo>
                    <a:pt x="207" y="248"/>
                  </a:lnTo>
                  <a:lnTo>
                    <a:pt x="207" y="250"/>
                  </a:lnTo>
                  <a:lnTo>
                    <a:pt x="209" y="250"/>
                  </a:lnTo>
                  <a:lnTo>
                    <a:pt x="207" y="250"/>
                  </a:lnTo>
                  <a:lnTo>
                    <a:pt x="205" y="250"/>
                  </a:lnTo>
                  <a:lnTo>
                    <a:pt x="205" y="248"/>
                  </a:lnTo>
                  <a:lnTo>
                    <a:pt x="203" y="248"/>
                  </a:lnTo>
                  <a:lnTo>
                    <a:pt x="202" y="248"/>
                  </a:lnTo>
                  <a:lnTo>
                    <a:pt x="202" y="246"/>
                  </a:lnTo>
                  <a:lnTo>
                    <a:pt x="200" y="246"/>
                  </a:lnTo>
                  <a:lnTo>
                    <a:pt x="202" y="246"/>
                  </a:lnTo>
                  <a:lnTo>
                    <a:pt x="200" y="246"/>
                  </a:lnTo>
                  <a:lnTo>
                    <a:pt x="198" y="246"/>
                  </a:lnTo>
                  <a:lnTo>
                    <a:pt x="196" y="246"/>
                  </a:lnTo>
                  <a:lnTo>
                    <a:pt x="194" y="246"/>
                  </a:lnTo>
                  <a:lnTo>
                    <a:pt x="194" y="244"/>
                  </a:lnTo>
                  <a:lnTo>
                    <a:pt x="194" y="242"/>
                  </a:lnTo>
                  <a:lnTo>
                    <a:pt x="192" y="242"/>
                  </a:lnTo>
                  <a:lnTo>
                    <a:pt x="192" y="240"/>
                  </a:lnTo>
                  <a:lnTo>
                    <a:pt x="192" y="238"/>
                  </a:lnTo>
                  <a:lnTo>
                    <a:pt x="192" y="240"/>
                  </a:lnTo>
                  <a:lnTo>
                    <a:pt x="192" y="238"/>
                  </a:lnTo>
                  <a:lnTo>
                    <a:pt x="192" y="240"/>
                  </a:lnTo>
                  <a:lnTo>
                    <a:pt x="192" y="238"/>
                  </a:lnTo>
                  <a:lnTo>
                    <a:pt x="192" y="236"/>
                  </a:lnTo>
                  <a:lnTo>
                    <a:pt x="190" y="236"/>
                  </a:lnTo>
                  <a:lnTo>
                    <a:pt x="192" y="236"/>
                  </a:lnTo>
                  <a:lnTo>
                    <a:pt x="190" y="236"/>
                  </a:lnTo>
                  <a:lnTo>
                    <a:pt x="192" y="236"/>
                  </a:lnTo>
                  <a:lnTo>
                    <a:pt x="190" y="236"/>
                  </a:lnTo>
                  <a:lnTo>
                    <a:pt x="190" y="234"/>
                  </a:lnTo>
                  <a:lnTo>
                    <a:pt x="190" y="232"/>
                  </a:lnTo>
                  <a:lnTo>
                    <a:pt x="190" y="231"/>
                  </a:lnTo>
                  <a:lnTo>
                    <a:pt x="190" y="229"/>
                  </a:lnTo>
                  <a:lnTo>
                    <a:pt x="190" y="227"/>
                  </a:lnTo>
                  <a:lnTo>
                    <a:pt x="188" y="227"/>
                  </a:lnTo>
                  <a:lnTo>
                    <a:pt x="190" y="227"/>
                  </a:lnTo>
                  <a:lnTo>
                    <a:pt x="188" y="227"/>
                  </a:lnTo>
                  <a:lnTo>
                    <a:pt x="190" y="227"/>
                  </a:lnTo>
                  <a:lnTo>
                    <a:pt x="188" y="227"/>
                  </a:lnTo>
                  <a:lnTo>
                    <a:pt x="190" y="227"/>
                  </a:lnTo>
                  <a:lnTo>
                    <a:pt x="188" y="227"/>
                  </a:lnTo>
                  <a:lnTo>
                    <a:pt x="190" y="227"/>
                  </a:lnTo>
                  <a:lnTo>
                    <a:pt x="188" y="227"/>
                  </a:lnTo>
                  <a:lnTo>
                    <a:pt x="190" y="227"/>
                  </a:lnTo>
                  <a:lnTo>
                    <a:pt x="188" y="227"/>
                  </a:lnTo>
                  <a:lnTo>
                    <a:pt x="190" y="227"/>
                  </a:lnTo>
                  <a:lnTo>
                    <a:pt x="188" y="227"/>
                  </a:lnTo>
                  <a:lnTo>
                    <a:pt x="190" y="227"/>
                  </a:lnTo>
                  <a:lnTo>
                    <a:pt x="188" y="227"/>
                  </a:lnTo>
                  <a:lnTo>
                    <a:pt x="188" y="225"/>
                  </a:lnTo>
                  <a:lnTo>
                    <a:pt x="190" y="225"/>
                  </a:lnTo>
                  <a:lnTo>
                    <a:pt x="188" y="225"/>
                  </a:lnTo>
                  <a:lnTo>
                    <a:pt x="190" y="225"/>
                  </a:lnTo>
                  <a:lnTo>
                    <a:pt x="188" y="225"/>
                  </a:lnTo>
                  <a:lnTo>
                    <a:pt x="190" y="225"/>
                  </a:lnTo>
                  <a:lnTo>
                    <a:pt x="188" y="225"/>
                  </a:lnTo>
                  <a:lnTo>
                    <a:pt x="188" y="227"/>
                  </a:lnTo>
                  <a:lnTo>
                    <a:pt x="188" y="225"/>
                  </a:lnTo>
                  <a:lnTo>
                    <a:pt x="188" y="227"/>
                  </a:lnTo>
                  <a:lnTo>
                    <a:pt x="188" y="225"/>
                  </a:lnTo>
                  <a:lnTo>
                    <a:pt x="188" y="223"/>
                  </a:lnTo>
                  <a:lnTo>
                    <a:pt x="188" y="225"/>
                  </a:lnTo>
                  <a:lnTo>
                    <a:pt x="188" y="223"/>
                  </a:lnTo>
                  <a:lnTo>
                    <a:pt x="188" y="225"/>
                  </a:lnTo>
                  <a:lnTo>
                    <a:pt x="188" y="223"/>
                  </a:lnTo>
                  <a:lnTo>
                    <a:pt x="186" y="223"/>
                  </a:lnTo>
                  <a:lnTo>
                    <a:pt x="188" y="223"/>
                  </a:lnTo>
                  <a:lnTo>
                    <a:pt x="186" y="223"/>
                  </a:lnTo>
                  <a:lnTo>
                    <a:pt x="184" y="223"/>
                  </a:lnTo>
                  <a:lnTo>
                    <a:pt x="182" y="223"/>
                  </a:lnTo>
                  <a:lnTo>
                    <a:pt x="180" y="223"/>
                  </a:lnTo>
                  <a:lnTo>
                    <a:pt x="179" y="223"/>
                  </a:lnTo>
                  <a:lnTo>
                    <a:pt x="177" y="223"/>
                  </a:lnTo>
                  <a:lnTo>
                    <a:pt x="177" y="225"/>
                  </a:lnTo>
                  <a:lnTo>
                    <a:pt x="175" y="225"/>
                  </a:lnTo>
                  <a:lnTo>
                    <a:pt x="177" y="225"/>
                  </a:lnTo>
                  <a:lnTo>
                    <a:pt x="175" y="225"/>
                  </a:lnTo>
                  <a:lnTo>
                    <a:pt x="173" y="225"/>
                  </a:lnTo>
                  <a:lnTo>
                    <a:pt x="171" y="225"/>
                  </a:lnTo>
                  <a:lnTo>
                    <a:pt x="171" y="227"/>
                  </a:lnTo>
                  <a:lnTo>
                    <a:pt x="169" y="227"/>
                  </a:lnTo>
                  <a:lnTo>
                    <a:pt x="167" y="227"/>
                  </a:lnTo>
                  <a:lnTo>
                    <a:pt x="167" y="229"/>
                  </a:lnTo>
                  <a:lnTo>
                    <a:pt x="167" y="231"/>
                  </a:lnTo>
                  <a:lnTo>
                    <a:pt x="167" y="229"/>
                  </a:lnTo>
                  <a:lnTo>
                    <a:pt x="167" y="231"/>
                  </a:lnTo>
                  <a:lnTo>
                    <a:pt x="165" y="231"/>
                  </a:lnTo>
                  <a:lnTo>
                    <a:pt x="165" y="229"/>
                  </a:lnTo>
                  <a:lnTo>
                    <a:pt x="163" y="229"/>
                  </a:lnTo>
                  <a:lnTo>
                    <a:pt x="163" y="231"/>
                  </a:lnTo>
                  <a:lnTo>
                    <a:pt x="161" y="231"/>
                  </a:lnTo>
                  <a:lnTo>
                    <a:pt x="161" y="232"/>
                  </a:lnTo>
                  <a:lnTo>
                    <a:pt x="159" y="232"/>
                  </a:lnTo>
                  <a:lnTo>
                    <a:pt x="157" y="232"/>
                  </a:lnTo>
                  <a:lnTo>
                    <a:pt x="157" y="234"/>
                  </a:lnTo>
                  <a:lnTo>
                    <a:pt x="156" y="234"/>
                  </a:lnTo>
                  <a:lnTo>
                    <a:pt x="154" y="234"/>
                  </a:lnTo>
                  <a:lnTo>
                    <a:pt x="154" y="232"/>
                  </a:lnTo>
                  <a:lnTo>
                    <a:pt x="152" y="232"/>
                  </a:lnTo>
                  <a:lnTo>
                    <a:pt x="152" y="231"/>
                  </a:lnTo>
                  <a:lnTo>
                    <a:pt x="150" y="231"/>
                  </a:lnTo>
                  <a:lnTo>
                    <a:pt x="152" y="231"/>
                  </a:lnTo>
                  <a:lnTo>
                    <a:pt x="150" y="231"/>
                  </a:lnTo>
                  <a:lnTo>
                    <a:pt x="148" y="231"/>
                  </a:lnTo>
                  <a:lnTo>
                    <a:pt x="146" y="231"/>
                  </a:lnTo>
                  <a:lnTo>
                    <a:pt x="144" y="231"/>
                  </a:lnTo>
                  <a:lnTo>
                    <a:pt x="142" y="231"/>
                  </a:lnTo>
                  <a:lnTo>
                    <a:pt x="140" y="231"/>
                  </a:lnTo>
                  <a:lnTo>
                    <a:pt x="140" y="229"/>
                  </a:lnTo>
                  <a:lnTo>
                    <a:pt x="138" y="229"/>
                  </a:lnTo>
                  <a:lnTo>
                    <a:pt x="138" y="227"/>
                  </a:lnTo>
                  <a:lnTo>
                    <a:pt x="136" y="227"/>
                  </a:lnTo>
                  <a:lnTo>
                    <a:pt x="136" y="225"/>
                  </a:lnTo>
                  <a:lnTo>
                    <a:pt x="134" y="225"/>
                  </a:lnTo>
                  <a:lnTo>
                    <a:pt x="132" y="225"/>
                  </a:lnTo>
                  <a:lnTo>
                    <a:pt x="132" y="223"/>
                  </a:lnTo>
                  <a:lnTo>
                    <a:pt x="131" y="223"/>
                  </a:lnTo>
                  <a:lnTo>
                    <a:pt x="129" y="223"/>
                  </a:lnTo>
                  <a:lnTo>
                    <a:pt x="129" y="221"/>
                  </a:lnTo>
                  <a:lnTo>
                    <a:pt x="127" y="221"/>
                  </a:lnTo>
                  <a:lnTo>
                    <a:pt x="125" y="221"/>
                  </a:lnTo>
                  <a:lnTo>
                    <a:pt x="125" y="219"/>
                  </a:lnTo>
                  <a:lnTo>
                    <a:pt x="125" y="221"/>
                  </a:lnTo>
                  <a:lnTo>
                    <a:pt x="125" y="219"/>
                  </a:lnTo>
                  <a:lnTo>
                    <a:pt x="127" y="219"/>
                  </a:lnTo>
                  <a:lnTo>
                    <a:pt x="127" y="217"/>
                  </a:lnTo>
                  <a:lnTo>
                    <a:pt x="127" y="219"/>
                  </a:lnTo>
                  <a:lnTo>
                    <a:pt x="125" y="219"/>
                  </a:lnTo>
                  <a:lnTo>
                    <a:pt x="125" y="217"/>
                  </a:lnTo>
                  <a:lnTo>
                    <a:pt x="125" y="215"/>
                  </a:lnTo>
                  <a:lnTo>
                    <a:pt x="123" y="215"/>
                  </a:lnTo>
                  <a:lnTo>
                    <a:pt x="121" y="215"/>
                  </a:lnTo>
                  <a:lnTo>
                    <a:pt x="119" y="215"/>
                  </a:lnTo>
                  <a:lnTo>
                    <a:pt x="119" y="213"/>
                  </a:lnTo>
                  <a:lnTo>
                    <a:pt x="117" y="213"/>
                  </a:lnTo>
                  <a:lnTo>
                    <a:pt x="117" y="211"/>
                  </a:lnTo>
                  <a:lnTo>
                    <a:pt x="115" y="211"/>
                  </a:lnTo>
                  <a:lnTo>
                    <a:pt x="113" y="211"/>
                  </a:lnTo>
                  <a:lnTo>
                    <a:pt x="111" y="211"/>
                  </a:lnTo>
                  <a:lnTo>
                    <a:pt x="113" y="211"/>
                  </a:lnTo>
                  <a:lnTo>
                    <a:pt x="111" y="211"/>
                  </a:lnTo>
                  <a:lnTo>
                    <a:pt x="109" y="211"/>
                  </a:lnTo>
                  <a:lnTo>
                    <a:pt x="111" y="211"/>
                  </a:lnTo>
                  <a:lnTo>
                    <a:pt x="109" y="211"/>
                  </a:lnTo>
                  <a:lnTo>
                    <a:pt x="109" y="209"/>
                  </a:lnTo>
                  <a:lnTo>
                    <a:pt x="108" y="209"/>
                  </a:lnTo>
                  <a:lnTo>
                    <a:pt x="108" y="211"/>
                  </a:lnTo>
                  <a:lnTo>
                    <a:pt x="108" y="209"/>
                  </a:lnTo>
                  <a:lnTo>
                    <a:pt x="108" y="211"/>
                  </a:lnTo>
                  <a:lnTo>
                    <a:pt x="108" y="209"/>
                  </a:lnTo>
                  <a:lnTo>
                    <a:pt x="108" y="208"/>
                  </a:lnTo>
                  <a:lnTo>
                    <a:pt x="108" y="209"/>
                  </a:lnTo>
                  <a:lnTo>
                    <a:pt x="108" y="208"/>
                  </a:lnTo>
                  <a:lnTo>
                    <a:pt x="108" y="209"/>
                  </a:lnTo>
                  <a:lnTo>
                    <a:pt x="108" y="208"/>
                  </a:lnTo>
                  <a:lnTo>
                    <a:pt x="106" y="208"/>
                  </a:lnTo>
                  <a:lnTo>
                    <a:pt x="106" y="206"/>
                  </a:lnTo>
                  <a:lnTo>
                    <a:pt x="106" y="208"/>
                  </a:lnTo>
                  <a:lnTo>
                    <a:pt x="106" y="206"/>
                  </a:lnTo>
                  <a:lnTo>
                    <a:pt x="106" y="208"/>
                  </a:lnTo>
                  <a:lnTo>
                    <a:pt x="106" y="206"/>
                  </a:lnTo>
                  <a:lnTo>
                    <a:pt x="106" y="204"/>
                  </a:lnTo>
                  <a:lnTo>
                    <a:pt x="104" y="204"/>
                  </a:lnTo>
                  <a:lnTo>
                    <a:pt x="104" y="202"/>
                  </a:lnTo>
                  <a:lnTo>
                    <a:pt x="104" y="200"/>
                  </a:lnTo>
                  <a:lnTo>
                    <a:pt x="104" y="198"/>
                  </a:lnTo>
                  <a:lnTo>
                    <a:pt x="102" y="198"/>
                  </a:lnTo>
                  <a:lnTo>
                    <a:pt x="102" y="196"/>
                  </a:lnTo>
                  <a:lnTo>
                    <a:pt x="102" y="194"/>
                  </a:lnTo>
                  <a:lnTo>
                    <a:pt x="102" y="196"/>
                  </a:lnTo>
                  <a:lnTo>
                    <a:pt x="102" y="194"/>
                  </a:lnTo>
                  <a:lnTo>
                    <a:pt x="102" y="196"/>
                  </a:lnTo>
                  <a:lnTo>
                    <a:pt x="102" y="194"/>
                  </a:lnTo>
                  <a:lnTo>
                    <a:pt x="102" y="196"/>
                  </a:lnTo>
                  <a:lnTo>
                    <a:pt x="102" y="194"/>
                  </a:lnTo>
                  <a:lnTo>
                    <a:pt x="102" y="196"/>
                  </a:lnTo>
                  <a:lnTo>
                    <a:pt x="100" y="196"/>
                  </a:lnTo>
                  <a:lnTo>
                    <a:pt x="100" y="194"/>
                  </a:lnTo>
                  <a:lnTo>
                    <a:pt x="100" y="192"/>
                  </a:lnTo>
                  <a:lnTo>
                    <a:pt x="100" y="194"/>
                  </a:lnTo>
                  <a:lnTo>
                    <a:pt x="100" y="192"/>
                  </a:lnTo>
                  <a:lnTo>
                    <a:pt x="102" y="192"/>
                  </a:lnTo>
                  <a:lnTo>
                    <a:pt x="100" y="192"/>
                  </a:lnTo>
                  <a:lnTo>
                    <a:pt x="102" y="192"/>
                  </a:lnTo>
                  <a:lnTo>
                    <a:pt x="100" y="192"/>
                  </a:lnTo>
                  <a:lnTo>
                    <a:pt x="102" y="192"/>
                  </a:lnTo>
                  <a:lnTo>
                    <a:pt x="100" y="192"/>
                  </a:lnTo>
                  <a:lnTo>
                    <a:pt x="102" y="192"/>
                  </a:lnTo>
                  <a:lnTo>
                    <a:pt x="100" y="192"/>
                  </a:lnTo>
                  <a:lnTo>
                    <a:pt x="100" y="190"/>
                  </a:lnTo>
                  <a:lnTo>
                    <a:pt x="98" y="190"/>
                  </a:lnTo>
                  <a:lnTo>
                    <a:pt x="96" y="190"/>
                  </a:lnTo>
                  <a:lnTo>
                    <a:pt x="98" y="190"/>
                  </a:lnTo>
                  <a:lnTo>
                    <a:pt x="96" y="190"/>
                  </a:lnTo>
                  <a:lnTo>
                    <a:pt x="96" y="188"/>
                  </a:lnTo>
                  <a:lnTo>
                    <a:pt x="98" y="188"/>
                  </a:lnTo>
                  <a:lnTo>
                    <a:pt x="96" y="188"/>
                  </a:lnTo>
                  <a:lnTo>
                    <a:pt x="98" y="188"/>
                  </a:lnTo>
                  <a:lnTo>
                    <a:pt x="96" y="188"/>
                  </a:lnTo>
                  <a:lnTo>
                    <a:pt x="96" y="186"/>
                  </a:lnTo>
                  <a:lnTo>
                    <a:pt x="96" y="184"/>
                  </a:lnTo>
                  <a:lnTo>
                    <a:pt x="94" y="184"/>
                  </a:lnTo>
                  <a:lnTo>
                    <a:pt x="96" y="184"/>
                  </a:lnTo>
                  <a:lnTo>
                    <a:pt x="94" y="184"/>
                  </a:lnTo>
                  <a:lnTo>
                    <a:pt x="94" y="183"/>
                  </a:lnTo>
                  <a:lnTo>
                    <a:pt x="94" y="181"/>
                  </a:lnTo>
                  <a:lnTo>
                    <a:pt x="92" y="181"/>
                  </a:lnTo>
                  <a:lnTo>
                    <a:pt x="92" y="179"/>
                  </a:lnTo>
                  <a:lnTo>
                    <a:pt x="90" y="179"/>
                  </a:lnTo>
                  <a:lnTo>
                    <a:pt x="90" y="177"/>
                  </a:lnTo>
                  <a:lnTo>
                    <a:pt x="90" y="179"/>
                  </a:lnTo>
                  <a:lnTo>
                    <a:pt x="90" y="177"/>
                  </a:lnTo>
                  <a:lnTo>
                    <a:pt x="90" y="179"/>
                  </a:lnTo>
                  <a:lnTo>
                    <a:pt x="90" y="177"/>
                  </a:lnTo>
                  <a:lnTo>
                    <a:pt x="90" y="175"/>
                  </a:lnTo>
                  <a:lnTo>
                    <a:pt x="88" y="175"/>
                  </a:lnTo>
                  <a:lnTo>
                    <a:pt x="88" y="173"/>
                  </a:lnTo>
                  <a:lnTo>
                    <a:pt x="86" y="173"/>
                  </a:lnTo>
                  <a:lnTo>
                    <a:pt x="84" y="173"/>
                  </a:lnTo>
                  <a:lnTo>
                    <a:pt x="84" y="175"/>
                  </a:lnTo>
                  <a:lnTo>
                    <a:pt x="83" y="175"/>
                  </a:lnTo>
                  <a:lnTo>
                    <a:pt x="81" y="175"/>
                  </a:lnTo>
                  <a:lnTo>
                    <a:pt x="81" y="173"/>
                  </a:lnTo>
                  <a:lnTo>
                    <a:pt x="79" y="173"/>
                  </a:lnTo>
                  <a:lnTo>
                    <a:pt x="77" y="173"/>
                  </a:lnTo>
                  <a:lnTo>
                    <a:pt x="77" y="171"/>
                  </a:lnTo>
                  <a:lnTo>
                    <a:pt x="75" y="171"/>
                  </a:lnTo>
                  <a:lnTo>
                    <a:pt x="75" y="173"/>
                  </a:lnTo>
                  <a:lnTo>
                    <a:pt x="75" y="171"/>
                  </a:lnTo>
                  <a:lnTo>
                    <a:pt x="75" y="173"/>
                  </a:lnTo>
                  <a:lnTo>
                    <a:pt x="75" y="171"/>
                  </a:lnTo>
                  <a:lnTo>
                    <a:pt x="75" y="173"/>
                  </a:lnTo>
                  <a:lnTo>
                    <a:pt x="75" y="171"/>
                  </a:lnTo>
                  <a:lnTo>
                    <a:pt x="73" y="171"/>
                  </a:lnTo>
                  <a:lnTo>
                    <a:pt x="73" y="169"/>
                  </a:lnTo>
                  <a:lnTo>
                    <a:pt x="71" y="169"/>
                  </a:lnTo>
                  <a:lnTo>
                    <a:pt x="73" y="169"/>
                  </a:lnTo>
                  <a:lnTo>
                    <a:pt x="75" y="169"/>
                  </a:lnTo>
                  <a:lnTo>
                    <a:pt x="77" y="169"/>
                  </a:lnTo>
                  <a:lnTo>
                    <a:pt x="75" y="169"/>
                  </a:lnTo>
                  <a:lnTo>
                    <a:pt x="77" y="169"/>
                  </a:lnTo>
                  <a:lnTo>
                    <a:pt x="77" y="167"/>
                  </a:lnTo>
                  <a:lnTo>
                    <a:pt x="75" y="167"/>
                  </a:lnTo>
                  <a:lnTo>
                    <a:pt x="75" y="169"/>
                  </a:lnTo>
                  <a:lnTo>
                    <a:pt x="73" y="169"/>
                  </a:lnTo>
                  <a:lnTo>
                    <a:pt x="71" y="169"/>
                  </a:lnTo>
                  <a:lnTo>
                    <a:pt x="71" y="171"/>
                  </a:lnTo>
                  <a:lnTo>
                    <a:pt x="69" y="171"/>
                  </a:lnTo>
                  <a:lnTo>
                    <a:pt x="69" y="169"/>
                  </a:lnTo>
                  <a:lnTo>
                    <a:pt x="69" y="171"/>
                  </a:lnTo>
                  <a:lnTo>
                    <a:pt x="67" y="171"/>
                  </a:lnTo>
                  <a:lnTo>
                    <a:pt x="69" y="171"/>
                  </a:lnTo>
                  <a:lnTo>
                    <a:pt x="71" y="171"/>
                  </a:lnTo>
                  <a:lnTo>
                    <a:pt x="71" y="173"/>
                  </a:lnTo>
                  <a:lnTo>
                    <a:pt x="71" y="175"/>
                  </a:lnTo>
                  <a:lnTo>
                    <a:pt x="69" y="175"/>
                  </a:lnTo>
                  <a:lnTo>
                    <a:pt x="67" y="175"/>
                  </a:lnTo>
                  <a:lnTo>
                    <a:pt x="67" y="177"/>
                  </a:lnTo>
                  <a:lnTo>
                    <a:pt x="65" y="177"/>
                  </a:lnTo>
                  <a:lnTo>
                    <a:pt x="65" y="175"/>
                  </a:lnTo>
                  <a:lnTo>
                    <a:pt x="63" y="175"/>
                  </a:lnTo>
                  <a:lnTo>
                    <a:pt x="63" y="173"/>
                  </a:lnTo>
                  <a:lnTo>
                    <a:pt x="63" y="171"/>
                  </a:lnTo>
                  <a:lnTo>
                    <a:pt x="61" y="171"/>
                  </a:lnTo>
                  <a:lnTo>
                    <a:pt x="61" y="169"/>
                  </a:lnTo>
                  <a:lnTo>
                    <a:pt x="61" y="171"/>
                  </a:lnTo>
                  <a:lnTo>
                    <a:pt x="61" y="169"/>
                  </a:lnTo>
                  <a:lnTo>
                    <a:pt x="60" y="169"/>
                  </a:lnTo>
                  <a:lnTo>
                    <a:pt x="60" y="167"/>
                  </a:lnTo>
                  <a:lnTo>
                    <a:pt x="58" y="167"/>
                  </a:lnTo>
                  <a:lnTo>
                    <a:pt x="58" y="160"/>
                  </a:lnTo>
                  <a:lnTo>
                    <a:pt x="56" y="160"/>
                  </a:lnTo>
                  <a:lnTo>
                    <a:pt x="54" y="160"/>
                  </a:lnTo>
                  <a:lnTo>
                    <a:pt x="54" y="158"/>
                  </a:lnTo>
                  <a:lnTo>
                    <a:pt x="54" y="156"/>
                  </a:lnTo>
                  <a:lnTo>
                    <a:pt x="54" y="152"/>
                  </a:lnTo>
                  <a:lnTo>
                    <a:pt x="54" y="150"/>
                  </a:lnTo>
                  <a:lnTo>
                    <a:pt x="54" y="148"/>
                  </a:lnTo>
                  <a:lnTo>
                    <a:pt x="56" y="146"/>
                  </a:lnTo>
                  <a:lnTo>
                    <a:pt x="56" y="144"/>
                  </a:lnTo>
                  <a:lnTo>
                    <a:pt x="54" y="144"/>
                  </a:lnTo>
                  <a:lnTo>
                    <a:pt x="54" y="142"/>
                  </a:lnTo>
                  <a:lnTo>
                    <a:pt x="54" y="140"/>
                  </a:lnTo>
                  <a:lnTo>
                    <a:pt x="54" y="142"/>
                  </a:lnTo>
                  <a:lnTo>
                    <a:pt x="54" y="140"/>
                  </a:lnTo>
                  <a:lnTo>
                    <a:pt x="52" y="140"/>
                  </a:lnTo>
                  <a:lnTo>
                    <a:pt x="54" y="140"/>
                  </a:lnTo>
                  <a:lnTo>
                    <a:pt x="52" y="140"/>
                  </a:lnTo>
                  <a:lnTo>
                    <a:pt x="52" y="138"/>
                  </a:lnTo>
                  <a:lnTo>
                    <a:pt x="52" y="136"/>
                  </a:lnTo>
                  <a:lnTo>
                    <a:pt x="50" y="136"/>
                  </a:lnTo>
                  <a:lnTo>
                    <a:pt x="52" y="136"/>
                  </a:lnTo>
                  <a:lnTo>
                    <a:pt x="50" y="136"/>
                  </a:lnTo>
                  <a:lnTo>
                    <a:pt x="50" y="135"/>
                  </a:lnTo>
                  <a:lnTo>
                    <a:pt x="50" y="133"/>
                  </a:lnTo>
                  <a:lnTo>
                    <a:pt x="48" y="133"/>
                  </a:lnTo>
                  <a:lnTo>
                    <a:pt x="46" y="133"/>
                  </a:lnTo>
                  <a:lnTo>
                    <a:pt x="46" y="135"/>
                  </a:lnTo>
                  <a:lnTo>
                    <a:pt x="46" y="133"/>
                  </a:lnTo>
                  <a:lnTo>
                    <a:pt x="46" y="135"/>
                  </a:lnTo>
                  <a:lnTo>
                    <a:pt x="46" y="133"/>
                  </a:lnTo>
                  <a:lnTo>
                    <a:pt x="44" y="133"/>
                  </a:lnTo>
                  <a:lnTo>
                    <a:pt x="42" y="131"/>
                  </a:lnTo>
                  <a:lnTo>
                    <a:pt x="40" y="131"/>
                  </a:lnTo>
                  <a:lnTo>
                    <a:pt x="40" y="129"/>
                  </a:lnTo>
                  <a:lnTo>
                    <a:pt x="38" y="129"/>
                  </a:lnTo>
                  <a:lnTo>
                    <a:pt x="38" y="127"/>
                  </a:lnTo>
                  <a:lnTo>
                    <a:pt x="37" y="127"/>
                  </a:lnTo>
                  <a:lnTo>
                    <a:pt x="37" y="125"/>
                  </a:lnTo>
                  <a:lnTo>
                    <a:pt x="35" y="125"/>
                  </a:lnTo>
                  <a:lnTo>
                    <a:pt x="33" y="125"/>
                  </a:lnTo>
                  <a:lnTo>
                    <a:pt x="31" y="125"/>
                  </a:lnTo>
                  <a:lnTo>
                    <a:pt x="31" y="123"/>
                  </a:lnTo>
                  <a:lnTo>
                    <a:pt x="29" y="123"/>
                  </a:lnTo>
                  <a:lnTo>
                    <a:pt x="31" y="123"/>
                  </a:lnTo>
                  <a:lnTo>
                    <a:pt x="31" y="121"/>
                  </a:lnTo>
                  <a:lnTo>
                    <a:pt x="33" y="121"/>
                  </a:lnTo>
                  <a:lnTo>
                    <a:pt x="31" y="121"/>
                  </a:lnTo>
                  <a:lnTo>
                    <a:pt x="31" y="119"/>
                  </a:lnTo>
                  <a:lnTo>
                    <a:pt x="31" y="117"/>
                  </a:lnTo>
                  <a:lnTo>
                    <a:pt x="29" y="117"/>
                  </a:lnTo>
                  <a:lnTo>
                    <a:pt x="29" y="115"/>
                  </a:lnTo>
                  <a:lnTo>
                    <a:pt x="27" y="115"/>
                  </a:lnTo>
                  <a:lnTo>
                    <a:pt x="29" y="115"/>
                  </a:lnTo>
                  <a:lnTo>
                    <a:pt x="29" y="113"/>
                  </a:lnTo>
                  <a:lnTo>
                    <a:pt x="27" y="113"/>
                  </a:lnTo>
                  <a:lnTo>
                    <a:pt x="25" y="113"/>
                  </a:lnTo>
                  <a:lnTo>
                    <a:pt x="25" y="111"/>
                  </a:lnTo>
                  <a:lnTo>
                    <a:pt x="23" y="111"/>
                  </a:lnTo>
                  <a:lnTo>
                    <a:pt x="23" y="110"/>
                  </a:lnTo>
                  <a:lnTo>
                    <a:pt x="23" y="108"/>
                  </a:lnTo>
                  <a:lnTo>
                    <a:pt x="21" y="110"/>
                  </a:lnTo>
                  <a:lnTo>
                    <a:pt x="21" y="108"/>
                  </a:lnTo>
                  <a:lnTo>
                    <a:pt x="19" y="108"/>
                  </a:lnTo>
                  <a:lnTo>
                    <a:pt x="21" y="108"/>
                  </a:lnTo>
                  <a:lnTo>
                    <a:pt x="21" y="106"/>
                  </a:lnTo>
                  <a:lnTo>
                    <a:pt x="21" y="104"/>
                  </a:lnTo>
                  <a:lnTo>
                    <a:pt x="21" y="106"/>
                  </a:lnTo>
                  <a:lnTo>
                    <a:pt x="21" y="104"/>
                  </a:lnTo>
                  <a:lnTo>
                    <a:pt x="23" y="104"/>
                  </a:lnTo>
                  <a:lnTo>
                    <a:pt x="23" y="102"/>
                  </a:lnTo>
                  <a:lnTo>
                    <a:pt x="23" y="100"/>
                  </a:lnTo>
                  <a:lnTo>
                    <a:pt x="21" y="100"/>
                  </a:lnTo>
                  <a:lnTo>
                    <a:pt x="21" y="98"/>
                  </a:lnTo>
                  <a:lnTo>
                    <a:pt x="21" y="96"/>
                  </a:lnTo>
                  <a:lnTo>
                    <a:pt x="23" y="96"/>
                  </a:lnTo>
                  <a:lnTo>
                    <a:pt x="25" y="96"/>
                  </a:lnTo>
                  <a:lnTo>
                    <a:pt x="25" y="98"/>
                  </a:lnTo>
                  <a:lnTo>
                    <a:pt x="25" y="96"/>
                  </a:lnTo>
                  <a:lnTo>
                    <a:pt x="25" y="94"/>
                  </a:lnTo>
                  <a:lnTo>
                    <a:pt x="23" y="94"/>
                  </a:lnTo>
                  <a:lnTo>
                    <a:pt x="23" y="92"/>
                  </a:lnTo>
                  <a:lnTo>
                    <a:pt x="25" y="92"/>
                  </a:lnTo>
                  <a:lnTo>
                    <a:pt x="25" y="90"/>
                  </a:lnTo>
                  <a:lnTo>
                    <a:pt x="27" y="90"/>
                  </a:lnTo>
                  <a:lnTo>
                    <a:pt x="27" y="88"/>
                  </a:lnTo>
                  <a:lnTo>
                    <a:pt x="27" y="87"/>
                  </a:lnTo>
                  <a:lnTo>
                    <a:pt x="27" y="88"/>
                  </a:lnTo>
                  <a:lnTo>
                    <a:pt x="27" y="87"/>
                  </a:lnTo>
                  <a:lnTo>
                    <a:pt x="29" y="87"/>
                  </a:lnTo>
                  <a:lnTo>
                    <a:pt x="29" y="88"/>
                  </a:lnTo>
                  <a:lnTo>
                    <a:pt x="31" y="88"/>
                  </a:lnTo>
                  <a:lnTo>
                    <a:pt x="29" y="88"/>
                  </a:lnTo>
                  <a:lnTo>
                    <a:pt x="29" y="87"/>
                  </a:lnTo>
                  <a:lnTo>
                    <a:pt x="31" y="87"/>
                  </a:lnTo>
                  <a:lnTo>
                    <a:pt x="31" y="88"/>
                  </a:lnTo>
                  <a:lnTo>
                    <a:pt x="31" y="87"/>
                  </a:lnTo>
                  <a:lnTo>
                    <a:pt x="31" y="85"/>
                  </a:lnTo>
                  <a:lnTo>
                    <a:pt x="31" y="83"/>
                  </a:lnTo>
                  <a:lnTo>
                    <a:pt x="29" y="83"/>
                  </a:lnTo>
                  <a:lnTo>
                    <a:pt x="29" y="81"/>
                  </a:lnTo>
                  <a:lnTo>
                    <a:pt x="29" y="79"/>
                  </a:lnTo>
                  <a:lnTo>
                    <a:pt x="29" y="77"/>
                  </a:lnTo>
                  <a:lnTo>
                    <a:pt x="31" y="77"/>
                  </a:lnTo>
                  <a:lnTo>
                    <a:pt x="33" y="77"/>
                  </a:lnTo>
                  <a:lnTo>
                    <a:pt x="33" y="75"/>
                  </a:lnTo>
                  <a:lnTo>
                    <a:pt x="35" y="75"/>
                  </a:lnTo>
                  <a:lnTo>
                    <a:pt x="33" y="75"/>
                  </a:lnTo>
                  <a:lnTo>
                    <a:pt x="31" y="75"/>
                  </a:lnTo>
                  <a:lnTo>
                    <a:pt x="31" y="73"/>
                  </a:lnTo>
                  <a:lnTo>
                    <a:pt x="29" y="73"/>
                  </a:lnTo>
                  <a:lnTo>
                    <a:pt x="29" y="75"/>
                  </a:lnTo>
                  <a:lnTo>
                    <a:pt x="27" y="75"/>
                  </a:lnTo>
                  <a:lnTo>
                    <a:pt x="27" y="73"/>
                  </a:lnTo>
                  <a:lnTo>
                    <a:pt x="27" y="75"/>
                  </a:lnTo>
                  <a:lnTo>
                    <a:pt x="25" y="75"/>
                  </a:lnTo>
                  <a:lnTo>
                    <a:pt x="25" y="73"/>
                  </a:lnTo>
                  <a:lnTo>
                    <a:pt x="23" y="73"/>
                  </a:lnTo>
                  <a:lnTo>
                    <a:pt x="23" y="71"/>
                  </a:lnTo>
                  <a:lnTo>
                    <a:pt x="21" y="71"/>
                  </a:lnTo>
                  <a:lnTo>
                    <a:pt x="19" y="71"/>
                  </a:lnTo>
                  <a:lnTo>
                    <a:pt x="19" y="69"/>
                  </a:lnTo>
                  <a:lnTo>
                    <a:pt x="19" y="67"/>
                  </a:lnTo>
                  <a:lnTo>
                    <a:pt x="17" y="67"/>
                  </a:lnTo>
                  <a:lnTo>
                    <a:pt x="17" y="65"/>
                  </a:lnTo>
                  <a:lnTo>
                    <a:pt x="19" y="65"/>
                  </a:lnTo>
                  <a:lnTo>
                    <a:pt x="17" y="65"/>
                  </a:lnTo>
                  <a:lnTo>
                    <a:pt x="17" y="63"/>
                  </a:lnTo>
                  <a:lnTo>
                    <a:pt x="15" y="63"/>
                  </a:lnTo>
                  <a:lnTo>
                    <a:pt x="15" y="62"/>
                  </a:lnTo>
                  <a:lnTo>
                    <a:pt x="13" y="62"/>
                  </a:lnTo>
                  <a:lnTo>
                    <a:pt x="15" y="62"/>
                  </a:lnTo>
                  <a:lnTo>
                    <a:pt x="15" y="60"/>
                  </a:lnTo>
                  <a:lnTo>
                    <a:pt x="15" y="58"/>
                  </a:lnTo>
                  <a:lnTo>
                    <a:pt x="13" y="58"/>
                  </a:lnTo>
                  <a:lnTo>
                    <a:pt x="13" y="56"/>
                  </a:lnTo>
                  <a:lnTo>
                    <a:pt x="13" y="58"/>
                  </a:lnTo>
                  <a:lnTo>
                    <a:pt x="12" y="58"/>
                  </a:lnTo>
                  <a:lnTo>
                    <a:pt x="12" y="56"/>
                  </a:lnTo>
                  <a:lnTo>
                    <a:pt x="13" y="56"/>
                  </a:lnTo>
                  <a:lnTo>
                    <a:pt x="13" y="54"/>
                  </a:lnTo>
                  <a:lnTo>
                    <a:pt x="12" y="54"/>
                  </a:lnTo>
                  <a:lnTo>
                    <a:pt x="13" y="54"/>
                  </a:lnTo>
                  <a:lnTo>
                    <a:pt x="13" y="52"/>
                  </a:lnTo>
                  <a:lnTo>
                    <a:pt x="12" y="52"/>
                  </a:lnTo>
                  <a:lnTo>
                    <a:pt x="12" y="50"/>
                  </a:lnTo>
                  <a:lnTo>
                    <a:pt x="10" y="50"/>
                  </a:lnTo>
                  <a:lnTo>
                    <a:pt x="12" y="50"/>
                  </a:lnTo>
                  <a:lnTo>
                    <a:pt x="12" y="48"/>
                  </a:lnTo>
                  <a:lnTo>
                    <a:pt x="12" y="46"/>
                  </a:lnTo>
                  <a:lnTo>
                    <a:pt x="10" y="46"/>
                  </a:lnTo>
                  <a:lnTo>
                    <a:pt x="10" y="44"/>
                  </a:lnTo>
                  <a:lnTo>
                    <a:pt x="8" y="44"/>
                  </a:lnTo>
                  <a:lnTo>
                    <a:pt x="8" y="42"/>
                  </a:lnTo>
                  <a:lnTo>
                    <a:pt x="8" y="40"/>
                  </a:lnTo>
                  <a:lnTo>
                    <a:pt x="8" y="38"/>
                  </a:lnTo>
                  <a:lnTo>
                    <a:pt x="6" y="38"/>
                  </a:lnTo>
                  <a:lnTo>
                    <a:pt x="6" y="37"/>
                  </a:lnTo>
                  <a:lnTo>
                    <a:pt x="4" y="37"/>
                  </a:lnTo>
                  <a:lnTo>
                    <a:pt x="2" y="37"/>
                  </a:lnTo>
                  <a:lnTo>
                    <a:pt x="4" y="37"/>
                  </a:lnTo>
                  <a:lnTo>
                    <a:pt x="4" y="35"/>
                  </a:lnTo>
                  <a:lnTo>
                    <a:pt x="4" y="33"/>
                  </a:lnTo>
                  <a:lnTo>
                    <a:pt x="6" y="33"/>
                  </a:lnTo>
                  <a:lnTo>
                    <a:pt x="4" y="33"/>
                  </a:lnTo>
                  <a:lnTo>
                    <a:pt x="6" y="33"/>
                  </a:lnTo>
                  <a:lnTo>
                    <a:pt x="6" y="31"/>
                  </a:lnTo>
                  <a:lnTo>
                    <a:pt x="6" y="29"/>
                  </a:lnTo>
                  <a:lnTo>
                    <a:pt x="8" y="29"/>
                  </a:lnTo>
                  <a:lnTo>
                    <a:pt x="6" y="29"/>
                  </a:lnTo>
                  <a:lnTo>
                    <a:pt x="8" y="29"/>
                  </a:lnTo>
                  <a:lnTo>
                    <a:pt x="6" y="29"/>
                  </a:lnTo>
                  <a:lnTo>
                    <a:pt x="8" y="29"/>
                  </a:lnTo>
                  <a:lnTo>
                    <a:pt x="8" y="27"/>
                  </a:lnTo>
                  <a:lnTo>
                    <a:pt x="6" y="27"/>
                  </a:lnTo>
                  <a:lnTo>
                    <a:pt x="4" y="27"/>
                  </a:lnTo>
                  <a:lnTo>
                    <a:pt x="4" y="25"/>
                  </a:lnTo>
                  <a:lnTo>
                    <a:pt x="4" y="23"/>
                  </a:lnTo>
                  <a:lnTo>
                    <a:pt x="4" y="21"/>
                  </a:lnTo>
                  <a:lnTo>
                    <a:pt x="4" y="19"/>
                  </a:lnTo>
                  <a:lnTo>
                    <a:pt x="4" y="17"/>
                  </a:lnTo>
                  <a:lnTo>
                    <a:pt x="2" y="17"/>
                  </a:lnTo>
                  <a:lnTo>
                    <a:pt x="2" y="15"/>
                  </a:lnTo>
                  <a:lnTo>
                    <a:pt x="2" y="14"/>
                  </a:lnTo>
                  <a:lnTo>
                    <a:pt x="2" y="12"/>
                  </a:lnTo>
                  <a:lnTo>
                    <a:pt x="0" y="12"/>
                  </a:lnTo>
                  <a:lnTo>
                    <a:pt x="0" y="10"/>
                  </a:lnTo>
                  <a:lnTo>
                    <a:pt x="0" y="8"/>
                  </a:lnTo>
                  <a:lnTo>
                    <a:pt x="2" y="8"/>
                  </a:lnTo>
                  <a:lnTo>
                    <a:pt x="4" y="8"/>
                  </a:lnTo>
                  <a:lnTo>
                    <a:pt x="6" y="8"/>
                  </a:lnTo>
                  <a:lnTo>
                    <a:pt x="6" y="6"/>
                  </a:lnTo>
                  <a:lnTo>
                    <a:pt x="6" y="4"/>
                  </a:lnTo>
                  <a:lnTo>
                    <a:pt x="6" y="2"/>
                  </a:lnTo>
                  <a:lnTo>
                    <a:pt x="8" y="2"/>
                  </a:lnTo>
                  <a:lnTo>
                    <a:pt x="8" y="0"/>
                  </a:lnTo>
                  <a:lnTo>
                    <a:pt x="8" y="2"/>
                  </a:lnTo>
                  <a:lnTo>
                    <a:pt x="10" y="2"/>
                  </a:lnTo>
                  <a:lnTo>
                    <a:pt x="12" y="2"/>
                  </a:lnTo>
                  <a:lnTo>
                    <a:pt x="12" y="4"/>
                  </a:lnTo>
                  <a:close/>
                  <a:moveTo>
                    <a:pt x="177" y="227"/>
                  </a:moveTo>
                  <a:lnTo>
                    <a:pt x="179" y="227"/>
                  </a:lnTo>
                  <a:lnTo>
                    <a:pt x="177" y="227"/>
                  </a:lnTo>
                  <a:lnTo>
                    <a:pt x="177" y="229"/>
                  </a:lnTo>
                  <a:lnTo>
                    <a:pt x="177" y="231"/>
                  </a:lnTo>
                  <a:lnTo>
                    <a:pt x="175" y="231"/>
                  </a:lnTo>
                  <a:lnTo>
                    <a:pt x="173" y="231"/>
                  </a:lnTo>
                  <a:lnTo>
                    <a:pt x="171" y="231"/>
                  </a:lnTo>
                  <a:lnTo>
                    <a:pt x="169" y="231"/>
                  </a:lnTo>
                  <a:lnTo>
                    <a:pt x="169" y="232"/>
                  </a:lnTo>
                  <a:lnTo>
                    <a:pt x="167" y="232"/>
                  </a:lnTo>
                  <a:lnTo>
                    <a:pt x="165" y="232"/>
                  </a:lnTo>
                  <a:lnTo>
                    <a:pt x="165" y="231"/>
                  </a:lnTo>
                  <a:lnTo>
                    <a:pt x="163" y="231"/>
                  </a:lnTo>
                  <a:lnTo>
                    <a:pt x="165" y="231"/>
                  </a:lnTo>
                  <a:lnTo>
                    <a:pt x="165" y="232"/>
                  </a:lnTo>
                  <a:lnTo>
                    <a:pt x="165" y="231"/>
                  </a:lnTo>
                  <a:lnTo>
                    <a:pt x="165" y="232"/>
                  </a:lnTo>
                  <a:lnTo>
                    <a:pt x="165" y="231"/>
                  </a:lnTo>
                  <a:lnTo>
                    <a:pt x="165" y="232"/>
                  </a:lnTo>
                  <a:lnTo>
                    <a:pt x="165" y="231"/>
                  </a:lnTo>
                  <a:lnTo>
                    <a:pt x="167" y="231"/>
                  </a:lnTo>
                  <a:lnTo>
                    <a:pt x="169" y="231"/>
                  </a:lnTo>
                  <a:lnTo>
                    <a:pt x="171" y="231"/>
                  </a:lnTo>
                  <a:lnTo>
                    <a:pt x="171" y="229"/>
                  </a:lnTo>
                  <a:lnTo>
                    <a:pt x="169" y="229"/>
                  </a:lnTo>
                  <a:lnTo>
                    <a:pt x="171" y="229"/>
                  </a:lnTo>
                  <a:lnTo>
                    <a:pt x="171" y="231"/>
                  </a:lnTo>
                  <a:lnTo>
                    <a:pt x="171" y="229"/>
                  </a:lnTo>
                  <a:lnTo>
                    <a:pt x="173" y="229"/>
                  </a:lnTo>
                  <a:lnTo>
                    <a:pt x="171" y="229"/>
                  </a:lnTo>
                  <a:lnTo>
                    <a:pt x="171" y="227"/>
                  </a:lnTo>
                  <a:lnTo>
                    <a:pt x="173" y="227"/>
                  </a:lnTo>
                  <a:lnTo>
                    <a:pt x="175" y="227"/>
                  </a:lnTo>
                  <a:lnTo>
                    <a:pt x="177" y="227"/>
                  </a:lnTo>
                  <a:lnTo>
                    <a:pt x="177" y="225"/>
                  </a:lnTo>
                  <a:lnTo>
                    <a:pt x="177" y="227"/>
                  </a:lnTo>
                  <a:close/>
                  <a:moveTo>
                    <a:pt x="144" y="232"/>
                  </a:moveTo>
                  <a:lnTo>
                    <a:pt x="146" y="232"/>
                  </a:lnTo>
                  <a:lnTo>
                    <a:pt x="146" y="234"/>
                  </a:lnTo>
                  <a:lnTo>
                    <a:pt x="144" y="234"/>
                  </a:lnTo>
                  <a:lnTo>
                    <a:pt x="144" y="232"/>
                  </a:lnTo>
                  <a:close/>
                  <a:moveTo>
                    <a:pt x="132" y="229"/>
                  </a:moveTo>
                  <a:lnTo>
                    <a:pt x="136" y="229"/>
                  </a:lnTo>
                  <a:lnTo>
                    <a:pt x="132" y="229"/>
                  </a:lnTo>
                  <a:close/>
                  <a:moveTo>
                    <a:pt x="180" y="227"/>
                  </a:moveTo>
                  <a:lnTo>
                    <a:pt x="180" y="229"/>
                  </a:lnTo>
                  <a:lnTo>
                    <a:pt x="180" y="227"/>
                  </a:lnTo>
                  <a:close/>
                  <a:moveTo>
                    <a:pt x="180" y="225"/>
                  </a:moveTo>
                  <a:lnTo>
                    <a:pt x="182" y="225"/>
                  </a:lnTo>
                  <a:lnTo>
                    <a:pt x="180" y="225"/>
                  </a:lnTo>
                  <a:close/>
                  <a:moveTo>
                    <a:pt x="173" y="231"/>
                  </a:moveTo>
                  <a:lnTo>
                    <a:pt x="173" y="232"/>
                  </a:lnTo>
                  <a:lnTo>
                    <a:pt x="173" y="231"/>
                  </a:lnTo>
                  <a:close/>
                  <a:moveTo>
                    <a:pt x="154" y="236"/>
                  </a:moveTo>
                  <a:lnTo>
                    <a:pt x="154" y="238"/>
                  </a:lnTo>
                  <a:lnTo>
                    <a:pt x="154" y="236"/>
                  </a:lnTo>
                  <a:close/>
                  <a:moveTo>
                    <a:pt x="144" y="46"/>
                  </a:moveTo>
                  <a:lnTo>
                    <a:pt x="144" y="48"/>
                  </a:lnTo>
                  <a:lnTo>
                    <a:pt x="146" y="48"/>
                  </a:lnTo>
                  <a:lnTo>
                    <a:pt x="146" y="50"/>
                  </a:lnTo>
                  <a:lnTo>
                    <a:pt x="146" y="52"/>
                  </a:lnTo>
                  <a:lnTo>
                    <a:pt x="146" y="50"/>
                  </a:lnTo>
                  <a:lnTo>
                    <a:pt x="146" y="48"/>
                  </a:lnTo>
                  <a:lnTo>
                    <a:pt x="144" y="48"/>
                  </a:lnTo>
                  <a:lnTo>
                    <a:pt x="144" y="46"/>
                  </a:lnTo>
                  <a:close/>
                  <a:moveTo>
                    <a:pt x="75" y="167"/>
                  </a:moveTo>
                  <a:lnTo>
                    <a:pt x="75" y="169"/>
                  </a:lnTo>
                  <a:lnTo>
                    <a:pt x="75" y="167"/>
                  </a:lnTo>
                  <a:close/>
                  <a:moveTo>
                    <a:pt x="108" y="211"/>
                  </a:moveTo>
                  <a:lnTo>
                    <a:pt x="109" y="211"/>
                  </a:lnTo>
                  <a:lnTo>
                    <a:pt x="108" y="211"/>
                  </a:lnTo>
                  <a:close/>
                  <a:moveTo>
                    <a:pt x="71" y="169"/>
                  </a:moveTo>
                  <a:lnTo>
                    <a:pt x="71" y="171"/>
                  </a:lnTo>
                  <a:lnTo>
                    <a:pt x="71" y="169"/>
                  </a:lnTo>
                  <a:close/>
                  <a:moveTo>
                    <a:pt x="203" y="248"/>
                  </a:moveTo>
                  <a:lnTo>
                    <a:pt x="205" y="248"/>
                  </a:lnTo>
                  <a:lnTo>
                    <a:pt x="203" y="248"/>
                  </a:lnTo>
                  <a:close/>
                  <a:moveTo>
                    <a:pt x="211" y="248"/>
                  </a:moveTo>
                  <a:lnTo>
                    <a:pt x="213" y="248"/>
                  </a:lnTo>
                  <a:lnTo>
                    <a:pt x="211" y="248"/>
                  </a:lnTo>
                  <a:close/>
                  <a:moveTo>
                    <a:pt x="196" y="246"/>
                  </a:moveTo>
                  <a:lnTo>
                    <a:pt x="198" y="246"/>
                  </a:lnTo>
                  <a:lnTo>
                    <a:pt x="196" y="246"/>
                  </a:lnTo>
                  <a:close/>
                  <a:moveTo>
                    <a:pt x="92" y="186"/>
                  </a:moveTo>
                  <a:lnTo>
                    <a:pt x="92" y="188"/>
                  </a:lnTo>
                  <a:lnTo>
                    <a:pt x="92" y="186"/>
                  </a:lnTo>
                  <a:close/>
                  <a:moveTo>
                    <a:pt x="209" y="248"/>
                  </a:moveTo>
                  <a:lnTo>
                    <a:pt x="209" y="250"/>
                  </a:lnTo>
                  <a:lnTo>
                    <a:pt x="209" y="248"/>
                  </a:lnTo>
                  <a:close/>
                  <a:moveTo>
                    <a:pt x="75" y="169"/>
                  </a:moveTo>
                  <a:lnTo>
                    <a:pt x="77" y="169"/>
                  </a:lnTo>
                  <a:lnTo>
                    <a:pt x="75" y="169"/>
                  </a:lnTo>
                  <a:close/>
                  <a:moveTo>
                    <a:pt x="73" y="169"/>
                  </a:moveTo>
                  <a:lnTo>
                    <a:pt x="75" y="169"/>
                  </a:lnTo>
                  <a:lnTo>
                    <a:pt x="73" y="169"/>
                  </a:lnTo>
                  <a:close/>
                  <a:moveTo>
                    <a:pt x="255" y="256"/>
                  </a:moveTo>
                  <a:lnTo>
                    <a:pt x="257" y="256"/>
                  </a:lnTo>
                  <a:lnTo>
                    <a:pt x="255" y="256"/>
                  </a:lnTo>
                  <a:close/>
                  <a:moveTo>
                    <a:pt x="90" y="175"/>
                  </a:moveTo>
                  <a:lnTo>
                    <a:pt x="90" y="177"/>
                  </a:lnTo>
                  <a:lnTo>
                    <a:pt x="90" y="175"/>
                  </a:lnTo>
                  <a:close/>
                  <a:moveTo>
                    <a:pt x="188" y="225"/>
                  </a:moveTo>
                  <a:lnTo>
                    <a:pt x="188" y="227"/>
                  </a:lnTo>
                  <a:lnTo>
                    <a:pt x="188" y="225"/>
                  </a:lnTo>
                  <a:close/>
                  <a:moveTo>
                    <a:pt x="190" y="234"/>
                  </a:moveTo>
                  <a:lnTo>
                    <a:pt x="190" y="236"/>
                  </a:lnTo>
                  <a:lnTo>
                    <a:pt x="190" y="234"/>
                  </a:lnTo>
                  <a:close/>
                  <a:moveTo>
                    <a:pt x="77" y="167"/>
                  </a:moveTo>
                  <a:lnTo>
                    <a:pt x="77" y="169"/>
                  </a:lnTo>
                  <a:lnTo>
                    <a:pt x="77" y="167"/>
                  </a:lnTo>
                  <a:close/>
                  <a:moveTo>
                    <a:pt x="75" y="167"/>
                  </a:moveTo>
                  <a:lnTo>
                    <a:pt x="75" y="169"/>
                  </a:lnTo>
                  <a:lnTo>
                    <a:pt x="75" y="167"/>
                  </a:lnTo>
                  <a:close/>
                  <a:moveTo>
                    <a:pt x="205" y="250"/>
                  </a:moveTo>
                  <a:lnTo>
                    <a:pt x="207" y="250"/>
                  </a:lnTo>
                  <a:lnTo>
                    <a:pt x="205" y="250"/>
                  </a:lnTo>
                  <a:close/>
                  <a:moveTo>
                    <a:pt x="90" y="175"/>
                  </a:moveTo>
                  <a:lnTo>
                    <a:pt x="90" y="177"/>
                  </a:lnTo>
                  <a:lnTo>
                    <a:pt x="90" y="175"/>
                  </a:lnTo>
                  <a:close/>
                  <a:moveTo>
                    <a:pt x="192" y="242"/>
                  </a:moveTo>
                  <a:lnTo>
                    <a:pt x="194" y="242"/>
                  </a:lnTo>
                  <a:lnTo>
                    <a:pt x="192" y="242"/>
                  </a:lnTo>
                  <a:close/>
                  <a:moveTo>
                    <a:pt x="75" y="167"/>
                  </a:moveTo>
                  <a:lnTo>
                    <a:pt x="77" y="167"/>
                  </a:lnTo>
                  <a:lnTo>
                    <a:pt x="75" y="167"/>
                  </a:lnTo>
                  <a:close/>
                  <a:moveTo>
                    <a:pt x="75" y="169"/>
                  </a:moveTo>
                  <a:lnTo>
                    <a:pt x="77" y="169"/>
                  </a:lnTo>
                  <a:lnTo>
                    <a:pt x="75" y="169"/>
                  </a:lnTo>
                  <a:close/>
                  <a:moveTo>
                    <a:pt x="96" y="188"/>
                  </a:moveTo>
                  <a:lnTo>
                    <a:pt x="96" y="190"/>
                  </a:lnTo>
                  <a:lnTo>
                    <a:pt x="96" y="188"/>
                  </a:lnTo>
                  <a:close/>
                  <a:moveTo>
                    <a:pt x="186" y="225"/>
                  </a:moveTo>
                  <a:lnTo>
                    <a:pt x="188" y="225"/>
                  </a:lnTo>
                  <a:lnTo>
                    <a:pt x="186" y="225"/>
                  </a:lnTo>
                  <a:close/>
                  <a:moveTo>
                    <a:pt x="94" y="183"/>
                  </a:moveTo>
                  <a:lnTo>
                    <a:pt x="94" y="184"/>
                  </a:lnTo>
                  <a:lnTo>
                    <a:pt x="94" y="183"/>
                  </a:lnTo>
                  <a:close/>
                  <a:moveTo>
                    <a:pt x="106" y="209"/>
                  </a:moveTo>
                  <a:lnTo>
                    <a:pt x="108" y="209"/>
                  </a:lnTo>
                  <a:lnTo>
                    <a:pt x="106" y="20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336">
              <a:extLst>
                <a:ext uri="{FF2B5EF4-FFF2-40B4-BE49-F238E27FC236}">
                  <a16:creationId xmlns:a16="http://schemas.microsoft.com/office/drawing/2014/main" id="{062BD9AC-8307-4E41-BDC4-AFB095053DCA}"/>
                </a:ext>
              </a:extLst>
            </p:cNvPr>
            <p:cNvSpPr>
              <a:spLocks/>
            </p:cNvSpPr>
            <p:nvPr/>
          </p:nvSpPr>
          <p:spPr bwMode="gray">
            <a:xfrm>
              <a:off x="4644350" y="3793823"/>
              <a:ext cx="148392" cy="82168"/>
            </a:xfrm>
            <a:custGeom>
              <a:avLst/>
              <a:gdLst>
                <a:gd name="T0" fmla="*/ 119 w 121"/>
                <a:gd name="T1" fmla="*/ 44 h 67"/>
                <a:gd name="T2" fmla="*/ 117 w 121"/>
                <a:gd name="T3" fmla="*/ 50 h 67"/>
                <a:gd name="T4" fmla="*/ 119 w 121"/>
                <a:gd name="T5" fmla="*/ 56 h 67"/>
                <a:gd name="T6" fmla="*/ 119 w 121"/>
                <a:gd name="T7" fmla="*/ 67 h 67"/>
                <a:gd name="T8" fmla="*/ 113 w 121"/>
                <a:gd name="T9" fmla="*/ 65 h 67"/>
                <a:gd name="T10" fmla="*/ 107 w 121"/>
                <a:gd name="T11" fmla="*/ 65 h 67"/>
                <a:gd name="T12" fmla="*/ 105 w 121"/>
                <a:gd name="T13" fmla="*/ 67 h 67"/>
                <a:gd name="T14" fmla="*/ 100 w 121"/>
                <a:gd name="T15" fmla="*/ 65 h 67"/>
                <a:gd name="T16" fmla="*/ 94 w 121"/>
                <a:gd name="T17" fmla="*/ 63 h 67"/>
                <a:gd name="T18" fmla="*/ 86 w 121"/>
                <a:gd name="T19" fmla="*/ 63 h 67"/>
                <a:gd name="T20" fmla="*/ 82 w 121"/>
                <a:gd name="T21" fmla="*/ 60 h 67"/>
                <a:gd name="T22" fmla="*/ 75 w 121"/>
                <a:gd name="T23" fmla="*/ 60 h 67"/>
                <a:gd name="T24" fmla="*/ 73 w 121"/>
                <a:gd name="T25" fmla="*/ 58 h 67"/>
                <a:gd name="T26" fmla="*/ 71 w 121"/>
                <a:gd name="T27" fmla="*/ 56 h 67"/>
                <a:gd name="T28" fmla="*/ 69 w 121"/>
                <a:gd name="T29" fmla="*/ 54 h 67"/>
                <a:gd name="T30" fmla="*/ 61 w 121"/>
                <a:gd name="T31" fmla="*/ 50 h 67"/>
                <a:gd name="T32" fmla="*/ 58 w 121"/>
                <a:gd name="T33" fmla="*/ 50 h 67"/>
                <a:gd name="T34" fmla="*/ 50 w 121"/>
                <a:gd name="T35" fmla="*/ 50 h 67"/>
                <a:gd name="T36" fmla="*/ 46 w 121"/>
                <a:gd name="T37" fmla="*/ 50 h 67"/>
                <a:gd name="T38" fmla="*/ 40 w 121"/>
                <a:gd name="T39" fmla="*/ 44 h 67"/>
                <a:gd name="T40" fmla="*/ 34 w 121"/>
                <a:gd name="T41" fmla="*/ 46 h 67"/>
                <a:gd name="T42" fmla="*/ 27 w 121"/>
                <a:gd name="T43" fmla="*/ 42 h 67"/>
                <a:gd name="T44" fmla="*/ 21 w 121"/>
                <a:gd name="T45" fmla="*/ 37 h 67"/>
                <a:gd name="T46" fmla="*/ 19 w 121"/>
                <a:gd name="T47" fmla="*/ 39 h 67"/>
                <a:gd name="T48" fmla="*/ 13 w 121"/>
                <a:gd name="T49" fmla="*/ 31 h 67"/>
                <a:gd name="T50" fmla="*/ 11 w 121"/>
                <a:gd name="T51" fmla="*/ 33 h 67"/>
                <a:gd name="T52" fmla="*/ 8 w 121"/>
                <a:gd name="T53" fmla="*/ 29 h 67"/>
                <a:gd name="T54" fmla="*/ 4 w 121"/>
                <a:gd name="T55" fmla="*/ 29 h 67"/>
                <a:gd name="T56" fmla="*/ 0 w 121"/>
                <a:gd name="T57" fmla="*/ 25 h 67"/>
                <a:gd name="T58" fmla="*/ 4 w 121"/>
                <a:gd name="T59" fmla="*/ 21 h 67"/>
                <a:gd name="T60" fmla="*/ 6 w 121"/>
                <a:gd name="T61" fmla="*/ 15 h 67"/>
                <a:gd name="T62" fmla="*/ 10 w 121"/>
                <a:gd name="T63" fmla="*/ 8 h 67"/>
                <a:gd name="T64" fmla="*/ 17 w 121"/>
                <a:gd name="T65" fmla="*/ 6 h 67"/>
                <a:gd name="T66" fmla="*/ 23 w 121"/>
                <a:gd name="T67" fmla="*/ 0 h 67"/>
                <a:gd name="T68" fmla="*/ 31 w 121"/>
                <a:gd name="T69" fmla="*/ 0 h 67"/>
                <a:gd name="T70" fmla="*/ 33 w 121"/>
                <a:gd name="T71" fmla="*/ 6 h 67"/>
                <a:gd name="T72" fmla="*/ 40 w 121"/>
                <a:gd name="T73" fmla="*/ 10 h 67"/>
                <a:gd name="T74" fmla="*/ 42 w 121"/>
                <a:gd name="T75" fmla="*/ 12 h 67"/>
                <a:gd name="T76" fmla="*/ 50 w 121"/>
                <a:gd name="T77" fmla="*/ 15 h 67"/>
                <a:gd name="T78" fmla="*/ 54 w 121"/>
                <a:gd name="T79" fmla="*/ 19 h 67"/>
                <a:gd name="T80" fmla="*/ 58 w 121"/>
                <a:gd name="T81" fmla="*/ 19 h 67"/>
                <a:gd name="T82" fmla="*/ 63 w 121"/>
                <a:gd name="T83" fmla="*/ 25 h 67"/>
                <a:gd name="T84" fmla="*/ 67 w 121"/>
                <a:gd name="T85" fmla="*/ 29 h 67"/>
                <a:gd name="T86" fmla="*/ 75 w 121"/>
                <a:gd name="T87" fmla="*/ 29 h 67"/>
                <a:gd name="T88" fmla="*/ 75 w 121"/>
                <a:gd name="T89" fmla="*/ 33 h 67"/>
                <a:gd name="T90" fmla="*/ 82 w 121"/>
                <a:gd name="T91" fmla="*/ 37 h 67"/>
                <a:gd name="T92" fmla="*/ 86 w 121"/>
                <a:gd name="T93" fmla="*/ 40 h 67"/>
                <a:gd name="T94" fmla="*/ 88 w 121"/>
                <a:gd name="T95" fmla="*/ 40 h 67"/>
                <a:gd name="T96" fmla="*/ 92 w 121"/>
                <a:gd name="T97" fmla="*/ 40 h 67"/>
                <a:gd name="T98" fmla="*/ 98 w 121"/>
                <a:gd name="T99" fmla="*/ 39 h 67"/>
                <a:gd name="T100" fmla="*/ 104 w 121"/>
                <a:gd name="T101" fmla="*/ 40 h 67"/>
                <a:gd name="T102" fmla="*/ 109 w 121"/>
                <a:gd name="T103" fmla="*/ 42 h 67"/>
                <a:gd name="T104" fmla="*/ 113 w 121"/>
                <a:gd name="T105"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 h="67">
                  <a:moveTo>
                    <a:pt x="119" y="42"/>
                  </a:moveTo>
                  <a:lnTo>
                    <a:pt x="121" y="42"/>
                  </a:lnTo>
                  <a:lnTo>
                    <a:pt x="121" y="44"/>
                  </a:lnTo>
                  <a:lnTo>
                    <a:pt x="119" y="44"/>
                  </a:lnTo>
                  <a:lnTo>
                    <a:pt x="121" y="44"/>
                  </a:lnTo>
                  <a:lnTo>
                    <a:pt x="119" y="44"/>
                  </a:lnTo>
                  <a:lnTo>
                    <a:pt x="119" y="46"/>
                  </a:lnTo>
                  <a:lnTo>
                    <a:pt x="119" y="48"/>
                  </a:lnTo>
                  <a:lnTo>
                    <a:pt x="117" y="48"/>
                  </a:lnTo>
                  <a:lnTo>
                    <a:pt x="117" y="50"/>
                  </a:lnTo>
                  <a:lnTo>
                    <a:pt x="119" y="50"/>
                  </a:lnTo>
                  <a:lnTo>
                    <a:pt x="117" y="50"/>
                  </a:lnTo>
                  <a:lnTo>
                    <a:pt x="117" y="52"/>
                  </a:lnTo>
                  <a:lnTo>
                    <a:pt x="119" y="52"/>
                  </a:lnTo>
                  <a:lnTo>
                    <a:pt x="117" y="52"/>
                  </a:lnTo>
                  <a:lnTo>
                    <a:pt x="117" y="54"/>
                  </a:lnTo>
                  <a:lnTo>
                    <a:pt x="117" y="56"/>
                  </a:lnTo>
                  <a:lnTo>
                    <a:pt x="119" y="56"/>
                  </a:lnTo>
                  <a:lnTo>
                    <a:pt x="119" y="58"/>
                  </a:lnTo>
                  <a:lnTo>
                    <a:pt x="119" y="60"/>
                  </a:lnTo>
                  <a:lnTo>
                    <a:pt x="119" y="62"/>
                  </a:lnTo>
                  <a:lnTo>
                    <a:pt x="119" y="63"/>
                  </a:lnTo>
                  <a:lnTo>
                    <a:pt x="119" y="65"/>
                  </a:lnTo>
                  <a:lnTo>
                    <a:pt x="119" y="67"/>
                  </a:lnTo>
                  <a:lnTo>
                    <a:pt x="117" y="67"/>
                  </a:lnTo>
                  <a:lnTo>
                    <a:pt x="117" y="65"/>
                  </a:lnTo>
                  <a:lnTo>
                    <a:pt x="115" y="65"/>
                  </a:lnTo>
                  <a:lnTo>
                    <a:pt x="113" y="65"/>
                  </a:lnTo>
                  <a:lnTo>
                    <a:pt x="113" y="67"/>
                  </a:lnTo>
                  <a:lnTo>
                    <a:pt x="113" y="65"/>
                  </a:lnTo>
                  <a:lnTo>
                    <a:pt x="113" y="67"/>
                  </a:lnTo>
                  <a:lnTo>
                    <a:pt x="113" y="65"/>
                  </a:lnTo>
                  <a:lnTo>
                    <a:pt x="111" y="67"/>
                  </a:lnTo>
                  <a:lnTo>
                    <a:pt x="111" y="65"/>
                  </a:lnTo>
                  <a:lnTo>
                    <a:pt x="109" y="65"/>
                  </a:lnTo>
                  <a:lnTo>
                    <a:pt x="107" y="65"/>
                  </a:lnTo>
                  <a:lnTo>
                    <a:pt x="107" y="67"/>
                  </a:lnTo>
                  <a:lnTo>
                    <a:pt x="105" y="67"/>
                  </a:lnTo>
                  <a:lnTo>
                    <a:pt x="105" y="65"/>
                  </a:lnTo>
                  <a:lnTo>
                    <a:pt x="105" y="67"/>
                  </a:lnTo>
                  <a:lnTo>
                    <a:pt x="105" y="65"/>
                  </a:lnTo>
                  <a:lnTo>
                    <a:pt x="105" y="67"/>
                  </a:lnTo>
                  <a:lnTo>
                    <a:pt x="104" y="67"/>
                  </a:lnTo>
                  <a:lnTo>
                    <a:pt x="104" y="65"/>
                  </a:lnTo>
                  <a:lnTo>
                    <a:pt x="104" y="63"/>
                  </a:lnTo>
                  <a:lnTo>
                    <a:pt x="102" y="63"/>
                  </a:lnTo>
                  <a:lnTo>
                    <a:pt x="102" y="65"/>
                  </a:lnTo>
                  <a:lnTo>
                    <a:pt x="100" y="65"/>
                  </a:lnTo>
                  <a:lnTo>
                    <a:pt x="98" y="65"/>
                  </a:lnTo>
                  <a:lnTo>
                    <a:pt x="96" y="65"/>
                  </a:lnTo>
                  <a:lnTo>
                    <a:pt x="96" y="63"/>
                  </a:lnTo>
                  <a:lnTo>
                    <a:pt x="96" y="65"/>
                  </a:lnTo>
                  <a:lnTo>
                    <a:pt x="96" y="63"/>
                  </a:lnTo>
                  <a:lnTo>
                    <a:pt x="94" y="63"/>
                  </a:lnTo>
                  <a:lnTo>
                    <a:pt x="92" y="63"/>
                  </a:lnTo>
                  <a:lnTo>
                    <a:pt x="90" y="63"/>
                  </a:lnTo>
                  <a:lnTo>
                    <a:pt x="88" y="63"/>
                  </a:lnTo>
                  <a:lnTo>
                    <a:pt x="88" y="62"/>
                  </a:lnTo>
                  <a:lnTo>
                    <a:pt x="86" y="62"/>
                  </a:lnTo>
                  <a:lnTo>
                    <a:pt x="86" y="63"/>
                  </a:lnTo>
                  <a:lnTo>
                    <a:pt x="86" y="62"/>
                  </a:lnTo>
                  <a:lnTo>
                    <a:pt x="86" y="63"/>
                  </a:lnTo>
                  <a:lnTo>
                    <a:pt x="84" y="63"/>
                  </a:lnTo>
                  <a:lnTo>
                    <a:pt x="84" y="62"/>
                  </a:lnTo>
                  <a:lnTo>
                    <a:pt x="84" y="60"/>
                  </a:lnTo>
                  <a:lnTo>
                    <a:pt x="82" y="60"/>
                  </a:lnTo>
                  <a:lnTo>
                    <a:pt x="81" y="60"/>
                  </a:lnTo>
                  <a:lnTo>
                    <a:pt x="79" y="60"/>
                  </a:lnTo>
                  <a:lnTo>
                    <a:pt x="79" y="62"/>
                  </a:lnTo>
                  <a:lnTo>
                    <a:pt x="77" y="62"/>
                  </a:lnTo>
                  <a:lnTo>
                    <a:pt x="77" y="60"/>
                  </a:lnTo>
                  <a:lnTo>
                    <a:pt x="75" y="60"/>
                  </a:lnTo>
                  <a:lnTo>
                    <a:pt x="77" y="60"/>
                  </a:lnTo>
                  <a:lnTo>
                    <a:pt x="75" y="60"/>
                  </a:lnTo>
                  <a:lnTo>
                    <a:pt x="73" y="60"/>
                  </a:lnTo>
                  <a:lnTo>
                    <a:pt x="75" y="60"/>
                  </a:lnTo>
                  <a:lnTo>
                    <a:pt x="75" y="58"/>
                  </a:lnTo>
                  <a:lnTo>
                    <a:pt x="73" y="58"/>
                  </a:lnTo>
                  <a:lnTo>
                    <a:pt x="71" y="58"/>
                  </a:lnTo>
                  <a:lnTo>
                    <a:pt x="71" y="56"/>
                  </a:lnTo>
                  <a:lnTo>
                    <a:pt x="71" y="58"/>
                  </a:lnTo>
                  <a:lnTo>
                    <a:pt x="71" y="56"/>
                  </a:lnTo>
                  <a:lnTo>
                    <a:pt x="71" y="58"/>
                  </a:lnTo>
                  <a:lnTo>
                    <a:pt x="71" y="56"/>
                  </a:lnTo>
                  <a:lnTo>
                    <a:pt x="71" y="58"/>
                  </a:lnTo>
                  <a:lnTo>
                    <a:pt x="71" y="56"/>
                  </a:lnTo>
                  <a:lnTo>
                    <a:pt x="69" y="56"/>
                  </a:lnTo>
                  <a:lnTo>
                    <a:pt x="67" y="56"/>
                  </a:lnTo>
                  <a:lnTo>
                    <a:pt x="69" y="56"/>
                  </a:lnTo>
                  <a:lnTo>
                    <a:pt x="69" y="54"/>
                  </a:lnTo>
                  <a:lnTo>
                    <a:pt x="69" y="52"/>
                  </a:lnTo>
                  <a:lnTo>
                    <a:pt x="67" y="52"/>
                  </a:lnTo>
                  <a:lnTo>
                    <a:pt x="67" y="50"/>
                  </a:lnTo>
                  <a:lnTo>
                    <a:pt x="65" y="50"/>
                  </a:lnTo>
                  <a:lnTo>
                    <a:pt x="63" y="50"/>
                  </a:lnTo>
                  <a:lnTo>
                    <a:pt x="61" y="50"/>
                  </a:lnTo>
                  <a:lnTo>
                    <a:pt x="61" y="48"/>
                  </a:lnTo>
                  <a:lnTo>
                    <a:pt x="59" y="48"/>
                  </a:lnTo>
                  <a:lnTo>
                    <a:pt x="59" y="50"/>
                  </a:lnTo>
                  <a:lnTo>
                    <a:pt x="58" y="50"/>
                  </a:lnTo>
                  <a:lnTo>
                    <a:pt x="56" y="50"/>
                  </a:lnTo>
                  <a:lnTo>
                    <a:pt x="58" y="50"/>
                  </a:lnTo>
                  <a:lnTo>
                    <a:pt x="56" y="50"/>
                  </a:lnTo>
                  <a:lnTo>
                    <a:pt x="54" y="50"/>
                  </a:lnTo>
                  <a:lnTo>
                    <a:pt x="54" y="48"/>
                  </a:lnTo>
                  <a:lnTo>
                    <a:pt x="52" y="48"/>
                  </a:lnTo>
                  <a:lnTo>
                    <a:pt x="50" y="48"/>
                  </a:lnTo>
                  <a:lnTo>
                    <a:pt x="50" y="50"/>
                  </a:lnTo>
                  <a:lnTo>
                    <a:pt x="50" y="48"/>
                  </a:lnTo>
                  <a:lnTo>
                    <a:pt x="50" y="50"/>
                  </a:lnTo>
                  <a:lnTo>
                    <a:pt x="50" y="52"/>
                  </a:lnTo>
                  <a:lnTo>
                    <a:pt x="48" y="52"/>
                  </a:lnTo>
                  <a:lnTo>
                    <a:pt x="48" y="50"/>
                  </a:lnTo>
                  <a:lnTo>
                    <a:pt x="46" y="50"/>
                  </a:lnTo>
                  <a:lnTo>
                    <a:pt x="44" y="50"/>
                  </a:lnTo>
                  <a:lnTo>
                    <a:pt x="44" y="48"/>
                  </a:lnTo>
                  <a:lnTo>
                    <a:pt x="42" y="48"/>
                  </a:lnTo>
                  <a:lnTo>
                    <a:pt x="40" y="48"/>
                  </a:lnTo>
                  <a:lnTo>
                    <a:pt x="40" y="46"/>
                  </a:lnTo>
                  <a:lnTo>
                    <a:pt x="40" y="44"/>
                  </a:lnTo>
                  <a:lnTo>
                    <a:pt x="38" y="44"/>
                  </a:lnTo>
                  <a:lnTo>
                    <a:pt x="38" y="46"/>
                  </a:lnTo>
                  <a:lnTo>
                    <a:pt x="36" y="46"/>
                  </a:lnTo>
                  <a:lnTo>
                    <a:pt x="36" y="44"/>
                  </a:lnTo>
                  <a:lnTo>
                    <a:pt x="36" y="46"/>
                  </a:lnTo>
                  <a:lnTo>
                    <a:pt x="34" y="46"/>
                  </a:lnTo>
                  <a:lnTo>
                    <a:pt x="34" y="44"/>
                  </a:lnTo>
                  <a:lnTo>
                    <a:pt x="33" y="44"/>
                  </a:lnTo>
                  <a:lnTo>
                    <a:pt x="33" y="42"/>
                  </a:lnTo>
                  <a:lnTo>
                    <a:pt x="31" y="42"/>
                  </a:lnTo>
                  <a:lnTo>
                    <a:pt x="29" y="42"/>
                  </a:lnTo>
                  <a:lnTo>
                    <a:pt x="27" y="42"/>
                  </a:lnTo>
                  <a:lnTo>
                    <a:pt x="27" y="40"/>
                  </a:lnTo>
                  <a:lnTo>
                    <a:pt x="25" y="40"/>
                  </a:lnTo>
                  <a:lnTo>
                    <a:pt x="23" y="40"/>
                  </a:lnTo>
                  <a:lnTo>
                    <a:pt x="23" y="39"/>
                  </a:lnTo>
                  <a:lnTo>
                    <a:pt x="21" y="39"/>
                  </a:lnTo>
                  <a:lnTo>
                    <a:pt x="21" y="37"/>
                  </a:lnTo>
                  <a:lnTo>
                    <a:pt x="19" y="37"/>
                  </a:lnTo>
                  <a:lnTo>
                    <a:pt x="19" y="39"/>
                  </a:lnTo>
                  <a:lnTo>
                    <a:pt x="21" y="39"/>
                  </a:lnTo>
                  <a:lnTo>
                    <a:pt x="19" y="39"/>
                  </a:lnTo>
                  <a:lnTo>
                    <a:pt x="19" y="37"/>
                  </a:lnTo>
                  <a:lnTo>
                    <a:pt x="19" y="39"/>
                  </a:lnTo>
                  <a:lnTo>
                    <a:pt x="19" y="37"/>
                  </a:lnTo>
                  <a:lnTo>
                    <a:pt x="17" y="35"/>
                  </a:lnTo>
                  <a:lnTo>
                    <a:pt x="15" y="35"/>
                  </a:lnTo>
                  <a:lnTo>
                    <a:pt x="15" y="33"/>
                  </a:lnTo>
                  <a:lnTo>
                    <a:pt x="13" y="33"/>
                  </a:lnTo>
                  <a:lnTo>
                    <a:pt x="13" y="31"/>
                  </a:lnTo>
                  <a:lnTo>
                    <a:pt x="13" y="33"/>
                  </a:lnTo>
                  <a:lnTo>
                    <a:pt x="13" y="31"/>
                  </a:lnTo>
                  <a:lnTo>
                    <a:pt x="13" y="33"/>
                  </a:lnTo>
                  <a:lnTo>
                    <a:pt x="11" y="33"/>
                  </a:lnTo>
                  <a:lnTo>
                    <a:pt x="13" y="33"/>
                  </a:lnTo>
                  <a:lnTo>
                    <a:pt x="11" y="33"/>
                  </a:lnTo>
                  <a:lnTo>
                    <a:pt x="11" y="31"/>
                  </a:lnTo>
                  <a:lnTo>
                    <a:pt x="10" y="31"/>
                  </a:lnTo>
                  <a:lnTo>
                    <a:pt x="10" y="29"/>
                  </a:lnTo>
                  <a:lnTo>
                    <a:pt x="8" y="29"/>
                  </a:lnTo>
                  <a:lnTo>
                    <a:pt x="10" y="29"/>
                  </a:lnTo>
                  <a:lnTo>
                    <a:pt x="8" y="29"/>
                  </a:lnTo>
                  <a:lnTo>
                    <a:pt x="8" y="31"/>
                  </a:lnTo>
                  <a:lnTo>
                    <a:pt x="8" y="29"/>
                  </a:lnTo>
                  <a:lnTo>
                    <a:pt x="6" y="29"/>
                  </a:lnTo>
                  <a:lnTo>
                    <a:pt x="4" y="29"/>
                  </a:lnTo>
                  <a:lnTo>
                    <a:pt x="6" y="29"/>
                  </a:lnTo>
                  <a:lnTo>
                    <a:pt x="4" y="29"/>
                  </a:lnTo>
                  <a:lnTo>
                    <a:pt x="4" y="27"/>
                  </a:lnTo>
                  <a:lnTo>
                    <a:pt x="2" y="27"/>
                  </a:lnTo>
                  <a:lnTo>
                    <a:pt x="0" y="27"/>
                  </a:lnTo>
                  <a:lnTo>
                    <a:pt x="0" y="25"/>
                  </a:lnTo>
                  <a:lnTo>
                    <a:pt x="2" y="25"/>
                  </a:lnTo>
                  <a:lnTo>
                    <a:pt x="0" y="25"/>
                  </a:lnTo>
                  <a:lnTo>
                    <a:pt x="2" y="25"/>
                  </a:lnTo>
                  <a:lnTo>
                    <a:pt x="0" y="25"/>
                  </a:lnTo>
                  <a:lnTo>
                    <a:pt x="2" y="25"/>
                  </a:lnTo>
                  <a:lnTo>
                    <a:pt x="2" y="23"/>
                  </a:lnTo>
                  <a:lnTo>
                    <a:pt x="2" y="21"/>
                  </a:lnTo>
                  <a:lnTo>
                    <a:pt x="4" y="21"/>
                  </a:lnTo>
                  <a:lnTo>
                    <a:pt x="4" y="19"/>
                  </a:lnTo>
                  <a:lnTo>
                    <a:pt x="4" y="21"/>
                  </a:lnTo>
                  <a:lnTo>
                    <a:pt x="4" y="19"/>
                  </a:lnTo>
                  <a:lnTo>
                    <a:pt x="4" y="17"/>
                  </a:lnTo>
                  <a:lnTo>
                    <a:pt x="4" y="15"/>
                  </a:lnTo>
                  <a:lnTo>
                    <a:pt x="6" y="15"/>
                  </a:lnTo>
                  <a:lnTo>
                    <a:pt x="6" y="14"/>
                  </a:lnTo>
                  <a:lnTo>
                    <a:pt x="6" y="12"/>
                  </a:lnTo>
                  <a:lnTo>
                    <a:pt x="6" y="10"/>
                  </a:lnTo>
                  <a:lnTo>
                    <a:pt x="8" y="10"/>
                  </a:lnTo>
                  <a:lnTo>
                    <a:pt x="8" y="8"/>
                  </a:lnTo>
                  <a:lnTo>
                    <a:pt x="10" y="8"/>
                  </a:lnTo>
                  <a:lnTo>
                    <a:pt x="11" y="6"/>
                  </a:lnTo>
                  <a:lnTo>
                    <a:pt x="11" y="4"/>
                  </a:lnTo>
                  <a:lnTo>
                    <a:pt x="13" y="4"/>
                  </a:lnTo>
                  <a:lnTo>
                    <a:pt x="15" y="4"/>
                  </a:lnTo>
                  <a:lnTo>
                    <a:pt x="15" y="6"/>
                  </a:lnTo>
                  <a:lnTo>
                    <a:pt x="17" y="6"/>
                  </a:lnTo>
                  <a:lnTo>
                    <a:pt x="19" y="6"/>
                  </a:lnTo>
                  <a:lnTo>
                    <a:pt x="19" y="4"/>
                  </a:lnTo>
                  <a:lnTo>
                    <a:pt x="21" y="4"/>
                  </a:lnTo>
                  <a:lnTo>
                    <a:pt x="21" y="2"/>
                  </a:lnTo>
                  <a:lnTo>
                    <a:pt x="21" y="0"/>
                  </a:lnTo>
                  <a:lnTo>
                    <a:pt x="23" y="0"/>
                  </a:lnTo>
                  <a:lnTo>
                    <a:pt x="25" y="0"/>
                  </a:lnTo>
                  <a:lnTo>
                    <a:pt x="27" y="0"/>
                  </a:lnTo>
                  <a:lnTo>
                    <a:pt x="29" y="0"/>
                  </a:lnTo>
                  <a:lnTo>
                    <a:pt x="29" y="2"/>
                  </a:lnTo>
                  <a:lnTo>
                    <a:pt x="29" y="0"/>
                  </a:lnTo>
                  <a:lnTo>
                    <a:pt x="31" y="0"/>
                  </a:lnTo>
                  <a:lnTo>
                    <a:pt x="31" y="2"/>
                  </a:lnTo>
                  <a:lnTo>
                    <a:pt x="31" y="0"/>
                  </a:lnTo>
                  <a:lnTo>
                    <a:pt x="31" y="2"/>
                  </a:lnTo>
                  <a:lnTo>
                    <a:pt x="31" y="4"/>
                  </a:lnTo>
                  <a:lnTo>
                    <a:pt x="33" y="4"/>
                  </a:lnTo>
                  <a:lnTo>
                    <a:pt x="33" y="6"/>
                  </a:lnTo>
                  <a:lnTo>
                    <a:pt x="34" y="6"/>
                  </a:lnTo>
                  <a:lnTo>
                    <a:pt x="36" y="6"/>
                  </a:lnTo>
                  <a:lnTo>
                    <a:pt x="36" y="8"/>
                  </a:lnTo>
                  <a:lnTo>
                    <a:pt x="38" y="8"/>
                  </a:lnTo>
                  <a:lnTo>
                    <a:pt x="38" y="10"/>
                  </a:lnTo>
                  <a:lnTo>
                    <a:pt x="40" y="10"/>
                  </a:lnTo>
                  <a:lnTo>
                    <a:pt x="40" y="12"/>
                  </a:lnTo>
                  <a:lnTo>
                    <a:pt x="40" y="10"/>
                  </a:lnTo>
                  <a:lnTo>
                    <a:pt x="40" y="12"/>
                  </a:lnTo>
                  <a:lnTo>
                    <a:pt x="42" y="12"/>
                  </a:lnTo>
                  <a:lnTo>
                    <a:pt x="44" y="12"/>
                  </a:lnTo>
                  <a:lnTo>
                    <a:pt x="42" y="12"/>
                  </a:lnTo>
                  <a:lnTo>
                    <a:pt x="44" y="12"/>
                  </a:lnTo>
                  <a:lnTo>
                    <a:pt x="44" y="14"/>
                  </a:lnTo>
                  <a:lnTo>
                    <a:pt x="46" y="14"/>
                  </a:lnTo>
                  <a:lnTo>
                    <a:pt x="48" y="14"/>
                  </a:lnTo>
                  <a:lnTo>
                    <a:pt x="48" y="15"/>
                  </a:lnTo>
                  <a:lnTo>
                    <a:pt x="50" y="15"/>
                  </a:lnTo>
                  <a:lnTo>
                    <a:pt x="50" y="17"/>
                  </a:lnTo>
                  <a:lnTo>
                    <a:pt x="50" y="19"/>
                  </a:lnTo>
                  <a:lnTo>
                    <a:pt x="52" y="19"/>
                  </a:lnTo>
                  <a:lnTo>
                    <a:pt x="52" y="21"/>
                  </a:lnTo>
                  <a:lnTo>
                    <a:pt x="54" y="21"/>
                  </a:lnTo>
                  <a:lnTo>
                    <a:pt x="54" y="19"/>
                  </a:lnTo>
                  <a:lnTo>
                    <a:pt x="56" y="19"/>
                  </a:lnTo>
                  <a:lnTo>
                    <a:pt x="58" y="19"/>
                  </a:lnTo>
                  <a:lnTo>
                    <a:pt x="58" y="17"/>
                  </a:lnTo>
                  <a:lnTo>
                    <a:pt x="59" y="17"/>
                  </a:lnTo>
                  <a:lnTo>
                    <a:pt x="59" y="19"/>
                  </a:lnTo>
                  <a:lnTo>
                    <a:pt x="58" y="19"/>
                  </a:lnTo>
                  <a:lnTo>
                    <a:pt x="59" y="19"/>
                  </a:lnTo>
                  <a:lnTo>
                    <a:pt x="61" y="19"/>
                  </a:lnTo>
                  <a:lnTo>
                    <a:pt x="61" y="21"/>
                  </a:lnTo>
                  <a:lnTo>
                    <a:pt x="61" y="23"/>
                  </a:lnTo>
                  <a:lnTo>
                    <a:pt x="61" y="25"/>
                  </a:lnTo>
                  <a:lnTo>
                    <a:pt x="63" y="25"/>
                  </a:lnTo>
                  <a:lnTo>
                    <a:pt x="65" y="25"/>
                  </a:lnTo>
                  <a:lnTo>
                    <a:pt x="65" y="27"/>
                  </a:lnTo>
                  <a:lnTo>
                    <a:pt x="65" y="29"/>
                  </a:lnTo>
                  <a:lnTo>
                    <a:pt x="65" y="27"/>
                  </a:lnTo>
                  <a:lnTo>
                    <a:pt x="67" y="27"/>
                  </a:lnTo>
                  <a:lnTo>
                    <a:pt x="67" y="29"/>
                  </a:lnTo>
                  <a:lnTo>
                    <a:pt x="69" y="29"/>
                  </a:lnTo>
                  <a:lnTo>
                    <a:pt x="69" y="31"/>
                  </a:lnTo>
                  <a:lnTo>
                    <a:pt x="71" y="31"/>
                  </a:lnTo>
                  <a:lnTo>
                    <a:pt x="73" y="31"/>
                  </a:lnTo>
                  <a:lnTo>
                    <a:pt x="73" y="29"/>
                  </a:lnTo>
                  <a:lnTo>
                    <a:pt x="75" y="29"/>
                  </a:lnTo>
                  <a:lnTo>
                    <a:pt x="77" y="29"/>
                  </a:lnTo>
                  <a:lnTo>
                    <a:pt x="77" y="31"/>
                  </a:lnTo>
                  <a:lnTo>
                    <a:pt x="75" y="31"/>
                  </a:lnTo>
                  <a:lnTo>
                    <a:pt x="77" y="31"/>
                  </a:lnTo>
                  <a:lnTo>
                    <a:pt x="75" y="31"/>
                  </a:lnTo>
                  <a:lnTo>
                    <a:pt x="75" y="33"/>
                  </a:lnTo>
                  <a:lnTo>
                    <a:pt x="75" y="35"/>
                  </a:lnTo>
                  <a:lnTo>
                    <a:pt x="77" y="35"/>
                  </a:lnTo>
                  <a:lnTo>
                    <a:pt x="79" y="35"/>
                  </a:lnTo>
                  <a:lnTo>
                    <a:pt x="81" y="35"/>
                  </a:lnTo>
                  <a:lnTo>
                    <a:pt x="82" y="35"/>
                  </a:lnTo>
                  <a:lnTo>
                    <a:pt x="82" y="37"/>
                  </a:lnTo>
                  <a:lnTo>
                    <a:pt x="82" y="35"/>
                  </a:lnTo>
                  <a:lnTo>
                    <a:pt x="84" y="35"/>
                  </a:lnTo>
                  <a:lnTo>
                    <a:pt x="84" y="37"/>
                  </a:lnTo>
                  <a:lnTo>
                    <a:pt x="86" y="37"/>
                  </a:lnTo>
                  <a:lnTo>
                    <a:pt x="86" y="39"/>
                  </a:lnTo>
                  <a:lnTo>
                    <a:pt x="86" y="40"/>
                  </a:lnTo>
                  <a:lnTo>
                    <a:pt x="88" y="40"/>
                  </a:lnTo>
                  <a:lnTo>
                    <a:pt x="86" y="40"/>
                  </a:lnTo>
                  <a:lnTo>
                    <a:pt x="88" y="42"/>
                  </a:lnTo>
                  <a:lnTo>
                    <a:pt x="90" y="42"/>
                  </a:lnTo>
                  <a:lnTo>
                    <a:pt x="90" y="40"/>
                  </a:lnTo>
                  <a:lnTo>
                    <a:pt x="88" y="40"/>
                  </a:lnTo>
                  <a:lnTo>
                    <a:pt x="88" y="39"/>
                  </a:lnTo>
                  <a:lnTo>
                    <a:pt x="90" y="39"/>
                  </a:lnTo>
                  <a:lnTo>
                    <a:pt x="90" y="37"/>
                  </a:lnTo>
                  <a:lnTo>
                    <a:pt x="90" y="39"/>
                  </a:lnTo>
                  <a:lnTo>
                    <a:pt x="90" y="40"/>
                  </a:lnTo>
                  <a:lnTo>
                    <a:pt x="92" y="40"/>
                  </a:lnTo>
                  <a:lnTo>
                    <a:pt x="94" y="40"/>
                  </a:lnTo>
                  <a:lnTo>
                    <a:pt x="94" y="42"/>
                  </a:lnTo>
                  <a:lnTo>
                    <a:pt x="94" y="40"/>
                  </a:lnTo>
                  <a:lnTo>
                    <a:pt x="96" y="40"/>
                  </a:lnTo>
                  <a:lnTo>
                    <a:pt x="96" y="39"/>
                  </a:lnTo>
                  <a:lnTo>
                    <a:pt x="98" y="39"/>
                  </a:lnTo>
                  <a:lnTo>
                    <a:pt x="100" y="39"/>
                  </a:lnTo>
                  <a:lnTo>
                    <a:pt x="98" y="39"/>
                  </a:lnTo>
                  <a:lnTo>
                    <a:pt x="98" y="40"/>
                  </a:lnTo>
                  <a:lnTo>
                    <a:pt x="100" y="40"/>
                  </a:lnTo>
                  <a:lnTo>
                    <a:pt x="102" y="40"/>
                  </a:lnTo>
                  <a:lnTo>
                    <a:pt x="104" y="40"/>
                  </a:lnTo>
                  <a:lnTo>
                    <a:pt x="104" y="42"/>
                  </a:lnTo>
                  <a:lnTo>
                    <a:pt x="105" y="42"/>
                  </a:lnTo>
                  <a:lnTo>
                    <a:pt x="107" y="42"/>
                  </a:lnTo>
                  <a:lnTo>
                    <a:pt x="109" y="42"/>
                  </a:lnTo>
                  <a:lnTo>
                    <a:pt x="107" y="42"/>
                  </a:lnTo>
                  <a:lnTo>
                    <a:pt x="109" y="42"/>
                  </a:lnTo>
                  <a:lnTo>
                    <a:pt x="111" y="42"/>
                  </a:lnTo>
                  <a:lnTo>
                    <a:pt x="111" y="44"/>
                  </a:lnTo>
                  <a:lnTo>
                    <a:pt x="111" y="42"/>
                  </a:lnTo>
                  <a:lnTo>
                    <a:pt x="111" y="44"/>
                  </a:lnTo>
                  <a:lnTo>
                    <a:pt x="113" y="44"/>
                  </a:lnTo>
                  <a:lnTo>
                    <a:pt x="113" y="42"/>
                  </a:lnTo>
                  <a:lnTo>
                    <a:pt x="115" y="42"/>
                  </a:lnTo>
                  <a:lnTo>
                    <a:pt x="115" y="40"/>
                  </a:lnTo>
                  <a:lnTo>
                    <a:pt x="115" y="42"/>
                  </a:lnTo>
                  <a:lnTo>
                    <a:pt x="117" y="42"/>
                  </a:lnTo>
                  <a:lnTo>
                    <a:pt x="119" y="4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337">
              <a:extLst>
                <a:ext uri="{FF2B5EF4-FFF2-40B4-BE49-F238E27FC236}">
                  <a16:creationId xmlns:a16="http://schemas.microsoft.com/office/drawing/2014/main" id="{C21068BB-5E33-4A47-BB6D-26457C6A5BE3}"/>
                </a:ext>
              </a:extLst>
            </p:cNvPr>
            <p:cNvSpPr>
              <a:spLocks noEditPoints="1"/>
            </p:cNvSpPr>
            <p:nvPr/>
          </p:nvSpPr>
          <p:spPr bwMode="gray">
            <a:xfrm>
              <a:off x="4606332" y="3673638"/>
              <a:ext cx="350744" cy="191315"/>
            </a:xfrm>
            <a:custGeom>
              <a:avLst/>
              <a:gdLst>
                <a:gd name="T0" fmla="*/ 206 w 286"/>
                <a:gd name="T1" fmla="*/ 142 h 156"/>
                <a:gd name="T2" fmla="*/ 211 w 286"/>
                <a:gd name="T3" fmla="*/ 140 h 156"/>
                <a:gd name="T4" fmla="*/ 217 w 286"/>
                <a:gd name="T5" fmla="*/ 135 h 156"/>
                <a:gd name="T6" fmla="*/ 225 w 286"/>
                <a:gd name="T7" fmla="*/ 131 h 156"/>
                <a:gd name="T8" fmla="*/ 232 w 286"/>
                <a:gd name="T9" fmla="*/ 127 h 156"/>
                <a:gd name="T10" fmla="*/ 238 w 286"/>
                <a:gd name="T11" fmla="*/ 121 h 156"/>
                <a:gd name="T12" fmla="*/ 246 w 286"/>
                <a:gd name="T13" fmla="*/ 117 h 156"/>
                <a:gd name="T14" fmla="*/ 252 w 286"/>
                <a:gd name="T15" fmla="*/ 119 h 156"/>
                <a:gd name="T16" fmla="*/ 257 w 286"/>
                <a:gd name="T17" fmla="*/ 121 h 156"/>
                <a:gd name="T18" fmla="*/ 263 w 286"/>
                <a:gd name="T19" fmla="*/ 115 h 156"/>
                <a:gd name="T20" fmla="*/ 269 w 286"/>
                <a:gd name="T21" fmla="*/ 117 h 156"/>
                <a:gd name="T22" fmla="*/ 269 w 286"/>
                <a:gd name="T23" fmla="*/ 123 h 156"/>
                <a:gd name="T24" fmla="*/ 273 w 286"/>
                <a:gd name="T25" fmla="*/ 123 h 156"/>
                <a:gd name="T26" fmla="*/ 271 w 286"/>
                <a:gd name="T27" fmla="*/ 129 h 156"/>
                <a:gd name="T28" fmla="*/ 273 w 286"/>
                <a:gd name="T29" fmla="*/ 131 h 156"/>
                <a:gd name="T30" fmla="*/ 282 w 286"/>
                <a:gd name="T31" fmla="*/ 133 h 156"/>
                <a:gd name="T32" fmla="*/ 284 w 286"/>
                <a:gd name="T33" fmla="*/ 138 h 156"/>
                <a:gd name="T34" fmla="*/ 282 w 286"/>
                <a:gd name="T35" fmla="*/ 140 h 156"/>
                <a:gd name="T36" fmla="*/ 279 w 286"/>
                <a:gd name="T37" fmla="*/ 140 h 156"/>
                <a:gd name="T38" fmla="*/ 271 w 286"/>
                <a:gd name="T39" fmla="*/ 137 h 156"/>
                <a:gd name="T40" fmla="*/ 265 w 286"/>
                <a:gd name="T41" fmla="*/ 135 h 156"/>
                <a:gd name="T42" fmla="*/ 261 w 286"/>
                <a:gd name="T43" fmla="*/ 135 h 156"/>
                <a:gd name="T44" fmla="*/ 254 w 286"/>
                <a:gd name="T45" fmla="*/ 138 h 156"/>
                <a:gd name="T46" fmla="*/ 248 w 286"/>
                <a:gd name="T47" fmla="*/ 144 h 156"/>
                <a:gd name="T48" fmla="*/ 242 w 286"/>
                <a:gd name="T49" fmla="*/ 146 h 156"/>
                <a:gd name="T50" fmla="*/ 238 w 286"/>
                <a:gd name="T51" fmla="*/ 146 h 156"/>
                <a:gd name="T52" fmla="*/ 234 w 286"/>
                <a:gd name="T53" fmla="*/ 150 h 156"/>
                <a:gd name="T54" fmla="*/ 229 w 286"/>
                <a:gd name="T55" fmla="*/ 156 h 156"/>
                <a:gd name="T56" fmla="*/ 219 w 286"/>
                <a:gd name="T57" fmla="*/ 154 h 156"/>
                <a:gd name="T58" fmla="*/ 209 w 286"/>
                <a:gd name="T59" fmla="*/ 156 h 156"/>
                <a:gd name="T60" fmla="*/ 208 w 286"/>
                <a:gd name="T61" fmla="*/ 146 h 156"/>
                <a:gd name="T62" fmla="*/ 204 w 286"/>
                <a:gd name="T63" fmla="*/ 146 h 156"/>
                <a:gd name="T64" fmla="*/ 202 w 286"/>
                <a:gd name="T65" fmla="*/ 144 h 156"/>
                <a:gd name="T66" fmla="*/ 202 w 286"/>
                <a:gd name="T67" fmla="*/ 140 h 156"/>
                <a:gd name="T68" fmla="*/ 19 w 286"/>
                <a:gd name="T69" fmla="*/ 54 h 156"/>
                <a:gd name="T70" fmla="*/ 17 w 286"/>
                <a:gd name="T71" fmla="*/ 48 h 156"/>
                <a:gd name="T72" fmla="*/ 12 w 286"/>
                <a:gd name="T73" fmla="*/ 42 h 156"/>
                <a:gd name="T74" fmla="*/ 14 w 286"/>
                <a:gd name="T75" fmla="*/ 37 h 156"/>
                <a:gd name="T76" fmla="*/ 16 w 286"/>
                <a:gd name="T77" fmla="*/ 31 h 156"/>
                <a:gd name="T78" fmla="*/ 12 w 286"/>
                <a:gd name="T79" fmla="*/ 27 h 156"/>
                <a:gd name="T80" fmla="*/ 8 w 286"/>
                <a:gd name="T81" fmla="*/ 27 h 156"/>
                <a:gd name="T82" fmla="*/ 6 w 286"/>
                <a:gd name="T83" fmla="*/ 21 h 156"/>
                <a:gd name="T84" fmla="*/ 2 w 286"/>
                <a:gd name="T85" fmla="*/ 14 h 156"/>
                <a:gd name="T86" fmla="*/ 0 w 286"/>
                <a:gd name="T87" fmla="*/ 8 h 156"/>
                <a:gd name="T88" fmla="*/ 6 w 286"/>
                <a:gd name="T89" fmla="*/ 6 h 156"/>
                <a:gd name="T90" fmla="*/ 14 w 286"/>
                <a:gd name="T91" fmla="*/ 2 h 156"/>
                <a:gd name="T92" fmla="*/ 23 w 286"/>
                <a:gd name="T93" fmla="*/ 2 h 156"/>
                <a:gd name="T94" fmla="*/ 33 w 286"/>
                <a:gd name="T95" fmla="*/ 6 h 156"/>
                <a:gd name="T96" fmla="*/ 35 w 286"/>
                <a:gd name="T97" fmla="*/ 12 h 156"/>
                <a:gd name="T98" fmla="*/ 31 w 286"/>
                <a:gd name="T99" fmla="*/ 21 h 156"/>
                <a:gd name="T100" fmla="*/ 29 w 286"/>
                <a:gd name="T101" fmla="*/ 27 h 156"/>
                <a:gd name="T102" fmla="*/ 25 w 286"/>
                <a:gd name="T103" fmla="*/ 33 h 156"/>
                <a:gd name="T104" fmla="*/ 16 w 286"/>
                <a:gd name="T105" fmla="*/ 35 h 156"/>
                <a:gd name="T106" fmla="*/ 16 w 286"/>
                <a:gd name="T107" fmla="*/ 42 h 156"/>
                <a:gd name="T108" fmla="*/ 21 w 286"/>
                <a:gd name="T109" fmla="*/ 48 h 156"/>
                <a:gd name="T110" fmla="*/ 23 w 286"/>
                <a:gd name="T111" fmla="*/ 54 h 156"/>
                <a:gd name="T112" fmla="*/ 23 w 286"/>
                <a:gd name="T113" fmla="*/ 62 h 156"/>
                <a:gd name="T114" fmla="*/ 19 w 286"/>
                <a:gd name="T115" fmla="*/ 81 h 156"/>
                <a:gd name="T116" fmla="*/ 19 w 286"/>
                <a:gd name="T117" fmla="*/ 89 h 156"/>
                <a:gd name="T118" fmla="*/ 16 w 286"/>
                <a:gd name="T119" fmla="*/ 85 h 156"/>
                <a:gd name="T120" fmla="*/ 33 w 286"/>
                <a:gd name="T121" fmla="*/ 90 h 156"/>
                <a:gd name="T122" fmla="*/ 33 w 286"/>
                <a:gd name="T123" fmla="*/ 94 h 156"/>
                <a:gd name="T124" fmla="*/ 29 w 286"/>
                <a:gd name="T125" fmla="*/ 9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156">
                  <a:moveTo>
                    <a:pt x="202" y="140"/>
                  </a:moveTo>
                  <a:lnTo>
                    <a:pt x="202" y="142"/>
                  </a:lnTo>
                  <a:lnTo>
                    <a:pt x="204" y="142"/>
                  </a:lnTo>
                  <a:lnTo>
                    <a:pt x="204" y="140"/>
                  </a:lnTo>
                  <a:lnTo>
                    <a:pt x="204" y="142"/>
                  </a:lnTo>
                  <a:lnTo>
                    <a:pt x="206" y="142"/>
                  </a:lnTo>
                  <a:lnTo>
                    <a:pt x="208" y="142"/>
                  </a:lnTo>
                  <a:lnTo>
                    <a:pt x="208" y="140"/>
                  </a:lnTo>
                  <a:lnTo>
                    <a:pt x="209" y="140"/>
                  </a:lnTo>
                  <a:lnTo>
                    <a:pt x="211" y="140"/>
                  </a:lnTo>
                  <a:lnTo>
                    <a:pt x="211" y="142"/>
                  </a:lnTo>
                  <a:lnTo>
                    <a:pt x="211" y="140"/>
                  </a:lnTo>
                  <a:lnTo>
                    <a:pt x="213" y="140"/>
                  </a:lnTo>
                  <a:lnTo>
                    <a:pt x="215" y="140"/>
                  </a:lnTo>
                  <a:lnTo>
                    <a:pt x="217" y="140"/>
                  </a:lnTo>
                  <a:lnTo>
                    <a:pt x="217" y="138"/>
                  </a:lnTo>
                  <a:lnTo>
                    <a:pt x="217" y="137"/>
                  </a:lnTo>
                  <a:lnTo>
                    <a:pt x="217" y="135"/>
                  </a:lnTo>
                  <a:lnTo>
                    <a:pt x="219" y="135"/>
                  </a:lnTo>
                  <a:lnTo>
                    <a:pt x="221" y="135"/>
                  </a:lnTo>
                  <a:lnTo>
                    <a:pt x="221" y="133"/>
                  </a:lnTo>
                  <a:lnTo>
                    <a:pt x="223" y="133"/>
                  </a:lnTo>
                  <a:lnTo>
                    <a:pt x="225" y="133"/>
                  </a:lnTo>
                  <a:lnTo>
                    <a:pt x="225" y="131"/>
                  </a:lnTo>
                  <a:lnTo>
                    <a:pt x="225" y="129"/>
                  </a:lnTo>
                  <a:lnTo>
                    <a:pt x="227" y="129"/>
                  </a:lnTo>
                  <a:lnTo>
                    <a:pt x="227" y="127"/>
                  </a:lnTo>
                  <a:lnTo>
                    <a:pt x="229" y="127"/>
                  </a:lnTo>
                  <a:lnTo>
                    <a:pt x="231" y="127"/>
                  </a:lnTo>
                  <a:lnTo>
                    <a:pt x="232" y="127"/>
                  </a:lnTo>
                  <a:lnTo>
                    <a:pt x="234" y="127"/>
                  </a:lnTo>
                  <a:lnTo>
                    <a:pt x="236" y="127"/>
                  </a:lnTo>
                  <a:lnTo>
                    <a:pt x="236" y="125"/>
                  </a:lnTo>
                  <a:lnTo>
                    <a:pt x="236" y="123"/>
                  </a:lnTo>
                  <a:lnTo>
                    <a:pt x="238" y="123"/>
                  </a:lnTo>
                  <a:lnTo>
                    <a:pt x="238" y="121"/>
                  </a:lnTo>
                  <a:lnTo>
                    <a:pt x="240" y="121"/>
                  </a:lnTo>
                  <a:lnTo>
                    <a:pt x="240" y="119"/>
                  </a:lnTo>
                  <a:lnTo>
                    <a:pt x="242" y="119"/>
                  </a:lnTo>
                  <a:lnTo>
                    <a:pt x="242" y="117"/>
                  </a:lnTo>
                  <a:lnTo>
                    <a:pt x="244" y="117"/>
                  </a:lnTo>
                  <a:lnTo>
                    <a:pt x="246" y="117"/>
                  </a:lnTo>
                  <a:lnTo>
                    <a:pt x="246" y="115"/>
                  </a:lnTo>
                  <a:lnTo>
                    <a:pt x="246" y="117"/>
                  </a:lnTo>
                  <a:lnTo>
                    <a:pt x="248" y="117"/>
                  </a:lnTo>
                  <a:lnTo>
                    <a:pt x="248" y="119"/>
                  </a:lnTo>
                  <a:lnTo>
                    <a:pt x="250" y="119"/>
                  </a:lnTo>
                  <a:lnTo>
                    <a:pt x="252" y="119"/>
                  </a:lnTo>
                  <a:lnTo>
                    <a:pt x="250" y="119"/>
                  </a:lnTo>
                  <a:lnTo>
                    <a:pt x="252" y="119"/>
                  </a:lnTo>
                  <a:lnTo>
                    <a:pt x="254" y="119"/>
                  </a:lnTo>
                  <a:lnTo>
                    <a:pt x="254" y="121"/>
                  </a:lnTo>
                  <a:lnTo>
                    <a:pt x="255" y="121"/>
                  </a:lnTo>
                  <a:lnTo>
                    <a:pt x="257" y="121"/>
                  </a:lnTo>
                  <a:lnTo>
                    <a:pt x="257" y="119"/>
                  </a:lnTo>
                  <a:lnTo>
                    <a:pt x="259" y="119"/>
                  </a:lnTo>
                  <a:lnTo>
                    <a:pt x="259" y="117"/>
                  </a:lnTo>
                  <a:lnTo>
                    <a:pt x="261" y="117"/>
                  </a:lnTo>
                  <a:lnTo>
                    <a:pt x="261" y="115"/>
                  </a:lnTo>
                  <a:lnTo>
                    <a:pt x="263" y="115"/>
                  </a:lnTo>
                  <a:lnTo>
                    <a:pt x="265" y="115"/>
                  </a:lnTo>
                  <a:lnTo>
                    <a:pt x="267" y="115"/>
                  </a:lnTo>
                  <a:lnTo>
                    <a:pt x="267" y="113"/>
                  </a:lnTo>
                  <a:lnTo>
                    <a:pt x="267" y="115"/>
                  </a:lnTo>
                  <a:lnTo>
                    <a:pt x="269" y="115"/>
                  </a:lnTo>
                  <a:lnTo>
                    <a:pt x="269" y="117"/>
                  </a:lnTo>
                  <a:lnTo>
                    <a:pt x="271" y="117"/>
                  </a:lnTo>
                  <a:lnTo>
                    <a:pt x="271" y="119"/>
                  </a:lnTo>
                  <a:lnTo>
                    <a:pt x="269" y="119"/>
                  </a:lnTo>
                  <a:lnTo>
                    <a:pt x="269" y="121"/>
                  </a:lnTo>
                  <a:lnTo>
                    <a:pt x="267" y="121"/>
                  </a:lnTo>
                  <a:lnTo>
                    <a:pt x="269" y="123"/>
                  </a:lnTo>
                  <a:lnTo>
                    <a:pt x="267" y="123"/>
                  </a:lnTo>
                  <a:lnTo>
                    <a:pt x="269" y="123"/>
                  </a:lnTo>
                  <a:lnTo>
                    <a:pt x="269" y="121"/>
                  </a:lnTo>
                  <a:lnTo>
                    <a:pt x="271" y="121"/>
                  </a:lnTo>
                  <a:lnTo>
                    <a:pt x="273" y="121"/>
                  </a:lnTo>
                  <a:lnTo>
                    <a:pt x="273" y="123"/>
                  </a:lnTo>
                  <a:lnTo>
                    <a:pt x="273" y="125"/>
                  </a:lnTo>
                  <a:lnTo>
                    <a:pt x="275" y="125"/>
                  </a:lnTo>
                  <a:lnTo>
                    <a:pt x="275" y="127"/>
                  </a:lnTo>
                  <a:lnTo>
                    <a:pt x="273" y="127"/>
                  </a:lnTo>
                  <a:lnTo>
                    <a:pt x="273" y="129"/>
                  </a:lnTo>
                  <a:lnTo>
                    <a:pt x="271" y="129"/>
                  </a:lnTo>
                  <a:lnTo>
                    <a:pt x="271" y="131"/>
                  </a:lnTo>
                  <a:lnTo>
                    <a:pt x="269" y="131"/>
                  </a:lnTo>
                  <a:lnTo>
                    <a:pt x="269" y="133"/>
                  </a:lnTo>
                  <a:lnTo>
                    <a:pt x="271" y="133"/>
                  </a:lnTo>
                  <a:lnTo>
                    <a:pt x="273" y="133"/>
                  </a:lnTo>
                  <a:lnTo>
                    <a:pt x="273" y="131"/>
                  </a:lnTo>
                  <a:lnTo>
                    <a:pt x="275" y="131"/>
                  </a:lnTo>
                  <a:lnTo>
                    <a:pt x="277" y="131"/>
                  </a:lnTo>
                  <a:lnTo>
                    <a:pt x="277" y="133"/>
                  </a:lnTo>
                  <a:lnTo>
                    <a:pt x="279" y="133"/>
                  </a:lnTo>
                  <a:lnTo>
                    <a:pt x="280" y="133"/>
                  </a:lnTo>
                  <a:lnTo>
                    <a:pt x="282" y="133"/>
                  </a:lnTo>
                  <a:lnTo>
                    <a:pt x="282" y="135"/>
                  </a:lnTo>
                  <a:lnTo>
                    <a:pt x="284" y="135"/>
                  </a:lnTo>
                  <a:lnTo>
                    <a:pt x="286" y="135"/>
                  </a:lnTo>
                  <a:lnTo>
                    <a:pt x="284" y="135"/>
                  </a:lnTo>
                  <a:lnTo>
                    <a:pt x="284" y="137"/>
                  </a:lnTo>
                  <a:lnTo>
                    <a:pt x="284" y="138"/>
                  </a:lnTo>
                  <a:lnTo>
                    <a:pt x="284" y="137"/>
                  </a:lnTo>
                  <a:lnTo>
                    <a:pt x="284" y="138"/>
                  </a:lnTo>
                  <a:lnTo>
                    <a:pt x="286" y="138"/>
                  </a:lnTo>
                  <a:lnTo>
                    <a:pt x="286" y="140"/>
                  </a:lnTo>
                  <a:lnTo>
                    <a:pt x="284" y="140"/>
                  </a:lnTo>
                  <a:lnTo>
                    <a:pt x="282" y="140"/>
                  </a:lnTo>
                  <a:lnTo>
                    <a:pt x="282" y="142"/>
                  </a:lnTo>
                  <a:lnTo>
                    <a:pt x="280" y="142"/>
                  </a:lnTo>
                  <a:lnTo>
                    <a:pt x="280" y="140"/>
                  </a:lnTo>
                  <a:lnTo>
                    <a:pt x="280" y="142"/>
                  </a:lnTo>
                  <a:lnTo>
                    <a:pt x="280" y="140"/>
                  </a:lnTo>
                  <a:lnTo>
                    <a:pt x="279" y="140"/>
                  </a:lnTo>
                  <a:lnTo>
                    <a:pt x="277" y="140"/>
                  </a:lnTo>
                  <a:lnTo>
                    <a:pt x="277" y="138"/>
                  </a:lnTo>
                  <a:lnTo>
                    <a:pt x="275" y="138"/>
                  </a:lnTo>
                  <a:lnTo>
                    <a:pt x="273" y="138"/>
                  </a:lnTo>
                  <a:lnTo>
                    <a:pt x="273" y="137"/>
                  </a:lnTo>
                  <a:lnTo>
                    <a:pt x="271" y="137"/>
                  </a:lnTo>
                  <a:lnTo>
                    <a:pt x="271" y="135"/>
                  </a:lnTo>
                  <a:lnTo>
                    <a:pt x="271" y="137"/>
                  </a:lnTo>
                  <a:lnTo>
                    <a:pt x="269" y="137"/>
                  </a:lnTo>
                  <a:lnTo>
                    <a:pt x="269" y="135"/>
                  </a:lnTo>
                  <a:lnTo>
                    <a:pt x="267" y="135"/>
                  </a:lnTo>
                  <a:lnTo>
                    <a:pt x="265" y="135"/>
                  </a:lnTo>
                  <a:lnTo>
                    <a:pt x="263" y="135"/>
                  </a:lnTo>
                  <a:lnTo>
                    <a:pt x="263" y="133"/>
                  </a:lnTo>
                  <a:lnTo>
                    <a:pt x="261" y="133"/>
                  </a:lnTo>
                  <a:lnTo>
                    <a:pt x="261" y="135"/>
                  </a:lnTo>
                  <a:lnTo>
                    <a:pt x="261" y="133"/>
                  </a:lnTo>
                  <a:lnTo>
                    <a:pt x="261" y="135"/>
                  </a:lnTo>
                  <a:lnTo>
                    <a:pt x="259" y="135"/>
                  </a:lnTo>
                  <a:lnTo>
                    <a:pt x="257" y="135"/>
                  </a:lnTo>
                  <a:lnTo>
                    <a:pt x="257" y="137"/>
                  </a:lnTo>
                  <a:lnTo>
                    <a:pt x="255" y="137"/>
                  </a:lnTo>
                  <a:lnTo>
                    <a:pt x="255" y="138"/>
                  </a:lnTo>
                  <a:lnTo>
                    <a:pt x="254" y="138"/>
                  </a:lnTo>
                  <a:lnTo>
                    <a:pt x="254" y="140"/>
                  </a:lnTo>
                  <a:lnTo>
                    <a:pt x="252" y="140"/>
                  </a:lnTo>
                  <a:lnTo>
                    <a:pt x="250" y="140"/>
                  </a:lnTo>
                  <a:lnTo>
                    <a:pt x="250" y="142"/>
                  </a:lnTo>
                  <a:lnTo>
                    <a:pt x="248" y="142"/>
                  </a:lnTo>
                  <a:lnTo>
                    <a:pt x="248" y="144"/>
                  </a:lnTo>
                  <a:lnTo>
                    <a:pt x="246" y="144"/>
                  </a:lnTo>
                  <a:lnTo>
                    <a:pt x="244" y="144"/>
                  </a:lnTo>
                  <a:lnTo>
                    <a:pt x="244" y="146"/>
                  </a:lnTo>
                  <a:lnTo>
                    <a:pt x="242" y="146"/>
                  </a:lnTo>
                  <a:lnTo>
                    <a:pt x="242" y="144"/>
                  </a:lnTo>
                  <a:lnTo>
                    <a:pt x="242" y="146"/>
                  </a:lnTo>
                  <a:lnTo>
                    <a:pt x="240" y="146"/>
                  </a:lnTo>
                  <a:lnTo>
                    <a:pt x="240" y="144"/>
                  </a:lnTo>
                  <a:lnTo>
                    <a:pt x="240" y="146"/>
                  </a:lnTo>
                  <a:lnTo>
                    <a:pt x="240" y="144"/>
                  </a:lnTo>
                  <a:lnTo>
                    <a:pt x="238" y="144"/>
                  </a:lnTo>
                  <a:lnTo>
                    <a:pt x="238" y="146"/>
                  </a:lnTo>
                  <a:lnTo>
                    <a:pt x="240" y="146"/>
                  </a:lnTo>
                  <a:lnTo>
                    <a:pt x="238" y="146"/>
                  </a:lnTo>
                  <a:lnTo>
                    <a:pt x="238" y="148"/>
                  </a:lnTo>
                  <a:lnTo>
                    <a:pt x="236" y="148"/>
                  </a:lnTo>
                  <a:lnTo>
                    <a:pt x="236" y="150"/>
                  </a:lnTo>
                  <a:lnTo>
                    <a:pt x="234" y="150"/>
                  </a:lnTo>
                  <a:lnTo>
                    <a:pt x="234" y="152"/>
                  </a:lnTo>
                  <a:lnTo>
                    <a:pt x="232" y="152"/>
                  </a:lnTo>
                  <a:lnTo>
                    <a:pt x="232" y="154"/>
                  </a:lnTo>
                  <a:lnTo>
                    <a:pt x="232" y="156"/>
                  </a:lnTo>
                  <a:lnTo>
                    <a:pt x="231" y="156"/>
                  </a:lnTo>
                  <a:lnTo>
                    <a:pt x="229" y="156"/>
                  </a:lnTo>
                  <a:lnTo>
                    <a:pt x="227" y="156"/>
                  </a:lnTo>
                  <a:lnTo>
                    <a:pt x="225" y="156"/>
                  </a:lnTo>
                  <a:lnTo>
                    <a:pt x="223" y="156"/>
                  </a:lnTo>
                  <a:lnTo>
                    <a:pt x="221" y="156"/>
                  </a:lnTo>
                  <a:lnTo>
                    <a:pt x="219" y="156"/>
                  </a:lnTo>
                  <a:lnTo>
                    <a:pt x="219" y="154"/>
                  </a:lnTo>
                  <a:lnTo>
                    <a:pt x="217" y="154"/>
                  </a:lnTo>
                  <a:lnTo>
                    <a:pt x="215" y="154"/>
                  </a:lnTo>
                  <a:lnTo>
                    <a:pt x="215" y="156"/>
                  </a:lnTo>
                  <a:lnTo>
                    <a:pt x="213" y="156"/>
                  </a:lnTo>
                  <a:lnTo>
                    <a:pt x="211" y="156"/>
                  </a:lnTo>
                  <a:lnTo>
                    <a:pt x="209" y="156"/>
                  </a:lnTo>
                  <a:lnTo>
                    <a:pt x="208" y="156"/>
                  </a:lnTo>
                  <a:lnTo>
                    <a:pt x="208" y="154"/>
                  </a:lnTo>
                  <a:lnTo>
                    <a:pt x="208" y="152"/>
                  </a:lnTo>
                  <a:lnTo>
                    <a:pt x="208" y="150"/>
                  </a:lnTo>
                  <a:lnTo>
                    <a:pt x="208" y="148"/>
                  </a:lnTo>
                  <a:lnTo>
                    <a:pt x="208" y="146"/>
                  </a:lnTo>
                  <a:lnTo>
                    <a:pt x="206" y="146"/>
                  </a:lnTo>
                  <a:lnTo>
                    <a:pt x="206" y="148"/>
                  </a:lnTo>
                  <a:lnTo>
                    <a:pt x="206" y="146"/>
                  </a:lnTo>
                  <a:lnTo>
                    <a:pt x="206" y="148"/>
                  </a:lnTo>
                  <a:lnTo>
                    <a:pt x="206" y="146"/>
                  </a:lnTo>
                  <a:lnTo>
                    <a:pt x="204" y="146"/>
                  </a:lnTo>
                  <a:lnTo>
                    <a:pt x="204" y="148"/>
                  </a:lnTo>
                  <a:lnTo>
                    <a:pt x="204" y="146"/>
                  </a:lnTo>
                  <a:lnTo>
                    <a:pt x="202" y="146"/>
                  </a:lnTo>
                  <a:lnTo>
                    <a:pt x="200" y="146"/>
                  </a:lnTo>
                  <a:lnTo>
                    <a:pt x="200" y="144"/>
                  </a:lnTo>
                  <a:lnTo>
                    <a:pt x="202" y="144"/>
                  </a:lnTo>
                  <a:lnTo>
                    <a:pt x="202" y="142"/>
                  </a:lnTo>
                  <a:lnTo>
                    <a:pt x="202" y="140"/>
                  </a:lnTo>
                  <a:lnTo>
                    <a:pt x="200" y="140"/>
                  </a:lnTo>
                  <a:lnTo>
                    <a:pt x="200" y="142"/>
                  </a:lnTo>
                  <a:lnTo>
                    <a:pt x="200" y="140"/>
                  </a:lnTo>
                  <a:lnTo>
                    <a:pt x="202" y="140"/>
                  </a:lnTo>
                  <a:close/>
                  <a:moveTo>
                    <a:pt x="21" y="60"/>
                  </a:moveTo>
                  <a:lnTo>
                    <a:pt x="19" y="60"/>
                  </a:lnTo>
                  <a:lnTo>
                    <a:pt x="21" y="58"/>
                  </a:lnTo>
                  <a:lnTo>
                    <a:pt x="19" y="58"/>
                  </a:lnTo>
                  <a:lnTo>
                    <a:pt x="19" y="56"/>
                  </a:lnTo>
                  <a:lnTo>
                    <a:pt x="19" y="54"/>
                  </a:lnTo>
                  <a:lnTo>
                    <a:pt x="19" y="52"/>
                  </a:lnTo>
                  <a:lnTo>
                    <a:pt x="17" y="52"/>
                  </a:lnTo>
                  <a:lnTo>
                    <a:pt x="19" y="52"/>
                  </a:lnTo>
                  <a:lnTo>
                    <a:pt x="19" y="50"/>
                  </a:lnTo>
                  <a:lnTo>
                    <a:pt x="17" y="50"/>
                  </a:lnTo>
                  <a:lnTo>
                    <a:pt x="17" y="48"/>
                  </a:lnTo>
                  <a:lnTo>
                    <a:pt x="16" y="48"/>
                  </a:lnTo>
                  <a:lnTo>
                    <a:pt x="16" y="46"/>
                  </a:lnTo>
                  <a:lnTo>
                    <a:pt x="14" y="46"/>
                  </a:lnTo>
                  <a:lnTo>
                    <a:pt x="14" y="44"/>
                  </a:lnTo>
                  <a:lnTo>
                    <a:pt x="12" y="44"/>
                  </a:lnTo>
                  <a:lnTo>
                    <a:pt x="12" y="42"/>
                  </a:lnTo>
                  <a:lnTo>
                    <a:pt x="14" y="42"/>
                  </a:lnTo>
                  <a:lnTo>
                    <a:pt x="12" y="42"/>
                  </a:lnTo>
                  <a:lnTo>
                    <a:pt x="12" y="40"/>
                  </a:lnTo>
                  <a:lnTo>
                    <a:pt x="14" y="40"/>
                  </a:lnTo>
                  <a:lnTo>
                    <a:pt x="14" y="39"/>
                  </a:lnTo>
                  <a:lnTo>
                    <a:pt x="14" y="37"/>
                  </a:lnTo>
                  <a:lnTo>
                    <a:pt x="12" y="37"/>
                  </a:lnTo>
                  <a:lnTo>
                    <a:pt x="12" y="35"/>
                  </a:lnTo>
                  <a:lnTo>
                    <a:pt x="14" y="35"/>
                  </a:lnTo>
                  <a:lnTo>
                    <a:pt x="14" y="33"/>
                  </a:lnTo>
                  <a:lnTo>
                    <a:pt x="16" y="33"/>
                  </a:lnTo>
                  <a:lnTo>
                    <a:pt x="16" y="31"/>
                  </a:lnTo>
                  <a:lnTo>
                    <a:pt x="17" y="31"/>
                  </a:lnTo>
                  <a:lnTo>
                    <a:pt x="17" y="29"/>
                  </a:lnTo>
                  <a:lnTo>
                    <a:pt x="16" y="29"/>
                  </a:lnTo>
                  <a:lnTo>
                    <a:pt x="14" y="29"/>
                  </a:lnTo>
                  <a:lnTo>
                    <a:pt x="14" y="27"/>
                  </a:lnTo>
                  <a:lnTo>
                    <a:pt x="12" y="27"/>
                  </a:lnTo>
                  <a:lnTo>
                    <a:pt x="14" y="27"/>
                  </a:lnTo>
                  <a:lnTo>
                    <a:pt x="12" y="27"/>
                  </a:lnTo>
                  <a:lnTo>
                    <a:pt x="10" y="27"/>
                  </a:lnTo>
                  <a:lnTo>
                    <a:pt x="10" y="25"/>
                  </a:lnTo>
                  <a:lnTo>
                    <a:pt x="8" y="25"/>
                  </a:lnTo>
                  <a:lnTo>
                    <a:pt x="8" y="27"/>
                  </a:lnTo>
                  <a:lnTo>
                    <a:pt x="8" y="25"/>
                  </a:lnTo>
                  <a:lnTo>
                    <a:pt x="6" y="25"/>
                  </a:lnTo>
                  <a:lnTo>
                    <a:pt x="6" y="23"/>
                  </a:lnTo>
                  <a:lnTo>
                    <a:pt x="4" y="23"/>
                  </a:lnTo>
                  <a:lnTo>
                    <a:pt x="4" y="21"/>
                  </a:lnTo>
                  <a:lnTo>
                    <a:pt x="6" y="21"/>
                  </a:lnTo>
                  <a:lnTo>
                    <a:pt x="6" y="19"/>
                  </a:lnTo>
                  <a:lnTo>
                    <a:pt x="4" y="19"/>
                  </a:lnTo>
                  <a:lnTo>
                    <a:pt x="4" y="17"/>
                  </a:lnTo>
                  <a:lnTo>
                    <a:pt x="4" y="16"/>
                  </a:lnTo>
                  <a:lnTo>
                    <a:pt x="2" y="16"/>
                  </a:lnTo>
                  <a:lnTo>
                    <a:pt x="2" y="14"/>
                  </a:lnTo>
                  <a:lnTo>
                    <a:pt x="2" y="12"/>
                  </a:lnTo>
                  <a:lnTo>
                    <a:pt x="2" y="10"/>
                  </a:lnTo>
                  <a:lnTo>
                    <a:pt x="4" y="10"/>
                  </a:lnTo>
                  <a:lnTo>
                    <a:pt x="2" y="10"/>
                  </a:lnTo>
                  <a:lnTo>
                    <a:pt x="0" y="10"/>
                  </a:lnTo>
                  <a:lnTo>
                    <a:pt x="0" y="8"/>
                  </a:lnTo>
                  <a:lnTo>
                    <a:pt x="2" y="8"/>
                  </a:lnTo>
                  <a:lnTo>
                    <a:pt x="0" y="8"/>
                  </a:lnTo>
                  <a:lnTo>
                    <a:pt x="2" y="8"/>
                  </a:lnTo>
                  <a:lnTo>
                    <a:pt x="4" y="8"/>
                  </a:lnTo>
                  <a:lnTo>
                    <a:pt x="4" y="6"/>
                  </a:lnTo>
                  <a:lnTo>
                    <a:pt x="6" y="6"/>
                  </a:lnTo>
                  <a:lnTo>
                    <a:pt x="8" y="6"/>
                  </a:lnTo>
                  <a:lnTo>
                    <a:pt x="8" y="4"/>
                  </a:lnTo>
                  <a:lnTo>
                    <a:pt x="10" y="4"/>
                  </a:lnTo>
                  <a:lnTo>
                    <a:pt x="12" y="4"/>
                  </a:lnTo>
                  <a:lnTo>
                    <a:pt x="12" y="2"/>
                  </a:lnTo>
                  <a:lnTo>
                    <a:pt x="14" y="2"/>
                  </a:lnTo>
                  <a:lnTo>
                    <a:pt x="16" y="2"/>
                  </a:lnTo>
                  <a:lnTo>
                    <a:pt x="17" y="2"/>
                  </a:lnTo>
                  <a:lnTo>
                    <a:pt x="19" y="2"/>
                  </a:lnTo>
                  <a:lnTo>
                    <a:pt x="19" y="0"/>
                  </a:lnTo>
                  <a:lnTo>
                    <a:pt x="21" y="0"/>
                  </a:lnTo>
                  <a:lnTo>
                    <a:pt x="23" y="2"/>
                  </a:lnTo>
                  <a:lnTo>
                    <a:pt x="25" y="2"/>
                  </a:lnTo>
                  <a:lnTo>
                    <a:pt x="27" y="4"/>
                  </a:lnTo>
                  <a:lnTo>
                    <a:pt x="29" y="4"/>
                  </a:lnTo>
                  <a:lnTo>
                    <a:pt x="31" y="4"/>
                  </a:lnTo>
                  <a:lnTo>
                    <a:pt x="33" y="4"/>
                  </a:lnTo>
                  <a:lnTo>
                    <a:pt x="33" y="6"/>
                  </a:lnTo>
                  <a:lnTo>
                    <a:pt x="35" y="6"/>
                  </a:lnTo>
                  <a:lnTo>
                    <a:pt x="35" y="8"/>
                  </a:lnTo>
                  <a:lnTo>
                    <a:pt x="37" y="8"/>
                  </a:lnTo>
                  <a:lnTo>
                    <a:pt x="37" y="10"/>
                  </a:lnTo>
                  <a:lnTo>
                    <a:pt x="35" y="10"/>
                  </a:lnTo>
                  <a:lnTo>
                    <a:pt x="35" y="12"/>
                  </a:lnTo>
                  <a:lnTo>
                    <a:pt x="35" y="14"/>
                  </a:lnTo>
                  <a:lnTo>
                    <a:pt x="33" y="16"/>
                  </a:lnTo>
                  <a:lnTo>
                    <a:pt x="33" y="17"/>
                  </a:lnTo>
                  <a:lnTo>
                    <a:pt x="33" y="19"/>
                  </a:lnTo>
                  <a:lnTo>
                    <a:pt x="33" y="21"/>
                  </a:lnTo>
                  <a:lnTo>
                    <a:pt x="31" y="21"/>
                  </a:lnTo>
                  <a:lnTo>
                    <a:pt x="33" y="23"/>
                  </a:lnTo>
                  <a:lnTo>
                    <a:pt x="31" y="23"/>
                  </a:lnTo>
                  <a:lnTo>
                    <a:pt x="29" y="23"/>
                  </a:lnTo>
                  <a:lnTo>
                    <a:pt x="27" y="23"/>
                  </a:lnTo>
                  <a:lnTo>
                    <a:pt x="27" y="25"/>
                  </a:lnTo>
                  <a:lnTo>
                    <a:pt x="29" y="27"/>
                  </a:lnTo>
                  <a:lnTo>
                    <a:pt x="27" y="27"/>
                  </a:lnTo>
                  <a:lnTo>
                    <a:pt x="25" y="27"/>
                  </a:lnTo>
                  <a:lnTo>
                    <a:pt x="23" y="27"/>
                  </a:lnTo>
                  <a:lnTo>
                    <a:pt x="25" y="29"/>
                  </a:lnTo>
                  <a:lnTo>
                    <a:pt x="25" y="31"/>
                  </a:lnTo>
                  <a:lnTo>
                    <a:pt x="25" y="33"/>
                  </a:lnTo>
                  <a:lnTo>
                    <a:pt x="23" y="33"/>
                  </a:lnTo>
                  <a:lnTo>
                    <a:pt x="23" y="35"/>
                  </a:lnTo>
                  <a:lnTo>
                    <a:pt x="21" y="35"/>
                  </a:lnTo>
                  <a:lnTo>
                    <a:pt x="19" y="35"/>
                  </a:lnTo>
                  <a:lnTo>
                    <a:pt x="17" y="35"/>
                  </a:lnTo>
                  <a:lnTo>
                    <a:pt x="16" y="35"/>
                  </a:lnTo>
                  <a:lnTo>
                    <a:pt x="16" y="37"/>
                  </a:lnTo>
                  <a:lnTo>
                    <a:pt x="16" y="39"/>
                  </a:lnTo>
                  <a:lnTo>
                    <a:pt x="17" y="39"/>
                  </a:lnTo>
                  <a:lnTo>
                    <a:pt x="17" y="40"/>
                  </a:lnTo>
                  <a:lnTo>
                    <a:pt x="17" y="42"/>
                  </a:lnTo>
                  <a:lnTo>
                    <a:pt x="16" y="42"/>
                  </a:lnTo>
                  <a:lnTo>
                    <a:pt x="16" y="44"/>
                  </a:lnTo>
                  <a:lnTo>
                    <a:pt x="16" y="46"/>
                  </a:lnTo>
                  <a:lnTo>
                    <a:pt x="16" y="48"/>
                  </a:lnTo>
                  <a:lnTo>
                    <a:pt x="17" y="48"/>
                  </a:lnTo>
                  <a:lnTo>
                    <a:pt x="19" y="48"/>
                  </a:lnTo>
                  <a:lnTo>
                    <a:pt x="21" y="48"/>
                  </a:lnTo>
                  <a:lnTo>
                    <a:pt x="23" y="48"/>
                  </a:lnTo>
                  <a:lnTo>
                    <a:pt x="23" y="50"/>
                  </a:lnTo>
                  <a:lnTo>
                    <a:pt x="21" y="50"/>
                  </a:lnTo>
                  <a:lnTo>
                    <a:pt x="21" y="52"/>
                  </a:lnTo>
                  <a:lnTo>
                    <a:pt x="21" y="54"/>
                  </a:lnTo>
                  <a:lnTo>
                    <a:pt x="23" y="54"/>
                  </a:lnTo>
                  <a:lnTo>
                    <a:pt x="23" y="56"/>
                  </a:lnTo>
                  <a:lnTo>
                    <a:pt x="25" y="56"/>
                  </a:lnTo>
                  <a:lnTo>
                    <a:pt x="25" y="58"/>
                  </a:lnTo>
                  <a:lnTo>
                    <a:pt x="25" y="60"/>
                  </a:lnTo>
                  <a:lnTo>
                    <a:pt x="23" y="60"/>
                  </a:lnTo>
                  <a:lnTo>
                    <a:pt x="23" y="62"/>
                  </a:lnTo>
                  <a:lnTo>
                    <a:pt x="21" y="62"/>
                  </a:lnTo>
                  <a:lnTo>
                    <a:pt x="21" y="60"/>
                  </a:lnTo>
                  <a:close/>
                  <a:moveTo>
                    <a:pt x="16" y="83"/>
                  </a:moveTo>
                  <a:lnTo>
                    <a:pt x="16" y="81"/>
                  </a:lnTo>
                  <a:lnTo>
                    <a:pt x="17" y="81"/>
                  </a:lnTo>
                  <a:lnTo>
                    <a:pt x="19" y="81"/>
                  </a:lnTo>
                  <a:lnTo>
                    <a:pt x="19" y="83"/>
                  </a:lnTo>
                  <a:lnTo>
                    <a:pt x="19" y="85"/>
                  </a:lnTo>
                  <a:lnTo>
                    <a:pt x="21" y="85"/>
                  </a:lnTo>
                  <a:lnTo>
                    <a:pt x="21" y="87"/>
                  </a:lnTo>
                  <a:lnTo>
                    <a:pt x="21" y="89"/>
                  </a:lnTo>
                  <a:lnTo>
                    <a:pt x="19" y="89"/>
                  </a:lnTo>
                  <a:lnTo>
                    <a:pt x="19" y="87"/>
                  </a:lnTo>
                  <a:lnTo>
                    <a:pt x="19" y="89"/>
                  </a:lnTo>
                  <a:lnTo>
                    <a:pt x="17" y="89"/>
                  </a:lnTo>
                  <a:lnTo>
                    <a:pt x="17" y="87"/>
                  </a:lnTo>
                  <a:lnTo>
                    <a:pt x="16" y="87"/>
                  </a:lnTo>
                  <a:lnTo>
                    <a:pt x="16" y="85"/>
                  </a:lnTo>
                  <a:lnTo>
                    <a:pt x="16" y="83"/>
                  </a:lnTo>
                  <a:close/>
                  <a:moveTo>
                    <a:pt x="27" y="89"/>
                  </a:moveTo>
                  <a:lnTo>
                    <a:pt x="29" y="89"/>
                  </a:lnTo>
                  <a:lnTo>
                    <a:pt x="29" y="90"/>
                  </a:lnTo>
                  <a:lnTo>
                    <a:pt x="31" y="90"/>
                  </a:lnTo>
                  <a:lnTo>
                    <a:pt x="33" y="90"/>
                  </a:lnTo>
                  <a:lnTo>
                    <a:pt x="33" y="92"/>
                  </a:lnTo>
                  <a:lnTo>
                    <a:pt x="33" y="90"/>
                  </a:lnTo>
                  <a:lnTo>
                    <a:pt x="35" y="90"/>
                  </a:lnTo>
                  <a:lnTo>
                    <a:pt x="35" y="92"/>
                  </a:lnTo>
                  <a:lnTo>
                    <a:pt x="35" y="94"/>
                  </a:lnTo>
                  <a:lnTo>
                    <a:pt x="33" y="94"/>
                  </a:lnTo>
                  <a:lnTo>
                    <a:pt x="33" y="96"/>
                  </a:lnTo>
                  <a:lnTo>
                    <a:pt x="33" y="94"/>
                  </a:lnTo>
                  <a:lnTo>
                    <a:pt x="31" y="94"/>
                  </a:lnTo>
                  <a:lnTo>
                    <a:pt x="31" y="92"/>
                  </a:lnTo>
                  <a:lnTo>
                    <a:pt x="31" y="90"/>
                  </a:lnTo>
                  <a:lnTo>
                    <a:pt x="29" y="90"/>
                  </a:lnTo>
                  <a:lnTo>
                    <a:pt x="27" y="90"/>
                  </a:lnTo>
                  <a:lnTo>
                    <a:pt x="27" y="8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338">
              <a:extLst>
                <a:ext uri="{FF2B5EF4-FFF2-40B4-BE49-F238E27FC236}">
                  <a16:creationId xmlns:a16="http://schemas.microsoft.com/office/drawing/2014/main" id="{F18E2C00-F4B7-43DE-B860-AC5B76A8890E}"/>
                </a:ext>
              </a:extLst>
            </p:cNvPr>
            <p:cNvSpPr>
              <a:spLocks noEditPoints="1"/>
            </p:cNvSpPr>
            <p:nvPr/>
          </p:nvSpPr>
          <p:spPr bwMode="gray">
            <a:xfrm>
              <a:off x="4300964" y="3650336"/>
              <a:ext cx="272256" cy="278388"/>
            </a:xfrm>
            <a:custGeom>
              <a:avLst/>
              <a:gdLst>
                <a:gd name="T0" fmla="*/ 205 w 222"/>
                <a:gd name="T1" fmla="*/ 21 h 227"/>
                <a:gd name="T2" fmla="*/ 207 w 222"/>
                <a:gd name="T3" fmla="*/ 40 h 227"/>
                <a:gd name="T4" fmla="*/ 194 w 222"/>
                <a:gd name="T5" fmla="*/ 42 h 227"/>
                <a:gd name="T6" fmla="*/ 186 w 222"/>
                <a:gd name="T7" fmla="*/ 52 h 227"/>
                <a:gd name="T8" fmla="*/ 194 w 222"/>
                <a:gd name="T9" fmla="*/ 63 h 227"/>
                <a:gd name="T10" fmla="*/ 199 w 222"/>
                <a:gd name="T11" fmla="*/ 73 h 227"/>
                <a:gd name="T12" fmla="*/ 205 w 222"/>
                <a:gd name="T13" fmla="*/ 83 h 227"/>
                <a:gd name="T14" fmla="*/ 211 w 222"/>
                <a:gd name="T15" fmla="*/ 88 h 227"/>
                <a:gd name="T16" fmla="*/ 201 w 222"/>
                <a:gd name="T17" fmla="*/ 102 h 227"/>
                <a:gd name="T18" fmla="*/ 199 w 222"/>
                <a:gd name="T19" fmla="*/ 108 h 227"/>
                <a:gd name="T20" fmla="*/ 190 w 222"/>
                <a:gd name="T21" fmla="*/ 121 h 227"/>
                <a:gd name="T22" fmla="*/ 176 w 222"/>
                <a:gd name="T23" fmla="*/ 140 h 227"/>
                <a:gd name="T24" fmla="*/ 161 w 222"/>
                <a:gd name="T25" fmla="*/ 156 h 227"/>
                <a:gd name="T26" fmla="*/ 140 w 222"/>
                <a:gd name="T27" fmla="*/ 157 h 227"/>
                <a:gd name="T28" fmla="*/ 126 w 222"/>
                <a:gd name="T29" fmla="*/ 175 h 227"/>
                <a:gd name="T30" fmla="*/ 136 w 222"/>
                <a:gd name="T31" fmla="*/ 192 h 227"/>
                <a:gd name="T32" fmla="*/ 148 w 222"/>
                <a:gd name="T33" fmla="*/ 207 h 227"/>
                <a:gd name="T34" fmla="*/ 142 w 222"/>
                <a:gd name="T35" fmla="*/ 217 h 227"/>
                <a:gd name="T36" fmla="*/ 124 w 222"/>
                <a:gd name="T37" fmla="*/ 219 h 227"/>
                <a:gd name="T38" fmla="*/ 109 w 222"/>
                <a:gd name="T39" fmla="*/ 225 h 227"/>
                <a:gd name="T40" fmla="*/ 105 w 222"/>
                <a:gd name="T41" fmla="*/ 221 h 227"/>
                <a:gd name="T42" fmla="*/ 101 w 222"/>
                <a:gd name="T43" fmla="*/ 221 h 227"/>
                <a:gd name="T44" fmla="*/ 98 w 222"/>
                <a:gd name="T45" fmla="*/ 221 h 227"/>
                <a:gd name="T46" fmla="*/ 96 w 222"/>
                <a:gd name="T47" fmla="*/ 219 h 227"/>
                <a:gd name="T48" fmla="*/ 98 w 222"/>
                <a:gd name="T49" fmla="*/ 217 h 227"/>
                <a:gd name="T50" fmla="*/ 96 w 222"/>
                <a:gd name="T51" fmla="*/ 211 h 227"/>
                <a:gd name="T52" fmla="*/ 90 w 222"/>
                <a:gd name="T53" fmla="*/ 209 h 227"/>
                <a:gd name="T54" fmla="*/ 82 w 222"/>
                <a:gd name="T55" fmla="*/ 198 h 227"/>
                <a:gd name="T56" fmla="*/ 69 w 222"/>
                <a:gd name="T57" fmla="*/ 200 h 227"/>
                <a:gd name="T58" fmla="*/ 48 w 222"/>
                <a:gd name="T59" fmla="*/ 198 h 227"/>
                <a:gd name="T60" fmla="*/ 38 w 222"/>
                <a:gd name="T61" fmla="*/ 204 h 227"/>
                <a:gd name="T62" fmla="*/ 21 w 222"/>
                <a:gd name="T63" fmla="*/ 205 h 227"/>
                <a:gd name="T64" fmla="*/ 11 w 222"/>
                <a:gd name="T65" fmla="*/ 196 h 227"/>
                <a:gd name="T66" fmla="*/ 23 w 222"/>
                <a:gd name="T67" fmla="*/ 180 h 227"/>
                <a:gd name="T68" fmla="*/ 32 w 222"/>
                <a:gd name="T69" fmla="*/ 179 h 227"/>
                <a:gd name="T70" fmla="*/ 30 w 222"/>
                <a:gd name="T71" fmla="*/ 171 h 227"/>
                <a:gd name="T72" fmla="*/ 21 w 222"/>
                <a:gd name="T73" fmla="*/ 150 h 227"/>
                <a:gd name="T74" fmla="*/ 5 w 222"/>
                <a:gd name="T75" fmla="*/ 132 h 227"/>
                <a:gd name="T76" fmla="*/ 46 w 222"/>
                <a:gd name="T77" fmla="*/ 134 h 227"/>
                <a:gd name="T78" fmla="*/ 75 w 222"/>
                <a:gd name="T79" fmla="*/ 129 h 227"/>
                <a:gd name="T80" fmla="*/ 82 w 222"/>
                <a:gd name="T81" fmla="*/ 108 h 227"/>
                <a:gd name="T82" fmla="*/ 94 w 222"/>
                <a:gd name="T83" fmla="*/ 104 h 227"/>
                <a:gd name="T84" fmla="*/ 107 w 222"/>
                <a:gd name="T85" fmla="*/ 94 h 227"/>
                <a:gd name="T86" fmla="*/ 121 w 222"/>
                <a:gd name="T87" fmla="*/ 94 h 227"/>
                <a:gd name="T88" fmla="*/ 126 w 222"/>
                <a:gd name="T89" fmla="*/ 77 h 227"/>
                <a:gd name="T90" fmla="*/ 136 w 222"/>
                <a:gd name="T91" fmla="*/ 63 h 227"/>
                <a:gd name="T92" fmla="*/ 148 w 222"/>
                <a:gd name="T93" fmla="*/ 56 h 227"/>
                <a:gd name="T94" fmla="*/ 149 w 222"/>
                <a:gd name="T95" fmla="*/ 42 h 227"/>
                <a:gd name="T96" fmla="*/ 155 w 222"/>
                <a:gd name="T97" fmla="*/ 27 h 227"/>
                <a:gd name="T98" fmla="*/ 157 w 222"/>
                <a:gd name="T99" fmla="*/ 10 h 227"/>
                <a:gd name="T100" fmla="*/ 171 w 222"/>
                <a:gd name="T101" fmla="*/ 4 h 227"/>
                <a:gd name="T102" fmla="*/ 184 w 222"/>
                <a:gd name="T103" fmla="*/ 2 h 227"/>
                <a:gd name="T104" fmla="*/ 195 w 222"/>
                <a:gd name="T105" fmla="*/ 2 h 227"/>
                <a:gd name="T106" fmla="*/ 211 w 222"/>
                <a:gd name="T107" fmla="*/ 2 h 227"/>
                <a:gd name="T108" fmla="*/ 220 w 222"/>
                <a:gd name="T109" fmla="*/ 15 h 227"/>
                <a:gd name="T110" fmla="*/ 105 w 222"/>
                <a:gd name="T111" fmla="*/ 225 h 227"/>
                <a:gd name="T112" fmla="*/ 100 w 222"/>
                <a:gd name="T113" fmla="*/ 223 h 227"/>
                <a:gd name="T114" fmla="*/ 94 w 222"/>
                <a:gd name="T115" fmla="*/ 213 h 227"/>
                <a:gd name="T116" fmla="*/ 96 w 222"/>
                <a:gd name="T117" fmla="*/ 219 h 227"/>
                <a:gd name="T118" fmla="*/ 94 w 222"/>
                <a:gd name="T119" fmla="*/ 213 h 227"/>
                <a:gd name="T120" fmla="*/ 94 w 222"/>
                <a:gd name="T121" fmla="*/ 213 h 227"/>
                <a:gd name="T122" fmla="*/ 96 w 222"/>
                <a:gd name="T123" fmla="*/ 215 h 227"/>
                <a:gd name="T124" fmla="*/ 94 w 222"/>
                <a:gd name="T125" fmla="*/ 21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 h="227">
                  <a:moveTo>
                    <a:pt x="220" y="17"/>
                  </a:moveTo>
                  <a:lnTo>
                    <a:pt x="219" y="19"/>
                  </a:lnTo>
                  <a:lnTo>
                    <a:pt x="219" y="17"/>
                  </a:lnTo>
                  <a:lnTo>
                    <a:pt x="217" y="17"/>
                  </a:lnTo>
                  <a:lnTo>
                    <a:pt x="215" y="17"/>
                  </a:lnTo>
                  <a:lnTo>
                    <a:pt x="215" y="15"/>
                  </a:lnTo>
                  <a:lnTo>
                    <a:pt x="213" y="15"/>
                  </a:lnTo>
                  <a:lnTo>
                    <a:pt x="211" y="15"/>
                  </a:lnTo>
                  <a:lnTo>
                    <a:pt x="211" y="13"/>
                  </a:lnTo>
                  <a:lnTo>
                    <a:pt x="211" y="15"/>
                  </a:lnTo>
                  <a:lnTo>
                    <a:pt x="209" y="15"/>
                  </a:lnTo>
                  <a:lnTo>
                    <a:pt x="209" y="17"/>
                  </a:lnTo>
                  <a:lnTo>
                    <a:pt x="207" y="17"/>
                  </a:lnTo>
                  <a:lnTo>
                    <a:pt x="205" y="17"/>
                  </a:lnTo>
                  <a:lnTo>
                    <a:pt x="205" y="19"/>
                  </a:lnTo>
                  <a:lnTo>
                    <a:pt x="205" y="21"/>
                  </a:lnTo>
                  <a:lnTo>
                    <a:pt x="205" y="23"/>
                  </a:lnTo>
                  <a:lnTo>
                    <a:pt x="203" y="23"/>
                  </a:lnTo>
                  <a:lnTo>
                    <a:pt x="205" y="23"/>
                  </a:lnTo>
                  <a:lnTo>
                    <a:pt x="205" y="25"/>
                  </a:lnTo>
                  <a:lnTo>
                    <a:pt x="203" y="25"/>
                  </a:lnTo>
                  <a:lnTo>
                    <a:pt x="205" y="27"/>
                  </a:lnTo>
                  <a:lnTo>
                    <a:pt x="207" y="29"/>
                  </a:lnTo>
                  <a:lnTo>
                    <a:pt x="209" y="31"/>
                  </a:lnTo>
                  <a:lnTo>
                    <a:pt x="209" y="33"/>
                  </a:lnTo>
                  <a:lnTo>
                    <a:pt x="211" y="33"/>
                  </a:lnTo>
                  <a:lnTo>
                    <a:pt x="211" y="35"/>
                  </a:lnTo>
                  <a:lnTo>
                    <a:pt x="209" y="35"/>
                  </a:lnTo>
                  <a:lnTo>
                    <a:pt x="209" y="36"/>
                  </a:lnTo>
                  <a:lnTo>
                    <a:pt x="209" y="38"/>
                  </a:lnTo>
                  <a:lnTo>
                    <a:pt x="207" y="38"/>
                  </a:lnTo>
                  <a:lnTo>
                    <a:pt x="207" y="40"/>
                  </a:lnTo>
                  <a:lnTo>
                    <a:pt x="205" y="40"/>
                  </a:lnTo>
                  <a:lnTo>
                    <a:pt x="203" y="40"/>
                  </a:lnTo>
                  <a:lnTo>
                    <a:pt x="203" y="38"/>
                  </a:lnTo>
                  <a:lnTo>
                    <a:pt x="201" y="38"/>
                  </a:lnTo>
                  <a:lnTo>
                    <a:pt x="199" y="38"/>
                  </a:lnTo>
                  <a:lnTo>
                    <a:pt x="199" y="40"/>
                  </a:lnTo>
                  <a:lnTo>
                    <a:pt x="197" y="40"/>
                  </a:lnTo>
                  <a:lnTo>
                    <a:pt x="197" y="42"/>
                  </a:lnTo>
                  <a:lnTo>
                    <a:pt x="195" y="42"/>
                  </a:lnTo>
                  <a:lnTo>
                    <a:pt x="195" y="44"/>
                  </a:lnTo>
                  <a:lnTo>
                    <a:pt x="195" y="42"/>
                  </a:lnTo>
                  <a:lnTo>
                    <a:pt x="194" y="42"/>
                  </a:lnTo>
                  <a:lnTo>
                    <a:pt x="194" y="44"/>
                  </a:lnTo>
                  <a:lnTo>
                    <a:pt x="194" y="42"/>
                  </a:lnTo>
                  <a:lnTo>
                    <a:pt x="192" y="42"/>
                  </a:lnTo>
                  <a:lnTo>
                    <a:pt x="194" y="42"/>
                  </a:lnTo>
                  <a:lnTo>
                    <a:pt x="192" y="42"/>
                  </a:lnTo>
                  <a:lnTo>
                    <a:pt x="192" y="44"/>
                  </a:lnTo>
                  <a:lnTo>
                    <a:pt x="192" y="46"/>
                  </a:lnTo>
                  <a:lnTo>
                    <a:pt x="190" y="46"/>
                  </a:lnTo>
                  <a:lnTo>
                    <a:pt x="188" y="48"/>
                  </a:lnTo>
                  <a:lnTo>
                    <a:pt x="188" y="50"/>
                  </a:lnTo>
                  <a:lnTo>
                    <a:pt x="190" y="50"/>
                  </a:lnTo>
                  <a:lnTo>
                    <a:pt x="192" y="50"/>
                  </a:lnTo>
                  <a:lnTo>
                    <a:pt x="190" y="50"/>
                  </a:lnTo>
                  <a:lnTo>
                    <a:pt x="190" y="52"/>
                  </a:lnTo>
                  <a:lnTo>
                    <a:pt x="188" y="52"/>
                  </a:lnTo>
                  <a:lnTo>
                    <a:pt x="188" y="54"/>
                  </a:lnTo>
                  <a:lnTo>
                    <a:pt x="186" y="54"/>
                  </a:lnTo>
                  <a:lnTo>
                    <a:pt x="186" y="52"/>
                  </a:lnTo>
                  <a:lnTo>
                    <a:pt x="184" y="52"/>
                  </a:lnTo>
                  <a:lnTo>
                    <a:pt x="186" y="52"/>
                  </a:lnTo>
                  <a:lnTo>
                    <a:pt x="184" y="52"/>
                  </a:lnTo>
                  <a:lnTo>
                    <a:pt x="184" y="54"/>
                  </a:lnTo>
                  <a:lnTo>
                    <a:pt x="186" y="54"/>
                  </a:lnTo>
                  <a:lnTo>
                    <a:pt x="184" y="54"/>
                  </a:lnTo>
                  <a:lnTo>
                    <a:pt x="186" y="54"/>
                  </a:lnTo>
                  <a:lnTo>
                    <a:pt x="184" y="54"/>
                  </a:lnTo>
                  <a:lnTo>
                    <a:pt x="186" y="54"/>
                  </a:lnTo>
                  <a:lnTo>
                    <a:pt x="186" y="56"/>
                  </a:lnTo>
                  <a:lnTo>
                    <a:pt x="186" y="58"/>
                  </a:lnTo>
                  <a:lnTo>
                    <a:pt x="186" y="59"/>
                  </a:lnTo>
                  <a:lnTo>
                    <a:pt x="186" y="61"/>
                  </a:lnTo>
                  <a:lnTo>
                    <a:pt x="188" y="61"/>
                  </a:lnTo>
                  <a:lnTo>
                    <a:pt x="190" y="61"/>
                  </a:lnTo>
                  <a:lnTo>
                    <a:pt x="192" y="61"/>
                  </a:lnTo>
                  <a:lnTo>
                    <a:pt x="194" y="61"/>
                  </a:lnTo>
                  <a:lnTo>
                    <a:pt x="194" y="63"/>
                  </a:lnTo>
                  <a:lnTo>
                    <a:pt x="192" y="63"/>
                  </a:lnTo>
                  <a:lnTo>
                    <a:pt x="194" y="63"/>
                  </a:lnTo>
                  <a:lnTo>
                    <a:pt x="194" y="65"/>
                  </a:lnTo>
                  <a:lnTo>
                    <a:pt x="195" y="65"/>
                  </a:lnTo>
                  <a:lnTo>
                    <a:pt x="194" y="65"/>
                  </a:lnTo>
                  <a:lnTo>
                    <a:pt x="194" y="67"/>
                  </a:lnTo>
                  <a:lnTo>
                    <a:pt x="192" y="67"/>
                  </a:lnTo>
                  <a:lnTo>
                    <a:pt x="192" y="69"/>
                  </a:lnTo>
                  <a:lnTo>
                    <a:pt x="192" y="67"/>
                  </a:lnTo>
                  <a:lnTo>
                    <a:pt x="192" y="69"/>
                  </a:lnTo>
                  <a:lnTo>
                    <a:pt x="194" y="69"/>
                  </a:lnTo>
                  <a:lnTo>
                    <a:pt x="195" y="69"/>
                  </a:lnTo>
                  <a:lnTo>
                    <a:pt x="197" y="69"/>
                  </a:lnTo>
                  <a:lnTo>
                    <a:pt x="197" y="71"/>
                  </a:lnTo>
                  <a:lnTo>
                    <a:pt x="199" y="71"/>
                  </a:lnTo>
                  <a:lnTo>
                    <a:pt x="199" y="73"/>
                  </a:lnTo>
                  <a:lnTo>
                    <a:pt x="197" y="73"/>
                  </a:lnTo>
                  <a:lnTo>
                    <a:pt x="197" y="75"/>
                  </a:lnTo>
                  <a:lnTo>
                    <a:pt x="199" y="75"/>
                  </a:lnTo>
                  <a:lnTo>
                    <a:pt x="199" y="77"/>
                  </a:lnTo>
                  <a:lnTo>
                    <a:pt x="201" y="77"/>
                  </a:lnTo>
                  <a:lnTo>
                    <a:pt x="201" y="75"/>
                  </a:lnTo>
                  <a:lnTo>
                    <a:pt x="203" y="75"/>
                  </a:lnTo>
                  <a:lnTo>
                    <a:pt x="203" y="77"/>
                  </a:lnTo>
                  <a:lnTo>
                    <a:pt x="201" y="77"/>
                  </a:lnTo>
                  <a:lnTo>
                    <a:pt x="201" y="79"/>
                  </a:lnTo>
                  <a:lnTo>
                    <a:pt x="203" y="79"/>
                  </a:lnTo>
                  <a:lnTo>
                    <a:pt x="201" y="79"/>
                  </a:lnTo>
                  <a:lnTo>
                    <a:pt x="201" y="81"/>
                  </a:lnTo>
                  <a:lnTo>
                    <a:pt x="203" y="81"/>
                  </a:lnTo>
                  <a:lnTo>
                    <a:pt x="205" y="81"/>
                  </a:lnTo>
                  <a:lnTo>
                    <a:pt x="205" y="83"/>
                  </a:lnTo>
                  <a:lnTo>
                    <a:pt x="207" y="83"/>
                  </a:lnTo>
                  <a:lnTo>
                    <a:pt x="207" y="81"/>
                  </a:lnTo>
                  <a:lnTo>
                    <a:pt x="209" y="81"/>
                  </a:lnTo>
                  <a:lnTo>
                    <a:pt x="209" y="83"/>
                  </a:lnTo>
                  <a:lnTo>
                    <a:pt x="211" y="83"/>
                  </a:lnTo>
                  <a:lnTo>
                    <a:pt x="209" y="83"/>
                  </a:lnTo>
                  <a:lnTo>
                    <a:pt x="211" y="83"/>
                  </a:lnTo>
                  <a:lnTo>
                    <a:pt x="209" y="83"/>
                  </a:lnTo>
                  <a:lnTo>
                    <a:pt x="211" y="83"/>
                  </a:lnTo>
                  <a:lnTo>
                    <a:pt x="211" y="84"/>
                  </a:lnTo>
                  <a:lnTo>
                    <a:pt x="213" y="84"/>
                  </a:lnTo>
                  <a:lnTo>
                    <a:pt x="211" y="84"/>
                  </a:lnTo>
                  <a:lnTo>
                    <a:pt x="213" y="84"/>
                  </a:lnTo>
                  <a:lnTo>
                    <a:pt x="213" y="86"/>
                  </a:lnTo>
                  <a:lnTo>
                    <a:pt x="211" y="86"/>
                  </a:lnTo>
                  <a:lnTo>
                    <a:pt x="211" y="88"/>
                  </a:lnTo>
                  <a:lnTo>
                    <a:pt x="209" y="88"/>
                  </a:lnTo>
                  <a:lnTo>
                    <a:pt x="207" y="88"/>
                  </a:lnTo>
                  <a:lnTo>
                    <a:pt x="205" y="88"/>
                  </a:lnTo>
                  <a:lnTo>
                    <a:pt x="205" y="90"/>
                  </a:lnTo>
                  <a:lnTo>
                    <a:pt x="203" y="90"/>
                  </a:lnTo>
                  <a:lnTo>
                    <a:pt x="201" y="90"/>
                  </a:lnTo>
                  <a:lnTo>
                    <a:pt x="201" y="92"/>
                  </a:lnTo>
                  <a:lnTo>
                    <a:pt x="201" y="94"/>
                  </a:lnTo>
                  <a:lnTo>
                    <a:pt x="199" y="94"/>
                  </a:lnTo>
                  <a:lnTo>
                    <a:pt x="199" y="96"/>
                  </a:lnTo>
                  <a:lnTo>
                    <a:pt x="201" y="96"/>
                  </a:lnTo>
                  <a:lnTo>
                    <a:pt x="201" y="98"/>
                  </a:lnTo>
                  <a:lnTo>
                    <a:pt x="201" y="100"/>
                  </a:lnTo>
                  <a:lnTo>
                    <a:pt x="201" y="102"/>
                  </a:lnTo>
                  <a:lnTo>
                    <a:pt x="199" y="102"/>
                  </a:lnTo>
                  <a:lnTo>
                    <a:pt x="201" y="102"/>
                  </a:lnTo>
                  <a:lnTo>
                    <a:pt x="199" y="102"/>
                  </a:lnTo>
                  <a:lnTo>
                    <a:pt x="199" y="104"/>
                  </a:lnTo>
                  <a:lnTo>
                    <a:pt x="199" y="106"/>
                  </a:lnTo>
                  <a:lnTo>
                    <a:pt x="201" y="106"/>
                  </a:lnTo>
                  <a:lnTo>
                    <a:pt x="201" y="104"/>
                  </a:lnTo>
                  <a:lnTo>
                    <a:pt x="201" y="106"/>
                  </a:lnTo>
                  <a:lnTo>
                    <a:pt x="201" y="104"/>
                  </a:lnTo>
                  <a:lnTo>
                    <a:pt x="201" y="106"/>
                  </a:lnTo>
                  <a:lnTo>
                    <a:pt x="201" y="104"/>
                  </a:lnTo>
                  <a:lnTo>
                    <a:pt x="203" y="104"/>
                  </a:lnTo>
                  <a:lnTo>
                    <a:pt x="203" y="106"/>
                  </a:lnTo>
                  <a:lnTo>
                    <a:pt x="201" y="106"/>
                  </a:lnTo>
                  <a:lnTo>
                    <a:pt x="199" y="106"/>
                  </a:lnTo>
                  <a:lnTo>
                    <a:pt x="199" y="108"/>
                  </a:lnTo>
                  <a:lnTo>
                    <a:pt x="201" y="108"/>
                  </a:lnTo>
                  <a:lnTo>
                    <a:pt x="199" y="108"/>
                  </a:lnTo>
                  <a:lnTo>
                    <a:pt x="197" y="108"/>
                  </a:lnTo>
                  <a:lnTo>
                    <a:pt x="197" y="109"/>
                  </a:lnTo>
                  <a:lnTo>
                    <a:pt x="197" y="111"/>
                  </a:lnTo>
                  <a:lnTo>
                    <a:pt x="195" y="111"/>
                  </a:lnTo>
                  <a:lnTo>
                    <a:pt x="197" y="111"/>
                  </a:lnTo>
                  <a:lnTo>
                    <a:pt x="195" y="111"/>
                  </a:lnTo>
                  <a:lnTo>
                    <a:pt x="195" y="113"/>
                  </a:lnTo>
                  <a:lnTo>
                    <a:pt x="194" y="113"/>
                  </a:lnTo>
                  <a:lnTo>
                    <a:pt x="194" y="115"/>
                  </a:lnTo>
                  <a:lnTo>
                    <a:pt x="192" y="115"/>
                  </a:lnTo>
                  <a:lnTo>
                    <a:pt x="192" y="117"/>
                  </a:lnTo>
                  <a:lnTo>
                    <a:pt x="190" y="117"/>
                  </a:lnTo>
                  <a:lnTo>
                    <a:pt x="192" y="117"/>
                  </a:lnTo>
                  <a:lnTo>
                    <a:pt x="192" y="119"/>
                  </a:lnTo>
                  <a:lnTo>
                    <a:pt x="192" y="121"/>
                  </a:lnTo>
                  <a:lnTo>
                    <a:pt x="190" y="121"/>
                  </a:lnTo>
                  <a:lnTo>
                    <a:pt x="190" y="123"/>
                  </a:lnTo>
                  <a:lnTo>
                    <a:pt x="188" y="123"/>
                  </a:lnTo>
                  <a:lnTo>
                    <a:pt x="186" y="123"/>
                  </a:lnTo>
                  <a:lnTo>
                    <a:pt x="186" y="125"/>
                  </a:lnTo>
                  <a:lnTo>
                    <a:pt x="184" y="125"/>
                  </a:lnTo>
                  <a:lnTo>
                    <a:pt x="184" y="127"/>
                  </a:lnTo>
                  <a:lnTo>
                    <a:pt x="182" y="127"/>
                  </a:lnTo>
                  <a:lnTo>
                    <a:pt x="182" y="129"/>
                  </a:lnTo>
                  <a:lnTo>
                    <a:pt x="182" y="131"/>
                  </a:lnTo>
                  <a:lnTo>
                    <a:pt x="182" y="132"/>
                  </a:lnTo>
                  <a:lnTo>
                    <a:pt x="180" y="132"/>
                  </a:lnTo>
                  <a:lnTo>
                    <a:pt x="180" y="134"/>
                  </a:lnTo>
                  <a:lnTo>
                    <a:pt x="180" y="136"/>
                  </a:lnTo>
                  <a:lnTo>
                    <a:pt x="178" y="136"/>
                  </a:lnTo>
                  <a:lnTo>
                    <a:pt x="178" y="138"/>
                  </a:lnTo>
                  <a:lnTo>
                    <a:pt x="176" y="140"/>
                  </a:lnTo>
                  <a:lnTo>
                    <a:pt x="174" y="140"/>
                  </a:lnTo>
                  <a:lnTo>
                    <a:pt x="174" y="142"/>
                  </a:lnTo>
                  <a:lnTo>
                    <a:pt x="172" y="142"/>
                  </a:lnTo>
                  <a:lnTo>
                    <a:pt x="171" y="142"/>
                  </a:lnTo>
                  <a:lnTo>
                    <a:pt x="171" y="144"/>
                  </a:lnTo>
                  <a:lnTo>
                    <a:pt x="169" y="144"/>
                  </a:lnTo>
                  <a:lnTo>
                    <a:pt x="169" y="146"/>
                  </a:lnTo>
                  <a:lnTo>
                    <a:pt x="167" y="146"/>
                  </a:lnTo>
                  <a:lnTo>
                    <a:pt x="167" y="148"/>
                  </a:lnTo>
                  <a:lnTo>
                    <a:pt x="167" y="150"/>
                  </a:lnTo>
                  <a:lnTo>
                    <a:pt x="167" y="152"/>
                  </a:lnTo>
                  <a:lnTo>
                    <a:pt x="165" y="152"/>
                  </a:lnTo>
                  <a:lnTo>
                    <a:pt x="165" y="154"/>
                  </a:lnTo>
                  <a:lnTo>
                    <a:pt x="163" y="154"/>
                  </a:lnTo>
                  <a:lnTo>
                    <a:pt x="163" y="156"/>
                  </a:lnTo>
                  <a:lnTo>
                    <a:pt x="161" y="156"/>
                  </a:lnTo>
                  <a:lnTo>
                    <a:pt x="161" y="157"/>
                  </a:lnTo>
                  <a:lnTo>
                    <a:pt x="161" y="159"/>
                  </a:lnTo>
                  <a:lnTo>
                    <a:pt x="159" y="159"/>
                  </a:lnTo>
                  <a:lnTo>
                    <a:pt x="157" y="159"/>
                  </a:lnTo>
                  <a:lnTo>
                    <a:pt x="155" y="159"/>
                  </a:lnTo>
                  <a:lnTo>
                    <a:pt x="153" y="159"/>
                  </a:lnTo>
                  <a:lnTo>
                    <a:pt x="151" y="159"/>
                  </a:lnTo>
                  <a:lnTo>
                    <a:pt x="151" y="161"/>
                  </a:lnTo>
                  <a:lnTo>
                    <a:pt x="149" y="161"/>
                  </a:lnTo>
                  <a:lnTo>
                    <a:pt x="148" y="161"/>
                  </a:lnTo>
                  <a:lnTo>
                    <a:pt x="146" y="161"/>
                  </a:lnTo>
                  <a:lnTo>
                    <a:pt x="144" y="161"/>
                  </a:lnTo>
                  <a:lnTo>
                    <a:pt x="144" y="159"/>
                  </a:lnTo>
                  <a:lnTo>
                    <a:pt x="144" y="157"/>
                  </a:lnTo>
                  <a:lnTo>
                    <a:pt x="142" y="157"/>
                  </a:lnTo>
                  <a:lnTo>
                    <a:pt x="140" y="157"/>
                  </a:lnTo>
                  <a:lnTo>
                    <a:pt x="138" y="157"/>
                  </a:lnTo>
                  <a:lnTo>
                    <a:pt x="138" y="159"/>
                  </a:lnTo>
                  <a:lnTo>
                    <a:pt x="136" y="159"/>
                  </a:lnTo>
                  <a:lnTo>
                    <a:pt x="136" y="161"/>
                  </a:lnTo>
                  <a:lnTo>
                    <a:pt x="136" y="163"/>
                  </a:lnTo>
                  <a:lnTo>
                    <a:pt x="134" y="163"/>
                  </a:lnTo>
                  <a:lnTo>
                    <a:pt x="134" y="165"/>
                  </a:lnTo>
                  <a:lnTo>
                    <a:pt x="132" y="165"/>
                  </a:lnTo>
                  <a:lnTo>
                    <a:pt x="132" y="167"/>
                  </a:lnTo>
                  <a:lnTo>
                    <a:pt x="130" y="167"/>
                  </a:lnTo>
                  <a:lnTo>
                    <a:pt x="130" y="169"/>
                  </a:lnTo>
                  <a:lnTo>
                    <a:pt x="128" y="169"/>
                  </a:lnTo>
                  <a:lnTo>
                    <a:pt x="128" y="171"/>
                  </a:lnTo>
                  <a:lnTo>
                    <a:pt x="126" y="171"/>
                  </a:lnTo>
                  <a:lnTo>
                    <a:pt x="126" y="173"/>
                  </a:lnTo>
                  <a:lnTo>
                    <a:pt x="126" y="175"/>
                  </a:lnTo>
                  <a:lnTo>
                    <a:pt x="126" y="177"/>
                  </a:lnTo>
                  <a:lnTo>
                    <a:pt x="126" y="179"/>
                  </a:lnTo>
                  <a:lnTo>
                    <a:pt x="128" y="179"/>
                  </a:lnTo>
                  <a:lnTo>
                    <a:pt x="130" y="179"/>
                  </a:lnTo>
                  <a:lnTo>
                    <a:pt x="130" y="180"/>
                  </a:lnTo>
                  <a:lnTo>
                    <a:pt x="132" y="180"/>
                  </a:lnTo>
                  <a:lnTo>
                    <a:pt x="134" y="180"/>
                  </a:lnTo>
                  <a:lnTo>
                    <a:pt x="136" y="180"/>
                  </a:lnTo>
                  <a:lnTo>
                    <a:pt x="136" y="182"/>
                  </a:lnTo>
                  <a:lnTo>
                    <a:pt x="136" y="184"/>
                  </a:lnTo>
                  <a:lnTo>
                    <a:pt x="136" y="186"/>
                  </a:lnTo>
                  <a:lnTo>
                    <a:pt x="136" y="188"/>
                  </a:lnTo>
                  <a:lnTo>
                    <a:pt x="134" y="188"/>
                  </a:lnTo>
                  <a:lnTo>
                    <a:pt x="136" y="188"/>
                  </a:lnTo>
                  <a:lnTo>
                    <a:pt x="136" y="190"/>
                  </a:lnTo>
                  <a:lnTo>
                    <a:pt x="136" y="192"/>
                  </a:lnTo>
                  <a:lnTo>
                    <a:pt x="136" y="194"/>
                  </a:lnTo>
                  <a:lnTo>
                    <a:pt x="138" y="194"/>
                  </a:lnTo>
                  <a:lnTo>
                    <a:pt x="138" y="196"/>
                  </a:lnTo>
                  <a:lnTo>
                    <a:pt x="140" y="196"/>
                  </a:lnTo>
                  <a:lnTo>
                    <a:pt x="142" y="196"/>
                  </a:lnTo>
                  <a:lnTo>
                    <a:pt x="142" y="194"/>
                  </a:lnTo>
                  <a:lnTo>
                    <a:pt x="144" y="194"/>
                  </a:lnTo>
                  <a:lnTo>
                    <a:pt x="144" y="196"/>
                  </a:lnTo>
                  <a:lnTo>
                    <a:pt x="144" y="198"/>
                  </a:lnTo>
                  <a:lnTo>
                    <a:pt x="144" y="200"/>
                  </a:lnTo>
                  <a:lnTo>
                    <a:pt x="144" y="202"/>
                  </a:lnTo>
                  <a:lnTo>
                    <a:pt x="146" y="202"/>
                  </a:lnTo>
                  <a:lnTo>
                    <a:pt x="146" y="204"/>
                  </a:lnTo>
                  <a:lnTo>
                    <a:pt x="148" y="204"/>
                  </a:lnTo>
                  <a:lnTo>
                    <a:pt x="148" y="205"/>
                  </a:lnTo>
                  <a:lnTo>
                    <a:pt x="148" y="207"/>
                  </a:lnTo>
                  <a:lnTo>
                    <a:pt x="148" y="209"/>
                  </a:lnTo>
                  <a:lnTo>
                    <a:pt x="149" y="209"/>
                  </a:lnTo>
                  <a:lnTo>
                    <a:pt x="149" y="211"/>
                  </a:lnTo>
                  <a:lnTo>
                    <a:pt x="149" y="213"/>
                  </a:lnTo>
                  <a:lnTo>
                    <a:pt x="148" y="213"/>
                  </a:lnTo>
                  <a:lnTo>
                    <a:pt x="149" y="213"/>
                  </a:lnTo>
                  <a:lnTo>
                    <a:pt x="149" y="215"/>
                  </a:lnTo>
                  <a:lnTo>
                    <a:pt x="148" y="215"/>
                  </a:lnTo>
                  <a:lnTo>
                    <a:pt x="149" y="215"/>
                  </a:lnTo>
                  <a:lnTo>
                    <a:pt x="149" y="217"/>
                  </a:lnTo>
                  <a:lnTo>
                    <a:pt x="148" y="217"/>
                  </a:lnTo>
                  <a:lnTo>
                    <a:pt x="148" y="219"/>
                  </a:lnTo>
                  <a:lnTo>
                    <a:pt x="146" y="219"/>
                  </a:lnTo>
                  <a:lnTo>
                    <a:pt x="144" y="219"/>
                  </a:lnTo>
                  <a:lnTo>
                    <a:pt x="142" y="219"/>
                  </a:lnTo>
                  <a:lnTo>
                    <a:pt x="142" y="217"/>
                  </a:lnTo>
                  <a:lnTo>
                    <a:pt x="142" y="215"/>
                  </a:lnTo>
                  <a:lnTo>
                    <a:pt x="142" y="217"/>
                  </a:lnTo>
                  <a:lnTo>
                    <a:pt x="140" y="217"/>
                  </a:lnTo>
                  <a:lnTo>
                    <a:pt x="138" y="217"/>
                  </a:lnTo>
                  <a:lnTo>
                    <a:pt x="136" y="217"/>
                  </a:lnTo>
                  <a:lnTo>
                    <a:pt x="136" y="219"/>
                  </a:lnTo>
                  <a:lnTo>
                    <a:pt x="134" y="219"/>
                  </a:lnTo>
                  <a:lnTo>
                    <a:pt x="132" y="219"/>
                  </a:lnTo>
                  <a:lnTo>
                    <a:pt x="130" y="219"/>
                  </a:lnTo>
                  <a:lnTo>
                    <a:pt x="128" y="219"/>
                  </a:lnTo>
                  <a:lnTo>
                    <a:pt x="128" y="217"/>
                  </a:lnTo>
                  <a:lnTo>
                    <a:pt x="126" y="217"/>
                  </a:lnTo>
                  <a:lnTo>
                    <a:pt x="126" y="219"/>
                  </a:lnTo>
                  <a:lnTo>
                    <a:pt x="126" y="217"/>
                  </a:lnTo>
                  <a:lnTo>
                    <a:pt x="126" y="219"/>
                  </a:lnTo>
                  <a:lnTo>
                    <a:pt x="124" y="219"/>
                  </a:lnTo>
                  <a:lnTo>
                    <a:pt x="124" y="217"/>
                  </a:lnTo>
                  <a:lnTo>
                    <a:pt x="124" y="219"/>
                  </a:lnTo>
                  <a:lnTo>
                    <a:pt x="123" y="219"/>
                  </a:lnTo>
                  <a:lnTo>
                    <a:pt x="121" y="219"/>
                  </a:lnTo>
                  <a:lnTo>
                    <a:pt x="119" y="219"/>
                  </a:lnTo>
                  <a:lnTo>
                    <a:pt x="119" y="217"/>
                  </a:lnTo>
                  <a:lnTo>
                    <a:pt x="117" y="219"/>
                  </a:lnTo>
                  <a:lnTo>
                    <a:pt x="117" y="217"/>
                  </a:lnTo>
                  <a:lnTo>
                    <a:pt x="115" y="217"/>
                  </a:lnTo>
                  <a:lnTo>
                    <a:pt x="115" y="219"/>
                  </a:lnTo>
                  <a:lnTo>
                    <a:pt x="115" y="221"/>
                  </a:lnTo>
                  <a:lnTo>
                    <a:pt x="115" y="223"/>
                  </a:lnTo>
                  <a:lnTo>
                    <a:pt x="113" y="223"/>
                  </a:lnTo>
                  <a:lnTo>
                    <a:pt x="111" y="223"/>
                  </a:lnTo>
                  <a:lnTo>
                    <a:pt x="109" y="223"/>
                  </a:lnTo>
                  <a:lnTo>
                    <a:pt x="109" y="225"/>
                  </a:lnTo>
                  <a:lnTo>
                    <a:pt x="107" y="225"/>
                  </a:lnTo>
                  <a:lnTo>
                    <a:pt x="105" y="225"/>
                  </a:lnTo>
                  <a:lnTo>
                    <a:pt x="107" y="225"/>
                  </a:lnTo>
                  <a:lnTo>
                    <a:pt x="105" y="225"/>
                  </a:lnTo>
                  <a:lnTo>
                    <a:pt x="107" y="225"/>
                  </a:lnTo>
                  <a:lnTo>
                    <a:pt x="105" y="225"/>
                  </a:lnTo>
                  <a:lnTo>
                    <a:pt x="105" y="223"/>
                  </a:lnTo>
                  <a:lnTo>
                    <a:pt x="107" y="223"/>
                  </a:lnTo>
                  <a:lnTo>
                    <a:pt x="105" y="223"/>
                  </a:lnTo>
                  <a:lnTo>
                    <a:pt x="107" y="223"/>
                  </a:lnTo>
                  <a:lnTo>
                    <a:pt x="107" y="221"/>
                  </a:lnTo>
                  <a:lnTo>
                    <a:pt x="107" y="223"/>
                  </a:lnTo>
                  <a:lnTo>
                    <a:pt x="105" y="223"/>
                  </a:lnTo>
                  <a:lnTo>
                    <a:pt x="105" y="221"/>
                  </a:lnTo>
                  <a:lnTo>
                    <a:pt x="105" y="223"/>
                  </a:lnTo>
                  <a:lnTo>
                    <a:pt x="105" y="221"/>
                  </a:lnTo>
                  <a:lnTo>
                    <a:pt x="103" y="221"/>
                  </a:lnTo>
                  <a:lnTo>
                    <a:pt x="105" y="221"/>
                  </a:lnTo>
                  <a:lnTo>
                    <a:pt x="105" y="223"/>
                  </a:lnTo>
                  <a:lnTo>
                    <a:pt x="103" y="223"/>
                  </a:lnTo>
                  <a:lnTo>
                    <a:pt x="103" y="221"/>
                  </a:lnTo>
                  <a:lnTo>
                    <a:pt x="101" y="221"/>
                  </a:lnTo>
                  <a:lnTo>
                    <a:pt x="103" y="221"/>
                  </a:lnTo>
                  <a:lnTo>
                    <a:pt x="101" y="221"/>
                  </a:lnTo>
                  <a:lnTo>
                    <a:pt x="103" y="221"/>
                  </a:lnTo>
                  <a:lnTo>
                    <a:pt x="101" y="221"/>
                  </a:lnTo>
                  <a:lnTo>
                    <a:pt x="100" y="221"/>
                  </a:lnTo>
                  <a:lnTo>
                    <a:pt x="98" y="221"/>
                  </a:lnTo>
                  <a:lnTo>
                    <a:pt x="100" y="221"/>
                  </a:lnTo>
                  <a:lnTo>
                    <a:pt x="100" y="223"/>
                  </a:lnTo>
                  <a:lnTo>
                    <a:pt x="100" y="221"/>
                  </a:lnTo>
                  <a:lnTo>
                    <a:pt x="101" y="221"/>
                  </a:lnTo>
                  <a:lnTo>
                    <a:pt x="101" y="223"/>
                  </a:lnTo>
                  <a:lnTo>
                    <a:pt x="100" y="223"/>
                  </a:lnTo>
                  <a:lnTo>
                    <a:pt x="101" y="223"/>
                  </a:lnTo>
                  <a:lnTo>
                    <a:pt x="100" y="223"/>
                  </a:lnTo>
                  <a:lnTo>
                    <a:pt x="100" y="225"/>
                  </a:lnTo>
                  <a:lnTo>
                    <a:pt x="98" y="225"/>
                  </a:lnTo>
                  <a:lnTo>
                    <a:pt x="98" y="223"/>
                  </a:lnTo>
                  <a:lnTo>
                    <a:pt x="100" y="223"/>
                  </a:lnTo>
                  <a:lnTo>
                    <a:pt x="98" y="223"/>
                  </a:lnTo>
                  <a:lnTo>
                    <a:pt x="98" y="225"/>
                  </a:lnTo>
                  <a:lnTo>
                    <a:pt x="98" y="223"/>
                  </a:lnTo>
                  <a:lnTo>
                    <a:pt x="96" y="223"/>
                  </a:lnTo>
                  <a:lnTo>
                    <a:pt x="98" y="223"/>
                  </a:lnTo>
                  <a:lnTo>
                    <a:pt x="98" y="221"/>
                  </a:lnTo>
                  <a:lnTo>
                    <a:pt x="98" y="223"/>
                  </a:lnTo>
                  <a:lnTo>
                    <a:pt x="98" y="221"/>
                  </a:lnTo>
                  <a:lnTo>
                    <a:pt x="96" y="221"/>
                  </a:lnTo>
                  <a:lnTo>
                    <a:pt x="98" y="221"/>
                  </a:lnTo>
                  <a:lnTo>
                    <a:pt x="96" y="221"/>
                  </a:lnTo>
                  <a:lnTo>
                    <a:pt x="96" y="219"/>
                  </a:lnTo>
                  <a:lnTo>
                    <a:pt x="98" y="219"/>
                  </a:lnTo>
                  <a:lnTo>
                    <a:pt x="98" y="221"/>
                  </a:lnTo>
                  <a:lnTo>
                    <a:pt x="98" y="219"/>
                  </a:lnTo>
                  <a:lnTo>
                    <a:pt x="98" y="221"/>
                  </a:lnTo>
                  <a:lnTo>
                    <a:pt x="98" y="219"/>
                  </a:lnTo>
                  <a:lnTo>
                    <a:pt x="96" y="219"/>
                  </a:lnTo>
                  <a:lnTo>
                    <a:pt x="96" y="221"/>
                  </a:lnTo>
                  <a:lnTo>
                    <a:pt x="96" y="219"/>
                  </a:lnTo>
                  <a:lnTo>
                    <a:pt x="96" y="221"/>
                  </a:lnTo>
                  <a:lnTo>
                    <a:pt x="96" y="219"/>
                  </a:lnTo>
                  <a:lnTo>
                    <a:pt x="96" y="221"/>
                  </a:lnTo>
                  <a:lnTo>
                    <a:pt x="96" y="219"/>
                  </a:lnTo>
                  <a:lnTo>
                    <a:pt x="94" y="219"/>
                  </a:lnTo>
                  <a:lnTo>
                    <a:pt x="96" y="219"/>
                  </a:lnTo>
                  <a:lnTo>
                    <a:pt x="98" y="219"/>
                  </a:lnTo>
                  <a:lnTo>
                    <a:pt x="96" y="219"/>
                  </a:lnTo>
                  <a:lnTo>
                    <a:pt x="98" y="219"/>
                  </a:lnTo>
                  <a:lnTo>
                    <a:pt x="96" y="219"/>
                  </a:lnTo>
                  <a:lnTo>
                    <a:pt x="96" y="217"/>
                  </a:lnTo>
                  <a:lnTo>
                    <a:pt x="98" y="217"/>
                  </a:lnTo>
                  <a:lnTo>
                    <a:pt x="96" y="217"/>
                  </a:lnTo>
                  <a:lnTo>
                    <a:pt x="98" y="217"/>
                  </a:lnTo>
                  <a:lnTo>
                    <a:pt x="96" y="217"/>
                  </a:lnTo>
                  <a:lnTo>
                    <a:pt x="98" y="217"/>
                  </a:lnTo>
                  <a:lnTo>
                    <a:pt x="98" y="215"/>
                  </a:lnTo>
                  <a:lnTo>
                    <a:pt x="98" y="217"/>
                  </a:lnTo>
                  <a:lnTo>
                    <a:pt x="98" y="215"/>
                  </a:lnTo>
                  <a:lnTo>
                    <a:pt x="98" y="217"/>
                  </a:lnTo>
                  <a:lnTo>
                    <a:pt x="98" y="215"/>
                  </a:lnTo>
                  <a:lnTo>
                    <a:pt x="96" y="215"/>
                  </a:lnTo>
                  <a:lnTo>
                    <a:pt x="98" y="215"/>
                  </a:lnTo>
                  <a:lnTo>
                    <a:pt x="96" y="215"/>
                  </a:lnTo>
                  <a:lnTo>
                    <a:pt x="98" y="215"/>
                  </a:lnTo>
                  <a:lnTo>
                    <a:pt x="96" y="215"/>
                  </a:lnTo>
                  <a:lnTo>
                    <a:pt x="96" y="213"/>
                  </a:lnTo>
                  <a:lnTo>
                    <a:pt x="96" y="215"/>
                  </a:lnTo>
                  <a:lnTo>
                    <a:pt x="96" y="213"/>
                  </a:lnTo>
                  <a:lnTo>
                    <a:pt x="96" y="215"/>
                  </a:lnTo>
                  <a:lnTo>
                    <a:pt x="96" y="213"/>
                  </a:lnTo>
                  <a:lnTo>
                    <a:pt x="98" y="213"/>
                  </a:lnTo>
                  <a:lnTo>
                    <a:pt x="96" y="213"/>
                  </a:lnTo>
                  <a:lnTo>
                    <a:pt x="96" y="211"/>
                  </a:lnTo>
                  <a:lnTo>
                    <a:pt x="96" y="213"/>
                  </a:lnTo>
                  <a:lnTo>
                    <a:pt x="96" y="211"/>
                  </a:lnTo>
                  <a:lnTo>
                    <a:pt x="98" y="211"/>
                  </a:lnTo>
                  <a:lnTo>
                    <a:pt x="96" y="211"/>
                  </a:lnTo>
                  <a:lnTo>
                    <a:pt x="96" y="209"/>
                  </a:lnTo>
                  <a:lnTo>
                    <a:pt x="98" y="209"/>
                  </a:lnTo>
                  <a:lnTo>
                    <a:pt x="98" y="211"/>
                  </a:lnTo>
                  <a:lnTo>
                    <a:pt x="98" y="209"/>
                  </a:lnTo>
                  <a:lnTo>
                    <a:pt x="96" y="209"/>
                  </a:lnTo>
                  <a:lnTo>
                    <a:pt x="94" y="209"/>
                  </a:lnTo>
                  <a:lnTo>
                    <a:pt x="92" y="209"/>
                  </a:lnTo>
                  <a:lnTo>
                    <a:pt x="94" y="209"/>
                  </a:lnTo>
                  <a:lnTo>
                    <a:pt x="92" y="209"/>
                  </a:lnTo>
                  <a:lnTo>
                    <a:pt x="94" y="209"/>
                  </a:lnTo>
                  <a:lnTo>
                    <a:pt x="92" y="209"/>
                  </a:lnTo>
                  <a:lnTo>
                    <a:pt x="92" y="211"/>
                  </a:lnTo>
                  <a:lnTo>
                    <a:pt x="92" y="209"/>
                  </a:lnTo>
                  <a:lnTo>
                    <a:pt x="90" y="209"/>
                  </a:lnTo>
                  <a:lnTo>
                    <a:pt x="88" y="209"/>
                  </a:lnTo>
                  <a:lnTo>
                    <a:pt x="90" y="209"/>
                  </a:lnTo>
                  <a:lnTo>
                    <a:pt x="88" y="209"/>
                  </a:lnTo>
                  <a:lnTo>
                    <a:pt x="86" y="209"/>
                  </a:lnTo>
                  <a:lnTo>
                    <a:pt x="84" y="209"/>
                  </a:lnTo>
                  <a:lnTo>
                    <a:pt x="86" y="209"/>
                  </a:lnTo>
                  <a:lnTo>
                    <a:pt x="86" y="207"/>
                  </a:lnTo>
                  <a:lnTo>
                    <a:pt x="86" y="205"/>
                  </a:lnTo>
                  <a:lnTo>
                    <a:pt x="86" y="204"/>
                  </a:lnTo>
                  <a:lnTo>
                    <a:pt x="86" y="202"/>
                  </a:lnTo>
                  <a:lnTo>
                    <a:pt x="84" y="202"/>
                  </a:lnTo>
                  <a:lnTo>
                    <a:pt x="84" y="200"/>
                  </a:lnTo>
                  <a:lnTo>
                    <a:pt x="82" y="200"/>
                  </a:lnTo>
                  <a:lnTo>
                    <a:pt x="84" y="200"/>
                  </a:lnTo>
                  <a:lnTo>
                    <a:pt x="84" y="198"/>
                  </a:lnTo>
                  <a:lnTo>
                    <a:pt x="82" y="198"/>
                  </a:lnTo>
                  <a:lnTo>
                    <a:pt x="80" y="198"/>
                  </a:lnTo>
                  <a:lnTo>
                    <a:pt x="80" y="196"/>
                  </a:lnTo>
                  <a:lnTo>
                    <a:pt x="78" y="196"/>
                  </a:lnTo>
                  <a:lnTo>
                    <a:pt x="78" y="198"/>
                  </a:lnTo>
                  <a:lnTo>
                    <a:pt x="80" y="198"/>
                  </a:lnTo>
                  <a:lnTo>
                    <a:pt x="78" y="198"/>
                  </a:lnTo>
                  <a:lnTo>
                    <a:pt x="80" y="198"/>
                  </a:lnTo>
                  <a:lnTo>
                    <a:pt x="82" y="198"/>
                  </a:lnTo>
                  <a:lnTo>
                    <a:pt x="82" y="200"/>
                  </a:lnTo>
                  <a:lnTo>
                    <a:pt x="80" y="200"/>
                  </a:lnTo>
                  <a:lnTo>
                    <a:pt x="78" y="200"/>
                  </a:lnTo>
                  <a:lnTo>
                    <a:pt x="76" y="200"/>
                  </a:lnTo>
                  <a:lnTo>
                    <a:pt x="75" y="200"/>
                  </a:lnTo>
                  <a:lnTo>
                    <a:pt x="73" y="200"/>
                  </a:lnTo>
                  <a:lnTo>
                    <a:pt x="71" y="200"/>
                  </a:lnTo>
                  <a:lnTo>
                    <a:pt x="69" y="200"/>
                  </a:lnTo>
                  <a:lnTo>
                    <a:pt x="67" y="200"/>
                  </a:lnTo>
                  <a:lnTo>
                    <a:pt x="65" y="200"/>
                  </a:lnTo>
                  <a:lnTo>
                    <a:pt x="65" y="202"/>
                  </a:lnTo>
                  <a:lnTo>
                    <a:pt x="63" y="202"/>
                  </a:lnTo>
                  <a:lnTo>
                    <a:pt x="61" y="202"/>
                  </a:lnTo>
                  <a:lnTo>
                    <a:pt x="59" y="202"/>
                  </a:lnTo>
                  <a:lnTo>
                    <a:pt x="57" y="202"/>
                  </a:lnTo>
                  <a:lnTo>
                    <a:pt x="55" y="202"/>
                  </a:lnTo>
                  <a:lnTo>
                    <a:pt x="55" y="204"/>
                  </a:lnTo>
                  <a:lnTo>
                    <a:pt x="55" y="202"/>
                  </a:lnTo>
                  <a:lnTo>
                    <a:pt x="53" y="202"/>
                  </a:lnTo>
                  <a:lnTo>
                    <a:pt x="52" y="202"/>
                  </a:lnTo>
                  <a:lnTo>
                    <a:pt x="50" y="202"/>
                  </a:lnTo>
                  <a:lnTo>
                    <a:pt x="48" y="202"/>
                  </a:lnTo>
                  <a:lnTo>
                    <a:pt x="48" y="200"/>
                  </a:lnTo>
                  <a:lnTo>
                    <a:pt x="48" y="198"/>
                  </a:lnTo>
                  <a:lnTo>
                    <a:pt x="48" y="200"/>
                  </a:lnTo>
                  <a:lnTo>
                    <a:pt x="46" y="200"/>
                  </a:lnTo>
                  <a:lnTo>
                    <a:pt x="48" y="200"/>
                  </a:lnTo>
                  <a:lnTo>
                    <a:pt x="46" y="200"/>
                  </a:lnTo>
                  <a:lnTo>
                    <a:pt x="48" y="200"/>
                  </a:lnTo>
                  <a:lnTo>
                    <a:pt x="48" y="202"/>
                  </a:lnTo>
                  <a:lnTo>
                    <a:pt x="48" y="200"/>
                  </a:lnTo>
                  <a:lnTo>
                    <a:pt x="48" y="202"/>
                  </a:lnTo>
                  <a:lnTo>
                    <a:pt x="46" y="202"/>
                  </a:lnTo>
                  <a:lnTo>
                    <a:pt x="44" y="202"/>
                  </a:lnTo>
                  <a:lnTo>
                    <a:pt x="44" y="200"/>
                  </a:lnTo>
                  <a:lnTo>
                    <a:pt x="42" y="200"/>
                  </a:lnTo>
                  <a:lnTo>
                    <a:pt x="40" y="200"/>
                  </a:lnTo>
                  <a:lnTo>
                    <a:pt x="40" y="202"/>
                  </a:lnTo>
                  <a:lnTo>
                    <a:pt x="38" y="202"/>
                  </a:lnTo>
                  <a:lnTo>
                    <a:pt x="38" y="204"/>
                  </a:lnTo>
                  <a:lnTo>
                    <a:pt x="36" y="204"/>
                  </a:lnTo>
                  <a:lnTo>
                    <a:pt x="36" y="202"/>
                  </a:lnTo>
                  <a:lnTo>
                    <a:pt x="34" y="202"/>
                  </a:lnTo>
                  <a:lnTo>
                    <a:pt x="32" y="202"/>
                  </a:lnTo>
                  <a:lnTo>
                    <a:pt x="32" y="204"/>
                  </a:lnTo>
                  <a:lnTo>
                    <a:pt x="30" y="204"/>
                  </a:lnTo>
                  <a:lnTo>
                    <a:pt x="30" y="202"/>
                  </a:lnTo>
                  <a:lnTo>
                    <a:pt x="29" y="202"/>
                  </a:lnTo>
                  <a:lnTo>
                    <a:pt x="27" y="202"/>
                  </a:lnTo>
                  <a:lnTo>
                    <a:pt x="25" y="202"/>
                  </a:lnTo>
                  <a:lnTo>
                    <a:pt x="23" y="202"/>
                  </a:lnTo>
                  <a:lnTo>
                    <a:pt x="23" y="204"/>
                  </a:lnTo>
                  <a:lnTo>
                    <a:pt x="21" y="204"/>
                  </a:lnTo>
                  <a:lnTo>
                    <a:pt x="21" y="205"/>
                  </a:lnTo>
                  <a:lnTo>
                    <a:pt x="23" y="205"/>
                  </a:lnTo>
                  <a:lnTo>
                    <a:pt x="21" y="205"/>
                  </a:lnTo>
                  <a:lnTo>
                    <a:pt x="21" y="204"/>
                  </a:lnTo>
                  <a:lnTo>
                    <a:pt x="19" y="204"/>
                  </a:lnTo>
                  <a:lnTo>
                    <a:pt x="17" y="204"/>
                  </a:lnTo>
                  <a:lnTo>
                    <a:pt x="19" y="204"/>
                  </a:lnTo>
                  <a:lnTo>
                    <a:pt x="19" y="205"/>
                  </a:lnTo>
                  <a:lnTo>
                    <a:pt x="17" y="205"/>
                  </a:lnTo>
                  <a:lnTo>
                    <a:pt x="15" y="205"/>
                  </a:lnTo>
                  <a:lnTo>
                    <a:pt x="13" y="205"/>
                  </a:lnTo>
                  <a:lnTo>
                    <a:pt x="13" y="204"/>
                  </a:lnTo>
                  <a:lnTo>
                    <a:pt x="11" y="204"/>
                  </a:lnTo>
                  <a:lnTo>
                    <a:pt x="13" y="204"/>
                  </a:lnTo>
                  <a:lnTo>
                    <a:pt x="11" y="204"/>
                  </a:lnTo>
                  <a:lnTo>
                    <a:pt x="11" y="202"/>
                  </a:lnTo>
                  <a:lnTo>
                    <a:pt x="11" y="200"/>
                  </a:lnTo>
                  <a:lnTo>
                    <a:pt x="11" y="198"/>
                  </a:lnTo>
                  <a:lnTo>
                    <a:pt x="11" y="196"/>
                  </a:lnTo>
                  <a:lnTo>
                    <a:pt x="13" y="196"/>
                  </a:lnTo>
                  <a:lnTo>
                    <a:pt x="13" y="194"/>
                  </a:lnTo>
                  <a:lnTo>
                    <a:pt x="15" y="194"/>
                  </a:lnTo>
                  <a:lnTo>
                    <a:pt x="15" y="192"/>
                  </a:lnTo>
                  <a:lnTo>
                    <a:pt x="15" y="190"/>
                  </a:lnTo>
                  <a:lnTo>
                    <a:pt x="15" y="188"/>
                  </a:lnTo>
                  <a:lnTo>
                    <a:pt x="15" y="186"/>
                  </a:lnTo>
                  <a:lnTo>
                    <a:pt x="17" y="186"/>
                  </a:lnTo>
                  <a:lnTo>
                    <a:pt x="17" y="184"/>
                  </a:lnTo>
                  <a:lnTo>
                    <a:pt x="19" y="184"/>
                  </a:lnTo>
                  <a:lnTo>
                    <a:pt x="19" y="186"/>
                  </a:lnTo>
                  <a:lnTo>
                    <a:pt x="21" y="186"/>
                  </a:lnTo>
                  <a:lnTo>
                    <a:pt x="21" y="184"/>
                  </a:lnTo>
                  <a:lnTo>
                    <a:pt x="21" y="182"/>
                  </a:lnTo>
                  <a:lnTo>
                    <a:pt x="23" y="182"/>
                  </a:lnTo>
                  <a:lnTo>
                    <a:pt x="23" y="180"/>
                  </a:lnTo>
                  <a:lnTo>
                    <a:pt x="25" y="180"/>
                  </a:lnTo>
                  <a:lnTo>
                    <a:pt x="27" y="180"/>
                  </a:lnTo>
                  <a:lnTo>
                    <a:pt x="29" y="180"/>
                  </a:lnTo>
                  <a:lnTo>
                    <a:pt x="27" y="180"/>
                  </a:lnTo>
                  <a:lnTo>
                    <a:pt x="29" y="180"/>
                  </a:lnTo>
                  <a:lnTo>
                    <a:pt x="29" y="179"/>
                  </a:lnTo>
                  <a:lnTo>
                    <a:pt x="29" y="180"/>
                  </a:lnTo>
                  <a:lnTo>
                    <a:pt x="29" y="179"/>
                  </a:lnTo>
                  <a:lnTo>
                    <a:pt x="29" y="180"/>
                  </a:lnTo>
                  <a:lnTo>
                    <a:pt x="30" y="180"/>
                  </a:lnTo>
                  <a:lnTo>
                    <a:pt x="30" y="179"/>
                  </a:lnTo>
                  <a:lnTo>
                    <a:pt x="30" y="180"/>
                  </a:lnTo>
                  <a:lnTo>
                    <a:pt x="30" y="179"/>
                  </a:lnTo>
                  <a:lnTo>
                    <a:pt x="30" y="180"/>
                  </a:lnTo>
                  <a:lnTo>
                    <a:pt x="32" y="180"/>
                  </a:lnTo>
                  <a:lnTo>
                    <a:pt x="32" y="179"/>
                  </a:lnTo>
                  <a:lnTo>
                    <a:pt x="32" y="180"/>
                  </a:lnTo>
                  <a:lnTo>
                    <a:pt x="34" y="179"/>
                  </a:lnTo>
                  <a:lnTo>
                    <a:pt x="34" y="180"/>
                  </a:lnTo>
                  <a:lnTo>
                    <a:pt x="34" y="179"/>
                  </a:lnTo>
                  <a:lnTo>
                    <a:pt x="34" y="177"/>
                  </a:lnTo>
                  <a:lnTo>
                    <a:pt x="34" y="175"/>
                  </a:lnTo>
                  <a:lnTo>
                    <a:pt x="34" y="173"/>
                  </a:lnTo>
                  <a:lnTo>
                    <a:pt x="36" y="173"/>
                  </a:lnTo>
                  <a:lnTo>
                    <a:pt x="36" y="171"/>
                  </a:lnTo>
                  <a:lnTo>
                    <a:pt x="36" y="173"/>
                  </a:lnTo>
                  <a:lnTo>
                    <a:pt x="36" y="171"/>
                  </a:lnTo>
                  <a:lnTo>
                    <a:pt x="34" y="171"/>
                  </a:lnTo>
                  <a:lnTo>
                    <a:pt x="34" y="169"/>
                  </a:lnTo>
                  <a:lnTo>
                    <a:pt x="32" y="169"/>
                  </a:lnTo>
                  <a:lnTo>
                    <a:pt x="32" y="171"/>
                  </a:lnTo>
                  <a:lnTo>
                    <a:pt x="30" y="171"/>
                  </a:lnTo>
                  <a:lnTo>
                    <a:pt x="29" y="171"/>
                  </a:lnTo>
                  <a:lnTo>
                    <a:pt x="29" y="169"/>
                  </a:lnTo>
                  <a:lnTo>
                    <a:pt x="29" y="167"/>
                  </a:lnTo>
                  <a:lnTo>
                    <a:pt x="29" y="165"/>
                  </a:lnTo>
                  <a:lnTo>
                    <a:pt x="29" y="163"/>
                  </a:lnTo>
                  <a:lnTo>
                    <a:pt x="29" y="161"/>
                  </a:lnTo>
                  <a:lnTo>
                    <a:pt x="29" y="159"/>
                  </a:lnTo>
                  <a:lnTo>
                    <a:pt x="29" y="157"/>
                  </a:lnTo>
                  <a:lnTo>
                    <a:pt x="29" y="156"/>
                  </a:lnTo>
                  <a:lnTo>
                    <a:pt x="29" y="154"/>
                  </a:lnTo>
                  <a:lnTo>
                    <a:pt x="27" y="154"/>
                  </a:lnTo>
                  <a:lnTo>
                    <a:pt x="25" y="154"/>
                  </a:lnTo>
                  <a:lnTo>
                    <a:pt x="25" y="152"/>
                  </a:lnTo>
                  <a:lnTo>
                    <a:pt x="23" y="152"/>
                  </a:lnTo>
                  <a:lnTo>
                    <a:pt x="23" y="150"/>
                  </a:lnTo>
                  <a:lnTo>
                    <a:pt x="21" y="150"/>
                  </a:lnTo>
                  <a:lnTo>
                    <a:pt x="19" y="150"/>
                  </a:lnTo>
                  <a:lnTo>
                    <a:pt x="17" y="150"/>
                  </a:lnTo>
                  <a:lnTo>
                    <a:pt x="17" y="148"/>
                  </a:lnTo>
                  <a:lnTo>
                    <a:pt x="15" y="148"/>
                  </a:lnTo>
                  <a:lnTo>
                    <a:pt x="15" y="146"/>
                  </a:lnTo>
                  <a:lnTo>
                    <a:pt x="13" y="146"/>
                  </a:lnTo>
                  <a:lnTo>
                    <a:pt x="13" y="144"/>
                  </a:lnTo>
                  <a:lnTo>
                    <a:pt x="11" y="144"/>
                  </a:lnTo>
                  <a:lnTo>
                    <a:pt x="11" y="142"/>
                  </a:lnTo>
                  <a:lnTo>
                    <a:pt x="9" y="140"/>
                  </a:lnTo>
                  <a:lnTo>
                    <a:pt x="9" y="138"/>
                  </a:lnTo>
                  <a:lnTo>
                    <a:pt x="7" y="138"/>
                  </a:lnTo>
                  <a:lnTo>
                    <a:pt x="7" y="136"/>
                  </a:lnTo>
                  <a:lnTo>
                    <a:pt x="7" y="134"/>
                  </a:lnTo>
                  <a:lnTo>
                    <a:pt x="5" y="134"/>
                  </a:lnTo>
                  <a:lnTo>
                    <a:pt x="5" y="132"/>
                  </a:lnTo>
                  <a:lnTo>
                    <a:pt x="4" y="132"/>
                  </a:lnTo>
                  <a:lnTo>
                    <a:pt x="4" y="131"/>
                  </a:lnTo>
                  <a:lnTo>
                    <a:pt x="2" y="129"/>
                  </a:lnTo>
                  <a:lnTo>
                    <a:pt x="2" y="127"/>
                  </a:lnTo>
                  <a:lnTo>
                    <a:pt x="0" y="127"/>
                  </a:lnTo>
                  <a:lnTo>
                    <a:pt x="19" y="132"/>
                  </a:lnTo>
                  <a:lnTo>
                    <a:pt x="23" y="134"/>
                  </a:lnTo>
                  <a:lnTo>
                    <a:pt x="25" y="134"/>
                  </a:lnTo>
                  <a:lnTo>
                    <a:pt x="29" y="134"/>
                  </a:lnTo>
                  <a:lnTo>
                    <a:pt x="30" y="132"/>
                  </a:lnTo>
                  <a:lnTo>
                    <a:pt x="34" y="132"/>
                  </a:lnTo>
                  <a:lnTo>
                    <a:pt x="36" y="132"/>
                  </a:lnTo>
                  <a:lnTo>
                    <a:pt x="40" y="132"/>
                  </a:lnTo>
                  <a:lnTo>
                    <a:pt x="42" y="132"/>
                  </a:lnTo>
                  <a:lnTo>
                    <a:pt x="44" y="132"/>
                  </a:lnTo>
                  <a:lnTo>
                    <a:pt x="46" y="134"/>
                  </a:lnTo>
                  <a:lnTo>
                    <a:pt x="48" y="134"/>
                  </a:lnTo>
                  <a:lnTo>
                    <a:pt x="48" y="132"/>
                  </a:lnTo>
                  <a:lnTo>
                    <a:pt x="50" y="132"/>
                  </a:lnTo>
                  <a:lnTo>
                    <a:pt x="52" y="132"/>
                  </a:lnTo>
                  <a:lnTo>
                    <a:pt x="52" y="131"/>
                  </a:lnTo>
                  <a:lnTo>
                    <a:pt x="53" y="131"/>
                  </a:lnTo>
                  <a:lnTo>
                    <a:pt x="55" y="131"/>
                  </a:lnTo>
                  <a:lnTo>
                    <a:pt x="57" y="131"/>
                  </a:lnTo>
                  <a:lnTo>
                    <a:pt x="61" y="132"/>
                  </a:lnTo>
                  <a:lnTo>
                    <a:pt x="63" y="131"/>
                  </a:lnTo>
                  <a:lnTo>
                    <a:pt x="65" y="131"/>
                  </a:lnTo>
                  <a:lnTo>
                    <a:pt x="67" y="131"/>
                  </a:lnTo>
                  <a:lnTo>
                    <a:pt x="69" y="129"/>
                  </a:lnTo>
                  <a:lnTo>
                    <a:pt x="71" y="129"/>
                  </a:lnTo>
                  <a:lnTo>
                    <a:pt x="73" y="129"/>
                  </a:lnTo>
                  <a:lnTo>
                    <a:pt x="75" y="129"/>
                  </a:lnTo>
                  <a:lnTo>
                    <a:pt x="75" y="127"/>
                  </a:lnTo>
                  <a:lnTo>
                    <a:pt x="78" y="127"/>
                  </a:lnTo>
                  <a:lnTo>
                    <a:pt x="80" y="127"/>
                  </a:lnTo>
                  <a:lnTo>
                    <a:pt x="80" y="125"/>
                  </a:lnTo>
                  <a:lnTo>
                    <a:pt x="80" y="123"/>
                  </a:lnTo>
                  <a:lnTo>
                    <a:pt x="78" y="123"/>
                  </a:lnTo>
                  <a:lnTo>
                    <a:pt x="78" y="121"/>
                  </a:lnTo>
                  <a:lnTo>
                    <a:pt x="80" y="121"/>
                  </a:lnTo>
                  <a:lnTo>
                    <a:pt x="80" y="119"/>
                  </a:lnTo>
                  <a:lnTo>
                    <a:pt x="80" y="117"/>
                  </a:lnTo>
                  <a:lnTo>
                    <a:pt x="80" y="115"/>
                  </a:lnTo>
                  <a:lnTo>
                    <a:pt x="80" y="113"/>
                  </a:lnTo>
                  <a:lnTo>
                    <a:pt x="78" y="113"/>
                  </a:lnTo>
                  <a:lnTo>
                    <a:pt x="80" y="113"/>
                  </a:lnTo>
                  <a:lnTo>
                    <a:pt x="80" y="108"/>
                  </a:lnTo>
                  <a:lnTo>
                    <a:pt x="82" y="108"/>
                  </a:lnTo>
                  <a:lnTo>
                    <a:pt x="84" y="108"/>
                  </a:lnTo>
                  <a:lnTo>
                    <a:pt x="84" y="106"/>
                  </a:lnTo>
                  <a:lnTo>
                    <a:pt x="86" y="106"/>
                  </a:lnTo>
                  <a:lnTo>
                    <a:pt x="86" y="104"/>
                  </a:lnTo>
                  <a:lnTo>
                    <a:pt x="88" y="104"/>
                  </a:lnTo>
                  <a:lnTo>
                    <a:pt x="88" y="102"/>
                  </a:lnTo>
                  <a:lnTo>
                    <a:pt x="90" y="102"/>
                  </a:lnTo>
                  <a:lnTo>
                    <a:pt x="90" y="104"/>
                  </a:lnTo>
                  <a:lnTo>
                    <a:pt x="90" y="102"/>
                  </a:lnTo>
                  <a:lnTo>
                    <a:pt x="90" y="104"/>
                  </a:lnTo>
                  <a:lnTo>
                    <a:pt x="90" y="102"/>
                  </a:lnTo>
                  <a:lnTo>
                    <a:pt x="90" y="104"/>
                  </a:lnTo>
                  <a:lnTo>
                    <a:pt x="92" y="104"/>
                  </a:lnTo>
                  <a:lnTo>
                    <a:pt x="92" y="102"/>
                  </a:lnTo>
                  <a:lnTo>
                    <a:pt x="92" y="104"/>
                  </a:lnTo>
                  <a:lnTo>
                    <a:pt x="94" y="104"/>
                  </a:lnTo>
                  <a:lnTo>
                    <a:pt x="96" y="104"/>
                  </a:lnTo>
                  <a:lnTo>
                    <a:pt x="98" y="104"/>
                  </a:lnTo>
                  <a:lnTo>
                    <a:pt x="98" y="102"/>
                  </a:lnTo>
                  <a:lnTo>
                    <a:pt x="100" y="102"/>
                  </a:lnTo>
                  <a:lnTo>
                    <a:pt x="101" y="102"/>
                  </a:lnTo>
                  <a:lnTo>
                    <a:pt x="101" y="100"/>
                  </a:lnTo>
                  <a:lnTo>
                    <a:pt x="100" y="100"/>
                  </a:lnTo>
                  <a:lnTo>
                    <a:pt x="100" y="98"/>
                  </a:lnTo>
                  <a:lnTo>
                    <a:pt x="98" y="98"/>
                  </a:lnTo>
                  <a:lnTo>
                    <a:pt x="100" y="98"/>
                  </a:lnTo>
                  <a:lnTo>
                    <a:pt x="101" y="98"/>
                  </a:lnTo>
                  <a:lnTo>
                    <a:pt x="101" y="96"/>
                  </a:lnTo>
                  <a:lnTo>
                    <a:pt x="103" y="96"/>
                  </a:lnTo>
                  <a:lnTo>
                    <a:pt x="105" y="96"/>
                  </a:lnTo>
                  <a:lnTo>
                    <a:pt x="105" y="94"/>
                  </a:lnTo>
                  <a:lnTo>
                    <a:pt x="107" y="94"/>
                  </a:lnTo>
                  <a:lnTo>
                    <a:pt x="107" y="92"/>
                  </a:lnTo>
                  <a:lnTo>
                    <a:pt x="109" y="92"/>
                  </a:lnTo>
                  <a:lnTo>
                    <a:pt x="109" y="94"/>
                  </a:lnTo>
                  <a:lnTo>
                    <a:pt x="111" y="94"/>
                  </a:lnTo>
                  <a:lnTo>
                    <a:pt x="113" y="94"/>
                  </a:lnTo>
                  <a:lnTo>
                    <a:pt x="111" y="94"/>
                  </a:lnTo>
                  <a:lnTo>
                    <a:pt x="113" y="92"/>
                  </a:lnTo>
                  <a:lnTo>
                    <a:pt x="113" y="94"/>
                  </a:lnTo>
                  <a:lnTo>
                    <a:pt x="115" y="94"/>
                  </a:lnTo>
                  <a:lnTo>
                    <a:pt x="115" y="96"/>
                  </a:lnTo>
                  <a:lnTo>
                    <a:pt x="117" y="96"/>
                  </a:lnTo>
                  <a:lnTo>
                    <a:pt x="119" y="96"/>
                  </a:lnTo>
                  <a:lnTo>
                    <a:pt x="121" y="96"/>
                  </a:lnTo>
                  <a:lnTo>
                    <a:pt x="121" y="94"/>
                  </a:lnTo>
                  <a:lnTo>
                    <a:pt x="123" y="94"/>
                  </a:lnTo>
                  <a:lnTo>
                    <a:pt x="121" y="94"/>
                  </a:lnTo>
                  <a:lnTo>
                    <a:pt x="121" y="92"/>
                  </a:lnTo>
                  <a:lnTo>
                    <a:pt x="123" y="92"/>
                  </a:lnTo>
                  <a:lnTo>
                    <a:pt x="123" y="90"/>
                  </a:lnTo>
                  <a:lnTo>
                    <a:pt x="124" y="90"/>
                  </a:lnTo>
                  <a:lnTo>
                    <a:pt x="123" y="90"/>
                  </a:lnTo>
                  <a:lnTo>
                    <a:pt x="123" y="88"/>
                  </a:lnTo>
                  <a:lnTo>
                    <a:pt x="123" y="86"/>
                  </a:lnTo>
                  <a:lnTo>
                    <a:pt x="123" y="84"/>
                  </a:lnTo>
                  <a:lnTo>
                    <a:pt x="123" y="83"/>
                  </a:lnTo>
                  <a:lnTo>
                    <a:pt x="123" y="81"/>
                  </a:lnTo>
                  <a:lnTo>
                    <a:pt x="124" y="81"/>
                  </a:lnTo>
                  <a:lnTo>
                    <a:pt x="124" y="79"/>
                  </a:lnTo>
                  <a:lnTo>
                    <a:pt x="126" y="79"/>
                  </a:lnTo>
                  <a:lnTo>
                    <a:pt x="124" y="79"/>
                  </a:lnTo>
                  <a:lnTo>
                    <a:pt x="126" y="79"/>
                  </a:lnTo>
                  <a:lnTo>
                    <a:pt x="126" y="77"/>
                  </a:lnTo>
                  <a:lnTo>
                    <a:pt x="124" y="77"/>
                  </a:lnTo>
                  <a:lnTo>
                    <a:pt x="124" y="75"/>
                  </a:lnTo>
                  <a:lnTo>
                    <a:pt x="126" y="75"/>
                  </a:lnTo>
                  <a:lnTo>
                    <a:pt x="126" y="73"/>
                  </a:lnTo>
                  <a:lnTo>
                    <a:pt x="126" y="71"/>
                  </a:lnTo>
                  <a:lnTo>
                    <a:pt x="128" y="71"/>
                  </a:lnTo>
                  <a:lnTo>
                    <a:pt x="130" y="71"/>
                  </a:lnTo>
                  <a:lnTo>
                    <a:pt x="132" y="71"/>
                  </a:lnTo>
                  <a:lnTo>
                    <a:pt x="132" y="69"/>
                  </a:lnTo>
                  <a:lnTo>
                    <a:pt x="134" y="69"/>
                  </a:lnTo>
                  <a:lnTo>
                    <a:pt x="136" y="69"/>
                  </a:lnTo>
                  <a:lnTo>
                    <a:pt x="136" y="67"/>
                  </a:lnTo>
                  <a:lnTo>
                    <a:pt x="138" y="67"/>
                  </a:lnTo>
                  <a:lnTo>
                    <a:pt x="138" y="65"/>
                  </a:lnTo>
                  <a:lnTo>
                    <a:pt x="138" y="63"/>
                  </a:lnTo>
                  <a:lnTo>
                    <a:pt x="136" y="63"/>
                  </a:lnTo>
                  <a:lnTo>
                    <a:pt x="136" y="61"/>
                  </a:lnTo>
                  <a:lnTo>
                    <a:pt x="136" y="59"/>
                  </a:lnTo>
                  <a:lnTo>
                    <a:pt x="134" y="59"/>
                  </a:lnTo>
                  <a:lnTo>
                    <a:pt x="134" y="58"/>
                  </a:lnTo>
                  <a:lnTo>
                    <a:pt x="132" y="58"/>
                  </a:lnTo>
                  <a:lnTo>
                    <a:pt x="132" y="56"/>
                  </a:lnTo>
                  <a:lnTo>
                    <a:pt x="132" y="54"/>
                  </a:lnTo>
                  <a:lnTo>
                    <a:pt x="134" y="54"/>
                  </a:lnTo>
                  <a:lnTo>
                    <a:pt x="136" y="54"/>
                  </a:lnTo>
                  <a:lnTo>
                    <a:pt x="136" y="56"/>
                  </a:lnTo>
                  <a:lnTo>
                    <a:pt x="138" y="56"/>
                  </a:lnTo>
                  <a:lnTo>
                    <a:pt x="140" y="56"/>
                  </a:lnTo>
                  <a:lnTo>
                    <a:pt x="142" y="56"/>
                  </a:lnTo>
                  <a:lnTo>
                    <a:pt x="144" y="56"/>
                  </a:lnTo>
                  <a:lnTo>
                    <a:pt x="146" y="56"/>
                  </a:lnTo>
                  <a:lnTo>
                    <a:pt x="148" y="56"/>
                  </a:lnTo>
                  <a:lnTo>
                    <a:pt x="148" y="54"/>
                  </a:lnTo>
                  <a:lnTo>
                    <a:pt x="149" y="54"/>
                  </a:lnTo>
                  <a:lnTo>
                    <a:pt x="149" y="52"/>
                  </a:lnTo>
                  <a:lnTo>
                    <a:pt x="149" y="50"/>
                  </a:lnTo>
                  <a:lnTo>
                    <a:pt x="151" y="50"/>
                  </a:lnTo>
                  <a:lnTo>
                    <a:pt x="151" y="48"/>
                  </a:lnTo>
                  <a:lnTo>
                    <a:pt x="149" y="48"/>
                  </a:lnTo>
                  <a:lnTo>
                    <a:pt x="149" y="46"/>
                  </a:lnTo>
                  <a:lnTo>
                    <a:pt x="149" y="48"/>
                  </a:lnTo>
                  <a:lnTo>
                    <a:pt x="149" y="46"/>
                  </a:lnTo>
                  <a:lnTo>
                    <a:pt x="149" y="48"/>
                  </a:lnTo>
                  <a:lnTo>
                    <a:pt x="149" y="46"/>
                  </a:lnTo>
                  <a:lnTo>
                    <a:pt x="148" y="46"/>
                  </a:lnTo>
                  <a:lnTo>
                    <a:pt x="149" y="46"/>
                  </a:lnTo>
                  <a:lnTo>
                    <a:pt x="149" y="44"/>
                  </a:lnTo>
                  <a:lnTo>
                    <a:pt x="149" y="42"/>
                  </a:lnTo>
                  <a:lnTo>
                    <a:pt x="151" y="42"/>
                  </a:lnTo>
                  <a:lnTo>
                    <a:pt x="151" y="40"/>
                  </a:lnTo>
                  <a:lnTo>
                    <a:pt x="153" y="40"/>
                  </a:lnTo>
                  <a:lnTo>
                    <a:pt x="153" y="38"/>
                  </a:lnTo>
                  <a:lnTo>
                    <a:pt x="155" y="38"/>
                  </a:lnTo>
                  <a:lnTo>
                    <a:pt x="155" y="36"/>
                  </a:lnTo>
                  <a:lnTo>
                    <a:pt x="157" y="36"/>
                  </a:lnTo>
                  <a:lnTo>
                    <a:pt x="155" y="35"/>
                  </a:lnTo>
                  <a:lnTo>
                    <a:pt x="157" y="35"/>
                  </a:lnTo>
                  <a:lnTo>
                    <a:pt x="159" y="35"/>
                  </a:lnTo>
                  <a:lnTo>
                    <a:pt x="159" y="33"/>
                  </a:lnTo>
                  <a:lnTo>
                    <a:pt x="157" y="33"/>
                  </a:lnTo>
                  <a:lnTo>
                    <a:pt x="157" y="31"/>
                  </a:lnTo>
                  <a:lnTo>
                    <a:pt x="157" y="29"/>
                  </a:lnTo>
                  <a:lnTo>
                    <a:pt x="157" y="27"/>
                  </a:lnTo>
                  <a:lnTo>
                    <a:pt x="155" y="27"/>
                  </a:lnTo>
                  <a:lnTo>
                    <a:pt x="155" y="25"/>
                  </a:lnTo>
                  <a:lnTo>
                    <a:pt x="157" y="25"/>
                  </a:lnTo>
                  <a:lnTo>
                    <a:pt x="157" y="23"/>
                  </a:lnTo>
                  <a:lnTo>
                    <a:pt x="155" y="23"/>
                  </a:lnTo>
                  <a:lnTo>
                    <a:pt x="155" y="21"/>
                  </a:lnTo>
                  <a:lnTo>
                    <a:pt x="153" y="21"/>
                  </a:lnTo>
                  <a:lnTo>
                    <a:pt x="153" y="19"/>
                  </a:lnTo>
                  <a:lnTo>
                    <a:pt x="151" y="19"/>
                  </a:lnTo>
                  <a:lnTo>
                    <a:pt x="151" y="17"/>
                  </a:lnTo>
                  <a:lnTo>
                    <a:pt x="153" y="17"/>
                  </a:lnTo>
                  <a:lnTo>
                    <a:pt x="153" y="15"/>
                  </a:lnTo>
                  <a:lnTo>
                    <a:pt x="155" y="15"/>
                  </a:lnTo>
                  <a:lnTo>
                    <a:pt x="155" y="13"/>
                  </a:lnTo>
                  <a:lnTo>
                    <a:pt x="157" y="13"/>
                  </a:lnTo>
                  <a:lnTo>
                    <a:pt x="157" y="11"/>
                  </a:lnTo>
                  <a:lnTo>
                    <a:pt x="157" y="10"/>
                  </a:lnTo>
                  <a:lnTo>
                    <a:pt x="159" y="10"/>
                  </a:lnTo>
                  <a:lnTo>
                    <a:pt x="159" y="11"/>
                  </a:lnTo>
                  <a:lnTo>
                    <a:pt x="161" y="11"/>
                  </a:lnTo>
                  <a:lnTo>
                    <a:pt x="161" y="10"/>
                  </a:lnTo>
                  <a:lnTo>
                    <a:pt x="163" y="10"/>
                  </a:lnTo>
                  <a:lnTo>
                    <a:pt x="161" y="10"/>
                  </a:lnTo>
                  <a:lnTo>
                    <a:pt x="163" y="10"/>
                  </a:lnTo>
                  <a:lnTo>
                    <a:pt x="163" y="8"/>
                  </a:lnTo>
                  <a:lnTo>
                    <a:pt x="165" y="8"/>
                  </a:lnTo>
                  <a:lnTo>
                    <a:pt x="167" y="8"/>
                  </a:lnTo>
                  <a:lnTo>
                    <a:pt x="167" y="6"/>
                  </a:lnTo>
                  <a:lnTo>
                    <a:pt x="165" y="6"/>
                  </a:lnTo>
                  <a:lnTo>
                    <a:pt x="167" y="6"/>
                  </a:lnTo>
                  <a:lnTo>
                    <a:pt x="169" y="6"/>
                  </a:lnTo>
                  <a:lnTo>
                    <a:pt x="171" y="6"/>
                  </a:lnTo>
                  <a:lnTo>
                    <a:pt x="171" y="4"/>
                  </a:lnTo>
                  <a:lnTo>
                    <a:pt x="172" y="4"/>
                  </a:lnTo>
                  <a:lnTo>
                    <a:pt x="174" y="4"/>
                  </a:lnTo>
                  <a:lnTo>
                    <a:pt x="176" y="4"/>
                  </a:lnTo>
                  <a:lnTo>
                    <a:pt x="178" y="4"/>
                  </a:lnTo>
                  <a:lnTo>
                    <a:pt x="180" y="4"/>
                  </a:lnTo>
                  <a:lnTo>
                    <a:pt x="180" y="2"/>
                  </a:lnTo>
                  <a:lnTo>
                    <a:pt x="180" y="4"/>
                  </a:lnTo>
                  <a:lnTo>
                    <a:pt x="180" y="2"/>
                  </a:lnTo>
                  <a:lnTo>
                    <a:pt x="180" y="4"/>
                  </a:lnTo>
                  <a:lnTo>
                    <a:pt x="182" y="4"/>
                  </a:lnTo>
                  <a:lnTo>
                    <a:pt x="182" y="2"/>
                  </a:lnTo>
                  <a:lnTo>
                    <a:pt x="182" y="4"/>
                  </a:lnTo>
                  <a:lnTo>
                    <a:pt x="182" y="2"/>
                  </a:lnTo>
                  <a:lnTo>
                    <a:pt x="182" y="4"/>
                  </a:lnTo>
                  <a:lnTo>
                    <a:pt x="184" y="4"/>
                  </a:lnTo>
                  <a:lnTo>
                    <a:pt x="184" y="2"/>
                  </a:lnTo>
                  <a:lnTo>
                    <a:pt x="184" y="4"/>
                  </a:lnTo>
                  <a:lnTo>
                    <a:pt x="184" y="2"/>
                  </a:lnTo>
                  <a:lnTo>
                    <a:pt x="186" y="2"/>
                  </a:lnTo>
                  <a:lnTo>
                    <a:pt x="186" y="4"/>
                  </a:lnTo>
                  <a:lnTo>
                    <a:pt x="186" y="2"/>
                  </a:lnTo>
                  <a:lnTo>
                    <a:pt x="188" y="2"/>
                  </a:lnTo>
                  <a:lnTo>
                    <a:pt x="190" y="2"/>
                  </a:lnTo>
                  <a:lnTo>
                    <a:pt x="192" y="2"/>
                  </a:lnTo>
                  <a:lnTo>
                    <a:pt x="192" y="4"/>
                  </a:lnTo>
                  <a:lnTo>
                    <a:pt x="190" y="4"/>
                  </a:lnTo>
                  <a:lnTo>
                    <a:pt x="192" y="4"/>
                  </a:lnTo>
                  <a:lnTo>
                    <a:pt x="194" y="4"/>
                  </a:lnTo>
                  <a:lnTo>
                    <a:pt x="195" y="4"/>
                  </a:lnTo>
                  <a:lnTo>
                    <a:pt x="195" y="2"/>
                  </a:lnTo>
                  <a:lnTo>
                    <a:pt x="194" y="2"/>
                  </a:lnTo>
                  <a:lnTo>
                    <a:pt x="195" y="2"/>
                  </a:lnTo>
                  <a:lnTo>
                    <a:pt x="197" y="2"/>
                  </a:lnTo>
                  <a:lnTo>
                    <a:pt x="199" y="2"/>
                  </a:lnTo>
                  <a:lnTo>
                    <a:pt x="197" y="2"/>
                  </a:lnTo>
                  <a:lnTo>
                    <a:pt x="197" y="0"/>
                  </a:lnTo>
                  <a:lnTo>
                    <a:pt x="199" y="0"/>
                  </a:lnTo>
                  <a:lnTo>
                    <a:pt x="199" y="2"/>
                  </a:lnTo>
                  <a:lnTo>
                    <a:pt x="199" y="0"/>
                  </a:lnTo>
                  <a:lnTo>
                    <a:pt x="201" y="0"/>
                  </a:lnTo>
                  <a:lnTo>
                    <a:pt x="203" y="0"/>
                  </a:lnTo>
                  <a:lnTo>
                    <a:pt x="205" y="0"/>
                  </a:lnTo>
                  <a:lnTo>
                    <a:pt x="205" y="2"/>
                  </a:lnTo>
                  <a:lnTo>
                    <a:pt x="207" y="2"/>
                  </a:lnTo>
                  <a:lnTo>
                    <a:pt x="207" y="0"/>
                  </a:lnTo>
                  <a:lnTo>
                    <a:pt x="209" y="0"/>
                  </a:lnTo>
                  <a:lnTo>
                    <a:pt x="209" y="2"/>
                  </a:lnTo>
                  <a:lnTo>
                    <a:pt x="211" y="2"/>
                  </a:lnTo>
                  <a:lnTo>
                    <a:pt x="213" y="2"/>
                  </a:lnTo>
                  <a:lnTo>
                    <a:pt x="213" y="4"/>
                  </a:lnTo>
                  <a:lnTo>
                    <a:pt x="213" y="6"/>
                  </a:lnTo>
                  <a:lnTo>
                    <a:pt x="215" y="6"/>
                  </a:lnTo>
                  <a:lnTo>
                    <a:pt x="217" y="6"/>
                  </a:lnTo>
                  <a:lnTo>
                    <a:pt x="219" y="6"/>
                  </a:lnTo>
                  <a:lnTo>
                    <a:pt x="219" y="8"/>
                  </a:lnTo>
                  <a:lnTo>
                    <a:pt x="220" y="8"/>
                  </a:lnTo>
                  <a:lnTo>
                    <a:pt x="220" y="10"/>
                  </a:lnTo>
                  <a:lnTo>
                    <a:pt x="222" y="10"/>
                  </a:lnTo>
                  <a:lnTo>
                    <a:pt x="222" y="11"/>
                  </a:lnTo>
                  <a:lnTo>
                    <a:pt x="222" y="13"/>
                  </a:lnTo>
                  <a:lnTo>
                    <a:pt x="220" y="13"/>
                  </a:lnTo>
                  <a:lnTo>
                    <a:pt x="222" y="13"/>
                  </a:lnTo>
                  <a:lnTo>
                    <a:pt x="222" y="15"/>
                  </a:lnTo>
                  <a:lnTo>
                    <a:pt x="220" y="15"/>
                  </a:lnTo>
                  <a:lnTo>
                    <a:pt x="220" y="17"/>
                  </a:lnTo>
                  <a:close/>
                  <a:moveTo>
                    <a:pt x="103" y="221"/>
                  </a:moveTo>
                  <a:lnTo>
                    <a:pt x="103" y="223"/>
                  </a:lnTo>
                  <a:lnTo>
                    <a:pt x="101" y="223"/>
                  </a:lnTo>
                  <a:lnTo>
                    <a:pt x="103" y="223"/>
                  </a:lnTo>
                  <a:lnTo>
                    <a:pt x="101" y="223"/>
                  </a:lnTo>
                  <a:lnTo>
                    <a:pt x="101" y="225"/>
                  </a:lnTo>
                  <a:lnTo>
                    <a:pt x="100" y="225"/>
                  </a:lnTo>
                  <a:lnTo>
                    <a:pt x="100" y="223"/>
                  </a:lnTo>
                  <a:lnTo>
                    <a:pt x="101" y="223"/>
                  </a:lnTo>
                  <a:lnTo>
                    <a:pt x="100" y="223"/>
                  </a:lnTo>
                  <a:lnTo>
                    <a:pt x="101" y="223"/>
                  </a:lnTo>
                  <a:lnTo>
                    <a:pt x="101" y="221"/>
                  </a:lnTo>
                  <a:lnTo>
                    <a:pt x="103" y="221"/>
                  </a:lnTo>
                  <a:close/>
                  <a:moveTo>
                    <a:pt x="105" y="223"/>
                  </a:moveTo>
                  <a:lnTo>
                    <a:pt x="105" y="225"/>
                  </a:lnTo>
                  <a:lnTo>
                    <a:pt x="105" y="227"/>
                  </a:lnTo>
                  <a:lnTo>
                    <a:pt x="103" y="227"/>
                  </a:lnTo>
                  <a:lnTo>
                    <a:pt x="103" y="225"/>
                  </a:lnTo>
                  <a:lnTo>
                    <a:pt x="103" y="223"/>
                  </a:lnTo>
                  <a:lnTo>
                    <a:pt x="103" y="225"/>
                  </a:lnTo>
                  <a:lnTo>
                    <a:pt x="103" y="223"/>
                  </a:lnTo>
                  <a:lnTo>
                    <a:pt x="105" y="223"/>
                  </a:lnTo>
                  <a:close/>
                  <a:moveTo>
                    <a:pt x="105" y="225"/>
                  </a:moveTo>
                  <a:lnTo>
                    <a:pt x="107" y="225"/>
                  </a:lnTo>
                  <a:lnTo>
                    <a:pt x="107" y="227"/>
                  </a:lnTo>
                  <a:lnTo>
                    <a:pt x="105" y="227"/>
                  </a:lnTo>
                  <a:lnTo>
                    <a:pt x="105" y="225"/>
                  </a:lnTo>
                  <a:close/>
                  <a:moveTo>
                    <a:pt x="92" y="211"/>
                  </a:moveTo>
                  <a:lnTo>
                    <a:pt x="96" y="211"/>
                  </a:lnTo>
                  <a:lnTo>
                    <a:pt x="92" y="211"/>
                  </a:lnTo>
                  <a:close/>
                  <a:moveTo>
                    <a:pt x="100" y="223"/>
                  </a:moveTo>
                  <a:lnTo>
                    <a:pt x="101" y="223"/>
                  </a:lnTo>
                  <a:lnTo>
                    <a:pt x="101" y="225"/>
                  </a:lnTo>
                  <a:lnTo>
                    <a:pt x="100" y="225"/>
                  </a:lnTo>
                  <a:lnTo>
                    <a:pt x="100" y="223"/>
                  </a:lnTo>
                  <a:close/>
                  <a:moveTo>
                    <a:pt x="94" y="217"/>
                  </a:moveTo>
                  <a:lnTo>
                    <a:pt x="96" y="217"/>
                  </a:lnTo>
                  <a:lnTo>
                    <a:pt x="96" y="219"/>
                  </a:lnTo>
                  <a:lnTo>
                    <a:pt x="94" y="219"/>
                  </a:lnTo>
                  <a:lnTo>
                    <a:pt x="94" y="217"/>
                  </a:lnTo>
                  <a:close/>
                  <a:moveTo>
                    <a:pt x="103" y="221"/>
                  </a:moveTo>
                  <a:lnTo>
                    <a:pt x="103" y="223"/>
                  </a:lnTo>
                  <a:lnTo>
                    <a:pt x="103" y="221"/>
                  </a:lnTo>
                  <a:close/>
                  <a:moveTo>
                    <a:pt x="105" y="223"/>
                  </a:moveTo>
                  <a:lnTo>
                    <a:pt x="105" y="225"/>
                  </a:lnTo>
                  <a:lnTo>
                    <a:pt x="105" y="223"/>
                  </a:lnTo>
                  <a:close/>
                  <a:moveTo>
                    <a:pt x="94" y="213"/>
                  </a:moveTo>
                  <a:lnTo>
                    <a:pt x="96" y="213"/>
                  </a:lnTo>
                  <a:lnTo>
                    <a:pt x="96" y="215"/>
                  </a:lnTo>
                  <a:lnTo>
                    <a:pt x="94" y="215"/>
                  </a:lnTo>
                  <a:lnTo>
                    <a:pt x="94" y="213"/>
                  </a:lnTo>
                  <a:close/>
                  <a:moveTo>
                    <a:pt x="96" y="221"/>
                  </a:moveTo>
                  <a:lnTo>
                    <a:pt x="98" y="221"/>
                  </a:lnTo>
                  <a:lnTo>
                    <a:pt x="98" y="223"/>
                  </a:lnTo>
                  <a:lnTo>
                    <a:pt x="96" y="223"/>
                  </a:lnTo>
                  <a:lnTo>
                    <a:pt x="96" y="221"/>
                  </a:lnTo>
                  <a:close/>
                  <a:moveTo>
                    <a:pt x="92" y="211"/>
                  </a:moveTo>
                  <a:lnTo>
                    <a:pt x="94" y="211"/>
                  </a:lnTo>
                  <a:lnTo>
                    <a:pt x="94" y="213"/>
                  </a:lnTo>
                  <a:lnTo>
                    <a:pt x="92" y="213"/>
                  </a:lnTo>
                  <a:lnTo>
                    <a:pt x="92" y="211"/>
                  </a:lnTo>
                  <a:close/>
                  <a:moveTo>
                    <a:pt x="96" y="217"/>
                  </a:moveTo>
                  <a:lnTo>
                    <a:pt x="96" y="219"/>
                  </a:lnTo>
                  <a:lnTo>
                    <a:pt x="96" y="217"/>
                  </a:lnTo>
                  <a:close/>
                  <a:moveTo>
                    <a:pt x="96" y="215"/>
                  </a:moveTo>
                  <a:lnTo>
                    <a:pt x="98" y="215"/>
                  </a:lnTo>
                  <a:lnTo>
                    <a:pt x="98" y="217"/>
                  </a:lnTo>
                  <a:lnTo>
                    <a:pt x="96" y="217"/>
                  </a:lnTo>
                  <a:lnTo>
                    <a:pt x="96" y="215"/>
                  </a:lnTo>
                  <a:close/>
                  <a:moveTo>
                    <a:pt x="94" y="213"/>
                  </a:moveTo>
                  <a:lnTo>
                    <a:pt x="96" y="213"/>
                  </a:lnTo>
                  <a:lnTo>
                    <a:pt x="94" y="213"/>
                  </a:lnTo>
                  <a:close/>
                  <a:moveTo>
                    <a:pt x="94" y="209"/>
                  </a:moveTo>
                  <a:lnTo>
                    <a:pt x="96" y="209"/>
                  </a:lnTo>
                  <a:lnTo>
                    <a:pt x="96" y="211"/>
                  </a:lnTo>
                  <a:lnTo>
                    <a:pt x="94" y="211"/>
                  </a:lnTo>
                  <a:lnTo>
                    <a:pt x="94" y="209"/>
                  </a:lnTo>
                  <a:close/>
                  <a:moveTo>
                    <a:pt x="94" y="211"/>
                  </a:moveTo>
                  <a:lnTo>
                    <a:pt x="94" y="213"/>
                  </a:lnTo>
                  <a:lnTo>
                    <a:pt x="94" y="211"/>
                  </a:lnTo>
                  <a:close/>
                  <a:moveTo>
                    <a:pt x="96" y="209"/>
                  </a:moveTo>
                  <a:lnTo>
                    <a:pt x="96" y="211"/>
                  </a:lnTo>
                  <a:lnTo>
                    <a:pt x="96" y="209"/>
                  </a:lnTo>
                  <a:close/>
                  <a:moveTo>
                    <a:pt x="98" y="223"/>
                  </a:moveTo>
                  <a:lnTo>
                    <a:pt x="98" y="225"/>
                  </a:lnTo>
                  <a:lnTo>
                    <a:pt x="98" y="223"/>
                  </a:lnTo>
                  <a:close/>
                  <a:moveTo>
                    <a:pt x="94" y="215"/>
                  </a:moveTo>
                  <a:lnTo>
                    <a:pt x="96" y="215"/>
                  </a:lnTo>
                  <a:lnTo>
                    <a:pt x="94" y="215"/>
                  </a:lnTo>
                  <a:close/>
                  <a:moveTo>
                    <a:pt x="94" y="215"/>
                  </a:moveTo>
                  <a:lnTo>
                    <a:pt x="96" y="215"/>
                  </a:lnTo>
                  <a:lnTo>
                    <a:pt x="96" y="217"/>
                  </a:lnTo>
                  <a:lnTo>
                    <a:pt x="94" y="217"/>
                  </a:lnTo>
                  <a:lnTo>
                    <a:pt x="94" y="215"/>
                  </a:lnTo>
                  <a:close/>
                  <a:moveTo>
                    <a:pt x="94" y="213"/>
                  </a:moveTo>
                  <a:lnTo>
                    <a:pt x="96" y="213"/>
                  </a:lnTo>
                  <a:lnTo>
                    <a:pt x="94" y="213"/>
                  </a:lnTo>
                  <a:close/>
                  <a:moveTo>
                    <a:pt x="100" y="223"/>
                  </a:moveTo>
                  <a:lnTo>
                    <a:pt x="101" y="223"/>
                  </a:lnTo>
                  <a:lnTo>
                    <a:pt x="100" y="223"/>
                  </a:lnTo>
                  <a:close/>
                  <a:moveTo>
                    <a:pt x="100" y="223"/>
                  </a:moveTo>
                  <a:lnTo>
                    <a:pt x="100" y="225"/>
                  </a:lnTo>
                  <a:lnTo>
                    <a:pt x="100" y="223"/>
                  </a:lnTo>
                  <a:close/>
                  <a:moveTo>
                    <a:pt x="92" y="209"/>
                  </a:moveTo>
                  <a:lnTo>
                    <a:pt x="94" y="209"/>
                  </a:lnTo>
                  <a:lnTo>
                    <a:pt x="94" y="211"/>
                  </a:lnTo>
                  <a:lnTo>
                    <a:pt x="92" y="211"/>
                  </a:lnTo>
                  <a:lnTo>
                    <a:pt x="92" y="209"/>
                  </a:lnTo>
                  <a:close/>
                  <a:moveTo>
                    <a:pt x="94" y="213"/>
                  </a:moveTo>
                  <a:lnTo>
                    <a:pt x="96" y="213"/>
                  </a:lnTo>
                  <a:lnTo>
                    <a:pt x="96" y="215"/>
                  </a:lnTo>
                  <a:lnTo>
                    <a:pt x="94" y="215"/>
                  </a:lnTo>
                  <a:lnTo>
                    <a:pt x="94" y="213"/>
                  </a:lnTo>
                  <a:close/>
                  <a:moveTo>
                    <a:pt x="94" y="215"/>
                  </a:moveTo>
                  <a:lnTo>
                    <a:pt x="96" y="215"/>
                  </a:lnTo>
                  <a:lnTo>
                    <a:pt x="94" y="215"/>
                  </a:lnTo>
                  <a:close/>
                  <a:moveTo>
                    <a:pt x="94" y="215"/>
                  </a:moveTo>
                  <a:lnTo>
                    <a:pt x="96" y="215"/>
                  </a:lnTo>
                  <a:lnTo>
                    <a:pt x="94" y="215"/>
                  </a:lnTo>
                  <a:close/>
                  <a:moveTo>
                    <a:pt x="94" y="217"/>
                  </a:moveTo>
                  <a:lnTo>
                    <a:pt x="96" y="217"/>
                  </a:lnTo>
                  <a:lnTo>
                    <a:pt x="94" y="217"/>
                  </a:lnTo>
                  <a:close/>
                  <a:moveTo>
                    <a:pt x="94" y="209"/>
                  </a:moveTo>
                  <a:lnTo>
                    <a:pt x="94" y="211"/>
                  </a:lnTo>
                  <a:lnTo>
                    <a:pt x="94" y="209"/>
                  </a:lnTo>
                  <a:close/>
                  <a:moveTo>
                    <a:pt x="94" y="211"/>
                  </a:moveTo>
                  <a:lnTo>
                    <a:pt x="94" y="213"/>
                  </a:lnTo>
                  <a:lnTo>
                    <a:pt x="94" y="211"/>
                  </a:lnTo>
                  <a:close/>
                  <a:moveTo>
                    <a:pt x="100" y="225"/>
                  </a:moveTo>
                  <a:lnTo>
                    <a:pt x="101" y="225"/>
                  </a:lnTo>
                  <a:lnTo>
                    <a:pt x="100" y="225"/>
                  </a:lnTo>
                  <a:close/>
                  <a:moveTo>
                    <a:pt x="94" y="211"/>
                  </a:moveTo>
                  <a:lnTo>
                    <a:pt x="96" y="211"/>
                  </a:lnTo>
                  <a:lnTo>
                    <a:pt x="94" y="211"/>
                  </a:lnTo>
                  <a:close/>
                  <a:moveTo>
                    <a:pt x="94" y="211"/>
                  </a:moveTo>
                  <a:lnTo>
                    <a:pt x="96" y="211"/>
                  </a:lnTo>
                  <a:lnTo>
                    <a:pt x="96" y="213"/>
                  </a:lnTo>
                  <a:lnTo>
                    <a:pt x="94" y="213"/>
                  </a:lnTo>
                  <a:lnTo>
                    <a:pt x="94" y="211"/>
                  </a:lnTo>
                  <a:close/>
                  <a:moveTo>
                    <a:pt x="92" y="209"/>
                  </a:moveTo>
                  <a:lnTo>
                    <a:pt x="94" y="209"/>
                  </a:lnTo>
                  <a:lnTo>
                    <a:pt x="92" y="20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339">
              <a:extLst>
                <a:ext uri="{FF2B5EF4-FFF2-40B4-BE49-F238E27FC236}">
                  <a16:creationId xmlns:a16="http://schemas.microsoft.com/office/drawing/2014/main" id="{F32A6A7C-5F0A-4DDE-AA3E-F6FB9EDBB026}"/>
                </a:ext>
              </a:extLst>
            </p:cNvPr>
            <p:cNvSpPr>
              <a:spLocks/>
            </p:cNvSpPr>
            <p:nvPr/>
          </p:nvSpPr>
          <p:spPr bwMode="gray">
            <a:xfrm>
              <a:off x="4293606" y="3617224"/>
              <a:ext cx="258766" cy="197447"/>
            </a:xfrm>
            <a:custGeom>
              <a:avLst/>
              <a:gdLst>
                <a:gd name="T0" fmla="*/ 205 w 211"/>
                <a:gd name="T1" fmla="*/ 29 h 161"/>
                <a:gd name="T2" fmla="*/ 201 w 211"/>
                <a:gd name="T3" fmla="*/ 31 h 161"/>
                <a:gd name="T4" fmla="*/ 192 w 211"/>
                <a:gd name="T5" fmla="*/ 31 h 161"/>
                <a:gd name="T6" fmla="*/ 188 w 211"/>
                <a:gd name="T7" fmla="*/ 29 h 161"/>
                <a:gd name="T8" fmla="*/ 180 w 211"/>
                <a:gd name="T9" fmla="*/ 31 h 161"/>
                <a:gd name="T10" fmla="*/ 171 w 211"/>
                <a:gd name="T11" fmla="*/ 35 h 161"/>
                <a:gd name="T12" fmla="*/ 163 w 211"/>
                <a:gd name="T13" fmla="*/ 37 h 161"/>
                <a:gd name="T14" fmla="*/ 159 w 211"/>
                <a:gd name="T15" fmla="*/ 46 h 161"/>
                <a:gd name="T16" fmla="*/ 163 w 211"/>
                <a:gd name="T17" fmla="*/ 56 h 161"/>
                <a:gd name="T18" fmla="*/ 161 w 211"/>
                <a:gd name="T19" fmla="*/ 65 h 161"/>
                <a:gd name="T20" fmla="*/ 155 w 211"/>
                <a:gd name="T21" fmla="*/ 73 h 161"/>
                <a:gd name="T22" fmla="*/ 155 w 211"/>
                <a:gd name="T23" fmla="*/ 79 h 161"/>
                <a:gd name="T24" fmla="*/ 142 w 211"/>
                <a:gd name="T25" fmla="*/ 83 h 161"/>
                <a:gd name="T26" fmla="*/ 142 w 211"/>
                <a:gd name="T27" fmla="*/ 88 h 161"/>
                <a:gd name="T28" fmla="*/ 138 w 211"/>
                <a:gd name="T29" fmla="*/ 98 h 161"/>
                <a:gd name="T30" fmla="*/ 132 w 211"/>
                <a:gd name="T31" fmla="*/ 106 h 161"/>
                <a:gd name="T32" fmla="*/ 129 w 211"/>
                <a:gd name="T33" fmla="*/ 115 h 161"/>
                <a:gd name="T34" fmla="*/ 127 w 211"/>
                <a:gd name="T35" fmla="*/ 123 h 161"/>
                <a:gd name="T36" fmla="*/ 117 w 211"/>
                <a:gd name="T37" fmla="*/ 121 h 161"/>
                <a:gd name="T38" fmla="*/ 107 w 211"/>
                <a:gd name="T39" fmla="*/ 125 h 161"/>
                <a:gd name="T40" fmla="*/ 104 w 211"/>
                <a:gd name="T41" fmla="*/ 131 h 161"/>
                <a:gd name="T42" fmla="*/ 96 w 211"/>
                <a:gd name="T43" fmla="*/ 129 h 161"/>
                <a:gd name="T44" fmla="*/ 88 w 211"/>
                <a:gd name="T45" fmla="*/ 135 h 161"/>
                <a:gd name="T46" fmla="*/ 84 w 211"/>
                <a:gd name="T47" fmla="*/ 148 h 161"/>
                <a:gd name="T48" fmla="*/ 77 w 211"/>
                <a:gd name="T49" fmla="*/ 156 h 161"/>
                <a:gd name="T50" fmla="*/ 58 w 211"/>
                <a:gd name="T51" fmla="*/ 158 h 161"/>
                <a:gd name="T52" fmla="*/ 42 w 211"/>
                <a:gd name="T53" fmla="*/ 159 h 161"/>
                <a:gd name="T54" fmla="*/ 11 w 211"/>
                <a:gd name="T55" fmla="*/ 148 h 161"/>
                <a:gd name="T56" fmla="*/ 19 w 211"/>
                <a:gd name="T57" fmla="*/ 129 h 161"/>
                <a:gd name="T58" fmla="*/ 6 w 211"/>
                <a:gd name="T59" fmla="*/ 121 h 161"/>
                <a:gd name="T60" fmla="*/ 4 w 211"/>
                <a:gd name="T61" fmla="*/ 104 h 161"/>
                <a:gd name="T62" fmla="*/ 6 w 211"/>
                <a:gd name="T63" fmla="*/ 90 h 161"/>
                <a:gd name="T64" fmla="*/ 0 w 211"/>
                <a:gd name="T65" fmla="*/ 79 h 161"/>
                <a:gd name="T66" fmla="*/ 4 w 211"/>
                <a:gd name="T67" fmla="*/ 73 h 161"/>
                <a:gd name="T68" fmla="*/ 10 w 211"/>
                <a:gd name="T69" fmla="*/ 69 h 161"/>
                <a:gd name="T70" fmla="*/ 11 w 211"/>
                <a:gd name="T71" fmla="*/ 54 h 161"/>
                <a:gd name="T72" fmla="*/ 23 w 211"/>
                <a:gd name="T73" fmla="*/ 56 h 161"/>
                <a:gd name="T74" fmla="*/ 35 w 211"/>
                <a:gd name="T75" fmla="*/ 58 h 161"/>
                <a:gd name="T76" fmla="*/ 40 w 211"/>
                <a:gd name="T77" fmla="*/ 50 h 161"/>
                <a:gd name="T78" fmla="*/ 52 w 211"/>
                <a:gd name="T79" fmla="*/ 46 h 161"/>
                <a:gd name="T80" fmla="*/ 61 w 211"/>
                <a:gd name="T81" fmla="*/ 38 h 161"/>
                <a:gd name="T82" fmla="*/ 69 w 211"/>
                <a:gd name="T83" fmla="*/ 23 h 161"/>
                <a:gd name="T84" fmla="*/ 79 w 211"/>
                <a:gd name="T85" fmla="*/ 19 h 161"/>
                <a:gd name="T86" fmla="*/ 94 w 211"/>
                <a:gd name="T87" fmla="*/ 21 h 161"/>
                <a:gd name="T88" fmla="*/ 106 w 211"/>
                <a:gd name="T89" fmla="*/ 23 h 161"/>
                <a:gd name="T90" fmla="*/ 115 w 211"/>
                <a:gd name="T91" fmla="*/ 27 h 161"/>
                <a:gd name="T92" fmla="*/ 125 w 211"/>
                <a:gd name="T93" fmla="*/ 23 h 161"/>
                <a:gd name="T94" fmla="*/ 130 w 211"/>
                <a:gd name="T95" fmla="*/ 25 h 161"/>
                <a:gd name="T96" fmla="*/ 138 w 211"/>
                <a:gd name="T97" fmla="*/ 17 h 161"/>
                <a:gd name="T98" fmla="*/ 142 w 211"/>
                <a:gd name="T99" fmla="*/ 12 h 161"/>
                <a:gd name="T100" fmla="*/ 148 w 211"/>
                <a:gd name="T101" fmla="*/ 4 h 161"/>
                <a:gd name="T102" fmla="*/ 152 w 211"/>
                <a:gd name="T103" fmla="*/ 2 h 161"/>
                <a:gd name="T104" fmla="*/ 159 w 211"/>
                <a:gd name="T105" fmla="*/ 4 h 161"/>
                <a:gd name="T106" fmla="*/ 159 w 211"/>
                <a:gd name="T107" fmla="*/ 10 h 161"/>
                <a:gd name="T108" fmla="*/ 161 w 211"/>
                <a:gd name="T109" fmla="*/ 17 h 161"/>
                <a:gd name="T110" fmla="*/ 163 w 211"/>
                <a:gd name="T111" fmla="*/ 33 h 161"/>
                <a:gd name="T112" fmla="*/ 171 w 211"/>
                <a:gd name="T113" fmla="*/ 31 h 161"/>
                <a:gd name="T114" fmla="*/ 180 w 211"/>
                <a:gd name="T115" fmla="*/ 27 h 161"/>
                <a:gd name="T116" fmla="*/ 184 w 211"/>
                <a:gd name="T117" fmla="*/ 21 h 161"/>
                <a:gd name="T118" fmla="*/ 196 w 211"/>
                <a:gd name="T119" fmla="*/ 19 h 161"/>
                <a:gd name="T120" fmla="*/ 200 w 211"/>
                <a:gd name="T121" fmla="*/ 21 h 161"/>
                <a:gd name="T122" fmla="*/ 205 w 211"/>
                <a:gd name="T123" fmla="*/ 21 h 161"/>
                <a:gd name="T124" fmla="*/ 209 w 211"/>
                <a:gd name="T125" fmla="*/ 1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1" h="161">
                  <a:moveTo>
                    <a:pt x="211" y="23"/>
                  </a:moveTo>
                  <a:lnTo>
                    <a:pt x="209" y="23"/>
                  </a:lnTo>
                  <a:lnTo>
                    <a:pt x="207" y="23"/>
                  </a:lnTo>
                  <a:lnTo>
                    <a:pt x="205" y="23"/>
                  </a:lnTo>
                  <a:lnTo>
                    <a:pt x="205" y="25"/>
                  </a:lnTo>
                  <a:lnTo>
                    <a:pt x="205" y="27"/>
                  </a:lnTo>
                  <a:lnTo>
                    <a:pt x="207" y="27"/>
                  </a:lnTo>
                  <a:lnTo>
                    <a:pt x="205" y="27"/>
                  </a:lnTo>
                  <a:lnTo>
                    <a:pt x="205" y="29"/>
                  </a:lnTo>
                  <a:lnTo>
                    <a:pt x="205" y="27"/>
                  </a:lnTo>
                  <a:lnTo>
                    <a:pt x="203" y="27"/>
                  </a:lnTo>
                  <a:lnTo>
                    <a:pt x="203" y="29"/>
                  </a:lnTo>
                  <a:lnTo>
                    <a:pt x="205" y="29"/>
                  </a:lnTo>
                  <a:lnTo>
                    <a:pt x="203" y="29"/>
                  </a:lnTo>
                  <a:lnTo>
                    <a:pt x="201" y="29"/>
                  </a:lnTo>
                  <a:lnTo>
                    <a:pt x="200" y="29"/>
                  </a:lnTo>
                  <a:lnTo>
                    <a:pt x="201" y="29"/>
                  </a:lnTo>
                  <a:lnTo>
                    <a:pt x="201" y="31"/>
                  </a:lnTo>
                  <a:lnTo>
                    <a:pt x="200" y="31"/>
                  </a:lnTo>
                  <a:lnTo>
                    <a:pt x="198" y="31"/>
                  </a:lnTo>
                  <a:lnTo>
                    <a:pt x="196" y="31"/>
                  </a:lnTo>
                  <a:lnTo>
                    <a:pt x="198" y="31"/>
                  </a:lnTo>
                  <a:lnTo>
                    <a:pt x="198" y="29"/>
                  </a:lnTo>
                  <a:lnTo>
                    <a:pt x="196" y="29"/>
                  </a:lnTo>
                  <a:lnTo>
                    <a:pt x="194" y="29"/>
                  </a:lnTo>
                  <a:lnTo>
                    <a:pt x="192" y="29"/>
                  </a:lnTo>
                  <a:lnTo>
                    <a:pt x="192" y="31"/>
                  </a:lnTo>
                  <a:lnTo>
                    <a:pt x="192" y="29"/>
                  </a:lnTo>
                  <a:lnTo>
                    <a:pt x="190" y="29"/>
                  </a:lnTo>
                  <a:lnTo>
                    <a:pt x="190" y="31"/>
                  </a:lnTo>
                  <a:lnTo>
                    <a:pt x="190" y="29"/>
                  </a:lnTo>
                  <a:lnTo>
                    <a:pt x="190" y="31"/>
                  </a:lnTo>
                  <a:lnTo>
                    <a:pt x="188" y="31"/>
                  </a:lnTo>
                  <a:lnTo>
                    <a:pt x="188" y="29"/>
                  </a:lnTo>
                  <a:lnTo>
                    <a:pt x="188" y="31"/>
                  </a:lnTo>
                  <a:lnTo>
                    <a:pt x="188" y="29"/>
                  </a:lnTo>
                  <a:lnTo>
                    <a:pt x="188" y="31"/>
                  </a:lnTo>
                  <a:lnTo>
                    <a:pt x="186" y="31"/>
                  </a:lnTo>
                  <a:lnTo>
                    <a:pt x="186" y="29"/>
                  </a:lnTo>
                  <a:lnTo>
                    <a:pt x="186" y="31"/>
                  </a:lnTo>
                  <a:lnTo>
                    <a:pt x="186" y="29"/>
                  </a:lnTo>
                  <a:lnTo>
                    <a:pt x="186" y="31"/>
                  </a:lnTo>
                  <a:lnTo>
                    <a:pt x="184" y="31"/>
                  </a:lnTo>
                  <a:lnTo>
                    <a:pt x="182" y="31"/>
                  </a:lnTo>
                  <a:lnTo>
                    <a:pt x="180" y="31"/>
                  </a:lnTo>
                  <a:lnTo>
                    <a:pt x="178" y="31"/>
                  </a:lnTo>
                  <a:lnTo>
                    <a:pt x="177" y="31"/>
                  </a:lnTo>
                  <a:lnTo>
                    <a:pt x="177" y="33"/>
                  </a:lnTo>
                  <a:lnTo>
                    <a:pt x="175" y="33"/>
                  </a:lnTo>
                  <a:lnTo>
                    <a:pt x="173" y="33"/>
                  </a:lnTo>
                  <a:lnTo>
                    <a:pt x="171" y="33"/>
                  </a:lnTo>
                  <a:lnTo>
                    <a:pt x="173" y="33"/>
                  </a:lnTo>
                  <a:lnTo>
                    <a:pt x="173" y="35"/>
                  </a:lnTo>
                  <a:lnTo>
                    <a:pt x="171" y="35"/>
                  </a:lnTo>
                  <a:lnTo>
                    <a:pt x="169" y="35"/>
                  </a:lnTo>
                  <a:lnTo>
                    <a:pt x="169" y="37"/>
                  </a:lnTo>
                  <a:lnTo>
                    <a:pt x="167" y="37"/>
                  </a:lnTo>
                  <a:lnTo>
                    <a:pt x="169" y="37"/>
                  </a:lnTo>
                  <a:lnTo>
                    <a:pt x="167" y="37"/>
                  </a:lnTo>
                  <a:lnTo>
                    <a:pt x="167" y="38"/>
                  </a:lnTo>
                  <a:lnTo>
                    <a:pt x="165" y="38"/>
                  </a:lnTo>
                  <a:lnTo>
                    <a:pt x="165" y="37"/>
                  </a:lnTo>
                  <a:lnTo>
                    <a:pt x="163" y="37"/>
                  </a:lnTo>
                  <a:lnTo>
                    <a:pt x="163" y="38"/>
                  </a:lnTo>
                  <a:lnTo>
                    <a:pt x="163" y="40"/>
                  </a:lnTo>
                  <a:lnTo>
                    <a:pt x="161" y="40"/>
                  </a:lnTo>
                  <a:lnTo>
                    <a:pt x="161" y="42"/>
                  </a:lnTo>
                  <a:lnTo>
                    <a:pt x="159" y="42"/>
                  </a:lnTo>
                  <a:lnTo>
                    <a:pt x="159" y="44"/>
                  </a:lnTo>
                  <a:lnTo>
                    <a:pt x="157" y="44"/>
                  </a:lnTo>
                  <a:lnTo>
                    <a:pt x="157" y="46"/>
                  </a:lnTo>
                  <a:lnTo>
                    <a:pt x="159" y="46"/>
                  </a:lnTo>
                  <a:lnTo>
                    <a:pt x="159" y="48"/>
                  </a:lnTo>
                  <a:lnTo>
                    <a:pt x="161" y="48"/>
                  </a:lnTo>
                  <a:lnTo>
                    <a:pt x="161" y="50"/>
                  </a:lnTo>
                  <a:lnTo>
                    <a:pt x="163" y="50"/>
                  </a:lnTo>
                  <a:lnTo>
                    <a:pt x="163" y="52"/>
                  </a:lnTo>
                  <a:lnTo>
                    <a:pt x="161" y="52"/>
                  </a:lnTo>
                  <a:lnTo>
                    <a:pt x="161" y="54"/>
                  </a:lnTo>
                  <a:lnTo>
                    <a:pt x="163" y="54"/>
                  </a:lnTo>
                  <a:lnTo>
                    <a:pt x="163" y="56"/>
                  </a:lnTo>
                  <a:lnTo>
                    <a:pt x="163" y="58"/>
                  </a:lnTo>
                  <a:lnTo>
                    <a:pt x="163" y="60"/>
                  </a:lnTo>
                  <a:lnTo>
                    <a:pt x="165" y="60"/>
                  </a:lnTo>
                  <a:lnTo>
                    <a:pt x="165" y="62"/>
                  </a:lnTo>
                  <a:lnTo>
                    <a:pt x="163" y="62"/>
                  </a:lnTo>
                  <a:lnTo>
                    <a:pt x="161" y="62"/>
                  </a:lnTo>
                  <a:lnTo>
                    <a:pt x="163" y="63"/>
                  </a:lnTo>
                  <a:lnTo>
                    <a:pt x="161" y="63"/>
                  </a:lnTo>
                  <a:lnTo>
                    <a:pt x="161" y="65"/>
                  </a:lnTo>
                  <a:lnTo>
                    <a:pt x="159" y="65"/>
                  </a:lnTo>
                  <a:lnTo>
                    <a:pt x="159" y="67"/>
                  </a:lnTo>
                  <a:lnTo>
                    <a:pt x="157" y="67"/>
                  </a:lnTo>
                  <a:lnTo>
                    <a:pt x="157" y="69"/>
                  </a:lnTo>
                  <a:lnTo>
                    <a:pt x="155" y="69"/>
                  </a:lnTo>
                  <a:lnTo>
                    <a:pt x="155" y="71"/>
                  </a:lnTo>
                  <a:lnTo>
                    <a:pt x="155" y="73"/>
                  </a:lnTo>
                  <a:lnTo>
                    <a:pt x="154" y="73"/>
                  </a:lnTo>
                  <a:lnTo>
                    <a:pt x="155" y="73"/>
                  </a:lnTo>
                  <a:lnTo>
                    <a:pt x="155" y="75"/>
                  </a:lnTo>
                  <a:lnTo>
                    <a:pt x="155" y="73"/>
                  </a:lnTo>
                  <a:lnTo>
                    <a:pt x="155" y="75"/>
                  </a:lnTo>
                  <a:lnTo>
                    <a:pt x="155" y="73"/>
                  </a:lnTo>
                  <a:lnTo>
                    <a:pt x="155" y="75"/>
                  </a:lnTo>
                  <a:lnTo>
                    <a:pt x="157" y="75"/>
                  </a:lnTo>
                  <a:lnTo>
                    <a:pt x="157" y="77"/>
                  </a:lnTo>
                  <a:lnTo>
                    <a:pt x="155" y="77"/>
                  </a:lnTo>
                  <a:lnTo>
                    <a:pt x="155" y="79"/>
                  </a:lnTo>
                  <a:lnTo>
                    <a:pt x="155" y="81"/>
                  </a:lnTo>
                  <a:lnTo>
                    <a:pt x="154" y="81"/>
                  </a:lnTo>
                  <a:lnTo>
                    <a:pt x="154" y="83"/>
                  </a:lnTo>
                  <a:lnTo>
                    <a:pt x="152" y="83"/>
                  </a:lnTo>
                  <a:lnTo>
                    <a:pt x="150" y="83"/>
                  </a:lnTo>
                  <a:lnTo>
                    <a:pt x="148" y="83"/>
                  </a:lnTo>
                  <a:lnTo>
                    <a:pt x="146" y="83"/>
                  </a:lnTo>
                  <a:lnTo>
                    <a:pt x="144" y="83"/>
                  </a:lnTo>
                  <a:lnTo>
                    <a:pt x="142" y="83"/>
                  </a:lnTo>
                  <a:lnTo>
                    <a:pt x="142" y="81"/>
                  </a:lnTo>
                  <a:lnTo>
                    <a:pt x="140" y="81"/>
                  </a:lnTo>
                  <a:lnTo>
                    <a:pt x="138" y="81"/>
                  </a:lnTo>
                  <a:lnTo>
                    <a:pt x="138" y="83"/>
                  </a:lnTo>
                  <a:lnTo>
                    <a:pt x="138" y="85"/>
                  </a:lnTo>
                  <a:lnTo>
                    <a:pt x="140" y="85"/>
                  </a:lnTo>
                  <a:lnTo>
                    <a:pt x="140" y="86"/>
                  </a:lnTo>
                  <a:lnTo>
                    <a:pt x="142" y="86"/>
                  </a:lnTo>
                  <a:lnTo>
                    <a:pt x="142" y="88"/>
                  </a:lnTo>
                  <a:lnTo>
                    <a:pt x="142" y="90"/>
                  </a:lnTo>
                  <a:lnTo>
                    <a:pt x="144" y="90"/>
                  </a:lnTo>
                  <a:lnTo>
                    <a:pt x="144" y="92"/>
                  </a:lnTo>
                  <a:lnTo>
                    <a:pt x="144" y="94"/>
                  </a:lnTo>
                  <a:lnTo>
                    <a:pt x="142" y="94"/>
                  </a:lnTo>
                  <a:lnTo>
                    <a:pt x="142" y="96"/>
                  </a:lnTo>
                  <a:lnTo>
                    <a:pt x="140" y="96"/>
                  </a:lnTo>
                  <a:lnTo>
                    <a:pt x="138" y="96"/>
                  </a:lnTo>
                  <a:lnTo>
                    <a:pt x="138" y="98"/>
                  </a:lnTo>
                  <a:lnTo>
                    <a:pt x="136" y="98"/>
                  </a:lnTo>
                  <a:lnTo>
                    <a:pt x="134" y="98"/>
                  </a:lnTo>
                  <a:lnTo>
                    <a:pt x="132" y="98"/>
                  </a:lnTo>
                  <a:lnTo>
                    <a:pt x="132" y="100"/>
                  </a:lnTo>
                  <a:lnTo>
                    <a:pt x="132" y="102"/>
                  </a:lnTo>
                  <a:lnTo>
                    <a:pt x="130" y="102"/>
                  </a:lnTo>
                  <a:lnTo>
                    <a:pt x="130" y="104"/>
                  </a:lnTo>
                  <a:lnTo>
                    <a:pt x="132" y="104"/>
                  </a:lnTo>
                  <a:lnTo>
                    <a:pt x="132" y="106"/>
                  </a:lnTo>
                  <a:lnTo>
                    <a:pt x="130" y="106"/>
                  </a:lnTo>
                  <a:lnTo>
                    <a:pt x="132" y="106"/>
                  </a:lnTo>
                  <a:lnTo>
                    <a:pt x="130" y="106"/>
                  </a:lnTo>
                  <a:lnTo>
                    <a:pt x="130" y="108"/>
                  </a:lnTo>
                  <a:lnTo>
                    <a:pt x="129" y="108"/>
                  </a:lnTo>
                  <a:lnTo>
                    <a:pt x="129" y="110"/>
                  </a:lnTo>
                  <a:lnTo>
                    <a:pt x="129" y="111"/>
                  </a:lnTo>
                  <a:lnTo>
                    <a:pt x="129" y="113"/>
                  </a:lnTo>
                  <a:lnTo>
                    <a:pt x="129" y="115"/>
                  </a:lnTo>
                  <a:lnTo>
                    <a:pt x="129" y="117"/>
                  </a:lnTo>
                  <a:lnTo>
                    <a:pt x="130" y="117"/>
                  </a:lnTo>
                  <a:lnTo>
                    <a:pt x="129" y="117"/>
                  </a:lnTo>
                  <a:lnTo>
                    <a:pt x="129" y="119"/>
                  </a:lnTo>
                  <a:lnTo>
                    <a:pt x="127" y="119"/>
                  </a:lnTo>
                  <a:lnTo>
                    <a:pt x="127" y="121"/>
                  </a:lnTo>
                  <a:lnTo>
                    <a:pt x="129" y="121"/>
                  </a:lnTo>
                  <a:lnTo>
                    <a:pt x="127" y="121"/>
                  </a:lnTo>
                  <a:lnTo>
                    <a:pt x="127" y="123"/>
                  </a:lnTo>
                  <a:lnTo>
                    <a:pt x="125" y="123"/>
                  </a:lnTo>
                  <a:lnTo>
                    <a:pt x="123" y="123"/>
                  </a:lnTo>
                  <a:lnTo>
                    <a:pt x="121" y="123"/>
                  </a:lnTo>
                  <a:lnTo>
                    <a:pt x="121" y="121"/>
                  </a:lnTo>
                  <a:lnTo>
                    <a:pt x="119" y="121"/>
                  </a:lnTo>
                  <a:lnTo>
                    <a:pt x="119" y="119"/>
                  </a:lnTo>
                  <a:lnTo>
                    <a:pt x="117" y="121"/>
                  </a:lnTo>
                  <a:lnTo>
                    <a:pt x="119" y="121"/>
                  </a:lnTo>
                  <a:lnTo>
                    <a:pt x="117" y="121"/>
                  </a:lnTo>
                  <a:lnTo>
                    <a:pt x="115" y="121"/>
                  </a:lnTo>
                  <a:lnTo>
                    <a:pt x="115" y="119"/>
                  </a:lnTo>
                  <a:lnTo>
                    <a:pt x="113" y="119"/>
                  </a:lnTo>
                  <a:lnTo>
                    <a:pt x="113" y="121"/>
                  </a:lnTo>
                  <a:lnTo>
                    <a:pt x="111" y="121"/>
                  </a:lnTo>
                  <a:lnTo>
                    <a:pt x="111" y="123"/>
                  </a:lnTo>
                  <a:lnTo>
                    <a:pt x="109" y="123"/>
                  </a:lnTo>
                  <a:lnTo>
                    <a:pt x="107" y="123"/>
                  </a:lnTo>
                  <a:lnTo>
                    <a:pt x="107" y="125"/>
                  </a:lnTo>
                  <a:lnTo>
                    <a:pt x="106" y="125"/>
                  </a:lnTo>
                  <a:lnTo>
                    <a:pt x="104" y="125"/>
                  </a:lnTo>
                  <a:lnTo>
                    <a:pt x="106" y="125"/>
                  </a:lnTo>
                  <a:lnTo>
                    <a:pt x="106" y="127"/>
                  </a:lnTo>
                  <a:lnTo>
                    <a:pt x="107" y="127"/>
                  </a:lnTo>
                  <a:lnTo>
                    <a:pt x="107" y="129"/>
                  </a:lnTo>
                  <a:lnTo>
                    <a:pt x="106" y="129"/>
                  </a:lnTo>
                  <a:lnTo>
                    <a:pt x="104" y="129"/>
                  </a:lnTo>
                  <a:lnTo>
                    <a:pt x="104" y="131"/>
                  </a:lnTo>
                  <a:lnTo>
                    <a:pt x="102" y="131"/>
                  </a:lnTo>
                  <a:lnTo>
                    <a:pt x="100" y="131"/>
                  </a:lnTo>
                  <a:lnTo>
                    <a:pt x="98" y="131"/>
                  </a:lnTo>
                  <a:lnTo>
                    <a:pt x="98" y="129"/>
                  </a:lnTo>
                  <a:lnTo>
                    <a:pt x="98" y="131"/>
                  </a:lnTo>
                  <a:lnTo>
                    <a:pt x="96" y="131"/>
                  </a:lnTo>
                  <a:lnTo>
                    <a:pt x="96" y="129"/>
                  </a:lnTo>
                  <a:lnTo>
                    <a:pt x="96" y="131"/>
                  </a:lnTo>
                  <a:lnTo>
                    <a:pt x="96" y="129"/>
                  </a:lnTo>
                  <a:lnTo>
                    <a:pt x="96" y="131"/>
                  </a:lnTo>
                  <a:lnTo>
                    <a:pt x="96" y="129"/>
                  </a:lnTo>
                  <a:lnTo>
                    <a:pt x="94" y="129"/>
                  </a:lnTo>
                  <a:lnTo>
                    <a:pt x="94" y="131"/>
                  </a:lnTo>
                  <a:lnTo>
                    <a:pt x="92" y="131"/>
                  </a:lnTo>
                  <a:lnTo>
                    <a:pt x="92" y="133"/>
                  </a:lnTo>
                  <a:lnTo>
                    <a:pt x="90" y="133"/>
                  </a:lnTo>
                  <a:lnTo>
                    <a:pt x="90" y="135"/>
                  </a:lnTo>
                  <a:lnTo>
                    <a:pt x="88" y="135"/>
                  </a:lnTo>
                  <a:lnTo>
                    <a:pt x="86" y="135"/>
                  </a:lnTo>
                  <a:lnTo>
                    <a:pt x="86" y="140"/>
                  </a:lnTo>
                  <a:lnTo>
                    <a:pt x="84" y="140"/>
                  </a:lnTo>
                  <a:lnTo>
                    <a:pt x="86" y="140"/>
                  </a:lnTo>
                  <a:lnTo>
                    <a:pt x="86" y="142"/>
                  </a:lnTo>
                  <a:lnTo>
                    <a:pt x="86" y="144"/>
                  </a:lnTo>
                  <a:lnTo>
                    <a:pt x="86" y="146"/>
                  </a:lnTo>
                  <a:lnTo>
                    <a:pt x="86" y="148"/>
                  </a:lnTo>
                  <a:lnTo>
                    <a:pt x="84" y="148"/>
                  </a:lnTo>
                  <a:lnTo>
                    <a:pt x="84" y="150"/>
                  </a:lnTo>
                  <a:lnTo>
                    <a:pt x="86" y="150"/>
                  </a:lnTo>
                  <a:lnTo>
                    <a:pt x="86" y="152"/>
                  </a:lnTo>
                  <a:lnTo>
                    <a:pt x="86" y="154"/>
                  </a:lnTo>
                  <a:lnTo>
                    <a:pt x="84" y="154"/>
                  </a:lnTo>
                  <a:lnTo>
                    <a:pt x="81" y="154"/>
                  </a:lnTo>
                  <a:lnTo>
                    <a:pt x="81" y="156"/>
                  </a:lnTo>
                  <a:lnTo>
                    <a:pt x="79" y="156"/>
                  </a:lnTo>
                  <a:lnTo>
                    <a:pt x="77" y="156"/>
                  </a:lnTo>
                  <a:lnTo>
                    <a:pt x="75" y="156"/>
                  </a:lnTo>
                  <a:lnTo>
                    <a:pt x="73" y="158"/>
                  </a:lnTo>
                  <a:lnTo>
                    <a:pt x="71" y="158"/>
                  </a:lnTo>
                  <a:lnTo>
                    <a:pt x="69" y="158"/>
                  </a:lnTo>
                  <a:lnTo>
                    <a:pt x="67" y="159"/>
                  </a:lnTo>
                  <a:lnTo>
                    <a:pt x="63" y="158"/>
                  </a:lnTo>
                  <a:lnTo>
                    <a:pt x="61" y="158"/>
                  </a:lnTo>
                  <a:lnTo>
                    <a:pt x="59" y="158"/>
                  </a:lnTo>
                  <a:lnTo>
                    <a:pt x="58" y="158"/>
                  </a:lnTo>
                  <a:lnTo>
                    <a:pt x="58" y="159"/>
                  </a:lnTo>
                  <a:lnTo>
                    <a:pt x="56" y="159"/>
                  </a:lnTo>
                  <a:lnTo>
                    <a:pt x="54" y="159"/>
                  </a:lnTo>
                  <a:lnTo>
                    <a:pt x="54" y="161"/>
                  </a:lnTo>
                  <a:lnTo>
                    <a:pt x="52" y="161"/>
                  </a:lnTo>
                  <a:lnTo>
                    <a:pt x="50" y="159"/>
                  </a:lnTo>
                  <a:lnTo>
                    <a:pt x="48" y="159"/>
                  </a:lnTo>
                  <a:lnTo>
                    <a:pt x="46" y="159"/>
                  </a:lnTo>
                  <a:lnTo>
                    <a:pt x="42" y="159"/>
                  </a:lnTo>
                  <a:lnTo>
                    <a:pt x="40" y="159"/>
                  </a:lnTo>
                  <a:lnTo>
                    <a:pt x="36" y="159"/>
                  </a:lnTo>
                  <a:lnTo>
                    <a:pt x="35" y="161"/>
                  </a:lnTo>
                  <a:lnTo>
                    <a:pt x="31" y="161"/>
                  </a:lnTo>
                  <a:lnTo>
                    <a:pt x="29" y="161"/>
                  </a:lnTo>
                  <a:lnTo>
                    <a:pt x="25" y="159"/>
                  </a:lnTo>
                  <a:lnTo>
                    <a:pt x="6" y="154"/>
                  </a:lnTo>
                  <a:lnTo>
                    <a:pt x="10" y="150"/>
                  </a:lnTo>
                  <a:lnTo>
                    <a:pt x="11" y="148"/>
                  </a:lnTo>
                  <a:lnTo>
                    <a:pt x="13" y="144"/>
                  </a:lnTo>
                  <a:lnTo>
                    <a:pt x="17" y="140"/>
                  </a:lnTo>
                  <a:lnTo>
                    <a:pt x="19" y="136"/>
                  </a:lnTo>
                  <a:lnTo>
                    <a:pt x="19" y="135"/>
                  </a:lnTo>
                  <a:lnTo>
                    <a:pt x="21" y="135"/>
                  </a:lnTo>
                  <a:lnTo>
                    <a:pt x="21" y="133"/>
                  </a:lnTo>
                  <a:lnTo>
                    <a:pt x="19" y="133"/>
                  </a:lnTo>
                  <a:lnTo>
                    <a:pt x="19" y="131"/>
                  </a:lnTo>
                  <a:lnTo>
                    <a:pt x="19" y="129"/>
                  </a:lnTo>
                  <a:lnTo>
                    <a:pt x="19" y="127"/>
                  </a:lnTo>
                  <a:lnTo>
                    <a:pt x="17" y="127"/>
                  </a:lnTo>
                  <a:lnTo>
                    <a:pt x="15" y="127"/>
                  </a:lnTo>
                  <a:lnTo>
                    <a:pt x="13" y="127"/>
                  </a:lnTo>
                  <a:lnTo>
                    <a:pt x="11" y="127"/>
                  </a:lnTo>
                  <a:lnTo>
                    <a:pt x="8" y="125"/>
                  </a:lnTo>
                  <a:lnTo>
                    <a:pt x="6" y="125"/>
                  </a:lnTo>
                  <a:lnTo>
                    <a:pt x="6" y="123"/>
                  </a:lnTo>
                  <a:lnTo>
                    <a:pt x="6" y="121"/>
                  </a:lnTo>
                  <a:lnTo>
                    <a:pt x="6" y="119"/>
                  </a:lnTo>
                  <a:lnTo>
                    <a:pt x="6" y="117"/>
                  </a:lnTo>
                  <a:lnTo>
                    <a:pt x="6" y="115"/>
                  </a:lnTo>
                  <a:lnTo>
                    <a:pt x="6" y="113"/>
                  </a:lnTo>
                  <a:lnTo>
                    <a:pt x="6" y="111"/>
                  </a:lnTo>
                  <a:lnTo>
                    <a:pt x="6" y="110"/>
                  </a:lnTo>
                  <a:lnTo>
                    <a:pt x="6" y="108"/>
                  </a:lnTo>
                  <a:lnTo>
                    <a:pt x="4" y="106"/>
                  </a:lnTo>
                  <a:lnTo>
                    <a:pt x="4" y="104"/>
                  </a:lnTo>
                  <a:lnTo>
                    <a:pt x="4" y="102"/>
                  </a:lnTo>
                  <a:lnTo>
                    <a:pt x="4" y="100"/>
                  </a:lnTo>
                  <a:lnTo>
                    <a:pt x="2" y="100"/>
                  </a:lnTo>
                  <a:lnTo>
                    <a:pt x="2" y="98"/>
                  </a:lnTo>
                  <a:lnTo>
                    <a:pt x="2" y="96"/>
                  </a:lnTo>
                  <a:lnTo>
                    <a:pt x="4" y="96"/>
                  </a:lnTo>
                  <a:lnTo>
                    <a:pt x="4" y="94"/>
                  </a:lnTo>
                  <a:lnTo>
                    <a:pt x="6" y="92"/>
                  </a:lnTo>
                  <a:lnTo>
                    <a:pt x="6" y="90"/>
                  </a:lnTo>
                  <a:lnTo>
                    <a:pt x="8" y="90"/>
                  </a:lnTo>
                  <a:lnTo>
                    <a:pt x="6" y="90"/>
                  </a:lnTo>
                  <a:lnTo>
                    <a:pt x="4" y="90"/>
                  </a:lnTo>
                  <a:lnTo>
                    <a:pt x="2" y="88"/>
                  </a:lnTo>
                  <a:lnTo>
                    <a:pt x="2" y="86"/>
                  </a:lnTo>
                  <a:lnTo>
                    <a:pt x="2" y="85"/>
                  </a:lnTo>
                  <a:lnTo>
                    <a:pt x="2" y="83"/>
                  </a:lnTo>
                  <a:lnTo>
                    <a:pt x="0" y="81"/>
                  </a:lnTo>
                  <a:lnTo>
                    <a:pt x="0" y="79"/>
                  </a:lnTo>
                  <a:lnTo>
                    <a:pt x="2" y="79"/>
                  </a:lnTo>
                  <a:lnTo>
                    <a:pt x="2" y="77"/>
                  </a:lnTo>
                  <a:lnTo>
                    <a:pt x="4" y="77"/>
                  </a:lnTo>
                  <a:lnTo>
                    <a:pt x="6" y="77"/>
                  </a:lnTo>
                  <a:lnTo>
                    <a:pt x="8" y="77"/>
                  </a:lnTo>
                  <a:lnTo>
                    <a:pt x="6" y="77"/>
                  </a:lnTo>
                  <a:lnTo>
                    <a:pt x="6" y="75"/>
                  </a:lnTo>
                  <a:lnTo>
                    <a:pt x="6" y="73"/>
                  </a:lnTo>
                  <a:lnTo>
                    <a:pt x="4" y="73"/>
                  </a:lnTo>
                  <a:lnTo>
                    <a:pt x="6" y="73"/>
                  </a:lnTo>
                  <a:lnTo>
                    <a:pt x="6" y="71"/>
                  </a:lnTo>
                  <a:lnTo>
                    <a:pt x="6" y="73"/>
                  </a:lnTo>
                  <a:lnTo>
                    <a:pt x="6" y="71"/>
                  </a:lnTo>
                  <a:lnTo>
                    <a:pt x="6" y="73"/>
                  </a:lnTo>
                  <a:lnTo>
                    <a:pt x="6" y="71"/>
                  </a:lnTo>
                  <a:lnTo>
                    <a:pt x="8" y="71"/>
                  </a:lnTo>
                  <a:lnTo>
                    <a:pt x="8" y="69"/>
                  </a:lnTo>
                  <a:lnTo>
                    <a:pt x="10" y="69"/>
                  </a:lnTo>
                  <a:lnTo>
                    <a:pt x="10" y="67"/>
                  </a:lnTo>
                  <a:lnTo>
                    <a:pt x="10" y="65"/>
                  </a:lnTo>
                  <a:lnTo>
                    <a:pt x="10" y="63"/>
                  </a:lnTo>
                  <a:lnTo>
                    <a:pt x="10" y="62"/>
                  </a:lnTo>
                  <a:lnTo>
                    <a:pt x="10" y="60"/>
                  </a:lnTo>
                  <a:lnTo>
                    <a:pt x="11" y="60"/>
                  </a:lnTo>
                  <a:lnTo>
                    <a:pt x="11" y="58"/>
                  </a:lnTo>
                  <a:lnTo>
                    <a:pt x="11" y="56"/>
                  </a:lnTo>
                  <a:lnTo>
                    <a:pt x="11" y="54"/>
                  </a:lnTo>
                  <a:lnTo>
                    <a:pt x="13" y="54"/>
                  </a:lnTo>
                  <a:lnTo>
                    <a:pt x="13" y="52"/>
                  </a:lnTo>
                  <a:lnTo>
                    <a:pt x="13" y="54"/>
                  </a:lnTo>
                  <a:lnTo>
                    <a:pt x="15" y="54"/>
                  </a:lnTo>
                  <a:lnTo>
                    <a:pt x="15" y="56"/>
                  </a:lnTo>
                  <a:lnTo>
                    <a:pt x="17" y="56"/>
                  </a:lnTo>
                  <a:lnTo>
                    <a:pt x="19" y="56"/>
                  </a:lnTo>
                  <a:lnTo>
                    <a:pt x="21" y="56"/>
                  </a:lnTo>
                  <a:lnTo>
                    <a:pt x="23" y="56"/>
                  </a:lnTo>
                  <a:lnTo>
                    <a:pt x="25" y="58"/>
                  </a:lnTo>
                  <a:lnTo>
                    <a:pt x="27" y="58"/>
                  </a:lnTo>
                  <a:lnTo>
                    <a:pt x="27" y="60"/>
                  </a:lnTo>
                  <a:lnTo>
                    <a:pt x="27" y="62"/>
                  </a:lnTo>
                  <a:lnTo>
                    <a:pt x="29" y="60"/>
                  </a:lnTo>
                  <a:lnTo>
                    <a:pt x="31" y="60"/>
                  </a:lnTo>
                  <a:lnTo>
                    <a:pt x="33" y="60"/>
                  </a:lnTo>
                  <a:lnTo>
                    <a:pt x="35" y="60"/>
                  </a:lnTo>
                  <a:lnTo>
                    <a:pt x="35" y="58"/>
                  </a:lnTo>
                  <a:lnTo>
                    <a:pt x="36" y="58"/>
                  </a:lnTo>
                  <a:lnTo>
                    <a:pt x="36" y="56"/>
                  </a:lnTo>
                  <a:lnTo>
                    <a:pt x="38" y="56"/>
                  </a:lnTo>
                  <a:lnTo>
                    <a:pt x="38" y="58"/>
                  </a:lnTo>
                  <a:lnTo>
                    <a:pt x="38" y="56"/>
                  </a:lnTo>
                  <a:lnTo>
                    <a:pt x="38" y="54"/>
                  </a:lnTo>
                  <a:lnTo>
                    <a:pt x="38" y="52"/>
                  </a:lnTo>
                  <a:lnTo>
                    <a:pt x="40" y="52"/>
                  </a:lnTo>
                  <a:lnTo>
                    <a:pt x="40" y="50"/>
                  </a:lnTo>
                  <a:lnTo>
                    <a:pt x="38" y="50"/>
                  </a:lnTo>
                  <a:lnTo>
                    <a:pt x="38" y="48"/>
                  </a:lnTo>
                  <a:lnTo>
                    <a:pt x="42" y="48"/>
                  </a:lnTo>
                  <a:lnTo>
                    <a:pt x="44" y="48"/>
                  </a:lnTo>
                  <a:lnTo>
                    <a:pt x="46" y="48"/>
                  </a:lnTo>
                  <a:lnTo>
                    <a:pt x="46" y="46"/>
                  </a:lnTo>
                  <a:lnTo>
                    <a:pt x="48" y="46"/>
                  </a:lnTo>
                  <a:lnTo>
                    <a:pt x="50" y="46"/>
                  </a:lnTo>
                  <a:lnTo>
                    <a:pt x="52" y="46"/>
                  </a:lnTo>
                  <a:lnTo>
                    <a:pt x="54" y="46"/>
                  </a:lnTo>
                  <a:lnTo>
                    <a:pt x="54" y="44"/>
                  </a:lnTo>
                  <a:lnTo>
                    <a:pt x="54" y="42"/>
                  </a:lnTo>
                  <a:lnTo>
                    <a:pt x="56" y="42"/>
                  </a:lnTo>
                  <a:lnTo>
                    <a:pt x="58" y="42"/>
                  </a:lnTo>
                  <a:lnTo>
                    <a:pt x="59" y="42"/>
                  </a:lnTo>
                  <a:lnTo>
                    <a:pt x="59" y="40"/>
                  </a:lnTo>
                  <a:lnTo>
                    <a:pt x="61" y="40"/>
                  </a:lnTo>
                  <a:lnTo>
                    <a:pt x="61" y="38"/>
                  </a:lnTo>
                  <a:lnTo>
                    <a:pt x="61" y="37"/>
                  </a:lnTo>
                  <a:lnTo>
                    <a:pt x="61" y="35"/>
                  </a:lnTo>
                  <a:lnTo>
                    <a:pt x="61" y="33"/>
                  </a:lnTo>
                  <a:lnTo>
                    <a:pt x="63" y="31"/>
                  </a:lnTo>
                  <a:lnTo>
                    <a:pt x="63" y="29"/>
                  </a:lnTo>
                  <a:lnTo>
                    <a:pt x="63" y="27"/>
                  </a:lnTo>
                  <a:lnTo>
                    <a:pt x="63" y="25"/>
                  </a:lnTo>
                  <a:lnTo>
                    <a:pt x="67" y="23"/>
                  </a:lnTo>
                  <a:lnTo>
                    <a:pt x="69" y="23"/>
                  </a:lnTo>
                  <a:lnTo>
                    <a:pt x="71" y="23"/>
                  </a:lnTo>
                  <a:lnTo>
                    <a:pt x="73" y="23"/>
                  </a:lnTo>
                  <a:lnTo>
                    <a:pt x="75" y="23"/>
                  </a:lnTo>
                  <a:lnTo>
                    <a:pt x="75" y="21"/>
                  </a:lnTo>
                  <a:lnTo>
                    <a:pt x="77" y="21"/>
                  </a:lnTo>
                  <a:lnTo>
                    <a:pt x="77" y="19"/>
                  </a:lnTo>
                  <a:lnTo>
                    <a:pt x="77" y="17"/>
                  </a:lnTo>
                  <a:lnTo>
                    <a:pt x="79" y="17"/>
                  </a:lnTo>
                  <a:lnTo>
                    <a:pt x="79" y="19"/>
                  </a:lnTo>
                  <a:lnTo>
                    <a:pt x="81" y="19"/>
                  </a:lnTo>
                  <a:lnTo>
                    <a:pt x="82" y="19"/>
                  </a:lnTo>
                  <a:lnTo>
                    <a:pt x="82" y="21"/>
                  </a:lnTo>
                  <a:lnTo>
                    <a:pt x="84" y="21"/>
                  </a:lnTo>
                  <a:lnTo>
                    <a:pt x="86" y="21"/>
                  </a:lnTo>
                  <a:lnTo>
                    <a:pt x="88" y="21"/>
                  </a:lnTo>
                  <a:lnTo>
                    <a:pt x="90" y="21"/>
                  </a:lnTo>
                  <a:lnTo>
                    <a:pt x="92" y="21"/>
                  </a:lnTo>
                  <a:lnTo>
                    <a:pt x="94" y="21"/>
                  </a:lnTo>
                  <a:lnTo>
                    <a:pt x="96" y="21"/>
                  </a:lnTo>
                  <a:lnTo>
                    <a:pt x="98" y="21"/>
                  </a:lnTo>
                  <a:lnTo>
                    <a:pt x="98" y="23"/>
                  </a:lnTo>
                  <a:lnTo>
                    <a:pt x="100" y="23"/>
                  </a:lnTo>
                  <a:lnTo>
                    <a:pt x="100" y="25"/>
                  </a:lnTo>
                  <a:lnTo>
                    <a:pt x="100" y="23"/>
                  </a:lnTo>
                  <a:lnTo>
                    <a:pt x="102" y="23"/>
                  </a:lnTo>
                  <a:lnTo>
                    <a:pt x="104" y="23"/>
                  </a:lnTo>
                  <a:lnTo>
                    <a:pt x="106" y="23"/>
                  </a:lnTo>
                  <a:lnTo>
                    <a:pt x="107" y="23"/>
                  </a:lnTo>
                  <a:lnTo>
                    <a:pt x="107" y="25"/>
                  </a:lnTo>
                  <a:lnTo>
                    <a:pt x="107" y="27"/>
                  </a:lnTo>
                  <a:lnTo>
                    <a:pt x="109" y="27"/>
                  </a:lnTo>
                  <a:lnTo>
                    <a:pt x="109" y="29"/>
                  </a:lnTo>
                  <a:lnTo>
                    <a:pt x="111" y="29"/>
                  </a:lnTo>
                  <a:lnTo>
                    <a:pt x="113" y="29"/>
                  </a:lnTo>
                  <a:lnTo>
                    <a:pt x="113" y="27"/>
                  </a:lnTo>
                  <a:lnTo>
                    <a:pt x="115" y="27"/>
                  </a:lnTo>
                  <a:lnTo>
                    <a:pt x="115" y="25"/>
                  </a:lnTo>
                  <a:lnTo>
                    <a:pt x="117" y="25"/>
                  </a:lnTo>
                  <a:lnTo>
                    <a:pt x="119" y="25"/>
                  </a:lnTo>
                  <a:lnTo>
                    <a:pt x="119" y="23"/>
                  </a:lnTo>
                  <a:lnTo>
                    <a:pt x="121" y="23"/>
                  </a:lnTo>
                  <a:lnTo>
                    <a:pt x="123" y="23"/>
                  </a:lnTo>
                  <a:lnTo>
                    <a:pt x="123" y="21"/>
                  </a:lnTo>
                  <a:lnTo>
                    <a:pt x="123" y="23"/>
                  </a:lnTo>
                  <a:lnTo>
                    <a:pt x="125" y="23"/>
                  </a:lnTo>
                  <a:lnTo>
                    <a:pt x="123" y="21"/>
                  </a:lnTo>
                  <a:lnTo>
                    <a:pt x="125" y="21"/>
                  </a:lnTo>
                  <a:lnTo>
                    <a:pt x="125" y="23"/>
                  </a:lnTo>
                  <a:lnTo>
                    <a:pt x="127" y="23"/>
                  </a:lnTo>
                  <a:lnTo>
                    <a:pt x="127" y="25"/>
                  </a:lnTo>
                  <a:lnTo>
                    <a:pt x="129" y="25"/>
                  </a:lnTo>
                  <a:lnTo>
                    <a:pt x="129" y="27"/>
                  </a:lnTo>
                  <a:lnTo>
                    <a:pt x="129" y="25"/>
                  </a:lnTo>
                  <a:lnTo>
                    <a:pt x="130" y="25"/>
                  </a:lnTo>
                  <a:lnTo>
                    <a:pt x="132" y="23"/>
                  </a:lnTo>
                  <a:lnTo>
                    <a:pt x="130" y="23"/>
                  </a:lnTo>
                  <a:lnTo>
                    <a:pt x="130" y="21"/>
                  </a:lnTo>
                  <a:lnTo>
                    <a:pt x="130" y="19"/>
                  </a:lnTo>
                  <a:lnTo>
                    <a:pt x="132" y="19"/>
                  </a:lnTo>
                  <a:lnTo>
                    <a:pt x="132" y="17"/>
                  </a:lnTo>
                  <a:lnTo>
                    <a:pt x="134" y="17"/>
                  </a:lnTo>
                  <a:lnTo>
                    <a:pt x="136" y="17"/>
                  </a:lnTo>
                  <a:lnTo>
                    <a:pt x="138" y="17"/>
                  </a:lnTo>
                  <a:lnTo>
                    <a:pt x="140" y="17"/>
                  </a:lnTo>
                  <a:lnTo>
                    <a:pt x="142" y="17"/>
                  </a:lnTo>
                  <a:lnTo>
                    <a:pt x="144" y="17"/>
                  </a:lnTo>
                  <a:lnTo>
                    <a:pt x="142" y="17"/>
                  </a:lnTo>
                  <a:lnTo>
                    <a:pt x="144" y="17"/>
                  </a:lnTo>
                  <a:lnTo>
                    <a:pt x="144" y="15"/>
                  </a:lnTo>
                  <a:lnTo>
                    <a:pt x="144" y="13"/>
                  </a:lnTo>
                  <a:lnTo>
                    <a:pt x="144" y="12"/>
                  </a:lnTo>
                  <a:lnTo>
                    <a:pt x="142" y="12"/>
                  </a:lnTo>
                  <a:lnTo>
                    <a:pt x="142" y="10"/>
                  </a:lnTo>
                  <a:lnTo>
                    <a:pt x="142" y="12"/>
                  </a:lnTo>
                  <a:lnTo>
                    <a:pt x="142" y="10"/>
                  </a:lnTo>
                  <a:lnTo>
                    <a:pt x="144" y="10"/>
                  </a:lnTo>
                  <a:lnTo>
                    <a:pt x="146" y="10"/>
                  </a:lnTo>
                  <a:lnTo>
                    <a:pt x="146" y="8"/>
                  </a:lnTo>
                  <a:lnTo>
                    <a:pt x="148" y="8"/>
                  </a:lnTo>
                  <a:lnTo>
                    <a:pt x="148" y="6"/>
                  </a:lnTo>
                  <a:lnTo>
                    <a:pt x="148" y="4"/>
                  </a:lnTo>
                  <a:lnTo>
                    <a:pt x="150" y="4"/>
                  </a:lnTo>
                  <a:lnTo>
                    <a:pt x="148" y="4"/>
                  </a:lnTo>
                  <a:lnTo>
                    <a:pt x="148" y="2"/>
                  </a:lnTo>
                  <a:lnTo>
                    <a:pt x="150" y="2"/>
                  </a:lnTo>
                  <a:lnTo>
                    <a:pt x="152" y="2"/>
                  </a:lnTo>
                  <a:lnTo>
                    <a:pt x="152" y="0"/>
                  </a:lnTo>
                  <a:lnTo>
                    <a:pt x="152" y="2"/>
                  </a:lnTo>
                  <a:lnTo>
                    <a:pt x="152" y="0"/>
                  </a:lnTo>
                  <a:lnTo>
                    <a:pt x="152" y="2"/>
                  </a:lnTo>
                  <a:lnTo>
                    <a:pt x="152" y="0"/>
                  </a:lnTo>
                  <a:lnTo>
                    <a:pt x="154" y="0"/>
                  </a:lnTo>
                  <a:lnTo>
                    <a:pt x="154" y="2"/>
                  </a:lnTo>
                  <a:lnTo>
                    <a:pt x="154" y="0"/>
                  </a:lnTo>
                  <a:lnTo>
                    <a:pt x="155" y="0"/>
                  </a:lnTo>
                  <a:lnTo>
                    <a:pt x="155" y="2"/>
                  </a:lnTo>
                  <a:lnTo>
                    <a:pt x="157" y="2"/>
                  </a:lnTo>
                  <a:lnTo>
                    <a:pt x="157" y="4"/>
                  </a:lnTo>
                  <a:lnTo>
                    <a:pt x="159" y="4"/>
                  </a:lnTo>
                  <a:lnTo>
                    <a:pt x="159" y="6"/>
                  </a:lnTo>
                  <a:lnTo>
                    <a:pt x="159" y="8"/>
                  </a:lnTo>
                  <a:lnTo>
                    <a:pt x="159" y="10"/>
                  </a:lnTo>
                  <a:lnTo>
                    <a:pt x="157" y="10"/>
                  </a:lnTo>
                  <a:lnTo>
                    <a:pt x="159" y="10"/>
                  </a:lnTo>
                  <a:lnTo>
                    <a:pt x="157" y="10"/>
                  </a:lnTo>
                  <a:lnTo>
                    <a:pt x="157" y="12"/>
                  </a:lnTo>
                  <a:lnTo>
                    <a:pt x="159" y="12"/>
                  </a:lnTo>
                  <a:lnTo>
                    <a:pt x="159" y="10"/>
                  </a:lnTo>
                  <a:lnTo>
                    <a:pt x="159" y="12"/>
                  </a:lnTo>
                  <a:lnTo>
                    <a:pt x="161" y="12"/>
                  </a:lnTo>
                  <a:lnTo>
                    <a:pt x="161" y="10"/>
                  </a:lnTo>
                  <a:lnTo>
                    <a:pt x="163" y="10"/>
                  </a:lnTo>
                  <a:lnTo>
                    <a:pt x="163" y="12"/>
                  </a:lnTo>
                  <a:lnTo>
                    <a:pt x="163" y="13"/>
                  </a:lnTo>
                  <a:lnTo>
                    <a:pt x="163" y="15"/>
                  </a:lnTo>
                  <a:lnTo>
                    <a:pt x="161" y="15"/>
                  </a:lnTo>
                  <a:lnTo>
                    <a:pt x="161" y="17"/>
                  </a:lnTo>
                  <a:lnTo>
                    <a:pt x="161" y="19"/>
                  </a:lnTo>
                  <a:lnTo>
                    <a:pt x="161" y="21"/>
                  </a:lnTo>
                  <a:lnTo>
                    <a:pt x="161" y="23"/>
                  </a:lnTo>
                  <a:lnTo>
                    <a:pt x="161" y="25"/>
                  </a:lnTo>
                  <a:lnTo>
                    <a:pt x="161" y="27"/>
                  </a:lnTo>
                  <a:lnTo>
                    <a:pt x="161" y="29"/>
                  </a:lnTo>
                  <a:lnTo>
                    <a:pt x="161" y="31"/>
                  </a:lnTo>
                  <a:lnTo>
                    <a:pt x="163" y="31"/>
                  </a:lnTo>
                  <a:lnTo>
                    <a:pt x="163" y="33"/>
                  </a:lnTo>
                  <a:lnTo>
                    <a:pt x="165" y="33"/>
                  </a:lnTo>
                  <a:lnTo>
                    <a:pt x="165" y="35"/>
                  </a:lnTo>
                  <a:lnTo>
                    <a:pt x="165" y="33"/>
                  </a:lnTo>
                  <a:lnTo>
                    <a:pt x="165" y="35"/>
                  </a:lnTo>
                  <a:lnTo>
                    <a:pt x="167" y="35"/>
                  </a:lnTo>
                  <a:lnTo>
                    <a:pt x="167" y="33"/>
                  </a:lnTo>
                  <a:lnTo>
                    <a:pt x="169" y="33"/>
                  </a:lnTo>
                  <a:lnTo>
                    <a:pt x="169" y="31"/>
                  </a:lnTo>
                  <a:lnTo>
                    <a:pt x="171" y="31"/>
                  </a:lnTo>
                  <a:lnTo>
                    <a:pt x="171" y="29"/>
                  </a:lnTo>
                  <a:lnTo>
                    <a:pt x="173" y="29"/>
                  </a:lnTo>
                  <a:lnTo>
                    <a:pt x="175" y="29"/>
                  </a:lnTo>
                  <a:lnTo>
                    <a:pt x="175" y="27"/>
                  </a:lnTo>
                  <a:lnTo>
                    <a:pt x="175" y="29"/>
                  </a:lnTo>
                  <a:lnTo>
                    <a:pt x="175" y="27"/>
                  </a:lnTo>
                  <a:lnTo>
                    <a:pt x="177" y="27"/>
                  </a:lnTo>
                  <a:lnTo>
                    <a:pt x="178" y="27"/>
                  </a:lnTo>
                  <a:lnTo>
                    <a:pt x="180" y="27"/>
                  </a:lnTo>
                  <a:lnTo>
                    <a:pt x="180" y="25"/>
                  </a:lnTo>
                  <a:lnTo>
                    <a:pt x="180" y="23"/>
                  </a:lnTo>
                  <a:lnTo>
                    <a:pt x="182" y="23"/>
                  </a:lnTo>
                  <a:lnTo>
                    <a:pt x="184" y="23"/>
                  </a:lnTo>
                  <a:lnTo>
                    <a:pt x="184" y="21"/>
                  </a:lnTo>
                  <a:lnTo>
                    <a:pt x="184" y="23"/>
                  </a:lnTo>
                  <a:lnTo>
                    <a:pt x="184" y="21"/>
                  </a:lnTo>
                  <a:lnTo>
                    <a:pt x="186" y="21"/>
                  </a:lnTo>
                  <a:lnTo>
                    <a:pt x="184" y="21"/>
                  </a:lnTo>
                  <a:lnTo>
                    <a:pt x="186" y="21"/>
                  </a:lnTo>
                  <a:lnTo>
                    <a:pt x="186" y="19"/>
                  </a:lnTo>
                  <a:lnTo>
                    <a:pt x="188" y="19"/>
                  </a:lnTo>
                  <a:lnTo>
                    <a:pt x="190" y="19"/>
                  </a:lnTo>
                  <a:lnTo>
                    <a:pt x="188" y="19"/>
                  </a:lnTo>
                  <a:lnTo>
                    <a:pt x="190" y="19"/>
                  </a:lnTo>
                  <a:lnTo>
                    <a:pt x="192" y="19"/>
                  </a:lnTo>
                  <a:lnTo>
                    <a:pt x="194" y="19"/>
                  </a:lnTo>
                  <a:lnTo>
                    <a:pt x="196" y="19"/>
                  </a:lnTo>
                  <a:lnTo>
                    <a:pt x="196" y="21"/>
                  </a:lnTo>
                  <a:lnTo>
                    <a:pt x="194" y="21"/>
                  </a:lnTo>
                  <a:lnTo>
                    <a:pt x="194" y="23"/>
                  </a:lnTo>
                  <a:lnTo>
                    <a:pt x="192" y="23"/>
                  </a:lnTo>
                  <a:lnTo>
                    <a:pt x="194" y="23"/>
                  </a:lnTo>
                  <a:lnTo>
                    <a:pt x="196" y="23"/>
                  </a:lnTo>
                  <a:lnTo>
                    <a:pt x="198" y="23"/>
                  </a:lnTo>
                  <a:lnTo>
                    <a:pt x="200" y="23"/>
                  </a:lnTo>
                  <a:lnTo>
                    <a:pt x="200" y="21"/>
                  </a:lnTo>
                  <a:lnTo>
                    <a:pt x="200" y="23"/>
                  </a:lnTo>
                  <a:lnTo>
                    <a:pt x="200" y="21"/>
                  </a:lnTo>
                  <a:lnTo>
                    <a:pt x="201" y="21"/>
                  </a:lnTo>
                  <a:lnTo>
                    <a:pt x="201" y="19"/>
                  </a:lnTo>
                  <a:lnTo>
                    <a:pt x="201" y="21"/>
                  </a:lnTo>
                  <a:lnTo>
                    <a:pt x="203" y="21"/>
                  </a:lnTo>
                  <a:lnTo>
                    <a:pt x="203" y="19"/>
                  </a:lnTo>
                  <a:lnTo>
                    <a:pt x="203" y="21"/>
                  </a:lnTo>
                  <a:lnTo>
                    <a:pt x="205" y="21"/>
                  </a:lnTo>
                  <a:lnTo>
                    <a:pt x="205" y="19"/>
                  </a:lnTo>
                  <a:lnTo>
                    <a:pt x="205" y="21"/>
                  </a:lnTo>
                  <a:lnTo>
                    <a:pt x="205" y="19"/>
                  </a:lnTo>
                  <a:lnTo>
                    <a:pt x="205" y="21"/>
                  </a:lnTo>
                  <a:lnTo>
                    <a:pt x="205" y="19"/>
                  </a:lnTo>
                  <a:lnTo>
                    <a:pt x="205" y="21"/>
                  </a:lnTo>
                  <a:lnTo>
                    <a:pt x="207" y="21"/>
                  </a:lnTo>
                  <a:lnTo>
                    <a:pt x="209" y="21"/>
                  </a:lnTo>
                  <a:lnTo>
                    <a:pt x="209" y="19"/>
                  </a:lnTo>
                  <a:lnTo>
                    <a:pt x="209" y="21"/>
                  </a:lnTo>
                  <a:lnTo>
                    <a:pt x="211" y="21"/>
                  </a:lnTo>
                  <a:lnTo>
                    <a:pt x="211" y="2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340">
              <a:extLst>
                <a:ext uri="{FF2B5EF4-FFF2-40B4-BE49-F238E27FC236}">
                  <a16:creationId xmlns:a16="http://schemas.microsoft.com/office/drawing/2014/main" id="{B7BD406A-15F6-4677-9B79-C6CC2B9FAA4F}"/>
                </a:ext>
              </a:extLst>
            </p:cNvPr>
            <p:cNvSpPr>
              <a:spLocks noEditPoints="1"/>
            </p:cNvSpPr>
            <p:nvPr/>
          </p:nvSpPr>
          <p:spPr bwMode="gray">
            <a:xfrm>
              <a:off x="4418696" y="3558358"/>
              <a:ext cx="138581" cy="101790"/>
            </a:xfrm>
            <a:custGeom>
              <a:avLst/>
              <a:gdLst>
                <a:gd name="T0" fmla="*/ 48 w 113"/>
                <a:gd name="T1" fmla="*/ 21 h 83"/>
                <a:gd name="T2" fmla="*/ 40 w 113"/>
                <a:gd name="T3" fmla="*/ 17 h 83"/>
                <a:gd name="T4" fmla="*/ 30 w 113"/>
                <a:gd name="T5" fmla="*/ 19 h 83"/>
                <a:gd name="T6" fmla="*/ 28 w 113"/>
                <a:gd name="T7" fmla="*/ 21 h 83"/>
                <a:gd name="T8" fmla="*/ 32 w 113"/>
                <a:gd name="T9" fmla="*/ 29 h 83"/>
                <a:gd name="T10" fmla="*/ 38 w 113"/>
                <a:gd name="T11" fmla="*/ 29 h 83"/>
                <a:gd name="T12" fmla="*/ 42 w 113"/>
                <a:gd name="T13" fmla="*/ 29 h 83"/>
                <a:gd name="T14" fmla="*/ 52 w 113"/>
                <a:gd name="T15" fmla="*/ 31 h 83"/>
                <a:gd name="T16" fmla="*/ 61 w 113"/>
                <a:gd name="T17" fmla="*/ 29 h 83"/>
                <a:gd name="T18" fmla="*/ 67 w 113"/>
                <a:gd name="T19" fmla="*/ 31 h 83"/>
                <a:gd name="T20" fmla="*/ 73 w 113"/>
                <a:gd name="T21" fmla="*/ 33 h 83"/>
                <a:gd name="T22" fmla="*/ 80 w 113"/>
                <a:gd name="T23" fmla="*/ 33 h 83"/>
                <a:gd name="T24" fmla="*/ 86 w 113"/>
                <a:gd name="T25" fmla="*/ 31 h 83"/>
                <a:gd name="T26" fmla="*/ 90 w 113"/>
                <a:gd name="T27" fmla="*/ 35 h 83"/>
                <a:gd name="T28" fmla="*/ 94 w 113"/>
                <a:gd name="T29" fmla="*/ 42 h 83"/>
                <a:gd name="T30" fmla="*/ 98 w 113"/>
                <a:gd name="T31" fmla="*/ 46 h 83"/>
                <a:gd name="T32" fmla="*/ 107 w 113"/>
                <a:gd name="T33" fmla="*/ 48 h 83"/>
                <a:gd name="T34" fmla="*/ 109 w 113"/>
                <a:gd name="T35" fmla="*/ 54 h 83"/>
                <a:gd name="T36" fmla="*/ 109 w 113"/>
                <a:gd name="T37" fmla="*/ 61 h 83"/>
                <a:gd name="T38" fmla="*/ 111 w 113"/>
                <a:gd name="T39" fmla="*/ 67 h 83"/>
                <a:gd name="T40" fmla="*/ 109 w 113"/>
                <a:gd name="T41" fmla="*/ 69 h 83"/>
                <a:gd name="T42" fmla="*/ 103 w 113"/>
                <a:gd name="T43" fmla="*/ 67 h 83"/>
                <a:gd name="T44" fmla="*/ 99 w 113"/>
                <a:gd name="T45" fmla="*/ 67 h 83"/>
                <a:gd name="T46" fmla="*/ 92 w 113"/>
                <a:gd name="T47" fmla="*/ 71 h 83"/>
                <a:gd name="T48" fmla="*/ 88 w 113"/>
                <a:gd name="T49" fmla="*/ 67 h 83"/>
                <a:gd name="T50" fmla="*/ 82 w 113"/>
                <a:gd name="T51" fmla="*/ 69 h 83"/>
                <a:gd name="T52" fmla="*/ 76 w 113"/>
                <a:gd name="T53" fmla="*/ 75 h 83"/>
                <a:gd name="T54" fmla="*/ 69 w 113"/>
                <a:gd name="T55" fmla="*/ 79 h 83"/>
                <a:gd name="T56" fmla="*/ 63 w 113"/>
                <a:gd name="T57" fmla="*/ 81 h 83"/>
                <a:gd name="T58" fmla="*/ 59 w 113"/>
                <a:gd name="T59" fmla="*/ 69 h 83"/>
                <a:gd name="T60" fmla="*/ 59 w 113"/>
                <a:gd name="T61" fmla="*/ 58 h 83"/>
                <a:gd name="T62" fmla="*/ 55 w 113"/>
                <a:gd name="T63" fmla="*/ 58 h 83"/>
                <a:gd name="T64" fmla="*/ 53 w 113"/>
                <a:gd name="T65" fmla="*/ 48 h 83"/>
                <a:gd name="T66" fmla="*/ 50 w 113"/>
                <a:gd name="T67" fmla="*/ 48 h 83"/>
                <a:gd name="T68" fmla="*/ 46 w 113"/>
                <a:gd name="T69" fmla="*/ 56 h 83"/>
                <a:gd name="T70" fmla="*/ 42 w 113"/>
                <a:gd name="T71" fmla="*/ 60 h 83"/>
                <a:gd name="T72" fmla="*/ 36 w 113"/>
                <a:gd name="T73" fmla="*/ 65 h 83"/>
                <a:gd name="T74" fmla="*/ 30 w 113"/>
                <a:gd name="T75" fmla="*/ 71 h 83"/>
                <a:gd name="T76" fmla="*/ 23 w 113"/>
                <a:gd name="T77" fmla="*/ 69 h 83"/>
                <a:gd name="T78" fmla="*/ 17 w 113"/>
                <a:gd name="T79" fmla="*/ 73 h 83"/>
                <a:gd name="T80" fmla="*/ 7 w 113"/>
                <a:gd name="T81" fmla="*/ 75 h 83"/>
                <a:gd name="T82" fmla="*/ 7 w 113"/>
                <a:gd name="T83" fmla="*/ 63 h 83"/>
                <a:gd name="T84" fmla="*/ 13 w 113"/>
                <a:gd name="T85" fmla="*/ 58 h 83"/>
                <a:gd name="T86" fmla="*/ 13 w 113"/>
                <a:gd name="T87" fmla="*/ 54 h 83"/>
                <a:gd name="T88" fmla="*/ 9 w 113"/>
                <a:gd name="T89" fmla="*/ 46 h 83"/>
                <a:gd name="T90" fmla="*/ 7 w 113"/>
                <a:gd name="T91" fmla="*/ 38 h 83"/>
                <a:gd name="T92" fmla="*/ 2 w 113"/>
                <a:gd name="T93" fmla="*/ 33 h 83"/>
                <a:gd name="T94" fmla="*/ 0 w 113"/>
                <a:gd name="T95" fmla="*/ 27 h 83"/>
                <a:gd name="T96" fmla="*/ 11 w 113"/>
                <a:gd name="T97" fmla="*/ 27 h 83"/>
                <a:gd name="T98" fmla="*/ 19 w 113"/>
                <a:gd name="T99" fmla="*/ 23 h 83"/>
                <a:gd name="T100" fmla="*/ 21 w 113"/>
                <a:gd name="T101" fmla="*/ 21 h 83"/>
                <a:gd name="T102" fmla="*/ 23 w 113"/>
                <a:gd name="T103" fmla="*/ 19 h 83"/>
                <a:gd name="T104" fmla="*/ 23 w 113"/>
                <a:gd name="T105" fmla="*/ 15 h 83"/>
                <a:gd name="T106" fmla="*/ 28 w 113"/>
                <a:gd name="T107" fmla="*/ 13 h 83"/>
                <a:gd name="T108" fmla="*/ 30 w 113"/>
                <a:gd name="T109" fmla="*/ 4 h 83"/>
                <a:gd name="T110" fmla="*/ 40 w 113"/>
                <a:gd name="T111" fmla="*/ 4 h 83"/>
                <a:gd name="T112" fmla="*/ 48 w 113"/>
                <a:gd name="T113" fmla="*/ 4 h 83"/>
                <a:gd name="T114" fmla="*/ 46 w 113"/>
                <a:gd name="T115" fmla="*/ 10 h 83"/>
                <a:gd name="T116" fmla="*/ 48 w 113"/>
                <a:gd name="T117" fmla="*/ 1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3" h="83">
                  <a:moveTo>
                    <a:pt x="52" y="15"/>
                  </a:moveTo>
                  <a:lnTo>
                    <a:pt x="52" y="17"/>
                  </a:lnTo>
                  <a:lnTo>
                    <a:pt x="50" y="17"/>
                  </a:lnTo>
                  <a:lnTo>
                    <a:pt x="50" y="15"/>
                  </a:lnTo>
                  <a:lnTo>
                    <a:pt x="50" y="17"/>
                  </a:lnTo>
                  <a:lnTo>
                    <a:pt x="48" y="17"/>
                  </a:lnTo>
                  <a:lnTo>
                    <a:pt x="48" y="19"/>
                  </a:lnTo>
                  <a:lnTo>
                    <a:pt x="48" y="21"/>
                  </a:lnTo>
                  <a:lnTo>
                    <a:pt x="46" y="21"/>
                  </a:lnTo>
                  <a:lnTo>
                    <a:pt x="44" y="21"/>
                  </a:lnTo>
                  <a:lnTo>
                    <a:pt x="46" y="21"/>
                  </a:lnTo>
                  <a:lnTo>
                    <a:pt x="46" y="19"/>
                  </a:lnTo>
                  <a:lnTo>
                    <a:pt x="44" y="19"/>
                  </a:lnTo>
                  <a:lnTo>
                    <a:pt x="44" y="17"/>
                  </a:lnTo>
                  <a:lnTo>
                    <a:pt x="42" y="17"/>
                  </a:lnTo>
                  <a:lnTo>
                    <a:pt x="40" y="17"/>
                  </a:lnTo>
                  <a:lnTo>
                    <a:pt x="40" y="15"/>
                  </a:lnTo>
                  <a:lnTo>
                    <a:pt x="38" y="15"/>
                  </a:lnTo>
                  <a:lnTo>
                    <a:pt x="36" y="15"/>
                  </a:lnTo>
                  <a:lnTo>
                    <a:pt x="36" y="17"/>
                  </a:lnTo>
                  <a:lnTo>
                    <a:pt x="34" y="17"/>
                  </a:lnTo>
                  <a:lnTo>
                    <a:pt x="32" y="17"/>
                  </a:lnTo>
                  <a:lnTo>
                    <a:pt x="30" y="17"/>
                  </a:lnTo>
                  <a:lnTo>
                    <a:pt x="30" y="19"/>
                  </a:lnTo>
                  <a:lnTo>
                    <a:pt x="30" y="21"/>
                  </a:lnTo>
                  <a:lnTo>
                    <a:pt x="28" y="21"/>
                  </a:lnTo>
                  <a:lnTo>
                    <a:pt x="30" y="21"/>
                  </a:lnTo>
                  <a:lnTo>
                    <a:pt x="30" y="19"/>
                  </a:lnTo>
                  <a:lnTo>
                    <a:pt x="28" y="19"/>
                  </a:lnTo>
                  <a:lnTo>
                    <a:pt x="28" y="21"/>
                  </a:lnTo>
                  <a:lnTo>
                    <a:pt x="27" y="21"/>
                  </a:lnTo>
                  <a:lnTo>
                    <a:pt x="28" y="21"/>
                  </a:lnTo>
                  <a:lnTo>
                    <a:pt x="28" y="23"/>
                  </a:lnTo>
                  <a:lnTo>
                    <a:pt x="27" y="23"/>
                  </a:lnTo>
                  <a:lnTo>
                    <a:pt x="27" y="25"/>
                  </a:lnTo>
                  <a:lnTo>
                    <a:pt x="28" y="25"/>
                  </a:lnTo>
                  <a:lnTo>
                    <a:pt x="28" y="27"/>
                  </a:lnTo>
                  <a:lnTo>
                    <a:pt x="28" y="29"/>
                  </a:lnTo>
                  <a:lnTo>
                    <a:pt x="30" y="29"/>
                  </a:lnTo>
                  <a:lnTo>
                    <a:pt x="32" y="29"/>
                  </a:lnTo>
                  <a:lnTo>
                    <a:pt x="32" y="27"/>
                  </a:lnTo>
                  <a:lnTo>
                    <a:pt x="34" y="27"/>
                  </a:lnTo>
                  <a:lnTo>
                    <a:pt x="34" y="29"/>
                  </a:lnTo>
                  <a:lnTo>
                    <a:pt x="36" y="29"/>
                  </a:lnTo>
                  <a:lnTo>
                    <a:pt x="36" y="27"/>
                  </a:lnTo>
                  <a:lnTo>
                    <a:pt x="36" y="29"/>
                  </a:lnTo>
                  <a:lnTo>
                    <a:pt x="38" y="27"/>
                  </a:lnTo>
                  <a:lnTo>
                    <a:pt x="38" y="29"/>
                  </a:lnTo>
                  <a:lnTo>
                    <a:pt x="38" y="27"/>
                  </a:lnTo>
                  <a:lnTo>
                    <a:pt x="38" y="29"/>
                  </a:lnTo>
                  <a:lnTo>
                    <a:pt x="38" y="27"/>
                  </a:lnTo>
                  <a:lnTo>
                    <a:pt x="40" y="27"/>
                  </a:lnTo>
                  <a:lnTo>
                    <a:pt x="40" y="29"/>
                  </a:lnTo>
                  <a:lnTo>
                    <a:pt x="40" y="27"/>
                  </a:lnTo>
                  <a:lnTo>
                    <a:pt x="42" y="27"/>
                  </a:lnTo>
                  <a:lnTo>
                    <a:pt x="42" y="29"/>
                  </a:lnTo>
                  <a:lnTo>
                    <a:pt x="42" y="27"/>
                  </a:lnTo>
                  <a:lnTo>
                    <a:pt x="44" y="27"/>
                  </a:lnTo>
                  <a:lnTo>
                    <a:pt x="46" y="27"/>
                  </a:lnTo>
                  <a:lnTo>
                    <a:pt x="48" y="27"/>
                  </a:lnTo>
                  <a:lnTo>
                    <a:pt x="48" y="29"/>
                  </a:lnTo>
                  <a:lnTo>
                    <a:pt x="50" y="29"/>
                  </a:lnTo>
                  <a:lnTo>
                    <a:pt x="50" y="31"/>
                  </a:lnTo>
                  <a:lnTo>
                    <a:pt x="52" y="31"/>
                  </a:lnTo>
                  <a:lnTo>
                    <a:pt x="53" y="31"/>
                  </a:lnTo>
                  <a:lnTo>
                    <a:pt x="53" y="29"/>
                  </a:lnTo>
                  <a:lnTo>
                    <a:pt x="55" y="29"/>
                  </a:lnTo>
                  <a:lnTo>
                    <a:pt x="57" y="29"/>
                  </a:lnTo>
                  <a:lnTo>
                    <a:pt x="57" y="27"/>
                  </a:lnTo>
                  <a:lnTo>
                    <a:pt x="59" y="27"/>
                  </a:lnTo>
                  <a:lnTo>
                    <a:pt x="61" y="27"/>
                  </a:lnTo>
                  <a:lnTo>
                    <a:pt x="61" y="29"/>
                  </a:lnTo>
                  <a:lnTo>
                    <a:pt x="61" y="31"/>
                  </a:lnTo>
                  <a:lnTo>
                    <a:pt x="63" y="31"/>
                  </a:lnTo>
                  <a:lnTo>
                    <a:pt x="65" y="31"/>
                  </a:lnTo>
                  <a:lnTo>
                    <a:pt x="63" y="31"/>
                  </a:lnTo>
                  <a:lnTo>
                    <a:pt x="63" y="33"/>
                  </a:lnTo>
                  <a:lnTo>
                    <a:pt x="65" y="33"/>
                  </a:lnTo>
                  <a:lnTo>
                    <a:pt x="67" y="33"/>
                  </a:lnTo>
                  <a:lnTo>
                    <a:pt x="67" y="31"/>
                  </a:lnTo>
                  <a:lnTo>
                    <a:pt x="67" y="33"/>
                  </a:lnTo>
                  <a:lnTo>
                    <a:pt x="69" y="33"/>
                  </a:lnTo>
                  <a:lnTo>
                    <a:pt x="69" y="35"/>
                  </a:lnTo>
                  <a:lnTo>
                    <a:pt x="71" y="35"/>
                  </a:lnTo>
                  <a:lnTo>
                    <a:pt x="71" y="33"/>
                  </a:lnTo>
                  <a:lnTo>
                    <a:pt x="73" y="33"/>
                  </a:lnTo>
                  <a:lnTo>
                    <a:pt x="71" y="33"/>
                  </a:lnTo>
                  <a:lnTo>
                    <a:pt x="73" y="33"/>
                  </a:lnTo>
                  <a:lnTo>
                    <a:pt x="75" y="33"/>
                  </a:lnTo>
                  <a:lnTo>
                    <a:pt x="75" y="31"/>
                  </a:lnTo>
                  <a:lnTo>
                    <a:pt x="75" y="33"/>
                  </a:lnTo>
                  <a:lnTo>
                    <a:pt x="76" y="33"/>
                  </a:lnTo>
                  <a:lnTo>
                    <a:pt x="76" y="31"/>
                  </a:lnTo>
                  <a:lnTo>
                    <a:pt x="78" y="31"/>
                  </a:lnTo>
                  <a:lnTo>
                    <a:pt x="78" y="33"/>
                  </a:lnTo>
                  <a:lnTo>
                    <a:pt x="80" y="33"/>
                  </a:lnTo>
                  <a:lnTo>
                    <a:pt x="80" y="31"/>
                  </a:lnTo>
                  <a:lnTo>
                    <a:pt x="80" y="33"/>
                  </a:lnTo>
                  <a:lnTo>
                    <a:pt x="82" y="33"/>
                  </a:lnTo>
                  <a:lnTo>
                    <a:pt x="82" y="31"/>
                  </a:lnTo>
                  <a:lnTo>
                    <a:pt x="84" y="31"/>
                  </a:lnTo>
                  <a:lnTo>
                    <a:pt x="84" y="33"/>
                  </a:lnTo>
                  <a:lnTo>
                    <a:pt x="86" y="33"/>
                  </a:lnTo>
                  <a:lnTo>
                    <a:pt x="86" y="31"/>
                  </a:lnTo>
                  <a:lnTo>
                    <a:pt x="88" y="31"/>
                  </a:lnTo>
                  <a:lnTo>
                    <a:pt x="88" y="29"/>
                  </a:lnTo>
                  <a:lnTo>
                    <a:pt x="90" y="29"/>
                  </a:lnTo>
                  <a:lnTo>
                    <a:pt x="90" y="31"/>
                  </a:lnTo>
                  <a:lnTo>
                    <a:pt x="90" y="29"/>
                  </a:lnTo>
                  <a:lnTo>
                    <a:pt x="90" y="31"/>
                  </a:lnTo>
                  <a:lnTo>
                    <a:pt x="90" y="33"/>
                  </a:lnTo>
                  <a:lnTo>
                    <a:pt x="90" y="35"/>
                  </a:lnTo>
                  <a:lnTo>
                    <a:pt x="92" y="35"/>
                  </a:lnTo>
                  <a:lnTo>
                    <a:pt x="92" y="37"/>
                  </a:lnTo>
                  <a:lnTo>
                    <a:pt x="92" y="38"/>
                  </a:lnTo>
                  <a:lnTo>
                    <a:pt x="94" y="38"/>
                  </a:lnTo>
                  <a:lnTo>
                    <a:pt x="94" y="40"/>
                  </a:lnTo>
                  <a:lnTo>
                    <a:pt x="92" y="40"/>
                  </a:lnTo>
                  <a:lnTo>
                    <a:pt x="92" y="42"/>
                  </a:lnTo>
                  <a:lnTo>
                    <a:pt x="94" y="42"/>
                  </a:lnTo>
                  <a:lnTo>
                    <a:pt x="92" y="42"/>
                  </a:lnTo>
                  <a:lnTo>
                    <a:pt x="92" y="44"/>
                  </a:lnTo>
                  <a:lnTo>
                    <a:pt x="94" y="44"/>
                  </a:lnTo>
                  <a:lnTo>
                    <a:pt x="94" y="46"/>
                  </a:lnTo>
                  <a:lnTo>
                    <a:pt x="96" y="46"/>
                  </a:lnTo>
                  <a:lnTo>
                    <a:pt x="96" y="48"/>
                  </a:lnTo>
                  <a:lnTo>
                    <a:pt x="98" y="48"/>
                  </a:lnTo>
                  <a:lnTo>
                    <a:pt x="98" y="46"/>
                  </a:lnTo>
                  <a:lnTo>
                    <a:pt x="98" y="44"/>
                  </a:lnTo>
                  <a:lnTo>
                    <a:pt x="99" y="44"/>
                  </a:lnTo>
                  <a:lnTo>
                    <a:pt x="101" y="44"/>
                  </a:lnTo>
                  <a:lnTo>
                    <a:pt x="101" y="46"/>
                  </a:lnTo>
                  <a:lnTo>
                    <a:pt x="103" y="46"/>
                  </a:lnTo>
                  <a:lnTo>
                    <a:pt x="105" y="46"/>
                  </a:lnTo>
                  <a:lnTo>
                    <a:pt x="107" y="46"/>
                  </a:lnTo>
                  <a:lnTo>
                    <a:pt x="107" y="48"/>
                  </a:lnTo>
                  <a:lnTo>
                    <a:pt x="109" y="48"/>
                  </a:lnTo>
                  <a:lnTo>
                    <a:pt x="109" y="50"/>
                  </a:lnTo>
                  <a:lnTo>
                    <a:pt x="107" y="50"/>
                  </a:lnTo>
                  <a:lnTo>
                    <a:pt x="107" y="52"/>
                  </a:lnTo>
                  <a:lnTo>
                    <a:pt x="107" y="54"/>
                  </a:lnTo>
                  <a:lnTo>
                    <a:pt x="109" y="54"/>
                  </a:lnTo>
                  <a:lnTo>
                    <a:pt x="107" y="54"/>
                  </a:lnTo>
                  <a:lnTo>
                    <a:pt x="109" y="54"/>
                  </a:lnTo>
                  <a:lnTo>
                    <a:pt x="109" y="56"/>
                  </a:lnTo>
                  <a:lnTo>
                    <a:pt x="109" y="58"/>
                  </a:lnTo>
                  <a:lnTo>
                    <a:pt x="109" y="56"/>
                  </a:lnTo>
                  <a:lnTo>
                    <a:pt x="109" y="58"/>
                  </a:lnTo>
                  <a:lnTo>
                    <a:pt x="109" y="56"/>
                  </a:lnTo>
                  <a:lnTo>
                    <a:pt x="109" y="58"/>
                  </a:lnTo>
                  <a:lnTo>
                    <a:pt x="109" y="60"/>
                  </a:lnTo>
                  <a:lnTo>
                    <a:pt x="109" y="61"/>
                  </a:lnTo>
                  <a:lnTo>
                    <a:pt x="111" y="61"/>
                  </a:lnTo>
                  <a:lnTo>
                    <a:pt x="111" y="63"/>
                  </a:lnTo>
                  <a:lnTo>
                    <a:pt x="109" y="63"/>
                  </a:lnTo>
                  <a:lnTo>
                    <a:pt x="109" y="65"/>
                  </a:lnTo>
                  <a:lnTo>
                    <a:pt x="111" y="65"/>
                  </a:lnTo>
                  <a:lnTo>
                    <a:pt x="111" y="67"/>
                  </a:lnTo>
                  <a:lnTo>
                    <a:pt x="111" y="65"/>
                  </a:lnTo>
                  <a:lnTo>
                    <a:pt x="111" y="67"/>
                  </a:lnTo>
                  <a:lnTo>
                    <a:pt x="113" y="67"/>
                  </a:lnTo>
                  <a:lnTo>
                    <a:pt x="113" y="69"/>
                  </a:lnTo>
                  <a:lnTo>
                    <a:pt x="111" y="69"/>
                  </a:lnTo>
                  <a:lnTo>
                    <a:pt x="111" y="71"/>
                  </a:lnTo>
                  <a:lnTo>
                    <a:pt x="111" y="69"/>
                  </a:lnTo>
                  <a:lnTo>
                    <a:pt x="111" y="71"/>
                  </a:lnTo>
                  <a:lnTo>
                    <a:pt x="109" y="71"/>
                  </a:lnTo>
                  <a:lnTo>
                    <a:pt x="109" y="69"/>
                  </a:lnTo>
                  <a:lnTo>
                    <a:pt x="107" y="69"/>
                  </a:lnTo>
                  <a:lnTo>
                    <a:pt x="107" y="67"/>
                  </a:lnTo>
                  <a:lnTo>
                    <a:pt x="107" y="69"/>
                  </a:lnTo>
                  <a:lnTo>
                    <a:pt x="105" y="69"/>
                  </a:lnTo>
                  <a:lnTo>
                    <a:pt x="103" y="69"/>
                  </a:lnTo>
                  <a:lnTo>
                    <a:pt x="103" y="67"/>
                  </a:lnTo>
                  <a:lnTo>
                    <a:pt x="103" y="69"/>
                  </a:lnTo>
                  <a:lnTo>
                    <a:pt x="103" y="67"/>
                  </a:lnTo>
                  <a:lnTo>
                    <a:pt x="103" y="69"/>
                  </a:lnTo>
                  <a:lnTo>
                    <a:pt x="103" y="67"/>
                  </a:lnTo>
                  <a:lnTo>
                    <a:pt x="103" y="69"/>
                  </a:lnTo>
                  <a:lnTo>
                    <a:pt x="101" y="69"/>
                  </a:lnTo>
                  <a:lnTo>
                    <a:pt x="101" y="67"/>
                  </a:lnTo>
                  <a:lnTo>
                    <a:pt x="101" y="69"/>
                  </a:lnTo>
                  <a:lnTo>
                    <a:pt x="99" y="69"/>
                  </a:lnTo>
                  <a:lnTo>
                    <a:pt x="99" y="67"/>
                  </a:lnTo>
                  <a:lnTo>
                    <a:pt x="99" y="69"/>
                  </a:lnTo>
                  <a:lnTo>
                    <a:pt x="98" y="69"/>
                  </a:lnTo>
                  <a:lnTo>
                    <a:pt x="98" y="71"/>
                  </a:lnTo>
                  <a:lnTo>
                    <a:pt x="98" y="69"/>
                  </a:lnTo>
                  <a:lnTo>
                    <a:pt x="98" y="71"/>
                  </a:lnTo>
                  <a:lnTo>
                    <a:pt x="96" y="71"/>
                  </a:lnTo>
                  <a:lnTo>
                    <a:pt x="94" y="71"/>
                  </a:lnTo>
                  <a:lnTo>
                    <a:pt x="92" y="71"/>
                  </a:lnTo>
                  <a:lnTo>
                    <a:pt x="90" y="71"/>
                  </a:lnTo>
                  <a:lnTo>
                    <a:pt x="92" y="71"/>
                  </a:lnTo>
                  <a:lnTo>
                    <a:pt x="92" y="69"/>
                  </a:lnTo>
                  <a:lnTo>
                    <a:pt x="94" y="69"/>
                  </a:lnTo>
                  <a:lnTo>
                    <a:pt x="94" y="67"/>
                  </a:lnTo>
                  <a:lnTo>
                    <a:pt x="92" y="67"/>
                  </a:lnTo>
                  <a:lnTo>
                    <a:pt x="90" y="67"/>
                  </a:lnTo>
                  <a:lnTo>
                    <a:pt x="88" y="67"/>
                  </a:lnTo>
                  <a:lnTo>
                    <a:pt x="86" y="67"/>
                  </a:lnTo>
                  <a:lnTo>
                    <a:pt x="88" y="67"/>
                  </a:lnTo>
                  <a:lnTo>
                    <a:pt x="86" y="67"/>
                  </a:lnTo>
                  <a:lnTo>
                    <a:pt x="84" y="67"/>
                  </a:lnTo>
                  <a:lnTo>
                    <a:pt x="84" y="69"/>
                  </a:lnTo>
                  <a:lnTo>
                    <a:pt x="82" y="69"/>
                  </a:lnTo>
                  <a:lnTo>
                    <a:pt x="84" y="69"/>
                  </a:lnTo>
                  <a:lnTo>
                    <a:pt x="82" y="69"/>
                  </a:lnTo>
                  <a:lnTo>
                    <a:pt x="82" y="71"/>
                  </a:lnTo>
                  <a:lnTo>
                    <a:pt x="82" y="69"/>
                  </a:lnTo>
                  <a:lnTo>
                    <a:pt x="82" y="71"/>
                  </a:lnTo>
                  <a:lnTo>
                    <a:pt x="80" y="71"/>
                  </a:lnTo>
                  <a:lnTo>
                    <a:pt x="78" y="71"/>
                  </a:lnTo>
                  <a:lnTo>
                    <a:pt x="78" y="73"/>
                  </a:lnTo>
                  <a:lnTo>
                    <a:pt x="78" y="75"/>
                  </a:lnTo>
                  <a:lnTo>
                    <a:pt x="76" y="75"/>
                  </a:lnTo>
                  <a:lnTo>
                    <a:pt x="75" y="75"/>
                  </a:lnTo>
                  <a:lnTo>
                    <a:pt x="73" y="75"/>
                  </a:lnTo>
                  <a:lnTo>
                    <a:pt x="73" y="77"/>
                  </a:lnTo>
                  <a:lnTo>
                    <a:pt x="73" y="75"/>
                  </a:lnTo>
                  <a:lnTo>
                    <a:pt x="73" y="77"/>
                  </a:lnTo>
                  <a:lnTo>
                    <a:pt x="71" y="77"/>
                  </a:lnTo>
                  <a:lnTo>
                    <a:pt x="69" y="77"/>
                  </a:lnTo>
                  <a:lnTo>
                    <a:pt x="69" y="79"/>
                  </a:lnTo>
                  <a:lnTo>
                    <a:pt x="67" y="79"/>
                  </a:lnTo>
                  <a:lnTo>
                    <a:pt x="67" y="81"/>
                  </a:lnTo>
                  <a:lnTo>
                    <a:pt x="65" y="81"/>
                  </a:lnTo>
                  <a:lnTo>
                    <a:pt x="65" y="83"/>
                  </a:lnTo>
                  <a:lnTo>
                    <a:pt x="63" y="83"/>
                  </a:lnTo>
                  <a:lnTo>
                    <a:pt x="63" y="81"/>
                  </a:lnTo>
                  <a:lnTo>
                    <a:pt x="63" y="83"/>
                  </a:lnTo>
                  <a:lnTo>
                    <a:pt x="63" y="81"/>
                  </a:lnTo>
                  <a:lnTo>
                    <a:pt x="61" y="81"/>
                  </a:lnTo>
                  <a:lnTo>
                    <a:pt x="61" y="79"/>
                  </a:lnTo>
                  <a:lnTo>
                    <a:pt x="59" y="79"/>
                  </a:lnTo>
                  <a:lnTo>
                    <a:pt x="59" y="77"/>
                  </a:lnTo>
                  <a:lnTo>
                    <a:pt x="59" y="75"/>
                  </a:lnTo>
                  <a:lnTo>
                    <a:pt x="59" y="73"/>
                  </a:lnTo>
                  <a:lnTo>
                    <a:pt x="59" y="71"/>
                  </a:lnTo>
                  <a:lnTo>
                    <a:pt x="59" y="69"/>
                  </a:lnTo>
                  <a:lnTo>
                    <a:pt x="59" y="67"/>
                  </a:lnTo>
                  <a:lnTo>
                    <a:pt x="59" y="65"/>
                  </a:lnTo>
                  <a:lnTo>
                    <a:pt x="59" y="63"/>
                  </a:lnTo>
                  <a:lnTo>
                    <a:pt x="61" y="63"/>
                  </a:lnTo>
                  <a:lnTo>
                    <a:pt x="61" y="61"/>
                  </a:lnTo>
                  <a:lnTo>
                    <a:pt x="61" y="60"/>
                  </a:lnTo>
                  <a:lnTo>
                    <a:pt x="61" y="58"/>
                  </a:lnTo>
                  <a:lnTo>
                    <a:pt x="59" y="58"/>
                  </a:lnTo>
                  <a:lnTo>
                    <a:pt x="59" y="60"/>
                  </a:lnTo>
                  <a:lnTo>
                    <a:pt x="57" y="60"/>
                  </a:lnTo>
                  <a:lnTo>
                    <a:pt x="57" y="58"/>
                  </a:lnTo>
                  <a:lnTo>
                    <a:pt x="57" y="60"/>
                  </a:lnTo>
                  <a:lnTo>
                    <a:pt x="55" y="60"/>
                  </a:lnTo>
                  <a:lnTo>
                    <a:pt x="55" y="58"/>
                  </a:lnTo>
                  <a:lnTo>
                    <a:pt x="57" y="58"/>
                  </a:lnTo>
                  <a:lnTo>
                    <a:pt x="55" y="58"/>
                  </a:lnTo>
                  <a:lnTo>
                    <a:pt x="57" y="58"/>
                  </a:lnTo>
                  <a:lnTo>
                    <a:pt x="57" y="56"/>
                  </a:lnTo>
                  <a:lnTo>
                    <a:pt x="57" y="54"/>
                  </a:lnTo>
                  <a:lnTo>
                    <a:pt x="57" y="52"/>
                  </a:lnTo>
                  <a:lnTo>
                    <a:pt x="55" y="52"/>
                  </a:lnTo>
                  <a:lnTo>
                    <a:pt x="55" y="50"/>
                  </a:lnTo>
                  <a:lnTo>
                    <a:pt x="53" y="50"/>
                  </a:lnTo>
                  <a:lnTo>
                    <a:pt x="53" y="48"/>
                  </a:lnTo>
                  <a:lnTo>
                    <a:pt x="52" y="48"/>
                  </a:lnTo>
                  <a:lnTo>
                    <a:pt x="52" y="50"/>
                  </a:lnTo>
                  <a:lnTo>
                    <a:pt x="52" y="48"/>
                  </a:lnTo>
                  <a:lnTo>
                    <a:pt x="50" y="48"/>
                  </a:lnTo>
                  <a:lnTo>
                    <a:pt x="50" y="50"/>
                  </a:lnTo>
                  <a:lnTo>
                    <a:pt x="50" y="48"/>
                  </a:lnTo>
                  <a:lnTo>
                    <a:pt x="50" y="50"/>
                  </a:lnTo>
                  <a:lnTo>
                    <a:pt x="50" y="48"/>
                  </a:lnTo>
                  <a:lnTo>
                    <a:pt x="50" y="50"/>
                  </a:lnTo>
                  <a:lnTo>
                    <a:pt x="48" y="50"/>
                  </a:lnTo>
                  <a:lnTo>
                    <a:pt x="46" y="50"/>
                  </a:lnTo>
                  <a:lnTo>
                    <a:pt x="46" y="52"/>
                  </a:lnTo>
                  <a:lnTo>
                    <a:pt x="48" y="52"/>
                  </a:lnTo>
                  <a:lnTo>
                    <a:pt x="46" y="52"/>
                  </a:lnTo>
                  <a:lnTo>
                    <a:pt x="46" y="54"/>
                  </a:lnTo>
                  <a:lnTo>
                    <a:pt x="46" y="56"/>
                  </a:lnTo>
                  <a:lnTo>
                    <a:pt x="44" y="56"/>
                  </a:lnTo>
                  <a:lnTo>
                    <a:pt x="44" y="58"/>
                  </a:lnTo>
                  <a:lnTo>
                    <a:pt x="42" y="58"/>
                  </a:lnTo>
                  <a:lnTo>
                    <a:pt x="40" y="58"/>
                  </a:lnTo>
                  <a:lnTo>
                    <a:pt x="40" y="60"/>
                  </a:lnTo>
                  <a:lnTo>
                    <a:pt x="40" y="58"/>
                  </a:lnTo>
                  <a:lnTo>
                    <a:pt x="40" y="60"/>
                  </a:lnTo>
                  <a:lnTo>
                    <a:pt x="42" y="60"/>
                  </a:lnTo>
                  <a:lnTo>
                    <a:pt x="42" y="61"/>
                  </a:lnTo>
                  <a:lnTo>
                    <a:pt x="42" y="63"/>
                  </a:lnTo>
                  <a:lnTo>
                    <a:pt x="42" y="65"/>
                  </a:lnTo>
                  <a:lnTo>
                    <a:pt x="40" y="65"/>
                  </a:lnTo>
                  <a:lnTo>
                    <a:pt x="42" y="65"/>
                  </a:lnTo>
                  <a:lnTo>
                    <a:pt x="40" y="65"/>
                  </a:lnTo>
                  <a:lnTo>
                    <a:pt x="38" y="65"/>
                  </a:lnTo>
                  <a:lnTo>
                    <a:pt x="36" y="65"/>
                  </a:lnTo>
                  <a:lnTo>
                    <a:pt x="34" y="65"/>
                  </a:lnTo>
                  <a:lnTo>
                    <a:pt x="32" y="65"/>
                  </a:lnTo>
                  <a:lnTo>
                    <a:pt x="30" y="65"/>
                  </a:lnTo>
                  <a:lnTo>
                    <a:pt x="30" y="67"/>
                  </a:lnTo>
                  <a:lnTo>
                    <a:pt x="28" y="67"/>
                  </a:lnTo>
                  <a:lnTo>
                    <a:pt x="28" y="69"/>
                  </a:lnTo>
                  <a:lnTo>
                    <a:pt x="28" y="71"/>
                  </a:lnTo>
                  <a:lnTo>
                    <a:pt x="30" y="71"/>
                  </a:lnTo>
                  <a:lnTo>
                    <a:pt x="28" y="73"/>
                  </a:lnTo>
                  <a:lnTo>
                    <a:pt x="27" y="73"/>
                  </a:lnTo>
                  <a:lnTo>
                    <a:pt x="27" y="75"/>
                  </a:lnTo>
                  <a:lnTo>
                    <a:pt x="27" y="73"/>
                  </a:lnTo>
                  <a:lnTo>
                    <a:pt x="25" y="73"/>
                  </a:lnTo>
                  <a:lnTo>
                    <a:pt x="25" y="71"/>
                  </a:lnTo>
                  <a:lnTo>
                    <a:pt x="23" y="71"/>
                  </a:lnTo>
                  <a:lnTo>
                    <a:pt x="23" y="69"/>
                  </a:lnTo>
                  <a:lnTo>
                    <a:pt x="21" y="69"/>
                  </a:lnTo>
                  <a:lnTo>
                    <a:pt x="23" y="71"/>
                  </a:lnTo>
                  <a:lnTo>
                    <a:pt x="21" y="71"/>
                  </a:lnTo>
                  <a:lnTo>
                    <a:pt x="21" y="69"/>
                  </a:lnTo>
                  <a:lnTo>
                    <a:pt x="21" y="71"/>
                  </a:lnTo>
                  <a:lnTo>
                    <a:pt x="19" y="71"/>
                  </a:lnTo>
                  <a:lnTo>
                    <a:pt x="17" y="71"/>
                  </a:lnTo>
                  <a:lnTo>
                    <a:pt x="17" y="73"/>
                  </a:lnTo>
                  <a:lnTo>
                    <a:pt x="15" y="73"/>
                  </a:lnTo>
                  <a:lnTo>
                    <a:pt x="13" y="73"/>
                  </a:lnTo>
                  <a:lnTo>
                    <a:pt x="13" y="75"/>
                  </a:lnTo>
                  <a:lnTo>
                    <a:pt x="11" y="75"/>
                  </a:lnTo>
                  <a:lnTo>
                    <a:pt x="11" y="77"/>
                  </a:lnTo>
                  <a:lnTo>
                    <a:pt x="9" y="77"/>
                  </a:lnTo>
                  <a:lnTo>
                    <a:pt x="7" y="77"/>
                  </a:lnTo>
                  <a:lnTo>
                    <a:pt x="7" y="75"/>
                  </a:lnTo>
                  <a:lnTo>
                    <a:pt x="5" y="75"/>
                  </a:lnTo>
                  <a:lnTo>
                    <a:pt x="5" y="73"/>
                  </a:lnTo>
                  <a:lnTo>
                    <a:pt x="5" y="71"/>
                  </a:lnTo>
                  <a:lnTo>
                    <a:pt x="5" y="69"/>
                  </a:lnTo>
                  <a:lnTo>
                    <a:pt x="5" y="67"/>
                  </a:lnTo>
                  <a:lnTo>
                    <a:pt x="5" y="65"/>
                  </a:lnTo>
                  <a:lnTo>
                    <a:pt x="7" y="65"/>
                  </a:lnTo>
                  <a:lnTo>
                    <a:pt x="7" y="63"/>
                  </a:lnTo>
                  <a:lnTo>
                    <a:pt x="9" y="63"/>
                  </a:lnTo>
                  <a:lnTo>
                    <a:pt x="9" y="61"/>
                  </a:lnTo>
                  <a:lnTo>
                    <a:pt x="9" y="60"/>
                  </a:lnTo>
                  <a:lnTo>
                    <a:pt x="11" y="60"/>
                  </a:lnTo>
                  <a:lnTo>
                    <a:pt x="11" y="58"/>
                  </a:lnTo>
                  <a:lnTo>
                    <a:pt x="11" y="60"/>
                  </a:lnTo>
                  <a:lnTo>
                    <a:pt x="13" y="60"/>
                  </a:lnTo>
                  <a:lnTo>
                    <a:pt x="13" y="58"/>
                  </a:lnTo>
                  <a:lnTo>
                    <a:pt x="13" y="56"/>
                  </a:lnTo>
                  <a:lnTo>
                    <a:pt x="15" y="56"/>
                  </a:lnTo>
                  <a:lnTo>
                    <a:pt x="13" y="56"/>
                  </a:lnTo>
                  <a:lnTo>
                    <a:pt x="15" y="56"/>
                  </a:lnTo>
                  <a:lnTo>
                    <a:pt x="15" y="54"/>
                  </a:lnTo>
                  <a:lnTo>
                    <a:pt x="13" y="54"/>
                  </a:lnTo>
                  <a:lnTo>
                    <a:pt x="13" y="52"/>
                  </a:lnTo>
                  <a:lnTo>
                    <a:pt x="13" y="54"/>
                  </a:lnTo>
                  <a:lnTo>
                    <a:pt x="13" y="52"/>
                  </a:lnTo>
                  <a:lnTo>
                    <a:pt x="11" y="52"/>
                  </a:lnTo>
                  <a:lnTo>
                    <a:pt x="11" y="50"/>
                  </a:lnTo>
                  <a:lnTo>
                    <a:pt x="9" y="50"/>
                  </a:lnTo>
                  <a:lnTo>
                    <a:pt x="9" y="48"/>
                  </a:lnTo>
                  <a:lnTo>
                    <a:pt x="11" y="48"/>
                  </a:lnTo>
                  <a:lnTo>
                    <a:pt x="9" y="48"/>
                  </a:lnTo>
                  <a:lnTo>
                    <a:pt x="9" y="46"/>
                  </a:lnTo>
                  <a:lnTo>
                    <a:pt x="9" y="44"/>
                  </a:lnTo>
                  <a:lnTo>
                    <a:pt x="11" y="44"/>
                  </a:lnTo>
                  <a:lnTo>
                    <a:pt x="9" y="42"/>
                  </a:lnTo>
                  <a:lnTo>
                    <a:pt x="11" y="42"/>
                  </a:lnTo>
                  <a:lnTo>
                    <a:pt x="11" y="40"/>
                  </a:lnTo>
                  <a:lnTo>
                    <a:pt x="11" y="38"/>
                  </a:lnTo>
                  <a:lnTo>
                    <a:pt x="9" y="38"/>
                  </a:lnTo>
                  <a:lnTo>
                    <a:pt x="7" y="38"/>
                  </a:lnTo>
                  <a:lnTo>
                    <a:pt x="5" y="38"/>
                  </a:lnTo>
                  <a:lnTo>
                    <a:pt x="4" y="38"/>
                  </a:lnTo>
                  <a:lnTo>
                    <a:pt x="4" y="37"/>
                  </a:lnTo>
                  <a:lnTo>
                    <a:pt x="4" y="35"/>
                  </a:lnTo>
                  <a:lnTo>
                    <a:pt x="2" y="35"/>
                  </a:lnTo>
                  <a:lnTo>
                    <a:pt x="0" y="35"/>
                  </a:lnTo>
                  <a:lnTo>
                    <a:pt x="0" y="33"/>
                  </a:lnTo>
                  <a:lnTo>
                    <a:pt x="2" y="33"/>
                  </a:lnTo>
                  <a:lnTo>
                    <a:pt x="2" y="31"/>
                  </a:lnTo>
                  <a:lnTo>
                    <a:pt x="0" y="31"/>
                  </a:lnTo>
                  <a:lnTo>
                    <a:pt x="2" y="31"/>
                  </a:lnTo>
                  <a:lnTo>
                    <a:pt x="2" y="29"/>
                  </a:lnTo>
                  <a:lnTo>
                    <a:pt x="0" y="29"/>
                  </a:lnTo>
                  <a:lnTo>
                    <a:pt x="2" y="29"/>
                  </a:lnTo>
                  <a:lnTo>
                    <a:pt x="0" y="29"/>
                  </a:lnTo>
                  <a:lnTo>
                    <a:pt x="0" y="27"/>
                  </a:lnTo>
                  <a:lnTo>
                    <a:pt x="2" y="27"/>
                  </a:lnTo>
                  <a:lnTo>
                    <a:pt x="4" y="27"/>
                  </a:lnTo>
                  <a:lnTo>
                    <a:pt x="5" y="27"/>
                  </a:lnTo>
                  <a:lnTo>
                    <a:pt x="7" y="27"/>
                  </a:lnTo>
                  <a:lnTo>
                    <a:pt x="9" y="27"/>
                  </a:lnTo>
                  <a:lnTo>
                    <a:pt x="9" y="29"/>
                  </a:lnTo>
                  <a:lnTo>
                    <a:pt x="11" y="29"/>
                  </a:lnTo>
                  <a:lnTo>
                    <a:pt x="11" y="27"/>
                  </a:lnTo>
                  <a:lnTo>
                    <a:pt x="11" y="29"/>
                  </a:lnTo>
                  <a:lnTo>
                    <a:pt x="13" y="29"/>
                  </a:lnTo>
                  <a:lnTo>
                    <a:pt x="15" y="29"/>
                  </a:lnTo>
                  <a:lnTo>
                    <a:pt x="17" y="29"/>
                  </a:lnTo>
                  <a:lnTo>
                    <a:pt x="17" y="27"/>
                  </a:lnTo>
                  <a:lnTo>
                    <a:pt x="17" y="25"/>
                  </a:lnTo>
                  <a:lnTo>
                    <a:pt x="17" y="23"/>
                  </a:lnTo>
                  <a:lnTo>
                    <a:pt x="19" y="23"/>
                  </a:lnTo>
                  <a:lnTo>
                    <a:pt x="19" y="21"/>
                  </a:lnTo>
                  <a:lnTo>
                    <a:pt x="19" y="23"/>
                  </a:lnTo>
                  <a:lnTo>
                    <a:pt x="21" y="23"/>
                  </a:lnTo>
                  <a:lnTo>
                    <a:pt x="21" y="21"/>
                  </a:lnTo>
                  <a:lnTo>
                    <a:pt x="21" y="23"/>
                  </a:lnTo>
                  <a:lnTo>
                    <a:pt x="21" y="21"/>
                  </a:lnTo>
                  <a:lnTo>
                    <a:pt x="21" y="19"/>
                  </a:lnTo>
                  <a:lnTo>
                    <a:pt x="21" y="21"/>
                  </a:lnTo>
                  <a:lnTo>
                    <a:pt x="21" y="23"/>
                  </a:lnTo>
                  <a:lnTo>
                    <a:pt x="21" y="21"/>
                  </a:lnTo>
                  <a:lnTo>
                    <a:pt x="23" y="21"/>
                  </a:lnTo>
                  <a:lnTo>
                    <a:pt x="23" y="19"/>
                  </a:lnTo>
                  <a:lnTo>
                    <a:pt x="21" y="19"/>
                  </a:lnTo>
                  <a:lnTo>
                    <a:pt x="21" y="17"/>
                  </a:lnTo>
                  <a:lnTo>
                    <a:pt x="21" y="19"/>
                  </a:lnTo>
                  <a:lnTo>
                    <a:pt x="23" y="19"/>
                  </a:lnTo>
                  <a:lnTo>
                    <a:pt x="23" y="17"/>
                  </a:lnTo>
                  <a:lnTo>
                    <a:pt x="21" y="17"/>
                  </a:lnTo>
                  <a:lnTo>
                    <a:pt x="19" y="17"/>
                  </a:lnTo>
                  <a:lnTo>
                    <a:pt x="17" y="17"/>
                  </a:lnTo>
                  <a:lnTo>
                    <a:pt x="19" y="15"/>
                  </a:lnTo>
                  <a:lnTo>
                    <a:pt x="21" y="17"/>
                  </a:lnTo>
                  <a:lnTo>
                    <a:pt x="21" y="15"/>
                  </a:lnTo>
                  <a:lnTo>
                    <a:pt x="23" y="15"/>
                  </a:lnTo>
                  <a:lnTo>
                    <a:pt x="25" y="15"/>
                  </a:lnTo>
                  <a:lnTo>
                    <a:pt x="27" y="15"/>
                  </a:lnTo>
                  <a:lnTo>
                    <a:pt x="28" y="15"/>
                  </a:lnTo>
                  <a:lnTo>
                    <a:pt x="27" y="15"/>
                  </a:lnTo>
                  <a:lnTo>
                    <a:pt x="28" y="15"/>
                  </a:lnTo>
                  <a:lnTo>
                    <a:pt x="27" y="15"/>
                  </a:lnTo>
                  <a:lnTo>
                    <a:pt x="27" y="13"/>
                  </a:lnTo>
                  <a:lnTo>
                    <a:pt x="28" y="13"/>
                  </a:lnTo>
                  <a:lnTo>
                    <a:pt x="28" y="12"/>
                  </a:lnTo>
                  <a:lnTo>
                    <a:pt x="27" y="12"/>
                  </a:lnTo>
                  <a:lnTo>
                    <a:pt x="27" y="10"/>
                  </a:lnTo>
                  <a:lnTo>
                    <a:pt x="27" y="8"/>
                  </a:lnTo>
                  <a:lnTo>
                    <a:pt x="28" y="8"/>
                  </a:lnTo>
                  <a:lnTo>
                    <a:pt x="28" y="6"/>
                  </a:lnTo>
                  <a:lnTo>
                    <a:pt x="28" y="4"/>
                  </a:lnTo>
                  <a:lnTo>
                    <a:pt x="30" y="4"/>
                  </a:lnTo>
                  <a:lnTo>
                    <a:pt x="30" y="6"/>
                  </a:lnTo>
                  <a:lnTo>
                    <a:pt x="32" y="6"/>
                  </a:lnTo>
                  <a:lnTo>
                    <a:pt x="32" y="8"/>
                  </a:lnTo>
                  <a:lnTo>
                    <a:pt x="34" y="8"/>
                  </a:lnTo>
                  <a:lnTo>
                    <a:pt x="34" y="6"/>
                  </a:lnTo>
                  <a:lnTo>
                    <a:pt x="36" y="6"/>
                  </a:lnTo>
                  <a:lnTo>
                    <a:pt x="38" y="6"/>
                  </a:lnTo>
                  <a:lnTo>
                    <a:pt x="40" y="4"/>
                  </a:lnTo>
                  <a:lnTo>
                    <a:pt x="42" y="4"/>
                  </a:lnTo>
                  <a:lnTo>
                    <a:pt x="42" y="2"/>
                  </a:lnTo>
                  <a:lnTo>
                    <a:pt x="44" y="2"/>
                  </a:lnTo>
                  <a:lnTo>
                    <a:pt x="44" y="0"/>
                  </a:lnTo>
                  <a:lnTo>
                    <a:pt x="46" y="0"/>
                  </a:lnTo>
                  <a:lnTo>
                    <a:pt x="46" y="2"/>
                  </a:lnTo>
                  <a:lnTo>
                    <a:pt x="48" y="2"/>
                  </a:lnTo>
                  <a:lnTo>
                    <a:pt x="48" y="4"/>
                  </a:lnTo>
                  <a:lnTo>
                    <a:pt x="48" y="6"/>
                  </a:lnTo>
                  <a:lnTo>
                    <a:pt x="48" y="4"/>
                  </a:lnTo>
                  <a:lnTo>
                    <a:pt x="48" y="6"/>
                  </a:lnTo>
                  <a:lnTo>
                    <a:pt x="50" y="6"/>
                  </a:lnTo>
                  <a:lnTo>
                    <a:pt x="48" y="6"/>
                  </a:lnTo>
                  <a:lnTo>
                    <a:pt x="48" y="8"/>
                  </a:lnTo>
                  <a:lnTo>
                    <a:pt x="46" y="8"/>
                  </a:lnTo>
                  <a:lnTo>
                    <a:pt x="46" y="10"/>
                  </a:lnTo>
                  <a:lnTo>
                    <a:pt x="44" y="10"/>
                  </a:lnTo>
                  <a:lnTo>
                    <a:pt x="44" y="12"/>
                  </a:lnTo>
                  <a:lnTo>
                    <a:pt x="42" y="12"/>
                  </a:lnTo>
                  <a:lnTo>
                    <a:pt x="44" y="12"/>
                  </a:lnTo>
                  <a:lnTo>
                    <a:pt x="44" y="13"/>
                  </a:lnTo>
                  <a:lnTo>
                    <a:pt x="46" y="13"/>
                  </a:lnTo>
                  <a:lnTo>
                    <a:pt x="46" y="15"/>
                  </a:lnTo>
                  <a:lnTo>
                    <a:pt x="48" y="15"/>
                  </a:lnTo>
                  <a:lnTo>
                    <a:pt x="50" y="15"/>
                  </a:lnTo>
                  <a:lnTo>
                    <a:pt x="52" y="15"/>
                  </a:lnTo>
                  <a:close/>
                  <a:moveTo>
                    <a:pt x="46" y="21"/>
                  </a:moveTo>
                  <a:lnTo>
                    <a:pt x="48" y="21"/>
                  </a:lnTo>
                  <a:lnTo>
                    <a:pt x="48" y="23"/>
                  </a:lnTo>
                  <a:lnTo>
                    <a:pt x="46" y="23"/>
                  </a:lnTo>
                  <a:lnTo>
                    <a:pt x="46" y="21"/>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342">
              <a:extLst>
                <a:ext uri="{FF2B5EF4-FFF2-40B4-BE49-F238E27FC236}">
                  <a16:creationId xmlns:a16="http://schemas.microsoft.com/office/drawing/2014/main" id="{D8776B83-7444-46B3-9BFB-107763A854D7}"/>
                </a:ext>
              </a:extLst>
            </p:cNvPr>
            <p:cNvSpPr>
              <a:spLocks noEditPoints="1"/>
            </p:cNvSpPr>
            <p:nvPr/>
          </p:nvSpPr>
          <p:spPr bwMode="gray">
            <a:xfrm>
              <a:off x="4451808" y="3504398"/>
              <a:ext cx="197447" cy="96884"/>
            </a:xfrm>
            <a:custGeom>
              <a:avLst/>
              <a:gdLst>
                <a:gd name="T0" fmla="*/ 155 w 161"/>
                <a:gd name="T1" fmla="*/ 25 h 79"/>
                <a:gd name="T2" fmla="*/ 147 w 161"/>
                <a:gd name="T3" fmla="*/ 29 h 79"/>
                <a:gd name="T4" fmla="*/ 140 w 161"/>
                <a:gd name="T5" fmla="*/ 32 h 79"/>
                <a:gd name="T6" fmla="*/ 132 w 161"/>
                <a:gd name="T7" fmla="*/ 36 h 79"/>
                <a:gd name="T8" fmla="*/ 124 w 161"/>
                <a:gd name="T9" fmla="*/ 44 h 79"/>
                <a:gd name="T10" fmla="*/ 113 w 161"/>
                <a:gd name="T11" fmla="*/ 44 h 79"/>
                <a:gd name="T12" fmla="*/ 107 w 161"/>
                <a:gd name="T13" fmla="*/ 52 h 79"/>
                <a:gd name="T14" fmla="*/ 99 w 161"/>
                <a:gd name="T15" fmla="*/ 56 h 79"/>
                <a:gd name="T16" fmla="*/ 94 w 161"/>
                <a:gd name="T17" fmla="*/ 54 h 79"/>
                <a:gd name="T18" fmla="*/ 84 w 161"/>
                <a:gd name="T19" fmla="*/ 56 h 79"/>
                <a:gd name="T20" fmla="*/ 78 w 161"/>
                <a:gd name="T21" fmla="*/ 57 h 79"/>
                <a:gd name="T22" fmla="*/ 71 w 161"/>
                <a:gd name="T23" fmla="*/ 61 h 79"/>
                <a:gd name="T24" fmla="*/ 69 w 161"/>
                <a:gd name="T25" fmla="*/ 71 h 79"/>
                <a:gd name="T26" fmla="*/ 63 w 161"/>
                <a:gd name="T27" fmla="*/ 73 h 79"/>
                <a:gd name="T28" fmla="*/ 59 w 161"/>
                <a:gd name="T29" fmla="*/ 77 h 79"/>
                <a:gd name="T30" fmla="*/ 51 w 161"/>
                <a:gd name="T31" fmla="*/ 77 h 79"/>
                <a:gd name="T32" fmla="*/ 44 w 161"/>
                <a:gd name="T33" fmla="*/ 77 h 79"/>
                <a:gd name="T34" fmla="*/ 40 w 161"/>
                <a:gd name="T35" fmla="*/ 77 h 79"/>
                <a:gd name="T36" fmla="*/ 34 w 161"/>
                <a:gd name="T37" fmla="*/ 71 h 79"/>
                <a:gd name="T38" fmla="*/ 23 w 161"/>
                <a:gd name="T39" fmla="*/ 75 h 79"/>
                <a:gd name="T40" fmla="*/ 15 w 161"/>
                <a:gd name="T41" fmla="*/ 71 h 79"/>
                <a:gd name="T42" fmla="*/ 11 w 161"/>
                <a:gd name="T43" fmla="*/ 71 h 79"/>
                <a:gd name="T44" fmla="*/ 3 w 161"/>
                <a:gd name="T45" fmla="*/ 73 h 79"/>
                <a:gd name="T46" fmla="*/ 0 w 161"/>
                <a:gd name="T47" fmla="*/ 65 h 79"/>
                <a:gd name="T48" fmla="*/ 3 w 161"/>
                <a:gd name="T49" fmla="*/ 61 h 79"/>
                <a:gd name="T50" fmla="*/ 15 w 161"/>
                <a:gd name="T51" fmla="*/ 61 h 79"/>
                <a:gd name="T52" fmla="*/ 21 w 161"/>
                <a:gd name="T53" fmla="*/ 63 h 79"/>
                <a:gd name="T54" fmla="*/ 26 w 161"/>
                <a:gd name="T55" fmla="*/ 57 h 79"/>
                <a:gd name="T56" fmla="*/ 36 w 161"/>
                <a:gd name="T57" fmla="*/ 59 h 79"/>
                <a:gd name="T58" fmla="*/ 40 w 161"/>
                <a:gd name="T59" fmla="*/ 56 h 79"/>
                <a:gd name="T60" fmla="*/ 48 w 161"/>
                <a:gd name="T61" fmla="*/ 54 h 79"/>
                <a:gd name="T62" fmla="*/ 55 w 161"/>
                <a:gd name="T63" fmla="*/ 50 h 79"/>
                <a:gd name="T64" fmla="*/ 53 w 161"/>
                <a:gd name="T65" fmla="*/ 48 h 79"/>
                <a:gd name="T66" fmla="*/ 48 w 161"/>
                <a:gd name="T67" fmla="*/ 46 h 79"/>
                <a:gd name="T68" fmla="*/ 44 w 161"/>
                <a:gd name="T69" fmla="*/ 42 h 79"/>
                <a:gd name="T70" fmla="*/ 38 w 161"/>
                <a:gd name="T71" fmla="*/ 36 h 79"/>
                <a:gd name="T72" fmla="*/ 32 w 161"/>
                <a:gd name="T73" fmla="*/ 40 h 79"/>
                <a:gd name="T74" fmla="*/ 26 w 161"/>
                <a:gd name="T75" fmla="*/ 42 h 79"/>
                <a:gd name="T76" fmla="*/ 21 w 161"/>
                <a:gd name="T77" fmla="*/ 36 h 79"/>
                <a:gd name="T78" fmla="*/ 13 w 161"/>
                <a:gd name="T79" fmla="*/ 32 h 79"/>
                <a:gd name="T80" fmla="*/ 23 w 161"/>
                <a:gd name="T81" fmla="*/ 27 h 79"/>
                <a:gd name="T82" fmla="*/ 26 w 161"/>
                <a:gd name="T83" fmla="*/ 23 h 79"/>
                <a:gd name="T84" fmla="*/ 23 w 161"/>
                <a:gd name="T85" fmla="*/ 19 h 79"/>
                <a:gd name="T86" fmla="*/ 28 w 161"/>
                <a:gd name="T87" fmla="*/ 13 h 79"/>
                <a:gd name="T88" fmla="*/ 32 w 161"/>
                <a:gd name="T89" fmla="*/ 9 h 79"/>
                <a:gd name="T90" fmla="*/ 44 w 161"/>
                <a:gd name="T91" fmla="*/ 9 h 79"/>
                <a:gd name="T92" fmla="*/ 53 w 161"/>
                <a:gd name="T93" fmla="*/ 15 h 79"/>
                <a:gd name="T94" fmla="*/ 59 w 161"/>
                <a:gd name="T95" fmla="*/ 17 h 79"/>
                <a:gd name="T96" fmla="*/ 63 w 161"/>
                <a:gd name="T97" fmla="*/ 9 h 79"/>
                <a:gd name="T98" fmla="*/ 69 w 161"/>
                <a:gd name="T99" fmla="*/ 2 h 79"/>
                <a:gd name="T100" fmla="*/ 74 w 161"/>
                <a:gd name="T101" fmla="*/ 0 h 79"/>
                <a:gd name="T102" fmla="*/ 84 w 161"/>
                <a:gd name="T103" fmla="*/ 6 h 79"/>
                <a:gd name="T104" fmla="*/ 92 w 161"/>
                <a:gd name="T105" fmla="*/ 9 h 79"/>
                <a:gd name="T106" fmla="*/ 99 w 161"/>
                <a:gd name="T107" fmla="*/ 6 h 79"/>
                <a:gd name="T108" fmla="*/ 109 w 161"/>
                <a:gd name="T109" fmla="*/ 8 h 79"/>
                <a:gd name="T110" fmla="*/ 119 w 161"/>
                <a:gd name="T111" fmla="*/ 6 h 79"/>
                <a:gd name="T112" fmla="*/ 132 w 161"/>
                <a:gd name="T113" fmla="*/ 8 h 79"/>
                <a:gd name="T114" fmla="*/ 142 w 161"/>
                <a:gd name="T115" fmla="*/ 9 h 79"/>
                <a:gd name="T116" fmla="*/ 151 w 161"/>
                <a:gd name="T117" fmla="*/ 15 h 79"/>
                <a:gd name="T118" fmla="*/ 159 w 161"/>
                <a:gd name="T119" fmla="*/ 19 h 79"/>
                <a:gd name="T120" fmla="*/ 28 w 161"/>
                <a:gd name="T121" fmla="*/ 65 h 79"/>
                <a:gd name="T122" fmla="*/ 21 w 161"/>
                <a:gd name="T123" fmla="*/ 65 h 79"/>
                <a:gd name="T124" fmla="*/ 36 w 161"/>
                <a:gd name="T125" fmla="*/ 6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1" h="79">
                  <a:moveTo>
                    <a:pt x="161" y="21"/>
                  </a:moveTo>
                  <a:lnTo>
                    <a:pt x="159" y="21"/>
                  </a:lnTo>
                  <a:lnTo>
                    <a:pt x="159" y="23"/>
                  </a:lnTo>
                  <a:lnTo>
                    <a:pt x="161" y="23"/>
                  </a:lnTo>
                  <a:lnTo>
                    <a:pt x="159" y="23"/>
                  </a:lnTo>
                  <a:lnTo>
                    <a:pt x="159" y="25"/>
                  </a:lnTo>
                  <a:lnTo>
                    <a:pt x="157" y="25"/>
                  </a:lnTo>
                  <a:lnTo>
                    <a:pt x="155" y="25"/>
                  </a:lnTo>
                  <a:lnTo>
                    <a:pt x="155" y="27"/>
                  </a:lnTo>
                  <a:lnTo>
                    <a:pt x="153" y="27"/>
                  </a:lnTo>
                  <a:lnTo>
                    <a:pt x="151" y="27"/>
                  </a:lnTo>
                  <a:lnTo>
                    <a:pt x="151" y="29"/>
                  </a:lnTo>
                  <a:lnTo>
                    <a:pt x="149" y="29"/>
                  </a:lnTo>
                  <a:lnTo>
                    <a:pt x="147" y="29"/>
                  </a:lnTo>
                  <a:lnTo>
                    <a:pt x="145" y="29"/>
                  </a:lnTo>
                  <a:lnTo>
                    <a:pt x="147" y="29"/>
                  </a:lnTo>
                  <a:lnTo>
                    <a:pt x="145" y="29"/>
                  </a:lnTo>
                  <a:lnTo>
                    <a:pt x="145" y="31"/>
                  </a:lnTo>
                  <a:lnTo>
                    <a:pt x="143" y="31"/>
                  </a:lnTo>
                  <a:lnTo>
                    <a:pt x="143" y="32"/>
                  </a:lnTo>
                  <a:lnTo>
                    <a:pt x="142" y="32"/>
                  </a:lnTo>
                  <a:lnTo>
                    <a:pt x="142" y="31"/>
                  </a:lnTo>
                  <a:lnTo>
                    <a:pt x="142" y="32"/>
                  </a:lnTo>
                  <a:lnTo>
                    <a:pt x="140" y="32"/>
                  </a:lnTo>
                  <a:lnTo>
                    <a:pt x="140" y="34"/>
                  </a:lnTo>
                  <a:lnTo>
                    <a:pt x="140" y="32"/>
                  </a:lnTo>
                  <a:lnTo>
                    <a:pt x="140" y="34"/>
                  </a:lnTo>
                  <a:lnTo>
                    <a:pt x="138" y="34"/>
                  </a:lnTo>
                  <a:lnTo>
                    <a:pt x="136" y="34"/>
                  </a:lnTo>
                  <a:lnTo>
                    <a:pt x="136" y="36"/>
                  </a:lnTo>
                  <a:lnTo>
                    <a:pt x="134" y="36"/>
                  </a:lnTo>
                  <a:lnTo>
                    <a:pt x="132" y="36"/>
                  </a:lnTo>
                  <a:lnTo>
                    <a:pt x="130" y="36"/>
                  </a:lnTo>
                  <a:lnTo>
                    <a:pt x="130" y="38"/>
                  </a:lnTo>
                  <a:lnTo>
                    <a:pt x="130" y="40"/>
                  </a:lnTo>
                  <a:lnTo>
                    <a:pt x="128" y="40"/>
                  </a:lnTo>
                  <a:lnTo>
                    <a:pt x="126" y="40"/>
                  </a:lnTo>
                  <a:lnTo>
                    <a:pt x="126" y="42"/>
                  </a:lnTo>
                  <a:lnTo>
                    <a:pt x="124" y="42"/>
                  </a:lnTo>
                  <a:lnTo>
                    <a:pt x="124" y="44"/>
                  </a:lnTo>
                  <a:lnTo>
                    <a:pt x="122" y="44"/>
                  </a:lnTo>
                  <a:lnTo>
                    <a:pt x="120" y="44"/>
                  </a:lnTo>
                  <a:lnTo>
                    <a:pt x="119" y="44"/>
                  </a:lnTo>
                  <a:lnTo>
                    <a:pt x="117" y="44"/>
                  </a:lnTo>
                  <a:lnTo>
                    <a:pt x="115" y="44"/>
                  </a:lnTo>
                  <a:lnTo>
                    <a:pt x="113" y="44"/>
                  </a:lnTo>
                  <a:lnTo>
                    <a:pt x="113" y="42"/>
                  </a:lnTo>
                  <a:lnTo>
                    <a:pt x="113" y="44"/>
                  </a:lnTo>
                  <a:lnTo>
                    <a:pt x="111" y="44"/>
                  </a:lnTo>
                  <a:lnTo>
                    <a:pt x="111" y="46"/>
                  </a:lnTo>
                  <a:lnTo>
                    <a:pt x="109" y="46"/>
                  </a:lnTo>
                  <a:lnTo>
                    <a:pt x="109" y="48"/>
                  </a:lnTo>
                  <a:lnTo>
                    <a:pt x="107" y="50"/>
                  </a:lnTo>
                  <a:lnTo>
                    <a:pt x="109" y="50"/>
                  </a:lnTo>
                  <a:lnTo>
                    <a:pt x="109" y="52"/>
                  </a:lnTo>
                  <a:lnTo>
                    <a:pt x="107" y="52"/>
                  </a:lnTo>
                  <a:lnTo>
                    <a:pt x="107" y="54"/>
                  </a:lnTo>
                  <a:lnTo>
                    <a:pt x="107" y="56"/>
                  </a:lnTo>
                  <a:lnTo>
                    <a:pt x="105" y="56"/>
                  </a:lnTo>
                  <a:lnTo>
                    <a:pt x="103" y="56"/>
                  </a:lnTo>
                  <a:lnTo>
                    <a:pt x="103" y="57"/>
                  </a:lnTo>
                  <a:lnTo>
                    <a:pt x="103" y="56"/>
                  </a:lnTo>
                  <a:lnTo>
                    <a:pt x="101" y="56"/>
                  </a:lnTo>
                  <a:lnTo>
                    <a:pt x="99" y="56"/>
                  </a:lnTo>
                  <a:lnTo>
                    <a:pt x="99" y="57"/>
                  </a:lnTo>
                  <a:lnTo>
                    <a:pt x="99" y="56"/>
                  </a:lnTo>
                  <a:lnTo>
                    <a:pt x="97" y="56"/>
                  </a:lnTo>
                  <a:lnTo>
                    <a:pt x="97" y="57"/>
                  </a:lnTo>
                  <a:lnTo>
                    <a:pt x="96" y="57"/>
                  </a:lnTo>
                  <a:lnTo>
                    <a:pt x="94" y="57"/>
                  </a:lnTo>
                  <a:lnTo>
                    <a:pt x="94" y="56"/>
                  </a:lnTo>
                  <a:lnTo>
                    <a:pt x="94" y="54"/>
                  </a:lnTo>
                  <a:lnTo>
                    <a:pt x="94" y="52"/>
                  </a:lnTo>
                  <a:lnTo>
                    <a:pt x="92" y="52"/>
                  </a:lnTo>
                  <a:lnTo>
                    <a:pt x="90" y="52"/>
                  </a:lnTo>
                  <a:lnTo>
                    <a:pt x="90" y="54"/>
                  </a:lnTo>
                  <a:lnTo>
                    <a:pt x="88" y="54"/>
                  </a:lnTo>
                  <a:lnTo>
                    <a:pt x="88" y="56"/>
                  </a:lnTo>
                  <a:lnTo>
                    <a:pt x="86" y="56"/>
                  </a:lnTo>
                  <a:lnTo>
                    <a:pt x="84" y="56"/>
                  </a:lnTo>
                  <a:lnTo>
                    <a:pt x="84" y="54"/>
                  </a:lnTo>
                  <a:lnTo>
                    <a:pt x="82" y="54"/>
                  </a:lnTo>
                  <a:lnTo>
                    <a:pt x="82" y="56"/>
                  </a:lnTo>
                  <a:lnTo>
                    <a:pt x="80" y="56"/>
                  </a:lnTo>
                  <a:lnTo>
                    <a:pt x="82" y="56"/>
                  </a:lnTo>
                  <a:lnTo>
                    <a:pt x="82" y="57"/>
                  </a:lnTo>
                  <a:lnTo>
                    <a:pt x="80" y="57"/>
                  </a:lnTo>
                  <a:lnTo>
                    <a:pt x="78" y="57"/>
                  </a:lnTo>
                  <a:lnTo>
                    <a:pt x="80" y="57"/>
                  </a:lnTo>
                  <a:lnTo>
                    <a:pt x="78" y="57"/>
                  </a:lnTo>
                  <a:lnTo>
                    <a:pt x="78" y="59"/>
                  </a:lnTo>
                  <a:lnTo>
                    <a:pt x="76" y="59"/>
                  </a:lnTo>
                  <a:lnTo>
                    <a:pt x="76" y="61"/>
                  </a:lnTo>
                  <a:lnTo>
                    <a:pt x="74" y="61"/>
                  </a:lnTo>
                  <a:lnTo>
                    <a:pt x="72" y="61"/>
                  </a:lnTo>
                  <a:lnTo>
                    <a:pt x="71" y="61"/>
                  </a:lnTo>
                  <a:lnTo>
                    <a:pt x="69" y="61"/>
                  </a:lnTo>
                  <a:lnTo>
                    <a:pt x="69" y="63"/>
                  </a:lnTo>
                  <a:lnTo>
                    <a:pt x="69" y="65"/>
                  </a:lnTo>
                  <a:lnTo>
                    <a:pt x="69" y="67"/>
                  </a:lnTo>
                  <a:lnTo>
                    <a:pt x="67" y="67"/>
                  </a:lnTo>
                  <a:lnTo>
                    <a:pt x="67" y="69"/>
                  </a:lnTo>
                  <a:lnTo>
                    <a:pt x="69" y="69"/>
                  </a:lnTo>
                  <a:lnTo>
                    <a:pt x="69" y="71"/>
                  </a:lnTo>
                  <a:lnTo>
                    <a:pt x="69" y="73"/>
                  </a:lnTo>
                  <a:lnTo>
                    <a:pt x="67" y="73"/>
                  </a:lnTo>
                  <a:lnTo>
                    <a:pt x="67" y="75"/>
                  </a:lnTo>
                  <a:lnTo>
                    <a:pt x="65" y="75"/>
                  </a:lnTo>
                  <a:lnTo>
                    <a:pt x="65" y="73"/>
                  </a:lnTo>
                  <a:lnTo>
                    <a:pt x="65" y="75"/>
                  </a:lnTo>
                  <a:lnTo>
                    <a:pt x="65" y="73"/>
                  </a:lnTo>
                  <a:lnTo>
                    <a:pt x="63" y="73"/>
                  </a:lnTo>
                  <a:lnTo>
                    <a:pt x="63" y="75"/>
                  </a:lnTo>
                  <a:lnTo>
                    <a:pt x="63" y="73"/>
                  </a:lnTo>
                  <a:lnTo>
                    <a:pt x="63" y="75"/>
                  </a:lnTo>
                  <a:lnTo>
                    <a:pt x="63" y="73"/>
                  </a:lnTo>
                  <a:lnTo>
                    <a:pt x="61" y="73"/>
                  </a:lnTo>
                  <a:lnTo>
                    <a:pt x="61" y="75"/>
                  </a:lnTo>
                  <a:lnTo>
                    <a:pt x="59" y="75"/>
                  </a:lnTo>
                  <a:lnTo>
                    <a:pt x="59" y="77"/>
                  </a:lnTo>
                  <a:lnTo>
                    <a:pt x="57" y="77"/>
                  </a:lnTo>
                  <a:lnTo>
                    <a:pt x="57" y="75"/>
                  </a:lnTo>
                  <a:lnTo>
                    <a:pt x="55" y="75"/>
                  </a:lnTo>
                  <a:lnTo>
                    <a:pt x="55" y="77"/>
                  </a:lnTo>
                  <a:lnTo>
                    <a:pt x="53" y="77"/>
                  </a:lnTo>
                  <a:lnTo>
                    <a:pt x="53" y="75"/>
                  </a:lnTo>
                  <a:lnTo>
                    <a:pt x="53" y="77"/>
                  </a:lnTo>
                  <a:lnTo>
                    <a:pt x="51" y="77"/>
                  </a:lnTo>
                  <a:lnTo>
                    <a:pt x="51" y="75"/>
                  </a:lnTo>
                  <a:lnTo>
                    <a:pt x="49" y="75"/>
                  </a:lnTo>
                  <a:lnTo>
                    <a:pt x="49" y="77"/>
                  </a:lnTo>
                  <a:lnTo>
                    <a:pt x="48" y="77"/>
                  </a:lnTo>
                  <a:lnTo>
                    <a:pt x="48" y="75"/>
                  </a:lnTo>
                  <a:lnTo>
                    <a:pt x="48" y="77"/>
                  </a:lnTo>
                  <a:lnTo>
                    <a:pt x="46" y="77"/>
                  </a:lnTo>
                  <a:lnTo>
                    <a:pt x="44" y="77"/>
                  </a:lnTo>
                  <a:lnTo>
                    <a:pt x="46" y="77"/>
                  </a:lnTo>
                  <a:lnTo>
                    <a:pt x="44" y="77"/>
                  </a:lnTo>
                  <a:lnTo>
                    <a:pt x="44" y="79"/>
                  </a:lnTo>
                  <a:lnTo>
                    <a:pt x="42" y="79"/>
                  </a:lnTo>
                  <a:lnTo>
                    <a:pt x="42" y="77"/>
                  </a:lnTo>
                  <a:lnTo>
                    <a:pt x="40" y="77"/>
                  </a:lnTo>
                  <a:lnTo>
                    <a:pt x="40" y="75"/>
                  </a:lnTo>
                  <a:lnTo>
                    <a:pt x="40" y="77"/>
                  </a:lnTo>
                  <a:lnTo>
                    <a:pt x="38" y="77"/>
                  </a:lnTo>
                  <a:lnTo>
                    <a:pt x="36" y="77"/>
                  </a:lnTo>
                  <a:lnTo>
                    <a:pt x="36" y="75"/>
                  </a:lnTo>
                  <a:lnTo>
                    <a:pt x="38" y="75"/>
                  </a:lnTo>
                  <a:lnTo>
                    <a:pt x="36" y="75"/>
                  </a:lnTo>
                  <a:lnTo>
                    <a:pt x="34" y="75"/>
                  </a:lnTo>
                  <a:lnTo>
                    <a:pt x="34" y="73"/>
                  </a:lnTo>
                  <a:lnTo>
                    <a:pt x="34" y="71"/>
                  </a:lnTo>
                  <a:lnTo>
                    <a:pt x="32" y="71"/>
                  </a:lnTo>
                  <a:lnTo>
                    <a:pt x="30" y="71"/>
                  </a:lnTo>
                  <a:lnTo>
                    <a:pt x="30" y="73"/>
                  </a:lnTo>
                  <a:lnTo>
                    <a:pt x="28" y="73"/>
                  </a:lnTo>
                  <a:lnTo>
                    <a:pt x="26" y="73"/>
                  </a:lnTo>
                  <a:lnTo>
                    <a:pt x="26" y="75"/>
                  </a:lnTo>
                  <a:lnTo>
                    <a:pt x="25" y="75"/>
                  </a:lnTo>
                  <a:lnTo>
                    <a:pt x="23" y="75"/>
                  </a:lnTo>
                  <a:lnTo>
                    <a:pt x="23" y="73"/>
                  </a:lnTo>
                  <a:lnTo>
                    <a:pt x="21" y="73"/>
                  </a:lnTo>
                  <a:lnTo>
                    <a:pt x="21" y="71"/>
                  </a:lnTo>
                  <a:lnTo>
                    <a:pt x="19" y="71"/>
                  </a:lnTo>
                  <a:lnTo>
                    <a:pt x="17" y="71"/>
                  </a:lnTo>
                  <a:lnTo>
                    <a:pt x="15" y="71"/>
                  </a:lnTo>
                  <a:lnTo>
                    <a:pt x="15" y="73"/>
                  </a:lnTo>
                  <a:lnTo>
                    <a:pt x="15" y="71"/>
                  </a:lnTo>
                  <a:lnTo>
                    <a:pt x="13" y="71"/>
                  </a:lnTo>
                  <a:lnTo>
                    <a:pt x="13" y="73"/>
                  </a:lnTo>
                  <a:lnTo>
                    <a:pt x="13" y="71"/>
                  </a:lnTo>
                  <a:lnTo>
                    <a:pt x="11" y="71"/>
                  </a:lnTo>
                  <a:lnTo>
                    <a:pt x="11" y="73"/>
                  </a:lnTo>
                  <a:lnTo>
                    <a:pt x="11" y="71"/>
                  </a:lnTo>
                  <a:lnTo>
                    <a:pt x="11" y="73"/>
                  </a:lnTo>
                  <a:lnTo>
                    <a:pt x="11" y="71"/>
                  </a:lnTo>
                  <a:lnTo>
                    <a:pt x="9" y="73"/>
                  </a:lnTo>
                  <a:lnTo>
                    <a:pt x="9" y="71"/>
                  </a:lnTo>
                  <a:lnTo>
                    <a:pt x="9" y="73"/>
                  </a:lnTo>
                  <a:lnTo>
                    <a:pt x="7" y="73"/>
                  </a:lnTo>
                  <a:lnTo>
                    <a:pt x="7" y="71"/>
                  </a:lnTo>
                  <a:lnTo>
                    <a:pt x="5" y="71"/>
                  </a:lnTo>
                  <a:lnTo>
                    <a:pt x="5" y="73"/>
                  </a:lnTo>
                  <a:lnTo>
                    <a:pt x="3" y="73"/>
                  </a:lnTo>
                  <a:lnTo>
                    <a:pt x="1" y="73"/>
                  </a:lnTo>
                  <a:lnTo>
                    <a:pt x="1" y="71"/>
                  </a:lnTo>
                  <a:lnTo>
                    <a:pt x="1" y="69"/>
                  </a:lnTo>
                  <a:lnTo>
                    <a:pt x="0" y="69"/>
                  </a:lnTo>
                  <a:lnTo>
                    <a:pt x="0" y="67"/>
                  </a:lnTo>
                  <a:lnTo>
                    <a:pt x="1" y="67"/>
                  </a:lnTo>
                  <a:lnTo>
                    <a:pt x="1" y="65"/>
                  </a:lnTo>
                  <a:lnTo>
                    <a:pt x="0" y="65"/>
                  </a:lnTo>
                  <a:lnTo>
                    <a:pt x="1" y="65"/>
                  </a:lnTo>
                  <a:lnTo>
                    <a:pt x="1" y="63"/>
                  </a:lnTo>
                  <a:lnTo>
                    <a:pt x="3" y="63"/>
                  </a:lnTo>
                  <a:lnTo>
                    <a:pt x="3" y="65"/>
                  </a:lnTo>
                  <a:lnTo>
                    <a:pt x="1" y="65"/>
                  </a:lnTo>
                  <a:lnTo>
                    <a:pt x="3" y="65"/>
                  </a:lnTo>
                  <a:lnTo>
                    <a:pt x="3" y="63"/>
                  </a:lnTo>
                  <a:lnTo>
                    <a:pt x="3" y="61"/>
                  </a:lnTo>
                  <a:lnTo>
                    <a:pt x="5" y="61"/>
                  </a:lnTo>
                  <a:lnTo>
                    <a:pt x="7" y="61"/>
                  </a:lnTo>
                  <a:lnTo>
                    <a:pt x="9" y="61"/>
                  </a:lnTo>
                  <a:lnTo>
                    <a:pt x="9" y="59"/>
                  </a:lnTo>
                  <a:lnTo>
                    <a:pt x="11" y="59"/>
                  </a:lnTo>
                  <a:lnTo>
                    <a:pt x="13" y="59"/>
                  </a:lnTo>
                  <a:lnTo>
                    <a:pt x="13" y="61"/>
                  </a:lnTo>
                  <a:lnTo>
                    <a:pt x="15" y="61"/>
                  </a:lnTo>
                  <a:lnTo>
                    <a:pt x="17" y="61"/>
                  </a:lnTo>
                  <a:lnTo>
                    <a:pt x="17" y="63"/>
                  </a:lnTo>
                  <a:lnTo>
                    <a:pt x="19" y="63"/>
                  </a:lnTo>
                  <a:lnTo>
                    <a:pt x="19" y="65"/>
                  </a:lnTo>
                  <a:lnTo>
                    <a:pt x="17" y="65"/>
                  </a:lnTo>
                  <a:lnTo>
                    <a:pt x="19" y="65"/>
                  </a:lnTo>
                  <a:lnTo>
                    <a:pt x="21" y="65"/>
                  </a:lnTo>
                  <a:lnTo>
                    <a:pt x="21" y="63"/>
                  </a:lnTo>
                  <a:lnTo>
                    <a:pt x="21" y="61"/>
                  </a:lnTo>
                  <a:lnTo>
                    <a:pt x="23" y="61"/>
                  </a:lnTo>
                  <a:lnTo>
                    <a:pt x="23" y="59"/>
                  </a:lnTo>
                  <a:lnTo>
                    <a:pt x="23" y="61"/>
                  </a:lnTo>
                  <a:lnTo>
                    <a:pt x="25" y="61"/>
                  </a:lnTo>
                  <a:lnTo>
                    <a:pt x="25" y="59"/>
                  </a:lnTo>
                  <a:lnTo>
                    <a:pt x="25" y="57"/>
                  </a:lnTo>
                  <a:lnTo>
                    <a:pt x="26" y="57"/>
                  </a:lnTo>
                  <a:lnTo>
                    <a:pt x="28" y="57"/>
                  </a:lnTo>
                  <a:lnTo>
                    <a:pt x="30" y="57"/>
                  </a:lnTo>
                  <a:lnTo>
                    <a:pt x="32" y="57"/>
                  </a:lnTo>
                  <a:lnTo>
                    <a:pt x="32" y="59"/>
                  </a:lnTo>
                  <a:lnTo>
                    <a:pt x="34" y="59"/>
                  </a:lnTo>
                  <a:lnTo>
                    <a:pt x="36" y="59"/>
                  </a:lnTo>
                  <a:lnTo>
                    <a:pt x="36" y="61"/>
                  </a:lnTo>
                  <a:lnTo>
                    <a:pt x="36" y="59"/>
                  </a:lnTo>
                  <a:lnTo>
                    <a:pt x="38" y="59"/>
                  </a:lnTo>
                  <a:lnTo>
                    <a:pt x="40" y="59"/>
                  </a:lnTo>
                  <a:lnTo>
                    <a:pt x="40" y="57"/>
                  </a:lnTo>
                  <a:lnTo>
                    <a:pt x="40" y="59"/>
                  </a:lnTo>
                  <a:lnTo>
                    <a:pt x="40" y="57"/>
                  </a:lnTo>
                  <a:lnTo>
                    <a:pt x="42" y="57"/>
                  </a:lnTo>
                  <a:lnTo>
                    <a:pt x="40" y="57"/>
                  </a:lnTo>
                  <a:lnTo>
                    <a:pt x="40" y="56"/>
                  </a:lnTo>
                  <a:lnTo>
                    <a:pt x="42" y="56"/>
                  </a:lnTo>
                  <a:lnTo>
                    <a:pt x="42" y="54"/>
                  </a:lnTo>
                  <a:lnTo>
                    <a:pt x="44" y="54"/>
                  </a:lnTo>
                  <a:lnTo>
                    <a:pt x="44" y="56"/>
                  </a:lnTo>
                  <a:lnTo>
                    <a:pt x="46" y="56"/>
                  </a:lnTo>
                  <a:lnTo>
                    <a:pt x="46" y="54"/>
                  </a:lnTo>
                  <a:lnTo>
                    <a:pt x="46" y="52"/>
                  </a:lnTo>
                  <a:lnTo>
                    <a:pt x="48" y="54"/>
                  </a:lnTo>
                  <a:lnTo>
                    <a:pt x="49" y="54"/>
                  </a:lnTo>
                  <a:lnTo>
                    <a:pt x="49" y="52"/>
                  </a:lnTo>
                  <a:lnTo>
                    <a:pt x="51" y="52"/>
                  </a:lnTo>
                  <a:lnTo>
                    <a:pt x="51" y="54"/>
                  </a:lnTo>
                  <a:lnTo>
                    <a:pt x="51" y="52"/>
                  </a:lnTo>
                  <a:lnTo>
                    <a:pt x="51" y="50"/>
                  </a:lnTo>
                  <a:lnTo>
                    <a:pt x="53" y="50"/>
                  </a:lnTo>
                  <a:lnTo>
                    <a:pt x="55" y="50"/>
                  </a:lnTo>
                  <a:lnTo>
                    <a:pt x="55" y="48"/>
                  </a:lnTo>
                  <a:lnTo>
                    <a:pt x="55" y="50"/>
                  </a:lnTo>
                  <a:lnTo>
                    <a:pt x="55" y="48"/>
                  </a:lnTo>
                  <a:lnTo>
                    <a:pt x="55" y="50"/>
                  </a:lnTo>
                  <a:lnTo>
                    <a:pt x="57" y="50"/>
                  </a:lnTo>
                  <a:lnTo>
                    <a:pt x="57" y="48"/>
                  </a:lnTo>
                  <a:lnTo>
                    <a:pt x="55" y="48"/>
                  </a:lnTo>
                  <a:lnTo>
                    <a:pt x="53" y="48"/>
                  </a:lnTo>
                  <a:lnTo>
                    <a:pt x="51" y="48"/>
                  </a:lnTo>
                  <a:lnTo>
                    <a:pt x="49" y="48"/>
                  </a:lnTo>
                  <a:lnTo>
                    <a:pt x="49" y="46"/>
                  </a:lnTo>
                  <a:lnTo>
                    <a:pt x="49" y="48"/>
                  </a:lnTo>
                  <a:lnTo>
                    <a:pt x="48" y="48"/>
                  </a:lnTo>
                  <a:lnTo>
                    <a:pt x="48" y="46"/>
                  </a:lnTo>
                  <a:lnTo>
                    <a:pt x="49" y="46"/>
                  </a:lnTo>
                  <a:lnTo>
                    <a:pt x="48" y="46"/>
                  </a:lnTo>
                  <a:lnTo>
                    <a:pt x="48" y="44"/>
                  </a:lnTo>
                  <a:lnTo>
                    <a:pt x="46" y="44"/>
                  </a:lnTo>
                  <a:lnTo>
                    <a:pt x="44" y="44"/>
                  </a:lnTo>
                  <a:lnTo>
                    <a:pt x="42" y="44"/>
                  </a:lnTo>
                  <a:lnTo>
                    <a:pt x="44" y="44"/>
                  </a:lnTo>
                  <a:lnTo>
                    <a:pt x="44" y="42"/>
                  </a:lnTo>
                  <a:lnTo>
                    <a:pt x="42" y="42"/>
                  </a:lnTo>
                  <a:lnTo>
                    <a:pt x="44" y="42"/>
                  </a:lnTo>
                  <a:lnTo>
                    <a:pt x="42" y="42"/>
                  </a:lnTo>
                  <a:lnTo>
                    <a:pt x="40" y="42"/>
                  </a:lnTo>
                  <a:lnTo>
                    <a:pt x="38" y="42"/>
                  </a:lnTo>
                  <a:lnTo>
                    <a:pt x="38" y="40"/>
                  </a:lnTo>
                  <a:lnTo>
                    <a:pt x="38" y="38"/>
                  </a:lnTo>
                  <a:lnTo>
                    <a:pt x="38" y="36"/>
                  </a:lnTo>
                  <a:lnTo>
                    <a:pt x="38" y="38"/>
                  </a:lnTo>
                  <a:lnTo>
                    <a:pt x="38" y="36"/>
                  </a:lnTo>
                  <a:lnTo>
                    <a:pt x="36" y="36"/>
                  </a:lnTo>
                  <a:lnTo>
                    <a:pt x="36" y="34"/>
                  </a:lnTo>
                  <a:lnTo>
                    <a:pt x="34" y="34"/>
                  </a:lnTo>
                  <a:lnTo>
                    <a:pt x="36" y="36"/>
                  </a:lnTo>
                  <a:lnTo>
                    <a:pt x="34" y="36"/>
                  </a:lnTo>
                  <a:lnTo>
                    <a:pt x="34" y="38"/>
                  </a:lnTo>
                  <a:lnTo>
                    <a:pt x="32" y="38"/>
                  </a:lnTo>
                  <a:lnTo>
                    <a:pt x="32" y="40"/>
                  </a:lnTo>
                  <a:lnTo>
                    <a:pt x="32" y="42"/>
                  </a:lnTo>
                  <a:lnTo>
                    <a:pt x="30" y="42"/>
                  </a:lnTo>
                  <a:lnTo>
                    <a:pt x="30" y="40"/>
                  </a:lnTo>
                  <a:lnTo>
                    <a:pt x="30" y="42"/>
                  </a:lnTo>
                  <a:lnTo>
                    <a:pt x="30" y="40"/>
                  </a:lnTo>
                  <a:lnTo>
                    <a:pt x="28" y="40"/>
                  </a:lnTo>
                  <a:lnTo>
                    <a:pt x="28" y="42"/>
                  </a:lnTo>
                  <a:lnTo>
                    <a:pt x="26" y="42"/>
                  </a:lnTo>
                  <a:lnTo>
                    <a:pt x="26" y="40"/>
                  </a:lnTo>
                  <a:lnTo>
                    <a:pt x="25" y="40"/>
                  </a:lnTo>
                  <a:lnTo>
                    <a:pt x="25" y="42"/>
                  </a:lnTo>
                  <a:lnTo>
                    <a:pt x="25" y="40"/>
                  </a:lnTo>
                  <a:lnTo>
                    <a:pt x="23" y="40"/>
                  </a:lnTo>
                  <a:lnTo>
                    <a:pt x="23" y="38"/>
                  </a:lnTo>
                  <a:lnTo>
                    <a:pt x="23" y="36"/>
                  </a:lnTo>
                  <a:lnTo>
                    <a:pt x="21" y="36"/>
                  </a:lnTo>
                  <a:lnTo>
                    <a:pt x="21" y="34"/>
                  </a:lnTo>
                  <a:lnTo>
                    <a:pt x="21" y="36"/>
                  </a:lnTo>
                  <a:lnTo>
                    <a:pt x="19" y="36"/>
                  </a:lnTo>
                  <a:lnTo>
                    <a:pt x="17" y="36"/>
                  </a:lnTo>
                  <a:lnTo>
                    <a:pt x="17" y="34"/>
                  </a:lnTo>
                  <a:lnTo>
                    <a:pt x="15" y="34"/>
                  </a:lnTo>
                  <a:lnTo>
                    <a:pt x="13" y="34"/>
                  </a:lnTo>
                  <a:lnTo>
                    <a:pt x="13" y="32"/>
                  </a:lnTo>
                  <a:lnTo>
                    <a:pt x="15" y="32"/>
                  </a:lnTo>
                  <a:lnTo>
                    <a:pt x="17" y="32"/>
                  </a:lnTo>
                  <a:lnTo>
                    <a:pt x="17" y="31"/>
                  </a:lnTo>
                  <a:lnTo>
                    <a:pt x="19" y="31"/>
                  </a:lnTo>
                  <a:lnTo>
                    <a:pt x="19" y="29"/>
                  </a:lnTo>
                  <a:lnTo>
                    <a:pt x="21" y="29"/>
                  </a:lnTo>
                  <a:lnTo>
                    <a:pt x="21" y="27"/>
                  </a:lnTo>
                  <a:lnTo>
                    <a:pt x="23" y="27"/>
                  </a:lnTo>
                  <a:lnTo>
                    <a:pt x="23" y="25"/>
                  </a:lnTo>
                  <a:lnTo>
                    <a:pt x="23" y="23"/>
                  </a:lnTo>
                  <a:lnTo>
                    <a:pt x="23" y="25"/>
                  </a:lnTo>
                  <a:lnTo>
                    <a:pt x="25" y="25"/>
                  </a:lnTo>
                  <a:lnTo>
                    <a:pt x="25" y="23"/>
                  </a:lnTo>
                  <a:lnTo>
                    <a:pt x="25" y="25"/>
                  </a:lnTo>
                  <a:lnTo>
                    <a:pt x="26" y="25"/>
                  </a:lnTo>
                  <a:lnTo>
                    <a:pt x="26" y="23"/>
                  </a:lnTo>
                  <a:lnTo>
                    <a:pt x="28" y="23"/>
                  </a:lnTo>
                  <a:lnTo>
                    <a:pt x="28" y="21"/>
                  </a:lnTo>
                  <a:lnTo>
                    <a:pt x="30" y="21"/>
                  </a:lnTo>
                  <a:lnTo>
                    <a:pt x="28" y="21"/>
                  </a:lnTo>
                  <a:lnTo>
                    <a:pt x="28" y="19"/>
                  </a:lnTo>
                  <a:lnTo>
                    <a:pt x="26" y="19"/>
                  </a:lnTo>
                  <a:lnTo>
                    <a:pt x="25" y="19"/>
                  </a:lnTo>
                  <a:lnTo>
                    <a:pt x="23" y="19"/>
                  </a:lnTo>
                  <a:lnTo>
                    <a:pt x="25" y="19"/>
                  </a:lnTo>
                  <a:lnTo>
                    <a:pt x="25" y="17"/>
                  </a:lnTo>
                  <a:lnTo>
                    <a:pt x="25" y="15"/>
                  </a:lnTo>
                  <a:lnTo>
                    <a:pt x="26" y="15"/>
                  </a:lnTo>
                  <a:lnTo>
                    <a:pt x="26" y="13"/>
                  </a:lnTo>
                  <a:lnTo>
                    <a:pt x="25" y="13"/>
                  </a:lnTo>
                  <a:lnTo>
                    <a:pt x="26" y="13"/>
                  </a:lnTo>
                  <a:lnTo>
                    <a:pt x="28" y="13"/>
                  </a:lnTo>
                  <a:lnTo>
                    <a:pt x="28" y="11"/>
                  </a:lnTo>
                  <a:lnTo>
                    <a:pt x="28" y="9"/>
                  </a:lnTo>
                  <a:lnTo>
                    <a:pt x="30" y="9"/>
                  </a:lnTo>
                  <a:lnTo>
                    <a:pt x="28" y="9"/>
                  </a:lnTo>
                  <a:lnTo>
                    <a:pt x="30" y="9"/>
                  </a:lnTo>
                  <a:lnTo>
                    <a:pt x="28" y="9"/>
                  </a:lnTo>
                  <a:lnTo>
                    <a:pt x="30" y="9"/>
                  </a:lnTo>
                  <a:lnTo>
                    <a:pt x="32" y="9"/>
                  </a:lnTo>
                  <a:lnTo>
                    <a:pt x="34" y="9"/>
                  </a:lnTo>
                  <a:lnTo>
                    <a:pt x="36" y="9"/>
                  </a:lnTo>
                  <a:lnTo>
                    <a:pt x="36" y="8"/>
                  </a:lnTo>
                  <a:lnTo>
                    <a:pt x="38" y="8"/>
                  </a:lnTo>
                  <a:lnTo>
                    <a:pt x="38" y="9"/>
                  </a:lnTo>
                  <a:lnTo>
                    <a:pt x="40" y="9"/>
                  </a:lnTo>
                  <a:lnTo>
                    <a:pt x="42" y="9"/>
                  </a:lnTo>
                  <a:lnTo>
                    <a:pt x="44" y="9"/>
                  </a:lnTo>
                  <a:lnTo>
                    <a:pt x="46" y="9"/>
                  </a:lnTo>
                  <a:lnTo>
                    <a:pt x="46" y="11"/>
                  </a:lnTo>
                  <a:lnTo>
                    <a:pt x="48" y="11"/>
                  </a:lnTo>
                  <a:lnTo>
                    <a:pt x="49" y="11"/>
                  </a:lnTo>
                  <a:lnTo>
                    <a:pt x="51" y="11"/>
                  </a:lnTo>
                  <a:lnTo>
                    <a:pt x="51" y="13"/>
                  </a:lnTo>
                  <a:lnTo>
                    <a:pt x="53" y="13"/>
                  </a:lnTo>
                  <a:lnTo>
                    <a:pt x="53" y="15"/>
                  </a:lnTo>
                  <a:lnTo>
                    <a:pt x="55" y="15"/>
                  </a:lnTo>
                  <a:lnTo>
                    <a:pt x="55" y="13"/>
                  </a:lnTo>
                  <a:lnTo>
                    <a:pt x="55" y="15"/>
                  </a:lnTo>
                  <a:lnTo>
                    <a:pt x="55" y="13"/>
                  </a:lnTo>
                  <a:lnTo>
                    <a:pt x="57" y="13"/>
                  </a:lnTo>
                  <a:lnTo>
                    <a:pt x="57" y="15"/>
                  </a:lnTo>
                  <a:lnTo>
                    <a:pt x="59" y="15"/>
                  </a:lnTo>
                  <a:lnTo>
                    <a:pt x="59" y="17"/>
                  </a:lnTo>
                  <a:lnTo>
                    <a:pt x="61" y="17"/>
                  </a:lnTo>
                  <a:lnTo>
                    <a:pt x="63" y="17"/>
                  </a:lnTo>
                  <a:lnTo>
                    <a:pt x="63" y="15"/>
                  </a:lnTo>
                  <a:lnTo>
                    <a:pt x="61" y="15"/>
                  </a:lnTo>
                  <a:lnTo>
                    <a:pt x="61" y="13"/>
                  </a:lnTo>
                  <a:lnTo>
                    <a:pt x="61" y="11"/>
                  </a:lnTo>
                  <a:lnTo>
                    <a:pt x="61" y="9"/>
                  </a:lnTo>
                  <a:lnTo>
                    <a:pt x="63" y="9"/>
                  </a:lnTo>
                  <a:lnTo>
                    <a:pt x="63" y="8"/>
                  </a:lnTo>
                  <a:lnTo>
                    <a:pt x="63" y="6"/>
                  </a:lnTo>
                  <a:lnTo>
                    <a:pt x="63" y="4"/>
                  </a:lnTo>
                  <a:lnTo>
                    <a:pt x="65" y="4"/>
                  </a:lnTo>
                  <a:lnTo>
                    <a:pt x="67" y="4"/>
                  </a:lnTo>
                  <a:lnTo>
                    <a:pt x="67" y="2"/>
                  </a:lnTo>
                  <a:lnTo>
                    <a:pt x="69" y="4"/>
                  </a:lnTo>
                  <a:lnTo>
                    <a:pt x="69" y="2"/>
                  </a:lnTo>
                  <a:lnTo>
                    <a:pt x="69" y="0"/>
                  </a:lnTo>
                  <a:lnTo>
                    <a:pt x="69" y="2"/>
                  </a:lnTo>
                  <a:lnTo>
                    <a:pt x="71" y="2"/>
                  </a:lnTo>
                  <a:lnTo>
                    <a:pt x="72" y="2"/>
                  </a:lnTo>
                  <a:lnTo>
                    <a:pt x="72" y="0"/>
                  </a:lnTo>
                  <a:lnTo>
                    <a:pt x="74" y="0"/>
                  </a:lnTo>
                  <a:lnTo>
                    <a:pt x="72" y="0"/>
                  </a:lnTo>
                  <a:lnTo>
                    <a:pt x="74" y="0"/>
                  </a:lnTo>
                  <a:lnTo>
                    <a:pt x="74" y="2"/>
                  </a:lnTo>
                  <a:lnTo>
                    <a:pt x="76" y="2"/>
                  </a:lnTo>
                  <a:lnTo>
                    <a:pt x="78" y="2"/>
                  </a:lnTo>
                  <a:lnTo>
                    <a:pt x="78" y="4"/>
                  </a:lnTo>
                  <a:lnTo>
                    <a:pt x="80" y="4"/>
                  </a:lnTo>
                  <a:lnTo>
                    <a:pt x="80" y="6"/>
                  </a:lnTo>
                  <a:lnTo>
                    <a:pt x="82" y="6"/>
                  </a:lnTo>
                  <a:lnTo>
                    <a:pt x="84" y="6"/>
                  </a:lnTo>
                  <a:lnTo>
                    <a:pt x="84" y="8"/>
                  </a:lnTo>
                  <a:lnTo>
                    <a:pt x="84" y="6"/>
                  </a:lnTo>
                  <a:lnTo>
                    <a:pt x="84" y="8"/>
                  </a:lnTo>
                  <a:lnTo>
                    <a:pt x="86" y="8"/>
                  </a:lnTo>
                  <a:lnTo>
                    <a:pt x="88" y="8"/>
                  </a:lnTo>
                  <a:lnTo>
                    <a:pt x="90" y="8"/>
                  </a:lnTo>
                  <a:lnTo>
                    <a:pt x="92" y="8"/>
                  </a:lnTo>
                  <a:lnTo>
                    <a:pt x="92" y="9"/>
                  </a:lnTo>
                  <a:lnTo>
                    <a:pt x="94" y="9"/>
                  </a:lnTo>
                  <a:lnTo>
                    <a:pt x="96" y="9"/>
                  </a:lnTo>
                  <a:lnTo>
                    <a:pt x="96" y="8"/>
                  </a:lnTo>
                  <a:lnTo>
                    <a:pt x="96" y="6"/>
                  </a:lnTo>
                  <a:lnTo>
                    <a:pt x="97" y="6"/>
                  </a:lnTo>
                  <a:lnTo>
                    <a:pt x="99" y="6"/>
                  </a:lnTo>
                  <a:lnTo>
                    <a:pt x="99" y="8"/>
                  </a:lnTo>
                  <a:lnTo>
                    <a:pt x="99" y="6"/>
                  </a:lnTo>
                  <a:lnTo>
                    <a:pt x="101" y="6"/>
                  </a:lnTo>
                  <a:lnTo>
                    <a:pt x="101" y="8"/>
                  </a:lnTo>
                  <a:lnTo>
                    <a:pt x="101" y="6"/>
                  </a:lnTo>
                  <a:lnTo>
                    <a:pt x="103" y="8"/>
                  </a:lnTo>
                  <a:lnTo>
                    <a:pt x="105" y="8"/>
                  </a:lnTo>
                  <a:lnTo>
                    <a:pt x="107" y="6"/>
                  </a:lnTo>
                  <a:lnTo>
                    <a:pt x="107" y="8"/>
                  </a:lnTo>
                  <a:lnTo>
                    <a:pt x="109" y="8"/>
                  </a:lnTo>
                  <a:lnTo>
                    <a:pt x="109" y="6"/>
                  </a:lnTo>
                  <a:lnTo>
                    <a:pt x="111" y="6"/>
                  </a:lnTo>
                  <a:lnTo>
                    <a:pt x="113" y="6"/>
                  </a:lnTo>
                  <a:lnTo>
                    <a:pt x="115" y="6"/>
                  </a:lnTo>
                  <a:lnTo>
                    <a:pt x="117" y="6"/>
                  </a:lnTo>
                  <a:lnTo>
                    <a:pt x="117" y="8"/>
                  </a:lnTo>
                  <a:lnTo>
                    <a:pt x="119" y="8"/>
                  </a:lnTo>
                  <a:lnTo>
                    <a:pt x="119" y="6"/>
                  </a:lnTo>
                  <a:lnTo>
                    <a:pt x="120" y="6"/>
                  </a:lnTo>
                  <a:lnTo>
                    <a:pt x="122" y="6"/>
                  </a:lnTo>
                  <a:lnTo>
                    <a:pt x="122" y="8"/>
                  </a:lnTo>
                  <a:lnTo>
                    <a:pt x="124" y="8"/>
                  </a:lnTo>
                  <a:lnTo>
                    <a:pt x="126" y="8"/>
                  </a:lnTo>
                  <a:lnTo>
                    <a:pt x="128" y="8"/>
                  </a:lnTo>
                  <a:lnTo>
                    <a:pt x="130" y="8"/>
                  </a:lnTo>
                  <a:lnTo>
                    <a:pt x="132" y="8"/>
                  </a:lnTo>
                  <a:lnTo>
                    <a:pt x="134" y="8"/>
                  </a:lnTo>
                  <a:lnTo>
                    <a:pt x="136" y="8"/>
                  </a:lnTo>
                  <a:lnTo>
                    <a:pt x="138" y="8"/>
                  </a:lnTo>
                  <a:lnTo>
                    <a:pt x="138" y="9"/>
                  </a:lnTo>
                  <a:lnTo>
                    <a:pt x="138" y="8"/>
                  </a:lnTo>
                  <a:lnTo>
                    <a:pt x="138" y="9"/>
                  </a:lnTo>
                  <a:lnTo>
                    <a:pt x="140" y="9"/>
                  </a:lnTo>
                  <a:lnTo>
                    <a:pt x="142" y="9"/>
                  </a:lnTo>
                  <a:lnTo>
                    <a:pt x="143" y="9"/>
                  </a:lnTo>
                  <a:lnTo>
                    <a:pt x="145" y="9"/>
                  </a:lnTo>
                  <a:lnTo>
                    <a:pt x="145" y="11"/>
                  </a:lnTo>
                  <a:lnTo>
                    <a:pt x="145" y="13"/>
                  </a:lnTo>
                  <a:lnTo>
                    <a:pt x="147" y="13"/>
                  </a:lnTo>
                  <a:lnTo>
                    <a:pt x="149" y="13"/>
                  </a:lnTo>
                  <a:lnTo>
                    <a:pt x="149" y="15"/>
                  </a:lnTo>
                  <a:lnTo>
                    <a:pt x="151" y="15"/>
                  </a:lnTo>
                  <a:lnTo>
                    <a:pt x="153" y="15"/>
                  </a:lnTo>
                  <a:lnTo>
                    <a:pt x="155" y="15"/>
                  </a:lnTo>
                  <a:lnTo>
                    <a:pt x="155" y="17"/>
                  </a:lnTo>
                  <a:lnTo>
                    <a:pt x="157" y="17"/>
                  </a:lnTo>
                  <a:lnTo>
                    <a:pt x="157" y="15"/>
                  </a:lnTo>
                  <a:lnTo>
                    <a:pt x="157" y="17"/>
                  </a:lnTo>
                  <a:lnTo>
                    <a:pt x="159" y="17"/>
                  </a:lnTo>
                  <a:lnTo>
                    <a:pt x="159" y="19"/>
                  </a:lnTo>
                  <a:lnTo>
                    <a:pt x="159" y="21"/>
                  </a:lnTo>
                  <a:lnTo>
                    <a:pt x="161" y="21"/>
                  </a:lnTo>
                  <a:close/>
                  <a:moveTo>
                    <a:pt x="26" y="59"/>
                  </a:moveTo>
                  <a:lnTo>
                    <a:pt x="25" y="59"/>
                  </a:lnTo>
                  <a:lnTo>
                    <a:pt x="26" y="61"/>
                  </a:lnTo>
                  <a:lnTo>
                    <a:pt x="26" y="63"/>
                  </a:lnTo>
                  <a:lnTo>
                    <a:pt x="26" y="65"/>
                  </a:lnTo>
                  <a:lnTo>
                    <a:pt x="28" y="65"/>
                  </a:lnTo>
                  <a:lnTo>
                    <a:pt x="26" y="65"/>
                  </a:lnTo>
                  <a:lnTo>
                    <a:pt x="28" y="65"/>
                  </a:lnTo>
                  <a:lnTo>
                    <a:pt x="28" y="63"/>
                  </a:lnTo>
                  <a:lnTo>
                    <a:pt x="26" y="63"/>
                  </a:lnTo>
                  <a:lnTo>
                    <a:pt x="26" y="61"/>
                  </a:lnTo>
                  <a:lnTo>
                    <a:pt x="26" y="59"/>
                  </a:lnTo>
                  <a:close/>
                  <a:moveTo>
                    <a:pt x="19" y="65"/>
                  </a:moveTo>
                  <a:lnTo>
                    <a:pt x="21" y="65"/>
                  </a:lnTo>
                  <a:lnTo>
                    <a:pt x="21" y="67"/>
                  </a:lnTo>
                  <a:lnTo>
                    <a:pt x="19" y="67"/>
                  </a:lnTo>
                  <a:lnTo>
                    <a:pt x="19" y="65"/>
                  </a:lnTo>
                  <a:close/>
                  <a:moveTo>
                    <a:pt x="36" y="63"/>
                  </a:moveTo>
                  <a:lnTo>
                    <a:pt x="38" y="63"/>
                  </a:lnTo>
                  <a:lnTo>
                    <a:pt x="38" y="65"/>
                  </a:lnTo>
                  <a:lnTo>
                    <a:pt x="36" y="65"/>
                  </a:lnTo>
                  <a:lnTo>
                    <a:pt x="36" y="63"/>
                  </a:lnTo>
                  <a:close/>
                </a:path>
              </a:pathLst>
            </a:custGeom>
            <a:solidFill>
              <a:schemeClr val="accent1">
                <a:lumMod val="75000"/>
              </a:schemeClr>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343">
              <a:extLst>
                <a:ext uri="{FF2B5EF4-FFF2-40B4-BE49-F238E27FC236}">
                  <a16:creationId xmlns:a16="http://schemas.microsoft.com/office/drawing/2014/main" id="{71AB8237-63EF-4799-8DB0-16AFCC25E755}"/>
                </a:ext>
              </a:extLst>
            </p:cNvPr>
            <p:cNvSpPr>
              <a:spLocks noEditPoints="1"/>
            </p:cNvSpPr>
            <p:nvPr/>
          </p:nvSpPr>
          <p:spPr bwMode="gray">
            <a:xfrm>
              <a:off x="4213891" y="3445532"/>
              <a:ext cx="307821" cy="202353"/>
            </a:xfrm>
            <a:custGeom>
              <a:avLst/>
              <a:gdLst>
                <a:gd name="T0" fmla="*/ 219 w 251"/>
                <a:gd name="T1" fmla="*/ 73 h 165"/>
                <a:gd name="T2" fmla="*/ 213 w 251"/>
                <a:gd name="T3" fmla="*/ 79 h 165"/>
                <a:gd name="T4" fmla="*/ 215 w 251"/>
                <a:gd name="T5" fmla="*/ 84 h 165"/>
                <a:gd name="T6" fmla="*/ 220 w 251"/>
                <a:gd name="T7" fmla="*/ 90 h 165"/>
                <a:gd name="T8" fmla="*/ 228 w 251"/>
                <a:gd name="T9" fmla="*/ 86 h 165"/>
                <a:gd name="T10" fmla="*/ 232 w 251"/>
                <a:gd name="T11" fmla="*/ 88 h 165"/>
                <a:gd name="T12" fmla="*/ 240 w 251"/>
                <a:gd name="T13" fmla="*/ 92 h 165"/>
                <a:gd name="T14" fmla="*/ 247 w 251"/>
                <a:gd name="T15" fmla="*/ 96 h 165"/>
                <a:gd name="T16" fmla="*/ 245 w 251"/>
                <a:gd name="T17" fmla="*/ 98 h 165"/>
                <a:gd name="T18" fmla="*/ 238 w 251"/>
                <a:gd name="T19" fmla="*/ 104 h 165"/>
                <a:gd name="T20" fmla="*/ 234 w 251"/>
                <a:gd name="T21" fmla="*/ 107 h 165"/>
                <a:gd name="T22" fmla="*/ 220 w 251"/>
                <a:gd name="T23" fmla="*/ 105 h 165"/>
                <a:gd name="T24" fmla="*/ 211 w 251"/>
                <a:gd name="T25" fmla="*/ 104 h 165"/>
                <a:gd name="T26" fmla="*/ 215 w 251"/>
                <a:gd name="T27" fmla="*/ 96 h 165"/>
                <a:gd name="T28" fmla="*/ 203 w 251"/>
                <a:gd name="T29" fmla="*/ 98 h 165"/>
                <a:gd name="T30" fmla="*/ 194 w 251"/>
                <a:gd name="T31" fmla="*/ 100 h 165"/>
                <a:gd name="T32" fmla="*/ 194 w 251"/>
                <a:gd name="T33" fmla="*/ 107 h 165"/>
                <a:gd name="T34" fmla="*/ 190 w 251"/>
                <a:gd name="T35" fmla="*/ 111 h 165"/>
                <a:gd name="T36" fmla="*/ 188 w 251"/>
                <a:gd name="T37" fmla="*/ 113 h 165"/>
                <a:gd name="T38" fmla="*/ 184 w 251"/>
                <a:gd name="T39" fmla="*/ 121 h 165"/>
                <a:gd name="T40" fmla="*/ 171 w 251"/>
                <a:gd name="T41" fmla="*/ 119 h 165"/>
                <a:gd name="T42" fmla="*/ 169 w 251"/>
                <a:gd name="T43" fmla="*/ 125 h 165"/>
                <a:gd name="T44" fmla="*/ 178 w 251"/>
                <a:gd name="T45" fmla="*/ 130 h 165"/>
                <a:gd name="T46" fmla="*/ 176 w 251"/>
                <a:gd name="T47" fmla="*/ 142 h 165"/>
                <a:gd name="T48" fmla="*/ 182 w 251"/>
                <a:gd name="T49" fmla="*/ 148 h 165"/>
                <a:gd name="T50" fmla="*/ 174 w 251"/>
                <a:gd name="T51" fmla="*/ 155 h 165"/>
                <a:gd name="T52" fmla="*/ 167 w 251"/>
                <a:gd name="T53" fmla="*/ 163 h 165"/>
                <a:gd name="T54" fmla="*/ 153 w 251"/>
                <a:gd name="T55" fmla="*/ 161 h 165"/>
                <a:gd name="T56" fmla="*/ 153 w 251"/>
                <a:gd name="T57" fmla="*/ 153 h 165"/>
                <a:gd name="T58" fmla="*/ 151 w 251"/>
                <a:gd name="T59" fmla="*/ 148 h 165"/>
                <a:gd name="T60" fmla="*/ 142 w 251"/>
                <a:gd name="T61" fmla="*/ 144 h 165"/>
                <a:gd name="T62" fmla="*/ 128 w 251"/>
                <a:gd name="T63" fmla="*/ 136 h 165"/>
                <a:gd name="T64" fmla="*/ 117 w 251"/>
                <a:gd name="T65" fmla="*/ 130 h 165"/>
                <a:gd name="T66" fmla="*/ 94 w 251"/>
                <a:gd name="T67" fmla="*/ 113 h 165"/>
                <a:gd name="T68" fmla="*/ 90 w 251"/>
                <a:gd name="T69" fmla="*/ 100 h 165"/>
                <a:gd name="T70" fmla="*/ 82 w 251"/>
                <a:gd name="T71" fmla="*/ 88 h 165"/>
                <a:gd name="T72" fmla="*/ 76 w 251"/>
                <a:gd name="T73" fmla="*/ 90 h 165"/>
                <a:gd name="T74" fmla="*/ 63 w 251"/>
                <a:gd name="T75" fmla="*/ 86 h 165"/>
                <a:gd name="T76" fmla="*/ 61 w 251"/>
                <a:gd name="T77" fmla="*/ 77 h 165"/>
                <a:gd name="T78" fmla="*/ 57 w 251"/>
                <a:gd name="T79" fmla="*/ 75 h 165"/>
                <a:gd name="T80" fmla="*/ 57 w 251"/>
                <a:gd name="T81" fmla="*/ 67 h 165"/>
                <a:gd name="T82" fmla="*/ 46 w 251"/>
                <a:gd name="T83" fmla="*/ 63 h 165"/>
                <a:gd name="T84" fmla="*/ 34 w 251"/>
                <a:gd name="T85" fmla="*/ 61 h 165"/>
                <a:gd name="T86" fmla="*/ 28 w 251"/>
                <a:gd name="T87" fmla="*/ 63 h 165"/>
                <a:gd name="T88" fmla="*/ 23 w 251"/>
                <a:gd name="T89" fmla="*/ 69 h 165"/>
                <a:gd name="T90" fmla="*/ 15 w 251"/>
                <a:gd name="T91" fmla="*/ 84 h 165"/>
                <a:gd name="T92" fmla="*/ 5 w 251"/>
                <a:gd name="T93" fmla="*/ 86 h 165"/>
                <a:gd name="T94" fmla="*/ 11 w 251"/>
                <a:gd name="T95" fmla="*/ 9 h 165"/>
                <a:gd name="T96" fmla="*/ 86 w 251"/>
                <a:gd name="T97" fmla="*/ 40 h 165"/>
                <a:gd name="T98" fmla="*/ 140 w 251"/>
                <a:gd name="T99" fmla="*/ 46 h 165"/>
                <a:gd name="T100" fmla="*/ 167 w 251"/>
                <a:gd name="T101" fmla="*/ 90 h 165"/>
                <a:gd name="T102" fmla="*/ 174 w 251"/>
                <a:gd name="T103" fmla="*/ 92 h 165"/>
                <a:gd name="T104" fmla="*/ 176 w 251"/>
                <a:gd name="T105" fmla="*/ 94 h 165"/>
                <a:gd name="T106" fmla="*/ 184 w 251"/>
                <a:gd name="T107" fmla="*/ 102 h 165"/>
                <a:gd name="T108" fmla="*/ 184 w 251"/>
                <a:gd name="T109" fmla="*/ 92 h 165"/>
                <a:gd name="T110" fmla="*/ 190 w 251"/>
                <a:gd name="T111" fmla="*/ 86 h 165"/>
                <a:gd name="T112" fmla="*/ 197 w 251"/>
                <a:gd name="T113" fmla="*/ 82 h 165"/>
                <a:gd name="T114" fmla="*/ 209 w 251"/>
                <a:gd name="T115" fmla="*/ 75 h 165"/>
                <a:gd name="T116" fmla="*/ 215 w 251"/>
                <a:gd name="T117" fmla="*/ 69 h 165"/>
                <a:gd name="T118" fmla="*/ 222 w 251"/>
                <a:gd name="T119" fmla="*/ 113 h 165"/>
                <a:gd name="T120" fmla="*/ 232 w 251"/>
                <a:gd name="T121" fmla="*/ 11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1" h="165">
                  <a:moveTo>
                    <a:pt x="219" y="67"/>
                  </a:moveTo>
                  <a:lnTo>
                    <a:pt x="220" y="67"/>
                  </a:lnTo>
                  <a:lnTo>
                    <a:pt x="222" y="67"/>
                  </a:lnTo>
                  <a:lnTo>
                    <a:pt x="222" y="69"/>
                  </a:lnTo>
                  <a:lnTo>
                    <a:pt x="224" y="69"/>
                  </a:lnTo>
                  <a:lnTo>
                    <a:pt x="222" y="69"/>
                  </a:lnTo>
                  <a:lnTo>
                    <a:pt x="222" y="71"/>
                  </a:lnTo>
                  <a:lnTo>
                    <a:pt x="220" y="71"/>
                  </a:lnTo>
                  <a:lnTo>
                    <a:pt x="220" y="73"/>
                  </a:lnTo>
                  <a:lnTo>
                    <a:pt x="219" y="73"/>
                  </a:lnTo>
                  <a:lnTo>
                    <a:pt x="219" y="71"/>
                  </a:lnTo>
                  <a:lnTo>
                    <a:pt x="219" y="73"/>
                  </a:lnTo>
                  <a:lnTo>
                    <a:pt x="217" y="73"/>
                  </a:lnTo>
                  <a:lnTo>
                    <a:pt x="217" y="71"/>
                  </a:lnTo>
                  <a:lnTo>
                    <a:pt x="217" y="73"/>
                  </a:lnTo>
                  <a:lnTo>
                    <a:pt x="217" y="75"/>
                  </a:lnTo>
                  <a:lnTo>
                    <a:pt x="215" y="75"/>
                  </a:lnTo>
                  <a:lnTo>
                    <a:pt x="215" y="77"/>
                  </a:lnTo>
                  <a:lnTo>
                    <a:pt x="213" y="77"/>
                  </a:lnTo>
                  <a:lnTo>
                    <a:pt x="213" y="79"/>
                  </a:lnTo>
                  <a:lnTo>
                    <a:pt x="211" y="79"/>
                  </a:lnTo>
                  <a:lnTo>
                    <a:pt x="211" y="80"/>
                  </a:lnTo>
                  <a:lnTo>
                    <a:pt x="209" y="80"/>
                  </a:lnTo>
                  <a:lnTo>
                    <a:pt x="207" y="80"/>
                  </a:lnTo>
                  <a:lnTo>
                    <a:pt x="207" y="82"/>
                  </a:lnTo>
                  <a:lnTo>
                    <a:pt x="209" y="82"/>
                  </a:lnTo>
                  <a:lnTo>
                    <a:pt x="211" y="82"/>
                  </a:lnTo>
                  <a:lnTo>
                    <a:pt x="211" y="84"/>
                  </a:lnTo>
                  <a:lnTo>
                    <a:pt x="213" y="84"/>
                  </a:lnTo>
                  <a:lnTo>
                    <a:pt x="215" y="84"/>
                  </a:lnTo>
                  <a:lnTo>
                    <a:pt x="215" y="82"/>
                  </a:lnTo>
                  <a:lnTo>
                    <a:pt x="215" y="84"/>
                  </a:lnTo>
                  <a:lnTo>
                    <a:pt x="217" y="84"/>
                  </a:lnTo>
                  <a:lnTo>
                    <a:pt x="217" y="86"/>
                  </a:lnTo>
                  <a:lnTo>
                    <a:pt x="217" y="88"/>
                  </a:lnTo>
                  <a:lnTo>
                    <a:pt x="219" y="88"/>
                  </a:lnTo>
                  <a:lnTo>
                    <a:pt x="219" y="90"/>
                  </a:lnTo>
                  <a:lnTo>
                    <a:pt x="219" y="88"/>
                  </a:lnTo>
                  <a:lnTo>
                    <a:pt x="220" y="88"/>
                  </a:lnTo>
                  <a:lnTo>
                    <a:pt x="220" y="90"/>
                  </a:lnTo>
                  <a:lnTo>
                    <a:pt x="222" y="90"/>
                  </a:lnTo>
                  <a:lnTo>
                    <a:pt x="222" y="88"/>
                  </a:lnTo>
                  <a:lnTo>
                    <a:pt x="224" y="88"/>
                  </a:lnTo>
                  <a:lnTo>
                    <a:pt x="224" y="90"/>
                  </a:lnTo>
                  <a:lnTo>
                    <a:pt x="224" y="88"/>
                  </a:lnTo>
                  <a:lnTo>
                    <a:pt x="224" y="90"/>
                  </a:lnTo>
                  <a:lnTo>
                    <a:pt x="226" y="90"/>
                  </a:lnTo>
                  <a:lnTo>
                    <a:pt x="226" y="88"/>
                  </a:lnTo>
                  <a:lnTo>
                    <a:pt x="226" y="86"/>
                  </a:lnTo>
                  <a:lnTo>
                    <a:pt x="228" y="86"/>
                  </a:lnTo>
                  <a:lnTo>
                    <a:pt x="228" y="84"/>
                  </a:lnTo>
                  <a:lnTo>
                    <a:pt x="230" y="84"/>
                  </a:lnTo>
                  <a:lnTo>
                    <a:pt x="228" y="82"/>
                  </a:lnTo>
                  <a:lnTo>
                    <a:pt x="230" y="82"/>
                  </a:lnTo>
                  <a:lnTo>
                    <a:pt x="230" y="84"/>
                  </a:lnTo>
                  <a:lnTo>
                    <a:pt x="232" y="84"/>
                  </a:lnTo>
                  <a:lnTo>
                    <a:pt x="232" y="86"/>
                  </a:lnTo>
                  <a:lnTo>
                    <a:pt x="232" y="84"/>
                  </a:lnTo>
                  <a:lnTo>
                    <a:pt x="232" y="86"/>
                  </a:lnTo>
                  <a:lnTo>
                    <a:pt x="232" y="88"/>
                  </a:lnTo>
                  <a:lnTo>
                    <a:pt x="232" y="90"/>
                  </a:lnTo>
                  <a:lnTo>
                    <a:pt x="234" y="90"/>
                  </a:lnTo>
                  <a:lnTo>
                    <a:pt x="236" y="90"/>
                  </a:lnTo>
                  <a:lnTo>
                    <a:pt x="238" y="90"/>
                  </a:lnTo>
                  <a:lnTo>
                    <a:pt x="236" y="90"/>
                  </a:lnTo>
                  <a:lnTo>
                    <a:pt x="238" y="90"/>
                  </a:lnTo>
                  <a:lnTo>
                    <a:pt x="238" y="92"/>
                  </a:lnTo>
                  <a:lnTo>
                    <a:pt x="236" y="92"/>
                  </a:lnTo>
                  <a:lnTo>
                    <a:pt x="238" y="92"/>
                  </a:lnTo>
                  <a:lnTo>
                    <a:pt x="240" y="92"/>
                  </a:lnTo>
                  <a:lnTo>
                    <a:pt x="242" y="92"/>
                  </a:lnTo>
                  <a:lnTo>
                    <a:pt x="242" y="94"/>
                  </a:lnTo>
                  <a:lnTo>
                    <a:pt x="243" y="94"/>
                  </a:lnTo>
                  <a:lnTo>
                    <a:pt x="242" y="94"/>
                  </a:lnTo>
                  <a:lnTo>
                    <a:pt x="242" y="96"/>
                  </a:lnTo>
                  <a:lnTo>
                    <a:pt x="243" y="96"/>
                  </a:lnTo>
                  <a:lnTo>
                    <a:pt x="243" y="94"/>
                  </a:lnTo>
                  <a:lnTo>
                    <a:pt x="243" y="96"/>
                  </a:lnTo>
                  <a:lnTo>
                    <a:pt x="245" y="96"/>
                  </a:lnTo>
                  <a:lnTo>
                    <a:pt x="247" y="96"/>
                  </a:lnTo>
                  <a:lnTo>
                    <a:pt x="249" y="96"/>
                  </a:lnTo>
                  <a:lnTo>
                    <a:pt x="251" y="96"/>
                  </a:lnTo>
                  <a:lnTo>
                    <a:pt x="251" y="98"/>
                  </a:lnTo>
                  <a:lnTo>
                    <a:pt x="249" y="98"/>
                  </a:lnTo>
                  <a:lnTo>
                    <a:pt x="249" y="96"/>
                  </a:lnTo>
                  <a:lnTo>
                    <a:pt x="249" y="98"/>
                  </a:lnTo>
                  <a:lnTo>
                    <a:pt x="249" y="96"/>
                  </a:lnTo>
                  <a:lnTo>
                    <a:pt x="249" y="98"/>
                  </a:lnTo>
                  <a:lnTo>
                    <a:pt x="247" y="98"/>
                  </a:lnTo>
                  <a:lnTo>
                    <a:pt x="245" y="98"/>
                  </a:lnTo>
                  <a:lnTo>
                    <a:pt x="245" y="100"/>
                  </a:lnTo>
                  <a:lnTo>
                    <a:pt x="245" y="102"/>
                  </a:lnTo>
                  <a:lnTo>
                    <a:pt x="245" y="100"/>
                  </a:lnTo>
                  <a:lnTo>
                    <a:pt x="243" y="100"/>
                  </a:lnTo>
                  <a:lnTo>
                    <a:pt x="243" y="102"/>
                  </a:lnTo>
                  <a:lnTo>
                    <a:pt x="242" y="102"/>
                  </a:lnTo>
                  <a:lnTo>
                    <a:pt x="240" y="100"/>
                  </a:lnTo>
                  <a:lnTo>
                    <a:pt x="240" y="102"/>
                  </a:lnTo>
                  <a:lnTo>
                    <a:pt x="240" y="104"/>
                  </a:lnTo>
                  <a:lnTo>
                    <a:pt x="238" y="104"/>
                  </a:lnTo>
                  <a:lnTo>
                    <a:pt x="238" y="102"/>
                  </a:lnTo>
                  <a:lnTo>
                    <a:pt x="236" y="102"/>
                  </a:lnTo>
                  <a:lnTo>
                    <a:pt x="236" y="104"/>
                  </a:lnTo>
                  <a:lnTo>
                    <a:pt x="234" y="104"/>
                  </a:lnTo>
                  <a:lnTo>
                    <a:pt x="234" y="105"/>
                  </a:lnTo>
                  <a:lnTo>
                    <a:pt x="236" y="105"/>
                  </a:lnTo>
                  <a:lnTo>
                    <a:pt x="234" y="105"/>
                  </a:lnTo>
                  <a:lnTo>
                    <a:pt x="234" y="107"/>
                  </a:lnTo>
                  <a:lnTo>
                    <a:pt x="234" y="105"/>
                  </a:lnTo>
                  <a:lnTo>
                    <a:pt x="234" y="107"/>
                  </a:lnTo>
                  <a:lnTo>
                    <a:pt x="232" y="107"/>
                  </a:lnTo>
                  <a:lnTo>
                    <a:pt x="230" y="107"/>
                  </a:lnTo>
                  <a:lnTo>
                    <a:pt x="230" y="109"/>
                  </a:lnTo>
                  <a:lnTo>
                    <a:pt x="230" y="107"/>
                  </a:lnTo>
                  <a:lnTo>
                    <a:pt x="228" y="107"/>
                  </a:lnTo>
                  <a:lnTo>
                    <a:pt x="226" y="107"/>
                  </a:lnTo>
                  <a:lnTo>
                    <a:pt x="226" y="105"/>
                  </a:lnTo>
                  <a:lnTo>
                    <a:pt x="224" y="105"/>
                  </a:lnTo>
                  <a:lnTo>
                    <a:pt x="222" y="105"/>
                  </a:lnTo>
                  <a:lnTo>
                    <a:pt x="220" y="105"/>
                  </a:lnTo>
                  <a:lnTo>
                    <a:pt x="219" y="105"/>
                  </a:lnTo>
                  <a:lnTo>
                    <a:pt x="219" y="107"/>
                  </a:lnTo>
                  <a:lnTo>
                    <a:pt x="217" y="107"/>
                  </a:lnTo>
                  <a:lnTo>
                    <a:pt x="215" y="107"/>
                  </a:lnTo>
                  <a:lnTo>
                    <a:pt x="213" y="107"/>
                  </a:lnTo>
                  <a:lnTo>
                    <a:pt x="213" y="105"/>
                  </a:lnTo>
                  <a:lnTo>
                    <a:pt x="211" y="105"/>
                  </a:lnTo>
                  <a:lnTo>
                    <a:pt x="211" y="104"/>
                  </a:lnTo>
                  <a:lnTo>
                    <a:pt x="209" y="104"/>
                  </a:lnTo>
                  <a:lnTo>
                    <a:pt x="211" y="104"/>
                  </a:lnTo>
                  <a:lnTo>
                    <a:pt x="211" y="102"/>
                  </a:lnTo>
                  <a:lnTo>
                    <a:pt x="213" y="102"/>
                  </a:lnTo>
                  <a:lnTo>
                    <a:pt x="213" y="100"/>
                  </a:lnTo>
                  <a:lnTo>
                    <a:pt x="215" y="100"/>
                  </a:lnTo>
                  <a:lnTo>
                    <a:pt x="215" y="98"/>
                  </a:lnTo>
                  <a:lnTo>
                    <a:pt x="217" y="98"/>
                  </a:lnTo>
                  <a:lnTo>
                    <a:pt x="215" y="98"/>
                  </a:lnTo>
                  <a:lnTo>
                    <a:pt x="215" y="96"/>
                  </a:lnTo>
                  <a:lnTo>
                    <a:pt x="215" y="98"/>
                  </a:lnTo>
                  <a:lnTo>
                    <a:pt x="215" y="96"/>
                  </a:lnTo>
                  <a:lnTo>
                    <a:pt x="215" y="94"/>
                  </a:lnTo>
                  <a:lnTo>
                    <a:pt x="213" y="94"/>
                  </a:lnTo>
                  <a:lnTo>
                    <a:pt x="213" y="92"/>
                  </a:lnTo>
                  <a:lnTo>
                    <a:pt x="211" y="92"/>
                  </a:lnTo>
                  <a:lnTo>
                    <a:pt x="211" y="94"/>
                  </a:lnTo>
                  <a:lnTo>
                    <a:pt x="209" y="94"/>
                  </a:lnTo>
                  <a:lnTo>
                    <a:pt x="209" y="96"/>
                  </a:lnTo>
                  <a:lnTo>
                    <a:pt x="207" y="96"/>
                  </a:lnTo>
                  <a:lnTo>
                    <a:pt x="205" y="98"/>
                  </a:lnTo>
                  <a:lnTo>
                    <a:pt x="203" y="98"/>
                  </a:lnTo>
                  <a:lnTo>
                    <a:pt x="201" y="98"/>
                  </a:lnTo>
                  <a:lnTo>
                    <a:pt x="201" y="100"/>
                  </a:lnTo>
                  <a:lnTo>
                    <a:pt x="199" y="100"/>
                  </a:lnTo>
                  <a:lnTo>
                    <a:pt x="199" y="98"/>
                  </a:lnTo>
                  <a:lnTo>
                    <a:pt x="197" y="98"/>
                  </a:lnTo>
                  <a:lnTo>
                    <a:pt x="197" y="96"/>
                  </a:lnTo>
                  <a:lnTo>
                    <a:pt x="195" y="96"/>
                  </a:lnTo>
                  <a:lnTo>
                    <a:pt x="195" y="98"/>
                  </a:lnTo>
                  <a:lnTo>
                    <a:pt x="195" y="100"/>
                  </a:lnTo>
                  <a:lnTo>
                    <a:pt x="194" y="100"/>
                  </a:lnTo>
                  <a:lnTo>
                    <a:pt x="194" y="102"/>
                  </a:lnTo>
                  <a:lnTo>
                    <a:pt x="194" y="104"/>
                  </a:lnTo>
                  <a:lnTo>
                    <a:pt x="195" y="104"/>
                  </a:lnTo>
                  <a:lnTo>
                    <a:pt x="195" y="105"/>
                  </a:lnTo>
                  <a:lnTo>
                    <a:pt x="194" y="105"/>
                  </a:lnTo>
                  <a:lnTo>
                    <a:pt x="194" y="107"/>
                  </a:lnTo>
                  <a:lnTo>
                    <a:pt x="195" y="107"/>
                  </a:lnTo>
                  <a:lnTo>
                    <a:pt x="194" y="107"/>
                  </a:lnTo>
                  <a:lnTo>
                    <a:pt x="195" y="107"/>
                  </a:lnTo>
                  <a:lnTo>
                    <a:pt x="194" y="107"/>
                  </a:lnTo>
                  <a:lnTo>
                    <a:pt x="192" y="107"/>
                  </a:lnTo>
                  <a:lnTo>
                    <a:pt x="190" y="107"/>
                  </a:lnTo>
                  <a:lnTo>
                    <a:pt x="188" y="107"/>
                  </a:lnTo>
                  <a:lnTo>
                    <a:pt x="188" y="109"/>
                  </a:lnTo>
                  <a:lnTo>
                    <a:pt x="186" y="107"/>
                  </a:lnTo>
                  <a:lnTo>
                    <a:pt x="184" y="109"/>
                  </a:lnTo>
                  <a:lnTo>
                    <a:pt x="186" y="109"/>
                  </a:lnTo>
                  <a:lnTo>
                    <a:pt x="188" y="109"/>
                  </a:lnTo>
                  <a:lnTo>
                    <a:pt x="190" y="109"/>
                  </a:lnTo>
                  <a:lnTo>
                    <a:pt x="190" y="111"/>
                  </a:lnTo>
                  <a:lnTo>
                    <a:pt x="188" y="111"/>
                  </a:lnTo>
                  <a:lnTo>
                    <a:pt x="188" y="109"/>
                  </a:lnTo>
                  <a:lnTo>
                    <a:pt x="188" y="111"/>
                  </a:lnTo>
                  <a:lnTo>
                    <a:pt x="190" y="111"/>
                  </a:lnTo>
                  <a:lnTo>
                    <a:pt x="190" y="113"/>
                  </a:lnTo>
                  <a:lnTo>
                    <a:pt x="188" y="113"/>
                  </a:lnTo>
                  <a:lnTo>
                    <a:pt x="188" y="115"/>
                  </a:lnTo>
                  <a:lnTo>
                    <a:pt x="188" y="113"/>
                  </a:lnTo>
                  <a:lnTo>
                    <a:pt x="188" y="111"/>
                  </a:lnTo>
                  <a:lnTo>
                    <a:pt x="188" y="113"/>
                  </a:lnTo>
                  <a:lnTo>
                    <a:pt x="188" y="115"/>
                  </a:lnTo>
                  <a:lnTo>
                    <a:pt x="188" y="113"/>
                  </a:lnTo>
                  <a:lnTo>
                    <a:pt x="188" y="115"/>
                  </a:lnTo>
                  <a:lnTo>
                    <a:pt x="186" y="115"/>
                  </a:lnTo>
                  <a:lnTo>
                    <a:pt x="186" y="113"/>
                  </a:lnTo>
                  <a:lnTo>
                    <a:pt x="186" y="115"/>
                  </a:lnTo>
                  <a:lnTo>
                    <a:pt x="184" y="115"/>
                  </a:lnTo>
                  <a:lnTo>
                    <a:pt x="184" y="117"/>
                  </a:lnTo>
                  <a:lnTo>
                    <a:pt x="184" y="119"/>
                  </a:lnTo>
                  <a:lnTo>
                    <a:pt x="184" y="121"/>
                  </a:lnTo>
                  <a:lnTo>
                    <a:pt x="182" y="121"/>
                  </a:lnTo>
                  <a:lnTo>
                    <a:pt x="180" y="121"/>
                  </a:lnTo>
                  <a:lnTo>
                    <a:pt x="178" y="121"/>
                  </a:lnTo>
                  <a:lnTo>
                    <a:pt x="178" y="119"/>
                  </a:lnTo>
                  <a:lnTo>
                    <a:pt x="178" y="121"/>
                  </a:lnTo>
                  <a:lnTo>
                    <a:pt x="176" y="121"/>
                  </a:lnTo>
                  <a:lnTo>
                    <a:pt x="176" y="119"/>
                  </a:lnTo>
                  <a:lnTo>
                    <a:pt x="174" y="119"/>
                  </a:lnTo>
                  <a:lnTo>
                    <a:pt x="172" y="119"/>
                  </a:lnTo>
                  <a:lnTo>
                    <a:pt x="171" y="119"/>
                  </a:lnTo>
                  <a:lnTo>
                    <a:pt x="169" y="119"/>
                  </a:lnTo>
                  <a:lnTo>
                    <a:pt x="167" y="119"/>
                  </a:lnTo>
                  <a:lnTo>
                    <a:pt x="167" y="121"/>
                  </a:lnTo>
                  <a:lnTo>
                    <a:pt x="169" y="121"/>
                  </a:lnTo>
                  <a:lnTo>
                    <a:pt x="167" y="121"/>
                  </a:lnTo>
                  <a:lnTo>
                    <a:pt x="169" y="121"/>
                  </a:lnTo>
                  <a:lnTo>
                    <a:pt x="169" y="123"/>
                  </a:lnTo>
                  <a:lnTo>
                    <a:pt x="167" y="123"/>
                  </a:lnTo>
                  <a:lnTo>
                    <a:pt x="169" y="123"/>
                  </a:lnTo>
                  <a:lnTo>
                    <a:pt x="169" y="125"/>
                  </a:lnTo>
                  <a:lnTo>
                    <a:pt x="167" y="125"/>
                  </a:lnTo>
                  <a:lnTo>
                    <a:pt x="167" y="127"/>
                  </a:lnTo>
                  <a:lnTo>
                    <a:pt x="169" y="127"/>
                  </a:lnTo>
                  <a:lnTo>
                    <a:pt x="171" y="127"/>
                  </a:lnTo>
                  <a:lnTo>
                    <a:pt x="171" y="129"/>
                  </a:lnTo>
                  <a:lnTo>
                    <a:pt x="171" y="130"/>
                  </a:lnTo>
                  <a:lnTo>
                    <a:pt x="172" y="130"/>
                  </a:lnTo>
                  <a:lnTo>
                    <a:pt x="174" y="130"/>
                  </a:lnTo>
                  <a:lnTo>
                    <a:pt x="176" y="130"/>
                  </a:lnTo>
                  <a:lnTo>
                    <a:pt x="178" y="130"/>
                  </a:lnTo>
                  <a:lnTo>
                    <a:pt x="178" y="132"/>
                  </a:lnTo>
                  <a:lnTo>
                    <a:pt x="178" y="134"/>
                  </a:lnTo>
                  <a:lnTo>
                    <a:pt x="176" y="134"/>
                  </a:lnTo>
                  <a:lnTo>
                    <a:pt x="178" y="136"/>
                  </a:lnTo>
                  <a:lnTo>
                    <a:pt x="176" y="136"/>
                  </a:lnTo>
                  <a:lnTo>
                    <a:pt x="176" y="138"/>
                  </a:lnTo>
                  <a:lnTo>
                    <a:pt x="176" y="140"/>
                  </a:lnTo>
                  <a:lnTo>
                    <a:pt x="178" y="140"/>
                  </a:lnTo>
                  <a:lnTo>
                    <a:pt x="176" y="140"/>
                  </a:lnTo>
                  <a:lnTo>
                    <a:pt x="176" y="142"/>
                  </a:lnTo>
                  <a:lnTo>
                    <a:pt x="178" y="142"/>
                  </a:lnTo>
                  <a:lnTo>
                    <a:pt x="178" y="144"/>
                  </a:lnTo>
                  <a:lnTo>
                    <a:pt x="180" y="144"/>
                  </a:lnTo>
                  <a:lnTo>
                    <a:pt x="180" y="146"/>
                  </a:lnTo>
                  <a:lnTo>
                    <a:pt x="180" y="144"/>
                  </a:lnTo>
                  <a:lnTo>
                    <a:pt x="180" y="146"/>
                  </a:lnTo>
                  <a:lnTo>
                    <a:pt x="182" y="146"/>
                  </a:lnTo>
                  <a:lnTo>
                    <a:pt x="182" y="148"/>
                  </a:lnTo>
                  <a:lnTo>
                    <a:pt x="180" y="148"/>
                  </a:lnTo>
                  <a:lnTo>
                    <a:pt x="182" y="148"/>
                  </a:lnTo>
                  <a:lnTo>
                    <a:pt x="180" y="148"/>
                  </a:lnTo>
                  <a:lnTo>
                    <a:pt x="180" y="150"/>
                  </a:lnTo>
                  <a:lnTo>
                    <a:pt x="180" y="152"/>
                  </a:lnTo>
                  <a:lnTo>
                    <a:pt x="178" y="152"/>
                  </a:lnTo>
                  <a:lnTo>
                    <a:pt x="178" y="150"/>
                  </a:lnTo>
                  <a:lnTo>
                    <a:pt x="178" y="152"/>
                  </a:lnTo>
                  <a:lnTo>
                    <a:pt x="176" y="152"/>
                  </a:lnTo>
                  <a:lnTo>
                    <a:pt x="176" y="153"/>
                  </a:lnTo>
                  <a:lnTo>
                    <a:pt x="176" y="155"/>
                  </a:lnTo>
                  <a:lnTo>
                    <a:pt x="174" y="155"/>
                  </a:lnTo>
                  <a:lnTo>
                    <a:pt x="174" y="157"/>
                  </a:lnTo>
                  <a:lnTo>
                    <a:pt x="172" y="157"/>
                  </a:lnTo>
                  <a:lnTo>
                    <a:pt x="172" y="159"/>
                  </a:lnTo>
                  <a:lnTo>
                    <a:pt x="172" y="161"/>
                  </a:lnTo>
                  <a:lnTo>
                    <a:pt x="172" y="163"/>
                  </a:lnTo>
                  <a:lnTo>
                    <a:pt x="172" y="165"/>
                  </a:lnTo>
                  <a:lnTo>
                    <a:pt x="172" y="163"/>
                  </a:lnTo>
                  <a:lnTo>
                    <a:pt x="171" y="163"/>
                  </a:lnTo>
                  <a:lnTo>
                    <a:pt x="169" y="163"/>
                  </a:lnTo>
                  <a:lnTo>
                    <a:pt x="167" y="163"/>
                  </a:lnTo>
                  <a:lnTo>
                    <a:pt x="165" y="163"/>
                  </a:lnTo>
                  <a:lnTo>
                    <a:pt x="165" y="165"/>
                  </a:lnTo>
                  <a:lnTo>
                    <a:pt x="165" y="163"/>
                  </a:lnTo>
                  <a:lnTo>
                    <a:pt x="163" y="163"/>
                  </a:lnTo>
                  <a:lnTo>
                    <a:pt x="163" y="161"/>
                  </a:lnTo>
                  <a:lnTo>
                    <a:pt x="161" y="161"/>
                  </a:lnTo>
                  <a:lnTo>
                    <a:pt x="159" y="161"/>
                  </a:lnTo>
                  <a:lnTo>
                    <a:pt x="157" y="161"/>
                  </a:lnTo>
                  <a:lnTo>
                    <a:pt x="155" y="161"/>
                  </a:lnTo>
                  <a:lnTo>
                    <a:pt x="153" y="161"/>
                  </a:lnTo>
                  <a:lnTo>
                    <a:pt x="153" y="159"/>
                  </a:lnTo>
                  <a:lnTo>
                    <a:pt x="155" y="159"/>
                  </a:lnTo>
                  <a:lnTo>
                    <a:pt x="153" y="159"/>
                  </a:lnTo>
                  <a:lnTo>
                    <a:pt x="153" y="157"/>
                  </a:lnTo>
                  <a:lnTo>
                    <a:pt x="153" y="155"/>
                  </a:lnTo>
                  <a:lnTo>
                    <a:pt x="155" y="155"/>
                  </a:lnTo>
                  <a:lnTo>
                    <a:pt x="153" y="155"/>
                  </a:lnTo>
                  <a:lnTo>
                    <a:pt x="155" y="155"/>
                  </a:lnTo>
                  <a:lnTo>
                    <a:pt x="155" y="153"/>
                  </a:lnTo>
                  <a:lnTo>
                    <a:pt x="153" y="153"/>
                  </a:lnTo>
                  <a:lnTo>
                    <a:pt x="155" y="153"/>
                  </a:lnTo>
                  <a:lnTo>
                    <a:pt x="155" y="152"/>
                  </a:lnTo>
                  <a:lnTo>
                    <a:pt x="157" y="152"/>
                  </a:lnTo>
                  <a:lnTo>
                    <a:pt x="157" y="150"/>
                  </a:lnTo>
                  <a:lnTo>
                    <a:pt x="155" y="150"/>
                  </a:lnTo>
                  <a:lnTo>
                    <a:pt x="153" y="150"/>
                  </a:lnTo>
                  <a:lnTo>
                    <a:pt x="153" y="148"/>
                  </a:lnTo>
                  <a:lnTo>
                    <a:pt x="153" y="150"/>
                  </a:lnTo>
                  <a:lnTo>
                    <a:pt x="151" y="150"/>
                  </a:lnTo>
                  <a:lnTo>
                    <a:pt x="151" y="148"/>
                  </a:lnTo>
                  <a:lnTo>
                    <a:pt x="149" y="148"/>
                  </a:lnTo>
                  <a:lnTo>
                    <a:pt x="149" y="146"/>
                  </a:lnTo>
                  <a:lnTo>
                    <a:pt x="147" y="146"/>
                  </a:lnTo>
                  <a:lnTo>
                    <a:pt x="146" y="146"/>
                  </a:lnTo>
                  <a:lnTo>
                    <a:pt x="146" y="144"/>
                  </a:lnTo>
                  <a:lnTo>
                    <a:pt x="146" y="146"/>
                  </a:lnTo>
                  <a:lnTo>
                    <a:pt x="146" y="144"/>
                  </a:lnTo>
                  <a:lnTo>
                    <a:pt x="144" y="144"/>
                  </a:lnTo>
                  <a:lnTo>
                    <a:pt x="144" y="146"/>
                  </a:lnTo>
                  <a:lnTo>
                    <a:pt x="142" y="144"/>
                  </a:lnTo>
                  <a:lnTo>
                    <a:pt x="140" y="144"/>
                  </a:lnTo>
                  <a:lnTo>
                    <a:pt x="138" y="144"/>
                  </a:lnTo>
                  <a:lnTo>
                    <a:pt x="138" y="142"/>
                  </a:lnTo>
                  <a:lnTo>
                    <a:pt x="136" y="142"/>
                  </a:lnTo>
                  <a:lnTo>
                    <a:pt x="134" y="140"/>
                  </a:lnTo>
                  <a:lnTo>
                    <a:pt x="134" y="138"/>
                  </a:lnTo>
                  <a:lnTo>
                    <a:pt x="132" y="138"/>
                  </a:lnTo>
                  <a:lnTo>
                    <a:pt x="130" y="138"/>
                  </a:lnTo>
                  <a:lnTo>
                    <a:pt x="130" y="136"/>
                  </a:lnTo>
                  <a:lnTo>
                    <a:pt x="128" y="136"/>
                  </a:lnTo>
                  <a:lnTo>
                    <a:pt x="126" y="136"/>
                  </a:lnTo>
                  <a:lnTo>
                    <a:pt x="126" y="134"/>
                  </a:lnTo>
                  <a:lnTo>
                    <a:pt x="124" y="134"/>
                  </a:lnTo>
                  <a:lnTo>
                    <a:pt x="124" y="132"/>
                  </a:lnTo>
                  <a:lnTo>
                    <a:pt x="123" y="132"/>
                  </a:lnTo>
                  <a:lnTo>
                    <a:pt x="123" y="130"/>
                  </a:lnTo>
                  <a:lnTo>
                    <a:pt x="121" y="130"/>
                  </a:lnTo>
                  <a:lnTo>
                    <a:pt x="121" y="132"/>
                  </a:lnTo>
                  <a:lnTo>
                    <a:pt x="119" y="130"/>
                  </a:lnTo>
                  <a:lnTo>
                    <a:pt x="117" y="130"/>
                  </a:lnTo>
                  <a:lnTo>
                    <a:pt x="117" y="129"/>
                  </a:lnTo>
                  <a:lnTo>
                    <a:pt x="115" y="129"/>
                  </a:lnTo>
                  <a:lnTo>
                    <a:pt x="115" y="127"/>
                  </a:lnTo>
                  <a:lnTo>
                    <a:pt x="113" y="127"/>
                  </a:lnTo>
                  <a:lnTo>
                    <a:pt x="111" y="125"/>
                  </a:lnTo>
                  <a:lnTo>
                    <a:pt x="109" y="123"/>
                  </a:lnTo>
                  <a:lnTo>
                    <a:pt x="101" y="119"/>
                  </a:lnTo>
                  <a:lnTo>
                    <a:pt x="101" y="117"/>
                  </a:lnTo>
                  <a:lnTo>
                    <a:pt x="96" y="113"/>
                  </a:lnTo>
                  <a:lnTo>
                    <a:pt x="94" y="113"/>
                  </a:lnTo>
                  <a:lnTo>
                    <a:pt x="94" y="111"/>
                  </a:lnTo>
                  <a:lnTo>
                    <a:pt x="94" y="109"/>
                  </a:lnTo>
                  <a:lnTo>
                    <a:pt x="94" y="107"/>
                  </a:lnTo>
                  <a:lnTo>
                    <a:pt x="94" y="105"/>
                  </a:lnTo>
                  <a:lnTo>
                    <a:pt x="92" y="105"/>
                  </a:lnTo>
                  <a:lnTo>
                    <a:pt x="94" y="104"/>
                  </a:lnTo>
                  <a:lnTo>
                    <a:pt x="92" y="104"/>
                  </a:lnTo>
                  <a:lnTo>
                    <a:pt x="92" y="102"/>
                  </a:lnTo>
                  <a:lnTo>
                    <a:pt x="90" y="102"/>
                  </a:lnTo>
                  <a:lnTo>
                    <a:pt x="90" y="100"/>
                  </a:lnTo>
                  <a:lnTo>
                    <a:pt x="90" y="98"/>
                  </a:lnTo>
                  <a:lnTo>
                    <a:pt x="88" y="98"/>
                  </a:lnTo>
                  <a:lnTo>
                    <a:pt x="88" y="96"/>
                  </a:lnTo>
                  <a:lnTo>
                    <a:pt x="88" y="94"/>
                  </a:lnTo>
                  <a:lnTo>
                    <a:pt x="88" y="92"/>
                  </a:lnTo>
                  <a:lnTo>
                    <a:pt x="86" y="92"/>
                  </a:lnTo>
                  <a:lnTo>
                    <a:pt x="86" y="90"/>
                  </a:lnTo>
                  <a:lnTo>
                    <a:pt x="84" y="90"/>
                  </a:lnTo>
                  <a:lnTo>
                    <a:pt x="84" y="88"/>
                  </a:lnTo>
                  <a:lnTo>
                    <a:pt x="82" y="88"/>
                  </a:lnTo>
                  <a:lnTo>
                    <a:pt x="82" y="86"/>
                  </a:lnTo>
                  <a:lnTo>
                    <a:pt x="82" y="88"/>
                  </a:lnTo>
                  <a:lnTo>
                    <a:pt x="82" y="86"/>
                  </a:lnTo>
                  <a:lnTo>
                    <a:pt x="80" y="86"/>
                  </a:lnTo>
                  <a:lnTo>
                    <a:pt x="80" y="88"/>
                  </a:lnTo>
                  <a:lnTo>
                    <a:pt x="80" y="86"/>
                  </a:lnTo>
                  <a:lnTo>
                    <a:pt x="78" y="86"/>
                  </a:lnTo>
                  <a:lnTo>
                    <a:pt x="78" y="88"/>
                  </a:lnTo>
                  <a:lnTo>
                    <a:pt x="78" y="90"/>
                  </a:lnTo>
                  <a:lnTo>
                    <a:pt x="76" y="90"/>
                  </a:lnTo>
                  <a:lnTo>
                    <a:pt x="75" y="88"/>
                  </a:lnTo>
                  <a:lnTo>
                    <a:pt x="75" y="86"/>
                  </a:lnTo>
                  <a:lnTo>
                    <a:pt x="73" y="86"/>
                  </a:lnTo>
                  <a:lnTo>
                    <a:pt x="73" y="88"/>
                  </a:lnTo>
                  <a:lnTo>
                    <a:pt x="71" y="88"/>
                  </a:lnTo>
                  <a:lnTo>
                    <a:pt x="69" y="88"/>
                  </a:lnTo>
                  <a:lnTo>
                    <a:pt x="67" y="88"/>
                  </a:lnTo>
                  <a:lnTo>
                    <a:pt x="65" y="88"/>
                  </a:lnTo>
                  <a:lnTo>
                    <a:pt x="65" y="86"/>
                  </a:lnTo>
                  <a:lnTo>
                    <a:pt x="63" y="86"/>
                  </a:lnTo>
                  <a:lnTo>
                    <a:pt x="61" y="86"/>
                  </a:lnTo>
                  <a:lnTo>
                    <a:pt x="61" y="84"/>
                  </a:lnTo>
                  <a:lnTo>
                    <a:pt x="59" y="84"/>
                  </a:lnTo>
                  <a:lnTo>
                    <a:pt x="59" y="82"/>
                  </a:lnTo>
                  <a:lnTo>
                    <a:pt x="61" y="82"/>
                  </a:lnTo>
                  <a:lnTo>
                    <a:pt x="61" y="80"/>
                  </a:lnTo>
                  <a:lnTo>
                    <a:pt x="61" y="79"/>
                  </a:lnTo>
                  <a:lnTo>
                    <a:pt x="59" y="79"/>
                  </a:lnTo>
                  <a:lnTo>
                    <a:pt x="59" y="77"/>
                  </a:lnTo>
                  <a:lnTo>
                    <a:pt x="61" y="77"/>
                  </a:lnTo>
                  <a:lnTo>
                    <a:pt x="61" y="79"/>
                  </a:lnTo>
                  <a:lnTo>
                    <a:pt x="63" y="77"/>
                  </a:lnTo>
                  <a:lnTo>
                    <a:pt x="63" y="79"/>
                  </a:lnTo>
                  <a:lnTo>
                    <a:pt x="63" y="77"/>
                  </a:lnTo>
                  <a:lnTo>
                    <a:pt x="61" y="77"/>
                  </a:lnTo>
                  <a:lnTo>
                    <a:pt x="61" y="75"/>
                  </a:lnTo>
                  <a:lnTo>
                    <a:pt x="59" y="75"/>
                  </a:lnTo>
                  <a:lnTo>
                    <a:pt x="59" y="73"/>
                  </a:lnTo>
                  <a:lnTo>
                    <a:pt x="59" y="75"/>
                  </a:lnTo>
                  <a:lnTo>
                    <a:pt x="57" y="75"/>
                  </a:lnTo>
                  <a:lnTo>
                    <a:pt x="57" y="73"/>
                  </a:lnTo>
                  <a:lnTo>
                    <a:pt x="59" y="73"/>
                  </a:lnTo>
                  <a:lnTo>
                    <a:pt x="59" y="71"/>
                  </a:lnTo>
                  <a:lnTo>
                    <a:pt x="57" y="71"/>
                  </a:lnTo>
                  <a:lnTo>
                    <a:pt x="57" y="69"/>
                  </a:lnTo>
                  <a:lnTo>
                    <a:pt x="59" y="69"/>
                  </a:lnTo>
                  <a:lnTo>
                    <a:pt x="59" y="71"/>
                  </a:lnTo>
                  <a:lnTo>
                    <a:pt x="59" y="69"/>
                  </a:lnTo>
                  <a:lnTo>
                    <a:pt x="59" y="67"/>
                  </a:lnTo>
                  <a:lnTo>
                    <a:pt x="57" y="67"/>
                  </a:lnTo>
                  <a:lnTo>
                    <a:pt x="57" y="69"/>
                  </a:lnTo>
                  <a:lnTo>
                    <a:pt x="57" y="67"/>
                  </a:lnTo>
                  <a:lnTo>
                    <a:pt x="55" y="67"/>
                  </a:lnTo>
                  <a:lnTo>
                    <a:pt x="53" y="67"/>
                  </a:lnTo>
                  <a:lnTo>
                    <a:pt x="52" y="67"/>
                  </a:lnTo>
                  <a:lnTo>
                    <a:pt x="50" y="67"/>
                  </a:lnTo>
                  <a:lnTo>
                    <a:pt x="50" y="65"/>
                  </a:lnTo>
                  <a:lnTo>
                    <a:pt x="48" y="65"/>
                  </a:lnTo>
                  <a:lnTo>
                    <a:pt x="48" y="63"/>
                  </a:lnTo>
                  <a:lnTo>
                    <a:pt x="46" y="63"/>
                  </a:lnTo>
                  <a:lnTo>
                    <a:pt x="44" y="63"/>
                  </a:lnTo>
                  <a:lnTo>
                    <a:pt x="40" y="59"/>
                  </a:lnTo>
                  <a:lnTo>
                    <a:pt x="40" y="57"/>
                  </a:lnTo>
                  <a:lnTo>
                    <a:pt x="38" y="57"/>
                  </a:lnTo>
                  <a:lnTo>
                    <a:pt x="38" y="59"/>
                  </a:lnTo>
                  <a:lnTo>
                    <a:pt x="36" y="59"/>
                  </a:lnTo>
                  <a:lnTo>
                    <a:pt x="34" y="59"/>
                  </a:lnTo>
                  <a:lnTo>
                    <a:pt x="32" y="59"/>
                  </a:lnTo>
                  <a:lnTo>
                    <a:pt x="32" y="61"/>
                  </a:lnTo>
                  <a:lnTo>
                    <a:pt x="34" y="61"/>
                  </a:lnTo>
                  <a:lnTo>
                    <a:pt x="34" y="63"/>
                  </a:lnTo>
                  <a:lnTo>
                    <a:pt x="34" y="65"/>
                  </a:lnTo>
                  <a:lnTo>
                    <a:pt x="36" y="65"/>
                  </a:lnTo>
                  <a:lnTo>
                    <a:pt x="36" y="67"/>
                  </a:lnTo>
                  <a:lnTo>
                    <a:pt x="34" y="67"/>
                  </a:lnTo>
                  <a:lnTo>
                    <a:pt x="34" y="65"/>
                  </a:lnTo>
                  <a:lnTo>
                    <a:pt x="34" y="63"/>
                  </a:lnTo>
                  <a:lnTo>
                    <a:pt x="32" y="63"/>
                  </a:lnTo>
                  <a:lnTo>
                    <a:pt x="30" y="63"/>
                  </a:lnTo>
                  <a:lnTo>
                    <a:pt x="28" y="63"/>
                  </a:lnTo>
                  <a:lnTo>
                    <a:pt x="28" y="65"/>
                  </a:lnTo>
                  <a:lnTo>
                    <a:pt x="28" y="63"/>
                  </a:lnTo>
                  <a:lnTo>
                    <a:pt x="28" y="65"/>
                  </a:lnTo>
                  <a:lnTo>
                    <a:pt x="28" y="67"/>
                  </a:lnTo>
                  <a:lnTo>
                    <a:pt x="28" y="69"/>
                  </a:lnTo>
                  <a:lnTo>
                    <a:pt x="27" y="69"/>
                  </a:lnTo>
                  <a:lnTo>
                    <a:pt x="25" y="69"/>
                  </a:lnTo>
                  <a:lnTo>
                    <a:pt x="25" y="71"/>
                  </a:lnTo>
                  <a:lnTo>
                    <a:pt x="23" y="71"/>
                  </a:lnTo>
                  <a:lnTo>
                    <a:pt x="23" y="69"/>
                  </a:lnTo>
                  <a:lnTo>
                    <a:pt x="21" y="69"/>
                  </a:lnTo>
                  <a:lnTo>
                    <a:pt x="19" y="71"/>
                  </a:lnTo>
                  <a:lnTo>
                    <a:pt x="17" y="73"/>
                  </a:lnTo>
                  <a:lnTo>
                    <a:pt x="17" y="75"/>
                  </a:lnTo>
                  <a:lnTo>
                    <a:pt x="15" y="75"/>
                  </a:lnTo>
                  <a:lnTo>
                    <a:pt x="15" y="77"/>
                  </a:lnTo>
                  <a:lnTo>
                    <a:pt x="15" y="79"/>
                  </a:lnTo>
                  <a:lnTo>
                    <a:pt x="15" y="80"/>
                  </a:lnTo>
                  <a:lnTo>
                    <a:pt x="15" y="82"/>
                  </a:lnTo>
                  <a:lnTo>
                    <a:pt x="15" y="84"/>
                  </a:lnTo>
                  <a:lnTo>
                    <a:pt x="17" y="84"/>
                  </a:lnTo>
                  <a:lnTo>
                    <a:pt x="17" y="86"/>
                  </a:lnTo>
                  <a:lnTo>
                    <a:pt x="17" y="84"/>
                  </a:lnTo>
                  <a:lnTo>
                    <a:pt x="17" y="86"/>
                  </a:lnTo>
                  <a:lnTo>
                    <a:pt x="15" y="86"/>
                  </a:lnTo>
                  <a:lnTo>
                    <a:pt x="15" y="88"/>
                  </a:lnTo>
                  <a:lnTo>
                    <a:pt x="13" y="88"/>
                  </a:lnTo>
                  <a:lnTo>
                    <a:pt x="11" y="86"/>
                  </a:lnTo>
                  <a:lnTo>
                    <a:pt x="7" y="86"/>
                  </a:lnTo>
                  <a:lnTo>
                    <a:pt x="5" y="86"/>
                  </a:lnTo>
                  <a:lnTo>
                    <a:pt x="4" y="86"/>
                  </a:lnTo>
                  <a:lnTo>
                    <a:pt x="2" y="86"/>
                  </a:lnTo>
                  <a:lnTo>
                    <a:pt x="0" y="86"/>
                  </a:lnTo>
                  <a:lnTo>
                    <a:pt x="0" y="52"/>
                  </a:lnTo>
                  <a:lnTo>
                    <a:pt x="0" y="38"/>
                  </a:lnTo>
                  <a:lnTo>
                    <a:pt x="0" y="27"/>
                  </a:lnTo>
                  <a:lnTo>
                    <a:pt x="0" y="23"/>
                  </a:lnTo>
                  <a:lnTo>
                    <a:pt x="0" y="15"/>
                  </a:lnTo>
                  <a:lnTo>
                    <a:pt x="0" y="13"/>
                  </a:lnTo>
                  <a:lnTo>
                    <a:pt x="11" y="9"/>
                  </a:lnTo>
                  <a:lnTo>
                    <a:pt x="27" y="4"/>
                  </a:lnTo>
                  <a:lnTo>
                    <a:pt x="38" y="0"/>
                  </a:lnTo>
                  <a:lnTo>
                    <a:pt x="40" y="2"/>
                  </a:lnTo>
                  <a:lnTo>
                    <a:pt x="52" y="8"/>
                  </a:lnTo>
                  <a:lnTo>
                    <a:pt x="59" y="11"/>
                  </a:lnTo>
                  <a:lnTo>
                    <a:pt x="69" y="21"/>
                  </a:lnTo>
                  <a:lnTo>
                    <a:pt x="75" y="25"/>
                  </a:lnTo>
                  <a:lnTo>
                    <a:pt x="75" y="27"/>
                  </a:lnTo>
                  <a:lnTo>
                    <a:pt x="76" y="31"/>
                  </a:lnTo>
                  <a:lnTo>
                    <a:pt x="86" y="40"/>
                  </a:lnTo>
                  <a:lnTo>
                    <a:pt x="88" y="42"/>
                  </a:lnTo>
                  <a:lnTo>
                    <a:pt x="96" y="42"/>
                  </a:lnTo>
                  <a:lnTo>
                    <a:pt x="105" y="40"/>
                  </a:lnTo>
                  <a:lnTo>
                    <a:pt x="115" y="42"/>
                  </a:lnTo>
                  <a:lnTo>
                    <a:pt x="124" y="42"/>
                  </a:lnTo>
                  <a:lnTo>
                    <a:pt x="126" y="40"/>
                  </a:lnTo>
                  <a:lnTo>
                    <a:pt x="130" y="38"/>
                  </a:lnTo>
                  <a:lnTo>
                    <a:pt x="132" y="38"/>
                  </a:lnTo>
                  <a:lnTo>
                    <a:pt x="134" y="44"/>
                  </a:lnTo>
                  <a:lnTo>
                    <a:pt x="140" y="46"/>
                  </a:lnTo>
                  <a:lnTo>
                    <a:pt x="144" y="56"/>
                  </a:lnTo>
                  <a:lnTo>
                    <a:pt x="147" y="54"/>
                  </a:lnTo>
                  <a:lnTo>
                    <a:pt x="147" y="59"/>
                  </a:lnTo>
                  <a:lnTo>
                    <a:pt x="147" y="65"/>
                  </a:lnTo>
                  <a:lnTo>
                    <a:pt x="147" y="75"/>
                  </a:lnTo>
                  <a:lnTo>
                    <a:pt x="155" y="75"/>
                  </a:lnTo>
                  <a:lnTo>
                    <a:pt x="155" y="88"/>
                  </a:lnTo>
                  <a:lnTo>
                    <a:pt x="157" y="90"/>
                  </a:lnTo>
                  <a:lnTo>
                    <a:pt x="165" y="90"/>
                  </a:lnTo>
                  <a:lnTo>
                    <a:pt x="167" y="90"/>
                  </a:lnTo>
                  <a:lnTo>
                    <a:pt x="169" y="88"/>
                  </a:lnTo>
                  <a:lnTo>
                    <a:pt x="171" y="88"/>
                  </a:lnTo>
                  <a:lnTo>
                    <a:pt x="172" y="88"/>
                  </a:lnTo>
                  <a:lnTo>
                    <a:pt x="172" y="90"/>
                  </a:lnTo>
                  <a:lnTo>
                    <a:pt x="174" y="90"/>
                  </a:lnTo>
                  <a:lnTo>
                    <a:pt x="176" y="90"/>
                  </a:lnTo>
                  <a:lnTo>
                    <a:pt x="174" y="90"/>
                  </a:lnTo>
                  <a:lnTo>
                    <a:pt x="174" y="92"/>
                  </a:lnTo>
                  <a:lnTo>
                    <a:pt x="176" y="92"/>
                  </a:lnTo>
                  <a:lnTo>
                    <a:pt x="174" y="92"/>
                  </a:lnTo>
                  <a:lnTo>
                    <a:pt x="176" y="92"/>
                  </a:lnTo>
                  <a:lnTo>
                    <a:pt x="174" y="92"/>
                  </a:lnTo>
                  <a:lnTo>
                    <a:pt x="176" y="92"/>
                  </a:lnTo>
                  <a:lnTo>
                    <a:pt x="176" y="90"/>
                  </a:lnTo>
                  <a:lnTo>
                    <a:pt x="176" y="92"/>
                  </a:lnTo>
                  <a:lnTo>
                    <a:pt x="176" y="90"/>
                  </a:lnTo>
                  <a:lnTo>
                    <a:pt x="178" y="90"/>
                  </a:lnTo>
                  <a:lnTo>
                    <a:pt x="178" y="92"/>
                  </a:lnTo>
                  <a:lnTo>
                    <a:pt x="176" y="92"/>
                  </a:lnTo>
                  <a:lnTo>
                    <a:pt x="176" y="94"/>
                  </a:lnTo>
                  <a:lnTo>
                    <a:pt x="176" y="96"/>
                  </a:lnTo>
                  <a:lnTo>
                    <a:pt x="174" y="96"/>
                  </a:lnTo>
                  <a:lnTo>
                    <a:pt x="176" y="96"/>
                  </a:lnTo>
                  <a:lnTo>
                    <a:pt x="178" y="98"/>
                  </a:lnTo>
                  <a:lnTo>
                    <a:pt x="180" y="100"/>
                  </a:lnTo>
                  <a:lnTo>
                    <a:pt x="182" y="100"/>
                  </a:lnTo>
                  <a:lnTo>
                    <a:pt x="182" y="102"/>
                  </a:lnTo>
                  <a:lnTo>
                    <a:pt x="182" y="100"/>
                  </a:lnTo>
                  <a:lnTo>
                    <a:pt x="184" y="100"/>
                  </a:lnTo>
                  <a:lnTo>
                    <a:pt x="184" y="102"/>
                  </a:lnTo>
                  <a:lnTo>
                    <a:pt x="184" y="100"/>
                  </a:lnTo>
                  <a:lnTo>
                    <a:pt x="186" y="100"/>
                  </a:lnTo>
                  <a:lnTo>
                    <a:pt x="184" y="100"/>
                  </a:lnTo>
                  <a:lnTo>
                    <a:pt x="186" y="100"/>
                  </a:lnTo>
                  <a:lnTo>
                    <a:pt x="184" y="98"/>
                  </a:lnTo>
                  <a:lnTo>
                    <a:pt x="184" y="96"/>
                  </a:lnTo>
                  <a:lnTo>
                    <a:pt x="184" y="94"/>
                  </a:lnTo>
                  <a:lnTo>
                    <a:pt x="182" y="94"/>
                  </a:lnTo>
                  <a:lnTo>
                    <a:pt x="182" y="92"/>
                  </a:lnTo>
                  <a:lnTo>
                    <a:pt x="184" y="92"/>
                  </a:lnTo>
                  <a:lnTo>
                    <a:pt x="186" y="92"/>
                  </a:lnTo>
                  <a:lnTo>
                    <a:pt x="184" y="92"/>
                  </a:lnTo>
                  <a:lnTo>
                    <a:pt x="184" y="94"/>
                  </a:lnTo>
                  <a:lnTo>
                    <a:pt x="186" y="94"/>
                  </a:lnTo>
                  <a:lnTo>
                    <a:pt x="186" y="92"/>
                  </a:lnTo>
                  <a:lnTo>
                    <a:pt x="186" y="90"/>
                  </a:lnTo>
                  <a:lnTo>
                    <a:pt x="188" y="90"/>
                  </a:lnTo>
                  <a:lnTo>
                    <a:pt x="190" y="88"/>
                  </a:lnTo>
                  <a:lnTo>
                    <a:pt x="192" y="88"/>
                  </a:lnTo>
                  <a:lnTo>
                    <a:pt x="190" y="86"/>
                  </a:lnTo>
                  <a:lnTo>
                    <a:pt x="192" y="86"/>
                  </a:lnTo>
                  <a:lnTo>
                    <a:pt x="190" y="86"/>
                  </a:lnTo>
                  <a:lnTo>
                    <a:pt x="192" y="86"/>
                  </a:lnTo>
                  <a:lnTo>
                    <a:pt x="192" y="84"/>
                  </a:lnTo>
                  <a:lnTo>
                    <a:pt x="194" y="84"/>
                  </a:lnTo>
                  <a:lnTo>
                    <a:pt x="195" y="84"/>
                  </a:lnTo>
                  <a:lnTo>
                    <a:pt x="197" y="84"/>
                  </a:lnTo>
                  <a:lnTo>
                    <a:pt x="197" y="82"/>
                  </a:lnTo>
                  <a:lnTo>
                    <a:pt x="195" y="82"/>
                  </a:lnTo>
                  <a:lnTo>
                    <a:pt x="197" y="82"/>
                  </a:lnTo>
                  <a:lnTo>
                    <a:pt x="197" y="80"/>
                  </a:lnTo>
                  <a:lnTo>
                    <a:pt x="199" y="80"/>
                  </a:lnTo>
                  <a:lnTo>
                    <a:pt x="199" y="79"/>
                  </a:lnTo>
                  <a:lnTo>
                    <a:pt x="201" y="79"/>
                  </a:lnTo>
                  <a:lnTo>
                    <a:pt x="203" y="79"/>
                  </a:lnTo>
                  <a:lnTo>
                    <a:pt x="205" y="79"/>
                  </a:lnTo>
                  <a:lnTo>
                    <a:pt x="205" y="77"/>
                  </a:lnTo>
                  <a:lnTo>
                    <a:pt x="207" y="77"/>
                  </a:lnTo>
                  <a:lnTo>
                    <a:pt x="207" y="75"/>
                  </a:lnTo>
                  <a:lnTo>
                    <a:pt x="209" y="75"/>
                  </a:lnTo>
                  <a:lnTo>
                    <a:pt x="209" y="73"/>
                  </a:lnTo>
                  <a:lnTo>
                    <a:pt x="209" y="71"/>
                  </a:lnTo>
                  <a:lnTo>
                    <a:pt x="209" y="73"/>
                  </a:lnTo>
                  <a:lnTo>
                    <a:pt x="209" y="71"/>
                  </a:lnTo>
                  <a:lnTo>
                    <a:pt x="211" y="71"/>
                  </a:lnTo>
                  <a:lnTo>
                    <a:pt x="213" y="71"/>
                  </a:lnTo>
                  <a:lnTo>
                    <a:pt x="213" y="73"/>
                  </a:lnTo>
                  <a:lnTo>
                    <a:pt x="215" y="73"/>
                  </a:lnTo>
                  <a:lnTo>
                    <a:pt x="215" y="71"/>
                  </a:lnTo>
                  <a:lnTo>
                    <a:pt x="215" y="69"/>
                  </a:lnTo>
                  <a:lnTo>
                    <a:pt x="217" y="69"/>
                  </a:lnTo>
                  <a:lnTo>
                    <a:pt x="215" y="69"/>
                  </a:lnTo>
                  <a:lnTo>
                    <a:pt x="217" y="69"/>
                  </a:lnTo>
                  <a:lnTo>
                    <a:pt x="219" y="69"/>
                  </a:lnTo>
                  <a:lnTo>
                    <a:pt x="219" y="67"/>
                  </a:lnTo>
                  <a:close/>
                  <a:moveTo>
                    <a:pt x="220" y="107"/>
                  </a:moveTo>
                  <a:lnTo>
                    <a:pt x="220" y="109"/>
                  </a:lnTo>
                  <a:lnTo>
                    <a:pt x="220" y="111"/>
                  </a:lnTo>
                  <a:lnTo>
                    <a:pt x="222" y="111"/>
                  </a:lnTo>
                  <a:lnTo>
                    <a:pt x="222" y="113"/>
                  </a:lnTo>
                  <a:lnTo>
                    <a:pt x="220" y="113"/>
                  </a:lnTo>
                  <a:lnTo>
                    <a:pt x="222" y="113"/>
                  </a:lnTo>
                  <a:lnTo>
                    <a:pt x="220" y="113"/>
                  </a:lnTo>
                  <a:lnTo>
                    <a:pt x="220" y="111"/>
                  </a:lnTo>
                  <a:lnTo>
                    <a:pt x="220" y="109"/>
                  </a:lnTo>
                  <a:lnTo>
                    <a:pt x="219" y="107"/>
                  </a:lnTo>
                  <a:lnTo>
                    <a:pt x="220" y="107"/>
                  </a:lnTo>
                  <a:close/>
                  <a:moveTo>
                    <a:pt x="230" y="111"/>
                  </a:moveTo>
                  <a:lnTo>
                    <a:pt x="232" y="111"/>
                  </a:lnTo>
                  <a:lnTo>
                    <a:pt x="232" y="113"/>
                  </a:lnTo>
                  <a:lnTo>
                    <a:pt x="230" y="113"/>
                  </a:lnTo>
                  <a:lnTo>
                    <a:pt x="230" y="111"/>
                  </a:lnTo>
                  <a:close/>
                </a:path>
              </a:pathLst>
            </a:custGeom>
            <a:solidFill>
              <a:schemeClr val="accent1">
                <a:lumMod val="75000"/>
              </a:schemeClr>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344">
              <a:extLst>
                <a:ext uri="{FF2B5EF4-FFF2-40B4-BE49-F238E27FC236}">
                  <a16:creationId xmlns:a16="http://schemas.microsoft.com/office/drawing/2014/main" id="{C36F286E-1996-40C4-B546-F27965F1801F}"/>
                </a:ext>
              </a:extLst>
            </p:cNvPr>
            <p:cNvSpPr>
              <a:spLocks noEditPoints="1"/>
            </p:cNvSpPr>
            <p:nvPr/>
          </p:nvSpPr>
          <p:spPr bwMode="gray">
            <a:xfrm>
              <a:off x="4150119" y="3515435"/>
              <a:ext cx="256313" cy="177825"/>
            </a:xfrm>
            <a:custGeom>
              <a:avLst/>
              <a:gdLst>
                <a:gd name="T0" fmla="*/ 194 w 209"/>
                <a:gd name="T1" fmla="*/ 102 h 145"/>
                <a:gd name="T2" fmla="*/ 180 w 209"/>
                <a:gd name="T3" fmla="*/ 112 h 145"/>
                <a:gd name="T4" fmla="*/ 173 w 209"/>
                <a:gd name="T5" fmla="*/ 125 h 145"/>
                <a:gd name="T6" fmla="*/ 159 w 209"/>
                <a:gd name="T7" fmla="*/ 131 h 145"/>
                <a:gd name="T8" fmla="*/ 153 w 209"/>
                <a:gd name="T9" fmla="*/ 139 h 145"/>
                <a:gd name="T10" fmla="*/ 142 w 209"/>
                <a:gd name="T11" fmla="*/ 141 h 145"/>
                <a:gd name="T12" fmla="*/ 128 w 209"/>
                <a:gd name="T13" fmla="*/ 137 h 145"/>
                <a:gd name="T14" fmla="*/ 128 w 209"/>
                <a:gd name="T15" fmla="*/ 125 h 145"/>
                <a:gd name="T16" fmla="*/ 128 w 209"/>
                <a:gd name="T17" fmla="*/ 118 h 145"/>
                <a:gd name="T18" fmla="*/ 113 w 209"/>
                <a:gd name="T19" fmla="*/ 114 h 145"/>
                <a:gd name="T20" fmla="*/ 102 w 209"/>
                <a:gd name="T21" fmla="*/ 106 h 145"/>
                <a:gd name="T22" fmla="*/ 96 w 209"/>
                <a:gd name="T23" fmla="*/ 100 h 145"/>
                <a:gd name="T24" fmla="*/ 80 w 209"/>
                <a:gd name="T25" fmla="*/ 96 h 145"/>
                <a:gd name="T26" fmla="*/ 73 w 209"/>
                <a:gd name="T27" fmla="*/ 93 h 145"/>
                <a:gd name="T28" fmla="*/ 63 w 209"/>
                <a:gd name="T29" fmla="*/ 87 h 145"/>
                <a:gd name="T30" fmla="*/ 52 w 209"/>
                <a:gd name="T31" fmla="*/ 91 h 145"/>
                <a:gd name="T32" fmla="*/ 36 w 209"/>
                <a:gd name="T33" fmla="*/ 95 h 145"/>
                <a:gd name="T34" fmla="*/ 31 w 209"/>
                <a:gd name="T35" fmla="*/ 104 h 145"/>
                <a:gd name="T36" fmla="*/ 21 w 209"/>
                <a:gd name="T37" fmla="*/ 98 h 145"/>
                <a:gd name="T38" fmla="*/ 21 w 209"/>
                <a:gd name="T39" fmla="*/ 83 h 145"/>
                <a:gd name="T40" fmla="*/ 23 w 209"/>
                <a:gd name="T41" fmla="*/ 73 h 145"/>
                <a:gd name="T42" fmla="*/ 19 w 209"/>
                <a:gd name="T43" fmla="*/ 73 h 145"/>
                <a:gd name="T44" fmla="*/ 17 w 209"/>
                <a:gd name="T45" fmla="*/ 68 h 145"/>
                <a:gd name="T46" fmla="*/ 13 w 209"/>
                <a:gd name="T47" fmla="*/ 68 h 145"/>
                <a:gd name="T48" fmla="*/ 11 w 209"/>
                <a:gd name="T49" fmla="*/ 62 h 145"/>
                <a:gd name="T50" fmla="*/ 17 w 209"/>
                <a:gd name="T51" fmla="*/ 64 h 145"/>
                <a:gd name="T52" fmla="*/ 19 w 209"/>
                <a:gd name="T53" fmla="*/ 62 h 145"/>
                <a:gd name="T54" fmla="*/ 15 w 209"/>
                <a:gd name="T55" fmla="*/ 62 h 145"/>
                <a:gd name="T56" fmla="*/ 17 w 209"/>
                <a:gd name="T57" fmla="*/ 56 h 145"/>
                <a:gd name="T58" fmla="*/ 8 w 209"/>
                <a:gd name="T59" fmla="*/ 54 h 145"/>
                <a:gd name="T60" fmla="*/ 6 w 209"/>
                <a:gd name="T61" fmla="*/ 56 h 145"/>
                <a:gd name="T62" fmla="*/ 4 w 209"/>
                <a:gd name="T63" fmla="*/ 47 h 145"/>
                <a:gd name="T64" fmla="*/ 6 w 209"/>
                <a:gd name="T65" fmla="*/ 31 h 145"/>
                <a:gd name="T66" fmla="*/ 4 w 209"/>
                <a:gd name="T67" fmla="*/ 18 h 145"/>
                <a:gd name="T68" fmla="*/ 34 w 209"/>
                <a:gd name="T69" fmla="*/ 16 h 145"/>
                <a:gd name="T70" fmla="*/ 42 w 209"/>
                <a:gd name="T71" fmla="*/ 29 h 145"/>
                <a:gd name="T72" fmla="*/ 50 w 209"/>
                <a:gd name="T73" fmla="*/ 29 h 145"/>
                <a:gd name="T74" fmla="*/ 69 w 209"/>
                <a:gd name="T75" fmla="*/ 29 h 145"/>
                <a:gd name="T76" fmla="*/ 69 w 209"/>
                <a:gd name="T77" fmla="*/ 18 h 145"/>
                <a:gd name="T78" fmla="*/ 80 w 209"/>
                <a:gd name="T79" fmla="*/ 10 h 145"/>
                <a:gd name="T80" fmla="*/ 88 w 209"/>
                <a:gd name="T81" fmla="*/ 10 h 145"/>
                <a:gd name="T82" fmla="*/ 90 w 209"/>
                <a:gd name="T83" fmla="*/ 0 h 145"/>
                <a:gd name="T84" fmla="*/ 105 w 209"/>
                <a:gd name="T85" fmla="*/ 10 h 145"/>
                <a:gd name="T86" fmla="*/ 109 w 209"/>
                <a:gd name="T87" fmla="*/ 14 h 145"/>
                <a:gd name="T88" fmla="*/ 115 w 209"/>
                <a:gd name="T89" fmla="*/ 20 h 145"/>
                <a:gd name="T90" fmla="*/ 111 w 209"/>
                <a:gd name="T91" fmla="*/ 25 h 145"/>
                <a:gd name="T92" fmla="*/ 125 w 209"/>
                <a:gd name="T93" fmla="*/ 31 h 145"/>
                <a:gd name="T94" fmla="*/ 132 w 209"/>
                <a:gd name="T95" fmla="*/ 29 h 145"/>
                <a:gd name="T96" fmla="*/ 140 w 209"/>
                <a:gd name="T97" fmla="*/ 37 h 145"/>
                <a:gd name="T98" fmla="*/ 146 w 209"/>
                <a:gd name="T99" fmla="*/ 48 h 145"/>
                <a:gd name="T100" fmla="*/ 165 w 209"/>
                <a:gd name="T101" fmla="*/ 70 h 145"/>
                <a:gd name="T102" fmla="*/ 176 w 209"/>
                <a:gd name="T103" fmla="*/ 75 h 145"/>
                <a:gd name="T104" fmla="*/ 188 w 209"/>
                <a:gd name="T105" fmla="*/ 85 h 145"/>
                <a:gd name="T106" fmla="*/ 198 w 209"/>
                <a:gd name="T107" fmla="*/ 89 h 145"/>
                <a:gd name="T108" fmla="*/ 209 w 209"/>
                <a:gd name="T109" fmla="*/ 93 h 145"/>
                <a:gd name="T110" fmla="*/ 205 w 209"/>
                <a:gd name="T111" fmla="*/ 100 h 145"/>
                <a:gd name="T112" fmla="*/ 17 w 209"/>
                <a:gd name="T113" fmla="*/ 62 h 145"/>
                <a:gd name="T114" fmla="*/ 17 w 209"/>
                <a:gd name="T115" fmla="*/ 5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9" h="145">
                  <a:moveTo>
                    <a:pt x="205" y="104"/>
                  </a:moveTo>
                  <a:lnTo>
                    <a:pt x="203" y="104"/>
                  </a:lnTo>
                  <a:lnTo>
                    <a:pt x="201" y="104"/>
                  </a:lnTo>
                  <a:lnTo>
                    <a:pt x="199" y="104"/>
                  </a:lnTo>
                  <a:lnTo>
                    <a:pt x="199" y="102"/>
                  </a:lnTo>
                  <a:lnTo>
                    <a:pt x="198" y="102"/>
                  </a:lnTo>
                  <a:lnTo>
                    <a:pt x="196" y="102"/>
                  </a:lnTo>
                  <a:lnTo>
                    <a:pt x="196" y="100"/>
                  </a:lnTo>
                  <a:lnTo>
                    <a:pt x="194" y="100"/>
                  </a:lnTo>
                  <a:lnTo>
                    <a:pt x="194" y="102"/>
                  </a:lnTo>
                  <a:lnTo>
                    <a:pt x="194" y="104"/>
                  </a:lnTo>
                  <a:lnTo>
                    <a:pt x="192" y="104"/>
                  </a:lnTo>
                  <a:lnTo>
                    <a:pt x="192" y="106"/>
                  </a:lnTo>
                  <a:lnTo>
                    <a:pt x="190" y="106"/>
                  </a:lnTo>
                  <a:lnTo>
                    <a:pt x="188" y="106"/>
                  </a:lnTo>
                  <a:lnTo>
                    <a:pt x="186" y="106"/>
                  </a:lnTo>
                  <a:lnTo>
                    <a:pt x="184" y="106"/>
                  </a:lnTo>
                  <a:lnTo>
                    <a:pt x="180" y="108"/>
                  </a:lnTo>
                  <a:lnTo>
                    <a:pt x="180" y="110"/>
                  </a:lnTo>
                  <a:lnTo>
                    <a:pt x="180" y="112"/>
                  </a:lnTo>
                  <a:lnTo>
                    <a:pt x="180" y="114"/>
                  </a:lnTo>
                  <a:lnTo>
                    <a:pt x="178" y="116"/>
                  </a:lnTo>
                  <a:lnTo>
                    <a:pt x="178" y="118"/>
                  </a:lnTo>
                  <a:lnTo>
                    <a:pt x="178" y="120"/>
                  </a:lnTo>
                  <a:lnTo>
                    <a:pt x="178" y="121"/>
                  </a:lnTo>
                  <a:lnTo>
                    <a:pt x="178" y="123"/>
                  </a:lnTo>
                  <a:lnTo>
                    <a:pt x="176" y="123"/>
                  </a:lnTo>
                  <a:lnTo>
                    <a:pt x="176" y="125"/>
                  </a:lnTo>
                  <a:lnTo>
                    <a:pt x="175" y="125"/>
                  </a:lnTo>
                  <a:lnTo>
                    <a:pt x="173" y="125"/>
                  </a:lnTo>
                  <a:lnTo>
                    <a:pt x="171" y="125"/>
                  </a:lnTo>
                  <a:lnTo>
                    <a:pt x="171" y="127"/>
                  </a:lnTo>
                  <a:lnTo>
                    <a:pt x="171" y="129"/>
                  </a:lnTo>
                  <a:lnTo>
                    <a:pt x="169" y="129"/>
                  </a:lnTo>
                  <a:lnTo>
                    <a:pt x="167" y="129"/>
                  </a:lnTo>
                  <a:lnTo>
                    <a:pt x="165" y="129"/>
                  </a:lnTo>
                  <a:lnTo>
                    <a:pt x="163" y="129"/>
                  </a:lnTo>
                  <a:lnTo>
                    <a:pt x="163" y="131"/>
                  </a:lnTo>
                  <a:lnTo>
                    <a:pt x="161" y="131"/>
                  </a:lnTo>
                  <a:lnTo>
                    <a:pt x="159" y="131"/>
                  </a:lnTo>
                  <a:lnTo>
                    <a:pt x="155" y="131"/>
                  </a:lnTo>
                  <a:lnTo>
                    <a:pt x="155" y="133"/>
                  </a:lnTo>
                  <a:lnTo>
                    <a:pt x="157" y="133"/>
                  </a:lnTo>
                  <a:lnTo>
                    <a:pt x="157" y="135"/>
                  </a:lnTo>
                  <a:lnTo>
                    <a:pt x="155" y="135"/>
                  </a:lnTo>
                  <a:lnTo>
                    <a:pt x="155" y="137"/>
                  </a:lnTo>
                  <a:lnTo>
                    <a:pt x="155" y="139"/>
                  </a:lnTo>
                  <a:lnTo>
                    <a:pt x="155" y="141"/>
                  </a:lnTo>
                  <a:lnTo>
                    <a:pt x="155" y="139"/>
                  </a:lnTo>
                  <a:lnTo>
                    <a:pt x="153" y="139"/>
                  </a:lnTo>
                  <a:lnTo>
                    <a:pt x="153" y="141"/>
                  </a:lnTo>
                  <a:lnTo>
                    <a:pt x="152" y="141"/>
                  </a:lnTo>
                  <a:lnTo>
                    <a:pt x="152" y="143"/>
                  </a:lnTo>
                  <a:lnTo>
                    <a:pt x="150" y="143"/>
                  </a:lnTo>
                  <a:lnTo>
                    <a:pt x="148" y="143"/>
                  </a:lnTo>
                  <a:lnTo>
                    <a:pt x="146" y="143"/>
                  </a:lnTo>
                  <a:lnTo>
                    <a:pt x="144" y="145"/>
                  </a:lnTo>
                  <a:lnTo>
                    <a:pt x="144" y="143"/>
                  </a:lnTo>
                  <a:lnTo>
                    <a:pt x="144" y="141"/>
                  </a:lnTo>
                  <a:lnTo>
                    <a:pt x="142" y="141"/>
                  </a:lnTo>
                  <a:lnTo>
                    <a:pt x="140" y="139"/>
                  </a:lnTo>
                  <a:lnTo>
                    <a:pt x="138" y="139"/>
                  </a:lnTo>
                  <a:lnTo>
                    <a:pt x="136" y="139"/>
                  </a:lnTo>
                  <a:lnTo>
                    <a:pt x="134" y="139"/>
                  </a:lnTo>
                  <a:lnTo>
                    <a:pt x="132" y="139"/>
                  </a:lnTo>
                  <a:lnTo>
                    <a:pt x="132" y="137"/>
                  </a:lnTo>
                  <a:lnTo>
                    <a:pt x="130" y="137"/>
                  </a:lnTo>
                  <a:lnTo>
                    <a:pt x="130" y="135"/>
                  </a:lnTo>
                  <a:lnTo>
                    <a:pt x="130" y="137"/>
                  </a:lnTo>
                  <a:lnTo>
                    <a:pt x="128" y="137"/>
                  </a:lnTo>
                  <a:lnTo>
                    <a:pt x="128" y="135"/>
                  </a:lnTo>
                  <a:lnTo>
                    <a:pt x="128" y="133"/>
                  </a:lnTo>
                  <a:lnTo>
                    <a:pt x="128" y="131"/>
                  </a:lnTo>
                  <a:lnTo>
                    <a:pt x="128" y="129"/>
                  </a:lnTo>
                  <a:lnTo>
                    <a:pt x="127" y="129"/>
                  </a:lnTo>
                  <a:lnTo>
                    <a:pt x="128" y="129"/>
                  </a:lnTo>
                  <a:lnTo>
                    <a:pt x="127" y="129"/>
                  </a:lnTo>
                  <a:lnTo>
                    <a:pt x="128" y="129"/>
                  </a:lnTo>
                  <a:lnTo>
                    <a:pt x="128" y="127"/>
                  </a:lnTo>
                  <a:lnTo>
                    <a:pt x="128" y="125"/>
                  </a:lnTo>
                  <a:lnTo>
                    <a:pt x="128" y="123"/>
                  </a:lnTo>
                  <a:lnTo>
                    <a:pt x="127" y="123"/>
                  </a:lnTo>
                  <a:lnTo>
                    <a:pt x="127" y="121"/>
                  </a:lnTo>
                  <a:lnTo>
                    <a:pt x="128" y="121"/>
                  </a:lnTo>
                  <a:lnTo>
                    <a:pt x="127" y="121"/>
                  </a:lnTo>
                  <a:lnTo>
                    <a:pt x="128" y="121"/>
                  </a:lnTo>
                  <a:lnTo>
                    <a:pt x="128" y="120"/>
                  </a:lnTo>
                  <a:lnTo>
                    <a:pt x="127" y="120"/>
                  </a:lnTo>
                  <a:lnTo>
                    <a:pt x="128" y="120"/>
                  </a:lnTo>
                  <a:lnTo>
                    <a:pt x="128" y="118"/>
                  </a:lnTo>
                  <a:lnTo>
                    <a:pt x="127" y="118"/>
                  </a:lnTo>
                  <a:lnTo>
                    <a:pt x="125" y="118"/>
                  </a:lnTo>
                  <a:lnTo>
                    <a:pt x="123" y="118"/>
                  </a:lnTo>
                  <a:lnTo>
                    <a:pt x="121" y="118"/>
                  </a:lnTo>
                  <a:lnTo>
                    <a:pt x="119" y="118"/>
                  </a:lnTo>
                  <a:lnTo>
                    <a:pt x="117" y="118"/>
                  </a:lnTo>
                  <a:lnTo>
                    <a:pt x="115" y="118"/>
                  </a:lnTo>
                  <a:lnTo>
                    <a:pt x="115" y="116"/>
                  </a:lnTo>
                  <a:lnTo>
                    <a:pt x="113" y="116"/>
                  </a:lnTo>
                  <a:lnTo>
                    <a:pt x="113" y="114"/>
                  </a:lnTo>
                  <a:lnTo>
                    <a:pt x="113" y="112"/>
                  </a:lnTo>
                  <a:lnTo>
                    <a:pt x="111" y="112"/>
                  </a:lnTo>
                  <a:lnTo>
                    <a:pt x="111" y="110"/>
                  </a:lnTo>
                  <a:lnTo>
                    <a:pt x="109" y="110"/>
                  </a:lnTo>
                  <a:lnTo>
                    <a:pt x="107" y="110"/>
                  </a:lnTo>
                  <a:lnTo>
                    <a:pt x="107" y="108"/>
                  </a:lnTo>
                  <a:lnTo>
                    <a:pt x="105" y="108"/>
                  </a:lnTo>
                  <a:lnTo>
                    <a:pt x="104" y="108"/>
                  </a:lnTo>
                  <a:lnTo>
                    <a:pt x="104" y="106"/>
                  </a:lnTo>
                  <a:lnTo>
                    <a:pt x="102" y="106"/>
                  </a:lnTo>
                  <a:lnTo>
                    <a:pt x="102" y="104"/>
                  </a:lnTo>
                  <a:lnTo>
                    <a:pt x="102" y="102"/>
                  </a:lnTo>
                  <a:lnTo>
                    <a:pt x="102" y="100"/>
                  </a:lnTo>
                  <a:lnTo>
                    <a:pt x="100" y="100"/>
                  </a:lnTo>
                  <a:lnTo>
                    <a:pt x="100" y="102"/>
                  </a:lnTo>
                  <a:lnTo>
                    <a:pt x="100" y="100"/>
                  </a:lnTo>
                  <a:lnTo>
                    <a:pt x="100" y="102"/>
                  </a:lnTo>
                  <a:lnTo>
                    <a:pt x="100" y="100"/>
                  </a:lnTo>
                  <a:lnTo>
                    <a:pt x="98" y="100"/>
                  </a:lnTo>
                  <a:lnTo>
                    <a:pt x="96" y="100"/>
                  </a:lnTo>
                  <a:lnTo>
                    <a:pt x="96" y="98"/>
                  </a:lnTo>
                  <a:lnTo>
                    <a:pt x="94" y="98"/>
                  </a:lnTo>
                  <a:lnTo>
                    <a:pt x="92" y="98"/>
                  </a:lnTo>
                  <a:lnTo>
                    <a:pt x="90" y="98"/>
                  </a:lnTo>
                  <a:lnTo>
                    <a:pt x="88" y="98"/>
                  </a:lnTo>
                  <a:lnTo>
                    <a:pt x="86" y="98"/>
                  </a:lnTo>
                  <a:lnTo>
                    <a:pt x="84" y="98"/>
                  </a:lnTo>
                  <a:lnTo>
                    <a:pt x="84" y="96"/>
                  </a:lnTo>
                  <a:lnTo>
                    <a:pt x="82" y="96"/>
                  </a:lnTo>
                  <a:lnTo>
                    <a:pt x="80" y="96"/>
                  </a:lnTo>
                  <a:lnTo>
                    <a:pt x="80" y="95"/>
                  </a:lnTo>
                  <a:lnTo>
                    <a:pt x="79" y="95"/>
                  </a:lnTo>
                  <a:lnTo>
                    <a:pt x="77" y="95"/>
                  </a:lnTo>
                  <a:lnTo>
                    <a:pt x="75" y="95"/>
                  </a:lnTo>
                  <a:lnTo>
                    <a:pt x="75" y="93"/>
                  </a:lnTo>
                  <a:lnTo>
                    <a:pt x="75" y="95"/>
                  </a:lnTo>
                  <a:lnTo>
                    <a:pt x="75" y="93"/>
                  </a:lnTo>
                  <a:lnTo>
                    <a:pt x="73" y="93"/>
                  </a:lnTo>
                  <a:lnTo>
                    <a:pt x="71" y="93"/>
                  </a:lnTo>
                  <a:lnTo>
                    <a:pt x="73" y="93"/>
                  </a:lnTo>
                  <a:lnTo>
                    <a:pt x="73" y="91"/>
                  </a:lnTo>
                  <a:lnTo>
                    <a:pt x="71" y="91"/>
                  </a:lnTo>
                  <a:lnTo>
                    <a:pt x="71" y="89"/>
                  </a:lnTo>
                  <a:lnTo>
                    <a:pt x="71" y="87"/>
                  </a:lnTo>
                  <a:lnTo>
                    <a:pt x="69" y="87"/>
                  </a:lnTo>
                  <a:lnTo>
                    <a:pt x="69" y="89"/>
                  </a:lnTo>
                  <a:lnTo>
                    <a:pt x="67" y="89"/>
                  </a:lnTo>
                  <a:lnTo>
                    <a:pt x="65" y="89"/>
                  </a:lnTo>
                  <a:lnTo>
                    <a:pt x="63" y="89"/>
                  </a:lnTo>
                  <a:lnTo>
                    <a:pt x="63" y="87"/>
                  </a:lnTo>
                  <a:lnTo>
                    <a:pt x="61" y="87"/>
                  </a:lnTo>
                  <a:lnTo>
                    <a:pt x="61" y="89"/>
                  </a:lnTo>
                  <a:lnTo>
                    <a:pt x="61" y="87"/>
                  </a:lnTo>
                  <a:lnTo>
                    <a:pt x="59" y="87"/>
                  </a:lnTo>
                  <a:lnTo>
                    <a:pt x="57" y="87"/>
                  </a:lnTo>
                  <a:lnTo>
                    <a:pt x="57" y="89"/>
                  </a:lnTo>
                  <a:lnTo>
                    <a:pt x="57" y="91"/>
                  </a:lnTo>
                  <a:lnTo>
                    <a:pt x="56" y="91"/>
                  </a:lnTo>
                  <a:lnTo>
                    <a:pt x="54" y="91"/>
                  </a:lnTo>
                  <a:lnTo>
                    <a:pt x="52" y="91"/>
                  </a:lnTo>
                  <a:lnTo>
                    <a:pt x="50" y="91"/>
                  </a:lnTo>
                  <a:lnTo>
                    <a:pt x="48" y="91"/>
                  </a:lnTo>
                  <a:lnTo>
                    <a:pt x="46" y="91"/>
                  </a:lnTo>
                  <a:lnTo>
                    <a:pt x="44" y="91"/>
                  </a:lnTo>
                  <a:lnTo>
                    <a:pt x="42" y="91"/>
                  </a:lnTo>
                  <a:lnTo>
                    <a:pt x="42" y="93"/>
                  </a:lnTo>
                  <a:lnTo>
                    <a:pt x="40" y="93"/>
                  </a:lnTo>
                  <a:lnTo>
                    <a:pt x="38" y="93"/>
                  </a:lnTo>
                  <a:lnTo>
                    <a:pt x="38" y="95"/>
                  </a:lnTo>
                  <a:lnTo>
                    <a:pt x="36" y="95"/>
                  </a:lnTo>
                  <a:lnTo>
                    <a:pt x="38" y="95"/>
                  </a:lnTo>
                  <a:lnTo>
                    <a:pt x="36" y="95"/>
                  </a:lnTo>
                  <a:lnTo>
                    <a:pt x="36" y="96"/>
                  </a:lnTo>
                  <a:lnTo>
                    <a:pt x="34" y="96"/>
                  </a:lnTo>
                  <a:lnTo>
                    <a:pt x="34" y="98"/>
                  </a:lnTo>
                  <a:lnTo>
                    <a:pt x="34" y="100"/>
                  </a:lnTo>
                  <a:lnTo>
                    <a:pt x="34" y="102"/>
                  </a:lnTo>
                  <a:lnTo>
                    <a:pt x="33" y="102"/>
                  </a:lnTo>
                  <a:lnTo>
                    <a:pt x="31" y="102"/>
                  </a:lnTo>
                  <a:lnTo>
                    <a:pt x="31" y="104"/>
                  </a:lnTo>
                  <a:lnTo>
                    <a:pt x="29" y="104"/>
                  </a:lnTo>
                  <a:lnTo>
                    <a:pt x="27" y="104"/>
                  </a:lnTo>
                  <a:lnTo>
                    <a:pt x="25" y="104"/>
                  </a:lnTo>
                  <a:lnTo>
                    <a:pt x="23" y="104"/>
                  </a:lnTo>
                  <a:lnTo>
                    <a:pt x="21" y="104"/>
                  </a:lnTo>
                  <a:lnTo>
                    <a:pt x="23" y="104"/>
                  </a:lnTo>
                  <a:lnTo>
                    <a:pt x="21" y="104"/>
                  </a:lnTo>
                  <a:lnTo>
                    <a:pt x="21" y="102"/>
                  </a:lnTo>
                  <a:lnTo>
                    <a:pt x="21" y="100"/>
                  </a:lnTo>
                  <a:lnTo>
                    <a:pt x="21" y="98"/>
                  </a:lnTo>
                  <a:lnTo>
                    <a:pt x="21" y="96"/>
                  </a:lnTo>
                  <a:lnTo>
                    <a:pt x="21" y="95"/>
                  </a:lnTo>
                  <a:lnTo>
                    <a:pt x="19" y="95"/>
                  </a:lnTo>
                  <a:lnTo>
                    <a:pt x="19" y="93"/>
                  </a:lnTo>
                  <a:lnTo>
                    <a:pt x="21" y="93"/>
                  </a:lnTo>
                  <a:lnTo>
                    <a:pt x="21" y="91"/>
                  </a:lnTo>
                  <a:lnTo>
                    <a:pt x="21" y="89"/>
                  </a:lnTo>
                  <a:lnTo>
                    <a:pt x="21" y="87"/>
                  </a:lnTo>
                  <a:lnTo>
                    <a:pt x="21" y="85"/>
                  </a:lnTo>
                  <a:lnTo>
                    <a:pt x="21" y="83"/>
                  </a:lnTo>
                  <a:lnTo>
                    <a:pt x="21" y="81"/>
                  </a:lnTo>
                  <a:lnTo>
                    <a:pt x="21" y="79"/>
                  </a:lnTo>
                  <a:lnTo>
                    <a:pt x="21" y="77"/>
                  </a:lnTo>
                  <a:lnTo>
                    <a:pt x="23" y="77"/>
                  </a:lnTo>
                  <a:lnTo>
                    <a:pt x="23" y="75"/>
                  </a:lnTo>
                  <a:lnTo>
                    <a:pt x="23" y="73"/>
                  </a:lnTo>
                  <a:lnTo>
                    <a:pt x="23" y="75"/>
                  </a:lnTo>
                  <a:lnTo>
                    <a:pt x="23" y="73"/>
                  </a:lnTo>
                  <a:lnTo>
                    <a:pt x="23" y="75"/>
                  </a:lnTo>
                  <a:lnTo>
                    <a:pt x="23" y="73"/>
                  </a:lnTo>
                  <a:lnTo>
                    <a:pt x="23" y="75"/>
                  </a:lnTo>
                  <a:lnTo>
                    <a:pt x="23" y="73"/>
                  </a:lnTo>
                  <a:lnTo>
                    <a:pt x="23" y="75"/>
                  </a:lnTo>
                  <a:lnTo>
                    <a:pt x="23" y="73"/>
                  </a:lnTo>
                  <a:lnTo>
                    <a:pt x="21" y="73"/>
                  </a:lnTo>
                  <a:lnTo>
                    <a:pt x="19" y="73"/>
                  </a:lnTo>
                  <a:lnTo>
                    <a:pt x="19" y="72"/>
                  </a:lnTo>
                  <a:lnTo>
                    <a:pt x="21" y="72"/>
                  </a:lnTo>
                  <a:lnTo>
                    <a:pt x="19" y="72"/>
                  </a:lnTo>
                  <a:lnTo>
                    <a:pt x="19" y="73"/>
                  </a:lnTo>
                  <a:lnTo>
                    <a:pt x="19" y="72"/>
                  </a:lnTo>
                  <a:lnTo>
                    <a:pt x="19" y="73"/>
                  </a:lnTo>
                  <a:lnTo>
                    <a:pt x="19" y="72"/>
                  </a:lnTo>
                  <a:lnTo>
                    <a:pt x="19" y="70"/>
                  </a:lnTo>
                  <a:lnTo>
                    <a:pt x="17" y="70"/>
                  </a:lnTo>
                  <a:lnTo>
                    <a:pt x="17" y="72"/>
                  </a:lnTo>
                  <a:lnTo>
                    <a:pt x="17" y="70"/>
                  </a:lnTo>
                  <a:lnTo>
                    <a:pt x="17" y="72"/>
                  </a:lnTo>
                  <a:lnTo>
                    <a:pt x="17" y="70"/>
                  </a:lnTo>
                  <a:lnTo>
                    <a:pt x="17" y="68"/>
                  </a:lnTo>
                  <a:lnTo>
                    <a:pt x="15" y="68"/>
                  </a:lnTo>
                  <a:lnTo>
                    <a:pt x="17" y="68"/>
                  </a:lnTo>
                  <a:lnTo>
                    <a:pt x="15" y="68"/>
                  </a:lnTo>
                  <a:lnTo>
                    <a:pt x="15" y="66"/>
                  </a:lnTo>
                  <a:lnTo>
                    <a:pt x="15" y="68"/>
                  </a:lnTo>
                  <a:lnTo>
                    <a:pt x="13" y="68"/>
                  </a:lnTo>
                  <a:lnTo>
                    <a:pt x="15" y="68"/>
                  </a:lnTo>
                  <a:lnTo>
                    <a:pt x="15" y="66"/>
                  </a:lnTo>
                  <a:lnTo>
                    <a:pt x="13" y="66"/>
                  </a:lnTo>
                  <a:lnTo>
                    <a:pt x="13" y="68"/>
                  </a:lnTo>
                  <a:lnTo>
                    <a:pt x="13" y="66"/>
                  </a:lnTo>
                  <a:lnTo>
                    <a:pt x="11" y="66"/>
                  </a:lnTo>
                  <a:lnTo>
                    <a:pt x="11" y="68"/>
                  </a:lnTo>
                  <a:lnTo>
                    <a:pt x="11" y="70"/>
                  </a:lnTo>
                  <a:lnTo>
                    <a:pt x="11" y="68"/>
                  </a:lnTo>
                  <a:lnTo>
                    <a:pt x="9" y="68"/>
                  </a:lnTo>
                  <a:lnTo>
                    <a:pt x="9" y="66"/>
                  </a:lnTo>
                  <a:lnTo>
                    <a:pt x="9" y="64"/>
                  </a:lnTo>
                  <a:lnTo>
                    <a:pt x="11" y="64"/>
                  </a:lnTo>
                  <a:lnTo>
                    <a:pt x="11" y="62"/>
                  </a:lnTo>
                  <a:lnTo>
                    <a:pt x="11" y="60"/>
                  </a:lnTo>
                  <a:lnTo>
                    <a:pt x="13" y="60"/>
                  </a:lnTo>
                  <a:lnTo>
                    <a:pt x="11" y="60"/>
                  </a:lnTo>
                  <a:lnTo>
                    <a:pt x="11" y="62"/>
                  </a:lnTo>
                  <a:lnTo>
                    <a:pt x="11" y="64"/>
                  </a:lnTo>
                  <a:lnTo>
                    <a:pt x="13" y="64"/>
                  </a:lnTo>
                  <a:lnTo>
                    <a:pt x="15" y="64"/>
                  </a:lnTo>
                  <a:lnTo>
                    <a:pt x="15" y="62"/>
                  </a:lnTo>
                  <a:lnTo>
                    <a:pt x="15" y="64"/>
                  </a:lnTo>
                  <a:lnTo>
                    <a:pt x="17" y="64"/>
                  </a:lnTo>
                  <a:lnTo>
                    <a:pt x="15" y="64"/>
                  </a:lnTo>
                  <a:lnTo>
                    <a:pt x="17" y="64"/>
                  </a:lnTo>
                  <a:lnTo>
                    <a:pt x="19" y="64"/>
                  </a:lnTo>
                  <a:lnTo>
                    <a:pt x="17" y="64"/>
                  </a:lnTo>
                  <a:lnTo>
                    <a:pt x="19" y="64"/>
                  </a:lnTo>
                  <a:lnTo>
                    <a:pt x="19" y="62"/>
                  </a:lnTo>
                  <a:lnTo>
                    <a:pt x="19" y="64"/>
                  </a:lnTo>
                  <a:lnTo>
                    <a:pt x="19" y="62"/>
                  </a:lnTo>
                  <a:lnTo>
                    <a:pt x="19" y="64"/>
                  </a:lnTo>
                  <a:lnTo>
                    <a:pt x="19" y="62"/>
                  </a:lnTo>
                  <a:lnTo>
                    <a:pt x="17" y="62"/>
                  </a:lnTo>
                  <a:lnTo>
                    <a:pt x="19" y="62"/>
                  </a:lnTo>
                  <a:lnTo>
                    <a:pt x="17" y="62"/>
                  </a:lnTo>
                  <a:lnTo>
                    <a:pt x="19" y="62"/>
                  </a:lnTo>
                  <a:lnTo>
                    <a:pt x="17" y="62"/>
                  </a:lnTo>
                  <a:lnTo>
                    <a:pt x="17" y="60"/>
                  </a:lnTo>
                  <a:lnTo>
                    <a:pt x="15" y="60"/>
                  </a:lnTo>
                  <a:lnTo>
                    <a:pt x="17" y="60"/>
                  </a:lnTo>
                  <a:lnTo>
                    <a:pt x="15" y="60"/>
                  </a:lnTo>
                  <a:lnTo>
                    <a:pt x="15" y="62"/>
                  </a:lnTo>
                  <a:lnTo>
                    <a:pt x="15" y="60"/>
                  </a:lnTo>
                  <a:lnTo>
                    <a:pt x="15" y="58"/>
                  </a:lnTo>
                  <a:lnTo>
                    <a:pt x="13" y="58"/>
                  </a:lnTo>
                  <a:lnTo>
                    <a:pt x="15" y="58"/>
                  </a:lnTo>
                  <a:lnTo>
                    <a:pt x="13" y="58"/>
                  </a:lnTo>
                  <a:lnTo>
                    <a:pt x="15" y="58"/>
                  </a:lnTo>
                  <a:lnTo>
                    <a:pt x="13" y="58"/>
                  </a:lnTo>
                  <a:lnTo>
                    <a:pt x="15" y="58"/>
                  </a:lnTo>
                  <a:lnTo>
                    <a:pt x="15" y="56"/>
                  </a:lnTo>
                  <a:lnTo>
                    <a:pt x="17" y="56"/>
                  </a:lnTo>
                  <a:lnTo>
                    <a:pt x="17" y="54"/>
                  </a:lnTo>
                  <a:lnTo>
                    <a:pt x="17" y="56"/>
                  </a:lnTo>
                  <a:lnTo>
                    <a:pt x="17" y="54"/>
                  </a:lnTo>
                  <a:lnTo>
                    <a:pt x="15" y="54"/>
                  </a:lnTo>
                  <a:lnTo>
                    <a:pt x="13" y="54"/>
                  </a:lnTo>
                  <a:lnTo>
                    <a:pt x="13" y="56"/>
                  </a:lnTo>
                  <a:lnTo>
                    <a:pt x="11" y="56"/>
                  </a:lnTo>
                  <a:lnTo>
                    <a:pt x="11" y="54"/>
                  </a:lnTo>
                  <a:lnTo>
                    <a:pt x="9" y="54"/>
                  </a:lnTo>
                  <a:lnTo>
                    <a:pt x="8" y="54"/>
                  </a:lnTo>
                  <a:lnTo>
                    <a:pt x="8" y="56"/>
                  </a:lnTo>
                  <a:lnTo>
                    <a:pt x="8" y="58"/>
                  </a:lnTo>
                  <a:lnTo>
                    <a:pt x="9" y="58"/>
                  </a:lnTo>
                  <a:lnTo>
                    <a:pt x="8" y="58"/>
                  </a:lnTo>
                  <a:lnTo>
                    <a:pt x="9" y="58"/>
                  </a:lnTo>
                  <a:lnTo>
                    <a:pt x="9" y="60"/>
                  </a:lnTo>
                  <a:lnTo>
                    <a:pt x="8" y="60"/>
                  </a:lnTo>
                  <a:lnTo>
                    <a:pt x="8" y="58"/>
                  </a:lnTo>
                  <a:lnTo>
                    <a:pt x="8" y="56"/>
                  </a:lnTo>
                  <a:lnTo>
                    <a:pt x="6" y="56"/>
                  </a:lnTo>
                  <a:lnTo>
                    <a:pt x="6" y="54"/>
                  </a:lnTo>
                  <a:lnTo>
                    <a:pt x="4" y="54"/>
                  </a:lnTo>
                  <a:lnTo>
                    <a:pt x="6" y="54"/>
                  </a:lnTo>
                  <a:lnTo>
                    <a:pt x="4" y="54"/>
                  </a:lnTo>
                  <a:lnTo>
                    <a:pt x="4" y="52"/>
                  </a:lnTo>
                  <a:lnTo>
                    <a:pt x="6" y="52"/>
                  </a:lnTo>
                  <a:lnTo>
                    <a:pt x="4" y="52"/>
                  </a:lnTo>
                  <a:lnTo>
                    <a:pt x="4" y="50"/>
                  </a:lnTo>
                  <a:lnTo>
                    <a:pt x="4" y="48"/>
                  </a:lnTo>
                  <a:lnTo>
                    <a:pt x="4" y="47"/>
                  </a:lnTo>
                  <a:lnTo>
                    <a:pt x="4" y="45"/>
                  </a:lnTo>
                  <a:lnTo>
                    <a:pt x="6" y="45"/>
                  </a:lnTo>
                  <a:lnTo>
                    <a:pt x="6" y="43"/>
                  </a:lnTo>
                  <a:lnTo>
                    <a:pt x="6" y="41"/>
                  </a:lnTo>
                  <a:lnTo>
                    <a:pt x="6" y="39"/>
                  </a:lnTo>
                  <a:lnTo>
                    <a:pt x="8" y="37"/>
                  </a:lnTo>
                  <a:lnTo>
                    <a:pt x="8" y="35"/>
                  </a:lnTo>
                  <a:lnTo>
                    <a:pt x="6" y="35"/>
                  </a:lnTo>
                  <a:lnTo>
                    <a:pt x="6" y="33"/>
                  </a:lnTo>
                  <a:lnTo>
                    <a:pt x="6" y="31"/>
                  </a:lnTo>
                  <a:lnTo>
                    <a:pt x="6" y="29"/>
                  </a:lnTo>
                  <a:lnTo>
                    <a:pt x="6" y="27"/>
                  </a:lnTo>
                  <a:lnTo>
                    <a:pt x="4" y="27"/>
                  </a:lnTo>
                  <a:lnTo>
                    <a:pt x="4" y="25"/>
                  </a:lnTo>
                  <a:lnTo>
                    <a:pt x="2" y="25"/>
                  </a:lnTo>
                  <a:lnTo>
                    <a:pt x="2" y="23"/>
                  </a:lnTo>
                  <a:lnTo>
                    <a:pt x="2" y="22"/>
                  </a:lnTo>
                  <a:lnTo>
                    <a:pt x="0" y="22"/>
                  </a:lnTo>
                  <a:lnTo>
                    <a:pt x="0" y="20"/>
                  </a:lnTo>
                  <a:lnTo>
                    <a:pt x="4" y="18"/>
                  </a:lnTo>
                  <a:lnTo>
                    <a:pt x="6" y="14"/>
                  </a:lnTo>
                  <a:lnTo>
                    <a:pt x="8" y="14"/>
                  </a:lnTo>
                  <a:lnTo>
                    <a:pt x="8" y="12"/>
                  </a:lnTo>
                  <a:lnTo>
                    <a:pt x="17" y="10"/>
                  </a:lnTo>
                  <a:lnTo>
                    <a:pt x="23" y="10"/>
                  </a:lnTo>
                  <a:lnTo>
                    <a:pt x="27" y="8"/>
                  </a:lnTo>
                  <a:lnTo>
                    <a:pt x="29" y="10"/>
                  </a:lnTo>
                  <a:lnTo>
                    <a:pt x="33" y="14"/>
                  </a:lnTo>
                  <a:lnTo>
                    <a:pt x="34" y="14"/>
                  </a:lnTo>
                  <a:lnTo>
                    <a:pt x="34" y="16"/>
                  </a:lnTo>
                  <a:lnTo>
                    <a:pt x="36" y="16"/>
                  </a:lnTo>
                  <a:lnTo>
                    <a:pt x="36" y="18"/>
                  </a:lnTo>
                  <a:lnTo>
                    <a:pt x="36" y="20"/>
                  </a:lnTo>
                  <a:lnTo>
                    <a:pt x="38" y="20"/>
                  </a:lnTo>
                  <a:lnTo>
                    <a:pt x="38" y="22"/>
                  </a:lnTo>
                  <a:lnTo>
                    <a:pt x="38" y="23"/>
                  </a:lnTo>
                  <a:lnTo>
                    <a:pt x="40" y="23"/>
                  </a:lnTo>
                  <a:lnTo>
                    <a:pt x="40" y="25"/>
                  </a:lnTo>
                  <a:lnTo>
                    <a:pt x="42" y="27"/>
                  </a:lnTo>
                  <a:lnTo>
                    <a:pt x="42" y="29"/>
                  </a:lnTo>
                  <a:lnTo>
                    <a:pt x="44" y="29"/>
                  </a:lnTo>
                  <a:lnTo>
                    <a:pt x="42" y="29"/>
                  </a:lnTo>
                  <a:lnTo>
                    <a:pt x="44" y="29"/>
                  </a:lnTo>
                  <a:lnTo>
                    <a:pt x="44" y="31"/>
                  </a:lnTo>
                  <a:lnTo>
                    <a:pt x="46" y="31"/>
                  </a:lnTo>
                  <a:lnTo>
                    <a:pt x="46" y="29"/>
                  </a:lnTo>
                  <a:lnTo>
                    <a:pt x="46" y="31"/>
                  </a:lnTo>
                  <a:lnTo>
                    <a:pt x="46" y="29"/>
                  </a:lnTo>
                  <a:lnTo>
                    <a:pt x="48" y="29"/>
                  </a:lnTo>
                  <a:lnTo>
                    <a:pt x="50" y="29"/>
                  </a:lnTo>
                  <a:lnTo>
                    <a:pt x="52" y="29"/>
                  </a:lnTo>
                  <a:lnTo>
                    <a:pt x="54" y="29"/>
                  </a:lnTo>
                  <a:lnTo>
                    <a:pt x="56" y="29"/>
                  </a:lnTo>
                  <a:lnTo>
                    <a:pt x="57" y="29"/>
                  </a:lnTo>
                  <a:lnTo>
                    <a:pt x="59" y="29"/>
                  </a:lnTo>
                  <a:lnTo>
                    <a:pt x="63" y="29"/>
                  </a:lnTo>
                  <a:lnTo>
                    <a:pt x="65" y="31"/>
                  </a:lnTo>
                  <a:lnTo>
                    <a:pt x="67" y="31"/>
                  </a:lnTo>
                  <a:lnTo>
                    <a:pt x="67" y="29"/>
                  </a:lnTo>
                  <a:lnTo>
                    <a:pt x="69" y="29"/>
                  </a:lnTo>
                  <a:lnTo>
                    <a:pt x="69" y="27"/>
                  </a:lnTo>
                  <a:lnTo>
                    <a:pt x="69" y="29"/>
                  </a:lnTo>
                  <a:lnTo>
                    <a:pt x="69" y="27"/>
                  </a:lnTo>
                  <a:lnTo>
                    <a:pt x="67" y="27"/>
                  </a:lnTo>
                  <a:lnTo>
                    <a:pt x="67" y="25"/>
                  </a:lnTo>
                  <a:lnTo>
                    <a:pt x="67" y="23"/>
                  </a:lnTo>
                  <a:lnTo>
                    <a:pt x="67" y="22"/>
                  </a:lnTo>
                  <a:lnTo>
                    <a:pt x="67" y="20"/>
                  </a:lnTo>
                  <a:lnTo>
                    <a:pt x="67" y="18"/>
                  </a:lnTo>
                  <a:lnTo>
                    <a:pt x="69" y="18"/>
                  </a:lnTo>
                  <a:lnTo>
                    <a:pt x="69" y="16"/>
                  </a:lnTo>
                  <a:lnTo>
                    <a:pt x="71" y="14"/>
                  </a:lnTo>
                  <a:lnTo>
                    <a:pt x="73" y="12"/>
                  </a:lnTo>
                  <a:lnTo>
                    <a:pt x="75" y="12"/>
                  </a:lnTo>
                  <a:lnTo>
                    <a:pt x="75" y="14"/>
                  </a:lnTo>
                  <a:lnTo>
                    <a:pt x="77" y="14"/>
                  </a:lnTo>
                  <a:lnTo>
                    <a:pt x="77" y="12"/>
                  </a:lnTo>
                  <a:lnTo>
                    <a:pt x="79" y="12"/>
                  </a:lnTo>
                  <a:lnTo>
                    <a:pt x="80" y="12"/>
                  </a:lnTo>
                  <a:lnTo>
                    <a:pt x="80" y="10"/>
                  </a:lnTo>
                  <a:lnTo>
                    <a:pt x="80" y="8"/>
                  </a:lnTo>
                  <a:lnTo>
                    <a:pt x="80" y="6"/>
                  </a:lnTo>
                  <a:lnTo>
                    <a:pt x="80" y="8"/>
                  </a:lnTo>
                  <a:lnTo>
                    <a:pt x="80" y="6"/>
                  </a:lnTo>
                  <a:lnTo>
                    <a:pt x="82" y="6"/>
                  </a:lnTo>
                  <a:lnTo>
                    <a:pt x="84" y="6"/>
                  </a:lnTo>
                  <a:lnTo>
                    <a:pt x="86" y="6"/>
                  </a:lnTo>
                  <a:lnTo>
                    <a:pt x="86" y="8"/>
                  </a:lnTo>
                  <a:lnTo>
                    <a:pt x="86" y="10"/>
                  </a:lnTo>
                  <a:lnTo>
                    <a:pt x="88" y="10"/>
                  </a:lnTo>
                  <a:lnTo>
                    <a:pt x="88" y="8"/>
                  </a:lnTo>
                  <a:lnTo>
                    <a:pt x="86" y="8"/>
                  </a:lnTo>
                  <a:lnTo>
                    <a:pt x="86" y="6"/>
                  </a:lnTo>
                  <a:lnTo>
                    <a:pt x="86" y="4"/>
                  </a:lnTo>
                  <a:lnTo>
                    <a:pt x="84" y="4"/>
                  </a:lnTo>
                  <a:lnTo>
                    <a:pt x="84" y="2"/>
                  </a:lnTo>
                  <a:lnTo>
                    <a:pt x="86" y="2"/>
                  </a:lnTo>
                  <a:lnTo>
                    <a:pt x="88" y="2"/>
                  </a:lnTo>
                  <a:lnTo>
                    <a:pt x="90" y="2"/>
                  </a:lnTo>
                  <a:lnTo>
                    <a:pt x="90" y="0"/>
                  </a:lnTo>
                  <a:lnTo>
                    <a:pt x="92" y="0"/>
                  </a:lnTo>
                  <a:lnTo>
                    <a:pt x="92" y="2"/>
                  </a:lnTo>
                  <a:lnTo>
                    <a:pt x="96" y="6"/>
                  </a:lnTo>
                  <a:lnTo>
                    <a:pt x="98" y="6"/>
                  </a:lnTo>
                  <a:lnTo>
                    <a:pt x="100" y="6"/>
                  </a:lnTo>
                  <a:lnTo>
                    <a:pt x="100" y="8"/>
                  </a:lnTo>
                  <a:lnTo>
                    <a:pt x="102" y="8"/>
                  </a:lnTo>
                  <a:lnTo>
                    <a:pt x="102" y="10"/>
                  </a:lnTo>
                  <a:lnTo>
                    <a:pt x="104" y="10"/>
                  </a:lnTo>
                  <a:lnTo>
                    <a:pt x="105" y="10"/>
                  </a:lnTo>
                  <a:lnTo>
                    <a:pt x="107" y="10"/>
                  </a:lnTo>
                  <a:lnTo>
                    <a:pt x="109" y="10"/>
                  </a:lnTo>
                  <a:lnTo>
                    <a:pt x="109" y="12"/>
                  </a:lnTo>
                  <a:lnTo>
                    <a:pt x="109" y="10"/>
                  </a:lnTo>
                  <a:lnTo>
                    <a:pt x="111" y="10"/>
                  </a:lnTo>
                  <a:lnTo>
                    <a:pt x="111" y="12"/>
                  </a:lnTo>
                  <a:lnTo>
                    <a:pt x="111" y="14"/>
                  </a:lnTo>
                  <a:lnTo>
                    <a:pt x="111" y="12"/>
                  </a:lnTo>
                  <a:lnTo>
                    <a:pt x="109" y="12"/>
                  </a:lnTo>
                  <a:lnTo>
                    <a:pt x="109" y="14"/>
                  </a:lnTo>
                  <a:lnTo>
                    <a:pt x="111" y="14"/>
                  </a:lnTo>
                  <a:lnTo>
                    <a:pt x="111" y="16"/>
                  </a:lnTo>
                  <a:lnTo>
                    <a:pt x="109" y="16"/>
                  </a:lnTo>
                  <a:lnTo>
                    <a:pt x="109" y="18"/>
                  </a:lnTo>
                  <a:lnTo>
                    <a:pt x="111" y="18"/>
                  </a:lnTo>
                  <a:lnTo>
                    <a:pt x="111" y="16"/>
                  </a:lnTo>
                  <a:lnTo>
                    <a:pt x="111" y="18"/>
                  </a:lnTo>
                  <a:lnTo>
                    <a:pt x="113" y="18"/>
                  </a:lnTo>
                  <a:lnTo>
                    <a:pt x="113" y="20"/>
                  </a:lnTo>
                  <a:lnTo>
                    <a:pt x="115" y="20"/>
                  </a:lnTo>
                  <a:lnTo>
                    <a:pt x="115" y="22"/>
                  </a:lnTo>
                  <a:lnTo>
                    <a:pt x="115" y="20"/>
                  </a:lnTo>
                  <a:lnTo>
                    <a:pt x="113" y="22"/>
                  </a:lnTo>
                  <a:lnTo>
                    <a:pt x="113" y="20"/>
                  </a:lnTo>
                  <a:lnTo>
                    <a:pt x="111" y="20"/>
                  </a:lnTo>
                  <a:lnTo>
                    <a:pt x="111" y="22"/>
                  </a:lnTo>
                  <a:lnTo>
                    <a:pt x="113" y="22"/>
                  </a:lnTo>
                  <a:lnTo>
                    <a:pt x="113" y="23"/>
                  </a:lnTo>
                  <a:lnTo>
                    <a:pt x="113" y="25"/>
                  </a:lnTo>
                  <a:lnTo>
                    <a:pt x="111" y="25"/>
                  </a:lnTo>
                  <a:lnTo>
                    <a:pt x="111" y="27"/>
                  </a:lnTo>
                  <a:lnTo>
                    <a:pt x="113" y="27"/>
                  </a:lnTo>
                  <a:lnTo>
                    <a:pt x="113" y="29"/>
                  </a:lnTo>
                  <a:lnTo>
                    <a:pt x="115" y="29"/>
                  </a:lnTo>
                  <a:lnTo>
                    <a:pt x="117" y="29"/>
                  </a:lnTo>
                  <a:lnTo>
                    <a:pt x="117" y="31"/>
                  </a:lnTo>
                  <a:lnTo>
                    <a:pt x="119" y="31"/>
                  </a:lnTo>
                  <a:lnTo>
                    <a:pt x="121" y="31"/>
                  </a:lnTo>
                  <a:lnTo>
                    <a:pt x="123" y="31"/>
                  </a:lnTo>
                  <a:lnTo>
                    <a:pt x="125" y="31"/>
                  </a:lnTo>
                  <a:lnTo>
                    <a:pt x="125" y="29"/>
                  </a:lnTo>
                  <a:lnTo>
                    <a:pt x="127" y="29"/>
                  </a:lnTo>
                  <a:lnTo>
                    <a:pt x="127" y="31"/>
                  </a:lnTo>
                  <a:lnTo>
                    <a:pt x="128" y="33"/>
                  </a:lnTo>
                  <a:lnTo>
                    <a:pt x="130" y="33"/>
                  </a:lnTo>
                  <a:lnTo>
                    <a:pt x="130" y="31"/>
                  </a:lnTo>
                  <a:lnTo>
                    <a:pt x="130" y="29"/>
                  </a:lnTo>
                  <a:lnTo>
                    <a:pt x="132" y="29"/>
                  </a:lnTo>
                  <a:lnTo>
                    <a:pt x="132" y="31"/>
                  </a:lnTo>
                  <a:lnTo>
                    <a:pt x="132" y="29"/>
                  </a:lnTo>
                  <a:lnTo>
                    <a:pt x="134" y="29"/>
                  </a:lnTo>
                  <a:lnTo>
                    <a:pt x="134" y="31"/>
                  </a:lnTo>
                  <a:lnTo>
                    <a:pt x="134" y="29"/>
                  </a:lnTo>
                  <a:lnTo>
                    <a:pt x="134" y="31"/>
                  </a:lnTo>
                  <a:lnTo>
                    <a:pt x="136" y="31"/>
                  </a:lnTo>
                  <a:lnTo>
                    <a:pt x="136" y="33"/>
                  </a:lnTo>
                  <a:lnTo>
                    <a:pt x="138" y="33"/>
                  </a:lnTo>
                  <a:lnTo>
                    <a:pt x="138" y="35"/>
                  </a:lnTo>
                  <a:lnTo>
                    <a:pt x="140" y="35"/>
                  </a:lnTo>
                  <a:lnTo>
                    <a:pt x="140" y="37"/>
                  </a:lnTo>
                  <a:lnTo>
                    <a:pt x="140" y="39"/>
                  </a:lnTo>
                  <a:lnTo>
                    <a:pt x="140" y="41"/>
                  </a:lnTo>
                  <a:lnTo>
                    <a:pt x="142" y="41"/>
                  </a:lnTo>
                  <a:lnTo>
                    <a:pt x="142" y="43"/>
                  </a:lnTo>
                  <a:lnTo>
                    <a:pt x="142" y="45"/>
                  </a:lnTo>
                  <a:lnTo>
                    <a:pt x="144" y="45"/>
                  </a:lnTo>
                  <a:lnTo>
                    <a:pt x="144" y="47"/>
                  </a:lnTo>
                  <a:lnTo>
                    <a:pt x="146" y="47"/>
                  </a:lnTo>
                  <a:lnTo>
                    <a:pt x="144" y="48"/>
                  </a:lnTo>
                  <a:lnTo>
                    <a:pt x="146" y="48"/>
                  </a:lnTo>
                  <a:lnTo>
                    <a:pt x="146" y="50"/>
                  </a:lnTo>
                  <a:lnTo>
                    <a:pt x="146" y="52"/>
                  </a:lnTo>
                  <a:lnTo>
                    <a:pt x="146" y="54"/>
                  </a:lnTo>
                  <a:lnTo>
                    <a:pt x="146" y="56"/>
                  </a:lnTo>
                  <a:lnTo>
                    <a:pt x="148" y="56"/>
                  </a:lnTo>
                  <a:lnTo>
                    <a:pt x="153" y="60"/>
                  </a:lnTo>
                  <a:lnTo>
                    <a:pt x="153" y="62"/>
                  </a:lnTo>
                  <a:lnTo>
                    <a:pt x="161" y="66"/>
                  </a:lnTo>
                  <a:lnTo>
                    <a:pt x="163" y="68"/>
                  </a:lnTo>
                  <a:lnTo>
                    <a:pt x="165" y="70"/>
                  </a:lnTo>
                  <a:lnTo>
                    <a:pt x="167" y="70"/>
                  </a:lnTo>
                  <a:lnTo>
                    <a:pt x="167" y="72"/>
                  </a:lnTo>
                  <a:lnTo>
                    <a:pt x="169" y="72"/>
                  </a:lnTo>
                  <a:lnTo>
                    <a:pt x="169" y="73"/>
                  </a:lnTo>
                  <a:lnTo>
                    <a:pt x="171" y="73"/>
                  </a:lnTo>
                  <a:lnTo>
                    <a:pt x="173" y="75"/>
                  </a:lnTo>
                  <a:lnTo>
                    <a:pt x="173" y="73"/>
                  </a:lnTo>
                  <a:lnTo>
                    <a:pt x="175" y="73"/>
                  </a:lnTo>
                  <a:lnTo>
                    <a:pt x="175" y="75"/>
                  </a:lnTo>
                  <a:lnTo>
                    <a:pt x="176" y="75"/>
                  </a:lnTo>
                  <a:lnTo>
                    <a:pt x="176" y="77"/>
                  </a:lnTo>
                  <a:lnTo>
                    <a:pt x="178" y="77"/>
                  </a:lnTo>
                  <a:lnTo>
                    <a:pt x="178" y="79"/>
                  </a:lnTo>
                  <a:lnTo>
                    <a:pt x="180" y="79"/>
                  </a:lnTo>
                  <a:lnTo>
                    <a:pt x="182" y="79"/>
                  </a:lnTo>
                  <a:lnTo>
                    <a:pt x="182" y="81"/>
                  </a:lnTo>
                  <a:lnTo>
                    <a:pt x="184" y="81"/>
                  </a:lnTo>
                  <a:lnTo>
                    <a:pt x="186" y="81"/>
                  </a:lnTo>
                  <a:lnTo>
                    <a:pt x="186" y="83"/>
                  </a:lnTo>
                  <a:lnTo>
                    <a:pt x="188" y="85"/>
                  </a:lnTo>
                  <a:lnTo>
                    <a:pt x="190" y="85"/>
                  </a:lnTo>
                  <a:lnTo>
                    <a:pt x="190" y="87"/>
                  </a:lnTo>
                  <a:lnTo>
                    <a:pt x="192" y="87"/>
                  </a:lnTo>
                  <a:lnTo>
                    <a:pt x="194" y="87"/>
                  </a:lnTo>
                  <a:lnTo>
                    <a:pt x="196" y="89"/>
                  </a:lnTo>
                  <a:lnTo>
                    <a:pt x="196" y="87"/>
                  </a:lnTo>
                  <a:lnTo>
                    <a:pt x="198" y="87"/>
                  </a:lnTo>
                  <a:lnTo>
                    <a:pt x="198" y="89"/>
                  </a:lnTo>
                  <a:lnTo>
                    <a:pt x="198" y="87"/>
                  </a:lnTo>
                  <a:lnTo>
                    <a:pt x="198" y="89"/>
                  </a:lnTo>
                  <a:lnTo>
                    <a:pt x="199" y="89"/>
                  </a:lnTo>
                  <a:lnTo>
                    <a:pt x="201" y="89"/>
                  </a:lnTo>
                  <a:lnTo>
                    <a:pt x="201" y="91"/>
                  </a:lnTo>
                  <a:lnTo>
                    <a:pt x="203" y="91"/>
                  </a:lnTo>
                  <a:lnTo>
                    <a:pt x="203" y="93"/>
                  </a:lnTo>
                  <a:lnTo>
                    <a:pt x="205" y="93"/>
                  </a:lnTo>
                  <a:lnTo>
                    <a:pt x="205" y="91"/>
                  </a:lnTo>
                  <a:lnTo>
                    <a:pt x="205" y="93"/>
                  </a:lnTo>
                  <a:lnTo>
                    <a:pt x="207" y="93"/>
                  </a:lnTo>
                  <a:lnTo>
                    <a:pt x="209" y="93"/>
                  </a:lnTo>
                  <a:lnTo>
                    <a:pt x="209" y="95"/>
                  </a:lnTo>
                  <a:lnTo>
                    <a:pt x="207" y="95"/>
                  </a:lnTo>
                  <a:lnTo>
                    <a:pt x="207" y="96"/>
                  </a:lnTo>
                  <a:lnTo>
                    <a:pt x="205" y="96"/>
                  </a:lnTo>
                  <a:lnTo>
                    <a:pt x="207" y="96"/>
                  </a:lnTo>
                  <a:lnTo>
                    <a:pt x="207" y="98"/>
                  </a:lnTo>
                  <a:lnTo>
                    <a:pt x="205" y="98"/>
                  </a:lnTo>
                  <a:lnTo>
                    <a:pt x="207" y="98"/>
                  </a:lnTo>
                  <a:lnTo>
                    <a:pt x="205" y="98"/>
                  </a:lnTo>
                  <a:lnTo>
                    <a:pt x="205" y="100"/>
                  </a:lnTo>
                  <a:lnTo>
                    <a:pt x="205" y="102"/>
                  </a:lnTo>
                  <a:lnTo>
                    <a:pt x="207" y="102"/>
                  </a:lnTo>
                  <a:lnTo>
                    <a:pt x="205" y="102"/>
                  </a:lnTo>
                  <a:lnTo>
                    <a:pt x="205" y="104"/>
                  </a:lnTo>
                  <a:close/>
                  <a:moveTo>
                    <a:pt x="15" y="62"/>
                  </a:moveTo>
                  <a:lnTo>
                    <a:pt x="17" y="62"/>
                  </a:lnTo>
                  <a:lnTo>
                    <a:pt x="17" y="64"/>
                  </a:lnTo>
                  <a:lnTo>
                    <a:pt x="15" y="64"/>
                  </a:lnTo>
                  <a:lnTo>
                    <a:pt x="15" y="62"/>
                  </a:lnTo>
                  <a:close/>
                  <a:moveTo>
                    <a:pt x="17" y="62"/>
                  </a:moveTo>
                  <a:lnTo>
                    <a:pt x="17" y="64"/>
                  </a:lnTo>
                  <a:lnTo>
                    <a:pt x="17" y="62"/>
                  </a:lnTo>
                  <a:close/>
                  <a:moveTo>
                    <a:pt x="15" y="60"/>
                  </a:moveTo>
                  <a:lnTo>
                    <a:pt x="15" y="62"/>
                  </a:lnTo>
                  <a:lnTo>
                    <a:pt x="15" y="60"/>
                  </a:lnTo>
                  <a:close/>
                  <a:moveTo>
                    <a:pt x="15" y="54"/>
                  </a:moveTo>
                  <a:lnTo>
                    <a:pt x="15" y="56"/>
                  </a:lnTo>
                  <a:lnTo>
                    <a:pt x="15" y="54"/>
                  </a:lnTo>
                  <a:close/>
                  <a:moveTo>
                    <a:pt x="17" y="54"/>
                  </a:moveTo>
                  <a:lnTo>
                    <a:pt x="17" y="56"/>
                  </a:lnTo>
                  <a:lnTo>
                    <a:pt x="17" y="54"/>
                  </a:lnTo>
                  <a:close/>
                  <a:moveTo>
                    <a:pt x="17" y="54"/>
                  </a:moveTo>
                  <a:lnTo>
                    <a:pt x="17" y="56"/>
                  </a:lnTo>
                  <a:lnTo>
                    <a:pt x="17" y="54"/>
                  </a:lnTo>
                  <a:close/>
                  <a:moveTo>
                    <a:pt x="17" y="62"/>
                  </a:moveTo>
                  <a:lnTo>
                    <a:pt x="17" y="64"/>
                  </a:lnTo>
                  <a:lnTo>
                    <a:pt x="17" y="6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345">
              <a:extLst>
                <a:ext uri="{FF2B5EF4-FFF2-40B4-BE49-F238E27FC236}">
                  <a16:creationId xmlns:a16="http://schemas.microsoft.com/office/drawing/2014/main" id="{BC1201C3-3FAD-4A5C-9317-E8A63388FC81}"/>
                </a:ext>
              </a:extLst>
            </p:cNvPr>
            <p:cNvSpPr>
              <a:spLocks noEditPoints="1"/>
            </p:cNvSpPr>
            <p:nvPr/>
          </p:nvSpPr>
          <p:spPr bwMode="gray">
            <a:xfrm>
              <a:off x="3987012" y="3551000"/>
              <a:ext cx="58866" cy="58866"/>
            </a:xfrm>
            <a:custGeom>
              <a:avLst/>
              <a:gdLst>
                <a:gd name="T0" fmla="*/ 25 w 48"/>
                <a:gd name="T1" fmla="*/ 2 h 48"/>
                <a:gd name="T2" fmla="*/ 25 w 48"/>
                <a:gd name="T3" fmla="*/ 4 h 48"/>
                <a:gd name="T4" fmla="*/ 27 w 48"/>
                <a:gd name="T5" fmla="*/ 4 h 48"/>
                <a:gd name="T6" fmla="*/ 31 w 48"/>
                <a:gd name="T7" fmla="*/ 6 h 48"/>
                <a:gd name="T8" fmla="*/ 31 w 48"/>
                <a:gd name="T9" fmla="*/ 8 h 48"/>
                <a:gd name="T10" fmla="*/ 33 w 48"/>
                <a:gd name="T11" fmla="*/ 8 h 48"/>
                <a:gd name="T12" fmla="*/ 31 w 48"/>
                <a:gd name="T13" fmla="*/ 12 h 48"/>
                <a:gd name="T14" fmla="*/ 31 w 48"/>
                <a:gd name="T15" fmla="*/ 14 h 48"/>
                <a:gd name="T16" fmla="*/ 33 w 48"/>
                <a:gd name="T17" fmla="*/ 18 h 48"/>
                <a:gd name="T18" fmla="*/ 37 w 48"/>
                <a:gd name="T19" fmla="*/ 19 h 48"/>
                <a:gd name="T20" fmla="*/ 37 w 48"/>
                <a:gd name="T21" fmla="*/ 21 h 48"/>
                <a:gd name="T22" fmla="*/ 37 w 48"/>
                <a:gd name="T23" fmla="*/ 23 h 48"/>
                <a:gd name="T24" fmla="*/ 33 w 48"/>
                <a:gd name="T25" fmla="*/ 25 h 48"/>
                <a:gd name="T26" fmla="*/ 37 w 48"/>
                <a:gd name="T27" fmla="*/ 27 h 48"/>
                <a:gd name="T28" fmla="*/ 39 w 48"/>
                <a:gd name="T29" fmla="*/ 31 h 48"/>
                <a:gd name="T30" fmla="*/ 43 w 48"/>
                <a:gd name="T31" fmla="*/ 33 h 48"/>
                <a:gd name="T32" fmla="*/ 47 w 48"/>
                <a:gd name="T33" fmla="*/ 35 h 48"/>
                <a:gd name="T34" fmla="*/ 45 w 48"/>
                <a:gd name="T35" fmla="*/ 39 h 48"/>
                <a:gd name="T36" fmla="*/ 48 w 48"/>
                <a:gd name="T37" fmla="*/ 41 h 48"/>
                <a:gd name="T38" fmla="*/ 47 w 48"/>
                <a:gd name="T39" fmla="*/ 41 h 48"/>
                <a:gd name="T40" fmla="*/ 47 w 48"/>
                <a:gd name="T41" fmla="*/ 43 h 48"/>
                <a:gd name="T42" fmla="*/ 45 w 48"/>
                <a:gd name="T43" fmla="*/ 46 h 48"/>
                <a:gd name="T44" fmla="*/ 41 w 48"/>
                <a:gd name="T45" fmla="*/ 48 h 48"/>
                <a:gd name="T46" fmla="*/ 39 w 48"/>
                <a:gd name="T47" fmla="*/ 43 h 48"/>
                <a:gd name="T48" fmla="*/ 37 w 48"/>
                <a:gd name="T49" fmla="*/ 39 h 48"/>
                <a:gd name="T50" fmla="*/ 37 w 48"/>
                <a:gd name="T51" fmla="*/ 37 h 48"/>
                <a:gd name="T52" fmla="*/ 35 w 48"/>
                <a:gd name="T53" fmla="*/ 33 h 48"/>
                <a:gd name="T54" fmla="*/ 33 w 48"/>
                <a:gd name="T55" fmla="*/ 33 h 48"/>
                <a:gd name="T56" fmla="*/ 29 w 48"/>
                <a:gd name="T57" fmla="*/ 35 h 48"/>
                <a:gd name="T58" fmla="*/ 27 w 48"/>
                <a:gd name="T59" fmla="*/ 31 h 48"/>
                <a:gd name="T60" fmla="*/ 25 w 48"/>
                <a:gd name="T61" fmla="*/ 31 h 48"/>
                <a:gd name="T62" fmla="*/ 20 w 48"/>
                <a:gd name="T63" fmla="*/ 31 h 48"/>
                <a:gd name="T64" fmla="*/ 18 w 48"/>
                <a:gd name="T65" fmla="*/ 27 h 48"/>
                <a:gd name="T66" fmla="*/ 14 w 48"/>
                <a:gd name="T67" fmla="*/ 25 h 48"/>
                <a:gd name="T68" fmla="*/ 8 w 48"/>
                <a:gd name="T69" fmla="*/ 25 h 48"/>
                <a:gd name="T70" fmla="*/ 4 w 48"/>
                <a:gd name="T71" fmla="*/ 23 h 48"/>
                <a:gd name="T72" fmla="*/ 4 w 48"/>
                <a:gd name="T73" fmla="*/ 21 h 48"/>
                <a:gd name="T74" fmla="*/ 4 w 48"/>
                <a:gd name="T75" fmla="*/ 19 h 48"/>
                <a:gd name="T76" fmla="*/ 2 w 48"/>
                <a:gd name="T77" fmla="*/ 16 h 48"/>
                <a:gd name="T78" fmla="*/ 6 w 48"/>
                <a:gd name="T79" fmla="*/ 14 h 48"/>
                <a:gd name="T80" fmla="*/ 4 w 48"/>
                <a:gd name="T81" fmla="*/ 10 h 48"/>
                <a:gd name="T82" fmla="*/ 2 w 48"/>
                <a:gd name="T83" fmla="*/ 6 h 48"/>
                <a:gd name="T84" fmla="*/ 2 w 48"/>
                <a:gd name="T85" fmla="*/ 4 h 48"/>
                <a:gd name="T86" fmla="*/ 8 w 48"/>
                <a:gd name="T87" fmla="*/ 4 h 48"/>
                <a:gd name="T88" fmla="*/ 8 w 48"/>
                <a:gd name="T89" fmla="*/ 2 h 48"/>
                <a:gd name="T90" fmla="*/ 14 w 48"/>
                <a:gd name="T91" fmla="*/ 2 h 48"/>
                <a:gd name="T92" fmla="*/ 20 w 48"/>
                <a:gd name="T93" fmla="*/ 2 h 48"/>
                <a:gd name="T94" fmla="*/ 22 w 48"/>
                <a:gd name="T95" fmla="*/ 2 h 48"/>
                <a:gd name="T96" fmla="*/ 23 w 48"/>
                <a:gd name="T97" fmla="*/ 2 h 48"/>
                <a:gd name="T98" fmla="*/ 25 w 48"/>
                <a:gd name="T99" fmla="*/ 4 h 48"/>
                <a:gd name="T100" fmla="*/ 23 w 48"/>
                <a:gd name="T101" fmla="*/ 4 h 48"/>
                <a:gd name="T102" fmla="*/ 31 w 48"/>
                <a:gd name="T103"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48">
                  <a:moveTo>
                    <a:pt x="23" y="0"/>
                  </a:moveTo>
                  <a:lnTo>
                    <a:pt x="25" y="0"/>
                  </a:lnTo>
                  <a:lnTo>
                    <a:pt x="25" y="2"/>
                  </a:lnTo>
                  <a:lnTo>
                    <a:pt x="27" y="2"/>
                  </a:lnTo>
                  <a:lnTo>
                    <a:pt x="27" y="4"/>
                  </a:lnTo>
                  <a:lnTo>
                    <a:pt x="25" y="4"/>
                  </a:lnTo>
                  <a:lnTo>
                    <a:pt x="25" y="6"/>
                  </a:lnTo>
                  <a:lnTo>
                    <a:pt x="25" y="4"/>
                  </a:lnTo>
                  <a:lnTo>
                    <a:pt x="27" y="4"/>
                  </a:lnTo>
                  <a:lnTo>
                    <a:pt x="27" y="6"/>
                  </a:lnTo>
                  <a:lnTo>
                    <a:pt x="29" y="6"/>
                  </a:lnTo>
                  <a:lnTo>
                    <a:pt x="31" y="6"/>
                  </a:lnTo>
                  <a:lnTo>
                    <a:pt x="29" y="6"/>
                  </a:lnTo>
                  <a:lnTo>
                    <a:pt x="31" y="6"/>
                  </a:lnTo>
                  <a:lnTo>
                    <a:pt x="31" y="8"/>
                  </a:lnTo>
                  <a:lnTo>
                    <a:pt x="31" y="6"/>
                  </a:lnTo>
                  <a:lnTo>
                    <a:pt x="31" y="8"/>
                  </a:lnTo>
                  <a:lnTo>
                    <a:pt x="33" y="8"/>
                  </a:lnTo>
                  <a:lnTo>
                    <a:pt x="33" y="10"/>
                  </a:lnTo>
                  <a:lnTo>
                    <a:pt x="31" y="10"/>
                  </a:lnTo>
                  <a:lnTo>
                    <a:pt x="31" y="12"/>
                  </a:lnTo>
                  <a:lnTo>
                    <a:pt x="29" y="12"/>
                  </a:lnTo>
                  <a:lnTo>
                    <a:pt x="29" y="14"/>
                  </a:lnTo>
                  <a:lnTo>
                    <a:pt x="31" y="14"/>
                  </a:lnTo>
                  <a:lnTo>
                    <a:pt x="31" y="16"/>
                  </a:lnTo>
                  <a:lnTo>
                    <a:pt x="31" y="18"/>
                  </a:lnTo>
                  <a:lnTo>
                    <a:pt x="33" y="18"/>
                  </a:lnTo>
                  <a:lnTo>
                    <a:pt x="33" y="19"/>
                  </a:lnTo>
                  <a:lnTo>
                    <a:pt x="35" y="19"/>
                  </a:lnTo>
                  <a:lnTo>
                    <a:pt x="37" y="19"/>
                  </a:lnTo>
                  <a:lnTo>
                    <a:pt x="39" y="19"/>
                  </a:lnTo>
                  <a:lnTo>
                    <a:pt x="39" y="21"/>
                  </a:lnTo>
                  <a:lnTo>
                    <a:pt x="37" y="21"/>
                  </a:lnTo>
                  <a:lnTo>
                    <a:pt x="39" y="21"/>
                  </a:lnTo>
                  <a:lnTo>
                    <a:pt x="39" y="23"/>
                  </a:lnTo>
                  <a:lnTo>
                    <a:pt x="37" y="23"/>
                  </a:lnTo>
                  <a:lnTo>
                    <a:pt x="37" y="25"/>
                  </a:lnTo>
                  <a:lnTo>
                    <a:pt x="35" y="25"/>
                  </a:lnTo>
                  <a:lnTo>
                    <a:pt x="33" y="25"/>
                  </a:lnTo>
                  <a:lnTo>
                    <a:pt x="33" y="27"/>
                  </a:lnTo>
                  <a:lnTo>
                    <a:pt x="35" y="27"/>
                  </a:lnTo>
                  <a:lnTo>
                    <a:pt x="37" y="27"/>
                  </a:lnTo>
                  <a:lnTo>
                    <a:pt x="37" y="29"/>
                  </a:lnTo>
                  <a:lnTo>
                    <a:pt x="39" y="29"/>
                  </a:lnTo>
                  <a:lnTo>
                    <a:pt x="39" y="31"/>
                  </a:lnTo>
                  <a:lnTo>
                    <a:pt x="41" y="31"/>
                  </a:lnTo>
                  <a:lnTo>
                    <a:pt x="41" y="33"/>
                  </a:lnTo>
                  <a:lnTo>
                    <a:pt x="43" y="33"/>
                  </a:lnTo>
                  <a:lnTo>
                    <a:pt x="45" y="33"/>
                  </a:lnTo>
                  <a:lnTo>
                    <a:pt x="47" y="33"/>
                  </a:lnTo>
                  <a:lnTo>
                    <a:pt x="47" y="35"/>
                  </a:lnTo>
                  <a:lnTo>
                    <a:pt x="47" y="37"/>
                  </a:lnTo>
                  <a:lnTo>
                    <a:pt x="45" y="37"/>
                  </a:lnTo>
                  <a:lnTo>
                    <a:pt x="45" y="39"/>
                  </a:lnTo>
                  <a:lnTo>
                    <a:pt x="47" y="39"/>
                  </a:lnTo>
                  <a:lnTo>
                    <a:pt x="47" y="41"/>
                  </a:lnTo>
                  <a:lnTo>
                    <a:pt x="48" y="41"/>
                  </a:lnTo>
                  <a:lnTo>
                    <a:pt x="47" y="41"/>
                  </a:lnTo>
                  <a:lnTo>
                    <a:pt x="47" y="43"/>
                  </a:lnTo>
                  <a:lnTo>
                    <a:pt x="47" y="41"/>
                  </a:lnTo>
                  <a:lnTo>
                    <a:pt x="45" y="41"/>
                  </a:lnTo>
                  <a:lnTo>
                    <a:pt x="45" y="43"/>
                  </a:lnTo>
                  <a:lnTo>
                    <a:pt x="47" y="43"/>
                  </a:lnTo>
                  <a:lnTo>
                    <a:pt x="47" y="44"/>
                  </a:lnTo>
                  <a:lnTo>
                    <a:pt x="47" y="46"/>
                  </a:lnTo>
                  <a:lnTo>
                    <a:pt x="45" y="46"/>
                  </a:lnTo>
                  <a:lnTo>
                    <a:pt x="43" y="46"/>
                  </a:lnTo>
                  <a:lnTo>
                    <a:pt x="43" y="48"/>
                  </a:lnTo>
                  <a:lnTo>
                    <a:pt x="41" y="48"/>
                  </a:lnTo>
                  <a:lnTo>
                    <a:pt x="41" y="46"/>
                  </a:lnTo>
                  <a:lnTo>
                    <a:pt x="41" y="44"/>
                  </a:lnTo>
                  <a:lnTo>
                    <a:pt x="39" y="43"/>
                  </a:lnTo>
                  <a:lnTo>
                    <a:pt x="39" y="41"/>
                  </a:lnTo>
                  <a:lnTo>
                    <a:pt x="39" y="39"/>
                  </a:lnTo>
                  <a:lnTo>
                    <a:pt x="37" y="39"/>
                  </a:lnTo>
                  <a:lnTo>
                    <a:pt x="35" y="39"/>
                  </a:lnTo>
                  <a:lnTo>
                    <a:pt x="35" y="37"/>
                  </a:lnTo>
                  <a:lnTo>
                    <a:pt x="37" y="37"/>
                  </a:lnTo>
                  <a:lnTo>
                    <a:pt x="37" y="35"/>
                  </a:lnTo>
                  <a:lnTo>
                    <a:pt x="35" y="35"/>
                  </a:lnTo>
                  <a:lnTo>
                    <a:pt x="35" y="33"/>
                  </a:lnTo>
                  <a:lnTo>
                    <a:pt x="33" y="33"/>
                  </a:lnTo>
                  <a:lnTo>
                    <a:pt x="33" y="35"/>
                  </a:lnTo>
                  <a:lnTo>
                    <a:pt x="33" y="33"/>
                  </a:lnTo>
                  <a:lnTo>
                    <a:pt x="33" y="35"/>
                  </a:lnTo>
                  <a:lnTo>
                    <a:pt x="31" y="35"/>
                  </a:lnTo>
                  <a:lnTo>
                    <a:pt x="29" y="35"/>
                  </a:lnTo>
                  <a:lnTo>
                    <a:pt x="29" y="33"/>
                  </a:lnTo>
                  <a:lnTo>
                    <a:pt x="27" y="33"/>
                  </a:lnTo>
                  <a:lnTo>
                    <a:pt x="27" y="31"/>
                  </a:lnTo>
                  <a:lnTo>
                    <a:pt x="25" y="31"/>
                  </a:lnTo>
                  <a:lnTo>
                    <a:pt x="25" y="29"/>
                  </a:lnTo>
                  <a:lnTo>
                    <a:pt x="25" y="31"/>
                  </a:lnTo>
                  <a:lnTo>
                    <a:pt x="23" y="31"/>
                  </a:lnTo>
                  <a:lnTo>
                    <a:pt x="22" y="31"/>
                  </a:lnTo>
                  <a:lnTo>
                    <a:pt x="20" y="31"/>
                  </a:lnTo>
                  <a:lnTo>
                    <a:pt x="20" y="29"/>
                  </a:lnTo>
                  <a:lnTo>
                    <a:pt x="18" y="29"/>
                  </a:lnTo>
                  <a:lnTo>
                    <a:pt x="18" y="27"/>
                  </a:lnTo>
                  <a:lnTo>
                    <a:pt x="16" y="27"/>
                  </a:lnTo>
                  <a:lnTo>
                    <a:pt x="16" y="25"/>
                  </a:lnTo>
                  <a:lnTo>
                    <a:pt x="14" y="25"/>
                  </a:lnTo>
                  <a:lnTo>
                    <a:pt x="12" y="25"/>
                  </a:lnTo>
                  <a:lnTo>
                    <a:pt x="10" y="25"/>
                  </a:lnTo>
                  <a:lnTo>
                    <a:pt x="8" y="25"/>
                  </a:lnTo>
                  <a:lnTo>
                    <a:pt x="6" y="25"/>
                  </a:lnTo>
                  <a:lnTo>
                    <a:pt x="6" y="23"/>
                  </a:lnTo>
                  <a:lnTo>
                    <a:pt x="4" y="23"/>
                  </a:lnTo>
                  <a:lnTo>
                    <a:pt x="6" y="23"/>
                  </a:lnTo>
                  <a:lnTo>
                    <a:pt x="6" y="21"/>
                  </a:lnTo>
                  <a:lnTo>
                    <a:pt x="4" y="21"/>
                  </a:lnTo>
                  <a:lnTo>
                    <a:pt x="4" y="19"/>
                  </a:lnTo>
                  <a:lnTo>
                    <a:pt x="4" y="21"/>
                  </a:lnTo>
                  <a:lnTo>
                    <a:pt x="4" y="19"/>
                  </a:lnTo>
                  <a:lnTo>
                    <a:pt x="4" y="18"/>
                  </a:lnTo>
                  <a:lnTo>
                    <a:pt x="2" y="18"/>
                  </a:lnTo>
                  <a:lnTo>
                    <a:pt x="2" y="16"/>
                  </a:lnTo>
                  <a:lnTo>
                    <a:pt x="4" y="16"/>
                  </a:lnTo>
                  <a:lnTo>
                    <a:pt x="4" y="14"/>
                  </a:lnTo>
                  <a:lnTo>
                    <a:pt x="6" y="14"/>
                  </a:lnTo>
                  <a:lnTo>
                    <a:pt x="6" y="12"/>
                  </a:lnTo>
                  <a:lnTo>
                    <a:pt x="6" y="10"/>
                  </a:lnTo>
                  <a:lnTo>
                    <a:pt x="4" y="10"/>
                  </a:lnTo>
                  <a:lnTo>
                    <a:pt x="4" y="8"/>
                  </a:lnTo>
                  <a:lnTo>
                    <a:pt x="4" y="6"/>
                  </a:lnTo>
                  <a:lnTo>
                    <a:pt x="2" y="6"/>
                  </a:lnTo>
                  <a:lnTo>
                    <a:pt x="2" y="4"/>
                  </a:lnTo>
                  <a:lnTo>
                    <a:pt x="0" y="4"/>
                  </a:lnTo>
                  <a:lnTo>
                    <a:pt x="2" y="4"/>
                  </a:lnTo>
                  <a:lnTo>
                    <a:pt x="4" y="4"/>
                  </a:lnTo>
                  <a:lnTo>
                    <a:pt x="6" y="4"/>
                  </a:lnTo>
                  <a:lnTo>
                    <a:pt x="8" y="4"/>
                  </a:lnTo>
                  <a:lnTo>
                    <a:pt x="8" y="2"/>
                  </a:lnTo>
                  <a:lnTo>
                    <a:pt x="8" y="4"/>
                  </a:lnTo>
                  <a:lnTo>
                    <a:pt x="8" y="2"/>
                  </a:lnTo>
                  <a:lnTo>
                    <a:pt x="10" y="2"/>
                  </a:lnTo>
                  <a:lnTo>
                    <a:pt x="12" y="2"/>
                  </a:lnTo>
                  <a:lnTo>
                    <a:pt x="14" y="2"/>
                  </a:lnTo>
                  <a:lnTo>
                    <a:pt x="16" y="2"/>
                  </a:lnTo>
                  <a:lnTo>
                    <a:pt x="18" y="2"/>
                  </a:lnTo>
                  <a:lnTo>
                    <a:pt x="20" y="2"/>
                  </a:lnTo>
                  <a:lnTo>
                    <a:pt x="22" y="2"/>
                  </a:lnTo>
                  <a:lnTo>
                    <a:pt x="23" y="2"/>
                  </a:lnTo>
                  <a:lnTo>
                    <a:pt x="22" y="2"/>
                  </a:lnTo>
                  <a:lnTo>
                    <a:pt x="22" y="0"/>
                  </a:lnTo>
                  <a:lnTo>
                    <a:pt x="23" y="0"/>
                  </a:lnTo>
                  <a:lnTo>
                    <a:pt x="23" y="2"/>
                  </a:lnTo>
                  <a:lnTo>
                    <a:pt x="23" y="0"/>
                  </a:lnTo>
                  <a:close/>
                  <a:moveTo>
                    <a:pt x="23" y="4"/>
                  </a:moveTo>
                  <a:lnTo>
                    <a:pt x="25" y="4"/>
                  </a:lnTo>
                  <a:lnTo>
                    <a:pt x="25" y="6"/>
                  </a:lnTo>
                  <a:lnTo>
                    <a:pt x="23" y="6"/>
                  </a:lnTo>
                  <a:lnTo>
                    <a:pt x="23" y="4"/>
                  </a:lnTo>
                  <a:close/>
                  <a:moveTo>
                    <a:pt x="31" y="14"/>
                  </a:moveTo>
                  <a:lnTo>
                    <a:pt x="33" y="14"/>
                  </a:lnTo>
                  <a:lnTo>
                    <a:pt x="31" y="1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346">
              <a:extLst>
                <a:ext uri="{FF2B5EF4-FFF2-40B4-BE49-F238E27FC236}">
                  <a16:creationId xmlns:a16="http://schemas.microsoft.com/office/drawing/2014/main" id="{6181BA62-041F-41C5-9860-D71231F16CF6}"/>
                </a:ext>
              </a:extLst>
            </p:cNvPr>
            <p:cNvSpPr>
              <a:spLocks noEditPoints="1"/>
            </p:cNvSpPr>
            <p:nvPr/>
          </p:nvSpPr>
          <p:spPr bwMode="gray">
            <a:xfrm>
              <a:off x="4013992" y="3537510"/>
              <a:ext cx="100563" cy="82168"/>
            </a:xfrm>
            <a:custGeom>
              <a:avLst/>
              <a:gdLst>
                <a:gd name="T0" fmla="*/ 61 w 82"/>
                <a:gd name="T1" fmla="*/ 7 h 67"/>
                <a:gd name="T2" fmla="*/ 65 w 82"/>
                <a:gd name="T3" fmla="*/ 17 h 67"/>
                <a:gd name="T4" fmla="*/ 71 w 82"/>
                <a:gd name="T5" fmla="*/ 25 h 67"/>
                <a:gd name="T6" fmla="*/ 78 w 82"/>
                <a:gd name="T7" fmla="*/ 29 h 67"/>
                <a:gd name="T8" fmla="*/ 78 w 82"/>
                <a:gd name="T9" fmla="*/ 30 h 67"/>
                <a:gd name="T10" fmla="*/ 74 w 82"/>
                <a:gd name="T11" fmla="*/ 29 h 67"/>
                <a:gd name="T12" fmla="*/ 71 w 82"/>
                <a:gd name="T13" fmla="*/ 30 h 67"/>
                <a:gd name="T14" fmla="*/ 67 w 82"/>
                <a:gd name="T15" fmla="*/ 36 h 67"/>
                <a:gd name="T16" fmla="*/ 65 w 82"/>
                <a:gd name="T17" fmla="*/ 48 h 67"/>
                <a:gd name="T18" fmla="*/ 65 w 82"/>
                <a:gd name="T19" fmla="*/ 54 h 67"/>
                <a:gd name="T20" fmla="*/ 61 w 82"/>
                <a:gd name="T21" fmla="*/ 52 h 67"/>
                <a:gd name="T22" fmla="*/ 59 w 82"/>
                <a:gd name="T23" fmla="*/ 55 h 67"/>
                <a:gd name="T24" fmla="*/ 57 w 82"/>
                <a:gd name="T25" fmla="*/ 59 h 67"/>
                <a:gd name="T26" fmla="*/ 59 w 82"/>
                <a:gd name="T27" fmla="*/ 67 h 67"/>
                <a:gd name="T28" fmla="*/ 53 w 82"/>
                <a:gd name="T29" fmla="*/ 63 h 67"/>
                <a:gd name="T30" fmla="*/ 46 w 82"/>
                <a:gd name="T31" fmla="*/ 57 h 67"/>
                <a:gd name="T32" fmla="*/ 49 w 82"/>
                <a:gd name="T33" fmla="*/ 52 h 67"/>
                <a:gd name="T34" fmla="*/ 48 w 82"/>
                <a:gd name="T35" fmla="*/ 44 h 67"/>
                <a:gd name="T36" fmla="*/ 42 w 82"/>
                <a:gd name="T37" fmla="*/ 46 h 67"/>
                <a:gd name="T38" fmla="*/ 36 w 82"/>
                <a:gd name="T39" fmla="*/ 50 h 67"/>
                <a:gd name="T40" fmla="*/ 30 w 82"/>
                <a:gd name="T41" fmla="*/ 54 h 67"/>
                <a:gd name="T42" fmla="*/ 25 w 82"/>
                <a:gd name="T43" fmla="*/ 54 h 67"/>
                <a:gd name="T44" fmla="*/ 25 w 82"/>
                <a:gd name="T45" fmla="*/ 52 h 67"/>
                <a:gd name="T46" fmla="*/ 23 w 82"/>
                <a:gd name="T47" fmla="*/ 44 h 67"/>
                <a:gd name="T48" fmla="*/ 15 w 82"/>
                <a:gd name="T49" fmla="*/ 38 h 67"/>
                <a:gd name="T50" fmla="*/ 17 w 82"/>
                <a:gd name="T51" fmla="*/ 34 h 67"/>
                <a:gd name="T52" fmla="*/ 11 w 82"/>
                <a:gd name="T53" fmla="*/ 30 h 67"/>
                <a:gd name="T54" fmla="*/ 9 w 82"/>
                <a:gd name="T55" fmla="*/ 23 h 67"/>
                <a:gd name="T56" fmla="*/ 9 w 82"/>
                <a:gd name="T57" fmla="*/ 17 h 67"/>
                <a:gd name="T58" fmla="*/ 3 w 82"/>
                <a:gd name="T59" fmla="*/ 17 h 67"/>
                <a:gd name="T60" fmla="*/ 3 w 82"/>
                <a:gd name="T61" fmla="*/ 11 h 67"/>
                <a:gd name="T62" fmla="*/ 11 w 82"/>
                <a:gd name="T63" fmla="*/ 9 h 67"/>
                <a:gd name="T64" fmla="*/ 21 w 82"/>
                <a:gd name="T65" fmla="*/ 13 h 67"/>
                <a:gd name="T66" fmla="*/ 26 w 82"/>
                <a:gd name="T67" fmla="*/ 13 h 67"/>
                <a:gd name="T68" fmla="*/ 25 w 82"/>
                <a:gd name="T69" fmla="*/ 9 h 67"/>
                <a:gd name="T70" fmla="*/ 23 w 82"/>
                <a:gd name="T71" fmla="*/ 5 h 67"/>
                <a:gd name="T72" fmla="*/ 21 w 82"/>
                <a:gd name="T73" fmla="*/ 5 h 67"/>
                <a:gd name="T74" fmla="*/ 25 w 82"/>
                <a:gd name="T75" fmla="*/ 0 h 67"/>
                <a:gd name="T76" fmla="*/ 30 w 82"/>
                <a:gd name="T77" fmla="*/ 5 h 67"/>
                <a:gd name="T78" fmla="*/ 32 w 82"/>
                <a:gd name="T79" fmla="*/ 5 h 67"/>
                <a:gd name="T80" fmla="*/ 38 w 82"/>
                <a:gd name="T81" fmla="*/ 11 h 67"/>
                <a:gd name="T82" fmla="*/ 44 w 82"/>
                <a:gd name="T83" fmla="*/ 11 h 67"/>
                <a:gd name="T84" fmla="*/ 49 w 82"/>
                <a:gd name="T85" fmla="*/ 7 h 67"/>
                <a:gd name="T86" fmla="*/ 9 w 82"/>
                <a:gd name="T87" fmla="*/ 25 h 67"/>
                <a:gd name="T88" fmla="*/ 13 w 82"/>
                <a:gd name="T89" fmla="*/ 57 h 67"/>
                <a:gd name="T90" fmla="*/ 5 w 82"/>
                <a:gd name="T91" fmla="*/ 52 h 67"/>
                <a:gd name="T92" fmla="*/ 0 w 82"/>
                <a:gd name="T93" fmla="*/ 44 h 67"/>
                <a:gd name="T94" fmla="*/ 3 w 82"/>
                <a:gd name="T95" fmla="*/ 42 h 67"/>
                <a:gd name="T96" fmla="*/ 9 w 82"/>
                <a:gd name="T97" fmla="*/ 46 h 67"/>
                <a:gd name="T98" fmla="*/ 15 w 82"/>
                <a:gd name="T99" fmla="*/ 46 h 67"/>
                <a:gd name="T100" fmla="*/ 17 w 82"/>
                <a:gd name="T101" fmla="*/ 54 h 67"/>
                <a:gd name="T102" fmla="*/ 1 w 82"/>
                <a:gd name="T103" fmla="*/ 15 h 67"/>
                <a:gd name="T104" fmla="*/ 61 w 82"/>
                <a:gd name="T105" fmla="*/ 54 h 67"/>
                <a:gd name="T106" fmla="*/ 63 w 82"/>
                <a:gd name="T107" fmla="*/ 55 h 67"/>
                <a:gd name="T108" fmla="*/ 82 w 82"/>
                <a:gd name="T109" fmla="*/ 2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67">
                  <a:moveTo>
                    <a:pt x="55" y="2"/>
                  </a:moveTo>
                  <a:lnTo>
                    <a:pt x="57" y="2"/>
                  </a:lnTo>
                  <a:lnTo>
                    <a:pt x="57" y="4"/>
                  </a:lnTo>
                  <a:lnTo>
                    <a:pt x="57" y="5"/>
                  </a:lnTo>
                  <a:lnTo>
                    <a:pt x="59" y="5"/>
                  </a:lnTo>
                  <a:lnTo>
                    <a:pt x="59" y="7"/>
                  </a:lnTo>
                  <a:lnTo>
                    <a:pt x="61" y="7"/>
                  </a:lnTo>
                  <a:lnTo>
                    <a:pt x="61" y="9"/>
                  </a:lnTo>
                  <a:lnTo>
                    <a:pt x="61" y="11"/>
                  </a:lnTo>
                  <a:lnTo>
                    <a:pt x="63" y="11"/>
                  </a:lnTo>
                  <a:lnTo>
                    <a:pt x="63" y="13"/>
                  </a:lnTo>
                  <a:lnTo>
                    <a:pt x="63" y="15"/>
                  </a:lnTo>
                  <a:lnTo>
                    <a:pt x="63" y="17"/>
                  </a:lnTo>
                  <a:lnTo>
                    <a:pt x="65" y="17"/>
                  </a:lnTo>
                  <a:lnTo>
                    <a:pt x="65" y="19"/>
                  </a:lnTo>
                  <a:lnTo>
                    <a:pt x="67" y="19"/>
                  </a:lnTo>
                  <a:lnTo>
                    <a:pt x="67" y="21"/>
                  </a:lnTo>
                  <a:lnTo>
                    <a:pt x="69" y="21"/>
                  </a:lnTo>
                  <a:lnTo>
                    <a:pt x="69" y="23"/>
                  </a:lnTo>
                  <a:lnTo>
                    <a:pt x="69" y="25"/>
                  </a:lnTo>
                  <a:lnTo>
                    <a:pt x="71" y="25"/>
                  </a:lnTo>
                  <a:lnTo>
                    <a:pt x="72" y="25"/>
                  </a:lnTo>
                  <a:lnTo>
                    <a:pt x="72" y="27"/>
                  </a:lnTo>
                  <a:lnTo>
                    <a:pt x="74" y="25"/>
                  </a:lnTo>
                  <a:lnTo>
                    <a:pt x="76" y="25"/>
                  </a:lnTo>
                  <a:lnTo>
                    <a:pt x="76" y="27"/>
                  </a:lnTo>
                  <a:lnTo>
                    <a:pt x="78" y="27"/>
                  </a:lnTo>
                  <a:lnTo>
                    <a:pt x="78" y="29"/>
                  </a:lnTo>
                  <a:lnTo>
                    <a:pt x="80" y="29"/>
                  </a:lnTo>
                  <a:lnTo>
                    <a:pt x="80" y="27"/>
                  </a:lnTo>
                  <a:lnTo>
                    <a:pt x="80" y="29"/>
                  </a:lnTo>
                  <a:lnTo>
                    <a:pt x="80" y="30"/>
                  </a:lnTo>
                  <a:lnTo>
                    <a:pt x="80" y="32"/>
                  </a:lnTo>
                  <a:lnTo>
                    <a:pt x="80" y="30"/>
                  </a:lnTo>
                  <a:lnTo>
                    <a:pt x="78" y="30"/>
                  </a:lnTo>
                  <a:lnTo>
                    <a:pt x="76" y="30"/>
                  </a:lnTo>
                  <a:lnTo>
                    <a:pt x="74" y="30"/>
                  </a:lnTo>
                  <a:lnTo>
                    <a:pt x="76" y="30"/>
                  </a:lnTo>
                  <a:lnTo>
                    <a:pt x="74" y="30"/>
                  </a:lnTo>
                  <a:lnTo>
                    <a:pt x="74" y="29"/>
                  </a:lnTo>
                  <a:lnTo>
                    <a:pt x="74" y="30"/>
                  </a:lnTo>
                  <a:lnTo>
                    <a:pt x="74" y="29"/>
                  </a:lnTo>
                  <a:lnTo>
                    <a:pt x="72" y="29"/>
                  </a:lnTo>
                  <a:lnTo>
                    <a:pt x="72" y="30"/>
                  </a:lnTo>
                  <a:lnTo>
                    <a:pt x="72" y="29"/>
                  </a:lnTo>
                  <a:lnTo>
                    <a:pt x="72" y="30"/>
                  </a:lnTo>
                  <a:lnTo>
                    <a:pt x="72" y="29"/>
                  </a:lnTo>
                  <a:lnTo>
                    <a:pt x="72" y="30"/>
                  </a:lnTo>
                  <a:lnTo>
                    <a:pt x="71" y="30"/>
                  </a:lnTo>
                  <a:lnTo>
                    <a:pt x="71" y="32"/>
                  </a:lnTo>
                  <a:lnTo>
                    <a:pt x="69" y="32"/>
                  </a:lnTo>
                  <a:lnTo>
                    <a:pt x="67" y="32"/>
                  </a:lnTo>
                  <a:lnTo>
                    <a:pt x="67" y="34"/>
                  </a:lnTo>
                  <a:lnTo>
                    <a:pt x="69" y="34"/>
                  </a:lnTo>
                  <a:lnTo>
                    <a:pt x="67" y="34"/>
                  </a:lnTo>
                  <a:lnTo>
                    <a:pt x="67" y="36"/>
                  </a:lnTo>
                  <a:lnTo>
                    <a:pt x="67" y="38"/>
                  </a:lnTo>
                  <a:lnTo>
                    <a:pt x="67" y="40"/>
                  </a:lnTo>
                  <a:lnTo>
                    <a:pt x="67" y="42"/>
                  </a:lnTo>
                  <a:lnTo>
                    <a:pt x="65" y="42"/>
                  </a:lnTo>
                  <a:lnTo>
                    <a:pt x="65" y="44"/>
                  </a:lnTo>
                  <a:lnTo>
                    <a:pt x="65" y="46"/>
                  </a:lnTo>
                  <a:lnTo>
                    <a:pt x="65" y="48"/>
                  </a:lnTo>
                  <a:lnTo>
                    <a:pt x="67" y="48"/>
                  </a:lnTo>
                  <a:lnTo>
                    <a:pt x="65" y="48"/>
                  </a:lnTo>
                  <a:lnTo>
                    <a:pt x="67" y="48"/>
                  </a:lnTo>
                  <a:lnTo>
                    <a:pt x="67" y="50"/>
                  </a:lnTo>
                  <a:lnTo>
                    <a:pt x="65" y="50"/>
                  </a:lnTo>
                  <a:lnTo>
                    <a:pt x="65" y="52"/>
                  </a:lnTo>
                  <a:lnTo>
                    <a:pt x="65" y="54"/>
                  </a:lnTo>
                  <a:lnTo>
                    <a:pt x="63" y="54"/>
                  </a:lnTo>
                  <a:lnTo>
                    <a:pt x="63" y="52"/>
                  </a:lnTo>
                  <a:lnTo>
                    <a:pt x="63" y="54"/>
                  </a:lnTo>
                  <a:lnTo>
                    <a:pt x="61" y="54"/>
                  </a:lnTo>
                  <a:lnTo>
                    <a:pt x="61" y="52"/>
                  </a:lnTo>
                  <a:lnTo>
                    <a:pt x="63" y="52"/>
                  </a:lnTo>
                  <a:lnTo>
                    <a:pt x="61" y="52"/>
                  </a:lnTo>
                  <a:lnTo>
                    <a:pt x="63" y="52"/>
                  </a:lnTo>
                  <a:lnTo>
                    <a:pt x="61" y="52"/>
                  </a:lnTo>
                  <a:lnTo>
                    <a:pt x="63" y="52"/>
                  </a:lnTo>
                  <a:lnTo>
                    <a:pt x="61" y="52"/>
                  </a:lnTo>
                  <a:lnTo>
                    <a:pt x="59" y="52"/>
                  </a:lnTo>
                  <a:lnTo>
                    <a:pt x="59" y="54"/>
                  </a:lnTo>
                  <a:lnTo>
                    <a:pt x="59" y="55"/>
                  </a:lnTo>
                  <a:lnTo>
                    <a:pt x="59" y="57"/>
                  </a:lnTo>
                  <a:lnTo>
                    <a:pt x="59" y="55"/>
                  </a:lnTo>
                  <a:lnTo>
                    <a:pt x="59" y="57"/>
                  </a:lnTo>
                  <a:lnTo>
                    <a:pt x="57" y="57"/>
                  </a:lnTo>
                  <a:lnTo>
                    <a:pt x="59" y="57"/>
                  </a:lnTo>
                  <a:lnTo>
                    <a:pt x="59" y="59"/>
                  </a:lnTo>
                  <a:lnTo>
                    <a:pt x="57" y="59"/>
                  </a:lnTo>
                  <a:lnTo>
                    <a:pt x="59" y="59"/>
                  </a:lnTo>
                  <a:lnTo>
                    <a:pt x="57" y="59"/>
                  </a:lnTo>
                  <a:lnTo>
                    <a:pt x="59" y="59"/>
                  </a:lnTo>
                  <a:lnTo>
                    <a:pt x="59" y="61"/>
                  </a:lnTo>
                  <a:lnTo>
                    <a:pt x="59" y="63"/>
                  </a:lnTo>
                  <a:lnTo>
                    <a:pt x="59" y="65"/>
                  </a:lnTo>
                  <a:lnTo>
                    <a:pt x="59" y="67"/>
                  </a:lnTo>
                  <a:lnTo>
                    <a:pt x="59" y="65"/>
                  </a:lnTo>
                  <a:lnTo>
                    <a:pt x="57" y="65"/>
                  </a:lnTo>
                  <a:lnTo>
                    <a:pt x="57" y="67"/>
                  </a:lnTo>
                  <a:lnTo>
                    <a:pt x="55" y="67"/>
                  </a:lnTo>
                  <a:lnTo>
                    <a:pt x="55" y="65"/>
                  </a:lnTo>
                  <a:lnTo>
                    <a:pt x="53" y="65"/>
                  </a:lnTo>
                  <a:lnTo>
                    <a:pt x="53" y="63"/>
                  </a:lnTo>
                  <a:lnTo>
                    <a:pt x="51" y="63"/>
                  </a:lnTo>
                  <a:lnTo>
                    <a:pt x="49" y="63"/>
                  </a:lnTo>
                  <a:lnTo>
                    <a:pt x="49" y="61"/>
                  </a:lnTo>
                  <a:lnTo>
                    <a:pt x="49" y="59"/>
                  </a:lnTo>
                  <a:lnTo>
                    <a:pt x="48" y="59"/>
                  </a:lnTo>
                  <a:lnTo>
                    <a:pt x="46" y="59"/>
                  </a:lnTo>
                  <a:lnTo>
                    <a:pt x="46" y="57"/>
                  </a:lnTo>
                  <a:lnTo>
                    <a:pt x="48" y="57"/>
                  </a:lnTo>
                  <a:lnTo>
                    <a:pt x="49" y="57"/>
                  </a:lnTo>
                  <a:lnTo>
                    <a:pt x="49" y="55"/>
                  </a:lnTo>
                  <a:lnTo>
                    <a:pt x="51" y="55"/>
                  </a:lnTo>
                  <a:lnTo>
                    <a:pt x="51" y="54"/>
                  </a:lnTo>
                  <a:lnTo>
                    <a:pt x="49" y="54"/>
                  </a:lnTo>
                  <a:lnTo>
                    <a:pt x="49" y="52"/>
                  </a:lnTo>
                  <a:lnTo>
                    <a:pt x="48" y="52"/>
                  </a:lnTo>
                  <a:lnTo>
                    <a:pt x="48" y="50"/>
                  </a:lnTo>
                  <a:lnTo>
                    <a:pt x="49" y="50"/>
                  </a:lnTo>
                  <a:lnTo>
                    <a:pt x="51" y="50"/>
                  </a:lnTo>
                  <a:lnTo>
                    <a:pt x="51" y="48"/>
                  </a:lnTo>
                  <a:lnTo>
                    <a:pt x="49" y="46"/>
                  </a:lnTo>
                  <a:lnTo>
                    <a:pt x="48" y="44"/>
                  </a:lnTo>
                  <a:lnTo>
                    <a:pt x="46" y="42"/>
                  </a:lnTo>
                  <a:lnTo>
                    <a:pt x="46" y="44"/>
                  </a:lnTo>
                  <a:lnTo>
                    <a:pt x="46" y="42"/>
                  </a:lnTo>
                  <a:lnTo>
                    <a:pt x="46" y="44"/>
                  </a:lnTo>
                  <a:lnTo>
                    <a:pt x="44" y="44"/>
                  </a:lnTo>
                  <a:lnTo>
                    <a:pt x="42" y="44"/>
                  </a:lnTo>
                  <a:lnTo>
                    <a:pt x="42" y="46"/>
                  </a:lnTo>
                  <a:lnTo>
                    <a:pt x="40" y="46"/>
                  </a:lnTo>
                  <a:lnTo>
                    <a:pt x="38" y="46"/>
                  </a:lnTo>
                  <a:lnTo>
                    <a:pt x="38" y="48"/>
                  </a:lnTo>
                  <a:lnTo>
                    <a:pt x="38" y="46"/>
                  </a:lnTo>
                  <a:lnTo>
                    <a:pt x="38" y="48"/>
                  </a:lnTo>
                  <a:lnTo>
                    <a:pt x="36" y="48"/>
                  </a:lnTo>
                  <a:lnTo>
                    <a:pt x="36" y="50"/>
                  </a:lnTo>
                  <a:lnTo>
                    <a:pt x="34" y="50"/>
                  </a:lnTo>
                  <a:lnTo>
                    <a:pt x="32" y="50"/>
                  </a:lnTo>
                  <a:lnTo>
                    <a:pt x="32" y="52"/>
                  </a:lnTo>
                  <a:lnTo>
                    <a:pt x="32" y="54"/>
                  </a:lnTo>
                  <a:lnTo>
                    <a:pt x="30" y="54"/>
                  </a:lnTo>
                  <a:lnTo>
                    <a:pt x="30" y="52"/>
                  </a:lnTo>
                  <a:lnTo>
                    <a:pt x="30" y="54"/>
                  </a:lnTo>
                  <a:lnTo>
                    <a:pt x="28" y="54"/>
                  </a:lnTo>
                  <a:lnTo>
                    <a:pt x="28" y="55"/>
                  </a:lnTo>
                  <a:lnTo>
                    <a:pt x="26" y="55"/>
                  </a:lnTo>
                  <a:lnTo>
                    <a:pt x="26" y="57"/>
                  </a:lnTo>
                  <a:lnTo>
                    <a:pt x="25" y="57"/>
                  </a:lnTo>
                  <a:lnTo>
                    <a:pt x="25" y="55"/>
                  </a:lnTo>
                  <a:lnTo>
                    <a:pt x="25" y="54"/>
                  </a:lnTo>
                  <a:lnTo>
                    <a:pt x="23" y="54"/>
                  </a:lnTo>
                  <a:lnTo>
                    <a:pt x="23" y="52"/>
                  </a:lnTo>
                  <a:lnTo>
                    <a:pt x="25" y="52"/>
                  </a:lnTo>
                  <a:lnTo>
                    <a:pt x="25" y="54"/>
                  </a:lnTo>
                  <a:lnTo>
                    <a:pt x="25" y="52"/>
                  </a:lnTo>
                  <a:lnTo>
                    <a:pt x="26" y="52"/>
                  </a:lnTo>
                  <a:lnTo>
                    <a:pt x="25" y="52"/>
                  </a:lnTo>
                  <a:lnTo>
                    <a:pt x="25" y="50"/>
                  </a:lnTo>
                  <a:lnTo>
                    <a:pt x="23" y="50"/>
                  </a:lnTo>
                  <a:lnTo>
                    <a:pt x="23" y="48"/>
                  </a:lnTo>
                  <a:lnTo>
                    <a:pt x="25" y="48"/>
                  </a:lnTo>
                  <a:lnTo>
                    <a:pt x="25" y="46"/>
                  </a:lnTo>
                  <a:lnTo>
                    <a:pt x="25" y="44"/>
                  </a:lnTo>
                  <a:lnTo>
                    <a:pt x="23" y="44"/>
                  </a:lnTo>
                  <a:lnTo>
                    <a:pt x="21" y="44"/>
                  </a:lnTo>
                  <a:lnTo>
                    <a:pt x="19" y="44"/>
                  </a:lnTo>
                  <a:lnTo>
                    <a:pt x="19" y="42"/>
                  </a:lnTo>
                  <a:lnTo>
                    <a:pt x="17" y="42"/>
                  </a:lnTo>
                  <a:lnTo>
                    <a:pt x="17" y="40"/>
                  </a:lnTo>
                  <a:lnTo>
                    <a:pt x="15" y="40"/>
                  </a:lnTo>
                  <a:lnTo>
                    <a:pt x="15" y="38"/>
                  </a:lnTo>
                  <a:lnTo>
                    <a:pt x="13" y="38"/>
                  </a:lnTo>
                  <a:lnTo>
                    <a:pt x="11" y="38"/>
                  </a:lnTo>
                  <a:lnTo>
                    <a:pt x="11" y="36"/>
                  </a:lnTo>
                  <a:lnTo>
                    <a:pt x="13" y="36"/>
                  </a:lnTo>
                  <a:lnTo>
                    <a:pt x="15" y="36"/>
                  </a:lnTo>
                  <a:lnTo>
                    <a:pt x="15" y="34"/>
                  </a:lnTo>
                  <a:lnTo>
                    <a:pt x="17" y="34"/>
                  </a:lnTo>
                  <a:lnTo>
                    <a:pt x="17" y="32"/>
                  </a:lnTo>
                  <a:lnTo>
                    <a:pt x="15" y="32"/>
                  </a:lnTo>
                  <a:lnTo>
                    <a:pt x="17" y="32"/>
                  </a:lnTo>
                  <a:lnTo>
                    <a:pt x="17" y="30"/>
                  </a:lnTo>
                  <a:lnTo>
                    <a:pt x="15" y="30"/>
                  </a:lnTo>
                  <a:lnTo>
                    <a:pt x="13" y="30"/>
                  </a:lnTo>
                  <a:lnTo>
                    <a:pt x="11" y="30"/>
                  </a:lnTo>
                  <a:lnTo>
                    <a:pt x="11" y="29"/>
                  </a:lnTo>
                  <a:lnTo>
                    <a:pt x="9" y="29"/>
                  </a:lnTo>
                  <a:lnTo>
                    <a:pt x="9" y="27"/>
                  </a:lnTo>
                  <a:lnTo>
                    <a:pt x="9" y="25"/>
                  </a:lnTo>
                  <a:lnTo>
                    <a:pt x="7" y="25"/>
                  </a:lnTo>
                  <a:lnTo>
                    <a:pt x="7" y="23"/>
                  </a:lnTo>
                  <a:lnTo>
                    <a:pt x="9" y="23"/>
                  </a:lnTo>
                  <a:lnTo>
                    <a:pt x="9" y="21"/>
                  </a:lnTo>
                  <a:lnTo>
                    <a:pt x="11" y="21"/>
                  </a:lnTo>
                  <a:lnTo>
                    <a:pt x="11" y="19"/>
                  </a:lnTo>
                  <a:lnTo>
                    <a:pt x="9" y="19"/>
                  </a:lnTo>
                  <a:lnTo>
                    <a:pt x="9" y="17"/>
                  </a:lnTo>
                  <a:lnTo>
                    <a:pt x="9" y="19"/>
                  </a:lnTo>
                  <a:lnTo>
                    <a:pt x="9" y="17"/>
                  </a:lnTo>
                  <a:lnTo>
                    <a:pt x="7" y="17"/>
                  </a:lnTo>
                  <a:lnTo>
                    <a:pt x="9" y="17"/>
                  </a:lnTo>
                  <a:lnTo>
                    <a:pt x="7" y="17"/>
                  </a:lnTo>
                  <a:lnTo>
                    <a:pt x="5" y="17"/>
                  </a:lnTo>
                  <a:lnTo>
                    <a:pt x="5" y="15"/>
                  </a:lnTo>
                  <a:lnTo>
                    <a:pt x="3" y="15"/>
                  </a:lnTo>
                  <a:lnTo>
                    <a:pt x="3" y="17"/>
                  </a:lnTo>
                  <a:lnTo>
                    <a:pt x="3" y="15"/>
                  </a:lnTo>
                  <a:lnTo>
                    <a:pt x="5" y="15"/>
                  </a:lnTo>
                  <a:lnTo>
                    <a:pt x="5" y="13"/>
                  </a:lnTo>
                  <a:lnTo>
                    <a:pt x="3" y="13"/>
                  </a:lnTo>
                  <a:lnTo>
                    <a:pt x="3" y="11"/>
                  </a:lnTo>
                  <a:lnTo>
                    <a:pt x="1" y="11"/>
                  </a:lnTo>
                  <a:lnTo>
                    <a:pt x="3" y="11"/>
                  </a:lnTo>
                  <a:lnTo>
                    <a:pt x="3" y="9"/>
                  </a:lnTo>
                  <a:lnTo>
                    <a:pt x="5" y="9"/>
                  </a:lnTo>
                  <a:lnTo>
                    <a:pt x="5" y="7"/>
                  </a:lnTo>
                  <a:lnTo>
                    <a:pt x="7" y="7"/>
                  </a:lnTo>
                  <a:lnTo>
                    <a:pt x="7" y="9"/>
                  </a:lnTo>
                  <a:lnTo>
                    <a:pt x="9" y="9"/>
                  </a:lnTo>
                  <a:lnTo>
                    <a:pt x="11" y="9"/>
                  </a:lnTo>
                  <a:lnTo>
                    <a:pt x="11" y="11"/>
                  </a:lnTo>
                  <a:lnTo>
                    <a:pt x="13" y="11"/>
                  </a:lnTo>
                  <a:lnTo>
                    <a:pt x="13" y="13"/>
                  </a:lnTo>
                  <a:lnTo>
                    <a:pt x="15" y="13"/>
                  </a:lnTo>
                  <a:lnTo>
                    <a:pt x="17" y="13"/>
                  </a:lnTo>
                  <a:lnTo>
                    <a:pt x="19" y="13"/>
                  </a:lnTo>
                  <a:lnTo>
                    <a:pt x="21" y="13"/>
                  </a:lnTo>
                  <a:lnTo>
                    <a:pt x="21" y="15"/>
                  </a:lnTo>
                  <a:lnTo>
                    <a:pt x="23" y="15"/>
                  </a:lnTo>
                  <a:lnTo>
                    <a:pt x="25" y="15"/>
                  </a:lnTo>
                  <a:lnTo>
                    <a:pt x="25" y="17"/>
                  </a:lnTo>
                  <a:lnTo>
                    <a:pt x="25" y="15"/>
                  </a:lnTo>
                  <a:lnTo>
                    <a:pt x="26" y="15"/>
                  </a:lnTo>
                  <a:lnTo>
                    <a:pt x="26" y="13"/>
                  </a:lnTo>
                  <a:lnTo>
                    <a:pt x="26" y="11"/>
                  </a:lnTo>
                  <a:lnTo>
                    <a:pt x="28" y="11"/>
                  </a:lnTo>
                  <a:lnTo>
                    <a:pt x="26" y="11"/>
                  </a:lnTo>
                  <a:lnTo>
                    <a:pt x="26" y="9"/>
                  </a:lnTo>
                  <a:lnTo>
                    <a:pt x="26" y="11"/>
                  </a:lnTo>
                  <a:lnTo>
                    <a:pt x="26" y="9"/>
                  </a:lnTo>
                  <a:lnTo>
                    <a:pt x="25" y="9"/>
                  </a:lnTo>
                  <a:lnTo>
                    <a:pt x="23" y="9"/>
                  </a:lnTo>
                  <a:lnTo>
                    <a:pt x="23" y="7"/>
                  </a:lnTo>
                  <a:lnTo>
                    <a:pt x="21" y="7"/>
                  </a:lnTo>
                  <a:lnTo>
                    <a:pt x="21" y="5"/>
                  </a:lnTo>
                  <a:lnTo>
                    <a:pt x="23" y="5"/>
                  </a:lnTo>
                  <a:lnTo>
                    <a:pt x="21" y="5"/>
                  </a:lnTo>
                  <a:lnTo>
                    <a:pt x="23" y="5"/>
                  </a:lnTo>
                  <a:lnTo>
                    <a:pt x="21" y="5"/>
                  </a:lnTo>
                  <a:lnTo>
                    <a:pt x="19" y="5"/>
                  </a:lnTo>
                  <a:lnTo>
                    <a:pt x="21" y="5"/>
                  </a:lnTo>
                  <a:lnTo>
                    <a:pt x="19" y="5"/>
                  </a:lnTo>
                  <a:lnTo>
                    <a:pt x="21" y="5"/>
                  </a:lnTo>
                  <a:lnTo>
                    <a:pt x="19" y="5"/>
                  </a:lnTo>
                  <a:lnTo>
                    <a:pt x="21" y="5"/>
                  </a:lnTo>
                  <a:lnTo>
                    <a:pt x="21" y="4"/>
                  </a:lnTo>
                  <a:lnTo>
                    <a:pt x="19" y="4"/>
                  </a:lnTo>
                  <a:lnTo>
                    <a:pt x="19" y="2"/>
                  </a:lnTo>
                  <a:lnTo>
                    <a:pt x="21" y="2"/>
                  </a:lnTo>
                  <a:lnTo>
                    <a:pt x="23" y="2"/>
                  </a:lnTo>
                  <a:lnTo>
                    <a:pt x="23" y="0"/>
                  </a:lnTo>
                  <a:lnTo>
                    <a:pt x="25" y="0"/>
                  </a:lnTo>
                  <a:lnTo>
                    <a:pt x="25" y="2"/>
                  </a:lnTo>
                  <a:lnTo>
                    <a:pt x="26" y="2"/>
                  </a:lnTo>
                  <a:lnTo>
                    <a:pt x="28" y="0"/>
                  </a:lnTo>
                  <a:lnTo>
                    <a:pt x="28" y="2"/>
                  </a:lnTo>
                  <a:lnTo>
                    <a:pt x="28" y="4"/>
                  </a:lnTo>
                  <a:lnTo>
                    <a:pt x="30" y="4"/>
                  </a:lnTo>
                  <a:lnTo>
                    <a:pt x="30" y="5"/>
                  </a:lnTo>
                  <a:lnTo>
                    <a:pt x="32" y="5"/>
                  </a:lnTo>
                  <a:lnTo>
                    <a:pt x="32" y="7"/>
                  </a:lnTo>
                  <a:lnTo>
                    <a:pt x="32" y="5"/>
                  </a:lnTo>
                  <a:lnTo>
                    <a:pt x="32" y="7"/>
                  </a:lnTo>
                  <a:lnTo>
                    <a:pt x="32" y="5"/>
                  </a:lnTo>
                  <a:lnTo>
                    <a:pt x="34" y="5"/>
                  </a:lnTo>
                  <a:lnTo>
                    <a:pt x="32" y="5"/>
                  </a:lnTo>
                  <a:lnTo>
                    <a:pt x="34" y="7"/>
                  </a:lnTo>
                  <a:lnTo>
                    <a:pt x="34" y="9"/>
                  </a:lnTo>
                  <a:lnTo>
                    <a:pt x="36" y="9"/>
                  </a:lnTo>
                  <a:lnTo>
                    <a:pt x="36" y="11"/>
                  </a:lnTo>
                  <a:lnTo>
                    <a:pt x="38" y="11"/>
                  </a:lnTo>
                  <a:lnTo>
                    <a:pt x="38" y="13"/>
                  </a:lnTo>
                  <a:lnTo>
                    <a:pt x="38" y="11"/>
                  </a:lnTo>
                  <a:lnTo>
                    <a:pt x="38" y="13"/>
                  </a:lnTo>
                  <a:lnTo>
                    <a:pt x="40" y="13"/>
                  </a:lnTo>
                  <a:lnTo>
                    <a:pt x="42" y="13"/>
                  </a:lnTo>
                  <a:lnTo>
                    <a:pt x="44" y="13"/>
                  </a:lnTo>
                  <a:lnTo>
                    <a:pt x="46" y="13"/>
                  </a:lnTo>
                  <a:lnTo>
                    <a:pt x="44" y="13"/>
                  </a:lnTo>
                  <a:lnTo>
                    <a:pt x="44" y="11"/>
                  </a:lnTo>
                  <a:lnTo>
                    <a:pt x="46" y="11"/>
                  </a:lnTo>
                  <a:lnTo>
                    <a:pt x="44" y="11"/>
                  </a:lnTo>
                  <a:lnTo>
                    <a:pt x="46" y="11"/>
                  </a:lnTo>
                  <a:lnTo>
                    <a:pt x="46" y="9"/>
                  </a:lnTo>
                  <a:lnTo>
                    <a:pt x="48" y="9"/>
                  </a:lnTo>
                  <a:lnTo>
                    <a:pt x="48" y="7"/>
                  </a:lnTo>
                  <a:lnTo>
                    <a:pt x="49" y="7"/>
                  </a:lnTo>
                  <a:lnTo>
                    <a:pt x="49" y="5"/>
                  </a:lnTo>
                  <a:lnTo>
                    <a:pt x="51" y="5"/>
                  </a:lnTo>
                  <a:lnTo>
                    <a:pt x="51" y="4"/>
                  </a:lnTo>
                  <a:lnTo>
                    <a:pt x="53" y="4"/>
                  </a:lnTo>
                  <a:lnTo>
                    <a:pt x="53" y="2"/>
                  </a:lnTo>
                  <a:lnTo>
                    <a:pt x="55" y="2"/>
                  </a:lnTo>
                  <a:close/>
                  <a:moveTo>
                    <a:pt x="9" y="25"/>
                  </a:moveTo>
                  <a:lnTo>
                    <a:pt x="11" y="25"/>
                  </a:lnTo>
                  <a:lnTo>
                    <a:pt x="9" y="25"/>
                  </a:lnTo>
                  <a:close/>
                  <a:moveTo>
                    <a:pt x="19" y="59"/>
                  </a:moveTo>
                  <a:lnTo>
                    <a:pt x="19" y="57"/>
                  </a:lnTo>
                  <a:lnTo>
                    <a:pt x="17" y="57"/>
                  </a:lnTo>
                  <a:lnTo>
                    <a:pt x="15" y="57"/>
                  </a:lnTo>
                  <a:lnTo>
                    <a:pt x="13" y="57"/>
                  </a:lnTo>
                  <a:lnTo>
                    <a:pt x="11" y="57"/>
                  </a:lnTo>
                  <a:lnTo>
                    <a:pt x="11" y="55"/>
                  </a:lnTo>
                  <a:lnTo>
                    <a:pt x="9" y="55"/>
                  </a:lnTo>
                  <a:lnTo>
                    <a:pt x="9" y="54"/>
                  </a:lnTo>
                  <a:lnTo>
                    <a:pt x="7" y="54"/>
                  </a:lnTo>
                  <a:lnTo>
                    <a:pt x="7" y="52"/>
                  </a:lnTo>
                  <a:lnTo>
                    <a:pt x="5" y="52"/>
                  </a:lnTo>
                  <a:lnTo>
                    <a:pt x="3" y="52"/>
                  </a:lnTo>
                  <a:lnTo>
                    <a:pt x="3" y="50"/>
                  </a:lnTo>
                  <a:lnTo>
                    <a:pt x="3" y="48"/>
                  </a:lnTo>
                  <a:lnTo>
                    <a:pt x="1" y="48"/>
                  </a:lnTo>
                  <a:lnTo>
                    <a:pt x="1" y="46"/>
                  </a:lnTo>
                  <a:lnTo>
                    <a:pt x="1" y="44"/>
                  </a:lnTo>
                  <a:lnTo>
                    <a:pt x="0" y="44"/>
                  </a:lnTo>
                  <a:lnTo>
                    <a:pt x="1" y="44"/>
                  </a:lnTo>
                  <a:lnTo>
                    <a:pt x="0" y="44"/>
                  </a:lnTo>
                  <a:lnTo>
                    <a:pt x="1" y="44"/>
                  </a:lnTo>
                  <a:lnTo>
                    <a:pt x="0" y="44"/>
                  </a:lnTo>
                  <a:lnTo>
                    <a:pt x="0" y="42"/>
                  </a:lnTo>
                  <a:lnTo>
                    <a:pt x="1" y="42"/>
                  </a:lnTo>
                  <a:lnTo>
                    <a:pt x="3" y="42"/>
                  </a:lnTo>
                  <a:lnTo>
                    <a:pt x="3" y="40"/>
                  </a:lnTo>
                  <a:lnTo>
                    <a:pt x="3" y="42"/>
                  </a:lnTo>
                  <a:lnTo>
                    <a:pt x="5" y="42"/>
                  </a:lnTo>
                  <a:lnTo>
                    <a:pt x="5" y="44"/>
                  </a:lnTo>
                  <a:lnTo>
                    <a:pt x="7" y="44"/>
                  </a:lnTo>
                  <a:lnTo>
                    <a:pt x="7" y="46"/>
                  </a:lnTo>
                  <a:lnTo>
                    <a:pt x="9" y="46"/>
                  </a:lnTo>
                  <a:lnTo>
                    <a:pt x="11" y="46"/>
                  </a:lnTo>
                  <a:lnTo>
                    <a:pt x="11" y="44"/>
                  </a:lnTo>
                  <a:lnTo>
                    <a:pt x="11" y="46"/>
                  </a:lnTo>
                  <a:lnTo>
                    <a:pt x="11" y="44"/>
                  </a:lnTo>
                  <a:lnTo>
                    <a:pt x="13" y="44"/>
                  </a:lnTo>
                  <a:lnTo>
                    <a:pt x="13" y="46"/>
                  </a:lnTo>
                  <a:lnTo>
                    <a:pt x="15" y="46"/>
                  </a:lnTo>
                  <a:lnTo>
                    <a:pt x="15" y="48"/>
                  </a:lnTo>
                  <a:lnTo>
                    <a:pt x="13" y="48"/>
                  </a:lnTo>
                  <a:lnTo>
                    <a:pt x="13" y="50"/>
                  </a:lnTo>
                  <a:lnTo>
                    <a:pt x="15" y="50"/>
                  </a:lnTo>
                  <a:lnTo>
                    <a:pt x="17" y="50"/>
                  </a:lnTo>
                  <a:lnTo>
                    <a:pt x="17" y="52"/>
                  </a:lnTo>
                  <a:lnTo>
                    <a:pt x="17" y="54"/>
                  </a:lnTo>
                  <a:lnTo>
                    <a:pt x="19" y="55"/>
                  </a:lnTo>
                  <a:lnTo>
                    <a:pt x="19" y="57"/>
                  </a:lnTo>
                  <a:lnTo>
                    <a:pt x="19" y="59"/>
                  </a:lnTo>
                  <a:close/>
                  <a:moveTo>
                    <a:pt x="63" y="55"/>
                  </a:moveTo>
                  <a:lnTo>
                    <a:pt x="63" y="57"/>
                  </a:lnTo>
                  <a:lnTo>
                    <a:pt x="63" y="55"/>
                  </a:lnTo>
                  <a:close/>
                  <a:moveTo>
                    <a:pt x="1" y="15"/>
                  </a:moveTo>
                  <a:lnTo>
                    <a:pt x="3" y="15"/>
                  </a:lnTo>
                  <a:lnTo>
                    <a:pt x="3" y="17"/>
                  </a:lnTo>
                  <a:lnTo>
                    <a:pt x="1" y="17"/>
                  </a:lnTo>
                  <a:lnTo>
                    <a:pt x="1" y="15"/>
                  </a:lnTo>
                  <a:close/>
                  <a:moveTo>
                    <a:pt x="59" y="52"/>
                  </a:moveTo>
                  <a:lnTo>
                    <a:pt x="61" y="52"/>
                  </a:lnTo>
                  <a:lnTo>
                    <a:pt x="61" y="54"/>
                  </a:lnTo>
                  <a:lnTo>
                    <a:pt x="59" y="54"/>
                  </a:lnTo>
                  <a:lnTo>
                    <a:pt x="59" y="52"/>
                  </a:lnTo>
                  <a:close/>
                  <a:moveTo>
                    <a:pt x="67" y="38"/>
                  </a:moveTo>
                  <a:lnTo>
                    <a:pt x="69" y="38"/>
                  </a:lnTo>
                  <a:lnTo>
                    <a:pt x="67" y="38"/>
                  </a:lnTo>
                  <a:close/>
                  <a:moveTo>
                    <a:pt x="61" y="55"/>
                  </a:moveTo>
                  <a:lnTo>
                    <a:pt x="63" y="55"/>
                  </a:lnTo>
                  <a:lnTo>
                    <a:pt x="61" y="55"/>
                  </a:lnTo>
                  <a:close/>
                  <a:moveTo>
                    <a:pt x="61" y="55"/>
                  </a:moveTo>
                  <a:lnTo>
                    <a:pt x="61" y="57"/>
                  </a:lnTo>
                  <a:lnTo>
                    <a:pt x="61" y="55"/>
                  </a:lnTo>
                  <a:close/>
                  <a:moveTo>
                    <a:pt x="82" y="29"/>
                  </a:moveTo>
                  <a:lnTo>
                    <a:pt x="82" y="30"/>
                  </a:lnTo>
                  <a:lnTo>
                    <a:pt x="82" y="2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347">
              <a:extLst>
                <a:ext uri="{FF2B5EF4-FFF2-40B4-BE49-F238E27FC236}">
                  <a16:creationId xmlns:a16="http://schemas.microsoft.com/office/drawing/2014/main" id="{43C5B515-214D-400C-AC35-7B45434AD5B1}"/>
                </a:ext>
              </a:extLst>
            </p:cNvPr>
            <p:cNvSpPr>
              <a:spLocks/>
            </p:cNvSpPr>
            <p:nvPr/>
          </p:nvSpPr>
          <p:spPr bwMode="gray">
            <a:xfrm>
              <a:off x="3926919" y="3497039"/>
              <a:ext cx="121412" cy="61319"/>
            </a:xfrm>
            <a:custGeom>
              <a:avLst/>
              <a:gdLst>
                <a:gd name="T0" fmla="*/ 90 w 99"/>
                <a:gd name="T1" fmla="*/ 35 h 50"/>
                <a:gd name="T2" fmla="*/ 90 w 99"/>
                <a:gd name="T3" fmla="*/ 38 h 50"/>
                <a:gd name="T4" fmla="*/ 90 w 99"/>
                <a:gd name="T5" fmla="*/ 38 h 50"/>
                <a:gd name="T6" fmla="*/ 94 w 99"/>
                <a:gd name="T7" fmla="*/ 38 h 50"/>
                <a:gd name="T8" fmla="*/ 94 w 99"/>
                <a:gd name="T9" fmla="*/ 42 h 50"/>
                <a:gd name="T10" fmla="*/ 97 w 99"/>
                <a:gd name="T11" fmla="*/ 42 h 50"/>
                <a:gd name="T12" fmla="*/ 97 w 99"/>
                <a:gd name="T13" fmla="*/ 46 h 50"/>
                <a:gd name="T14" fmla="*/ 96 w 99"/>
                <a:gd name="T15" fmla="*/ 48 h 50"/>
                <a:gd name="T16" fmla="*/ 90 w 99"/>
                <a:gd name="T17" fmla="*/ 46 h 50"/>
                <a:gd name="T18" fmla="*/ 84 w 99"/>
                <a:gd name="T19" fmla="*/ 44 h 50"/>
                <a:gd name="T20" fmla="*/ 78 w 99"/>
                <a:gd name="T21" fmla="*/ 42 h 50"/>
                <a:gd name="T22" fmla="*/ 74 w 99"/>
                <a:gd name="T23" fmla="*/ 42 h 50"/>
                <a:gd name="T24" fmla="*/ 72 w 99"/>
                <a:gd name="T25" fmla="*/ 44 h 50"/>
                <a:gd name="T26" fmla="*/ 71 w 99"/>
                <a:gd name="T27" fmla="*/ 46 h 50"/>
                <a:gd name="T28" fmla="*/ 63 w 99"/>
                <a:gd name="T29" fmla="*/ 46 h 50"/>
                <a:gd name="T30" fmla="*/ 57 w 99"/>
                <a:gd name="T31" fmla="*/ 48 h 50"/>
                <a:gd name="T32" fmla="*/ 53 w 99"/>
                <a:gd name="T33" fmla="*/ 48 h 50"/>
                <a:gd name="T34" fmla="*/ 46 w 99"/>
                <a:gd name="T35" fmla="*/ 46 h 50"/>
                <a:gd name="T36" fmla="*/ 46 w 99"/>
                <a:gd name="T37" fmla="*/ 42 h 50"/>
                <a:gd name="T38" fmla="*/ 42 w 99"/>
                <a:gd name="T39" fmla="*/ 38 h 50"/>
                <a:gd name="T40" fmla="*/ 36 w 99"/>
                <a:gd name="T41" fmla="*/ 40 h 50"/>
                <a:gd name="T42" fmla="*/ 32 w 99"/>
                <a:gd name="T43" fmla="*/ 40 h 50"/>
                <a:gd name="T44" fmla="*/ 26 w 99"/>
                <a:gd name="T45" fmla="*/ 42 h 50"/>
                <a:gd name="T46" fmla="*/ 24 w 99"/>
                <a:gd name="T47" fmla="*/ 40 h 50"/>
                <a:gd name="T48" fmla="*/ 24 w 99"/>
                <a:gd name="T49" fmla="*/ 37 h 50"/>
                <a:gd name="T50" fmla="*/ 26 w 99"/>
                <a:gd name="T51" fmla="*/ 31 h 50"/>
                <a:gd name="T52" fmla="*/ 24 w 99"/>
                <a:gd name="T53" fmla="*/ 29 h 50"/>
                <a:gd name="T54" fmla="*/ 23 w 99"/>
                <a:gd name="T55" fmla="*/ 23 h 50"/>
                <a:gd name="T56" fmla="*/ 21 w 99"/>
                <a:gd name="T57" fmla="*/ 17 h 50"/>
                <a:gd name="T58" fmla="*/ 17 w 99"/>
                <a:gd name="T59" fmla="*/ 14 h 50"/>
                <a:gd name="T60" fmla="*/ 13 w 99"/>
                <a:gd name="T61" fmla="*/ 10 h 50"/>
                <a:gd name="T62" fmla="*/ 7 w 99"/>
                <a:gd name="T63" fmla="*/ 8 h 50"/>
                <a:gd name="T64" fmla="*/ 3 w 99"/>
                <a:gd name="T65" fmla="*/ 4 h 50"/>
                <a:gd name="T66" fmla="*/ 1 w 99"/>
                <a:gd name="T67" fmla="*/ 2 h 50"/>
                <a:gd name="T68" fmla="*/ 7 w 99"/>
                <a:gd name="T69" fmla="*/ 0 h 50"/>
                <a:gd name="T70" fmla="*/ 11 w 99"/>
                <a:gd name="T71" fmla="*/ 0 h 50"/>
                <a:gd name="T72" fmla="*/ 15 w 99"/>
                <a:gd name="T73" fmla="*/ 4 h 50"/>
                <a:gd name="T74" fmla="*/ 17 w 99"/>
                <a:gd name="T75" fmla="*/ 2 h 50"/>
                <a:gd name="T76" fmla="*/ 21 w 99"/>
                <a:gd name="T77" fmla="*/ 6 h 50"/>
                <a:gd name="T78" fmla="*/ 26 w 99"/>
                <a:gd name="T79" fmla="*/ 8 h 50"/>
                <a:gd name="T80" fmla="*/ 28 w 99"/>
                <a:gd name="T81" fmla="*/ 6 h 50"/>
                <a:gd name="T82" fmla="*/ 32 w 99"/>
                <a:gd name="T83" fmla="*/ 6 h 50"/>
                <a:gd name="T84" fmla="*/ 38 w 99"/>
                <a:gd name="T85" fmla="*/ 8 h 50"/>
                <a:gd name="T86" fmla="*/ 42 w 99"/>
                <a:gd name="T87" fmla="*/ 8 h 50"/>
                <a:gd name="T88" fmla="*/ 46 w 99"/>
                <a:gd name="T89" fmla="*/ 12 h 50"/>
                <a:gd name="T90" fmla="*/ 51 w 99"/>
                <a:gd name="T91" fmla="*/ 14 h 50"/>
                <a:gd name="T92" fmla="*/ 55 w 99"/>
                <a:gd name="T93" fmla="*/ 17 h 50"/>
                <a:gd name="T94" fmla="*/ 61 w 99"/>
                <a:gd name="T95" fmla="*/ 19 h 50"/>
                <a:gd name="T96" fmla="*/ 63 w 99"/>
                <a:gd name="T97" fmla="*/ 17 h 50"/>
                <a:gd name="T98" fmla="*/ 69 w 99"/>
                <a:gd name="T99" fmla="*/ 15 h 50"/>
                <a:gd name="T100" fmla="*/ 71 w 99"/>
                <a:gd name="T101" fmla="*/ 17 h 50"/>
                <a:gd name="T102" fmla="*/ 74 w 99"/>
                <a:gd name="T103" fmla="*/ 17 h 50"/>
                <a:gd name="T104" fmla="*/ 78 w 99"/>
                <a:gd name="T105" fmla="*/ 21 h 50"/>
                <a:gd name="T106" fmla="*/ 82 w 99"/>
                <a:gd name="T107" fmla="*/ 21 h 50"/>
                <a:gd name="T108" fmla="*/ 82 w 99"/>
                <a:gd name="T109" fmla="*/ 25 h 50"/>
                <a:gd name="T110" fmla="*/ 86 w 99"/>
                <a:gd name="T111" fmla="*/ 29 h 50"/>
                <a:gd name="T112" fmla="*/ 92 w 99"/>
                <a:gd name="T113" fmla="*/ 3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 h="50">
                  <a:moveTo>
                    <a:pt x="94" y="33"/>
                  </a:moveTo>
                  <a:lnTo>
                    <a:pt x="94" y="35"/>
                  </a:lnTo>
                  <a:lnTo>
                    <a:pt x="92" y="35"/>
                  </a:lnTo>
                  <a:lnTo>
                    <a:pt x="90" y="35"/>
                  </a:lnTo>
                  <a:lnTo>
                    <a:pt x="90" y="37"/>
                  </a:lnTo>
                  <a:lnTo>
                    <a:pt x="92" y="37"/>
                  </a:lnTo>
                  <a:lnTo>
                    <a:pt x="92" y="38"/>
                  </a:lnTo>
                  <a:lnTo>
                    <a:pt x="90" y="38"/>
                  </a:lnTo>
                  <a:lnTo>
                    <a:pt x="92" y="38"/>
                  </a:lnTo>
                  <a:lnTo>
                    <a:pt x="90" y="38"/>
                  </a:lnTo>
                  <a:lnTo>
                    <a:pt x="92" y="38"/>
                  </a:lnTo>
                  <a:lnTo>
                    <a:pt x="90" y="38"/>
                  </a:lnTo>
                  <a:lnTo>
                    <a:pt x="92" y="38"/>
                  </a:lnTo>
                  <a:lnTo>
                    <a:pt x="94" y="38"/>
                  </a:lnTo>
                  <a:lnTo>
                    <a:pt x="92" y="38"/>
                  </a:lnTo>
                  <a:lnTo>
                    <a:pt x="94" y="38"/>
                  </a:lnTo>
                  <a:lnTo>
                    <a:pt x="92" y="38"/>
                  </a:lnTo>
                  <a:lnTo>
                    <a:pt x="92" y="40"/>
                  </a:lnTo>
                  <a:lnTo>
                    <a:pt x="94" y="40"/>
                  </a:lnTo>
                  <a:lnTo>
                    <a:pt x="94" y="42"/>
                  </a:lnTo>
                  <a:lnTo>
                    <a:pt x="96" y="42"/>
                  </a:lnTo>
                  <a:lnTo>
                    <a:pt x="97" y="42"/>
                  </a:lnTo>
                  <a:lnTo>
                    <a:pt x="97" y="44"/>
                  </a:lnTo>
                  <a:lnTo>
                    <a:pt x="97" y="42"/>
                  </a:lnTo>
                  <a:lnTo>
                    <a:pt x="97" y="44"/>
                  </a:lnTo>
                  <a:lnTo>
                    <a:pt x="99" y="44"/>
                  </a:lnTo>
                  <a:lnTo>
                    <a:pt x="97" y="44"/>
                  </a:lnTo>
                  <a:lnTo>
                    <a:pt x="97" y="46"/>
                  </a:lnTo>
                  <a:lnTo>
                    <a:pt x="97" y="48"/>
                  </a:lnTo>
                  <a:lnTo>
                    <a:pt x="96" y="48"/>
                  </a:lnTo>
                  <a:lnTo>
                    <a:pt x="96" y="50"/>
                  </a:lnTo>
                  <a:lnTo>
                    <a:pt x="96" y="48"/>
                  </a:lnTo>
                  <a:lnTo>
                    <a:pt x="94" y="48"/>
                  </a:lnTo>
                  <a:lnTo>
                    <a:pt x="92" y="48"/>
                  </a:lnTo>
                  <a:lnTo>
                    <a:pt x="92" y="46"/>
                  </a:lnTo>
                  <a:lnTo>
                    <a:pt x="90" y="46"/>
                  </a:lnTo>
                  <a:lnTo>
                    <a:pt x="88" y="46"/>
                  </a:lnTo>
                  <a:lnTo>
                    <a:pt x="86" y="46"/>
                  </a:lnTo>
                  <a:lnTo>
                    <a:pt x="84" y="46"/>
                  </a:lnTo>
                  <a:lnTo>
                    <a:pt x="84" y="44"/>
                  </a:lnTo>
                  <a:lnTo>
                    <a:pt x="82" y="44"/>
                  </a:lnTo>
                  <a:lnTo>
                    <a:pt x="82" y="42"/>
                  </a:lnTo>
                  <a:lnTo>
                    <a:pt x="80" y="42"/>
                  </a:lnTo>
                  <a:lnTo>
                    <a:pt x="78" y="42"/>
                  </a:lnTo>
                  <a:lnTo>
                    <a:pt x="78" y="40"/>
                  </a:lnTo>
                  <a:lnTo>
                    <a:pt x="76" y="40"/>
                  </a:lnTo>
                  <a:lnTo>
                    <a:pt x="76" y="42"/>
                  </a:lnTo>
                  <a:lnTo>
                    <a:pt x="74" y="42"/>
                  </a:lnTo>
                  <a:lnTo>
                    <a:pt x="74" y="44"/>
                  </a:lnTo>
                  <a:lnTo>
                    <a:pt x="72" y="44"/>
                  </a:lnTo>
                  <a:lnTo>
                    <a:pt x="72" y="46"/>
                  </a:lnTo>
                  <a:lnTo>
                    <a:pt x="72" y="44"/>
                  </a:lnTo>
                  <a:lnTo>
                    <a:pt x="71" y="44"/>
                  </a:lnTo>
                  <a:lnTo>
                    <a:pt x="71" y="46"/>
                  </a:lnTo>
                  <a:lnTo>
                    <a:pt x="72" y="46"/>
                  </a:lnTo>
                  <a:lnTo>
                    <a:pt x="71" y="46"/>
                  </a:lnTo>
                  <a:lnTo>
                    <a:pt x="69" y="46"/>
                  </a:lnTo>
                  <a:lnTo>
                    <a:pt x="67" y="46"/>
                  </a:lnTo>
                  <a:lnTo>
                    <a:pt x="65" y="46"/>
                  </a:lnTo>
                  <a:lnTo>
                    <a:pt x="63" y="46"/>
                  </a:lnTo>
                  <a:lnTo>
                    <a:pt x="61" y="46"/>
                  </a:lnTo>
                  <a:lnTo>
                    <a:pt x="59" y="46"/>
                  </a:lnTo>
                  <a:lnTo>
                    <a:pt x="57" y="46"/>
                  </a:lnTo>
                  <a:lnTo>
                    <a:pt x="57" y="48"/>
                  </a:lnTo>
                  <a:lnTo>
                    <a:pt x="57" y="46"/>
                  </a:lnTo>
                  <a:lnTo>
                    <a:pt x="57" y="48"/>
                  </a:lnTo>
                  <a:lnTo>
                    <a:pt x="55" y="48"/>
                  </a:lnTo>
                  <a:lnTo>
                    <a:pt x="53" y="48"/>
                  </a:lnTo>
                  <a:lnTo>
                    <a:pt x="51" y="48"/>
                  </a:lnTo>
                  <a:lnTo>
                    <a:pt x="49" y="46"/>
                  </a:lnTo>
                  <a:lnTo>
                    <a:pt x="48" y="46"/>
                  </a:lnTo>
                  <a:lnTo>
                    <a:pt x="46" y="46"/>
                  </a:lnTo>
                  <a:lnTo>
                    <a:pt x="46" y="44"/>
                  </a:lnTo>
                  <a:lnTo>
                    <a:pt x="48" y="44"/>
                  </a:lnTo>
                  <a:lnTo>
                    <a:pt x="46" y="44"/>
                  </a:lnTo>
                  <a:lnTo>
                    <a:pt x="46" y="42"/>
                  </a:lnTo>
                  <a:lnTo>
                    <a:pt x="44" y="42"/>
                  </a:lnTo>
                  <a:lnTo>
                    <a:pt x="44" y="40"/>
                  </a:lnTo>
                  <a:lnTo>
                    <a:pt x="42" y="40"/>
                  </a:lnTo>
                  <a:lnTo>
                    <a:pt x="42" y="38"/>
                  </a:lnTo>
                  <a:lnTo>
                    <a:pt x="40" y="38"/>
                  </a:lnTo>
                  <a:lnTo>
                    <a:pt x="38" y="38"/>
                  </a:lnTo>
                  <a:lnTo>
                    <a:pt x="38" y="40"/>
                  </a:lnTo>
                  <a:lnTo>
                    <a:pt x="36" y="40"/>
                  </a:lnTo>
                  <a:lnTo>
                    <a:pt x="36" y="42"/>
                  </a:lnTo>
                  <a:lnTo>
                    <a:pt x="36" y="40"/>
                  </a:lnTo>
                  <a:lnTo>
                    <a:pt x="34" y="40"/>
                  </a:lnTo>
                  <a:lnTo>
                    <a:pt x="32" y="40"/>
                  </a:lnTo>
                  <a:lnTo>
                    <a:pt x="30" y="40"/>
                  </a:lnTo>
                  <a:lnTo>
                    <a:pt x="28" y="40"/>
                  </a:lnTo>
                  <a:lnTo>
                    <a:pt x="28" y="42"/>
                  </a:lnTo>
                  <a:lnTo>
                    <a:pt x="26" y="42"/>
                  </a:lnTo>
                  <a:lnTo>
                    <a:pt x="26" y="40"/>
                  </a:lnTo>
                  <a:lnTo>
                    <a:pt x="26" y="42"/>
                  </a:lnTo>
                  <a:lnTo>
                    <a:pt x="26" y="40"/>
                  </a:lnTo>
                  <a:lnTo>
                    <a:pt x="24" y="40"/>
                  </a:lnTo>
                  <a:lnTo>
                    <a:pt x="23" y="40"/>
                  </a:lnTo>
                  <a:lnTo>
                    <a:pt x="23" y="38"/>
                  </a:lnTo>
                  <a:lnTo>
                    <a:pt x="24" y="38"/>
                  </a:lnTo>
                  <a:lnTo>
                    <a:pt x="24" y="37"/>
                  </a:lnTo>
                  <a:lnTo>
                    <a:pt x="24" y="35"/>
                  </a:lnTo>
                  <a:lnTo>
                    <a:pt x="26" y="35"/>
                  </a:lnTo>
                  <a:lnTo>
                    <a:pt x="26" y="33"/>
                  </a:lnTo>
                  <a:lnTo>
                    <a:pt x="26" y="31"/>
                  </a:lnTo>
                  <a:lnTo>
                    <a:pt x="24" y="31"/>
                  </a:lnTo>
                  <a:lnTo>
                    <a:pt x="24" y="29"/>
                  </a:lnTo>
                  <a:lnTo>
                    <a:pt x="26" y="29"/>
                  </a:lnTo>
                  <a:lnTo>
                    <a:pt x="24" y="29"/>
                  </a:lnTo>
                  <a:lnTo>
                    <a:pt x="24" y="27"/>
                  </a:lnTo>
                  <a:lnTo>
                    <a:pt x="24" y="25"/>
                  </a:lnTo>
                  <a:lnTo>
                    <a:pt x="23" y="25"/>
                  </a:lnTo>
                  <a:lnTo>
                    <a:pt x="23" y="23"/>
                  </a:lnTo>
                  <a:lnTo>
                    <a:pt x="23" y="21"/>
                  </a:lnTo>
                  <a:lnTo>
                    <a:pt x="23" y="19"/>
                  </a:lnTo>
                  <a:lnTo>
                    <a:pt x="23" y="17"/>
                  </a:lnTo>
                  <a:lnTo>
                    <a:pt x="21" y="17"/>
                  </a:lnTo>
                  <a:lnTo>
                    <a:pt x="21" y="15"/>
                  </a:lnTo>
                  <a:lnTo>
                    <a:pt x="19" y="15"/>
                  </a:lnTo>
                  <a:lnTo>
                    <a:pt x="17" y="15"/>
                  </a:lnTo>
                  <a:lnTo>
                    <a:pt x="17" y="14"/>
                  </a:lnTo>
                  <a:lnTo>
                    <a:pt x="17" y="12"/>
                  </a:lnTo>
                  <a:lnTo>
                    <a:pt x="15" y="12"/>
                  </a:lnTo>
                  <a:lnTo>
                    <a:pt x="13" y="12"/>
                  </a:lnTo>
                  <a:lnTo>
                    <a:pt x="13" y="10"/>
                  </a:lnTo>
                  <a:lnTo>
                    <a:pt x="11" y="10"/>
                  </a:lnTo>
                  <a:lnTo>
                    <a:pt x="9" y="10"/>
                  </a:lnTo>
                  <a:lnTo>
                    <a:pt x="7" y="10"/>
                  </a:lnTo>
                  <a:lnTo>
                    <a:pt x="7" y="8"/>
                  </a:lnTo>
                  <a:lnTo>
                    <a:pt x="5" y="8"/>
                  </a:lnTo>
                  <a:lnTo>
                    <a:pt x="3" y="8"/>
                  </a:lnTo>
                  <a:lnTo>
                    <a:pt x="3" y="6"/>
                  </a:lnTo>
                  <a:lnTo>
                    <a:pt x="3" y="4"/>
                  </a:lnTo>
                  <a:lnTo>
                    <a:pt x="1" y="4"/>
                  </a:lnTo>
                  <a:lnTo>
                    <a:pt x="0" y="4"/>
                  </a:lnTo>
                  <a:lnTo>
                    <a:pt x="0" y="2"/>
                  </a:lnTo>
                  <a:lnTo>
                    <a:pt x="1" y="2"/>
                  </a:lnTo>
                  <a:lnTo>
                    <a:pt x="1" y="0"/>
                  </a:lnTo>
                  <a:lnTo>
                    <a:pt x="3" y="0"/>
                  </a:lnTo>
                  <a:lnTo>
                    <a:pt x="5" y="0"/>
                  </a:lnTo>
                  <a:lnTo>
                    <a:pt x="7" y="0"/>
                  </a:lnTo>
                  <a:lnTo>
                    <a:pt x="9" y="0"/>
                  </a:lnTo>
                  <a:lnTo>
                    <a:pt x="11" y="0"/>
                  </a:lnTo>
                  <a:lnTo>
                    <a:pt x="9" y="0"/>
                  </a:lnTo>
                  <a:lnTo>
                    <a:pt x="11" y="0"/>
                  </a:lnTo>
                  <a:lnTo>
                    <a:pt x="11" y="2"/>
                  </a:lnTo>
                  <a:lnTo>
                    <a:pt x="13" y="2"/>
                  </a:lnTo>
                  <a:lnTo>
                    <a:pt x="15" y="2"/>
                  </a:lnTo>
                  <a:lnTo>
                    <a:pt x="15" y="4"/>
                  </a:lnTo>
                  <a:lnTo>
                    <a:pt x="17" y="4"/>
                  </a:lnTo>
                  <a:lnTo>
                    <a:pt x="17" y="2"/>
                  </a:lnTo>
                  <a:lnTo>
                    <a:pt x="17" y="4"/>
                  </a:lnTo>
                  <a:lnTo>
                    <a:pt x="17" y="2"/>
                  </a:lnTo>
                  <a:lnTo>
                    <a:pt x="17" y="4"/>
                  </a:lnTo>
                  <a:lnTo>
                    <a:pt x="19" y="4"/>
                  </a:lnTo>
                  <a:lnTo>
                    <a:pt x="21" y="4"/>
                  </a:lnTo>
                  <a:lnTo>
                    <a:pt x="21" y="6"/>
                  </a:lnTo>
                  <a:lnTo>
                    <a:pt x="23" y="6"/>
                  </a:lnTo>
                  <a:lnTo>
                    <a:pt x="24" y="6"/>
                  </a:lnTo>
                  <a:lnTo>
                    <a:pt x="26" y="6"/>
                  </a:lnTo>
                  <a:lnTo>
                    <a:pt x="26" y="8"/>
                  </a:lnTo>
                  <a:lnTo>
                    <a:pt x="26" y="6"/>
                  </a:lnTo>
                  <a:lnTo>
                    <a:pt x="28" y="6"/>
                  </a:lnTo>
                  <a:lnTo>
                    <a:pt x="28" y="8"/>
                  </a:lnTo>
                  <a:lnTo>
                    <a:pt x="28" y="6"/>
                  </a:lnTo>
                  <a:lnTo>
                    <a:pt x="30" y="6"/>
                  </a:lnTo>
                  <a:lnTo>
                    <a:pt x="30" y="8"/>
                  </a:lnTo>
                  <a:lnTo>
                    <a:pt x="30" y="6"/>
                  </a:lnTo>
                  <a:lnTo>
                    <a:pt x="32" y="6"/>
                  </a:lnTo>
                  <a:lnTo>
                    <a:pt x="34" y="6"/>
                  </a:lnTo>
                  <a:lnTo>
                    <a:pt x="36" y="6"/>
                  </a:lnTo>
                  <a:lnTo>
                    <a:pt x="36" y="8"/>
                  </a:lnTo>
                  <a:lnTo>
                    <a:pt x="38" y="8"/>
                  </a:lnTo>
                  <a:lnTo>
                    <a:pt x="40" y="8"/>
                  </a:lnTo>
                  <a:lnTo>
                    <a:pt x="42" y="8"/>
                  </a:lnTo>
                  <a:lnTo>
                    <a:pt x="44" y="8"/>
                  </a:lnTo>
                  <a:lnTo>
                    <a:pt x="42" y="8"/>
                  </a:lnTo>
                  <a:lnTo>
                    <a:pt x="44" y="8"/>
                  </a:lnTo>
                  <a:lnTo>
                    <a:pt x="44" y="10"/>
                  </a:lnTo>
                  <a:lnTo>
                    <a:pt x="46" y="10"/>
                  </a:lnTo>
                  <a:lnTo>
                    <a:pt x="46" y="12"/>
                  </a:lnTo>
                  <a:lnTo>
                    <a:pt x="48" y="12"/>
                  </a:lnTo>
                  <a:lnTo>
                    <a:pt x="48" y="14"/>
                  </a:lnTo>
                  <a:lnTo>
                    <a:pt x="49" y="14"/>
                  </a:lnTo>
                  <a:lnTo>
                    <a:pt x="51" y="14"/>
                  </a:lnTo>
                  <a:lnTo>
                    <a:pt x="53" y="14"/>
                  </a:lnTo>
                  <a:lnTo>
                    <a:pt x="53" y="15"/>
                  </a:lnTo>
                  <a:lnTo>
                    <a:pt x="55" y="15"/>
                  </a:lnTo>
                  <a:lnTo>
                    <a:pt x="55" y="17"/>
                  </a:lnTo>
                  <a:lnTo>
                    <a:pt x="55" y="19"/>
                  </a:lnTo>
                  <a:lnTo>
                    <a:pt x="57" y="19"/>
                  </a:lnTo>
                  <a:lnTo>
                    <a:pt x="59" y="19"/>
                  </a:lnTo>
                  <a:lnTo>
                    <a:pt x="61" y="19"/>
                  </a:lnTo>
                  <a:lnTo>
                    <a:pt x="61" y="17"/>
                  </a:lnTo>
                  <a:lnTo>
                    <a:pt x="61" y="19"/>
                  </a:lnTo>
                  <a:lnTo>
                    <a:pt x="61" y="17"/>
                  </a:lnTo>
                  <a:lnTo>
                    <a:pt x="63" y="17"/>
                  </a:lnTo>
                  <a:lnTo>
                    <a:pt x="65" y="17"/>
                  </a:lnTo>
                  <a:lnTo>
                    <a:pt x="67" y="17"/>
                  </a:lnTo>
                  <a:lnTo>
                    <a:pt x="67" y="15"/>
                  </a:lnTo>
                  <a:lnTo>
                    <a:pt x="69" y="15"/>
                  </a:lnTo>
                  <a:lnTo>
                    <a:pt x="69" y="17"/>
                  </a:lnTo>
                  <a:lnTo>
                    <a:pt x="71" y="17"/>
                  </a:lnTo>
                  <a:lnTo>
                    <a:pt x="71" y="19"/>
                  </a:lnTo>
                  <a:lnTo>
                    <a:pt x="71" y="17"/>
                  </a:lnTo>
                  <a:lnTo>
                    <a:pt x="71" y="15"/>
                  </a:lnTo>
                  <a:lnTo>
                    <a:pt x="72" y="15"/>
                  </a:lnTo>
                  <a:lnTo>
                    <a:pt x="72" y="17"/>
                  </a:lnTo>
                  <a:lnTo>
                    <a:pt x="74" y="17"/>
                  </a:lnTo>
                  <a:lnTo>
                    <a:pt x="76" y="17"/>
                  </a:lnTo>
                  <a:lnTo>
                    <a:pt x="76" y="19"/>
                  </a:lnTo>
                  <a:lnTo>
                    <a:pt x="78" y="19"/>
                  </a:lnTo>
                  <a:lnTo>
                    <a:pt x="78" y="21"/>
                  </a:lnTo>
                  <a:lnTo>
                    <a:pt x="78" y="19"/>
                  </a:lnTo>
                  <a:lnTo>
                    <a:pt x="80" y="19"/>
                  </a:lnTo>
                  <a:lnTo>
                    <a:pt x="82" y="19"/>
                  </a:lnTo>
                  <a:lnTo>
                    <a:pt x="82" y="21"/>
                  </a:lnTo>
                  <a:lnTo>
                    <a:pt x="84" y="21"/>
                  </a:lnTo>
                  <a:lnTo>
                    <a:pt x="84" y="23"/>
                  </a:lnTo>
                  <a:lnTo>
                    <a:pt x="84" y="25"/>
                  </a:lnTo>
                  <a:lnTo>
                    <a:pt x="82" y="25"/>
                  </a:lnTo>
                  <a:lnTo>
                    <a:pt x="82" y="27"/>
                  </a:lnTo>
                  <a:lnTo>
                    <a:pt x="84" y="27"/>
                  </a:lnTo>
                  <a:lnTo>
                    <a:pt x="84" y="29"/>
                  </a:lnTo>
                  <a:lnTo>
                    <a:pt x="86" y="29"/>
                  </a:lnTo>
                  <a:lnTo>
                    <a:pt x="86" y="31"/>
                  </a:lnTo>
                  <a:lnTo>
                    <a:pt x="88" y="31"/>
                  </a:lnTo>
                  <a:lnTo>
                    <a:pt x="90" y="31"/>
                  </a:lnTo>
                  <a:lnTo>
                    <a:pt x="92" y="31"/>
                  </a:lnTo>
                  <a:lnTo>
                    <a:pt x="92" y="33"/>
                  </a:lnTo>
                  <a:lnTo>
                    <a:pt x="94" y="3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348">
              <a:extLst>
                <a:ext uri="{FF2B5EF4-FFF2-40B4-BE49-F238E27FC236}">
                  <a16:creationId xmlns:a16="http://schemas.microsoft.com/office/drawing/2014/main" id="{C12F01C0-088C-4122-8D1C-EA24793153BA}"/>
                </a:ext>
              </a:extLst>
            </p:cNvPr>
            <p:cNvSpPr>
              <a:spLocks noEditPoints="1"/>
            </p:cNvSpPr>
            <p:nvPr/>
          </p:nvSpPr>
          <p:spPr bwMode="gray">
            <a:xfrm>
              <a:off x="3610514" y="3481096"/>
              <a:ext cx="111601" cy="72357"/>
            </a:xfrm>
            <a:custGeom>
              <a:avLst/>
              <a:gdLst>
                <a:gd name="T0" fmla="*/ 89 w 91"/>
                <a:gd name="T1" fmla="*/ 17 h 59"/>
                <a:gd name="T2" fmla="*/ 85 w 91"/>
                <a:gd name="T3" fmla="*/ 15 h 59"/>
                <a:gd name="T4" fmla="*/ 83 w 91"/>
                <a:gd name="T5" fmla="*/ 19 h 59"/>
                <a:gd name="T6" fmla="*/ 81 w 91"/>
                <a:gd name="T7" fmla="*/ 23 h 59"/>
                <a:gd name="T8" fmla="*/ 79 w 91"/>
                <a:gd name="T9" fmla="*/ 30 h 59"/>
                <a:gd name="T10" fmla="*/ 75 w 91"/>
                <a:gd name="T11" fmla="*/ 36 h 59"/>
                <a:gd name="T12" fmla="*/ 75 w 91"/>
                <a:gd name="T13" fmla="*/ 34 h 59"/>
                <a:gd name="T14" fmla="*/ 79 w 91"/>
                <a:gd name="T15" fmla="*/ 36 h 59"/>
                <a:gd name="T16" fmla="*/ 81 w 91"/>
                <a:gd name="T17" fmla="*/ 40 h 59"/>
                <a:gd name="T18" fmla="*/ 83 w 91"/>
                <a:gd name="T19" fmla="*/ 44 h 59"/>
                <a:gd name="T20" fmla="*/ 79 w 91"/>
                <a:gd name="T21" fmla="*/ 46 h 59"/>
                <a:gd name="T22" fmla="*/ 79 w 91"/>
                <a:gd name="T23" fmla="*/ 44 h 59"/>
                <a:gd name="T24" fmla="*/ 75 w 91"/>
                <a:gd name="T25" fmla="*/ 46 h 59"/>
                <a:gd name="T26" fmla="*/ 75 w 91"/>
                <a:gd name="T27" fmla="*/ 44 h 59"/>
                <a:gd name="T28" fmla="*/ 71 w 91"/>
                <a:gd name="T29" fmla="*/ 42 h 59"/>
                <a:gd name="T30" fmla="*/ 64 w 91"/>
                <a:gd name="T31" fmla="*/ 44 h 59"/>
                <a:gd name="T32" fmla="*/ 58 w 91"/>
                <a:gd name="T33" fmla="*/ 48 h 59"/>
                <a:gd name="T34" fmla="*/ 56 w 91"/>
                <a:gd name="T35" fmla="*/ 51 h 59"/>
                <a:gd name="T36" fmla="*/ 52 w 91"/>
                <a:gd name="T37" fmla="*/ 57 h 59"/>
                <a:gd name="T38" fmla="*/ 45 w 91"/>
                <a:gd name="T39" fmla="*/ 59 h 59"/>
                <a:gd name="T40" fmla="*/ 41 w 91"/>
                <a:gd name="T41" fmla="*/ 57 h 59"/>
                <a:gd name="T42" fmla="*/ 37 w 91"/>
                <a:gd name="T43" fmla="*/ 55 h 59"/>
                <a:gd name="T44" fmla="*/ 35 w 91"/>
                <a:gd name="T45" fmla="*/ 55 h 59"/>
                <a:gd name="T46" fmla="*/ 31 w 91"/>
                <a:gd name="T47" fmla="*/ 53 h 59"/>
                <a:gd name="T48" fmla="*/ 27 w 91"/>
                <a:gd name="T49" fmla="*/ 51 h 59"/>
                <a:gd name="T50" fmla="*/ 23 w 91"/>
                <a:gd name="T51" fmla="*/ 53 h 59"/>
                <a:gd name="T52" fmla="*/ 20 w 91"/>
                <a:gd name="T53" fmla="*/ 55 h 59"/>
                <a:gd name="T54" fmla="*/ 14 w 91"/>
                <a:gd name="T55" fmla="*/ 55 h 59"/>
                <a:gd name="T56" fmla="*/ 8 w 91"/>
                <a:gd name="T57" fmla="*/ 55 h 59"/>
                <a:gd name="T58" fmla="*/ 10 w 91"/>
                <a:gd name="T59" fmla="*/ 51 h 59"/>
                <a:gd name="T60" fmla="*/ 8 w 91"/>
                <a:gd name="T61" fmla="*/ 44 h 59"/>
                <a:gd name="T62" fmla="*/ 2 w 91"/>
                <a:gd name="T63" fmla="*/ 40 h 59"/>
                <a:gd name="T64" fmla="*/ 2 w 91"/>
                <a:gd name="T65" fmla="*/ 34 h 59"/>
                <a:gd name="T66" fmla="*/ 2 w 91"/>
                <a:gd name="T67" fmla="*/ 28 h 59"/>
                <a:gd name="T68" fmla="*/ 6 w 91"/>
                <a:gd name="T69" fmla="*/ 27 h 59"/>
                <a:gd name="T70" fmla="*/ 10 w 91"/>
                <a:gd name="T71" fmla="*/ 21 h 59"/>
                <a:gd name="T72" fmla="*/ 4 w 91"/>
                <a:gd name="T73" fmla="*/ 17 h 59"/>
                <a:gd name="T74" fmla="*/ 0 w 91"/>
                <a:gd name="T75" fmla="*/ 11 h 59"/>
                <a:gd name="T76" fmla="*/ 2 w 91"/>
                <a:gd name="T77" fmla="*/ 3 h 59"/>
                <a:gd name="T78" fmla="*/ 4 w 91"/>
                <a:gd name="T79" fmla="*/ 0 h 59"/>
                <a:gd name="T80" fmla="*/ 10 w 91"/>
                <a:gd name="T81" fmla="*/ 3 h 59"/>
                <a:gd name="T82" fmla="*/ 8 w 91"/>
                <a:gd name="T83" fmla="*/ 7 h 59"/>
                <a:gd name="T84" fmla="*/ 18 w 91"/>
                <a:gd name="T85" fmla="*/ 7 h 59"/>
                <a:gd name="T86" fmla="*/ 25 w 91"/>
                <a:gd name="T87" fmla="*/ 9 h 59"/>
                <a:gd name="T88" fmla="*/ 31 w 91"/>
                <a:gd name="T89" fmla="*/ 9 h 59"/>
                <a:gd name="T90" fmla="*/ 37 w 91"/>
                <a:gd name="T91" fmla="*/ 9 h 59"/>
                <a:gd name="T92" fmla="*/ 43 w 91"/>
                <a:gd name="T93" fmla="*/ 9 h 59"/>
                <a:gd name="T94" fmla="*/ 48 w 91"/>
                <a:gd name="T95" fmla="*/ 9 h 59"/>
                <a:gd name="T96" fmla="*/ 54 w 91"/>
                <a:gd name="T97" fmla="*/ 5 h 59"/>
                <a:gd name="T98" fmla="*/ 62 w 91"/>
                <a:gd name="T99" fmla="*/ 3 h 59"/>
                <a:gd name="T100" fmla="*/ 69 w 91"/>
                <a:gd name="T101" fmla="*/ 2 h 59"/>
                <a:gd name="T102" fmla="*/ 77 w 91"/>
                <a:gd name="T103" fmla="*/ 3 h 59"/>
                <a:gd name="T104" fmla="*/ 83 w 91"/>
                <a:gd name="T105" fmla="*/ 5 h 59"/>
                <a:gd name="T106" fmla="*/ 89 w 91"/>
                <a:gd name="T107" fmla="*/ 9 h 59"/>
                <a:gd name="T108" fmla="*/ 77 w 91"/>
                <a:gd name="T109" fmla="*/ 3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 h="59">
                  <a:moveTo>
                    <a:pt x="91" y="9"/>
                  </a:moveTo>
                  <a:lnTo>
                    <a:pt x="91" y="11"/>
                  </a:lnTo>
                  <a:lnTo>
                    <a:pt x="91" y="13"/>
                  </a:lnTo>
                  <a:lnTo>
                    <a:pt x="91" y="15"/>
                  </a:lnTo>
                  <a:lnTo>
                    <a:pt x="89" y="17"/>
                  </a:lnTo>
                  <a:lnTo>
                    <a:pt x="89" y="15"/>
                  </a:lnTo>
                  <a:lnTo>
                    <a:pt x="87" y="15"/>
                  </a:lnTo>
                  <a:lnTo>
                    <a:pt x="85" y="15"/>
                  </a:lnTo>
                  <a:lnTo>
                    <a:pt x="85" y="17"/>
                  </a:lnTo>
                  <a:lnTo>
                    <a:pt x="85" y="15"/>
                  </a:lnTo>
                  <a:lnTo>
                    <a:pt x="85" y="17"/>
                  </a:lnTo>
                  <a:lnTo>
                    <a:pt x="85" y="15"/>
                  </a:lnTo>
                  <a:lnTo>
                    <a:pt x="85" y="17"/>
                  </a:lnTo>
                  <a:lnTo>
                    <a:pt x="83" y="17"/>
                  </a:lnTo>
                  <a:lnTo>
                    <a:pt x="83" y="19"/>
                  </a:lnTo>
                  <a:lnTo>
                    <a:pt x="81" y="19"/>
                  </a:lnTo>
                  <a:lnTo>
                    <a:pt x="81" y="21"/>
                  </a:lnTo>
                  <a:lnTo>
                    <a:pt x="81" y="19"/>
                  </a:lnTo>
                  <a:lnTo>
                    <a:pt x="81" y="21"/>
                  </a:lnTo>
                  <a:lnTo>
                    <a:pt x="81" y="23"/>
                  </a:lnTo>
                  <a:lnTo>
                    <a:pt x="81" y="25"/>
                  </a:lnTo>
                  <a:lnTo>
                    <a:pt x="81" y="27"/>
                  </a:lnTo>
                  <a:lnTo>
                    <a:pt x="81" y="28"/>
                  </a:lnTo>
                  <a:lnTo>
                    <a:pt x="81" y="30"/>
                  </a:lnTo>
                  <a:lnTo>
                    <a:pt x="79" y="30"/>
                  </a:lnTo>
                  <a:lnTo>
                    <a:pt x="77" y="30"/>
                  </a:lnTo>
                  <a:lnTo>
                    <a:pt x="77" y="32"/>
                  </a:lnTo>
                  <a:lnTo>
                    <a:pt x="75" y="32"/>
                  </a:lnTo>
                  <a:lnTo>
                    <a:pt x="75" y="34"/>
                  </a:lnTo>
                  <a:lnTo>
                    <a:pt x="75" y="36"/>
                  </a:lnTo>
                  <a:lnTo>
                    <a:pt x="75" y="34"/>
                  </a:lnTo>
                  <a:lnTo>
                    <a:pt x="75" y="36"/>
                  </a:lnTo>
                  <a:lnTo>
                    <a:pt x="75" y="34"/>
                  </a:lnTo>
                  <a:lnTo>
                    <a:pt x="75" y="36"/>
                  </a:lnTo>
                  <a:lnTo>
                    <a:pt x="75" y="34"/>
                  </a:lnTo>
                  <a:lnTo>
                    <a:pt x="77" y="34"/>
                  </a:lnTo>
                  <a:lnTo>
                    <a:pt x="77" y="36"/>
                  </a:lnTo>
                  <a:lnTo>
                    <a:pt x="79" y="36"/>
                  </a:lnTo>
                  <a:lnTo>
                    <a:pt x="77" y="36"/>
                  </a:lnTo>
                  <a:lnTo>
                    <a:pt x="79" y="36"/>
                  </a:lnTo>
                  <a:lnTo>
                    <a:pt x="79" y="38"/>
                  </a:lnTo>
                  <a:lnTo>
                    <a:pt x="79" y="40"/>
                  </a:lnTo>
                  <a:lnTo>
                    <a:pt x="79" y="38"/>
                  </a:lnTo>
                  <a:lnTo>
                    <a:pt x="79" y="40"/>
                  </a:lnTo>
                  <a:lnTo>
                    <a:pt x="81" y="40"/>
                  </a:lnTo>
                  <a:lnTo>
                    <a:pt x="81" y="42"/>
                  </a:lnTo>
                  <a:lnTo>
                    <a:pt x="81" y="40"/>
                  </a:lnTo>
                  <a:lnTo>
                    <a:pt x="81" y="42"/>
                  </a:lnTo>
                  <a:lnTo>
                    <a:pt x="83" y="42"/>
                  </a:lnTo>
                  <a:lnTo>
                    <a:pt x="83" y="44"/>
                  </a:lnTo>
                  <a:lnTo>
                    <a:pt x="81" y="44"/>
                  </a:lnTo>
                  <a:lnTo>
                    <a:pt x="79" y="44"/>
                  </a:lnTo>
                  <a:lnTo>
                    <a:pt x="81" y="44"/>
                  </a:lnTo>
                  <a:lnTo>
                    <a:pt x="81" y="46"/>
                  </a:lnTo>
                  <a:lnTo>
                    <a:pt x="79" y="46"/>
                  </a:lnTo>
                  <a:lnTo>
                    <a:pt x="79" y="44"/>
                  </a:lnTo>
                  <a:lnTo>
                    <a:pt x="79" y="46"/>
                  </a:lnTo>
                  <a:lnTo>
                    <a:pt x="79" y="44"/>
                  </a:lnTo>
                  <a:lnTo>
                    <a:pt x="79" y="46"/>
                  </a:lnTo>
                  <a:lnTo>
                    <a:pt x="79" y="44"/>
                  </a:lnTo>
                  <a:lnTo>
                    <a:pt x="77" y="44"/>
                  </a:lnTo>
                  <a:lnTo>
                    <a:pt x="79" y="44"/>
                  </a:lnTo>
                  <a:lnTo>
                    <a:pt x="77" y="44"/>
                  </a:lnTo>
                  <a:lnTo>
                    <a:pt x="77" y="46"/>
                  </a:lnTo>
                  <a:lnTo>
                    <a:pt x="75" y="46"/>
                  </a:lnTo>
                  <a:lnTo>
                    <a:pt x="77" y="46"/>
                  </a:lnTo>
                  <a:lnTo>
                    <a:pt x="75" y="46"/>
                  </a:lnTo>
                  <a:lnTo>
                    <a:pt x="77" y="46"/>
                  </a:lnTo>
                  <a:lnTo>
                    <a:pt x="75" y="46"/>
                  </a:lnTo>
                  <a:lnTo>
                    <a:pt x="75" y="44"/>
                  </a:lnTo>
                  <a:lnTo>
                    <a:pt x="75" y="46"/>
                  </a:lnTo>
                  <a:lnTo>
                    <a:pt x="75" y="44"/>
                  </a:lnTo>
                  <a:lnTo>
                    <a:pt x="73" y="44"/>
                  </a:lnTo>
                  <a:lnTo>
                    <a:pt x="73" y="42"/>
                  </a:lnTo>
                  <a:lnTo>
                    <a:pt x="71" y="42"/>
                  </a:lnTo>
                  <a:lnTo>
                    <a:pt x="69" y="42"/>
                  </a:lnTo>
                  <a:lnTo>
                    <a:pt x="68" y="42"/>
                  </a:lnTo>
                  <a:lnTo>
                    <a:pt x="68" y="44"/>
                  </a:lnTo>
                  <a:lnTo>
                    <a:pt x="66" y="44"/>
                  </a:lnTo>
                  <a:lnTo>
                    <a:pt x="64" y="44"/>
                  </a:lnTo>
                  <a:lnTo>
                    <a:pt x="62" y="44"/>
                  </a:lnTo>
                  <a:lnTo>
                    <a:pt x="62" y="46"/>
                  </a:lnTo>
                  <a:lnTo>
                    <a:pt x="62" y="48"/>
                  </a:lnTo>
                  <a:lnTo>
                    <a:pt x="60" y="48"/>
                  </a:lnTo>
                  <a:lnTo>
                    <a:pt x="58" y="48"/>
                  </a:lnTo>
                  <a:lnTo>
                    <a:pt x="58" y="50"/>
                  </a:lnTo>
                  <a:lnTo>
                    <a:pt x="56" y="50"/>
                  </a:lnTo>
                  <a:lnTo>
                    <a:pt x="54" y="50"/>
                  </a:lnTo>
                  <a:lnTo>
                    <a:pt x="54" y="51"/>
                  </a:lnTo>
                  <a:lnTo>
                    <a:pt x="56" y="51"/>
                  </a:lnTo>
                  <a:lnTo>
                    <a:pt x="56" y="53"/>
                  </a:lnTo>
                  <a:lnTo>
                    <a:pt x="56" y="55"/>
                  </a:lnTo>
                  <a:lnTo>
                    <a:pt x="56" y="57"/>
                  </a:lnTo>
                  <a:lnTo>
                    <a:pt x="54" y="57"/>
                  </a:lnTo>
                  <a:lnTo>
                    <a:pt x="52" y="57"/>
                  </a:lnTo>
                  <a:lnTo>
                    <a:pt x="50" y="57"/>
                  </a:lnTo>
                  <a:lnTo>
                    <a:pt x="48" y="57"/>
                  </a:lnTo>
                  <a:lnTo>
                    <a:pt x="46" y="57"/>
                  </a:lnTo>
                  <a:lnTo>
                    <a:pt x="45" y="57"/>
                  </a:lnTo>
                  <a:lnTo>
                    <a:pt x="45" y="59"/>
                  </a:lnTo>
                  <a:lnTo>
                    <a:pt x="45" y="57"/>
                  </a:lnTo>
                  <a:lnTo>
                    <a:pt x="45" y="59"/>
                  </a:lnTo>
                  <a:lnTo>
                    <a:pt x="43" y="59"/>
                  </a:lnTo>
                  <a:lnTo>
                    <a:pt x="43" y="57"/>
                  </a:lnTo>
                  <a:lnTo>
                    <a:pt x="41" y="57"/>
                  </a:lnTo>
                  <a:lnTo>
                    <a:pt x="39" y="57"/>
                  </a:lnTo>
                  <a:lnTo>
                    <a:pt x="39" y="55"/>
                  </a:lnTo>
                  <a:lnTo>
                    <a:pt x="37" y="55"/>
                  </a:lnTo>
                  <a:lnTo>
                    <a:pt x="35" y="55"/>
                  </a:lnTo>
                  <a:lnTo>
                    <a:pt x="37" y="55"/>
                  </a:lnTo>
                  <a:lnTo>
                    <a:pt x="37" y="57"/>
                  </a:lnTo>
                  <a:lnTo>
                    <a:pt x="35" y="57"/>
                  </a:lnTo>
                  <a:lnTo>
                    <a:pt x="37" y="57"/>
                  </a:lnTo>
                  <a:lnTo>
                    <a:pt x="35" y="57"/>
                  </a:lnTo>
                  <a:lnTo>
                    <a:pt x="35" y="55"/>
                  </a:lnTo>
                  <a:lnTo>
                    <a:pt x="33" y="55"/>
                  </a:lnTo>
                  <a:lnTo>
                    <a:pt x="33" y="53"/>
                  </a:lnTo>
                  <a:lnTo>
                    <a:pt x="31" y="53"/>
                  </a:lnTo>
                  <a:lnTo>
                    <a:pt x="33" y="53"/>
                  </a:lnTo>
                  <a:lnTo>
                    <a:pt x="31" y="53"/>
                  </a:lnTo>
                  <a:lnTo>
                    <a:pt x="31" y="51"/>
                  </a:lnTo>
                  <a:lnTo>
                    <a:pt x="31" y="53"/>
                  </a:lnTo>
                  <a:lnTo>
                    <a:pt x="29" y="53"/>
                  </a:lnTo>
                  <a:lnTo>
                    <a:pt x="27" y="53"/>
                  </a:lnTo>
                  <a:lnTo>
                    <a:pt x="27" y="51"/>
                  </a:lnTo>
                  <a:lnTo>
                    <a:pt x="27" y="53"/>
                  </a:lnTo>
                  <a:lnTo>
                    <a:pt x="25" y="53"/>
                  </a:lnTo>
                  <a:lnTo>
                    <a:pt x="25" y="55"/>
                  </a:lnTo>
                  <a:lnTo>
                    <a:pt x="23" y="55"/>
                  </a:lnTo>
                  <a:lnTo>
                    <a:pt x="23" y="53"/>
                  </a:lnTo>
                  <a:lnTo>
                    <a:pt x="23" y="55"/>
                  </a:lnTo>
                  <a:lnTo>
                    <a:pt x="23" y="53"/>
                  </a:lnTo>
                  <a:lnTo>
                    <a:pt x="23" y="55"/>
                  </a:lnTo>
                  <a:lnTo>
                    <a:pt x="21" y="55"/>
                  </a:lnTo>
                  <a:lnTo>
                    <a:pt x="20" y="55"/>
                  </a:lnTo>
                  <a:lnTo>
                    <a:pt x="18" y="55"/>
                  </a:lnTo>
                  <a:lnTo>
                    <a:pt x="16" y="55"/>
                  </a:lnTo>
                  <a:lnTo>
                    <a:pt x="14" y="55"/>
                  </a:lnTo>
                  <a:lnTo>
                    <a:pt x="14" y="57"/>
                  </a:lnTo>
                  <a:lnTo>
                    <a:pt x="14" y="55"/>
                  </a:lnTo>
                  <a:lnTo>
                    <a:pt x="12" y="55"/>
                  </a:lnTo>
                  <a:lnTo>
                    <a:pt x="12" y="57"/>
                  </a:lnTo>
                  <a:lnTo>
                    <a:pt x="10" y="57"/>
                  </a:lnTo>
                  <a:lnTo>
                    <a:pt x="8" y="57"/>
                  </a:lnTo>
                  <a:lnTo>
                    <a:pt x="8" y="55"/>
                  </a:lnTo>
                  <a:lnTo>
                    <a:pt x="10" y="55"/>
                  </a:lnTo>
                  <a:lnTo>
                    <a:pt x="8" y="55"/>
                  </a:lnTo>
                  <a:lnTo>
                    <a:pt x="8" y="53"/>
                  </a:lnTo>
                  <a:lnTo>
                    <a:pt x="8" y="51"/>
                  </a:lnTo>
                  <a:lnTo>
                    <a:pt x="10" y="51"/>
                  </a:lnTo>
                  <a:lnTo>
                    <a:pt x="10" y="50"/>
                  </a:lnTo>
                  <a:lnTo>
                    <a:pt x="10" y="48"/>
                  </a:lnTo>
                  <a:lnTo>
                    <a:pt x="8" y="48"/>
                  </a:lnTo>
                  <a:lnTo>
                    <a:pt x="8" y="46"/>
                  </a:lnTo>
                  <a:lnTo>
                    <a:pt x="8" y="44"/>
                  </a:lnTo>
                  <a:lnTo>
                    <a:pt x="6" y="44"/>
                  </a:lnTo>
                  <a:lnTo>
                    <a:pt x="6" y="42"/>
                  </a:lnTo>
                  <a:lnTo>
                    <a:pt x="4" y="42"/>
                  </a:lnTo>
                  <a:lnTo>
                    <a:pt x="2" y="42"/>
                  </a:lnTo>
                  <a:lnTo>
                    <a:pt x="2" y="40"/>
                  </a:lnTo>
                  <a:lnTo>
                    <a:pt x="0" y="40"/>
                  </a:lnTo>
                  <a:lnTo>
                    <a:pt x="0" y="38"/>
                  </a:lnTo>
                  <a:lnTo>
                    <a:pt x="2" y="38"/>
                  </a:lnTo>
                  <a:lnTo>
                    <a:pt x="2" y="36"/>
                  </a:lnTo>
                  <a:lnTo>
                    <a:pt x="2" y="34"/>
                  </a:lnTo>
                  <a:lnTo>
                    <a:pt x="2" y="32"/>
                  </a:lnTo>
                  <a:lnTo>
                    <a:pt x="0" y="32"/>
                  </a:lnTo>
                  <a:lnTo>
                    <a:pt x="2" y="32"/>
                  </a:lnTo>
                  <a:lnTo>
                    <a:pt x="2" y="30"/>
                  </a:lnTo>
                  <a:lnTo>
                    <a:pt x="2" y="28"/>
                  </a:lnTo>
                  <a:lnTo>
                    <a:pt x="0" y="28"/>
                  </a:lnTo>
                  <a:lnTo>
                    <a:pt x="0" y="27"/>
                  </a:lnTo>
                  <a:lnTo>
                    <a:pt x="2" y="27"/>
                  </a:lnTo>
                  <a:lnTo>
                    <a:pt x="4" y="27"/>
                  </a:lnTo>
                  <a:lnTo>
                    <a:pt x="6" y="27"/>
                  </a:lnTo>
                  <a:lnTo>
                    <a:pt x="6" y="25"/>
                  </a:lnTo>
                  <a:lnTo>
                    <a:pt x="8" y="25"/>
                  </a:lnTo>
                  <a:lnTo>
                    <a:pt x="8" y="23"/>
                  </a:lnTo>
                  <a:lnTo>
                    <a:pt x="10" y="23"/>
                  </a:lnTo>
                  <a:lnTo>
                    <a:pt x="10" y="21"/>
                  </a:lnTo>
                  <a:lnTo>
                    <a:pt x="8" y="21"/>
                  </a:lnTo>
                  <a:lnTo>
                    <a:pt x="8" y="19"/>
                  </a:lnTo>
                  <a:lnTo>
                    <a:pt x="6" y="19"/>
                  </a:lnTo>
                  <a:lnTo>
                    <a:pt x="6" y="17"/>
                  </a:lnTo>
                  <a:lnTo>
                    <a:pt x="4" y="17"/>
                  </a:lnTo>
                  <a:lnTo>
                    <a:pt x="4" y="15"/>
                  </a:lnTo>
                  <a:lnTo>
                    <a:pt x="2" y="15"/>
                  </a:lnTo>
                  <a:lnTo>
                    <a:pt x="2" y="13"/>
                  </a:lnTo>
                  <a:lnTo>
                    <a:pt x="2" y="11"/>
                  </a:lnTo>
                  <a:lnTo>
                    <a:pt x="0" y="11"/>
                  </a:lnTo>
                  <a:lnTo>
                    <a:pt x="0" y="9"/>
                  </a:lnTo>
                  <a:lnTo>
                    <a:pt x="0" y="7"/>
                  </a:lnTo>
                  <a:lnTo>
                    <a:pt x="0" y="5"/>
                  </a:lnTo>
                  <a:lnTo>
                    <a:pt x="0" y="3"/>
                  </a:lnTo>
                  <a:lnTo>
                    <a:pt x="2" y="3"/>
                  </a:lnTo>
                  <a:lnTo>
                    <a:pt x="4" y="3"/>
                  </a:lnTo>
                  <a:lnTo>
                    <a:pt x="4" y="2"/>
                  </a:lnTo>
                  <a:lnTo>
                    <a:pt x="4" y="3"/>
                  </a:lnTo>
                  <a:lnTo>
                    <a:pt x="4" y="2"/>
                  </a:lnTo>
                  <a:lnTo>
                    <a:pt x="4" y="0"/>
                  </a:lnTo>
                  <a:lnTo>
                    <a:pt x="6" y="0"/>
                  </a:lnTo>
                  <a:lnTo>
                    <a:pt x="6" y="2"/>
                  </a:lnTo>
                  <a:lnTo>
                    <a:pt x="8" y="2"/>
                  </a:lnTo>
                  <a:lnTo>
                    <a:pt x="10" y="2"/>
                  </a:lnTo>
                  <a:lnTo>
                    <a:pt x="10" y="3"/>
                  </a:lnTo>
                  <a:lnTo>
                    <a:pt x="8" y="3"/>
                  </a:lnTo>
                  <a:lnTo>
                    <a:pt x="8" y="5"/>
                  </a:lnTo>
                  <a:lnTo>
                    <a:pt x="6" y="5"/>
                  </a:lnTo>
                  <a:lnTo>
                    <a:pt x="6" y="7"/>
                  </a:lnTo>
                  <a:lnTo>
                    <a:pt x="8" y="7"/>
                  </a:lnTo>
                  <a:lnTo>
                    <a:pt x="10" y="7"/>
                  </a:lnTo>
                  <a:lnTo>
                    <a:pt x="12" y="7"/>
                  </a:lnTo>
                  <a:lnTo>
                    <a:pt x="14" y="7"/>
                  </a:lnTo>
                  <a:lnTo>
                    <a:pt x="16" y="7"/>
                  </a:lnTo>
                  <a:lnTo>
                    <a:pt x="18" y="7"/>
                  </a:lnTo>
                  <a:lnTo>
                    <a:pt x="20" y="7"/>
                  </a:lnTo>
                  <a:lnTo>
                    <a:pt x="21" y="7"/>
                  </a:lnTo>
                  <a:lnTo>
                    <a:pt x="21" y="9"/>
                  </a:lnTo>
                  <a:lnTo>
                    <a:pt x="23" y="9"/>
                  </a:lnTo>
                  <a:lnTo>
                    <a:pt x="25" y="9"/>
                  </a:lnTo>
                  <a:lnTo>
                    <a:pt x="27" y="9"/>
                  </a:lnTo>
                  <a:lnTo>
                    <a:pt x="27" y="11"/>
                  </a:lnTo>
                  <a:lnTo>
                    <a:pt x="27" y="9"/>
                  </a:lnTo>
                  <a:lnTo>
                    <a:pt x="29" y="9"/>
                  </a:lnTo>
                  <a:lnTo>
                    <a:pt x="31" y="9"/>
                  </a:lnTo>
                  <a:lnTo>
                    <a:pt x="33" y="9"/>
                  </a:lnTo>
                  <a:lnTo>
                    <a:pt x="35" y="9"/>
                  </a:lnTo>
                  <a:lnTo>
                    <a:pt x="35" y="11"/>
                  </a:lnTo>
                  <a:lnTo>
                    <a:pt x="35" y="9"/>
                  </a:lnTo>
                  <a:lnTo>
                    <a:pt x="37" y="9"/>
                  </a:lnTo>
                  <a:lnTo>
                    <a:pt x="39" y="9"/>
                  </a:lnTo>
                  <a:lnTo>
                    <a:pt x="41" y="9"/>
                  </a:lnTo>
                  <a:lnTo>
                    <a:pt x="41" y="11"/>
                  </a:lnTo>
                  <a:lnTo>
                    <a:pt x="41" y="9"/>
                  </a:lnTo>
                  <a:lnTo>
                    <a:pt x="43" y="9"/>
                  </a:lnTo>
                  <a:lnTo>
                    <a:pt x="43" y="11"/>
                  </a:lnTo>
                  <a:lnTo>
                    <a:pt x="45" y="11"/>
                  </a:lnTo>
                  <a:lnTo>
                    <a:pt x="46" y="11"/>
                  </a:lnTo>
                  <a:lnTo>
                    <a:pt x="48" y="11"/>
                  </a:lnTo>
                  <a:lnTo>
                    <a:pt x="48" y="9"/>
                  </a:lnTo>
                  <a:lnTo>
                    <a:pt x="50" y="9"/>
                  </a:lnTo>
                  <a:lnTo>
                    <a:pt x="52" y="9"/>
                  </a:lnTo>
                  <a:lnTo>
                    <a:pt x="52" y="7"/>
                  </a:lnTo>
                  <a:lnTo>
                    <a:pt x="52" y="5"/>
                  </a:lnTo>
                  <a:lnTo>
                    <a:pt x="54" y="5"/>
                  </a:lnTo>
                  <a:lnTo>
                    <a:pt x="54" y="3"/>
                  </a:lnTo>
                  <a:lnTo>
                    <a:pt x="56" y="3"/>
                  </a:lnTo>
                  <a:lnTo>
                    <a:pt x="58" y="3"/>
                  </a:lnTo>
                  <a:lnTo>
                    <a:pt x="60" y="3"/>
                  </a:lnTo>
                  <a:lnTo>
                    <a:pt x="62" y="3"/>
                  </a:lnTo>
                  <a:lnTo>
                    <a:pt x="64" y="3"/>
                  </a:lnTo>
                  <a:lnTo>
                    <a:pt x="64" y="2"/>
                  </a:lnTo>
                  <a:lnTo>
                    <a:pt x="66" y="2"/>
                  </a:lnTo>
                  <a:lnTo>
                    <a:pt x="68" y="2"/>
                  </a:lnTo>
                  <a:lnTo>
                    <a:pt x="69" y="2"/>
                  </a:lnTo>
                  <a:lnTo>
                    <a:pt x="71" y="2"/>
                  </a:lnTo>
                  <a:lnTo>
                    <a:pt x="73" y="2"/>
                  </a:lnTo>
                  <a:lnTo>
                    <a:pt x="73" y="3"/>
                  </a:lnTo>
                  <a:lnTo>
                    <a:pt x="75" y="3"/>
                  </a:lnTo>
                  <a:lnTo>
                    <a:pt x="77" y="3"/>
                  </a:lnTo>
                  <a:lnTo>
                    <a:pt x="79" y="5"/>
                  </a:lnTo>
                  <a:lnTo>
                    <a:pt x="81" y="5"/>
                  </a:lnTo>
                  <a:lnTo>
                    <a:pt x="81" y="3"/>
                  </a:lnTo>
                  <a:lnTo>
                    <a:pt x="81" y="5"/>
                  </a:lnTo>
                  <a:lnTo>
                    <a:pt x="83" y="5"/>
                  </a:lnTo>
                  <a:lnTo>
                    <a:pt x="83" y="7"/>
                  </a:lnTo>
                  <a:lnTo>
                    <a:pt x="85" y="7"/>
                  </a:lnTo>
                  <a:lnTo>
                    <a:pt x="85" y="9"/>
                  </a:lnTo>
                  <a:lnTo>
                    <a:pt x="87" y="9"/>
                  </a:lnTo>
                  <a:lnTo>
                    <a:pt x="89" y="9"/>
                  </a:lnTo>
                  <a:lnTo>
                    <a:pt x="91" y="9"/>
                  </a:lnTo>
                  <a:close/>
                  <a:moveTo>
                    <a:pt x="77" y="34"/>
                  </a:moveTo>
                  <a:lnTo>
                    <a:pt x="77" y="36"/>
                  </a:lnTo>
                  <a:lnTo>
                    <a:pt x="77" y="34"/>
                  </a:lnTo>
                  <a:close/>
                  <a:moveTo>
                    <a:pt x="77" y="34"/>
                  </a:moveTo>
                  <a:lnTo>
                    <a:pt x="77" y="36"/>
                  </a:lnTo>
                  <a:lnTo>
                    <a:pt x="77" y="3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349">
              <a:extLst>
                <a:ext uri="{FF2B5EF4-FFF2-40B4-BE49-F238E27FC236}">
                  <a16:creationId xmlns:a16="http://schemas.microsoft.com/office/drawing/2014/main" id="{E69B63E4-BA0A-460C-9965-41337BC2D315}"/>
                </a:ext>
              </a:extLst>
            </p:cNvPr>
            <p:cNvSpPr>
              <a:spLocks noEditPoints="1"/>
            </p:cNvSpPr>
            <p:nvPr/>
          </p:nvSpPr>
          <p:spPr bwMode="gray">
            <a:xfrm>
              <a:off x="3559006" y="3542415"/>
              <a:ext cx="181504" cy="156976"/>
            </a:xfrm>
            <a:custGeom>
              <a:avLst/>
              <a:gdLst>
                <a:gd name="T0" fmla="*/ 83 w 148"/>
                <a:gd name="T1" fmla="*/ 13 h 128"/>
                <a:gd name="T2" fmla="*/ 63 w 148"/>
                <a:gd name="T3" fmla="*/ 23 h 128"/>
                <a:gd name="T4" fmla="*/ 63 w 148"/>
                <a:gd name="T5" fmla="*/ 30 h 128"/>
                <a:gd name="T6" fmla="*/ 50 w 148"/>
                <a:gd name="T7" fmla="*/ 21 h 128"/>
                <a:gd name="T8" fmla="*/ 56 w 148"/>
                <a:gd name="T9" fmla="*/ 50 h 128"/>
                <a:gd name="T10" fmla="*/ 52 w 148"/>
                <a:gd name="T11" fmla="*/ 53 h 128"/>
                <a:gd name="T12" fmla="*/ 62 w 148"/>
                <a:gd name="T13" fmla="*/ 63 h 128"/>
                <a:gd name="T14" fmla="*/ 62 w 148"/>
                <a:gd name="T15" fmla="*/ 74 h 128"/>
                <a:gd name="T16" fmla="*/ 54 w 148"/>
                <a:gd name="T17" fmla="*/ 78 h 128"/>
                <a:gd name="T18" fmla="*/ 52 w 148"/>
                <a:gd name="T19" fmla="*/ 80 h 128"/>
                <a:gd name="T20" fmla="*/ 52 w 148"/>
                <a:gd name="T21" fmla="*/ 96 h 128"/>
                <a:gd name="T22" fmla="*/ 42 w 148"/>
                <a:gd name="T23" fmla="*/ 98 h 128"/>
                <a:gd name="T24" fmla="*/ 31 w 148"/>
                <a:gd name="T25" fmla="*/ 80 h 128"/>
                <a:gd name="T26" fmla="*/ 42 w 148"/>
                <a:gd name="T27" fmla="*/ 69 h 128"/>
                <a:gd name="T28" fmla="*/ 40 w 148"/>
                <a:gd name="T29" fmla="*/ 63 h 128"/>
                <a:gd name="T30" fmla="*/ 27 w 148"/>
                <a:gd name="T31" fmla="*/ 65 h 128"/>
                <a:gd name="T32" fmla="*/ 19 w 148"/>
                <a:gd name="T33" fmla="*/ 53 h 128"/>
                <a:gd name="T34" fmla="*/ 19 w 148"/>
                <a:gd name="T35" fmla="*/ 50 h 128"/>
                <a:gd name="T36" fmla="*/ 12 w 148"/>
                <a:gd name="T37" fmla="*/ 42 h 128"/>
                <a:gd name="T38" fmla="*/ 15 w 148"/>
                <a:gd name="T39" fmla="*/ 30 h 128"/>
                <a:gd name="T40" fmla="*/ 35 w 148"/>
                <a:gd name="T41" fmla="*/ 15 h 128"/>
                <a:gd name="T42" fmla="*/ 63 w 148"/>
                <a:gd name="T43" fmla="*/ 5 h 128"/>
                <a:gd name="T44" fmla="*/ 81 w 148"/>
                <a:gd name="T45" fmla="*/ 7 h 128"/>
                <a:gd name="T46" fmla="*/ 65 w 148"/>
                <a:gd name="T47" fmla="*/ 115 h 128"/>
                <a:gd name="T48" fmla="*/ 88 w 148"/>
                <a:gd name="T49" fmla="*/ 119 h 128"/>
                <a:gd name="T50" fmla="*/ 94 w 148"/>
                <a:gd name="T51" fmla="*/ 124 h 128"/>
                <a:gd name="T52" fmla="*/ 63 w 148"/>
                <a:gd name="T53" fmla="*/ 121 h 128"/>
                <a:gd name="T54" fmla="*/ 62 w 148"/>
                <a:gd name="T55" fmla="*/ 57 h 128"/>
                <a:gd name="T56" fmla="*/ 65 w 148"/>
                <a:gd name="T57" fmla="*/ 65 h 128"/>
                <a:gd name="T58" fmla="*/ 52 w 148"/>
                <a:gd name="T59" fmla="*/ 51 h 128"/>
                <a:gd name="T60" fmla="*/ 98 w 148"/>
                <a:gd name="T61" fmla="*/ 48 h 128"/>
                <a:gd name="T62" fmla="*/ 121 w 148"/>
                <a:gd name="T63" fmla="*/ 109 h 128"/>
                <a:gd name="T64" fmla="*/ 94 w 148"/>
                <a:gd name="T65" fmla="*/ 67 h 128"/>
                <a:gd name="T66" fmla="*/ 19 w 148"/>
                <a:gd name="T67" fmla="*/ 69 h 128"/>
                <a:gd name="T68" fmla="*/ 6 w 148"/>
                <a:gd name="T69" fmla="*/ 38 h 128"/>
                <a:gd name="T70" fmla="*/ 83 w 148"/>
                <a:gd name="T71" fmla="*/ 36 h 128"/>
                <a:gd name="T72" fmla="*/ 104 w 148"/>
                <a:gd name="T73" fmla="*/ 74 h 128"/>
                <a:gd name="T74" fmla="*/ 17 w 148"/>
                <a:gd name="T75" fmla="*/ 76 h 128"/>
                <a:gd name="T76" fmla="*/ 81 w 148"/>
                <a:gd name="T77" fmla="*/ 76 h 128"/>
                <a:gd name="T78" fmla="*/ 15 w 148"/>
                <a:gd name="T79" fmla="*/ 57 h 128"/>
                <a:gd name="T80" fmla="*/ 110 w 148"/>
                <a:gd name="T81" fmla="*/ 94 h 128"/>
                <a:gd name="T82" fmla="*/ 96 w 148"/>
                <a:gd name="T83" fmla="*/ 80 h 128"/>
                <a:gd name="T84" fmla="*/ 85 w 148"/>
                <a:gd name="T85" fmla="*/ 76 h 128"/>
                <a:gd name="T86" fmla="*/ 69 w 148"/>
                <a:gd name="T87" fmla="*/ 76 h 128"/>
                <a:gd name="T88" fmla="*/ 71 w 148"/>
                <a:gd name="T89" fmla="*/ 80 h 128"/>
                <a:gd name="T90" fmla="*/ 85 w 148"/>
                <a:gd name="T91" fmla="*/ 82 h 128"/>
                <a:gd name="T92" fmla="*/ 65 w 148"/>
                <a:gd name="T93" fmla="*/ 46 h 128"/>
                <a:gd name="T94" fmla="*/ 58 w 148"/>
                <a:gd name="T95" fmla="*/ 48 h 128"/>
                <a:gd name="T96" fmla="*/ 90 w 148"/>
                <a:gd name="T97" fmla="*/ 99 h 128"/>
                <a:gd name="T98" fmla="*/ 67 w 148"/>
                <a:gd name="T99" fmla="*/ 44 h 128"/>
                <a:gd name="T100" fmla="*/ 67 w 148"/>
                <a:gd name="T101" fmla="*/ 76 h 128"/>
                <a:gd name="T102" fmla="*/ 111 w 148"/>
                <a:gd name="T103" fmla="*/ 90 h 128"/>
                <a:gd name="T104" fmla="*/ 148 w 148"/>
                <a:gd name="T105" fmla="*/ 103 h 128"/>
                <a:gd name="T106" fmla="*/ 67 w 148"/>
                <a:gd name="T107" fmla="*/ 51 h 128"/>
                <a:gd name="T108" fmla="*/ 71 w 148"/>
                <a:gd name="T109" fmla="*/ 44 h 128"/>
                <a:gd name="T110" fmla="*/ 67 w 148"/>
                <a:gd name="T111" fmla="*/ 67 h 128"/>
                <a:gd name="T112" fmla="*/ 62 w 148"/>
                <a:gd name="T113" fmla="*/ 74 h 128"/>
                <a:gd name="T114" fmla="*/ 54 w 148"/>
                <a:gd name="T115" fmla="*/ 74 h 128"/>
                <a:gd name="T116" fmla="*/ 104 w 148"/>
                <a:gd name="T117" fmla="*/ 78 h 128"/>
                <a:gd name="T118" fmla="*/ 27 w 148"/>
                <a:gd name="T119" fmla="*/ 63 h 128"/>
                <a:gd name="T120" fmla="*/ 92 w 148"/>
                <a:gd name="T121" fmla="*/ 119 h 128"/>
                <a:gd name="T122" fmla="*/ 27 w 148"/>
                <a:gd name="T123" fmla="*/ 6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 h="128">
                  <a:moveTo>
                    <a:pt x="100" y="0"/>
                  </a:moveTo>
                  <a:lnTo>
                    <a:pt x="102" y="0"/>
                  </a:lnTo>
                  <a:lnTo>
                    <a:pt x="102" y="1"/>
                  </a:lnTo>
                  <a:lnTo>
                    <a:pt x="104" y="1"/>
                  </a:lnTo>
                  <a:lnTo>
                    <a:pt x="104" y="3"/>
                  </a:lnTo>
                  <a:lnTo>
                    <a:pt x="104" y="5"/>
                  </a:lnTo>
                  <a:lnTo>
                    <a:pt x="104" y="7"/>
                  </a:lnTo>
                  <a:lnTo>
                    <a:pt x="102" y="7"/>
                  </a:lnTo>
                  <a:lnTo>
                    <a:pt x="102" y="9"/>
                  </a:lnTo>
                  <a:lnTo>
                    <a:pt x="100" y="9"/>
                  </a:lnTo>
                  <a:lnTo>
                    <a:pt x="100" y="11"/>
                  </a:lnTo>
                  <a:lnTo>
                    <a:pt x="100" y="13"/>
                  </a:lnTo>
                  <a:lnTo>
                    <a:pt x="100" y="15"/>
                  </a:lnTo>
                  <a:lnTo>
                    <a:pt x="98" y="15"/>
                  </a:lnTo>
                  <a:lnTo>
                    <a:pt x="98" y="17"/>
                  </a:lnTo>
                  <a:lnTo>
                    <a:pt x="96" y="17"/>
                  </a:lnTo>
                  <a:lnTo>
                    <a:pt x="98" y="19"/>
                  </a:lnTo>
                  <a:lnTo>
                    <a:pt x="96" y="19"/>
                  </a:lnTo>
                  <a:lnTo>
                    <a:pt x="96" y="17"/>
                  </a:lnTo>
                  <a:lnTo>
                    <a:pt x="94" y="17"/>
                  </a:lnTo>
                  <a:lnTo>
                    <a:pt x="92" y="17"/>
                  </a:lnTo>
                  <a:lnTo>
                    <a:pt x="90" y="17"/>
                  </a:lnTo>
                  <a:lnTo>
                    <a:pt x="88" y="17"/>
                  </a:lnTo>
                  <a:lnTo>
                    <a:pt x="88" y="15"/>
                  </a:lnTo>
                  <a:lnTo>
                    <a:pt x="87" y="15"/>
                  </a:lnTo>
                  <a:lnTo>
                    <a:pt x="85" y="15"/>
                  </a:lnTo>
                  <a:lnTo>
                    <a:pt x="83" y="15"/>
                  </a:lnTo>
                  <a:lnTo>
                    <a:pt x="83" y="13"/>
                  </a:lnTo>
                  <a:lnTo>
                    <a:pt x="83" y="11"/>
                  </a:lnTo>
                  <a:lnTo>
                    <a:pt x="83" y="13"/>
                  </a:lnTo>
                  <a:lnTo>
                    <a:pt x="81" y="13"/>
                  </a:lnTo>
                  <a:lnTo>
                    <a:pt x="83" y="13"/>
                  </a:lnTo>
                  <a:lnTo>
                    <a:pt x="81" y="13"/>
                  </a:lnTo>
                  <a:lnTo>
                    <a:pt x="81" y="15"/>
                  </a:lnTo>
                  <a:lnTo>
                    <a:pt x="79" y="15"/>
                  </a:lnTo>
                  <a:lnTo>
                    <a:pt x="79" y="17"/>
                  </a:lnTo>
                  <a:lnTo>
                    <a:pt x="77" y="17"/>
                  </a:lnTo>
                  <a:lnTo>
                    <a:pt x="75" y="15"/>
                  </a:lnTo>
                  <a:lnTo>
                    <a:pt x="75" y="17"/>
                  </a:lnTo>
                  <a:lnTo>
                    <a:pt x="75" y="15"/>
                  </a:lnTo>
                  <a:lnTo>
                    <a:pt x="73" y="15"/>
                  </a:lnTo>
                  <a:lnTo>
                    <a:pt x="71" y="15"/>
                  </a:lnTo>
                  <a:lnTo>
                    <a:pt x="71" y="17"/>
                  </a:lnTo>
                  <a:lnTo>
                    <a:pt x="69" y="17"/>
                  </a:lnTo>
                  <a:lnTo>
                    <a:pt x="69" y="19"/>
                  </a:lnTo>
                  <a:lnTo>
                    <a:pt x="67" y="19"/>
                  </a:lnTo>
                  <a:lnTo>
                    <a:pt x="65" y="19"/>
                  </a:lnTo>
                  <a:lnTo>
                    <a:pt x="63" y="19"/>
                  </a:lnTo>
                  <a:lnTo>
                    <a:pt x="63" y="17"/>
                  </a:lnTo>
                  <a:lnTo>
                    <a:pt x="63" y="19"/>
                  </a:lnTo>
                  <a:lnTo>
                    <a:pt x="63" y="17"/>
                  </a:lnTo>
                  <a:lnTo>
                    <a:pt x="63" y="19"/>
                  </a:lnTo>
                  <a:lnTo>
                    <a:pt x="62" y="19"/>
                  </a:lnTo>
                  <a:lnTo>
                    <a:pt x="62" y="21"/>
                  </a:lnTo>
                  <a:lnTo>
                    <a:pt x="63" y="21"/>
                  </a:lnTo>
                  <a:lnTo>
                    <a:pt x="63" y="23"/>
                  </a:lnTo>
                  <a:lnTo>
                    <a:pt x="65" y="23"/>
                  </a:lnTo>
                  <a:lnTo>
                    <a:pt x="63" y="23"/>
                  </a:lnTo>
                  <a:lnTo>
                    <a:pt x="65" y="23"/>
                  </a:lnTo>
                  <a:lnTo>
                    <a:pt x="63" y="23"/>
                  </a:lnTo>
                  <a:lnTo>
                    <a:pt x="63" y="25"/>
                  </a:lnTo>
                  <a:lnTo>
                    <a:pt x="65" y="25"/>
                  </a:lnTo>
                  <a:lnTo>
                    <a:pt x="67" y="25"/>
                  </a:lnTo>
                  <a:lnTo>
                    <a:pt x="67" y="26"/>
                  </a:lnTo>
                  <a:lnTo>
                    <a:pt x="69" y="26"/>
                  </a:lnTo>
                  <a:lnTo>
                    <a:pt x="69" y="28"/>
                  </a:lnTo>
                  <a:lnTo>
                    <a:pt x="71" y="28"/>
                  </a:lnTo>
                  <a:lnTo>
                    <a:pt x="71" y="30"/>
                  </a:lnTo>
                  <a:lnTo>
                    <a:pt x="69" y="30"/>
                  </a:lnTo>
                  <a:lnTo>
                    <a:pt x="71" y="30"/>
                  </a:lnTo>
                  <a:lnTo>
                    <a:pt x="69" y="30"/>
                  </a:lnTo>
                  <a:lnTo>
                    <a:pt x="71" y="30"/>
                  </a:lnTo>
                  <a:lnTo>
                    <a:pt x="69" y="30"/>
                  </a:lnTo>
                  <a:lnTo>
                    <a:pt x="69" y="28"/>
                  </a:lnTo>
                  <a:lnTo>
                    <a:pt x="69" y="26"/>
                  </a:lnTo>
                  <a:lnTo>
                    <a:pt x="67" y="26"/>
                  </a:lnTo>
                  <a:lnTo>
                    <a:pt x="65" y="26"/>
                  </a:lnTo>
                  <a:lnTo>
                    <a:pt x="63" y="26"/>
                  </a:lnTo>
                  <a:lnTo>
                    <a:pt x="62" y="26"/>
                  </a:lnTo>
                  <a:lnTo>
                    <a:pt x="62" y="28"/>
                  </a:lnTo>
                  <a:lnTo>
                    <a:pt x="63" y="28"/>
                  </a:lnTo>
                  <a:lnTo>
                    <a:pt x="62" y="28"/>
                  </a:lnTo>
                  <a:lnTo>
                    <a:pt x="63" y="28"/>
                  </a:lnTo>
                  <a:lnTo>
                    <a:pt x="63" y="30"/>
                  </a:lnTo>
                  <a:lnTo>
                    <a:pt x="65" y="30"/>
                  </a:lnTo>
                  <a:lnTo>
                    <a:pt x="65" y="32"/>
                  </a:lnTo>
                  <a:lnTo>
                    <a:pt x="65" y="34"/>
                  </a:lnTo>
                  <a:lnTo>
                    <a:pt x="65" y="32"/>
                  </a:lnTo>
                  <a:lnTo>
                    <a:pt x="65" y="34"/>
                  </a:lnTo>
                  <a:lnTo>
                    <a:pt x="65" y="32"/>
                  </a:lnTo>
                  <a:lnTo>
                    <a:pt x="63" y="32"/>
                  </a:lnTo>
                  <a:lnTo>
                    <a:pt x="63" y="30"/>
                  </a:lnTo>
                  <a:lnTo>
                    <a:pt x="62" y="30"/>
                  </a:lnTo>
                  <a:lnTo>
                    <a:pt x="62" y="28"/>
                  </a:lnTo>
                  <a:lnTo>
                    <a:pt x="60" y="28"/>
                  </a:lnTo>
                  <a:lnTo>
                    <a:pt x="58" y="28"/>
                  </a:lnTo>
                  <a:lnTo>
                    <a:pt x="58" y="26"/>
                  </a:lnTo>
                  <a:lnTo>
                    <a:pt x="58" y="28"/>
                  </a:lnTo>
                  <a:lnTo>
                    <a:pt x="56" y="28"/>
                  </a:lnTo>
                  <a:lnTo>
                    <a:pt x="54" y="28"/>
                  </a:lnTo>
                  <a:lnTo>
                    <a:pt x="54" y="26"/>
                  </a:lnTo>
                  <a:lnTo>
                    <a:pt x="52" y="26"/>
                  </a:lnTo>
                  <a:lnTo>
                    <a:pt x="50" y="26"/>
                  </a:lnTo>
                  <a:lnTo>
                    <a:pt x="50" y="25"/>
                  </a:lnTo>
                  <a:lnTo>
                    <a:pt x="48" y="25"/>
                  </a:lnTo>
                  <a:lnTo>
                    <a:pt x="48" y="23"/>
                  </a:lnTo>
                  <a:lnTo>
                    <a:pt x="50" y="23"/>
                  </a:lnTo>
                  <a:lnTo>
                    <a:pt x="52" y="23"/>
                  </a:lnTo>
                  <a:lnTo>
                    <a:pt x="50" y="23"/>
                  </a:lnTo>
                  <a:lnTo>
                    <a:pt x="50" y="21"/>
                  </a:lnTo>
                  <a:lnTo>
                    <a:pt x="48" y="21"/>
                  </a:lnTo>
                  <a:lnTo>
                    <a:pt x="50" y="21"/>
                  </a:lnTo>
                  <a:lnTo>
                    <a:pt x="48" y="21"/>
                  </a:lnTo>
                  <a:lnTo>
                    <a:pt x="48" y="23"/>
                  </a:lnTo>
                  <a:lnTo>
                    <a:pt x="46" y="23"/>
                  </a:lnTo>
                  <a:lnTo>
                    <a:pt x="46" y="25"/>
                  </a:lnTo>
                  <a:lnTo>
                    <a:pt x="46" y="26"/>
                  </a:lnTo>
                  <a:lnTo>
                    <a:pt x="46" y="28"/>
                  </a:lnTo>
                  <a:lnTo>
                    <a:pt x="44" y="28"/>
                  </a:lnTo>
                  <a:lnTo>
                    <a:pt x="44" y="30"/>
                  </a:lnTo>
                  <a:lnTo>
                    <a:pt x="44" y="32"/>
                  </a:lnTo>
                  <a:lnTo>
                    <a:pt x="46" y="32"/>
                  </a:lnTo>
                  <a:lnTo>
                    <a:pt x="46" y="34"/>
                  </a:lnTo>
                  <a:lnTo>
                    <a:pt x="48" y="34"/>
                  </a:lnTo>
                  <a:lnTo>
                    <a:pt x="46" y="34"/>
                  </a:lnTo>
                  <a:lnTo>
                    <a:pt x="48" y="34"/>
                  </a:lnTo>
                  <a:lnTo>
                    <a:pt x="48" y="36"/>
                  </a:lnTo>
                  <a:lnTo>
                    <a:pt x="50" y="36"/>
                  </a:lnTo>
                  <a:lnTo>
                    <a:pt x="50" y="38"/>
                  </a:lnTo>
                  <a:lnTo>
                    <a:pt x="50" y="40"/>
                  </a:lnTo>
                  <a:lnTo>
                    <a:pt x="50" y="42"/>
                  </a:lnTo>
                  <a:lnTo>
                    <a:pt x="52" y="42"/>
                  </a:lnTo>
                  <a:lnTo>
                    <a:pt x="54" y="42"/>
                  </a:lnTo>
                  <a:lnTo>
                    <a:pt x="54" y="44"/>
                  </a:lnTo>
                  <a:lnTo>
                    <a:pt x="54" y="46"/>
                  </a:lnTo>
                  <a:lnTo>
                    <a:pt x="54" y="44"/>
                  </a:lnTo>
                  <a:lnTo>
                    <a:pt x="54" y="46"/>
                  </a:lnTo>
                  <a:lnTo>
                    <a:pt x="56" y="46"/>
                  </a:lnTo>
                  <a:lnTo>
                    <a:pt x="56" y="48"/>
                  </a:lnTo>
                  <a:lnTo>
                    <a:pt x="56" y="50"/>
                  </a:lnTo>
                  <a:lnTo>
                    <a:pt x="54" y="50"/>
                  </a:lnTo>
                  <a:lnTo>
                    <a:pt x="52" y="50"/>
                  </a:lnTo>
                  <a:lnTo>
                    <a:pt x="54" y="50"/>
                  </a:lnTo>
                  <a:lnTo>
                    <a:pt x="52" y="50"/>
                  </a:lnTo>
                  <a:lnTo>
                    <a:pt x="54" y="50"/>
                  </a:lnTo>
                  <a:lnTo>
                    <a:pt x="52" y="50"/>
                  </a:lnTo>
                  <a:lnTo>
                    <a:pt x="54" y="50"/>
                  </a:lnTo>
                  <a:lnTo>
                    <a:pt x="52" y="50"/>
                  </a:lnTo>
                  <a:lnTo>
                    <a:pt x="54" y="50"/>
                  </a:lnTo>
                  <a:lnTo>
                    <a:pt x="54" y="48"/>
                  </a:lnTo>
                  <a:lnTo>
                    <a:pt x="54" y="46"/>
                  </a:lnTo>
                  <a:lnTo>
                    <a:pt x="52" y="46"/>
                  </a:lnTo>
                  <a:lnTo>
                    <a:pt x="50" y="46"/>
                  </a:lnTo>
                  <a:lnTo>
                    <a:pt x="48" y="46"/>
                  </a:lnTo>
                  <a:lnTo>
                    <a:pt x="48" y="48"/>
                  </a:lnTo>
                  <a:lnTo>
                    <a:pt x="50" y="48"/>
                  </a:lnTo>
                  <a:lnTo>
                    <a:pt x="50" y="50"/>
                  </a:lnTo>
                  <a:lnTo>
                    <a:pt x="50" y="48"/>
                  </a:lnTo>
                  <a:lnTo>
                    <a:pt x="50" y="50"/>
                  </a:lnTo>
                  <a:lnTo>
                    <a:pt x="52" y="50"/>
                  </a:lnTo>
                  <a:lnTo>
                    <a:pt x="50" y="50"/>
                  </a:lnTo>
                  <a:lnTo>
                    <a:pt x="52" y="50"/>
                  </a:lnTo>
                  <a:lnTo>
                    <a:pt x="52" y="51"/>
                  </a:lnTo>
                  <a:lnTo>
                    <a:pt x="50" y="51"/>
                  </a:lnTo>
                  <a:lnTo>
                    <a:pt x="52" y="51"/>
                  </a:lnTo>
                  <a:lnTo>
                    <a:pt x="52" y="53"/>
                  </a:lnTo>
                  <a:lnTo>
                    <a:pt x="50" y="53"/>
                  </a:lnTo>
                  <a:lnTo>
                    <a:pt x="52" y="53"/>
                  </a:lnTo>
                  <a:lnTo>
                    <a:pt x="50" y="53"/>
                  </a:lnTo>
                  <a:lnTo>
                    <a:pt x="48" y="53"/>
                  </a:lnTo>
                  <a:lnTo>
                    <a:pt x="46" y="53"/>
                  </a:lnTo>
                  <a:lnTo>
                    <a:pt x="44" y="53"/>
                  </a:lnTo>
                  <a:lnTo>
                    <a:pt x="44" y="55"/>
                  </a:lnTo>
                  <a:lnTo>
                    <a:pt x="44" y="53"/>
                  </a:lnTo>
                  <a:lnTo>
                    <a:pt x="44" y="55"/>
                  </a:lnTo>
                  <a:lnTo>
                    <a:pt x="46" y="55"/>
                  </a:lnTo>
                  <a:lnTo>
                    <a:pt x="48" y="55"/>
                  </a:lnTo>
                  <a:lnTo>
                    <a:pt x="50" y="55"/>
                  </a:lnTo>
                  <a:lnTo>
                    <a:pt x="50" y="57"/>
                  </a:lnTo>
                  <a:lnTo>
                    <a:pt x="52" y="57"/>
                  </a:lnTo>
                  <a:lnTo>
                    <a:pt x="52" y="55"/>
                  </a:lnTo>
                  <a:lnTo>
                    <a:pt x="52" y="57"/>
                  </a:lnTo>
                  <a:lnTo>
                    <a:pt x="52" y="59"/>
                  </a:lnTo>
                  <a:lnTo>
                    <a:pt x="54" y="59"/>
                  </a:lnTo>
                  <a:lnTo>
                    <a:pt x="52" y="59"/>
                  </a:lnTo>
                  <a:lnTo>
                    <a:pt x="54" y="59"/>
                  </a:lnTo>
                  <a:lnTo>
                    <a:pt x="54" y="57"/>
                  </a:lnTo>
                  <a:lnTo>
                    <a:pt x="54" y="59"/>
                  </a:lnTo>
                  <a:lnTo>
                    <a:pt x="56" y="59"/>
                  </a:lnTo>
                  <a:lnTo>
                    <a:pt x="56" y="61"/>
                  </a:lnTo>
                  <a:lnTo>
                    <a:pt x="58" y="61"/>
                  </a:lnTo>
                  <a:lnTo>
                    <a:pt x="56" y="61"/>
                  </a:lnTo>
                  <a:lnTo>
                    <a:pt x="58" y="61"/>
                  </a:lnTo>
                  <a:lnTo>
                    <a:pt x="60" y="61"/>
                  </a:lnTo>
                  <a:lnTo>
                    <a:pt x="60" y="63"/>
                  </a:lnTo>
                  <a:lnTo>
                    <a:pt x="62" y="63"/>
                  </a:lnTo>
                  <a:lnTo>
                    <a:pt x="62" y="65"/>
                  </a:lnTo>
                  <a:lnTo>
                    <a:pt x="63" y="65"/>
                  </a:lnTo>
                  <a:lnTo>
                    <a:pt x="65" y="65"/>
                  </a:lnTo>
                  <a:lnTo>
                    <a:pt x="65" y="67"/>
                  </a:lnTo>
                  <a:lnTo>
                    <a:pt x="67" y="67"/>
                  </a:lnTo>
                  <a:lnTo>
                    <a:pt x="67" y="69"/>
                  </a:lnTo>
                  <a:lnTo>
                    <a:pt x="67" y="67"/>
                  </a:lnTo>
                  <a:lnTo>
                    <a:pt x="65" y="67"/>
                  </a:lnTo>
                  <a:lnTo>
                    <a:pt x="65" y="69"/>
                  </a:lnTo>
                  <a:lnTo>
                    <a:pt x="65" y="71"/>
                  </a:lnTo>
                  <a:lnTo>
                    <a:pt x="67" y="71"/>
                  </a:lnTo>
                  <a:lnTo>
                    <a:pt x="65" y="71"/>
                  </a:lnTo>
                  <a:lnTo>
                    <a:pt x="65" y="73"/>
                  </a:lnTo>
                  <a:lnTo>
                    <a:pt x="67" y="73"/>
                  </a:lnTo>
                  <a:lnTo>
                    <a:pt x="65" y="73"/>
                  </a:lnTo>
                  <a:lnTo>
                    <a:pt x="67" y="73"/>
                  </a:lnTo>
                  <a:lnTo>
                    <a:pt x="67" y="74"/>
                  </a:lnTo>
                  <a:lnTo>
                    <a:pt x="67" y="76"/>
                  </a:lnTo>
                  <a:lnTo>
                    <a:pt x="67" y="74"/>
                  </a:lnTo>
                  <a:lnTo>
                    <a:pt x="67" y="76"/>
                  </a:lnTo>
                  <a:lnTo>
                    <a:pt x="65" y="76"/>
                  </a:lnTo>
                  <a:lnTo>
                    <a:pt x="65" y="74"/>
                  </a:lnTo>
                  <a:lnTo>
                    <a:pt x="65" y="76"/>
                  </a:lnTo>
                  <a:lnTo>
                    <a:pt x="65" y="74"/>
                  </a:lnTo>
                  <a:lnTo>
                    <a:pt x="63" y="74"/>
                  </a:lnTo>
                  <a:lnTo>
                    <a:pt x="62" y="74"/>
                  </a:lnTo>
                  <a:lnTo>
                    <a:pt x="63" y="74"/>
                  </a:lnTo>
                  <a:lnTo>
                    <a:pt x="62" y="74"/>
                  </a:lnTo>
                  <a:lnTo>
                    <a:pt x="63" y="74"/>
                  </a:lnTo>
                  <a:lnTo>
                    <a:pt x="63" y="73"/>
                  </a:lnTo>
                  <a:lnTo>
                    <a:pt x="62" y="73"/>
                  </a:lnTo>
                  <a:lnTo>
                    <a:pt x="62" y="71"/>
                  </a:lnTo>
                  <a:lnTo>
                    <a:pt x="62" y="73"/>
                  </a:lnTo>
                  <a:lnTo>
                    <a:pt x="62" y="71"/>
                  </a:lnTo>
                  <a:lnTo>
                    <a:pt x="62" y="73"/>
                  </a:lnTo>
                  <a:lnTo>
                    <a:pt x="60" y="73"/>
                  </a:lnTo>
                  <a:lnTo>
                    <a:pt x="60" y="71"/>
                  </a:lnTo>
                  <a:lnTo>
                    <a:pt x="62" y="71"/>
                  </a:lnTo>
                  <a:lnTo>
                    <a:pt x="60" y="71"/>
                  </a:lnTo>
                  <a:lnTo>
                    <a:pt x="60" y="69"/>
                  </a:lnTo>
                  <a:lnTo>
                    <a:pt x="60" y="71"/>
                  </a:lnTo>
                  <a:lnTo>
                    <a:pt x="60" y="69"/>
                  </a:lnTo>
                  <a:lnTo>
                    <a:pt x="60" y="71"/>
                  </a:lnTo>
                  <a:lnTo>
                    <a:pt x="60" y="69"/>
                  </a:lnTo>
                  <a:lnTo>
                    <a:pt x="60" y="71"/>
                  </a:lnTo>
                  <a:lnTo>
                    <a:pt x="60" y="69"/>
                  </a:lnTo>
                  <a:lnTo>
                    <a:pt x="58" y="69"/>
                  </a:lnTo>
                  <a:lnTo>
                    <a:pt x="58" y="71"/>
                  </a:lnTo>
                  <a:lnTo>
                    <a:pt x="56" y="71"/>
                  </a:lnTo>
                  <a:lnTo>
                    <a:pt x="54" y="71"/>
                  </a:lnTo>
                  <a:lnTo>
                    <a:pt x="54" y="73"/>
                  </a:lnTo>
                  <a:lnTo>
                    <a:pt x="52" y="73"/>
                  </a:lnTo>
                  <a:lnTo>
                    <a:pt x="54" y="73"/>
                  </a:lnTo>
                  <a:lnTo>
                    <a:pt x="54" y="74"/>
                  </a:lnTo>
                  <a:lnTo>
                    <a:pt x="54" y="76"/>
                  </a:lnTo>
                  <a:lnTo>
                    <a:pt x="54" y="78"/>
                  </a:lnTo>
                  <a:lnTo>
                    <a:pt x="56" y="78"/>
                  </a:lnTo>
                  <a:lnTo>
                    <a:pt x="56" y="76"/>
                  </a:lnTo>
                  <a:lnTo>
                    <a:pt x="56" y="78"/>
                  </a:lnTo>
                  <a:lnTo>
                    <a:pt x="56" y="76"/>
                  </a:lnTo>
                  <a:lnTo>
                    <a:pt x="58" y="76"/>
                  </a:lnTo>
                  <a:lnTo>
                    <a:pt x="58" y="78"/>
                  </a:lnTo>
                  <a:lnTo>
                    <a:pt x="56" y="78"/>
                  </a:lnTo>
                  <a:lnTo>
                    <a:pt x="58" y="78"/>
                  </a:lnTo>
                  <a:lnTo>
                    <a:pt x="58" y="80"/>
                  </a:lnTo>
                  <a:lnTo>
                    <a:pt x="60" y="80"/>
                  </a:lnTo>
                  <a:lnTo>
                    <a:pt x="58" y="80"/>
                  </a:lnTo>
                  <a:lnTo>
                    <a:pt x="58" y="82"/>
                  </a:lnTo>
                  <a:lnTo>
                    <a:pt x="58" y="80"/>
                  </a:lnTo>
                  <a:lnTo>
                    <a:pt x="56" y="80"/>
                  </a:lnTo>
                  <a:lnTo>
                    <a:pt x="56" y="82"/>
                  </a:lnTo>
                  <a:lnTo>
                    <a:pt x="54" y="82"/>
                  </a:lnTo>
                  <a:lnTo>
                    <a:pt x="56" y="82"/>
                  </a:lnTo>
                  <a:lnTo>
                    <a:pt x="54" y="82"/>
                  </a:lnTo>
                  <a:lnTo>
                    <a:pt x="54" y="84"/>
                  </a:lnTo>
                  <a:lnTo>
                    <a:pt x="54" y="82"/>
                  </a:lnTo>
                  <a:lnTo>
                    <a:pt x="54" y="84"/>
                  </a:lnTo>
                  <a:lnTo>
                    <a:pt x="54" y="82"/>
                  </a:lnTo>
                  <a:lnTo>
                    <a:pt x="52" y="82"/>
                  </a:lnTo>
                  <a:lnTo>
                    <a:pt x="54" y="82"/>
                  </a:lnTo>
                  <a:lnTo>
                    <a:pt x="54" y="80"/>
                  </a:lnTo>
                  <a:lnTo>
                    <a:pt x="52" y="80"/>
                  </a:lnTo>
                  <a:lnTo>
                    <a:pt x="54" y="80"/>
                  </a:lnTo>
                  <a:lnTo>
                    <a:pt x="52" y="80"/>
                  </a:lnTo>
                  <a:lnTo>
                    <a:pt x="54" y="80"/>
                  </a:lnTo>
                  <a:lnTo>
                    <a:pt x="54" y="82"/>
                  </a:lnTo>
                  <a:lnTo>
                    <a:pt x="54" y="80"/>
                  </a:lnTo>
                  <a:lnTo>
                    <a:pt x="54" y="82"/>
                  </a:lnTo>
                  <a:lnTo>
                    <a:pt x="54" y="80"/>
                  </a:lnTo>
                  <a:lnTo>
                    <a:pt x="52" y="80"/>
                  </a:lnTo>
                  <a:lnTo>
                    <a:pt x="52" y="78"/>
                  </a:lnTo>
                  <a:lnTo>
                    <a:pt x="50" y="78"/>
                  </a:lnTo>
                  <a:lnTo>
                    <a:pt x="50" y="80"/>
                  </a:lnTo>
                  <a:lnTo>
                    <a:pt x="50" y="78"/>
                  </a:lnTo>
                  <a:lnTo>
                    <a:pt x="48" y="78"/>
                  </a:lnTo>
                  <a:lnTo>
                    <a:pt x="48" y="80"/>
                  </a:lnTo>
                  <a:lnTo>
                    <a:pt x="48" y="82"/>
                  </a:lnTo>
                  <a:lnTo>
                    <a:pt x="48" y="84"/>
                  </a:lnTo>
                  <a:lnTo>
                    <a:pt x="50" y="84"/>
                  </a:lnTo>
                  <a:lnTo>
                    <a:pt x="50" y="86"/>
                  </a:lnTo>
                  <a:lnTo>
                    <a:pt x="50" y="88"/>
                  </a:lnTo>
                  <a:lnTo>
                    <a:pt x="50" y="86"/>
                  </a:lnTo>
                  <a:lnTo>
                    <a:pt x="50" y="88"/>
                  </a:lnTo>
                  <a:lnTo>
                    <a:pt x="52" y="88"/>
                  </a:lnTo>
                  <a:lnTo>
                    <a:pt x="50" y="88"/>
                  </a:lnTo>
                  <a:lnTo>
                    <a:pt x="52" y="88"/>
                  </a:lnTo>
                  <a:lnTo>
                    <a:pt x="52" y="90"/>
                  </a:lnTo>
                  <a:lnTo>
                    <a:pt x="52" y="92"/>
                  </a:lnTo>
                  <a:lnTo>
                    <a:pt x="52" y="94"/>
                  </a:lnTo>
                  <a:lnTo>
                    <a:pt x="54" y="94"/>
                  </a:lnTo>
                  <a:lnTo>
                    <a:pt x="52" y="94"/>
                  </a:lnTo>
                  <a:lnTo>
                    <a:pt x="52" y="96"/>
                  </a:lnTo>
                  <a:lnTo>
                    <a:pt x="52" y="98"/>
                  </a:lnTo>
                  <a:lnTo>
                    <a:pt x="54" y="98"/>
                  </a:lnTo>
                  <a:lnTo>
                    <a:pt x="54" y="99"/>
                  </a:lnTo>
                  <a:lnTo>
                    <a:pt x="54" y="98"/>
                  </a:lnTo>
                  <a:lnTo>
                    <a:pt x="54" y="99"/>
                  </a:lnTo>
                  <a:lnTo>
                    <a:pt x="52" y="99"/>
                  </a:lnTo>
                  <a:lnTo>
                    <a:pt x="52" y="98"/>
                  </a:lnTo>
                  <a:lnTo>
                    <a:pt x="50" y="98"/>
                  </a:lnTo>
                  <a:lnTo>
                    <a:pt x="50" y="96"/>
                  </a:lnTo>
                  <a:lnTo>
                    <a:pt x="50" y="94"/>
                  </a:lnTo>
                  <a:lnTo>
                    <a:pt x="48" y="94"/>
                  </a:lnTo>
                  <a:lnTo>
                    <a:pt x="50" y="94"/>
                  </a:lnTo>
                  <a:lnTo>
                    <a:pt x="48" y="94"/>
                  </a:lnTo>
                  <a:lnTo>
                    <a:pt x="48" y="96"/>
                  </a:lnTo>
                  <a:lnTo>
                    <a:pt x="48" y="94"/>
                  </a:lnTo>
                  <a:lnTo>
                    <a:pt x="48" y="92"/>
                  </a:lnTo>
                  <a:lnTo>
                    <a:pt x="46" y="92"/>
                  </a:lnTo>
                  <a:lnTo>
                    <a:pt x="44" y="92"/>
                  </a:lnTo>
                  <a:lnTo>
                    <a:pt x="44" y="94"/>
                  </a:lnTo>
                  <a:lnTo>
                    <a:pt x="44" y="96"/>
                  </a:lnTo>
                  <a:lnTo>
                    <a:pt x="44" y="94"/>
                  </a:lnTo>
                  <a:lnTo>
                    <a:pt x="44" y="96"/>
                  </a:lnTo>
                  <a:lnTo>
                    <a:pt x="44" y="98"/>
                  </a:lnTo>
                  <a:lnTo>
                    <a:pt x="44" y="99"/>
                  </a:lnTo>
                  <a:lnTo>
                    <a:pt x="42" y="99"/>
                  </a:lnTo>
                  <a:lnTo>
                    <a:pt x="42" y="98"/>
                  </a:lnTo>
                  <a:lnTo>
                    <a:pt x="42" y="99"/>
                  </a:lnTo>
                  <a:lnTo>
                    <a:pt x="42" y="98"/>
                  </a:lnTo>
                  <a:lnTo>
                    <a:pt x="42" y="96"/>
                  </a:lnTo>
                  <a:lnTo>
                    <a:pt x="42" y="94"/>
                  </a:lnTo>
                  <a:lnTo>
                    <a:pt x="40" y="94"/>
                  </a:lnTo>
                  <a:lnTo>
                    <a:pt x="42" y="94"/>
                  </a:lnTo>
                  <a:lnTo>
                    <a:pt x="40" y="94"/>
                  </a:lnTo>
                  <a:lnTo>
                    <a:pt x="40" y="92"/>
                  </a:lnTo>
                  <a:lnTo>
                    <a:pt x="40" y="90"/>
                  </a:lnTo>
                  <a:lnTo>
                    <a:pt x="39" y="90"/>
                  </a:lnTo>
                  <a:lnTo>
                    <a:pt x="39" y="88"/>
                  </a:lnTo>
                  <a:lnTo>
                    <a:pt x="37" y="88"/>
                  </a:lnTo>
                  <a:lnTo>
                    <a:pt x="37" y="90"/>
                  </a:lnTo>
                  <a:lnTo>
                    <a:pt x="35" y="90"/>
                  </a:lnTo>
                  <a:lnTo>
                    <a:pt x="37" y="90"/>
                  </a:lnTo>
                  <a:lnTo>
                    <a:pt x="35" y="90"/>
                  </a:lnTo>
                  <a:lnTo>
                    <a:pt x="35" y="92"/>
                  </a:lnTo>
                  <a:lnTo>
                    <a:pt x="37" y="92"/>
                  </a:lnTo>
                  <a:lnTo>
                    <a:pt x="37" y="94"/>
                  </a:lnTo>
                  <a:lnTo>
                    <a:pt x="35" y="94"/>
                  </a:lnTo>
                  <a:lnTo>
                    <a:pt x="35" y="92"/>
                  </a:lnTo>
                  <a:lnTo>
                    <a:pt x="33" y="92"/>
                  </a:lnTo>
                  <a:lnTo>
                    <a:pt x="33" y="90"/>
                  </a:lnTo>
                  <a:lnTo>
                    <a:pt x="31" y="90"/>
                  </a:lnTo>
                  <a:lnTo>
                    <a:pt x="31" y="88"/>
                  </a:lnTo>
                  <a:lnTo>
                    <a:pt x="31" y="86"/>
                  </a:lnTo>
                  <a:lnTo>
                    <a:pt x="31" y="84"/>
                  </a:lnTo>
                  <a:lnTo>
                    <a:pt x="33" y="84"/>
                  </a:lnTo>
                  <a:lnTo>
                    <a:pt x="33" y="82"/>
                  </a:lnTo>
                  <a:lnTo>
                    <a:pt x="31" y="80"/>
                  </a:lnTo>
                  <a:lnTo>
                    <a:pt x="31" y="78"/>
                  </a:lnTo>
                  <a:lnTo>
                    <a:pt x="29" y="78"/>
                  </a:lnTo>
                  <a:lnTo>
                    <a:pt x="29" y="76"/>
                  </a:lnTo>
                  <a:lnTo>
                    <a:pt x="27" y="76"/>
                  </a:lnTo>
                  <a:lnTo>
                    <a:pt x="27" y="74"/>
                  </a:lnTo>
                  <a:lnTo>
                    <a:pt x="25" y="74"/>
                  </a:lnTo>
                  <a:lnTo>
                    <a:pt x="25" y="73"/>
                  </a:lnTo>
                  <a:lnTo>
                    <a:pt x="23" y="73"/>
                  </a:lnTo>
                  <a:lnTo>
                    <a:pt x="23" y="71"/>
                  </a:lnTo>
                  <a:lnTo>
                    <a:pt x="25" y="71"/>
                  </a:lnTo>
                  <a:lnTo>
                    <a:pt x="25" y="73"/>
                  </a:lnTo>
                  <a:lnTo>
                    <a:pt x="25" y="71"/>
                  </a:lnTo>
                  <a:lnTo>
                    <a:pt x="27" y="71"/>
                  </a:lnTo>
                  <a:lnTo>
                    <a:pt x="27" y="69"/>
                  </a:lnTo>
                  <a:lnTo>
                    <a:pt x="27" y="67"/>
                  </a:lnTo>
                  <a:lnTo>
                    <a:pt x="29" y="67"/>
                  </a:lnTo>
                  <a:lnTo>
                    <a:pt x="31" y="67"/>
                  </a:lnTo>
                  <a:lnTo>
                    <a:pt x="33" y="67"/>
                  </a:lnTo>
                  <a:lnTo>
                    <a:pt x="33" y="65"/>
                  </a:lnTo>
                  <a:lnTo>
                    <a:pt x="35" y="65"/>
                  </a:lnTo>
                  <a:lnTo>
                    <a:pt x="37" y="65"/>
                  </a:lnTo>
                  <a:lnTo>
                    <a:pt x="39" y="65"/>
                  </a:lnTo>
                  <a:lnTo>
                    <a:pt x="39" y="67"/>
                  </a:lnTo>
                  <a:lnTo>
                    <a:pt x="40" y="67"/>
                  </a:lnTo>
                  <a:lnTo>
                    <a:pt x="42" y="67"/>
                  </a:lnTo>
                  <a:lnTo>
                    <a:pt x="42" y="69"/>
                  </a:lnTo>
                  <a:lnTo>
                    <a:pt x="42" y="67"/>
                  </a:lnTo>
                  <a:lnTo>
                    <a:pt x="42" y="69"/>
                  </a:lnTo>
                  <a:lnTo>
                    <a:pt x="44" y="69"/>
                  </a:lnTo>
                  <a:lnTo>
                    <a:pt x="46" y="69"/>
                  </a:lnTo>
                  <a:lnTo>
                    <a:pt x="48" y="69"/>
                  </a:lnTo>
                  <a:lnTo>
                    <a:pt x="48" y="71"/>
                  </a:lnTo>
                  <a:lnTo>
                    <a:pt x="50" y="71"/>
                  </a:lnTo>
                  <a:lnTo>
                    <a:pt x="50" y="69"/>
                  </a:lnTo>
                  <a:lnTo>
                    <a:pt x="52" y="69"/>
                  </a:lnTo>
                  <a:lnTo>
                    <a:pt x="54" y="69"/>
                  </a:lnTo>
                  <a:lnTo>
                    <a:pt x="54" y="67"/>
                  </a:lnTo>
                  <a:lnTo>
                    <a:pt x="52" y="67"/>
                  </a:lnTo>
                  <a:lnTo>
                    <a:pt x="50" y="67"/>
                  </a:lnTo>
                  <a:lnTo>
                    <a:pt x="48" y="67"/>
                  </a:lnTo>
                  <a:lnTo>
                    <a:pt x="48" y="65"/>
                  </a:lnTo>
                  <a:lnTo>
                    <a:pt x="46" y="65"/>
                  </a:lnTo>
                  <a:lnTo>
                    <a:pt x="46" y="63"/>
                  </a:lnTo>
                  <a:lnTo>
                    <a:pt x="46" y="65"/>
                  </a:lnTo>
                  <a:lnTo>
                    <a:pt x="46" y="63"/>
                  </a:lnTo>
                  <a:lnTo>
                    <a:pt x="46" y="65"/>
                  </a:lnTo>
                  <a:lnTo>
                    <a:pt x="44" y="65"/>
                  </a:lnTo>
                  <a:lnTo>
                    <a:pt x="44" y="63"/>
                  </a:lnTo>
                  <a:lnTo>
                    <a:pt x="42" y="63"/>
                  </a:lnTo>
                  <a:lnTo>
                    <a:pt x="42" y="61"/>
                  </a:lnTo>
                  <a:lnTo>
                    <a:pt x="42" y="63"/>
                  </a:lnTo>
                  <a:lnTo>
                    <a:pt x="42" y="65"/>
                  </a:lnTo>
                  <a:lnTo>
                    <a:pt x="42" y="63"/>
                  </a:lnTo>
                  <a:lnTo>
                    <a:pt x="40" y="63"/>
                  </a:lnTo>
                  <a:lnTo>
                    <a:pt x="40" y="65"/>
                  </a:lnTo>
                  <a:lnTo>
                    <a:pt x="40" y="63"/>
                  </a:lnTo>
                  <a:lnTo>
                    <a:pt x="40" y="65"/>
                  </a:lnTo>
                  <a:lnTo>
                    <a:pt x="39" y="65"/>
                  </a:lnTo>
                  <a:lnTo>
                    <a:pt x="39" y="63"/>
                  </a:lnTo>
                  <a:lnTo>
                    <a:pt x="37" y="63"/>
                  </a:lnTo>
                  <a:lnTo>
                    <a:pt x="35" y="63"/>
                  </a:lnTo>
                  <a:lnTo>
                    <a:pt x="33" y="63"/>
                  </a:lnTo>
                  <a:lnTo>
                    <a:pt x="33" y="65"/>
                  </a:lnTo>
                  <a:lnTo>
                    <a:pt x="33" y="63"/>
                  </a:lnTo>
                  <a:lnTo>
                    <a:pt x="31" y="63"/>
                  </a:lnTo>
                  <a:lnTo>
                    <a:pt x="31" y="65"/>
                  </a:lnTo>
                  <a:lnTo>
                    <a:pt x="31" y="63"/>
                  </a:lnTo>
                  <a:lnTo>
                    <a:pt x="31" y="65"/>
                  </a:lnTo>
                  <a:lnTo>
                    <a:pt x="29" y="65"/>
                  </a:lnTo>
                  <a:lnTo>
                    <a:pt x="29" y="63"/>
                  </a:lnTo>
                  <a:lnTo>
                    <a:pt x="27" y="63"/>
                  </a:lnTo>
                  <a:lnTo>
                    <a:pt x="27" y="61"/>
                  </a:lnTo>
                  <a:lnTo>
                    <a:pt x="27" y="63"/>
                  </a:lnTo>
                  <a:lnTo>
                    <a:pt x="29" y="63"/>
                  </a:lnTo>
                  <a:lnTo>
                    <a:pt x="29" y="65"/>
                  </a:lnTo>
                  <a:lnTo>
                    <a:pt x="29" y="63"/>
                  </a:lnTo>
                  <a:lnTo>
                    <a:pt x="27" y="63"/>
                  </a:lnTo>
                  <a:lnTo>
                    <a:pt x="27" y="65"/>
                  </a:lnTo>
                  <a:lnTo>
                    <a:pt x="27" y="63"/>
                  </a:lnTo>
                  <a:lnTo>
                    <a:pt x="27" y="65"/>
                  </a:lnTo>
                  <a:lnTo>
                    <a:pt x="27" y="63"/>
                  </a:lnTo>
                  <a:lnTo>
                    <a:pt x="25" y="63"/>
                  </a:lnTo>
                  <a:lnTo>
                    <a:pt x="25" y="65"/>
                  </a:lnTo>
                  <a:lnTo>
                    <a:pt x="27" y="65"/>
                  </a:lnTo>
                  <a:lnTo>
                    <a:pt x="25" y="65"/>
                  </a:lnTo>
                  <a:lnTo>
                    <a:pt x="23" y="65"/>
                  </a:lnTo>
                  <a:lnTo>
                    <a:pt x="25" y="65"/>
                  </a:lnTo>
                  <a:lnTo>
                    <a:pt x="23" y="65"/>
                  </a:lnTo>
                  <a:lnTo>
                    <a:pt x="23" y="63"/>
                  </a:lnTo>
                  <a:lnTo>
                    <a:pt x="23" y="65"/>
                  </a:lnTo>
                  <a:lnTo>
                    <a:pt x="23" y="63"/>
                  </a:lnTo>
                  <a:lnTo>
                    <a:pt x="25" y="63"/>
                  </a:lnTo>
                  <a:lnTo>
                    <a:pt x="23" y="63"/>
                  </a:lnTo>
                  <a:lnTo>
                    <a:pt x="23" y="61"/>
                  </a:lnTo>
                  <a:lnTo>
                    <a:pt x="21" y="61"/>
                  </a:lnTo>
                  <a:lnTo>
                    <a:pt x="23" y="61"/>
                  </a:lnTo>
                  <a:lnTo>
                    <a:pt x="23" y="59"/>
                  </a:lnTo>
                  <a:lnTo>
                    <a:pt x="21" y="59"/>
                  </a:lnTo>
                  <a:lnTo>
                    <a:pt x="21" y="57"/>
                  </a:lnTo>
                  <a:lnTo>
                    <a:pt x="21" y="55"/>
                  </a:lnTo>
                  <a:lnTo>
                    <a:pt x="19" y="55"/>
                  </a:lnTo>
                  <a:lnTo>
                    <a:pt x="21" y="55"/>
                  </a:lnTo>
                  <a:lnTo>
                    <a:pt x="19" y="55"/>
                  </a:lnTo>
                  <a:lnTo>
                    <a:pt x="21" y="55"/>
                  </a:lnTo>
                  <a:lnTo>
                    <a:pt x="19" y="55"/>
                  </a:lnTo>
                  <a:lnTo>
                    <a:pt x="17" y="55"/>
                  </a:lnTo>
                  <a:lnTo>
                    <a:pt x="17" y="53"/>
                  </a:lnTo>
                  <a:lnTo>
                    <a:pt x="17" y="55"/>
                  </a:lnTo>
                  <a:lnTo>
                    <a:pt x="17" y="53"/>
                  </a:lnTo>
                  <a:lnTo>
                    <a:pt x="17" y="55"/>
                  </a:lnTo>
                  <a:lnTo>
                    <a:pt x="19" y="55"/>
                  </a:lnTo>
                  <a:lnTo>
                    <a:pt x="19" y="53"/>
                  </a:lnTo>
                  <a:lnTo>
                    <a:pt x="17" y="53"/>
                  </a:lnTo>
                  <a:lnTo>
                    <a:pt x="19" y="53"/>
                  </a:lnTo>
                  <a:lnTo>
                    <a:pt x="19" y="51"/>
                  </a:lnTo>
                  <a:lnTo>
                    <a:pt x="19" y="53"/>
                  </a:lnTo>
                  <a:lnTo>
                    <a:pt x="21" y="53"/>
                  </a:lnTo>
                  <a:lnTo>
                    <a:pt x="19" y="53"/>
                  </a:lnTo>
                  <a:lnTo>
                    <a:pt x="21" y="53"/>
                  </a:lnTo>
                  <a:lnTo>
                    <a:pt x="23" y="53"/>
                  </a:lnTo>
                  <a:lnTo>
                    <a:pt x="25" y="53"/>
                  </a:lnTo>
                  <a:lnTo>
                    <a:pt x="23" y="53"/>
                  </a:lnTo>
                  <a:lnTo>
                    <a:pt x="25" y="53"/>
                  </a:lnTo>
                  <a:lnTo>
                    <a:pt x="23" y="53"/>
                  </a:lnTo>
                  <a:lnTo>
                    <a:pt x="25" y="53"/>
                  </a:lnTo>
                  <a:lnTo>
                    <a:pt x="25" y="51"/>
                  </a:lnTo>
                  <a:lnTo>
                    <a:pt x="23" y="51"/>
                  </a:lnTo>
                  <a:lnTo>
                    <a:pt x="21" y="51"/>
                  </a:lnTo>
                  <a:lnTo>
                    <a:pt x="23" y="51"/>
                  </a:lnTo>
                  <a:lnTo>
                    <a:pt x="21" y="51"/>
                  </a:lnTo>
                  <a:lnTo>
                    <a:pt x="21" y="50"/>
                  </a:lnTo>
                  <a:lnTo>
                    <a:pt x="21" y="51"/>
                  </a:lnTo>
                  <a:lnTo>
                    <a:pt x="21" y="50"/>
                  </a:lnTo>
                  <a:lnTo>
                    <a:pt x="21" y="51"/>
                  </a:lnTo>
                  <a:lnTo>
                    <a:pt x="19" y="51"/>
                  </a:lnTo>
                  <a:lnTo>
                    <a:pt x="21" y="51"/>
                  </a:lnTo>
                  <a:lnTo>
                    <a:pt x="19" y="51"/>
                  </a:lnTo>
                  <a:lnTo>
                    <a:pt x="19" y="50"/>
                  </a:lnTo>
                  <a:lnTo>
                    <a:pt x="19" y="51"/>
                  </a:lnTo>
                  <a:lnTo>
                    <a:pt x="19" y="50"/>
                  </a:lnTo>
                  <a:lnTo>
                    <a:pt x="19" y="51"/>
                  </a:lnTo>
                  <a:lnTo>
                    <a:pt x="19" y="50"/>
                  </a:lnTo>
                  <a:lnTo>
                    <a:pt x="19" y="51"/>
                  </a:lnTo>
                  <a:lnTo>
                    <a:pt x="19" y="50"/>
                  </a:lnTo>
                  <a:lnTo>
                    <a:pt x="19" y="51"/>
                  </a:lnTo>
                  <a:lnTo>
                    <a:pt x="19" y="53"/>
                  </a:lnTo>
                  <a:lnTo>
                    <a:pt x="19" y="51"/>
                  </a:lnTo>
                  <a:lnTo>
                    <a:pt x="19" y="53"/>
                  </a:lnTo>
                  <a:lnTo>
                    <a:pt x="19" y="51"/>
                  </a:lnTo>
                  <a:lnTo>
                    <a:pt x="19" y="53"/>
                  </a:lnTo>
                  <a:lnTo>
                    <a:pt x="17" y="53"/>
                  </a:lnTo>
                  <a:lnTo>
                    <a:pt x="17" y="51"/>
                  </a:lnTo>
                  <a:lnTo>
                    <a:pt x="17" y="50"/>
                  </a:lnTo>
                  <a:lnTo>
                    <a:pt x="15" y="50"/>
                  </a:lnTo>
                  <a:lnTo>
                    <a:pt x="15" y="48"/>
                  </a:lnTo>
                  <a:lnTo>
                    <a:pt x="14" y="48"/>
                  </a:lnTo>
                  <a:lnTo>
                    <a:pt x="15" y="48"/>
                  </a:lnTo>
                  <a:lnTo>
                    <a:pt x="14" y="48"/>
                  </a:lnTo>
                  <a:lnTo>
                    <a:pt x="14" y="46"/>
                  </a:lnTo>
                  <a:lnTo>
                    <a:pt x="12" y="46"/>
                  </a:lnTo>
                  <a:lnTo>
                    <a:pt x="12" y="44"/>
                  </a:lnTo>
                  <a:lnTo>
                    <a:pt x="10" y="44"/>
                  </a:lnTo>
                  <a:lnTo>
                    <a:pt x="12" y="44"/>
                  </a:lnTo>
                  <a:lnTo>
                    <a:pt x="12" y="42"/>
                  </a:lnTo>
                  <a:lnTo>
                    <a:pt x="10" y="42"/>
                  </a:lnTo>
                  <a:lnTo>
                    <a:pt x="12" y="42"/>
                  </a:lnTo>
                  <a:lnTo>
                    <a:pt x="10" y="42"/>
                  </a:lnTo>
                  <a:lnTo>
                    <a:pt x="12" y="42"/>
                  </a:lnTo>
                  <a:lnTo>
                    <a:pt x="10" y="42"/>
                  </a:lnTo>
                  <a:lnTo>
                    <a:pt x="10" y="40"/>
                  </a:lnTo>
                  <a:lnTo>
                    <a:pt x="8" y="40"/>
                  </a:lnTo>
                  <a:lnTo>
                    <a:pt x="10" y="40"/>
                  </a:lnTo>
                  <a:lnTo>
                    <a:pt x="8" y="40"/>
                  </a:lnTo>
                  <a:lnTo>
                    <a:pt x="8" y="38"/>
                  </a:lnTo>
                  <a:lnTo>
                    <a:pt x="8" y="40"/>
                  </a:lnTo>
                  <a:lnTo>
                    <a:pt x="8" y="38"/>
                  </a:lnTo>
                  <a:lnTo>
                    <a:pt x="10" y="38"/>
                  </a:lnTo>
                  <a:lnTo>
                    <a:pt x="10" y="40"/>
                  </a:lnTo>
                  <a:lnTo>
                    <a:pt x="12" y="40"/>
                  </a:lnTo>
                  <a:lnTo>
                    <a:pt x="10" y="40"/>
                  </a:lnTo>
                  <a:lnTo>
                    <a:pt x="10" y="38"/>
                  </a:lnTo>
                  <a:lnTo>
                    <a:pt x="12" y="38"/>
                  </a:lnTo>
                  <a:lnTo>
                    <a:pt x="12" y="36"/>
                  </a:lnTo>
                  <a:lnTo>
                    <a:pt x="14" y="36"/>
                  </a:lnTo>
                  <a:lnTo>
                    <a:pt x="14" y="34"/>
                  </a:lnTo>
                  <a:lnTo>
                    <a:pt x="12" y="34"/>
                  </a:lnTo>
                  <a:lnTo>
                    <a:pt x="12" y="32"/>
                  </a:lnTo>
                  <a:lnTo>
                    <a:pt x="14" y="32"/>
                  </a:lnTo>
                  <a:lnTo>
                    <a:pt x="14" y="30"/>
                  </a:lnTo>
                  <a:lnTo>
                    <a:pt x="14" y="32"/>
                  </a:lnTo>
                  <a:lnTo>
                    <a:pt x="15" y="32"/>
                  </a:lnTo>
                  <a:lnTo>
                    <a:pt x="15" y="30"/>
                  </a:lnTo>
                  <a:lnTo>
                    <a:pt x="15" y="32"/>
                  </a:lnTo>
                  <a:lnTo>
                    <a:pt x="15" y="30"/>
                  </a:lnTo>
                  <a:lnTo>
                    <a:pt x="15" y="32"/>
                  </a:lnTo>
                  <a:lnTo>
                    <a:pt x="15" y="30"/>
                  </a:lnTo>
                  <a:lnTo>
                    <a:pt x="17" y="30"/>
                  </a:lnTo>
                  <a:lnTo>
                    <a:pt x="17" y="28"/>
                  </a:lnTo>
                  <a:lnTo>
                    <a:pt x="17" y="26"/>
                  </a:lnTo>
                  <a:lnTo>
                    <a:pt x="19" y="26"/>
                  </a:lnTo>
                  <a:lnTo>
                    <a:pt x="19" y="25"/>
                  </a:lnTo>
                  <a:lnTo>
                    <a:pt x="19" y="23"/>
                  </a:lnTo>
                  <a:lnTo>
                    <a:pt x="19" y="25"/>
                  </a:lnTo>
                  <a:lnTo>
                    <a:pt x="19" y="23"/>
                  </a:lnTo>
                  <a:lnTo>
                    <a:pt x="21" y="23"/>
                  </a:lnTo>
                  <a:lnTo>
                    <a:pt x="21" y="25"/>
                  </a:lnTo>
                  <a:lnTo>
                    <a:pt x="21" y="23"/>
                  </a:lnTo>
                  <a:lnTo>
                    <a:pt x="23" y="23"/>
                  </a:lnTo>
                  <a:lnTo>
                    <a:pt x="23" y="21"/>
                  </a:lnTo>
                  <a:lnTo>
                    <a:pt x="23" y="19"/>
                  </a:lnTo>
                  <a:lnTo>
                    <a:pt x="21" y="19"/>
                  </a:lnTo>
                  <a:lnTo>
                    <a:pt x="21" y="17"/>
                  </a:lnTo>
                  <a:lnTo>
                    <a:pt x="23" y="17"/>
                  </a:lnTo>
                  <a:lnTo>
                    <a:pt x="25" y="17"/>
                  </a:lnTo>
                  <a:lnTo>
                    <a:pt x="25" y="15"/>
                  </a:lnTo>
                  <a:lnTo>
                    <a:pt x="25" y="17"/>
                  </a:lnTo>
                  <a:lnTo>
                    <a:pt x="27" y="17"/>
                  </a:lnTo>
                  <a:lnTo>
                    <a:pt x="27" y="15"/>
                  </a:lnTo>
                  <a:lnTo>
                    <a:pt x="29" y="15"/>
                  </a:lnTo>
                  <a:lnTo>
                    <a:pt x="31" y="15"/>
                  </a:lnTo>
                  <a:lnTo>
                    <a:pt x="31" y="17"/>
                  </a:lnTo>
                  <a:lnTo>
                    <a:pt x="31" y="15"/>
                  </a:lnTo>
                  <a:lnTo>
                    <a:pt x="33" y="15"/>
                  </a:lnTo>
                  <a:lnTo>
                    <a:pt x="35" y="15"/>
                  </a:lnTo>
                  <a:lnTo>
                    <a:pt x="35" y="13"/>
                  </a:lnTo>
                  <a:lnTo>
                    <a:pt x="35" y="11"/>
                  </a:lnTo>
                  <a:lnTo>
                    <a:pt x="37" y="11"/>
                  </a:lnTo>
                  <a:lnTo>
                    <a:pt x="39" y="11"/>
                  </a:lnTo>
                  <a:lnTo>
                    <a:pt x="40" y="11"/>
                  </a:lnTo>
                  <a:lnTo>
                    <a:pt x="40" y="9"/>
                  </a:lnTo>
                  <a:lnTo>
                    <a:pt x="40" y="11"/>
                  </a:lnTo>
                  <a:lnTo>
                    <a:pt x="42" y="11"/>
                  </a:lnTo>
                  <a:lnTo>
                    <a:pt x="40" y="11"/>
                  </a:lnTo>
                  <a:lnTo>
                    <a:pt x="42" y="11"/>
                  </a:lnTo>
                  <a:lnTo>
                    <a:pt x="44" y="11"/>
                  </a:lnTo>
                  <a:lnTo>
                    <a:pt x="46" y="11"/>
                  </a:lnTo>
                  <a:lnTo>
                    <a:pt x="46" y="9"/>
                  </a:lnTo>
                  <a:lnTo>
                    <a:pt x="46" y="11"/>
                  </a:lnTo>
                  <a:lnTo>
                    <a:pt x="48" y="11"/>
                  </a:lnTo>
                  <a:lnTo>
                    <a:pt x="48" y="9"/>
                  </a:lnTo>
                  <a:lnTo>
                    <a:pt x="48" y="7"/>
                  </a:lnTo>
                  <a:lnTo>
                    <a:pt x="50" y="7"/>
                  </a:lnTo>
                  <a:lnTo>
                    <a:pt x="52" y="7"/>
                  </a:lnTo>
                  <a:lnTo>
                    <a:pt x="54" y="7"/>
                  </a:lnTo>
                  <a:lnTo>
                    <a:pt x="54" y="5"/>
                  </a:lnTo>
                  <a:lnTo>
                    <a:pt x="56" y="5"/>
                  </a:lnTo>
                  <a:lnTo>
                    <a:pt x="56" y="7"/>
                  </a:lnTo>
                  <a:lnTo>
                    <a:pt x="56" y="5"/>
                  </a:lnTo>
                  <a:lnTo>
                    <a:pt x="58" y="5"/>
                  </a:lnTo>
                  <a:lnTo>
                    <a:pt x="60" y="5"/>
                  </a:lnTo>
                  <a:lnTo>
                    <a:pt x="62" y="5"/>
                  </a:lnTo>
                  <a:lnTo>
                    <a:pt x="63" y="5"/>
                  </a:lnTo>
                  <a:lnTo>
                    <a:pt x="65" y="5"/>
                  </a:lnTo>
                  <a:lnTo>
                    <a:pt x="65" y="3"/>
                  </a:lnTo>
                  <a:lnTo>
                    <a:pt x="65" y="5"/>
                  </a:lnTo>
                  <a:lnTo>
                    <a:pt x="65" y="3"/>
                  </a:lnTo>
                  <a:lnTo>
                    <a:pt x="65" y="5"/>
                  </a:lnTo>
                  <a:lnTo>
                    <a:pt x="67" y="5"/>
                  </a:lnTo>
                  <a:lnTo>
                    <a:pt x="67" y="3"/>
                  </a:lnTo>
                  <a:lnTo>
                    <a:pt x="69" y="3"/>
                  </a:lnTo>
                  <a:lnTo>
                    <a:pt x="69" y="1"/>
                  </a:lnTo>
                  <a:lnTo>
                    <a:pt x="69" y="3"/>
                  </a:lnTo>
                  <a:lnTo>
                    <a:pt x="71" y="3"/>
                  </a:lnTo>
                  <a:lnTo>
                    <a:pt x="73" y="3"/>
                  </a:lnTo>
                  <a:lnTo>
                    <a:pt x="73" y="1"/>
                  </a:lnTo>
                  <a:lnTo>
                    <a:pt x="73" y="3"/>
                  </a:lnTo>
                  <a:lnTo>
                    <a:pt x="75" y="3"/>
                  </a:lnTo>
                  <a:lnTo>
                    <a:pt x="73" y="3"/>
                  </a:lnTo>
                  <a:lnTo>
                    <a:pt x="75" y="3"/>
                  </a:lnTo>
                  <a:lnTo>
                    <a:pt x="75" y="5"/>
                  </a:lnTo>
                  <a:lnTo>
                    <a:pt x="77" y="5"/>
                  </a:lnTo>
                  <a:lnTo>
                    <a:pt x="77" y="7"/>
                  </a:lnTo>
                  <a:lnTo>
                    <a:pt x="79" y="7"/>
                  </a:lnTo>
                  <a:lnTo>
                    <a:pt x="77" y="7"/>
                  </a:lnTo>
                  <a:lnTo>
                    <a:pt x="79" y="7"/>
                  </a:lnTo>
                  <a:lnTo>
                    <a:pt x="79" y="5"/>
                  </a:lnTo>
                  <a:lnTo>
                    <a:pt x="77" y="5"/>
                  </a:lnTo>
                  <a:lnTo>
                    <a:pt x="79" y="5"/>
                  </a:lnTo>
                  <a:lnTo>
                    <a:pt x="81" y="5"/>
                  </a:lnTo>
                  <a:lnTo>
                    <a:pt x="81" y="7"/>
                  </a:lnTo>
                  <a:lnTo>
                    <a:pt x="83" y="7"/>
                  </a:lnTo>
                  <a:lnTo>
                    <a:pt x="85" y="7"/>
                  </a:lnTo>
                  <a:lnTo>
                    <a:pt x="85" y="9"/>
                  </a:lnTo>
                  <a:lnTo>
                    <a:pt x="87" y="9"/>
                  </a:lnTo>
                  <a:lnTo>
                    <a:pt x="87" y="7"/>
                  </a:lnTo>
                  <a:lnTo>
                    <a:pt x="87" y="9"/>
                  </a:lnTo>
                  <a:lnTo>
                    <a:pt x="87" y="7"/>
                  </a:lnTo>
                  <a:lnTo>
                    <a:pt x="88" y="7"/>
                  </a:lnTo>
                  <a:lnTo>
                    <a:pt x="90" y="7"/>
                  </a:lnTo>
                  <a:lnTo>
                    <a:pt x="92" y="7"/>
                  </a:lnTo>
                  <a:lnTo>
                    <a:pt x="94" y="7"/>
                  </a:lnTo>
                  <a:lnTo>
                    <a:pt x="96" y="7"/>
                  </a:lnTo>
                  <a:lnTo>
                    <a:pt x="98" y="7"/>
                  </a:lnTo>
                  <a:lnTo>
                    <a:pt x="98" y="5"/>
                  </a:lnTo>
                  <a:lnTo>
                    <a:pt x="98" y="3"/>
                  </a:lnTo>
                  <a:lnTo>
                    <a:pt x="98" y="1"/>
                  </a:lnTo>
                  <a:lnTo>
                    <a:pt x="96" y="1"/>
                  </a:lnTo>
                  <a:lnTo>
                    <a:pt x="96" y="0"/>
                  </a:lnTo>
                  <a:lnTo>
                    <a:pt x="98" y="0"/>
                  </a:lnTo>
                  <a:lnTo>
                    <a:pt x="100" y="0"/>
                  </a:lnTo>
                  <a:close/>
                  <a:moveTo>
                    <a:pt x="62" y="113"/>
                  </a:moveTo>
                  <a:lnTo>
                    <a:pt x="63" y="113"/>
                  </a:lnTo>
                  <a:lnTo>
                    <a:pt x="62" y="113"/>
                  </a:lnTo>
                  <a:lnTo>
                    <a:pt x="63" y="113"/>
                  </a:lnTo>
                  <a:lnTo>
                    <a:pt x="62" y="113"/>
                  </a:lnTo>
                  <a:lnTo>
                    <a:pt x="63" y="113"/>
                  </a:lnTo>
                  <a:lnTo>
                    <a:pt x="63" y="115"/>
                  </a:lnTo>
                  <a:lnTo>
                    <a:pt x="65" y="115"/>
                  </a:lnTo>
                  <a:lnTo>
                    <a:pt x="67" y="115"/>
                  </a:lnTo>
                  <a:lnTo>
                    <a:pt x="69" y="115"/>
                  </a:lnTo>
                  <a:lnTo>
                    <a:pt x="69" y="117"/>
                  </a:lnTo>
                  <a:lnTo>
                    <a:pt x="67" y="117"/>
                  </a:lnTo>
                  <a:lnTo>
                    <a:pt x="69" y="117"/>
                  </a:lnTo>
                  <a:lnTo>
                    <a:pt x="69" y="119"/>
                  </a:lnTo>
                  <a:lnTo>
                    <a:pt x="71" y="119"/>
                  </a:lnTo>
                  <a:lnTo>
                    <a:pt x="73" y="119"/>
                  </a:lnTo>
                  <a:lnTo>
                    <a:pt x="75" y="119"/>
                  </a:lnTo>
                  <a:lnTo>
                    <a:pt x="75" y="117"/>
                  </a:lnTo>
                  <a:lnTo>
                    <a:pt x="77" y="117"/>
                  </a:lnTo>
                  <a:lnTo>
                    <a:pt x="79" y="117"/>
                  </a:lnTo>
                  <a:lnTo>
                    <a:pt x="79" y="119"/>
                  </a:lnTo>
                  <a:lnTo>
                    <a:pt x="79" y="117"/>
                  </a:lnTo>
                  <a:lnTo>
                    <a:pt x="79" y="119"/>
                  </a:lnTo>
                  <a:lnTo>
                    <a:pt x="79" y="117"/>
                  </a:lnTo>
                  <a:lnTo>
                    <a:pt x="81" y="117"/>
                  </a:lnTo>
                  <a:lnTo>
                    <a:pt x="81" y="119"/>
                  </a:lnTo>
                  <a:lnTo>
                    <a:pt x="81" y="117"/>
                  </a:lnTo>
                  <a:lnTo>
                    <a:pt x="81" y="119"/>
                  </a:lnTo>
                  <a:lnTo>
                    <a:pt x="81" y="117"/>
                  </a:lnTo>
                  <a:lnTo>
                    <a:pt x="81" y="119"/>
                  </a:lnTo>
                  <a:lnTo>
                    <a:pt x="83" y="119"/>
                  </a:lnTo>
                  <a:lnTo>
                    <a:pt x="85" y="119"/>
                  </a:lnTo>
                  <a:lnTo>
                    <a:pt x="87" y="119"/>
                  </a:lnTo>
                  <a:lnTo>
                    <a:pt x="87" y="121"/>
                  </a:lnTo>
                  <a:lnTo>
                    <a:pt x="88" y="121"/>
                  </a:lnTo>
                  <a:lnTo>
                    <a:pt x="88" y="119"/>
                  </a:lnTo>
                  <a:lnTo>
                    <a:pt x="88" y="121"/>
                  </a:lnTo>
                  <a:lnTo>
                    <a:pt x="88" y="119"/>
                  </a:lnTo>
                  <a:lnTo>
                    <a:pt x="90" y="119"/>
                  </a:lnTo>
                  <a:lnTo>
                    <a:pt x="92" y="119"/>
                  </a:lnTo>
                  <a:lnTo>
                    <a:pt x="90" y="119"/>
                  </a:lnTo>
                  <a:lnTo>
                    <a:pt x="90" y="121"/>
                  </a:lnTo>
                  <a:lnTo>
                    <a:pt x="92" y="121"/>
                  </a:lnTo>
                  <a:lnTo>
                    <a:pt x="90" y="121"/>
                  </a:lnTo>
                  <a:lnTo>
                    <a:pt x="92" y="121"/>
                  </a:lnTo>
                  <a:lnTo>
                    <a:pt x="90" y="121"/>
                  </a:lnTo>
                  <a:lnTo>
                    <a:pt x="92" y="121"/>
                  </a:lnTo>
                  <a:lnTo>
                    <a:pt x="90" y="121"/>
                  </a:lnTo>
                  <a:lnTo>
                    <a:pt x="90" y="123"/>
                  </a:lnTo>
                  <a:lnTo>
                    <a:pt x="92" y="123"/>
                  </a:lnTo>
                  <a:lnTo>
                    <a:pt x="94" y="123"/>
                  </a:lnTo>
                  <a:lnTo>
                    <a:pt x="94" y="121"/>
                  </a:lnTo>
                  <a:lnTo>
                    <a:pt x="96" y="121"/>
                  </a:lnTo>
                  <a:lnTo>
                    <a:pt x="98" y="121"/>
                  </a:lnTo>
                  <a:lnTo>
                    <a:pt x="100" y="121"/>
                  </a:lnTo>
                  <a:lnTo>
                    <a:pt x="100" y="119"/>
                  </a:lnTo>
                  <a:lnTo>
                    <a:pt x="100" y="121"/>
                  </a:lnTo>
                  <a:lnTo>
                    <a:pt x="100" y="123"/>
                  </a:lnTo>
                  <a:lnTo>
                    <a:pt x="100" y="121"/>
                  </a:lnTo>
                  <a:lnTo>
                    <a:pt x="100" y="123"/>
                  </a:lnTo>
                  <a:lnTo>
                    <a:pt x="100" y="124"/>
                  </a:lnTo>
                  <a:lnTo>
                    <a:pt x="98" y="124"/>
                  </a:lnTo>
                  <a:lnTo>
                    <a:pt x="96" y="124"/>
                  </a:lnTo>
                  <a:lnTo>
                    <a:pt x="94" y="124"/>
                  </a:lnTo>
                  <a:lnTo>
                    <a:pt x="92" y="124"/>
                  </a:lnTo>
                  <a:lnTo>
                    <a:pt x="90" y="124"/>
                  </a:lnTo>
                  <a:lnTo>
                    <a:pt x="88" y="124"/>
                  </a:lnTo>
                  <a:lnTo>
                    <a:pt x="87" y="124"/>
                  </a:lnTo>
                  <a:lnTo>
                    <a:pt x="85" y="124"/>
                  </a:lnTo>
                  <a:lnTo>
                    <a:pt x="85" y="126"/>
                  </a:lnTo>
                  <a:lnTo>
                    <a:pt x="83" y="126"/>
                  </a:lnTo>
                  <a:lnTo>
                    <a:pt x="85" y="126"/>
                  </a:lnTo>
                  <a:lnTo>
                    <a:pt x="83" y="126"/>
                  </a:lnTo>
                  <a:lnTo>
                    <a:pt x="81" y="126"/>
                  </a:lnTo>
                  <a:lnTo>
                    <a:pt x="79" y="126"/>
                  </a:lnTo>
                  <a:lnTo>
                    <a:pt x="77" y="126"/>
                  </a:lnTo>
                  <a:lnTo>
                    <a:pt x="77" y="124"/>
                  </a:lnTo>
                  <a:lnTo>
                    <a:pt x="77" y="123"/>
                  </a:lnTo>
                  <a:lnTo>
                    <a:pt x="77" y="124"/>
                  </a:lnTo>
                  <a:lnTo>
                    <a:pt x="77" y="123"/>
                  </a:lnTo>
                  <a:lnTo>
                    <a:pt x="75" y="123"/>
                  </a:lnTo>
                  <a:lnTo>
                    <a:pt x="73" y="123"/>
                  </a:lnTo>
                  <a:lnTo>
                    <a:pt x="71" y="123"/>
                  </a:lnTo>
                  <a:lnTo>
                    <a:pt x="71" y="121"/>
                  </a:lnTo>
                  <a:lnTo>
                    <a:pt x="71" y="123"/>
                  </a:lnTo>
                  <a:lnTo>
                    <a:pt x="69" y="123"/>
                  </a:lnTo>
                  <a:lnTo>
                    <a:pt x="69" y="121"/>
                  </a:lnTo>
                  <a:lnTo>
                    <a:pt x="67" y="121"/>
                  </a:lnTo>
                  <a:lnTo>
                    <a:pt x="65" y="121"/>
                  </a:lnTo>
                  <a:lnTo>
                    <a:pt x="63" y="121"/>
                  </a:lnTo>
                  <a:lnTo>
                    <a:pt x="65" y="121"/>
                  </a:lnTo>
                  <a:lnTo>
                    <a:pt x="63" y="121"/>
                  </a:lnTo>
                  <a:lnTo>
                    <a:pt x="62" y="121"/>
                  </a:lnTo>
                  <a:lnTo>
                    <a:pt x="60" y="121"/>
                  </a:lnTo>
                  <a:lnTo>
                    <a:pt x="60" y="119"/>
                  </a:lnTo>
                  <a:lnTo>
                    <a:pt x="60" y="117"/>
                  </a:lnTo>
                  <a:lnTo>
                    <a:pt x="60" y="115"/>
                  </a:lnTo>
                  <a:lnTo>
                    <a:pt x="60" y="113"/>
                  </a:lnTo>
                  <a:lnTo>
                    <a:pt x="60" y="115"/>
                  </a:lnTo>
                  <a:lnTo>
                    <a:pt x="62" y="115"/>
                  </a:lnTo>
                  <a:lnTo>
                    <a:pt x="62" y="117"/>
                  </a:lnTo>
                  <a:lnTo>
                    <a:pt x="62" y="115"/>
                  </a:lnTo>
                  <a:lnTo>
                    <a:pt x="62" y="113"/>
                  </a:lnTo>
                  <a:close/>
                  <a:moveTo>
                    <a:pt x="56" y="51"/>
                  </a:moveTo>
                  <a:lnTo>
                    <a:pt x="58" y="51"/>
                  </a:lnTo>
                  <a:lnTo>
                    <a:pt x="56" y="51"/>
                  </a:lnTo>
                  <a:lnTo>
                    <a:pt x="58" y="51"/>
                  </a:lnTo>
                  <a:lnTo>
                    <a:pt x="58" y="53"/>
                  </a:lnTo>
                  <a:lnTo>
                    <a:pt x="58" y="51"/>
                  </a:lnTo>
                  <a:lnTo>
                    <a:pt x="58" y="53"/>
                  </a:lnTo>
                  <a:lnTo>
                    <a:pt x="58" y="55"/>
                  </a:lnTo>
                  <a:lnTo>
                    <a:pt x="60" y="55"/>
                  </a:lnTo>
                  <a:lnTo>
                    <a:pt x="62" y="55"/>
                  </a:lnTo>
                  <a:lnTo>
                    <a:pt x="62" y="57"/>
                  </a:lnTo>
                  <a:lnTo>
                    <a:pt x="62" y="55"/>
                  </a:lnTo>
                  <a:lnTo>
                    <a:pt x="62" y="57"/>
                  </a:lnTo>
                  <a:lnTo>
                    <a:pt x="62" y="55"/>
                  </a:lnTo>
                  <a:lnTo>
                    <a:pt x="62" y="57"/>
                  </a:lnTo>
                  <a:lnTo>
                    <a:pt x="62" y="55"/>
                  </a:lnTo>
                  <a:lnTo>
                    <a:pt x="62" y="57"/>
                  </a:lnTo>
                  <a:lnTo>
                    <a:pt x="62" y="55"/>
                  </a:lnTo>
                  <a:lnTo>
                    <a:pt x="62" y="57"/>
                  </a:lnTo>
                  <a:lnTo>
                    <a:pt x="63" y="57"/>
                  </a:lnTo>
                  <a:lnTo>
                    <a:pt x="65" y="57"/>
                  </a:lnTo>
                  <a:lnTo>
                    <a:pt x="67" y="57"/>
                  </a:lnTo>
                  <a:lnTo>
                    <a:pt x="65" y="57"/>
                  </a:lnTo>
                  <a:lnTo>
                    <a:pt x="67" y="57"/>
                  </a:lnTo>
                  <a:lnTo>
                    <a:pt x="67" y="59"/>
                  </a:lnTo>
                  <a:lnTo>
                    <a:pt x="69" y="59"/>
                  </a:lnTo>
                  <a:lnTo>
                    <a:pt x="69" y="61"/>
                  </a:lnTo>
                  <a:lnTo>
                    <a:pt x="69" y="63"/>
                  </a:lnTo>
                  <a:lnTo>
                    <a:pt x="69" y="65"/>
                  </a:lnTo>
                  <a:lnTo>
                    <a:pt x="69" y="67"/>
                  </a:lnTo>
                  <a:lnTo>
                    <a:pt x="71" y="67"/>
                  </a:lnTo>
                  <a:lnTo>
                    <a:pt x="73" y="67"/>
                  </a:lnTo>
                  <a:lnTo>
                    <a:pt x="75" y="67"/>
                  </a:lnTo>
                  <a:lnTo>
                    <a:pt x="75" y="69"/>
                  </a:lnTo>
                  <a:lnTo>
                    <a:pt x="75" y="71"/>
                  </a:lnTo>
                  <a:lnTo>
                    <a:pt x="73" y="71"/>
                  </a:lnTo>
                  <a:lnTo>
                    <a:pt x="71" y="71"/>
                  </a:lnTo>
                  <a:lnTo>
                    <a:pt x="71" y="69"/>
                  </a:lnTo>
                  <a:lnTo>
                    <a:pt x="69" y="69"/>
                  </a:lnTo>
                  <a:lnTo>
                    <a:pt x="69" y="67"/>
                  </a:lnTo>
                  <a:lnTo>
                    <a:pt x="67" y="67"/>
                  </a:lnTo>
                  <a:lnTo>
                    <a:pt x="67" y="65"/>
                  </a:lnTo>
                  <a:lnTo>
                    <a:pt x="69" y="65"/>
                  </a:lnTo>
                  <a:lnTo>
                    <a:pt x="67" y="65"/>
                  </a:lnTo>
                  <a:lnTo>
                    <a:pt x="65" y="65"/>
                  </a:lnTo>
                  <a:lnTo>
                    <a:pt x="67" y="65"/>
                  </a:lnTo>
                  <a:lnTo>
                    <a:pt x="67" y="63"/>
                  </a:lnTo>
                  <a:lnTo>
                    <a:pt x="65" y="63"/>
                  </a:lnTo>
                  <a:lnTo>
                    <a:pt x="63" y="63"/>
                  </a:lnTo>
                  <a:lnTo>
                    <a:pt x="62" y="63"/>
                  </a:lnTo>
                  <a:lnTo>
                    <a:pt x="60" y="63"/>
                  </a:lnTo>
                  <a:lnTo>
                    <a:pt x="60" y="61"/>
                  </a:lnTo>
                  <a:lnTo>
                    <a:pt x="60" y="63"/>
                  </a:lnTo>
                  <a:lnTo>
                    <a:pt x="60" y="61"/>
                  </a:lnTo>
                  <a:lnTo>
                    <a:pt x="62" y="61"/>
                  </a:lnTo>
                  <a:lnTo>
                    <a:pt x="60" y="61"/>
                  </a:lnTo>
                  <a:lnTo>
                    <a:pt x="60" y="59"/>
                  </a:lnTo>
                  <a:lnTo>
                    <a:pt x="58" y="59"/>
                  </a:lnTo>
                  <a:lnTo>
                    <a:pt x="58" y="57"/>
                  </a:lnTo>
                  <a:lnTo>
                    <a:pt x="56" y="57"/>
                  </a:lnTo>
                  <a:lnTo>
                    <a:pt x="56" y="55"/>
                  </a:lnTo>
                  <a:lnTo>
                    <a:pt x="54" y="55"/>
                  </a:lnTo>
                  <a:lnTo>
                    <a:pt x="52" y="55"/>
                  </a:lnTo>
                  <a:lnTo>
                    <a:pt x="52" y="53"/>
                  </a:lnTo>
                  <a:lnTo>
                    <a:pt x="50" y="53"/>
                  </a:lnTo>
                  <a:lnTo>
                    <a:pt x="52" y="53"/>
                  </a:lnTo>
                  <a:lnTo>
                    <a:pt x="52" y="55"/>
                  </a:lnTo>
                  <a:lnTo>
                    <a:pt x="50" y="55"/>
                  </a:lnTo>
                  <a:lnTo>
                    <a:pt x="48" y="55"/>
                  </a:lnTo>
                  <a:lnTo>
                    <a:pt x="48" y="53"/>
                  </a:lnTo>
                  <a:lnTo>
                    <a:pt x="50" y="53"/>
                  </a:lnTo>
                  <a:lnTo>
                    <a:pt x="52" y="53"/>
                  </a:lnTo>
                  <a:lnTo>
                    <a:pt x="52" y="51"/>
                  </a:lnTo>
                  <a:lnTo>
                    <a:pt x="54" y="51"/>
                  </a:lnTo>
                  <a:lnTo>
                    <a:pt x="56" y="51"/>
                  </a:lnTo>
                  <a:close/>
                  <a:moveTo>
                    <a:pt x="100" y="44"/>
                  </a:moveTo>
                  <a:lnTo>
                    <a:pt x="100" y="46"/>
                  </a:lnTo>
                  <a:lnTo>
                    <a:pt x="102" y="46"/>
                  </a:lnTo>
                  <a:lnTo>
                    <a:pt x="100" y="46"/>
                  </a:lnTo>
                  <a:lnTo>
                    <a:pt x="102" y="46"/>
                  </a:lnTo>
                  <a:lnTo>
                    <a:pt x="102" y="48"/>
                  </a:lnTo>
                  <a:lnTo>
                    <a:pt x="104" y="48"/>
                  </a:lnTo>
                  <a:lnTo>
                    <a:pt x="104" y="50"/>
                  </a:lnTo>
                  <a:lnTo>
                    <a:pt x="104" y="51"/>
                  </a:lnTo>
                  <a:lnTo>
                    <a:pt x="102" y="51"/>
                  </a:lnTo>
                  <a:lnTo>
                    <a:pt x="104" y="51"/>
                  </a:lnTo>
                  <a:lnTo>
                    <a:pt x="102" y="51"/>
                  </a:lnTo>
                  <a:lnTo>
                    <a:pt x="102" y="50"/>
                  </a:lnTo>
                  <a:lnTo>
                    <a:pt x="104" y="50"/>
                  </a:lnTo>
                  <a:lnTo>
                    <a:pt x="102" y="50"/>
                  </a:lnTo>
                  <a:lnTo>
                    <a:pt x="102" y="51"/>
                  </a:lnTo>
                  <a:lnTo>
                    <a:pt x="104" y="51"/>
                  </a:lnTo>
                  <a:lnTo>
                    <a:pt x="102" y="51"/>
                  </a:lnTo>
                  <a:lnTo>
                    <a:pt x="100" y="51"/>
                  </a:lnTo>
                  <a:lnTo>
                    <a:pt x="98" y="51"/>
                  </a:lnTo>
                  <a:lnTo>
                    <a:pt x="96" y="51"/>
                  </a:lnTo>
                  <a:lnTo>
                    <a:pt x="96" y="50"/>
                  </a:lnTo>
                  <a:lnTo>
                    <a:pt x="98" y="50"/>
                  </a:lnTo>
                  <a:lnTo>
                    <a:pt x="100" y="50"/>
                  </a:lnTo>
                  <a:lnTo>
                    <a:pt x="100" y="48"/>
                  </a:lnTo>
                  <a:lnTo>
                    <a:pt x="98" y="48"/>
                  </a:lnTo>
                  <a:lnTo>
                    <a:pt x="98" y="50"/>
                  </a:lnTo>
                  <a:lnTo>
                    <a:pt x="96" y="50"/>
                  </a:lnTo>
                  <a:lnTo>
                    <a:pt x="94" y="50"/>
                  </a:lnTo>
                  <a:lnTo>
                    <a:pt x="94" y="48"/>
                  </a:lnTo>
                  <a:lnTo>
                    <a:pt x="92" y="48"/>
                  </a:lnTo>
                  <a:lnTo>
                    <a:pt x="94" y="48"/>
                  </a:lnTo>
                  <a:lnTo>
                    <a:pt x="94" y="46"/>
                  </a:lnTo>
                  <a:lnTo>
                    <a:pt x="96" y="46"/>
                  </a:lnTo>
                  <a:lnTo>
                    <a:pt x="98" y="46"/>
                  </a:lnTo>
                  <a:lnTo>
                    <a:pt x="98" y="44"/>
                  </a:lnTo>
                  <a:lnTo>
                    <a:pt x="100" y="44"/>
                  </a:lnTo>
                  <a:close/>
                  <a:moveTo>
                    <a:pt x="127" y="99"/>
                  </a:moveTo>
                  <a:lnTo>
                    <a:pt x="129" y="99"/>
                  </a:lnTo>
                  <a:lnTo>
                    <a:pt x="127" y="99"/>
                  </a:lnTo>
                  <a:lnTo>
                    <a:pt x="129" y="99"/>
                  </a:lnTo>
                  <a:lnTo>
                    <a:pt x="127" y="99"/>
                  </a:lnTo>
                  <a:lnTo>
                    <a:pt x="129" y="99"/>
                  </a:lnTo>
                  <a:lnTo>
                    <a:pt x="127" y="99"/>
                  </a:lnTo>
                  <a:lnTo>
                    <a:pt x="127" y="101"/>
                  </a:lnTo>
                  <a:lnTo>
                    <a:pt x="127" y="103"/>
                  </a:lnTo>
                  <a:lnTo>
                    <a:pt x="125" y="103"/>
                  </a:lnTo>
                  <a:lnTo>
                    <a:pt x="125" y="105"/>
                  </a:lnTo>
                  <a:lnTo>
                    <a:pt x="127" y="105"/>
                  </a:lnTo>
                  <a:lnTo>
                    <a:pt x="125" y="105"/>
                  </a:lnTo>
                  <a:lnTo>
                    <a:pt x="123" y="105"/>
                  </a:lnTo>
                  <a:lnTo>
                    <a:pt x="123" y="107"/>
                  </a:lnTo>
                  <a:lnTo>
                    <a:pt x="123" y="109"/>
                  </a:lnTo>
                  <a:lnTo>
                    <a:pt x="121" y="109"/>
                  </a:lnTo>
                  <a:lnTo>
                    <a:pt x="121" y="107"/>
                  </a:lnTo>
                  <a:lnTo>
                    <a:pt x="121" y="105"/>
                  </a:lnTo>
                  <a:lnTo>
                    <a:pt x="119" y="105"/>
                  </a:lnTo>
                  <a:lnTo>
                    <a:pt x="119" y="103"/>
                  </a:lnTo>
                  <a:lnTo>
                    <a:pt x="121" y="103"/>
                  </a:lnTo>
                  <a:lnTo>
                    <a:pt x="121" y="101"/>
                  </a:lnTo>
                  <a:lnTo>
                    <a:pt x="123" y="101"/>
                  </a:lnTo>
                  <a:lnTo>
                    <a:pt x="125" y="101"/>
                  </a:lnTo>
                  <a:lnTo>
                    <a:pt x="125" y="99"/>
                  </a:lnTo>
                  <a:lnTo>
                    <a:pt x="127" y="99"/>
                  </a:lnTo>
                  <a:close/>
                  <a:moveTo>
                    <a:pt x="96" y="59"/>
                  </a:moveTo>
                  <a:lnTo>
                    <a:pt x="96" y="61"/>
                  </a:lnTo>
                  <a:lnTo>
                    <a:pt x="96" y="59"/>
                  </a:lnTo>
                  <a:lnTo>
                    <a:pt x="96" y="61"/>
                  </a:lnTo>
                  <a:lnTo>
                    <a:pt x="98" y="61"/>
                  </a:lnTo>
                  <a:lnTo>
                    <a:pt x="98" y="59"/>
                  </a:lnTo>
                  <a:lnTo>
                    <a:pt x="96" y="59"/>
                  </a:lnTo>
                  <a:lnTo>
                    <a:pt x="98" y="59"/>
                  </a:lnTo>
                  <a:lnTo>
                    <a:pt x="98" y="61"/>
                  </a:lnTo>
                  <a:lnTo>
                    <a:pt x="96" y="61"/>
                  </a:lnTo>
                  <a:lnTo>
                    <a:pt x="98" y="61"/>
                  </a:lnTo>
                  <a:lnTo>
                    <a:pt x="98" y="63"/>
                  </a:lnTo>
                  <a:lnTo>
                    <a:pt x="98" y="65"/>
                  </a:lnTo>
                  <a:lnTo>
                    <a:pt x="96" y="65"/>
                  </a:lnTo>
                  <a:lnTo>
                    <a:pt x="96" y="67"/>
                  </a:lnTo>
                  <a:lnTo>
                    <a:pt x="94" y="67"/>
                  </a:lnTo>
                  <a:lnTo>
                    <a:pt x="96" y="67"/>
                  </a:lnTo>
                  <a:lnTo>
                    <a:pt x="94" y="67"/>
                  </a:lnTo>
                  <a:lnTo>
                    <a:pt x="94" y="65"/>
                  </a:lnTo>
                  <a:lnTo>
                    <a:pt x="92" y="65"/>
                  </a:lnTo>
                  <a:lnTo>
                    <a:pt x="94" y="65"/>
                  </a:lnTo>
                  <a:lnTo>
                    <a:pt x="92" y="65"/>
                  </a:lnTo>
                  <a:lnTo>
                    <a:pt x="94" y="65"/>
                  </a:lnTo>
                  <a:lnTo>
                    <a:pt x="92" y="65"/>
                  </a:lnTo>
                  <a:lnTo>
                    <a:pt x="94" y="65"/>
                  </a:lnTo>
                  <a:lnTo>
                    <a:pt x="94" y="63"/>
                  </a:lnTo>
                  <a:lnTo>
                    <a:pt x="94" y="65"/>
                  </a:lnTo>
                  <a:lnTo>
                    <a:pt x="94" y="63"/>
                  </a:lnTo>
                  <a:lnTo>
                    <a:pt x="94" y="61"/>
                  </a:lnTo>
                  <a:lnTo>
                    <a:pt x="92" y="61"/>
                  </a:lnTo>
                  <a:lnTo>
                    <a:pt x="92" y="59"/>
                  </a:lnTo>
                  <a:lnTo>
                    <a:pt x="94" y="59"/>
                  </a:lnTo>
                  <a:lnTo>
                    <a:pt x="96" y="59"/>
                  </a:lnTo>
                  <a:close/>
                  <a:moveTo>
                    <a:pt x="15" y="61"/>
                  </a:moveTo>
                  <a:lnTo>
                    <a:pt x="15" y="63"/>
                  </a:lnTo>
                  <a:lnTo>
                    <a:pt x="17" y="63"/>
                  </a:lnTo>
                  <a:lnTo>
                    <a:pt x="15" y="63"/>
                  </a:lnTo>
                  <a:lnTo>
                    <a:pt x="17" y="63"/>
                  </a:lnTo>
                  <a:lnTo>
                    <a:pt x="15" y="63"/>
                  </a:lnTo>
                  <a:lnTo>
                    <a:pt x="17" y="63"/>
                  </a:lnTo>
                  <a:lnTo>
                    <a:pt x="17" y="65"/>
                  </a:lnTo>
                  <a:lnTo>
                    <a:pt x="15" y="65"/>
                  </a:lnTo>
                  <a:lnTo>
                    <a:pt x="17" y="65"/>
                  </a:lnTo>
                  <a:lnTo>
                    <a:pt x="17" y="67"/>
                  </a:lnTo>
                  <a:lnTo>
                    <a:pt x="19" y="67"/>
                  </a:lnTo>
                  <a:lnTo>
                    <a:pt x="19" y="69"/>
                  </a:lnTo>
                  <a:lnTo>
                    <a:pt x="17" y="69"/>
                  </a:lnTo>
                  <a:lnTo>
                    <a:pt x="15" y="69"/>
                  </a:lnTo>
                  <a:lnTo>
                    <a:pt x="15" y="67"/>
                  </a:lnTo>
                  <a:lnTo>
                    <a:pt x="14" y="67"/>
                  </a:lnTo>
                  <a:lnTo>
                    <a:pt x="15" y="67"/>
                  </a:lnTo>
                  <a:lnTo>
                    <a:pt x="14" y="67"/>
                  </a:lnTo>
                  <a:lnTo>
                    <a:pt x="15" y="67"/>
                  </a:lnTo>
                  <a:lnTo>
                    <a:pt x="14" y="67"/>
                  </a:lnTo>
                  <a:lnTo>
                    <a:pt x="14" y="65"/>
                  </a:lnTo>
                  <a:lnTo>
                    <a:pt x="14" y="67"/>
                  </a:lnTo>
                  <a:lnTo>
                    <a:pt x="12" y="67"/>
                  </a:lnTo>
                  <a:lnTo>
                    <a:pt x="14" y="67"/>
                  </a:lnTo>
                  <a:lnTo>
                    <a:pt x="14" y="65"/>
                  </a:lnTo>
                  <a:lnTo>
                    <a:pt x="12" y="65"/>
                  </a:lnTo>
                  <a:lnTo>
                    <a:pt x="14" y="65"/>
                  </a:lnTo>
                  <a:lnTo>
                    <a:pt x="14" y="63"/>
                  </a:lnTo>
                  <a:lnTo>
                    <a:pt x="14" y="65"/>
                  </a:lnTo>
                  <a:lnTo>
                    <a:pt x="14" y="63"/>
                  </a:lnTo>
                  <a:lnTo>
                    <a:pt x="14" y="65"/>
                  </a:lnTo>
                  <a:lnTo>
                    <a:pt x="15" y="65"/>
                  </a:lnTo>
                  <a:lnTo>
                    <a:pt x="15" y="63"/>
                  </a:lnTo>
                  <a:lnTo>
                    <a:pt x="15" y="65"/>
                  </a:lnTo>
                  <a:lnTo>
                    <a:pt x="15" y="63"/>
                  </a:lnTo>
                  <a:lnTo>
                    <a:pt x="15" y="61"/>
                  </a:lnTo>
                  <a:close/>
                  <a:moveTo>
                    <a:pt x="6" y="36"/>
                  </a:moveTo>
                  <a:lnTo>
                    <a:pt x="6" y="38"/>
                  </a:lnTo>
                  <a:lnTo>
                    <a:pt x="6" y="40"/>
                  </a:lnTo>
                  <a:lnTo>
                    <a:pt x="6" y="38"/>
                  </a:lnTo>
                  <a:lnTo>
                    <a:pt x="6" y="40"/>
                  </a:lnTo>
                  <a:lnTo>
                    <a:pt x="6" y="42"/>
                  </a:lnTo>
                  <a:lnTo>
                    <a:pt x="6" y="44"/>
                  </a:lnTo>
                  <a:lnTo>
                    <a:pt x="8" y="44"/>
                  </a:lnTo>
                  <a:lnTo>
                    <a:pt x="10" y="44"/>
                  </a:lnTo>
                  <a:lnTo>
                    <a:pt x="10" y="46"/>
                  </a:lnTo>
                  <a:lnTo>
                    <a:pt x="10" y="44"/>
                  </a:lnTo>
                  <a:lnTo>
                    <a:pt x="8" y="44"/>
                  </a:lnTo>
                  <a:lnTo>
                    <a:pt x="6" y="44"/>
                  </a:lnTo>
                  <a:lnTo>
                    <a:pt x="6" y="42"/>
                  </a:lnTo>
                  <a:lnTo>
                    <a:pt x="6" y="40"/>
                  </a:lnTo>
                  <a:lnTo>
                    <a:pt x="4" y="40"/>
                  </a:lnTo>
                  <a:lnTo>
                    <a:pt x="4" y="38"/>
                  </a:lnTo>
                  <a:lnTo>
                    <a:pt x="2" y="38"/>
                  </a:lnTo>
                  <a:lnTo>
                    <a:pt x="2" y="36"/>
                  </a:lnTo>
                  <a:lnTo>
                    <a:pt x="4" y="36"/>
                  </a:lnTo>
                  <a:lnTo>
                    <a:pt x="6" y="36"/>
                  </a:lnTo>
                  <a:close/>
                  <a:moveTo>
                    <a:pt x="87" y="32"/>
                  </a:moveTo>
                  <a:lnTo>
                    <a:pt x="87" y="34"/>
                  </a:lnTo>
                  <a:lnTo>
                    <a:pt x="85" y="34"/>
                  </a:lnTo>
                  <a:lnTo>
                    <a:pt x="87" y="34"/>
                  </a:lnTo>
                  <a:lnTo>
                    <a:pt x="87" y="36"/>
                  </a:lnTo>
                  <a:lnTo>
                    <a:pt x="85" y="36"/>
                  </a:lnTo>
                  <a:lnTo>
                    <a:pt x="85" y="34"/>
                  </a:lnTo>
                  <a:lnTo>
                    <a:pt x="83" y="34"/>
                  </a:lnTo>
                  <a:lnTo>
                    <a:pt x="85" y="34"/>
                  </a:lnTo>
                  <a:lnTo>
                    <a:pt x="83" y="34"/>
                  </a:lnTo>
                  <a:lnTo>
                    <a:pt x="83" y="36"/>
                  </a:lnTo>
                  <a:lnTo>
                    <a:pt x="85" y="36"/>
                  </a:lnTo>
                  <a:lnTo>
                    <a:pt x="83" y="36"/>
                  </a:lnTo>
                  <a:lnTo>
                    <a:pt x="85" y="36"/>
                  </a:lnTo>
                  <a:lnTo>
                    <a:pt x="83" y="36"/>
                  </a:lnTo>
                  <a:lnTo>
                    <a:pt x="81" y="36"/>
                  </a:lnTo>
                  <a:lnTo>
                    <a:pt x="81" y="34"/>
                  </a:lnTo>
                  <a:lnTo>
                    <a:pt x="81" y="36"/>
                  </a:lnTo>
                  <a:lnTo>
                    <a:pt x="81" y="34"/>
                  </a:lnTo>
                  <a:lnTo>
                    <a:pt x="81" y="32"/>
                  </a:lnTo>
                  <a:lnTo>
                    <a:pt x="83" y="32"/>
                  </a:lnTo>
                  <a:lnTo>
                    <a:pt x="85" y="32"/>
                  </a:lnTo>
                  <a:lnTo>
                    <a:pt x="85" y="34"/>
                  </a:lnTo>
                  <a:lnTo>
                    <a:pt x="87" y="34"/>
                  </a:lnTo>
                  <a:lnTo>
                    <a:pt x="87" y="32"/>
                  </a:lnTo>
                  <a:lnTo>
                    <a:pt x="85" y="32"/>
                  </a:lnTo>
                  <a:lnTo>
                    <a:pt x="87" y="32"/>
                  </a:lnTo>
                  <a:close/>
                  <a:moveTo>
                    <a:pt x="106" y="74"/>
                  </a:moveTo>
                  <a:lnTo>
                    <a:pt x="108" y="74"/>
                  </a:lnTo>
                  <a:lnTo>
                    <a:pt x="110" y="74"/>
                  </a:lnTo>
                  <a:lnTo>
                    <a:pt x="111" y="74"/>
                  </a:lnTo>
                  <a:lnTo>
                    <a:pt x="110" y="74"/>
                  </a:lnTo>
                  <a:lnTo>
                    <a:pt x="111" y="74"/>
                  </a:lnTo>
                  <a:lnTo>
                    <a:pt x="111" y="76"/>
                  </a:lnTo>
                  <a:lnTo>
                    <a:pt x="110" y="76"/>
                  </a:lnTo>
                  <a:lnTo>
                    <a:pt x="108" y="76"/>
                  </a:lnTo>
                  <a:lnTo>
                    <a:pt x="106" y="76"/>
                  </a:lnTo>
                  <a:lnTo>
                    <a:pt x="104" y="76"/>
                  </a:lnTo>
                  <a:lnTo>
                    <a:pt x="104" y="74"/>
                  </a:lnTo>
                  <a:lnTo>
                    <a:pt x="106" y="74"/>
                  </a:lnTo>
                  <a:close/>
                  <a:moveTo>
                    <a:pt x="88" y="86"/>
                  </a:moveTo>
                  <a:lnTo>
                    <a:pt x="88" y="88"/>
                  </a:lnTo>
                  <a:lnTo>
                    <a:pt x="90" y="88"/>
                  </a:lnTo>
                  <a:lnTo>
                    <a:pt x="88" y="88"/>
                  </a:lnTo>
                  <a:lnTo>
                    <a:pt x="88" y="90"/>
                  </a:lnTo>
                  <a:lnTo>
                    <a:pt x="87" y="90"/>
                  </a:lnTo>
                  <a:lnTo>
                    <a:pt x="87" y="88"/>
                  </a:lnTo>
                  <a:lnTo>
                    <a:pt x="85" y="88"/>
                  </a:lnTo>
                  <a:lnTo>
                    <a:pt x="87" y="88"/>
                  </a:lnTo>
                  <a:lnTo>
                    <a:pt x="85" y="88"/>
                  </a:lnTo>
                  <a:lnTo>
                    <a:pt x="87" y="88"/>
                  </a:lnTo>
                  <a:lnTo>
                    <a:pt x="87" y="86"/>
                  </a:lnTo>
                  <a:lnTo>
                    <a:pt x="88" y="86"/>
                  </a:lnTo>
                  <a:lnTo>
                    <a:pt x="88" y="84"/>
                  </a:lnTo>
                  <a:lnTo>
                    <a:pt x="88" y="86"/>
                  </a:lnTo>
                  <a:close/>
                  <a:moveTo>
                    <a:pt x="17" y="71"/>
                  </a:moveTo>
                  <a:lnTo>
                    <a:pt x="17" y="73"/>
                  </a:lnTo>
                  <a:lnTo>
                    <a:pt x="19" y="73"/>
                  </a:lnTo>
                  <a:lnTo>
                    <a:pt x="19" y="74"/>
                  </a:lnTo>
                  <a:lnTo>
                    <a:pt x="19" y="73"/>
                  </a:lnTo>
                  <a:lnTo>
                    <a:pt x="19" y="74"/>
                  </a:lnTo>
                  <a:lnTo>
                    <a:pt x="21" y="74"/>
                  </a:lnTo>
                  <a:lnTo>
                    <a:pt x="21" y="76"/>
                  </a:lnTo>
                  <a:lnTo>
                    <a:pt x="21" y="74"/>
                  </a:lnTo>
                  <a:lnTo>
                    <a:pt x="19" y="74"/>
                  </a:lnTo>
                  <a:lnTo>
                    <a:pt x="19" y="76"/>
                  </a:lnTo>
                  <a:lnTo>
                    <a:pt x="17" y="76"/>
                  </a:lnTo>
                  <a:lnTo>
                    <a:pt x="17" y="74"/>
                  </a:lnTo>
                  <a:lnTo>
                    <a:pt x="17" y="76"/>
                  </a:lnTo>
                  <a:lnTo>
                    <a:pt x="17" y="74"/>
                  </a:lnTo>
                  <a:lnTo>
                    <a:pt x="17" y="76"/>
                  </a:lnTo>
                  <a:lnTo>
                    <a:pt x="17" y="74"/>
                  </a:lnTo>
                  <a:lnTo>
                    <a:pt x="17" y="73"/>
                  </a:lnTo>
                  <a:lnTo>
                    <a:pt x="17" y="71"/>
                  </a:lnTo>
                  <a:close/>
                  <a:moveTo>
                    <a:pt x="75" y="17"/>
                  </a:moveTo>
                  <a:lnTo>
                    <a:pt x="77" y="17"/>
                  </a:lnTo>
                  <a:lnTo>
                    <a:pt x="77" y="19"/>
                  </a:lnTo>
                  <a:lnTo>
                    <a:pt x="77" y="21"/>
                  </a:lnTo>
                  <a:lnTo>
                    <a:pt x="75" y="21"/>
                  </a:lnTo>
                  <a:lnTo>
                    <a:pt x="75" y="23"/>
                  </a:lnTo>
                  <a:lnTo>
                    <a:pt x="75" y="21"/>
                  </a:lnTo>
                  <a:lnTo>
                    <a:pt x="73" y="21"/>
                  </a:lnTo>
                  <a:lnTo>
                    <a:pt x="73" y="19"/>
                  </a:lnTo>
                  <a:lnTo>
                    <a:pt x="75" y="19"/>
                  </a:lnTo>
                  <a:lnTo>
                    <a:pt x="75" y="17"/>
                  </a:lnTo>
                  <a:close/>
                  <a:moveTo>
                    <a:pt x="77" y="71"/>
                  </a:moveTo>
                  <a:lnTo>
                    <a:pt x="79" y="71"/>
                  </a:lnTo>
                  <a:lnTo>
                    <a:pt x="79" y="73"/>
                  </a:lnTo>
                  <a:lnTo>
                    <a:pt x="81" y="73"/>
                  </a:lnTo>
                  <a:lnTo>
                    <a:pt x="79" y="73"/>
                  </a:lnTo>
                  <a:lnTo>
                    <a:pt x="81" y="73"/>
                  </a:lnTo>
                  <a:lnTo>
                    <a:pt x="81" y="74"/>
                  </a:lnTo>
                  <a:lnTo>
                    <a:pt x="81" y="73"/>
                  </a:lnTo>
                  <a:lnTo>
                    <a:pt x="81" y="74"/>
                  </a:lnTo>
                  <a:lnTo>
                    <a:pt x="81" y="76"/>
                  </a:lnTo>
                  <a:lnTo>
                    <a:pt x="79" y="76"/>
                  </a:lnTo>
                  <a:lnTo>
                    <a:pt x="79" y="74"/>
                  </a:lnTo>
                  <a:lnTo>
                    <a:pt x="77" y="74"/>
                  </a:lnTo>
                  <a:lnTo>
                    <a:pt x="77" y="73"/>
                  </a:lnTo>
                  <a:lnTo>
                    <a:pt x="75" y="73"/>
                  </a:lnTo>
                  <a:lnTo>
                    <a:pt x="77" y="73"/>
                  </a:lnTo>
                  <a:lnTo>
                    <a:pt x="75" y="73"/>
                  </a:lnTo>
                  <a:lnTo>
                    <a:pt x="77" y="73"/>
                  </a:lnTo>
                  <a:lnTo>
                    <a:pt x="77" y="71"/>
                  </a:lnTo>
                  <a:close/>
                  <a:moveTo>
                    <a:pt x="56" y="28"/>
                  </a:moveTo>
                  <a:lnTo>
                    <a:pt x="56" y="30"/>
                  </a:lnTo>
                  <a:lnTo>
                    <a:pt x="58" y="30"/>
                  </a:lnTo>
                  <a:lnTo>
                    <a:pt x="58" y="32"/>
                  </a:lnTo>
                  <a:lnTo>
                    <a:pt x="60" y="32"/>
                  </a:lnTo>
                  <a:lnTo>
                    <a:pt x="62" y="32"/>
                  </a:lnTo>
                  <a:lnTo>
                    <a:pt x="62" y="34"/>
                  </a:lnTo>
                  <a:lnTo>
                    <a:pt x="60" y="34"/>
                  </a:lnTo>
                  <a:lnTo>
                    <a:pt x="58" y="34"/>
                  </a:lnTo>
                  <a:lnTo>
                    <a:pt x="56" y="34"/>
                  </a:lnTo>
                  <a:lnTo>
                    <a:pt x="58" y="32"/>
                  </a:lnTo>
                  <a:lnTo>
                    <a:pt x="56" y="32"/>
                  </a:lnTo>
                  <a:lnTo>
                    <a:pt x="56" y="30"/>
                  </a:lnTo>
                  <a:lnTo>
                    <a:pt x="56" y="28"/>
                  </a:lnTo>
                  <a:close/>
                  <a:moveTo>
                    <a:pt x="17" y="55"/>
                  </a:moveTo>
                  <a:lnTo>
                    <a:pt x="17" y="57"/>
                  </a:lnTo>
                  <a:lnTo>
                    <a:pt x="17" y="59"/>
                  </a:lnTo>
                  <a:lnTo>
                    <a:pt x="15" y="59"/>
                  </a:lnTo>
                  <a:lnTo>
                    <a:pt x="15" y="57"/>
                  </a:lnTo>
                  <a:lnTo>
                    <a:pt x="15" y="55"/>
                  </a:lnTo>
                  <a:lnTo>
                    <a:pt x="17" y="55"/>
                  </a:lnTo>
                  <a:close/>
                  <a:moveTo>
                    <a:pt x="113" y="111"/>
                  </a:moveTo>
                  <a:lnTo>
                    <a:pt x="113" y="113"/>
                  </a:lnTo>
                  <a:lnTo>
                    <a:pt x="111" y="113"/>
                  </a:lnTo>
                  <a:lnTo>
                    <a:pt x="111" y="115"/>
                  </a:lnTo>
                  <a:lnTo>
                    <a:pt x="113" y="115"/>
                  </a:lnTo>
                  <a:lnTo>
                    <a:pt x="113" y="117"/>
                  </a:lnTo>
                  <a:lnTo>
                    <a:pt x="113" y="115"/>
                  </a:lnTo>
                  <a:lnTo>
                    <a:pt x="113" y="117"/>
                  </a:lnTo>
                  <a:lnTo>
                    <a:pt x="111" y="117"/>
                  </a:lnTo>
                  <a:lnTo>
                    <a:pt x="111" y="119"/>
                  </a:lnTo>
                  <a:lnTo>
                    <a:pt x="111" y="117"/>
                  </a:lnTo>
                  <a:lnTo>
                    <a:pt x="111" y="115"/>
                  </a:lnTo>
                  <a:lnTo>
                    <a:pt x="111" y="113"/>
                  </a:lnTo>
                  <a:lnTo>
                    <a:pt x="111" y="111"/>
                  </a:lnTo>
                  <a:lnTo>
                    <a:pt x="113" y="111"/>
                  </a:lnTo>
                  <a:close/>
                  <a:moveTo>
                    <a:pt x="113" y="90"/>
                  </a:moveTo>
                  <a:lnTo>
                    <a:pt x="113" y="92"/>
                  </a:lnTo>
                  <a:lnTo>
                    <a:pt x="115" y="92"/>
                  </a:lnTo>
                  <a:lnTo>
                    <a:pt x="115" y="90"/>
                  </a:lnTo>
                  <a:lnTo>
                    <a:pt x="115" y="92"/>
                  </a:lnTo>
                  <a:lnTo>
                    <a:pt x="113" y="92"/>
                  </a:lnTo>
                  <a:lnTo>
                    <a:pt x="111" y="92"/>
                  </a:lnTo>
                  <a:lnTo>
                    <a:pt x="111" y="94"/>
                  </a:lnTo>
                  <a:lnTo>
                    <a:pt x="110" y="94"/>
                  </a:lnTo>
                  <a:lnTo>
                    <a:pt x="110" y="96"/>
                  </a:lnTo>
                  <a:lnTo>
                    <a:pt x="110" y="94"/>
                  </a:lnTo>
                  <a:lnTo>
                    <a:pt x="110" y="96"/>
                  </a:lnTo>
                  <a:lnTo>
                    <a:pt x="110" y="94"/>
                  </a:lnTo>
                  <a:lnTo>
                    <a:pt x="110" y="92"/>
                  </a:lnTo>
                  <a:lnTo>
                    <a:pt x="111" y="92"/>
                  </a:lnTo>
                  <a:lnTo>
                    <a:pt x="111" y="90"/>
                  </a:lnTo>
                  <a:lnTo>
                    <a:pt x="113" y="90"/>
                  </a:lnTo>
                  <a:close/>
                  <a:moveTo>
                    <a:pt x="50" y="99"/>
                  </a:moveTo>
                  <a:lnTo>
                    <a:pt x="50" y="101"/>
                  </a:lnTo>
                  <a:lnTo>
                    <a:pt x="52" y="101"/>
                  </a:lnTo>
                  <a:lnTo>
                    <a:pt x="50" y="101"/>
                  </a:lnTo>
                  <a:lnTo>
                    <a:pt x="52" y="101"/>
                  </a:lnTo>
                  <a:lnTo>
                    <a:pt x="52" y="103"/>
                  </a:lnTo>
                  <a:lnTo>
                    <a:pt x="52" y="105"/>
                  </a:lnTo>
                  <a:lnTo>
                    <a:pt x="50" y="105"/>
                  </a:lnTo>
                  <a:lnTo>
                    <a:pt x="50" y="103"/>
                  </a:lnTo>
                  <a:lnTo>
                    <a:pt x="50" y="105"/>
                  </a:lnTo>
                  <a:lnTo>
                    <a:pt x="50" y="103"/>
                  </a:lnTo>
                  <a:lnTo>
                    <a:pt x="50" y="101"/>
                  </a:lnTo>
                  <a:lnTo>
                    <a:pt x="50" y="99"/>
                  </a:lnTo>
                  <a:close/>
                  <a:moveTo>
                    <a:pt x="100" y="76"/>
                  </a:moveTo>
                  <a:lnTo>
                    <a:pt x="100" y="78"/>
                  </a:lnTo>
                  <a:lnTo>
                    <a:pt x="100" y="76"/>
                  </a:lnTo>
                  <a:lnTo>
                    <a:pt x="100" y="78"/>
                  </a:lnTo>
                  <a:lnTo>
                    <a:pt x="98" y="78"/>
                  </a:lnTo>
                  <a:lnTo>
                    <a:pt x="96" y="78"/>
                  </a:lnTo>
                  <a:lnTo>
                    <a:pt x="96" y="80"/>
                  </a:lnTo>
                  <a:lnTo>
                    <a:pt x="96" y="78"/>
                  </a:lnTo>
                  <a:lnTo>
                    <a:pt x="96" y="80"/>
                  </a:lnTo>
                  <a:lnTo>
                    <a:pt x="94" y="80"/>
                  </a:lnTo>
                  <a:lnTo>
                    <a:pt x="94" y="78"/>
                  </a:lnTo>
                  <a:lnTo>
                    <a:pt x="96" y="78"/>
                  </a:lnTo>
                  <a:lnTo>
                    <a:pt x="96" y="76"/>
                  </a:lnTo>
                  <a:lnTo>
                    <a:pt x="98" y="76"/>
                  </a:lnTo>
                  <a:lnTo>
                    <a:pt x="100" y="76"/>
                  </a:lnTo>
                  <a:close/>
                  <a:moveTo>
                    <a:pt x="73" y="51"/>
                  </a:moveTo>
                  <a:lnTo>
                    <a:pt x="73" y="53"/>
                  </a:lnTo>
                  <a:lnTo>
                    <a:pt x="75" y="53"/>
                  </a:lnTo>
                  <a:lnTo>
                    <a:pt x="75" y="55"/>
                  </a:lnTo>
                  <a:lnTo>
                    <a:pt x="77" y="55"/>
                  </a:lnTo>
                  <a:lnTo>
                    <a:pt x="75" y="55"/>
                  </a:lnTo>
                  <a:lnTo>
                    <a:pt x="73" y="55"/>
                  </a:lnTo>
                  <a:lnTo>
                    <a:pt x="75" y="55"/>
                  </a:lnTo>
                  <a:lnTo>
                    <a:pt x="73" y="55"/>
                  </a:lnTo>
                  <a:lnTo>
                    <a:pt x="75" y="55"/>
                  </a:lnTo>
                  <a:lnTo>
                    <a:pt x="73" y="55"/>
                  </a:lnTo>
                  <a:lnTo>
                    <a:pt x="73" y="53"/>
                  </a:lnTo>
                  <a:lnTo>
                    <a:pt x="73" y="55"/>
                  </a:lnTo>
                  <a:lnTo>
                    <a:pt x="73" y="53"/>
                  </a:lnTo>
                  <a:lnTo>
                    <a:pt x="73" y="55"/>
                  </a:lnTo>
                  <a:lnTo>
                    <a:pt x="73" y="53"/>
                  </a:lnTo>
                  <a:lnTo>
                    <a:pt x="73" y="55"/>
                  </a:lnTo>
                  <a:lnTo>
                    <a:pt x="73" y="53"/>
                  </a:lnTo>
                  <a:lnTo>
                    <a:pt x="73" y="51"/>
                  </a:lnTo>
                  <a:close/>
                  <a:moveTo>
                    <a:pt x="81" y="76"/>
                  </a:moveTo>
                  <a:lnTo>
                    <a:pt x="83" y="76"/>
                  </a:lnTo>
                  <a:lnTo>
                    <a:pt x="85" y="76"/>
                  </a:lnTo>
                  <a:lnTo>
                    <a:pt x="85" y="78"/>
                  </a:lnTo>
                  <a:lnTo>
                    <a:pt x="85" y="76"/>
                  </a:lnTo>
                  <a:lnTo>
                    <a:pt x="85" y="78"/>
                  </a:lnTo>
                  <a:lnTo>
                    <a:pt x="83" y="78"/>
                  </a:lnTo>
                  <a:lnTo>
                    <a:pt x="81" y="78"/>
                  </a:lnTo>
                  <a:lnTo>
                    <a:pt x="81" y="76"/>
                  </a:lnTo>
                  <a:close/>
                  <a:moveTo>
                    <a:pt x="83" y="86"/>
                  </a:moveTo>
                  <a:lnTo>
                    <a:pt x="85" y="86"/>
                  </a:lnTo>
                  <a:lnTo>
                    <a:pt x="85" y="90"/>
                  </a:lnTo>
                  <a:lnTo>
                    <a:pt x="83" y="90"/>
                  </a:lnTo>
                  <a:lnTo>
                    <a:pt x="83" y="86"/>
                  </a:lnTo>
                  <a:close/>
                  <a:moveTo>
                    <a:pt x="88" y="23"/>
                  </a:moveTo>
                  <a:lnTo>
                    <a:pt x="90" y="23"/>
                  </a:lnTo>
                  <a:lnTo>
                    <a:pt x="88" y="23"/>
                  </a:lnTo>
                  <a:lnTo>
                    <a:pt x="90" y="23"/>
                  </a:lnTo>
                  <a:lnTo>
                    <a:pt x="90" y="25"/>
                  </a:lnTo>
                  <a:lnTo>
                    <a:pt x="88" y="25"/>
                  </a:lnTo>
                  <a:lnTo>
                    <a:pt x="87" y="25"/>
                  </a:lnTo>
                  <a:lnTo>
                    <a:pt x="87" y="23"/>
                  </a:lnTo>
                  <a:lnTo>
                    <a:pt x="88" y="23"/>
                  </a:lnTo>
                  <a:lnTo>
                    <a:pt x="87" y="23"/>
                  </a:lnTo>
                  <a:lnTo>
                    <a:pt x="88" y="23"/>
                  </a:lnTo>
                  <a:close/>
                  <a:moveTo>
                    <a:pt x="71" y="94"/>
                  </a:moveTo>
                  <a:lnTo>
                    <a:pt x="73" y="94"/>
                  </a:lnTo>
                  <a:lnTo>
                    <a:pt x="73" y="96"/>
                  </a:lnTo>
                  <a:lnTo>
                    <a:pt x="71" y="96"/>
                  </a:lnTo>
                  <a:lnTo>
                    <a:pt x="71" y="94"/>
                  </a:lnTo>
                  <a:close/>
                  <a:moveTo>
                    <a:pt x="69" y="76"/>
                  </a:moveTo>
                  <a:lnTo>
                    <a:pt x="71" y="76"/>
                  </a:lnTo>
                  <a:lnTo>
                    <a:pt x="71" y="78"/>
                  </a:lnTo>
                  <a:lnTo>
                    <a:pt x="69" y="78"/>
                  </a:lnTo>
                  <a:lnTo>
                    <a:pt x="69" y="76"/>
                  </a:lnTo>
                  <a:close/>
                  <a:moveTo>
                    <a:pt x="96" y="90"/>
                  </a:moveTo>
                  <a:lnTo>
                    <a:pt x="96" y="92"/>
                  </a:lnTo>
                  <a:lnTo>
                    <a:pt x="94" y="92"/>
                  </a:lnTo>
                  <a:lnTo>
                    <a:pt x="92" y="92"/>
                  </a:lnTo>
                  <a:lnTo>
                    <a:pt x="92" y="94"/>
                  </a:lnTo>
                  <a:lnTo>
                    <a:pt x="92" y="92"/>
                  </a:lnTo>
                  <a:lnTo>
                    <a:pt x="94" y="92"/>
                  </a:lnTo>
                  <a:lnTo>
                    <a:pt x="92" y="92"/>
                  </a:lnTo>
                  <a:lnTo>
                    <a:pt x="94" y="92"/>
                  </a:lnTo>
                  <a:lnTo>
                    <a:pt x="92" y="92"/>
                  </a:lnTo>
                  <a:lnTo>
                    <a:pt x="94" y="92"/>
                  </a:lnTo>
                  <a:lnTo>
                    <a:pt x="94" y="90"/>
                  </a:lnTo>
                  <a:lnTo>
                    <a:pt x="96" y="90"/>
                  </a:lnTo>
                  <a:close/>
                  <a:moveTo>
                    <a:pt x="108" y="88"/>
                  </a:moveTo>
                  <a:lnTo>
                    <a:pt x="111" y="88"/>
                  </a:lnTo>
                  <a:lnTo>
                    <a:pt x="111" y="90"/>
                  </a:lnTo>
                  <a:lnTo>
                    <a:pt x="108" y="90"/>
                  </a:lnTo>
                  <a:lnTo>
                    <a:pt x="108" y="88"/>
                  </a:lnTo>
                  <a:close/>
                  <a:moveTo>
                    <a:pt x="85" y="92"/>
                  </a:moveTo>
                  <a:lnTo>
                    <a:pt x="87" y="92"/>
                  </a:lnTo>
                  <a:lnTo>
                    <a:pt x="87" y="96"/>
                  </a:lnTo>
                  <a:lnTo>
                    <a:pt x="85" y="96"/>
                  </a:lnTo>
                  <a:lnTo>
                    <a:pt x="85" y="92"/>
                  </a:lnTo>
                  <a:close/>
                  <a:moveTo>
                    <a:pt x="71" y="80"/>
                  </a:moveTo>
                  <a:lnTo>
                    <a:pt x="73" y="80"/>
                  </a:lnTo>
                  <a:lnTo>
                    <a:pt x="73" y="84"/>
                  </a:lnTo>
                  <a:lnTo>
                    <a:pt x="71" y="84"/>
                  </a:lnTo>
                  <a:lnTo>
                    <a:pt x="71" y="80"/>
                  </a:lnTo>
                  <a:close/>
                  <a:moveTo>
                    <a:pt x="60" y="48"/>
                  </a:moveTo>
                  <a:lnTo>
                    <a:pt x="63" y="48"/>
                  </a:lnTo>
                  <a:lnTo>
                    <a:pt x="63" y="50"/>
                  </a:lnTo>
                  <a:lnTo>
                    <a:pt x="60" y="50"/>
                  </a:lnTo>
                  <a:lnTo>
                    <a:pt x="60" y="48"/>
                  </a:lnTo>
                  <a:close/>
                  <a:moveTo>
                    <a:pt x="15" y="61"/>
                  </a:moveTo>
                  <a:lnTo>
                    <a:pt x="19" y="61"/>
                  </a:lnTo>
                  <a:lnTo>
                    <a:pt x="19" y="65"/>
                  </a:lnTo>
                  <a:lnTo>
                    <a:pt x="15" y="65"/>
                  </a:lnTo>
                  <a:lnTo>
                    <a:pt x="15" y="61"/>
                  </a:lnTo>
                  <a:close/>
                  <a:moveTo>
                    <a:pt x="58" y="71"/>
                  </a:moveTo>
                  <a:lnTo>
                    <a:pt x="60" y="71"/>
                  </a:lnTo>
                  <a:lnTo>
                    <a:pt x="60" y="73"/>
                  </a:lnTo>
                  <a:lnTo>
                    <a:pt x="58" y="73"/>
                  </a:lnTo>
                  <a:lnTo>
                    <a:pt x="58" y="71"/>
                  </a:lnTo>
                  <a:close/>
                  <a:moveTo>
                    <a:pt x="100" y="96"/>
                  </a:moveTo>
                  <a:lnTo>
                    <a:pt x="102" y="96"/>
                  </a:lnTo>
                  <a:lnTo>
                    <a:pt x="102" y="98"/>
                  </a:lnTo>
                  <a:lnTo>
                    <a:pt x="100" y="98"/>
                  </a:lnTo>
                  <a:lnTo>
                    <a:pt x="100" y="96"/>
                  </a:lnTo>
                  <a:close/>
                  <a:moveTo>
                    <a:pt x="85" y="80"/>
                  </a:moveTo>
                  <a:lnTo>
                    <a:pt x="87" y="80"/>
                  </a:lnTo>
                  <a:lnTo>
                    <a:pt x="87" y="82"/>
                  </a:lnTo>
                  <a:lnTo>
                    <a:pt x="85" y="82"/>
                  </a:lnTo>
                  <a:lnTo>
                    <a:pt x="85" y="80"/>
                  </a:lnTo>
                  <a:close/>
                  <a:moveTo>
                    <a:pt x="79" y="80"/>
                  </a:moveTo>
                  <a:lnTo>
                    <a:pt x="81" y="80"/>
                  </a:lnTo>
                  <a:lnTo>
                    <a:pt x="81" y="82"/>
                  </a:lnTo>
                  <a:lnTo>
                    <a:pt x="79" y="82"/>
                  </a:lnTo>
                  <a:lnTo>
                    <a:pt x="79" y="80"/>
                  </a:lnTo>
                  <a:close/>
                  <a:moveTo>
                    <a:pt x="58" y="74"/>
                  </a:moveTo>
                  <a:lnTo>
                    <a:pt x="60" y="74"/>
                  </a:lnTo>
                  <a:lnTo>
                    <a:pt x="60" y="76"/>
                  </a:lnTo>
                  <a:lnTo>
                    <a:pt x="58" y="76"/>
                  </a:lnTo>
                  <a:lnTo>
                    <a:pt x="58" y="74"/>
                  </a:lnTo>
                  <a:close/>
                  <a:moveTo>
                    <a:pt x="75" y="88"/>
                  </a:moveTo>
                  <a:lnTo>
                    <a:pt x="77" y="88"/>
                  </a:lnTo>
                  <a:lnTo>
                    <a:pt x="77" y="90"/>
                  </a:lnTo>
                  <a:lnTo>
                    <a:pt x="75" y="90"/>
                  </a:lnTo>
                  <a:lnTo>
                    <a:pt x="75" y="88"/>
                  </a:lnTo>
                  <a:close/>
                  <a:moveTo>
                    <a:pt x="87" y="98"/>
                  </a:moveTo>
                  <a:lnTo>
                    <a:pt x="88" y="98"/>
                  </a:lnTo>
                  <a:lnTo>
                    <a:pt x="88" y="101"/>
                  </a:lnTo>
                  <a:lnTo>
                    <a:pt x="87" y="101"/>
                  </a:lnTo>
                  <a:lnTo>
                    <a:pt x="87" y="98"/>
                  </a:lnTo>
                  <a:close/>
                  <a:moveTo>
                    <a:pt x="71" y="84"/>
                  </a:moveTo>
                  <a:lnTo>
                    <a:pt x="73" y="84"/>
                  </a:lnTo>
                  <a:lnTo>
                    <a:pt x="73" y="86"/>
                  </a:lnTo>
                  <a:lnTo>
                    <a:pt x="71" y="86"/>
                  </a:lnTo>
                  <a:lnTo>
                    <a:pt x="71" y="84"/>
                  </a:lnTo>
                  <a:close/>
                  <a:moveTo>
                    <a:pt x="63" y="46"/>
                  </a:moveTo>
                  <a:lnTo>
                    <a:pt x="65" y="46"/>
                  </a:lnTo>
                  <a:lnTo>
                    <a:pt x="65" y="50"/>
                  </a:lnTo>
                  <a:lnTo>
                    <a:pt x="63" y="50"/>
                  </a:lnTo>
                  <a:lnTo>
                    <a:pt x="63" y="46"/>
                  </a:lnTo>
                  <a:close/>
                  <a:moveTo>
                    <a:pt x="108" y="117"/>
                  </a:moveTo>
                  <a:lnTo>
                    <a:pt x="110" y="117"/>
                  </a:lnTo>
                  <a:lnTo>
                    <a:pt x="110" y="119"/>
                  </a:lnTo>
                  <a:lnTo>
                    <a:pt x="108" y="119"/>
                  </a:lnTo>
                  <a:lnTo>
                    <a:pt x="108" y="117"/>
                  </a:lnTo>
                  <a:close/>
                  <a:moveTo>
                    <a:pt x="113" y="98"/>
                  </a:moveTo>
                  <a:lnTo>
                    <a:pt x="117" y="98"/>
                  </a:lnTo>
                  <a:lnTo>
                    <a:pt x="117" y="99"/>
                  </a:lnTo>
                  <a:lnTo>
                    <a:pt x="113" y="99"/>
                  </a:lnTo>
                  <a:lnTo>
                    <a:pt x="113" y="98"/>
                  </a:lnTo>
                  <a:close/>
                  <a:moveTo>
                    <a:pt x="121" y="96"/>
                  </a:moveTo>
                  <a:lnTo>
                    <a:pt x="123" y="96"/>
                  </a:lnTo>
                  <a:lnTo>
                    <a:pt x="123" y="98"/>
                  </a:lnTo>
                  <a:lnTo>
                    <a:pt x="121" y="98"/>
                  </a:lnTo>
                  <a:lnTo>
                    <a:pt x="121" y="96"/>
                  </a:lnTo>
                  <a:close/>
                  <a:moveTo>
                    <a:pt x="106" y="84"/>
                  </a:moveTo>
                  <a:lnTo>
                    <a:pt x="108" y="84"/>
                  </a:lnTo>
                  <a:lnTo>
                    <a:pt x="108" y="88"/>
                  </a:lnTo>
                  <a:lnTo>
                    <a:pt x="106" y="88"/>
                  </a:lnTo>
                  <a:lnTo>
                    <a:pt x="106" y="84"/>
                  </a:lnTo>
                  <a:close/>
                  <a:moveTo>
                    <a:pt x="58" y="48"/>
                  </a:moveTo>
                  <a:lnTo>
                    <a:pt x="60" y="48"/>
                  </a:lnTo>
                  <a:lnTo>
                    <a:pt x="60" y="50"/>
                  </a:lnTo>
                  <a:lnTo>
                    <a:pt x="58" y="50"/>
                  </a:lnTo>
                  <a:lnTo>
                    <a:pt x="58" y="48"/>
                  </a:lnTo>
                  <a:close/>
                  <a:moveTo>
                    <a:pt x="56" y="82"/>
                  </a:moveTo>
                  <a:lnTo>
                    <a:pt x="60" y="82"/>
                  </a:lnTo>
                  <a:lnTo>
                    <a:pt x="60" y="84"/>
                  </a:lnTo>
                  <a:lnTo>
                    <a:pt x="56" y="84"/>
                  </a:lnTo>
                  <a:lnTo>
                    <a:pt x="56" y="82"/>
                  </a:lnTo>
                  <a:close/>
                  <a:moveTo>
                    <a:pt x="81" y="42"/>
                  </a:moveTo>
                  <a:lnTo>
                    <a:pt x="81" y="44"/>
                  </a:lnTo>
                  <a:lnTo>
                    <a:pt x="81" y="42"/>
                  </a:lnTo>
                  <a:close/>
                  <a:moveTo>
                    <a:pt x="81" y="94"/>
                  </a:moveTo>
                  <a:lnTo>
                    <a:pt x="83" y="94"/>
                  </a:lnTo>
                  <a:lnTo>
                    <a:pt x="83" y="96"/>
                  </a:lnTo>
                  <a:lnTo>
                    <a:pt x="81" y="96"/>
                  </a:lnTo>
                  <a:lnTo>
                    <a:pt x="81" y="94"/>
                  </a:lnTo>
                  <a:close/>
                  <a:moveTo>
                    <a:pt x="111" y="96"/>
                  </a:moveTo>
                  <a:lnTo>
                    <a:pt x="113" y="96"/>
                  </a:lnTo>
                  <a:lnTo>
                    <a:pt x="113" y="98"/>
                  </a:lnTo>
                  <a:lnTo>
                    <a:pt x="111" y="98"/>
                  </a:lnTo>
                  <a:lnTo>
                    <a:pt x="111" y="96"/>
                  </a:lnTo>
                  <a:close/>
                  <a:moveTo>
                    <a:pt x="88" y="59"/>
                  </a:moveTo>
                  <a:lnTo>
                    <a:pt x="90" y="59"/>
                  </a:lnTo>
                  <a:lnTo>
                    <a:pt x="90" y="61"/>
                  </a:lnTo>
                  <a:lnTo>
                    <a:pt x="88" y="61"/>
                  </a:lnTo>
                  <a:lnTo>
                    <a:pt x="88" y="59"/>
                  </a:lnTo>
                  <a:close/>
                  <a:moveTo>
                    <a:pt x="90" y="99"/>
                  </a:moveTo>
                  <a:lnTo>
                    <a:pt x="92" y="99"/>
                  </a:lnTo>
                  <a:lnTo>
                    <a:pt x="92" y="101"/>
                  </a:lnTo>
                  <a:lnTo>
                    <a:pt x="90" y="101"/>
                  </a:lnTo>
                  <a:lnTo>
                    <a:pt x="90" y="99"/>
                  </a:lnTo>
                  <a:close/>
                  <a:moveTo>
                    <a:pt x="73" y="92"/>
                  </a:moveTo>
                  <a:lnTo>
                    <a:pt x="75" y="92"/>
                  </a:lnTo>
                  <a:lnTo>
                    <a:pt x="75" y="94"/>
                  </a:lnTo>
                  <a:lnTo>
                    <a:pt x="73" y="94"/>
                  </a:lnTo>
                  <a:lnTo>
                    <a:pt x="73" y="92"/>
                  </a:lnTo>
                  <a:close/>
                  <a:moveTo>
                    <a:pt x="81" y="88"/>
                  </a:moveTo>
                  <a:lnTo>
                    <a:pt x="83" y="88"/>
                  </a:lnTo>
                  <a:lnTo>
                    <a:pt x="83" y="90"/>
                  </a:lnTo>
                  <a:lnTo>
                    <a:pt x="81" y="90"/>
                  </a:lnTo>
                  <a:lnTo>
                    <a:pt x="81" y="88"/>
                  </a:lnTo>
                  <a:close/>
                  <a:moveTo>
                    <a:pt x="104" y="82"/>
                  </a:moveTo>
                  <a:lnTo>
                    <a:pt x="104" y="84"/>
                  </a:lnTo>
                  <a:lnTo>
                    <a:pt x="104" y="82"/>
                  </a:lnTo>
                  <a:close/>
                  <a:moveTo>
                    <a:pt x="67" y="126"/>
                  </a:moveTo>
                  <a:lnTo>
                    <a:pt x="67" y="128"/>
                  </a:lnTo>
                  <a:lnTo>
                    <a:pt x="67" y="126"/>
                  </a:lnTo>
                  <a:close/>
                  <a:moveTo>
                    <a:pt x="79" y="96"/>
                  </a:moveTo>
                  <a:lnTo>
                    <a:pt x="81" y="96"/>
                  </a:lnTo>
                  <a:lnTo>
                    <a:pt x="79" y="96"/>
                  </a:lnTo>
                  <a:close/>
                  <a:moveTo>
                    <a:pt x="102" y="76"/>
                  </a:moveTo>
                  <a:lnTo>
                    <a:pt x="104" y="76"/>
                  </a:lnTo>
                  <a:lnTo>
                    <a:pt x="104" y="78"/>
                  </a:lnTo>
                  <a:lnTo>
                    <a:pt x="102" y="78"/>
                  </a:lnTo>
                  <a:lnTo>
                    <a:pt x="102" y="76"/>
                  </a:lnTo>
                  <a:close/>
                  <a:moveTo>
                    <a:pt x="117" y="103"/>
                  </a:moveTo>
                  <a:lnTo>
                    <a:pt x="119" y="103"/>
                  </a:lnTo>
                  <a:lnTo>
                    <a:pt x="117" y="103"/>
                  </a:lnTo>
                  <a:close/>
                  <a:moveTo>
                    <a:pt x="67" y="44"/>
                  </a:moveTo>
                  <a:lnTo>
                    <a:pt x="67" y="46"/>
                  </a:lnTo>
                  <a:lnTo>
                    <a:pt x="67" y="44"/>
                  </a:lnTo>
                  <a:close/>
                  <a:moveTo>
                    <a:pt x="19" y="57"/>
                  </a:moveTo>
                  <a:lnTo>
                    <a:pt x="21" y="57"/>
                  </a:lnTo>
                  <a:lnTo>
                    <a:pt x="21" y="59"/>
                  </a:lnTo>
                  <a:lnTo>
                    <a:pt x="19" y="59"/>
                  </a:lnTo>
                  <a:lnTo>
                    <a:pt x="19" y="57"/>
                  </a:lnTo>
                  <a:close/>
                  <a:moveTo>
                    <a:pt x="58" y="78"/>
                  </a:moveTo>
                  <a:lnTo>
                    <a:pt x="60" y="78"/>
                  </a:lnTo>
                  <a:lnTo>
                    <a:pt x="60" y="80"/>
                  </a:lnTo>
                  <a:lnTo>
                    <a:pt x="58" y="80"/>
                  </a:lnTo>
                  <a:lnTo>
                    <a:pt x="58" y="78"/>
                  </a:lnTo>
                  <a:close/>
                  <a:moveTo>
                    <a:pt x="17" y="57"/>
                  </a:moveTo>
                  <a:lnTo>
                    <a:pt x="19" y="57"/>
                  </a:lnTo>
                  <a:lnTo>
                    <a:pt x="19" y="59"/>
                  </a:lnTo>
                  <a:lnTo>
                    <a:pt x="17" y="59"/>
                  </a:lnTo>
                  <a:lnTo>
                    <a:pt x="17" y="57"/>
                  </a:lnTo>
                  <a:close/>
                  <a:moveTo>
                    <a:pt x="52" y="84"/>
                  </a:moveTo>
                  <a:lnTo>
                    <a:pt x="54" y="84"/>
                  </a:lnTo>
                  <a:lnTo>
                    <a:pt x="52" y="84"/>
                  </a:lnTo>
                  <a:close/>
                  <a:moveTo>
                    <a:pt x="56" y="109"/>
                  </a:moveTo>
                  <a:lnTo>
                    <a:pt x="56" y="111"/>
                  </a:lnTo>
                  <a:lnTo>
                    <a:pt x="56" y="109"/>
                  </a:lnTo>
                  <a:close/>
                  <a:moveTo>
                    <a:pt x="113" y="109"/>
                  </a:moveTo>
                  <a:lnTo>
                    <a:pt x="113" y="111"/>
                  </a:lnTo>
                  <a:lnTo>
                    <a:pt x="113" y="109"/>
                  </a:lnTo>
                  <a:close/>
                  <a:moveTo>
                    <a:pt x="67" y="74"/>
                  </a:moveTo>
                  <a:lnTo>
                    <a:pt x="67" y="76"/>
                  </a:lnTo>
                  <a:lnTo>
                    <a:pt x="67" y="74"/>
                  </a:lnTo>
                  <a:close/>
                  <a:moveTo>
                    <a:pt x="87" y="92"/>
                  </a:moveTo>
                  <a:lnTo>
                    <a:pt x="88" y="92"/>
                  </a:lnTo>
                  <a:lnTo>
                    <a:pt x="87" y="92"/>
                  </a:lnTo>
                  <a:close/>
                  <a:moveTo>
                    <a:pt x="50" y="98"/>
                  </a:moveTo>
                  <a:lnTo>
                    <a:pt x="52" y="98"/>
                  </a:lnTo>
                  <a:lnTo>
                    <a:pt x="52" y="99"/>
                  </a:lnTo>
                  <a:lnTo>
                    <a:pt x="50" y="99"/>
                  </a:lnTo>
                  <a:lnTo>
                    <a:pt x="50" y="98"/>
                  </a:lnTo>
                  <a:close/>
                  <a:moveTo>
                    <a:pt x="75" y="76"/>
                  </a:moveTo>
                  <a:lnTo>
                    <a:pt x="77" y="76"/>
                  </a:lnTo>
                  <a:lnTo>
                    <a:pt x="77" y="78"/>
                  </a:lnTo>
                  <a:lnTo>
                    <a:pt x="75" y="78"/>
                  </a:lnTo>
                  <a:lnTo>
                    <a:pt x="75" y="76"/>
                  </a:lnTo>
                  <a:close/>
                  <a:moveTo>
                    <a:pt x="75" y="92"/>
                  </a:moveTo>
                  <a:lnTo>
                    <a:pt x="75" y="94"/>
                  </a:lnTo>
                  <a:lnTo>
                    <a:pt x="75" y="92"/>
                  </a:lnTo>
                  <a:close/>
                  <a:moveTo>
                    <a:pt x="106" y="82"/>
                  </a:moveTo>
                  <a:lnTo>
                    <a:pt x="108" y="82"/>
                  </a:lnTo>
                  <a:lnTo>
                    <a:pt x="108" y="84"/>
                  </a:lnTo>
                  <a:lnTo>
                    <a:pt x="106" y="84"/>
                  </a:lnTo>
                  <a:lnTo>
                    <a:pt x="106" y="82"/>
                  </a:lnTo>
                  <a:close/>
                  <a:moveTo>
                    <a:pt x="90" y="90"/>
                  </a:moveTo>
                  <a:lnTo>
                    <a:pt x="90" y="92"/>
                  </a:lnTo>
                  <a:lnTo>
                    <a:pt x="90" y="90"/>
                  </a:lnTo>
                  <a:close/>
                  <a:moveTo>
                    <a:pt x="111" y="90"/>
                  </a:moveTo>
                  <a:lnTo>
                    <a:pt x="113" y="90"/>
                  </a:lnTo>
                  <a:lnTo>
                    <a:pt x="111" y="90"/>
                  </a:lnTo>
                  <a:close/>
                  <a:moveTo>
                    <a:pt x="98" y="61"/>
                  </a:moveTo>
                  <a:lnTo>
                    <a:pt x="100" y="61"/>
                  </a:lnTo>
                  <a:lnTo>
                    <a:pt x="98" y="61"/>
                  </a:lnTo>
                  <a:close/>
                  <a:moveTo>
                    <a:pt x="83" y="80"/>
                  </a:moveTo>
                  <a:lnTo>
                    <a:pt x="85" y="80"/>
                  </a:lnTo>
                  <a:lnTo>
                    <a:pt x="85" y="82"/>
                  </a:lnTo>
                  <a:lnTo>
                    <a:pt x="83" y="82"/>
                  </a:lnTo>
                  <a:lnTo>
                    <a:pt x="83" y="80"/>
                  </a:lnTo>
                  <a:close/>
                  <a:moveTo>
                    <a:pt x="92" y="86"/>
                  </a:moveTo>
                  <a:lnTo>
                    <a:pt x="92" y="88"/>
                  </a:lnTo>
                  <a:lnTo>
                    <a:pt x="92" y="86"/>
                  </a:lnTo>
                  <a:close/>
                  <a:moveTo>
                    <a:pt x="56" y="76"/>
                  </a:moveTo>
                  <a:lnTo>
                    <a:pt x="58" y="76"/>
                  </a:lnTo>
                  <a:lnTo>
                    <a:pt x="56" y="76"/>
                  </a:lnTo>
                  <a:close/>
                  <a:moveTo>
                    <a:pt x="83" y="117"/>
                  </a:moveTo>
                  <a:lnTo>
                    <a:pt x="85" y="117"/>
                  </a:lnTo>
                  <a:lnTo>
                    <a:pt x="83" y="117"/>
                  </a:lnTo>
                  <a:close/>
                  <a:moveTo>
                    <a:pt x="67" y="44"/>
                  </a:moveTo>
                  <a:lnTo>
                    <a:pt x="69" y="44"/>
                  </a:lnTo>
                  <a:lnTo>
                    <a:pt x="69" y="46"/>
                  </a:lnTo>
                  <a:lnTo>
                    <a:pt x="67" y="46"/>
                  </a:lnTo>
                  <a:lnTo>
                    <a:pt x="67" y="44"/>
                  </a:lnTo>
                  <a:close/>
                  <a:moveTo>
                    <a:pt x="33" y="92"/>
                  </a:moveTo>
                  <a:lnTo>
                    <a:pt x="33" y="94"/>
                  </a:lnTo>
                  <a:lnTo>
                    <a:pt x="33" y="92"/>
                  </a:lnTo>
                  <a:close/>
                  <a:moveTo>
                    <a:pt x="148" y="103"/>
                  </a:moveTo>
                  <a:lnTo>
                    <a:pt x="148" y="105"/>
                  </a:lnTo>
                  <a:lnTo>
                    <a:pt x="148" y="103"/>
                  </a:lnTo>
                  <a:close/>
                  <a:moveTo>
                    <a:pt x="102" y="88"/>
                  </a:moveTo>
                  <a:lnTo>
                    <a:pt x="102" y="90"/>
                  </a:lnTo>
                  <a:lnTo>
                    <a:pt x="102" y="88"/>
                  </a:lnTo>
                  <a:close/>
                  <a:moveTo>
                    <a:pt x="85" y="99"/>
                  </a:moveTo>
                  <a:lnTo>
                    <a:pt x="87" y="99"/>
                  </a:lnTo>
                  <a:lnTo>
                    <a:pt x="85" y="99"/>
                  </a:lnTo>
                  <a:close/>
                  <a:moveTo>
                    <a:pt x="69" y="92"/>
                  </a:moveTo>
                  <a:lnTo>
                    <a:pt x="69" y="94"/>
                  </a:lnTo>
                  <a:lnTo>
                    <a:pt x="69" y="92"/>
                  </a:lnTo>
                  <a:close/>
                  <a:moveTo>
                    <a:pt x="106" y="99"/>
                  </a:moveTo>
                  <a:lnTo>
                    <a:pt x="106" y="101"/>
                  </a:lnTo>
                  <a:lnTo>
                    <a:pt x="106" y="99"/>
                  </a:lnTo>
                  <a:close/>
                  <a:moveTo>
                    <a:pt x="88" y="90"/>
                  </a:moveTo>
                  <a:lnTo>
                    <a:pt x="88" y="92"/>
                  </a:lnTo>
                  <a:lnTo>
                    <a:pt x="88" y="90"/>
                  </a:lnTo>
                  <a:close/>
                  <a:moveTo>
                    <a:pt x="119" y="101"/>
                  </a:moveTo>
                  <a:lnTo>
                    <a:pt x="121" y="101"/>
                  </a:lnTo>
                  <a:lnTo>
                    <a:pt x="121" y="103"/>
                  </a:lnTo>
                  <a:lnTo>
                    <a:pt x="119" y="103"/>
                  </a:lnTo>
                  <a:lnTo>
                    <a:pt x="119" y="101"/>
                  </a:lnTo>
                  <a:close/>
                  <a:moveTo>
                    <a:pt x="63" y="26"/>
                  </a:moveTo>
                  <a:lnTo>
                    <a:pt x="65" y="26"/>
                  </a:lnTo>
                  <a:lnTo>
                    <a:pt x="63" y="26"/>
                  </a:lnTo>
                  <a:close/>
                  <a:moveTo>
                    <a:pt x="106" y="80"/>
                  </a:moveTo>
                  <a:lnTo>
                    <a:pt x="106" y="82"/>
                  </a:lnTo>
                  <a:lnTo>
                    <a:pt x="106" y="80"/>
                  </a:lnTo>
                  <a:close/>
                  <a:moveTo>
                    <a:pt x="67" y="50"/>
                  </a:moveTo>
                  <a:lnTo>
                    <a:pt x="67" y="51"/>
                  </a:lnTo>
                  <a:lnTo>
                    <a:pt x="67" y="50"/>
                  </a:lnTo>
                  <a:close/>
                  <a:moveTo>
                    <a:pt x="21" y="59"/>
                  </a:moveTo>
                  <a:lnTo>
                    <a:pt x="21" y="61"/>
                  </a:lnTo>
                  <a:lnTo>
                    <a:pt x="21" y="59"/>
                  </a:lnTo>
                  <a:close/>
                  <a:moveTo>
                    <a:pt x="88" y="90"/>
                  </a:moveTo>
                  <a:lnTo>
                    <a:pt x="90" y="90"/>
                  </a:lnTo>
                  <a:lnTo>
                    <a:pt x="88" y="90"/>
                  </a:lnTo>
                  <a:close/>
                  <a:moveTo>
                    <a:pt x="90" y="126"/>
                  </a:moveTo>
                  <a:lnTo>
                    <a:pt x="90" y="128"/>
                  </a:lnTo>
                  <a:lnTo>
                    <a:pt x="90" y="126"/>
                  </a:lnTo>
                  <a:close/>
                  <a:moveTo>
                    <a:pt x="108" y="88"/>
                  </a:moveTo>
                  <a:lnTo>
                    <a:pt x="110" y="88"/>
                  </a:lnTo>
                  <a:lnTo>
                    <a:pt x="110" y="90"/>
                  </a:lnTo>
                  <a:lnTo>
                    <a:pt x="108" y="90"/>
                  </a:lnTo>
                  <a:lnTo>
                    <a:pt x="108" y="88"/>
                  </a:lnTo>
                  <a:close/>
                  <a:moveTo>
                    <a:pt x="121" y="96"/>
                  </a:moveTo>
                  <a:lnTo>
                    <a:pt x="123" y="96"/>
                  </a:lnTo>
                  <a:lnTo>
                    <a:pt x="121" y="96"/>
                  </a:lnTo>
                  <a:close/>
                  <a:moveTo>
                    <a:pt x="111" y="94"/>
                  </a:moveTo>
                  <a:lnTo>
                    <a:pt x="111" y="96"/>
                  </a:lnTo>
                  <a:lnTo>
                    <a:pt x="111" y="94"/>
                  </a:lnTo>
                  <a:close/>
                  <a:moveTo>
                    <a:pt x="17" y="59"/>
                  </a:moveTo>
                  <a:lnTo>
                    <a:pt x="17" y="61"/>
                  </a:lnTo>
                  <a:lnTo>
                    <a:pt x="17" y="59"/>
                  </a:lnTo>
                  <a:close/>
                  <a:moveTo>
                    <a:pt x="88" y="59"/>
                  </a:moveTo>
                  <a:lnTo>
                    <a:pt x="88" y="61"/>
                  </a:lnTo>
                  <a:lnTo>
                    <a:pt x="88" y="59"/>
                  </a:lnTo>
                  <a:close/>
                  <a:moveTo>
                    <a:pt x="71" y="44"/>
                  </a:moveTo>
                  <a:lnTo>
                    <a:pt x="71" y="46"/>
                  </a:lnTo>
                  <a:lnTo>
                    <a:pt x="71" y="44"/>
                  </a:lnTo>
                  <a:close/>
                  <a:moveTo>
                    <a:pt x="96" y="126"/>
                  </a:moveTo>
                  <a:lnTo>
                    <a:pt x="98" y="126"/>
                  </a:lnTo>
                  <a:lnTo>
                    <a:pt x="96" y="126"/>
                  </a:lnTo>
                  <a:close/>
                  <a:moveTo>
                    <a:pt x="111" y="82"/>
                  </a:moveTo>
                  <a:lnTo>
                    <a:pt x="111" y="84"/>
                  </a:lnTo>
                  <a:lnTo>
                    <a:pt x="111" y="82"/>
                  </a:lnTo>
                  <a:close/>
                  <a:moveTo>
                    <a:pt x="69" y="69"/>
                  </a:moveTo>
                  <a:lnTo>
                    <a:pt x="71" y="69"/>
                  </a:lnTo>
                  <a:lnTo>
                    <a:pt x="71" y="71"/>
                  </a:lnTo>
                  <a:lnTo>
                    <a:pt x="69" y="71"/>
                  </a:lnTo>
                  <a:lnTo>
                    <a:pt x="69" y="69"/>
                  </a:lnTo>
                  <a:close/>
                  <a:moveTo>
                    <a:pt x="10" y="48"/>
                  </a:moveTo>
                  <a:lnTo>
                    <a:pt x="12" y="48"/>
                  </a:lnTo>
                  <a:lnTo>
                    <a:pt x="12" y="50"/>
                  </a:lnTo>
                  <a:lnTo>
                    <a:pt x="10" y="50"/>
                  </a:lnTo>
                  <a:lnTo>
                    <a:pt x="10" y="48"/>
                  </a:lnTo>
                  <a:close/>
                  <a:moveTo>
                    <a:pt x="85" y="80"/>
                  </a:moveTo>
                  <a:lnTo>
                    <a:pt x="85" y="82"/>
                  </a:lnTo>
                  <a:lnTo>
                    <a:pt x="85" y="80"/>
                  </a:lnTo>
                  <a:close/>
                  <a:moveTo>
                    <a:pt x="75" y="55"/>
                  </a:moveTo>
                  <a:lnTo>
                    <a:pt x="75" y="57"/>
                  </a:lnTo>
                  <a:lnTo>
                    <a:pt x="75" y="55"/>
                  </a:lnTo>
                  <a:close/>
                  <a:moveTo>
                    <a:pt x="31" y="90"/>
                  </a:moveTo>
                  <a:lnTo>
                    <a:pt x="33" y="90"/>
                  </a:lnTo>
                  <a:lnTo>
                    <a:pt x="31" y="90"/>
                  </a:lnTo>
                  <a:close/>
                  <a:moveTo>
                    <a:pt x="67" y="67"/>
                  </a:moveTo>
                  <a:lnTo>
                    <a:pt x="69" y="67"/>
                  </a:lnTo>
                  <a:lnTo>
                    <a:pt x="67" y="67"/>
                  </a:lnTo>
                  <a:close/>
                  <a:moveTo>
                    <a:pt x="0" y="36"/>
                  </a:moveTo>
                  <a:lnTo>
                    <a:pt x="0" y="38"/>
                  </a:lnTo>
                  <a:lnTo>
                    <a:pt x="0" y="36"/>
                  </a:lnTo>
                  <a:close/>
                  <a:moveTo>
                    <a:pt x="94" y="90"/>
                  </a:moveTo>
                  <a:lnTo>
                    <a:pt x="94" y="92"/>
                  </a:lnTo>
                  <a:lnTo>
                    <a:pt x="94" y="90"/>
                  </a:lnTo>
                  <a:close/>
                  <a:moveTo>
                    <a:pt x="52" y="48"/>
                  </a:moveTo>
                  <a:lnTo>
                    <a:pt x="52" y="50"/>
                  </a:lnTo>
                  <a:lnTo>
                    <a:pt x="52" y="48"/>
                  </a:lnTo>
                  <a:close/>
                  <a:moveTo>
                    <a:pt x="21" y="61"/>
                  </a:moveTo>
                  <a:lnTo>
                    <a:pt x="23" y="61"/>
                  </a:lnTo>
                  <a:lnTo>
                    <a:pt x="21" y="61"/>
                  </a:lnTo>
                  <a:close/>
                  <a:moveTo>
                    <a:pt x="50" y="80"/>
                  </a:moveTo>
                  <a:lnTo>
                    <a:pt x="52" y="80"/>
                  </a:lnTo>
                  <a:lnTo>
                    <a:pt x="50" y="80"/>
                  </a:lnTo>
                  <a:close/>
                  <a:moveTo>
                    <a:pt x="106" y="84"/>
                  </a:moveTo>
                  <a:lnTo>
                    <a:pt x="108" y="84"/>
                  </a:lnTo>
                  <a:lnTo>
                    <a:pt x="108" y="86"/>
                  </a:lnTo>
                  <a:lnTo>
                    <a:pt x="106" y="86"/>
                  </a:lnTo>
                  <a:lnTo>
                    <a:pt x="106" y="84"/>
                  </a:lnTo>
                  <a:close/>
                  <a:moveTo>
                    <a:pt x="92" y="121"/>
                  </a:moveTo>
                  <a:lnTo>
                    <a:pt x="94" y="121"/>
                  </a:lnTo>
                  <a:lnTo>
                    <a:pt x="94" y="123"/>
                  </a:lnTo>
                  <a:lnTo>
                    <a:pt x="92" y="123"/>
                  </a:lnTo>
                  <a:lnTo>
                    <a:pt x="92" y="121"/>
                  </a:lnTo>
                  <a:close/>
                  <a:moveTo>
                    <a:pt x="62" y="74"/>
                  </a:moveTo>
                  <a:lnTo>
                    <a:pt x="63" y="74"/>
                  </a:lnTo>
                  <a:lnTo>
                    <a:pt x="62" y="74"/>
                  </a:lnTo>
                  <a:close/>
                  <a:moveTo>
                    <a:pt x="110" y="96"/>
                  </a:moveTo>
                  <a:lnTo>
                    <a:pt x="111" y="96"/>
                  </a:lnTo>
                  <a:lnTo>
                    <a:pt x="110" y="96"/>
                  </a:lnTo>
                  <a:close/>
                  <a:moveTo>
                    <a:pt x="58" y="50"/>
                  </a:moveTo>
                  <a:lnTo>
                    <a:pt x="60" y="50"/>
                  </a:lnTo>
                  <a:lnTo>
                    <a:pt x="58" y="50"/>
                  </a:lnTo>
                  <a:close/>
                  <a:moveTo>
                    <a:pt x="63" y="92"/>
                  </a:moveTo>
                  <a:lnTo>
                    <a:pt x="65" y="92"/>
                  </a:lnTo>
                  <a:lnTo>
                    <a:pt x="63" y="92"/>
                  </a:lnTo>
                  <a:close/>
                  <a:moveTo>
                    <a:pt x="21" y="84"/>
                  </a:moveTo>
                  <a:lnTo>
                    <a:pt x="23" y="84"/>
                  </a:lnTo>
                  <a:lnTo>
                    <a:pt x="21" y="84"/>
                  </a:lnTo>
                  <a:close/>
                  <a:moveTo>
                    <a:pt x="50" y="78"/>
                  </a:moveTo>
                  <a:lnTo>
                    <a:pt x="50" y="80"/>
                  </a:lnTo>
                  <a:lnTo>
                    <a:pt x="50" y="78"/>
                  </a:lnTo>
                  <a:close/>
                  <a:moveTo>
                    <a:pt x="111" y="96"/>
                  </a:moveTo>
                  <a:lnTo>
                    <a:pt x="111" y="98"/>
                  </a:lnTo>
                  <a:lnTo>
                    <a:pt x="111" y="96"/>
                  </a:lnTo>
                  <a:close/>
                  <a:moveTo>
                    <a:pt x="83" y="101"/>
                  </a:moveTo>
                  <a:lnTo>
                    <a:pt x="85" y="101"/>
                  </a:lnTo>
                  <a:lnTo>
                    <a:pt x="85" y="103"/>
                  </a:lnTo>
                  <a:lnTo>
                    <a:pt x="83" y="103"/>
                  </a:lnTo>
                  <a:lnTo>
                    <a:pt x="83" y="101"/>
                  </a:lnTo>
                  <a:close/>
                  <a:moveTo>
                    <a:pt x="54" y="74"/>
                  </a:moveTo>
                  <a:lnTo>
                    <a:pt x="56" y="74"/>
                  </a:lnTo>
                  <a:lnTo>
                    <a:pt x="54" y="74"/>
                  </a:lnTo>
                  <a:close/>
                  <a:moveTo>
                    <a:pt x="17" y="57"/>
                  </a:moveTo>
                  <a:lnTo>
                    <a:pt x="19" y="57"/>
                  </a:lnTo>
                  <a:lnTo>
                    <a:pt x="17" y="57"/>
                  </a:lnTo>
                  <a:close/>
                  <a:moveTo>
                    <a:pt x="10" y="44"/>
                  </a:moveTo>
                  <a:lnTo>
                    <a:pt x="12" y="44"/>
                  </a:lnTo>
                  <a:lnTo>
                    <a:pt x="10" y="44"/>
                  </a:lnTo>
                  <a:close/>
                  <a:moveTo>
                    <a:pt x="63" y="76"/>
                  </a:moveTo>
                  <a:lnTo>
                    <a:pt x="65" y="76"/>
                  </a:lnTo>
                  <a:lnTo>
                    <a:pt x="63" y="76"/>
                  </a:lnTo>
                  <a:close/>
                  <a:moveTo>
                    <a:pt x="81" y="88"/>
                  </a:moveTo>
                  <a:lnTo>
                    <a:pt x="83" y="88"/>
                  </a:lnTo>
                  <a:lnTo>
                    <a:pt x="81" y="88"/>
                  </a:lnTo>
                  <a:close/>
                  <a:moveTo>
                    <a:pt x="121" y="101"/>
                  </a:moveTo>
                  <a:lnTo>
                    <a:pt x="121" y="103"/>
                  </a:lnTo>
                  <a:lnTo>
                    <a:pt x="121" y="101"/>
                  </a:lnTo>
                  <a:close/>
                  <a:moveTo>
                    <a:pt x="102" y="78"/>
                  </a:moveTo>
                  <a:lnTo>
                    <a:pt x="102" y="80"/>
                  </a:lnTo>
                  <a:lnTo>
                    <a:pt x="102" y="78"/>
                  </a:lnTo>
                  <a:close/>
                  <a:moveTo>
                    <a:pt x="17" y="57"/>
                  </a:moveTo>
                  <a:lnTo>
                    <a:pt x="19" y="57"/>
                  </a:lnTo>
                  <a:lnTo>
                    <a:pt x="17" y="57"/>
                  </a:lnTo>
                  <a:close/>
                  <a:moveTo>
                    <a:pt x="54" y="48"/>
                  </a:moveTo>
                  <a:lnTo>
                    <a:pt x="54" y="50"/>
                  </a:lnTo>
                  <a:lnTo>
                    <a:pt x="54" y="48"/>
                  </a:lnTo>
                  <a:close/>
                  <a:moveTo>
                    <a:pt x="10" y="44"/>
                  </a:moveTo>
                  <a:lnTo>
                    <a:pt x="12" y="44"/>
                  </a:lnTo>
                  <a:lnTo>
                    <a:pt x="10" y="44"/>
                  </a:lnTo>
                  <a:close/>
                  <a:moveTo>
                    <a:pt x="104" y="78"/>
                  </a:moveTo>
                  <a:lnTo>
                    <a:pt x="104" y="80"/>
                  </a:lnTo>
                  <a:lnTo>
                    <a:pt x="104" y="78"/>
                  </a:lnTo>
                  <a:close/>
                  <a:moveTo>
                    <a:pt x="52" y="103"/>
                  </a:moveTo>
                  <a:lnTo>
                    <a:pt x="54" y="103"/>
                  </a:lnTo>
                  <a:lnTo>
                    <a:pt x="52" y="103"/>
                  </a:lnTo>
                  <a:close/>
                  <a:moveTo>
                    <a:pt x="73" y="82"/>
                  </a:moveTo>
                  <a:lnTo>
                    <a:pt x="73" y="84"/>
                  </a:lnTo>
                  <a:lnTo>
                    <a:pt x="73" y="82"/>
                  </a:lnTo>
                  <a:close/>
                  <a:moveTo>
                    <a:pt x="60" y="50"/>
                  </a:moveTo>
                  <a:lnTo>
                    <a:pt x="62" y="50"/>
                  </a:lnTo>
                  <a:lnTo>
                    <a:pt x="60" y="50"/>
                  </a:lnTo>
                  <a:close/>
                  <a:moveTo>
                    <a:pt x="58" y="74"/>
                  </a:moveTo>
                  <a:lnTo>
                    <a:pt x="58" y="76"/>
                  </a:lnTo>
                  <a:lnTo>
                    <a:pt x="58" y="74"/>
                  </a:lnTo>
                  <a:close/>
                  <a:moveTo>
                    <a:pt x="90" y="121"/>
                  </a:moveTo>
                  <a:lnTo>
                    <a:pt x="92" y="121"/>
                  </a:lnTo>
                  <a:lnTo>
                    <a:pt x="90" y="121"/>
                  </a:lnTo>
                  <a:close/>
                  <a:moveTo>
                    <a:pt x="88" y="80"/>
                  </a:moveTo>
                  <a:lnTo>
                    <a:pt x="88" y="82"/>
                  </a:lnTo>
                  <a:lnTo>
                    <a:pt x="88" y="80"/>
                  </a:lnTo>
                  <a:close/>
                  <a:moveTo>
                    <a:pt x="102" y="80"/>
                  </a:moveTo>
                  <a:lnTo>
                    <a:pt x="102" y="82"/>
                  </a:lnTo>
                  <a:lnTo>
                    <a:pt x="102" y="80"/>
                  </a:lnTo>
                  <a:close/>
                  <a:moveTo>
                    <a:pt x="2" y="36"/>
                  </a:moveTo>
                  <a:lnTo>
                    <a:pt x="2" y="38"/>
                  </a:lnTo>
                  <a:lnTo>
                    <a:pt x="2" y="36"/>
                  </a:lnTo>
                  <a:close/>
                  <a:moveTo>
                    <a:pt x="25" y="63"/>
                  </a:moveTo>
                  <a:lnTo>
                    <a:pt x="27" y="63"/>
                  </a:lnTo>
                  <a:lnTo>
                    <a:pt x="25" y="63"/>
                  </a:lnTo>
                  <a:close/>
                  <a:moveTo>
                    <a:pt x="58" y="61"/>
                  </a:moveTo>
                  <a:lnTo>
                    <a:pt x="60" y="61"/>
                  </a:lnTo>
                  <a:lnTo>
                    <a:pt x="58" y="61"/>
                  </a:lnTo>
                  <a:close/>
                  <a:moveTo>
                    <a:pt x="100" y="98"/>
                  </a:moveTo>
                  <a:lnTo>
                    <a:pt x="102" y="98"/>
                  </a:lnTo>
                  <a:lnTo>
                    <a:pt x="100" y="98"/>
                  </a:lnTo>
                  <a:close/>
                  <a:moveTo>
                    <a:pt x="27" y="63"/>
                  </a:moveTo>
                  <a:lnTo>
                    <a:pt x="27" y="65"/>
                  </a:lnTo>
                  <a:lnTo>
                    <a:pt x="27" y="63"/>
                  </a:lnTo>
                  <a:close/>
                  <a:moveTo>
                    <a:pt x="104" y="82"/>
                  </a:moveTo>
                  <a:lnTo>
                    <a:pt x="104" y="84"/>
                  </a:lnTo>
                  <a:lnTo>
                    <a:pt x="104" y="82"/>
                  </a:lnTo>
                  <a:close/>
                  <a:moveTo>
                    <a:pt x="69" y="69"/>
                  </a:moveTo>
                  <a:lnTo>
                    <a:pt x="69" y="71"/>
                  </a:lnTo>
                  <a:lnTo>
                    <a:pt x="69" y="69"/>
                  </a:lnTo>
                  <a:close/>
                  <a:moveTo>
                    <a:pt x="98" y="96"/>
                  </a:moveTo>
                  <a:lnTo>
                    <a:pt x="100" y="96"/>
                  </a:lnTo>
                  <a:lnTo>
                    <a:pt x="98" y="96"/>
                  </a:lnTo>
                  <a:close/>
                  <a:moveTo>
                    <a:pt x="94" y="17"/>
                  </a:moveTo>
                  <a:lnTo>
                    <a:pt x="96" y="17"/>
                  </a:lnTo>
                  <a:lnTo>
                    <a:pt x="94" y="17"/>
                  </a:lnTo>
                  <a:close/>
                  <a:moveTo>
                    <a:pt x="25" y="63"/>
                  </a:moveTo>
                  <a:lnTo>
                    <a:pt x="27" y="63"/>
                  </a:lnTo>
                  <a:lnTo>
                    <a:pt x="27" y="65"/>
                  </a:lnTo>
                  <a:lnTo>
                    <a:pt x="25" y="65"/>
                  </a:lnTo>
                  <a:lnTo>
                    <a:pt x="25" y="63"/>
                  </a:lnTo>
                  <a:close/>
                  <a:moveTo>
                    <a:pt x="92" y="119"/>
                  </a:moveTo>
                  <a:lnTo>
                    <a:pt x="92" y="121"/>
                  </a:lnTo>
                  <a:lnTo>
                    <a:pt x="92" y="119"/>
                  </a:lnTo>
                  <a:close/>
                  <a:moveTo>
                    <a:pt x="96" y="17"/>
                  </a:moveTo>
                  <a:lnTo>
                    <a:pt x="96" y="19"/>
                  </a:lnTo>
                  <a:lnTo>
                    <a:pt x="96" y="17"/>
                  </a:lnTo>
                  <a:close/>
                  <a:moveTo>
                    <a:pt x="96" y="126"/>
                  </a:moveTo>
                  <a:lnTo>
                    <a:pt x="98" y="126"/>
                  </a:lnTo>
                  <a:lnTo>
                    <a:pt x="96" y="126"/>
                  </a:lnTo>
                  <a:close/>
                  <a:moveTo>
                    <a:pt x="46" y="23"/>
                  </a:moveTo>
                  <a:lnTo>
                    <a:pt x="48" y="23"/>
                  </a:lnTo>
                  <a:lnTo>
                    <a:pt x="46" y="23"/>
                  </a:lnTo>
                  <a:close/>
                  <a:moveTo>
                    <a:pt x="60" y="61"/>
                  </a:moveTo>
                  <a:lnTo>
                    <a:pt x="60" y="63"/>
                  </a:lnTo>
                  <a:lnTo>
                    <a:pt x="60" y="61"/>
                  </a:lnTo>
                  <a:close/>
                  <a:moveTo>
                    <a:pt x="27" y="63"/>
                  </a:moveTo>
                  <a:lnTo>
                    <a:pt x="27" y="65"/>
                  </a:lnTo>
                  <a:lnTo>
                    <a:pt x="27" y="63"/>
                  </a:lnTo>
                  <a:close/>
                  <a:moveTo>
                    <a:pt x="46" y="23"/>
                  </a:moveTo>
                  <a:lnTo>
                    <a:pt x="48" y="23"/>
                  </a:lnTo>
                  <a:lnTo>
                    <a:pt x="46" y="23"/>
                  </a:lnTo>
                  <a:close/>
                  <a:moveTo>
                    <a:pt x="39" y="63"/>
                  </a:moveTo>
                  <a:lnTo>
                    <a:pt x="39" y="65"/>
                  </a:lnTo>
                  <a:lnTo>
                    <a:pt x="39" y="63"/>
                  </a:lnTo>
                  <a:close/>
                  <a:moveTo>
                    <a:pt x="96" y="126"/>
                  </a:moveTo>
                  <a:lnTo>
                    <a:pt x="98" y="126"/>
                  </a:lnTo>
                  <a:lnTo>
                    <a:pt x="96" y="126"/>
                  </a:lnTo>
                  <a:close/>
                  <a:moveTo>
                    <a:pt x="25" y="65"/>
                  </a:moveTo>
                  <a:lnTo>
                    <a:pt x="27" y="65"/>
                  </a:lnTo>
                  <a:lnTo>
                    <a:pt x="25" y="65"/>
                  </a:lnTo>
                  <a:close/>
                  <a:moveTo>
                    <a:pt x="25" y="65"/>
                  </a:moveTo>
                  <a:lnTo>
                    <a:pt x="27" y="65"/>
                  </a:lnTo>
                  <a:lnTo>
                    <a:pt x="25" y="65"/>
                  </a:lnTo>
                  <a:close/>
                  <a:moveTo>
                    <a:pt x="63" y="48"/>
                  </a:moveTo>
                  <a:lnTo>
                    <a:pt x="65" y="48"/>
                  </a:lnTo>
                  <a:lnTo>
                    <a:pt x="63" y="48"/>
                  </a:lnTo>
                  <a:close/>
                  <a:moveTo>
                    <a:pt x="79" y="73"/>
                  </a:moveTo>
                  <a:lnTo>
                    <a:pt x="81" y="73"/>
                  </a:lnTo>
                  <a:lnTo>
                    <a:pt x="79" y="7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350">
              <a:extLst>
                <a:ext uri="{FF2B5EF4-FFF2-40B4-BE49-F238E27FC236}">
                  <a16:creationId xmlns:a16="http://schemas.microsoft.com/office/drawing/2014/main" id="{7855910F-1A9A-4E46-B0EB-048A0B19EF86}"/>
                </a:ext>
              </a:extLst>
            </p:cNvPr>
            <p:cNvSpPr>
              <a:spLocks/>
            </p:cNvSpPr>
            <p:nvPr/>
          </p:nvSpPr>
          <p:spPr bwMode="gray">
            <a:xfrm>
              <a:off x="3787112" y="3680996"/>
              <a:ext cx="42924" cy="23302"/>
            </a:xfrm>
            <a:custGeom>
              <a:avLst/>
              <a:gdLst>
                <a:gd name="T0" fmla="*/ 33 w 35"/>
                <a:gd name="T1" fmla="*/ 0 h 19"/>
                <a:gd name="T2" fmla="*/ 31 w 35"/>
                <a:gd name="T3" fmla="*/ 2 h 19"/>
                <a:gd name="T4" fmla="*/ 29 w 35"/>
                <a:gd name="T5" fmla="*/ 4 h 19"/>
                <a:gd name="T6" fmla="*/ 27 w 35"/>
                <a:gd name="T7" fmla="*/ 6 h 19"/>
                <a:gd name="T8" fmla="*/ 25 w 35"/>
                <a:gd name="T9" fmla="*/ 8 h 19"/>
                <a:gd name="T10" fmla="*/ 25 w 35"/>
                <a:gd name="T11" fmla="*/ 11 h 19"/>
                <a:gd name="T12" fmla="*/ 27 w 35"/>
                <a:gd name="T13" fmla="*/ 13 h 19"/>
                <a:gd name="T14" fmla="*/ 25 w 35"/>
                <a:gd name="T15" fmla="*/ 11 h 19"/>
                <a:gd name="T16" fmla="*/ 23 w 35"/>
                <a:gd name="T17" fmla="*/ 13 h 19"/>
                <a:gd name="T18" fmla="*/ 21 w 35"/>
                <a:gd name="T19" fmla="*/ 11 h 19"/>
                <a:gd name="T20" fmla="*/ 21 w 35"/>
                <a:gd name="T21" fmla="*/ 15 h 19"/>
                <a:gd name="T22" fmla="*/ 18 w 35"/>
                <a:gd name="T23" fmla="*/ 15 h 19"/>
                <a:gd name="T24" fmla="*/ 16 w 35"/>
                <a:gd name="T25" fmla="*/ 17 h 19"/>
                <a:gd name="T26" fmla="*/ 12 w 35"/>
                <a:gd name="T27" fmla="*/ 17 h 19"/>
                <a:gd name="T28" fmla="*/ 12 w 35"/>
                <a:gd name="T29" fmla="*/ 17 h 19"/>
                <a:gd name="T30" fmla="*/ 10 w 35"/>
                <a:gd name="T31" fmla="*/ 19 h 19"/>
                <a:gd name="T32" fmla="*/ 8 w 35"/>
                <a:gd name="T33" fmla="*/ 17 h 19"/>
                <a:gd name="T34" fmla="*/ 6 w 35"/>
                <a:gd name="T35" fmla="*/ 19 h 19"/>
                <a:gd name="T36" fmla="*/ 4 w 35"/>
                <a:gd name="T37" fmla="*/ 17 h 19"/>
                <a:gd name="T38" fmla="*/ 2 w 35"/>
                <a:gd name="T39" fmla="*/ 15 h 19"/>
                <a:gd name="T40" fmla="*/ 2 w 35"/>
                <a:gd name="T41" fmla="*/ 11 h 19"/>
                <a:gd name="T42" fmla="*/ 2 w 35"/>
                <a:gd name="T43" fmla="*/ 11 h 19"/>
                <a:gd name="T44" fmla="*/ 0 w 35"/>
                <a:gd name="T45" fmla="*/ 10 h 19"/>
                <a:gd name="T46" fmla="*/ 2 w 35"/>
                <a:gd name="T47" fmla="*/ 11 h 19"/>
                <a:gd name="T48" fmla="*/ 2 w 35"/>
                <a:gd name="T49" fmla="*/ 11 h 19"/>
                <a:gd name="T50" fmla="*/ 4 w 35"/>
                <a:gd name="T51" fmla="*/ 10 h 19"/>
                <a:gd name="T52" fmla="*/ 6 w 35"/>
                <a:gd name="T53" fmla="*/ 8 h 19"/>
                <a:gd name="T54" fmla="*/ 6 w 35"/>
                <a:gd name="T55" fmla="*/ 8 h 19"/>
                <a:gd name="T56" fmla="*/ 8 w 35"/>
                <a:gd name="T57" fmla="*/ 10 h 19"/>
                <a:gd name="T58" fmla="*/ 10 w 35"/>
                <a:gd name="T59" fmla="*/ 8 h 19"/>
                <a:gd name="T60" fmla="*/ 10 w 35"/>
                <a:gd name="T61" fmla="*/ 4 h 19"/>
                <a:gd name="T62" fmla="*/ 12 w 35"/>
                <a:gd name="T63" fmla="*/ 6 h 19"/>
                <a:gd name="T64" fmla="*/ 16 w 35"/>
                <a:gd name="T65" fmla="*/ 6 h 19"/>
                <a:gd name="T66" fmla="*/ 20 w 35"/>
                <a:gd name="T67" fmla="*/ 6 h 19"/>
                <a:gd name="T68" fmla="*/ 20 w 35"/>
                <a:gd name="T69" fmla="*/ 6 h 19"/>
                <a:gd name="T70" fmla="*/ 23 w 35"/>
                <a:gd name="T71" fmla="*/ 6 h 19"/>
                <a:gd name="T72" fmla="*/ 25 w 35"/>
                <a:gd name="T73" fmla="*/ 4 h 19"/>
                <a:gd name="T74" fmla="*/ 27 w 35"/>
                <a:gd name="T75" fmla="*/ 2 h 19"/>
                <a:gd name="T76" fmla="*/ 31 w 35"/>
                <a:gd name="T77" fmla="*/ 2 h 19"/>
                <a:gd name="T78" fmla="*/ 33 w 35"/>
                <a:gd name="T7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19">
                  <a:moveTo>
                    <a:pt x="35" y="0"/>
                  </a:moveTo>
                  <a:lnTo>
                    <a:pt x="33" y="0"/>
                  </a:lnTo>
                  <a:lnTo>
                    <a:pt x="33" y="2"/>
                  </a:lnTo>
                  <a:lnTo>
                    <a:pt x="31" y="2"/>
                  </a:lnTo>
                  <a:lnTo>
                    <a:pt x="31" y="4"/>
                  </a:lnTo>
                  <a:lnTo>
                    <a:pt x="29" y="4"/>
                  </a:lnTo>
                  <a:lnTo>
                    <a:pt x="27" y="4"/>
                  </a:lnTo>
                  <a:lnTo>
                    <a:pt x="27" y="6"/>
                  </a:lnTo>
                  <a:lnTo>
                    <a:pt x="25" y="6"/>
                  </a:lnTo>
                  <a:lnTo>
                    <a:pt x="25" y="8"/>
                  </a:lnTo>
                  <a:lnTo>
                    <a:pt x="25" y="10"/>
                  </a:lnTo>
                  <a:lnTo>
                    <a:pt x="25" y="11"/>
                  </a:lnTo>
                  <a:lnTo>
                    <a:pt x="27" y="11"/>
                  </a:lnTo>
                  <a:lnTo>
                    <a:pt x="27" y="13"/>
                  </a:lnTo>
                  <a:lnTo>
                    <a:pt x="27" y="11"/>
                  </a:lnTo>
                  <a:lnTo>
                    <a:pt x="25" y="11"/>
                  </a:lnTo>
                  <a:lnTo>
                    <a:pt x="25" y="13"/>
                  </a:lnTo>
                  <a:lnTo>
                    <a:pt x="23" y="13"/>
                  </a:lnTo>
                  <a:lnTo>
                    <a:pt x="23" y="11"/>
                  </a:lnTo>
                  <a:lnTo>
                    <a:pt x="21" y="11"/>
                  </a:lnTo>
                  <a:lnTo>
                    <a:pt x="21" y="13"/>
                  </a:lnTo>
                  <a:lnTo>
                    <a:pt x="21" y="15"/>
                  </a:lnTo>
                  <a:lnTo>
                    <a:pt x="20" y="15"/>
                  </a:lnTo>
                  <a:lnTo>
                    <a:pt x="18" y="15"/>
                  </a:lnTo>
                  <a:lnTo>
                    <a:pt x="18" y="17"/>
                  </a:lnTo>
                  <a:lnTo>
                    <a:pt x="16" y="17"/>
                  </a:lnTo>
                  <a:lnTo>
                    <a:pt x="14" y="17"/>
                  </a:lnTo>
                  <a:lnTo>
                    <a:pt x="12" y="17"/>
                  </a:lnTo>
                  <a:lnTo>
                    <a:pt x="12" y="19"/>
                  </a:lnTo>
                  <a:lnTo>
                    <a:pt x="12" y="17"/>
                  </a:lnTo>
                  <a:lnTo>
                    <a:pt x="12" y="19"/>
                  </a:lnTo>
                  <a:lnTo>
                    <a:pt x="10" y="19"/>
                  </a:lnTo>
                  <a:lnTo>
                    <a:pt x="10" y="17"/>
                  </a:lnTo>
                  <a:lnTo>
                    <a:pt x="8" y="17"/>
                  </a:lnTo>
                  <a:lnTo>
                    <a:pt x="8" y="19"/>
                  </a:lnTo>
                  <a:lnTo>
                    <a:pt x="6" y="19"/>
                  </a:lnTo>
                  <a:lnTo>
                    <a:pt x="6" y="17"/>
                  </a:lnTo>
                  <a:lnTo>
                    <a:pt x="4" y="17"/>
                  </a:lnTo>
                  <a:lnTo>
                    <a:pt x="2" y="17"/>
                  </a:lnTo>
                  <a:lnTo>
                    <a:pt x="2" y="15"/>
                  </a:lnTo>
                  <a:lnTo>
                    <a:pt x="2" y="13"/>
                  </a:lnTo>
                  <a:lnTo>
                    <a:pt x="2" y="11"/>
                  </a:lnTo>
                  <a:lnTo>
                    <a:pt x="0" y="11"/>
                  </a:lnTo>
                  <a:lnTo>
                    <a:pt x="2" y="11"/>
                  </a:lnTo>
                  <a:lnTo>
                    <a:pt x="0" y="11"/>
                  </a:lnTo>
                  <a:lnTo>
                    <a:pt x="0" y="10"/>
                  </a:lnTo>
                  <a:lnTo>
                    <a:pt x="2" y="10"/>
                  </a:lnTo>
                  <a:lnTo>
                    <a:pt x="2" y="11"/>
                  </a:lnTo>
                  <a:lnTo>
                    <a:pt x="2" y="10"/>
                  </a:lnTo>
                  <a:lnTo>
                    <a:pt x="2" y="11"/>
                  </a:lnTo>
                  <a:lnTo>
                    <a:pt x="4" y="11"/>
                  </a:lnTo>
                  <a:lnTo>
                    <a:pt x="4" y="10"/>
                  </a:lnTo>
                  <a:lnTo>
                    <a:pt x="6" y="10"/>
                  </a:lnTo>
                  <a:lnTo>
                    <a:pt x="6" y="8"/>
                  </a:lnTo>
                  <a:lnTo>
                    <a:pt x="6" y="10"/>
                  </a:lnTo>
                  <a:lnTo>
                    <a:pt x="6" y="8"/>
                  </a:lnTo>
                  <a:lnTo>
                    <a:pt x="6" y="10"/>
                  </a:lnTo>
                  <a:lnTo>
                    <a:pt x="8" y="10"/>
                  </a:lnTo>
                  <a:lnTo>
                    <a:pt x="10" y="10"/>
                  </a:lnTo>
                  <a:lnTo>
                    <a:pt x="10" y="8"/>
                  </a:lnTo>
                  <a:lnTo>
                    <a:pt x="10" y="6"/>
                  </a:lnTo>
                  <a:lnTo>
                    <a:pt x="10" y="4"/>
                  </a:lnTo>
                  <a:lnTo>
                    <a:pt x="10" y="6"/>
                  </a:lnTo>
                  <a:lnTo>
                    <a:pt x="12" y="6"/>
                  </a:lnTo>
                  <a:lnTo>
                    <a:pt x="14" y="6"/>
                  </a:lnTo>
                  <a:lnTo>
                    <a:pt x="16" y="6"/>
                  </a:lnTo>
                  <a:lnTo>
                    <a:pt x="18" y="6"/>
                  </a:lnTo>
                  <a:lnTo>
                    <a:pt x="20" y="6"/>
                  </a:lnTo>
                  <a:lnTo>
                    <a:pt x="21" y="6"/>
                  </a:lnTo>
                  <a:lnTo>
                    <a:pt x="20" y="6"/>
                  </a:lnTo>
                  <a:lnTo>
                    <a:pt x="21" y="6"/>
                  </a:lnTo>
                  <a:lnTo>
                    <a:pt x="23" y="6"/>
                  </a:lnTo>
                  <a:lnTo>
                    <a:pt x="23" y="4"/>
                  </a:lnTo>
                  <a:lnTo>
                    <a:pt x="25" y="4"/>
                  </a:lnTo>
                  <a:lnTo>
                    <a:pt x="27" y="4"/>
                  </a:lnTo>
                  <a:lnTo>
                    <a:pt x="27" y="2"/>
                  </a:lnTo>
                  <a:lnTo>
                    <a:pt x="29" y="2"/>
                  </a:lnTo>
                  <a:lnTo>
                    <a:pt x="31" y="2"/>
                  </a:lnTo>
                  <a:lnTo>
                    <a:pt x="31" y="0"/>
                  </a:lnTo>
                  <a:lnTo>
                    <a:pt x="33" y="0"/>
                  </a:lnTo>
                  <a:lnTo>
                    <a:pt x="35"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351">
              <a:extLst>
                <a:ext uri="{FF2B5EF4-FFF2-40B4-BE49-F238E27FC236}">
                  <a16:creationId xmlns:a16="http://schemas.microsoft.com/office/drawing/2014/main" id="{87513565-C23C-4487-BB94-4A9FDB8B9737}"/>
                </a:ext>
              </a:extLst>
            </p:cNvPr>
            <p:cNvSpPr>
              <a:spLocks/>
            </p:cNvSpPr>
            <p:nvPr/>
          </p:nvSpPr>
          <p:spPr bwMode="gray">
            <a:xfrm>
              <a:off x="3839846" y="3701844"/>
              <a:ext cx="25754" cy="35565"/>
            </a:xfrm>
            <a:custGeom>
              <a:avLst/>
              <a:gdLst>
                <a:gd name="T0" fmla="*/ 7 w 21"/>
                <a:gd name="T1" fmla="*/ 25 h 29"/>
                <a:gd name="T2" fmla="*/ 5 w 21"/>
                <a:gd name="T3" fmla="*/ 27 h 29"/>
                <a:gd name="T4" fmla="*/ 3 w 21"/>
                <a:gd name="T5" fmla="*/ 29 h 29"/>
                <a:gd name="T6" fmla="*/ 0 w 21"/>
                <a:gd name="T7" fmla="*/ 29 h 29"/>
                <a:gd name="T8" fmla="*/ 0 w 21"/>
                <a:gd name="T9" fmla="*/ 29 h 29"/>
                <a:gd name="T10" fmla="*/ 1 w 21"/>
                <a:gd name="T11" fmla="*/ 27 h 29"/>
                <a:gd name="T12" fmla="*/ 1 w 21"/>
                <a:gd name="T13" fmla="*/ 23 h 29"/>
                <a:gd name="T14" fmla="*/ 3 w 21"/>
                <a:gd name="T15" fmla="*/ 21 h 29"/>
                <a:gd name="T16" fmla="*/ 3 w 21"/>
                <a:gd name="T17" fmla="*/ 21 h 29"/>
                <a:gd name="T18" fmla="*/ 3 w 21"/>
                <a:gd name="T19" fmla="*/ 17 h 29"/>
                <a:gd name="T20" fmla="*/ 3 w 21"/>
                <a:gd name="T21" fmla="*/ 17 h 29"/>
                <a:gd name="T22" fmla="*/ 5 w 21"/>
                <a:gd name="T23" fmla="*/ 16 h 29"/>
                <a:gd name="T24" fmla="*/ 7 w 21"/>
                <a:gd name="T25" fmla="*/ 14 h 29"/>
                <a:gd name="T26" fmla="*/ 7 w 21"/>
                <a:gd name="T27" fmla="*/ 10 h 29"/>
                <a:gd name="T28" fmla="*/ 9 w 21"/>
                <a:gd name="T29" fmla="*/ 8 h 29"/>
                <a:gd name="T30" fmla="*/ 9 w 21"/>
                <a:gd name="T31" fmla="*/ 4 h 29"/>
                <a:gd name="T32" fmla="*/ 13 w 21"/>
                <a:gd name="T33" fmla="*/ 4 h 29"/>
                <a:gd name="T34" fmla="*/ 15 w 21"/>
                <a:gd name="T35" fmla="*/ 2 h 29"/>
                <a:gd name="T36" fmla="*/ 17 w 21"/>
                <a:gd name="T37" fmla="*/ 0 h 29"/>
                <a:gd name="T38" fmla="*/ 19 w 21"/>
                <a:gd name="T39" fmla="*/ 2 h 29"/>
                <a:gd name="T40" fmla="*/ 17 w 21"/>
                <a:gd name="T41" fmla="*/ 4 h 29"/>
                <a:gd name="T42" fmla="*/ 21 w 21"/>
                <a:gd name="T43" fmla="*/ 4 h 29"/>
                <a:gd name="T44" fmla="*/ 21 w 21"/>
                <a:gd name="T45" fmla="*/ 4 h 29"/>
                <a:gd name="T46" fmla="*/ 21 w 21"/>
                <a:gd name="T47" fmla="*/ 8 h 29"/>
                <a:gd name="T48" fmla="*/ 21 w 21"/>
                <a:gd name="T49" fmla="*/ 12 h 29"/>
                <a:gd name="T50" fmla="*/ 19 w 21"/>
                <a:gd name="T51" fmla="*/ 14 h 29"/>
                <a:gd name="T52" fmla="*/ 17 w 21"/>
                <a:gd name="T53" fmla="*/ 16 h 29"/>
                <a:gd name="T54" fmla="*/ 17 w 21"/>
                <a:gd name="T55" fmla="*/ 16 h 29"/>
                <a:gd name="T56" fmla="*/ 13 w 21"/>
                <a:gd name="T57" fmla="*/ 16 h 29"/>
                <a:gd name="T58" fmla="*/ 11 w 21"/>
                <a:gd name="T59" fmla="*/ 17 h 29"/>
                <a:gd name="T60" fmla="*/ 13 w 21"/>
                <a:gd name="T61" fmla="*/ 19 h 29"/>
                <a:gd name="T62" fmla="*/ 11 w 21"/>
                <a:gd name="T63" fmla="*/ 21 h 29"/>
                <a:gd name="T64" fmla="*/ 9 w 21"/>
                <a:gd name="T65"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9">
                  <a:moveTo>
                    <a:pt x="9" y="25"/>
                  </a:moveTo>
                  <a:lnTo>
                    <a:pt x="7" y="25"/>
                  </a:lnTo>
                  <a:lnTo>
                    <a:pt x="5" y="25"/>
                  </a:lnTo>
                  <a:lnTo>
                    <a:pt x="5" y="27"/>
                  </a:lnTo>
                  <a:lnTo>
                    <a:pt x="5" y="29"/>
                  </a:lnTo>
                  <a:lnTo>
                    <a:pt x="3" y="29"/>
                  </a:lnTo>
                  <a:lnTo>
                    <a:pt x="1" y="29"/>
                  </a:lnTo>
                  <a:lnTo>
                    <a:pt x="0" y="29"/>
                  </a:lnTo>
                  <a:lnTo>
                    <a:pt x="0" y="27"/>
                  </a:lnTo>
                  <a:lnTo>
                    <a:pt x="0" y="29"/>
                  </a:lnTo>
                  <a:lnTo>
                    <a:pt x="0" y="27"/>
                  </a:lnTo>
                  <a:lnTo>
                    <a:pt x="1" y="27"/>
                  </a:lnTo>
                  <a:lnTo>
                    <a:pt x="1" y="25"/>
                  </a:lnTo>
                  <a:lnTo>
                    <a:pt x="1" y="23"/>
                  </a:lnTo>
                  <a:lnTo>
                    <a:pt x="1" y="21"/>
                  </a:lnTo>
                  <a:lnTo>
                    <a:pt x="3" y="21"/>
                  </a:lnTo>
                  <a:lnTo>
                    <a:pt x="3" y="19"/>
                  </a:lnTo>
                  <a:lnTo>
                    <a:pt x="3" y="21"/>
                  </a:lnTo>
                  <a:lnTo>
                    <a:pt x="3" y="19"/>
                  </a:lnTo>
                  <a:lnTo>
                    <a:pt x="3" y="17"/>
                  </a:lnTo>
                  <a:lnTo>
                    <a:pt x="5" y="17"/>
                  </a:lnTo>
                  <a:lnTo>
                    <a:pt x="3" y="17"/>
                  </a:lnTo>
                  <a:lnTo>
                    <a:pt x="5" y="17"/>
                  </a:lnTo>
                  <a:lnTo>
                    <a:pt x="5" y="16"/>
                  </a:lnTo>
                  <a:lnTo>
                    <a:pt x="5" y="14"/>
                  </a:lnTo>
                  <a:lnTo>
                    <a:pt x="7" y="14"/>
                  </a:lnTo>
                  <a:lnTo>
                    <a:pt x="7" y="12"/>
                  </a:lnTo>
                  <a:lnTo>
                    <a:pt x="7" y="10"/>
                  </a:lnTo>
                  <a:lnTo>
                    <a:pt x="7" y="8"/>
                  </a:lnTo>
                  <a:lnTo>
                    <a:pt x="9" y="8"/>
                  </a:lnTo>
                  <a:lnTo>
                    <a:pt x="9" y="6"/>
                  </a:lnTo>
                  <a:lnTo>
                    <a:pt x="9" y="4"/>
                  </a:lnTo>
                  <a:lnTo>
                    <a:pt x="11" y="4"/>
                  </a:lnTo>
                  <a:lnTo>
                    <a:pt x="13" y="4"/>
                  </a:lnTo>
                  <a:lnTo>
                    <a:pt x="13" y="2"/>
                  </a:lnTo>
                  <a:lnTo>
                    <a:pt x="15" y="2"/>
                  </a:lnTo>
                  <a:lnTo>
                    <a:pt x="17" y="2"/>
                  </a:lnTo>
                  <a:lnTo>
                    <a:pt x="17" y="0"/>
                  </a:lnTo>
                  <a:lnTo>
                    <a:pt x="17" y="2"/>
                  </a:lnTo>
                  <a:lnTo>
                    <a:pt x="19" y="2"/>
                  </a:lnTo>
                  <a:lnTo>
                    <a:pt x="19" y="4"/>
                  </a:lnTo>
                  <a:lnTo>
                    <a:pt x="17" y="4"/>
                  </a:lnTo>
                  <a:lnTo>
                    <a:pt x="19" y="4"/>
                  </a:lnTo>
                  <a:lnTo>
                    <a:pt x="21" y="4"/>
                  </a:lnTo>
                  <a:lnTo>
                    <a:pt x="19" y="4"/>
                  </a:lnTo>
                  <a:lnTo>
                    <a:pt x="21" y="4"/>
                  </a:lnTo>
                  <a:lnTo>
                    <a:pt x="21" y="6"/>
                  </a:lnTo>
                  <a:lnTo>
                    <a:pt x="21" y="8"/>
                  </a:lnTo>
                  <a:lnTo>
                    <a:pt x="21" y="10"/>
                  </a:lnTo>
                  <a:lnTo>
                    <a:pt x="21" y="12"/>
                  </a:lnTo>
                  <a:lnTo>
                    <a:pt x="19" y="12"/>
                  </a:lnTo>
                  <a:lnTo>
                    <a:pt x="19" y="14"/>
                  </a:lnTo>
                  <a:lnTo>
                    <a:pt x="17" y="14"/>
                  </a:lnTo>
                  <a:lnTo>
                    <a:pt x="17" y="16"/>
                  </a:lnTo>
                  <a:lnTo>
                    <a:pt x="19" y="16"/>
                  </a:lnTo>
                  <a:lnTo>
                    <a:pt x="17" y="16"/>
                  </a:lnTo>
                  <a:lnTo>
                    <a:pt x="15" y="16"/>
                  </a:lnTo>
                  <a:lnTo>
                    <a:pt x="13" y="16"/>
                  </a:lnTo>
                  <a:lnTo>
                    <a:pt x="13" y="17"/>
                  </a:lnTo>
                  <a:lnTo>
                    <a:pt x="11" y="17"/>
                  </a:lnTo>
                  <a:lnTo>
                    <a:pt x="11" y="19"/>
                  </a:lnTo>
                  <a:lnTo>
                    <a:pt x="13" y="19"/>
                  </a:lnTo>
                  <a:lnTo>
                    <a:pt x="13" y="21"/>
                  </a:lnTo>
                  <a:lnTo>
                    <a:pt x="11" y="21"/>
                  </a:lnTo>
                  <a:lnTo>
                    <a:pt x="11" y="23"/>
                  </a:lnTo>
                  <a:lnTo>
                    <a:pt x="9" y="23"/>
                  </a:lnTo>
                  <a:lnTo>
                    <a:pt x="9" y="2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352">
              <a:extLst>
                <a:ext uri="{FF2B5EF4-FFF2-40B4-BE49-F238E27FC236}">
                  <a16:creationId xmlns:a16="http://schemas.microsoft.com/office/drawing/2014/main" id="{9625D471-17AD-4420-9A17-D12C2404493D}"/>
                </a:ext>
              </a:extLst>
            </p:cNvPr>
            <p:cNvSpPr>
              <a:spLocks/>
            </p:cNvSpPr>
            <p:nvPr/>
          </p:nvSpPr>
          <p:spPr bwMode="gray">
            <a:xfrm>
              <a:off x="3850883" y="3642978"/>
              <a:ext cx="117732" cy="110374"/>
            </a:xfrm>
            <a:custGeom>
              <a:avLst/>
              <a:gdLst>
                <a:gd name="T0" fmla="*/ 94 w 96"/>
                <a:gd name="T1" fmla="*/ 8 h 90"/>
                <a:gd name="T2" fmla="*/ 90 w 96"/>
                <a:gd name="T3" fmla="*/ 12 h 90"/>
                <a:gd name="T4" fmla="*/ 85 w 96"/>
                <a:gd name="T5" fmla="*/ 16 h 90"/>
                <a:gd name="T6" fmla="*/ 81 w 96"/>
                <a:gd name="T7" fmla="*/ 19 h 90"/>
                <a:gd name="T8" fmla="*/ 81 w 96"/>
                <a:gd name="T9" fmla="*/ 27 h 90"/>
                <a:gd name="T10" fmla="*/ 81 w 96"/>
                <a:gd name="T11" fmla="*/ 35 h 90"/>
                <a:gd name="T12" fmla="*/ 79 w 96"/>
                <a:gd name="T13" fmla="*/ 42 h 90"/>
                <a:gd name="T14" fmla="*/ 79 w 96"/>
                <a:gd name="T15" fmla="*/ 50 h 90"/>
                <a:gd name="T16" fmla="*/ 65 w 96"/>
                <a:gd name="T17" fmla="*/ 60 h 90"/>
                <a:gd name="T18" fmla="*/ 46 w 96"/>
                <a:gd name="T19" fmla="*/ 71 h 90"/>
                <a:gd name="T20" fmla="*/ 25 w 96"/>
                <a:gd name="T21" fmla="*/ 83 h 90"/>
                <a:gd name="T22" fmla="*/ 15 w 96"/>
                <a:gd name="T23" fmla="*/ 90 h 90"/>
                <a:gd name="T24" fmla="*/ 10 w 96"/>
                <a:gd name="T25" fmla="*/ 89 h 90"/>
                <a:gd name="T26" fmla="*/ 4 w 96"/>
                <a:gd name="T27" fmla="*/ 87 h 90"/>
                <a:gd name="T28" fmla="*/ 2 w 96"/>
                <a:gd name="T29" fmla="*/ 85 h 90"/>
                <a:gd name="T30" fmla="*/ 2 w 96"/>
                <a:gd name="T31" fmla="*/ 81 h 90"/>
                <a:gd name="T32" fmla="*/ 0 w 96"/>
                <a:gd name="T33" fmla="*/ 75 h 90"/>
                <a:gd name="T34" fmla="*/ 0 w 96"/>
                <a:gd name="T35" fmla="*/ 71 h 90"/>
                <a:gd name="T36" fmla="*/ 4 w 96"/>
                <a:gd name="T37" fmla="*/ 67 h 90"/>
                <a:gd name="T38" fmla="*/ 4 w 96"/>
                <a:gd name="T39" fmla="*/ 64 h 90"/>
                <a:gd name="T40" fmla="*/ 8 w 96"/>
                <a:gd name="T41" fmla="*/ 64 h 90"/>
                <a:gd name="T42" fmla="*/ 12 w 96"/>
                <a:gd name="T43" fmla="*/ 60 h 90"/>
                <a:gd name="T44" fmla="*/ 12 w 96"/>
                <a:gd name="T45" fmla="*/ 52 h 90"/>
                <a:gd name="T46" fmla="*/ 8 w 96"/>
                <a:gd name="T47" fmla="*/ 52 h 90"/>
                <a:gd name="T48" fmla="*/ 8 w 96"/>
                <a:gd name="T49" fmla="*/ 48 h 90"/>
                <a:gd name="T50" fmla="*/ 2 w 96"/>
                <a:gd name="T51" fmla="*/ 50 h 90"/>
                <a:gd name="T52" fmla="*/ 2 w 96"/>
                <a:gd name="T53" fmla="*/ 42 h 90"/>
                <a:gd name="T54" fmla="*/ 2 w 96"/>
                <a:gd name="T55" fmla="*/ 35 h 90"/>
                <a:gd name="T56" fmla="*/ 0 w 96"/>
                <a:gd name="T57" fmla="*/ 33 h 90"/>
                <a:gd name="T58" fmla="*/ 0 w 96"/>
                <a:gd name="T59" fmla="*/ 29 h 90"/>
                <a:gd name="T60" fmla="*/ 4 w 96"/>
                <a:gd name="T61" fmla="*/ 25 h 90"/>
                <a:gd name="T62" fmla="*/ 6 w 96"/>
                <a:gd name="T63" fmla="*/ 27 h 90"/>
                <a:gd name="T64" fmla="*/ 10 w 96"/>
                <a:gd name="T65" fmla="*/ 23 h 90"/>
                <a:gd name="T66" fmla="*/ 12 w 96"/>
                <a:gd name="T67" fmla="*/ 21 h 90"/>
                <a:gd name="T68" fmla="*/ 12 w 96"/>
                <a:gd name="T69" fmla="*/ 17 h 90"/>
                <a:gd name="T70" fmla="*/ 14 w 96"/>
                <a:gd name="T71" fmla="*/ 12 h 90"/>
                <a:gd name="T72" fmla="*/ 15 w 96"/>
                <a:gd name="T73" fmla="*/ 10 h 90"/>
                <a:gd name="T74" fmla="*/ 17 w 96"/>
                <a:gd name="T75" fmla="*/ 12 h 90"/>
                <a:gd name="T76" fmla="*/ 19 w 96"/>
                <a:gd name="T77" fmla="*/ 14 h 90"/>
                <a:gd name="T78" fmla="*/ 25 w 96"/>
                <a:gd name="T79" fmla="*/ 12 h 90"/>
                <a:gd name="T80" fmla="*/ 31 w 96"/>
                <a:gd name="T81" fmla="*/ 10 h 90"/>
                <a:gd name="T82" fmla="*/ 37 w 96"/>
                <a:gd name="T83" fmla="*/ 8 h 90"/>
                <a:gd name="T84" fmla="*/ 42 w 96"/>
                <a:gd name="T85" fmla="*/ 10 h 90"/>
                <a:gd name="T86" fmla="*/ 48 w 96"/>
                <a:gd name="T87" fmla="*/ 12 h 90"/>
                <a:gd name="T88" fmla="*/ 52 w 96"/>
                <a:gd name="T89" fmla="*/ 12 h 90"/>
                <a:gd name="T90" fmla="*/ 60 w 96"/>
                <a:gd name="T91" fmla="*/ 12 h 90"/>
                <a:gd name="T92" fmla="*/ 65 w 96"/>
                <a:gd name="T93" fmla="*/ 10 h 90"/>
                <a:gd name="T94" fmla="*/ 69 w 96"/>
                <a:gd name="T95" fmla="*/ 6 h 90"/>
                <a:gd name="T96" fmla="*/ 75 w 96"/>
                <a:gd name="T97" fmla="*/ 4 h 90"/>
                <a:gd name="T98" fmla="*/ 79 w 96"/>
                <a:gd name="T99" fmla="*/ 4 h 90"/>
                <a:gd name="T100" fmla="*/ 81 w 96"/>
                <a:gd name="T101" fmla="*/ 6 h 90"/>
                <a:gd name="T102" fmla="*/ 86 w 96"/>
                <a:gd name="T103" fmla="*/ 4 h 90"/>
                <a:gd name="T104" fmla="*/ 92 w 96"/>
                <a:gd name="T105" fmla="*/ 2 h 90"/>
                <a:gd name="T106" fmla="*/ 96 w 96"/>
                <a:gd name="T107"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0">
                  <a:moveTo>
                    <a:pt x="96" y="4"/>
                  </a:moveTo>
                  <a:lnTo>
                    <a:pt x="96" y="6"/>
                  </a:lnTo>
                  <a:lnTo>
                    <a:pt x="96" y="8"/>
                  </a:lnTo>
                  <a:lnTo>
                    <a:pt x="94" y="8"/>
                  </a:lnTo>
                  <a:lnTo>
                    <a:pt x="94" y="10"/>
                  </a:lnTo>
                  <a:lnTo>
                    <a:pt x="92" y="10"/>
                  </a:lnTo>
                  <a:lnTo>
                    <a:pt x="92" y="12"/>
                  </a:lnTo>
                  <a:lnTo>
                    <a:pt x="90" y="12"/>
                  </a:lnTo>
                  <a:lnTo>
                    <a:pt x="90" y="14"/>
                  </a:lnTo>
                  <a:lnTo>
                    <a:pt x="88" y="14"/>
                  </a:lnTo>
                  <a:lnTo>
                    <a:pt x="86" y="16"/>
                  </a:lnTo>
                  <a:lnTo>
                    <a:pt x="85" y="16"/>
                  </a:lnTo>
                  <a:lnTo>
                    <a:pt x="83" y="16"/>
                  </a:lnTo>
                  <a:lnTo>
                    <a:pt x="83" y="17"/>
                  </a:lnTo>
                  <a:lnTo>
                    <a:pt x="81" y="17"/>
                  </a:lnTo>
                  <a:lnTo>
                    <a:pt x="81" y="19"/>
                  </a:lnTo>
                  <a:lnTo>
                    <a:pt x="81" y="21"/>
                  </a:lnTo>
                  <a:lnTo>
                    <a:pt x="81" y="23"/>
                  </a:lnTo>
                  <a:lnTo>
                    <a:pt x="81" y="25"/>
                  </a:lnTo>
                  <a:lnTo>
                    <a:pt x="81" y="27"/>
                  </a:lnTo>
                  <a:lnTo>
                    <a:pt x="83" y="27"/>
                  </a:lnTo>
                  <a:lnTo>
                    <a:pt x="83" y="31"/>
                  </a:lnTo>
                  <a:lnTo>
                    <a:pt x="81" y="33"/>
                  </a:lnTo>
                  <a:lnTo>
                    <a:pt x="81" y="35"/>
                  </a:lnTo>
                  <a:lnTo>
                    <a:pt x="81" y="37"/>
                  </a:lnTo>
                  <a:lnTo>
                    <a:pt x="81" y="39"/>
                  </a:lnTo>
                  <a:lnTo>
                    <a:pt x="79" y="41"/>
                  </a:lnTo>
                  <a:lnTo>
                    <a:pt x="79" y="42"/>
                  </a:lnTo>
                  <a:lnTo>
                    <a:pt x="79" y="44"/>
                  </a:lnTo>
                  <a:lnTo>
                    <a:pt x="81" y="46"/>
                  </a:lnTo>
                  <a:lnTo>
                    <a:pt x="79" y="48"/>
                  </a:lnTo>
                  <a:lnTo>
                    <a:pt x="79" y="50"/>
                  </a:lnTo>
                  <a:lnTo>
                    <a:pt x="77" y="52"/>
                  </a:lnTo>
                  <a:lnTo>
                    <a:pt x="77" y="54"/>
                  </a:lnTo>
                  <a:lnTo>
                    <a:pt x="71" y="56"/>
                  </a:lnTo>
                  <a:lnTo>
                    <a:pt x="65" y="60"/>
                  </a:lnTo>
                  <a:lnTo>
                    <a:pt x="62" y="62"/>
                  </a:lnTo>
                  <a:lnTo>
                    <a:pt x="52" y="67"/>
                  </a:lnTo>
                  <a:lnTo>
                    <a:pt x="50" y="69"/>
                  </a:lnTo>
                  <a:lnTo>
                    <a:pt x="46" y="71"/>
                  </a:lnTo>
                  <a:lnTo>
                    <a:pt x="44" y="71"/>
                  </a:lnTo>
                  <a:lnTo>
                    <a:pt x="37" y="77"/>
                  </a:lnTo>
                  <a:lnTo>
                    <a:pt x="31" y="81"/>
                  </a:lnTo>
                  <a:lnTo>
                    <a:pt x="25" y="83"/>
                  </a:lnTo>
                  <a:lnTo>
                    <a:pt x="21" y="87"/>
                  </a:lnTo>
                  <a:lnTo>
                    <a:pt x="17" y="89"/>
                  </a:lnTo>
                  <a:lnTo>
                    <a:pt x="15" y="89"/>
                  </a:lnTo>
                  <a:lnTo>
                    <a:pt x="15" y="90"/>
                  </a:lnTo>
                  <a:lnTo>
                    <a:pt x="14" y="90"/>
                  </a:lnTo>
                  <a:lnTo>
                    <a:pt x="12" y="90"/>
                  </a:lnTo>
                  <a:lnTo>
                    <a:pt x="12" y="89"/>
                  </a:lnTo>
                  <a:lnTo>
                    <a:pt x="10" y="89"/>
                  </a:lnTo>
                  <a:lnTo>
                    <a:pt x="8" y="89"/>
                  </a:lnTo>
                  <a:lnTo>
                    <a:pt x="8" y="87"/>
                  </a:lnTo>
                  <a:lnTo>
                    <a:pt x="6" y="87"/>
                  </a:lnTo>
                  <a:lnTo>
                    <a:pt x="4" y="87"/>
                  </a:lnTo>
                  <a:lnTo>
                    <a:pt x="4" y="85"/>
                  </a:lnTo>
                  <a:lnTo>
                    <a:pt x="2" y="85"/>
                  </a:lnTo>
                  <a:lnTo>
                    <a:pt x="2" y="83"/>
                  </a:lnTo>
                  <a:lnTo>
                    <a:pt x="2" y="85"/>
                  </a:lnTo>
                  <a:lnTo>
                    <a:pt x="2" y="83"/>
                  </a:lnTo>
                  <a:lnTo>
                    <a:pt x="0" y="83"/>
                  </a:lnTo>
                  <a:lnTo>
                    <a:pt x="0" y="81"/>
                  </a:lnTo>
                  <a:lnTo>
                    <a:pt x="2" y="81"/>
                  </a:lnTo>
                  <a:lnTo>
                    <a:pt x="2" y="79"/>
                  </a:lnTo>
                  <a:lnTo>
                    <a:pt x="2" y="77"/>
                  </a:lnTo>
                  <a:lnTo>
                    <a:pt x="0" y="77"/>
                  </a:lnTo>
                  <a:lnTo>
                    <a:pt x="0" y="75"/>
                  </a:lnTo>
                  <a:lnTo>
                    <a:pt x="2" y="75"/>
                  </a:lnTo>
                  <a:lnTo>
                    <a:pt x="0" y="75"/>
                  </a:lnTo>
                  <a:lnTo>
                    <a:pt x="0" y="73"/>
                  </a:lnTo>
                  <a:lnTo>
                    <a:pt x="0" y="71"/>
                  </a:lnTo>
                  <a:lnTo>
                    <a:pt x="2" y="71"/>
                  </a:lnTo>
                  <a:lnTo>
                    <a:pt x="2" y="69"/>
                  </a:lnTo>
                  <a:lnTo>
                    <a:pt x="4" y="69"/>
                  </a:lnTo>
                  <a:lnTo>
                    <a:pt x="4" y="67"/>
                  </a:lnTo>
                  <a:lnTo>
                    <a:pt x="2" y="67"/>
                  </a:lnTo>
                  <a:lnTo>
                    <a:pt x="2" y="65"/>
                  </a:lnTo>
                  <a:lnTo>
                    <a:pt x="4" y="65"/>
                  </a:lnTo>
                  <a:lnTo>
                    <a:pt x="4" y="64"/>
                  </a:lnTo>
                  <a:lnTo>
                    <a:pt x="6" y="64"/>
                  </a:lnTo>
                  <a:lnTo>
                    <a:pt x="8" y="64"/>
                  </a:lnTo>
                  <a:lnTo>
                    <a:pt x="10" y="64"/>
                  </a:lnTo>
                  <a:lnTo>
                    <a:pt x="8" y="64"/>
                  </a:lnTo>
                  <a:lnTo>
                    <a:pt x="8" y="62"/>
                  </a:lnTo>
                  <a:lnTo>
                    <a:pt x="10" y="62"/>
                  </a:lnTo>
                  <a:lnTo>
                    <a:pt x="10" y="60"/>
                  </a:lnTo>
                  <a:lnTo>
                    <a:pt x="12" y="60"/>
                  </a:lnTo>
                  <a:lnTo>
                    <a:pt x="12" y="58"/>
                  </a:lnTo>
                  <a:lnTo>
                    <a:pt x="12" y="56"/>
                  </a:lnTo>
                  <a:lnTo>
                    <a:pt x="12" y="54"/>
                  </a:lnTo>
                  <a:lnTo>
                    <a:pt x="12" y="52"/>
                  </a:lnTo>
                  <a:lnTo>
                    <a:pt x="10" y="52"/>
                  </a:lnTo>
                  <a:lnTo>
                    <a:pt x="12" y="52"/>
                  </a:lnTo>
                  <a:lnTo>
                    <a:pt x="10" y="52"/>
                  </a:lnTo>
                  <a:lnTo>
                    <a:pt x="8" y="52"/>
                  </a:lnTo>
                  <a:lnTo>
                    <a:pt x="10" y="52"/>
                  </a:lnTo>
                  <a:lnTo>
                    <a:pt x="10" y="50"/>
                  </a:lnTo>
                  <a:lnTo>
                    <a:pt x="8" y="50"/>
                  </a:lnTo>
                  <a:lnTo>
                    <a:pt x="8" y="48"/>
                  </a:lnTo>
                  <a:lnTo>
                    <a:pt x="8" y="50"/>
                  </a:lnTo>
                  <a:lnTo>
                    <a:pt x="6" y="50"/>
                  </a:lnTo>
                  <a:lnTo>
                    <a:pt x="4" y="50"/>
                  </a:lnTo>
                  <a:lnTo>
                    <a:pt x="2" y="50"/>
                  </a:lnTo>
                  <a:lnTo>
                    <a:pt x="2" y="48"/>
                  </a:lnTo>
                  <a:lnTo>
                    <a:pt x="2" y="46"/>
                  </a:lnTo>
                  <a:lnTo>
                    <a:pt x="2" y="44"/>
                  </a:lnTo>
                  <a:lnTo>
                    <a:pt x="2" y="42"/>
                  </a:lnTo>
                  <a:lnTo>
                    <a:pt x="2" y="41"/>
                  </a:lnTo>
                  <a:lnTo>
                    <a:pt x="2" y="39"/>
                  </a:lnTo>
                  <a:lnTo>
                    <a:pt x="2" y="37"/>
                  </a:lnTo>
                  <a:lnTo>
                    <a:pt x="2" y="35"/>
                  </a:lnTo>
                  <a:lnTo>
                    <a:pt x="0" y="35"/>
                  </a:lnTo>
                  <a:lnTo>
                    <a:pt x="0" y="33"/>
                  </a:lnTo>
                  <a:lnTo>
                    <a:pt x="0" y="31"/>
                  </a:lnTo>
                  <a:lnTo>
                    <a:pt x="0" y="33"/>
                  </a:lnTo>
                  <a:lnTo>
                    <a:pt x="0" y="31"/>
                  </a:lnTo>
                  <a:lnTo>
                    <a:pt x="0" y="29"/>
                  </a:lnTo>
                  <a:lnTo>
                    <a:pt x="2" y="29"/>
                  </a:lnTo>
                  <a:lnTo>
                    <a:pt x="0" y="29"/>
                  </a:lnTo>
                  <a:lnTo>
                    <a:pt x="0" y="27"/>
                  </a:lnTo>
                  <a:lnTo>
                    <a:pt x="2" y="27"/>
                  </a:lnTo>
                  <a:lnTo>
                    <a:pt x="4" y="27"/>
                  </a:lnTo>
                  <a:lnTo>
                    <a:pt x="4" y="25"/>
                  </a:lnTo>
                  <a:lnTo>
                    <a:pt x="4" y="27"/>
                  </a:lnTo>
                  <a:lnTo>
                    <a:pt x="6" y="27"/>
                  </a:lnTo>
                  <a:lnTo>
                    <a:pt x="6" y="29"/>
                  </a:lnTo>
                  <a:lnTo>
                    <a:pt x="6" y="27"/>
                  </a:lnTo>
                  <a:lnTo>
                    <a:pt x="6" y="25"/>
                  </a:lnTo>
                  <a:lnTo>
                    <a:pt x="8" y="25"/>
                  </a:lnTo>
                  <a:lnTo>
                    <a:pt x="10" y="25"/>
                  </a:lnTo>
                  <a:lnTo>
                    <a:pt x="10" y="23"/>
                  </a:lnTo>
                  <a:lnTo>
                    <a:pt x="10" y="21"/>
                  </a:lnTo>
                  <a:lnTo>
                    <a:pt x="12" y="21"/>
                  </a:lnTo>
                  <a:lnTo>
                    <a:pt x="14" y="21"/>
                  </a:lnTo>
                  <a:lnTo>
                    <a:pt x="12" y="21"/>
                  </a:lnTo>
                  <a:lnTo>
                    <a:pt x="14" y="21"/>
                  </a:lnTo>
                  <a:lnTo>
                    <a:pt x="14" y="19"/>
                  </a:lnTo>
                  <a:lnTo>
                    <a:pt x="12" y="19"/>
                  </a:lnTo>
                  <a:lnTo>
                    <a:pt x="12" y="17"/>
                  </a:lnTo>
                  <a:lnTo>
                    <a:pt x="12" y="16"/>
                  </a:lnTo>
                  <a:lnTo>
                    <a:pt x="12" y="14"/>
                  </a:lnTo>
                  <a:lnTo>
                    <a:pt x="12" y="12"/>
                  </a:lnTo>
                  <a:lnTo>
                    <a:pt x="14" y="12"/>
                  </a:lnTo>
                  <a:lnTo>
                    <a:pt x="12" y="12"/>
                  </a:lnTo>
                  <a:lnTo>
                    <a:pt x="14" y="12"/>
                  </a:lnTo>
                  <a:lnTo>
                    <a:pt x="14" y="10"/>
                  </a:lnTo>
                  <a:lnTo>
                    <a:pt x="15" y="10"/>
                  </a:lnTo>
                  <a:lnTo>
                    <a:pt x="15" y="12"/>
                  </a:lnTo>
                  <a:lnTo>
                    <a:pt x="17" y="12"/>
                  </a:lnTo>
                  <a:lnTo>
                    <a:pt x="17" y="10"/>
                  </a:lnTo>
                  <a:lnTo>
                    <a:pt x="17" y="12"/>
                  </a:lnTo>
                  <a:lnTo>
                    <a:pt x="19" y="12"/>
                  </a:lnTo>
                  <a:lnTo>
                    <a:pt x="17" y="12"/>
                  </a:lnTo>
                  <a:lnTo>
                    <a:pt x="19" y="12"/>
                  </a:lnTo>
                  <a:lnTo>
                    <a:pt x="19" y="14"/>
                  </a:lnTo>
                  <a:lnTo>
                    <a:pt x="21" y="14"/>
                  </a:lnTo>
                  <a:lnTo>
                    <a:pt x="23" y="14"/>
                  </a:lnTo>
                  <a:lnTo>
                    <a:pt x="25" y="14"/>
                  </a:lnTo>
                  <a:lnTo>
                    <a:pt x="25" y="12"/>
                  </a:lnTo>
                  <a:lnTo>
                    <a:pt x="27" y="12"/>
                  </a:lnTo>
                  <a:lnTo>
                    <a:pt x="29" y="12"/>
                  </a:lnTo>
                  <a:lnTo>
                    <a:pt x="31" y="12"/>
                  </a:lnTo>
                  <a:lnTo>
                    <a:pt x="31" y="10"/>
                  </a:lnTo>
                  <a:lnTo>
                    <a:pt x="33" y="10"/>
                  </a:lnTo>
                  <a:lnTo>
                    <a:pt x="35" y="10"/>
                  </a:lnTo>
                  <a:lnTo>
                    <a:pt x="35" y="8"/>
                  </a:lnTo>
                  <a:lnTo>
                    <a:pt x="37" y="8"/>
                  </a:lnTo>
                  <a:lnTo>
                    <a:pt x="39" y="8"/>
                  </a:lnTo>
                  <a:lnTo>
                    <a:pt x="39" y="10"/>
                  </a:lnTo>
                  <a:lnTo>
                    <a:pt x="40" y="10"/>
                  </a:lnTo>
                  <a:lnTo>
                    <a:pt x="42" y="10"/>
                  </a:lnTo>
                  <a:lnTo>
                    <a:pt x="42" y="12"/>
                  </a:lnTo>
                  <a:lnTo>
                    <a:pt x="44" y="12"/>
                  </a:lnTo>
                  <a:lnTo>
                    <a:pt x="46" y="12"/>
                  </a:lnTo>
                  <a:lnTo>
                    <a:pt x="48" y="12"/>
                  </a:lnTo>
                  <a:lnTo>
                    <a:pt x="50" y="12"/>
                  </a:lnTo>
                  <a:lnTo>
                    <a:pt x="50" y="14"/>
                  </a:lnTo>
                  <a:lnTo>
                    <a:pt x="52" y="14"/>
                  </a:lnTo>
                  <a:lnTo>
                    <a:pt x="52" y="12"/>
                  </a:lnTo>
                  <a:lnTo>
                    <a:pt x="54" y="12"/>
                  </a:lnTo>
                  <a:lnTo>
                    <a:pt x="56" y="12"/>
                  </a:lnTo>
                  <a:lnTo>
                    <a:pt x="58" y="12"/>
                  </a:lnTo>
                  <a:lnTo>
                    <a:pt x="60" y="12"/>
                  </a:lnTo>
                  <a:lnTo>
                    <a:pt x="60" y="10"/>
                  </a:lnTo>
                  <a:lnTo>
                    <a:pt x="62" y="10"/>
                  </a:lnTo>
                  <a:lnTo>
                    <a:pt x="63" y="10"/>
                  </a:lnTo>
                  <a:lnTo>
                    <a:pt x="65" y="10"/>
                  </a:lnTo>
                  <a:lnTo>
                    <a:pt x="65" y="8"/>
                  </a:lnTo>
                  <a:lnTo>
                    <a:pt x="67" y="8"/>
                  </a:lnTo>
                  <a:lnTo>
                    <a:pt x="67" y="6"/>
                  </a:lnTo>
                  <a:lnTo>
                    <a:pt x="69" y="6"/>
                  </a:lnTo>
                  <a:lnTo>
                    <a:pt x="71" y="6"/>
                  </a:lnTo>
                  <a:lnTo>
                    <a:pt x="71" y="4"/>
                  </a:lnTo>
                  <a:lnTo>
                    <a:pt x="73" y="4"/>
                  </a:lnTo>
                  <a:lnTo>
                    <a:pt x="75" y="4"/>
                  </a:lnTo>
                  <a:lnTo>
                    <a:pt x="77" y="4"/>
                  </a:lnTo>
                  <a:lnTo>
                    <a:pt x="79" y="4"/>
                  </a:lnTo>
                  <a:lnTo>
                    <a:pt x="79" y="6"/>
                  </a:lnTo>
                  <a:lnTo>
                    <a:pt x="79" y="4"/>
                  </a:lnTo>
                  <a:lnTo>
                    <a:pt x="79" y="6"/>
                  </a:lnTo>
                  <a:lnTo>
                    <a:pt x="79" y="4"/>
                  </a:lnTo>
                  <a:lnTo>
                    <a:pt x="79" y="6"/>
                  </a:lnTo>
                  <a:lnTo>
                    <a:pt x="81" y="6"/>
                  </a:lnTo>
                  <a:lnTo>
                    <a:pt x="83" y="6"/>
                  </a:lnTo>
                  <a:lnTo>
                    <a:pt x="85" y="6"/>
                  </a:lnTo>
                  <a:lnTo>
                    <a:pt x="85" y="4"/>
                  </a:lnTo>
                  <a:lnTo>
                    <a:pt x="86" y="4"/>
                  </a:lnTo>
                  <a:lnTo>
                    <a:pt x="88" y="4"/>
                  </a:lnTo>
                  <a:lnTo>
                    <a:pt x="90" y="4"/>
                  </a:lnTo>
                  <a:lnTo>
                    <a:pt x="92" y="4"/>
                  </a:lnTo>
                  <a:lnTo>
                    <a:pt x="92" y="2"/>
                  </a:lnTo>
                  <a:lnTo>
                    <a:pt x="94" y="2"/>
                  </a:lnTo>
                  <a:lnTo>
                    <a:pt x="94" y="0"/>
                  </a:lnTo>
                  <a:lnTo>
                    <a:pt x="94" y="2"/>
                  </a:lnTo>
                  <a:lnTo>
                    <a:pt x="96" y="2"/>
                  </a:lnTo>
                  <a:lnTo>
                    <a:pt x="96" y="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353">
              <a:extLst>
                <a:ext uri="{FF2B5EF4-FFF2-40B4-BE49-F238E27FC236}">
                  <a16:creationId xmlns:a16="http://schemas.microsoft.com/office/drawing/2014/main" id="{BCBA8C41-0BAD-4919-9773-8C1C8A1B1215}"/>
                </a:ext>
              </a:extLst>
            </p:cNvPr>
            <p:cNvSpPr>
              <a:spLocks noEditPoints="1"/>
            </p:cNvSpPr>
            <p:nvPr/>
          </p:nvSpPr>
          <p:spPr bwMode="gray">
            <a:xfrm>
              <a:off x="3669380" y="3532604"/>
              <a:ext cx="344612" cy="145939"/>
            </a:xfrm>
            <a:custGeom>
              <a:avLst/>
              <a:gdLst>
                <a:gd name="T0" fmla="*/ 254 w 281"/>
                <a:gd name="T1" fmla="*/ 11 h 119"/>
                <a:gd name="T2" fmla="*/ 263 w 281"/>
                <a:gd name="T3" fmla="*/ 31 h 119"/>
                <a:gd name="T4" fmla="*/ 277 w 281"/>
                <a:gd name="T5" fmla="*/ 44 h 119"/>
                <a:gd name="T6" fmla="*/ 271 w 281"/>
                <a:gd name="T7" fmla="*/ 58 h 119"/>
                <a:gd name="T8" fmla="*/ 275 w 281"/>
                <a:gd name="T9" fmla="*/ 77 h 119"/>
                <a:gd name="T10" fmla="*/ 275 w 281"/>
                <a:gd name="T11" fmla="*/ 96 h 119"/>
                <a:gd name="T12" fmla="*/ 263 w 281"/>
                <a:gd name="T13" fmla="*/ 92 h 119"/>
                <a:gd name="T14" fmla="*/ 240 w 281"/>
                <a:gd name="T15" fmla="*/ 92 h 119"/>
                <a:gd name="T16" fmla="*/ 217 w 281"/>
                <a:gd name="T17" fmla="*/ 96 h 119"/>
                <a:gd name="T18" fmla="*/ 190 w 281"/>
                <a:gd name="T19" fmla="*/ 100 h 119"/>
                <a:gd name="T20" fmla="*/ 165 w 281"/>
                <a:gd name="T21" fmla="*/ 102 h 119"/>
                <a:gd name="T22" fmla="*/ 158 w 281"/>
                <a:gd name="T23" fmla="*/ 113 h 119"/>
                <a:gd name="T24" fmla="*/ 150 w 281"/>
                <a:gd name="T25" fmla="*/ 106 h 119"/>
                <a:gd name="T26" fmla="*/ 142 w 281"/>
                <a:gd name="T27" fmla="*/ 106 h 119"/>
                <a:gd name="T28" fmla="*/ 125 w 281"/>
                <a:gd name="T29" fmla="*/ 107 h 119"/>
                <a:gd name="T30" fmla="*/ 114 w 281"/>
                <a:gd name="T31" fmla="*/ 111 h 119"/>
                <a:gd name="T32" fmla="*/ 96 w 281"/>
                <a:gd name="T33" fmla="*/ 107 h 119"/>
                <a:gd name="T34" fmla="*/ 71 w 281"/>
                <a:gd name="T35" fmla="*/ 102 h 119"/>
                <a:gd name="T36" fmla="*/ 62 w 281"/>
                <a:gd name="T37" fmla="*/ 111 h 119"/>
                <a:gd name="T38" fmla="*/ 52 w 281"/>
                <a:gd name="T39" fmla="*/ 107 h 119"/>
                <a:gd name="T40" fmla="*/ 43 w 281"/>
                <a:gd name="T41" fmla="*/ 102 h 119"/>
                <a:gd name="T42" fmla="*/ 35 w 281"/>
                <a:gd name="T43" fmla="*/ 106 h 119"/>
                <a:gd name="T44" fmla="*/ 37 w 281"/>
                <a:gd name="T45" fmla="*/ 100 h 119"/>
                <a:gd name="T46" fmla="*/ 25 w 281"/>
                <a:gd name="T47" fmla="*/ 104 h 119"/>
                <a:gd name="T48" fmla="*/ 31 w 281"/>
                <a:gd name="T49" fmla="*/ 98 h 119"/>
                <a:gd name="T50" fmla="*/ 25 w 281"/>
                <a:gd name="T51" fmla="*/ 96 h 119"/>
                <a:gd name="T52" fmla="*/ 29 w 281"/>
                <a:gd name="T53" fmla="*/ 92 h 119"/>
                <a:gd name="T54" fmla="*/ 21 w 281"/>
                <a:gd name="T55" fmla="*/ 84 h 119"/>
                <a:gd name="T56" fmla="*/ 12 w 281"/>
                <a:gd name="T57" fmla="*/ 75 h 119"/>
                <a:gd name="T58" fmla="*/ 12 w 281"/>
                <a:gd name="T59" fmla="*/ 71 h 119"/>
                <a:gd name="T60" fmla="*/ 14 w 281"/>
                <a:gd name="T61" fmla="*/ 73 h 119"/>
                <a:gd name="T62" fmla="*/ 20 w 281"/>
                <a:gd name="T63" fmla="*/ 71 h 119"/>
                <a:gd name="T64" fmla="*/ 21 w 281"/>
                <a:gd name="T65" fmla="*/ 61 h 119"/>
                <a:gd name="T66" fmla="*/ 20 w 281"/>
                <a:gd name="T67" fmla="*/ 48 h 119"/>
                <a:gd name="T68" fmla="*/ 8 w 281"/>
                <a:gd name="T69" fmla="*/ 48 h 119"/>
                <a:gd name="T70" fmla="*/ 23 w 281"/>
                <a:gd name="T71" fmla="*/ 33 h 119"/>
                <a:gd name="T72" fmla="*/ 33 w 281"/>
                <a:gd name="T73" fmla="*/ 34 h 119"/>
                <a:gd name="T74" fmla="*/ 46 w 281"/>
                <a:gd name="T75" fmla="*/ 33 h 119"/>
                <a:gd name="T76" fmla="*/ 56 w 281"/>
                <a:gd name="T77" fmla="*/ 27 h 119"/>
                <a:gd name="T78" fmla="*/ 56 w 281"/>
                <a:gd name="T79" fmla="*/ 27 h 119"/>
                <a:gd name="T80" fmla="*/ 50 w 281"/>
                <a:gd name="T81" fmla="*/ 21 h 119"/>
                <a:gd name="T82" fmla="*/ 68 w 281"/>
                <a:gd name="T83" fmla="*/ 19 h 119"/>
                <a:gd name="T84" fmla="*/ 87 w 281"/>
                <a:gd name="T85" fmla="*/ 15 h 119"/>
                <a:gd name="T86" fmla="*/ 112 w 281"/>
                <a:gd name="T87" fmla="*/ 2 h 119"/>
                <a:gd name="T88" fmla="*/ 133 w 281"/>
                <a:gd name="T89" fmla="*/ 2 h 119"/>
                <a:gd name="T90" fmla="*/ 144 w 281"/>
                <a:gd name="T91" fmla="*/ 9 h 119"/>
                <a:gd name="T92" fmla="*/ 165 w 281"/>
                <a:gd name="T93" fmla="*/ 15 h 119"/>
                <a:gd name="T94" fmla="*/ 190 w 281"/>
                <a:gd name="T95" fmla="*/ 21 h 119"/>
                <a:gd name="T96" fmla="*/ 215 w 281"/>
                <a:gd name="T97" fmla="*/ 23 h 119"/>
                <a:gd name="T98" fmla="*/ 35 w 281"/>
                <a:gd name="T99" fmla="*/ 8 h 119"/>
                <a:gd name="T100" fmla="*/ 46 w 281"/>
                <a:gd name="T101" fmla="*/ 21 h 119"/>
                <a:gd name="T102" fmla="*/ 31 w 281"/>
                <a:gd name="T103" fmla="*/ 21 h 119"/>
                <a:gd name="T104" fmla="*/ 10 w 281"/>
                <a:gd name="T105" fmla="*/ 38 h 119"/>
                <a:gd name="T106" fmla="*/ 8 w 281"/>
                <a:gd name="T107" fmla="*/ 29 h 119"/>
                <a:gd name="T108" fmla="*/ 10 w 281"/>
                <a:gd name="T109" fmla="*/ 6 h 119"/>
                <a:gd name="T110" fmla="*/ 27 w 281"/>
                <a:gd name="T111" fmla="*/ 4 h 119"/>
                <a:gd name="T112" fmla="*/ 2 w 281"/>
                <a:gd name="T113" fmla="*/ 38 h 119"/>
                <a:gd name="T114" fmla="*/ 27 w 281"/>
                <a:gd name="T115" fmla="*/ 33 h 119"/>
                <a:gd name="T116" fmla="*/ 16 w 281"/>
                <a:gd name="T117" fmla="*/ 71 h 119"/>
                <a:gd name="T118" fmla="*/ 37 w 281"/>
                <a:gd name="T119" fmla="*/ 96 h 119"/>
                <a:gd name="T120" fmla="*/ 27 w 281"/>
                <a:gd name="T121" fmla="*/ 9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 h="119">
                  <a:moveTo>
                    <a:pt x="233" y="11"/>
                  </a:moveTo>
                  <a:lnTo>
                    <a:pt x="234" y="11"/>
                  </a:lnTo>
                  <a:lnTo>
                    <a:pt x="236" y="11"/>
                  </a:lnTo>
                  <a:lnTo>
                    <a:pt x="236" y="13"/>
                  </a:lnTo>
                  <a:lnTo>
                    <a:pt x="236" y="11"/>
                  </a:lnTo>
                  <a:lnTo>
                    <a:pt x="236" y="13"/>
                  </a:lnTo>
                  <a:lnTo>
                    <a:pt x="238" y="13"/>
                  </a:lnTo>
                  <a:lnTo>
                    <a:pt x="238" y="11"/>
                  </a:lnTo>
                  <a:lnTo>
                    <a:pt x="240" y="11"/>
                  </a:lnTo>
                  <a:lnTo>
                    <a:pt x="242" y="11"/>
                  </a:lnTo>
                  <a:lnTo>
                    <a:pt x="244" y="11"/>
                  </a:lnTo>
                  <a:lnTo>
                    <a:pt x="246" y="11"/>
                  </a:lnTo>
                  <a:lnTo>
                    <a:pt x="246" y="13"/>
                  </a:lnTo>
                  <a:lnTo>
                    <a:pt x="246" y="11"/>
                  </a:lnTo>
                  <a:lnTo>
                    <a:pt x="248" y="11"/>
                  </a:lnTo>
                  <a:lnTo>
                    <a:pt x="248" y="9"/>
                  </a:lnTo>
                  <a:lnTo>
                    <a:pt x="250" y="9"/>
                  </a:lnTo>
                  <a:lnTo>
                    <a:pt x="252" y="9"/>
                  </a:lnTo>
                  <a:lnTo>
                    <a:pt x="252" y="11"/>
                  </a:lnTo>
                  <a:lnTo>
                    <a:pt x="254" y="11"/>
                  </a:lnTo>
                  <a:lnTo>
                    <a:pt x="254" y="13"/>
                  </a:lnTo>
                  <a:lnTo>
                    <a:pt x="256" y="13"/>
                  </a:lnTo>
                  <a:lnTo>
                    <a:pt x="256" y="15"/>
                  </a:lnTo>
                  <a:lnTo>
                    <a:pt x="258" y="15"/>
                  </a:lnTo>
                  <a:lnTo>
                    <a:pt x="256" y="15"/>
                  </a:lnTo>
                  <a:lnTo>
                    <a:pt x="256" y="17"/>
                  </a:lnTo>
                  <a:lnTo>
                    <a:pt x="258" y="17"/>
                  </a:lnTo>
                  <a:lnTo>
                    <a:pt x="259" y="17"/>
                  </a:lnTo>
                  <a:lnTo>
                    <a:pt x="261" y="19"/>
                  </a:lnTo>
                  <a:lnTo>
                    <a:pt x="259" y="19"/>
                  </a:lnTo>
                  <a:lnTo>
                    <a:pt x="261" y="19"/>
                  </a:lnTo>
                  <a:lnTo>
                    <a:pt x="261" y="21"/>
                  </a:lnTo>
                  <a:lnTo>
                    <a:pt x="263" y="21"/>
                  </a:lnTo>
                  <a:lnTo>
                    <a:pt x="263" y="23"/>
                  </a:lnTo>
                  <a:lnTo>
                    <a:pt x="263" y="25"/>
                  </a:lnTo>
                  <a:lnTo>
                    <a:pt x="265" y="25"/>
                  </a:lnTo>
                  <a:lnTo>
                    <a:pt x="265" y="27"/>
                  </a:lnTo>
                  <a:lnTo>
                    <a:pt x="265" y="29"/>
                  </a:lnTo>
                  <a:lnTo>
                    <a:pt x="263" y="29"/>
                  </a:lnTo>
                  <a:lnTo>
                    <a:pt x="263" y="31"/>
                  </a:lnTo>
                  <a:lnTo>
                    <a:pt x="261" y="31"/>
                  </a:lnTo>
                  <a:lnTo>
                    <a:pt x="261" y="33"/>
                  </a:lnTo>
                  <a:lnTo>
                    <a:pt x="263" y="33"/>
                  </a:lnTo>
                  <a:lnTo>
                    <a:pt x="263" y="34"/>
                  </a:lnTo>
                  <a:lnTo>
                    <a:pt x="263" y="36"/>
                  </a:lnTo>
                  <a:lnTo>
                    <a:pt x="263" y="34"/>
                  </a:lnTo>
                  <a:lnTo>
                    <a:pt x="263" y="36"/>
                  </a:lnTo>
                  <a:lnTo>
                    <a:pt x="265" y="36"/>
                  </a:lnTo>
                  <a:lnTo>
                    <a:pt x="265" y="38"/>
                  </a:lnTo>
                  <a:lnTo>
                    <a:pt x="263" y="38"/>
                  </a:lnTo>
                  <a:lnTo>
                    <a:pt x="265" y="38"/>
                  </a:lnTo>
                  <a:lnTo>
                    <a:pt x="265" y="40"/>
                  </a:lnTo>
                  <a:lnTo>
                    <a:pt x="267" y="40"/>
                  </a:lnTo>
                  <a:lnTo>
                    <a:pt x="269" y="40"/>
                  </a:lnTo>
                  <a:lnTo>
                    <a:pt x="271" y="40"/>
                  </a:lnTo>
                  <a:lnTo>
                    <a:pt x="273" y="40"/>
                  </a:lnTo>
                  <a:lnTo>
                    <a:pt x="275" y="40"/>
                  </a:lnTo>
                  <a:lnTo>
                    <a:pt x="275" y="42"/>
                  </a:lnTo>
                  <a:lnTo>
                    <a:pt x="277" y="42"/>
                  </a:lnTo>
                  <a:lnTo>
                    <a:pt x="277" y="44"/>
                  </a:lnTo>
                  <a:lnTo>
                    <a:pt x="279" y="44"/>
                  </a:lnTo>
                  <a:lnTo>
                    <a:pt x="279" y="46"/>
                  </a:lnTo>
                  <a:lnTo>
                    <a:pt x="281" y="46"/>
                  </a:lnTo>
                  <a:lnTo>
                    <a:pt x="281" y="48"/>
                  </a:lnTo>
                  <a:lnTo>
                    <a:pt x="281" y="46"/>
                  </a:lnTo>
                  <a:lnTo>
                    <a:pt x="279" y="46"/>
                  </a:lnTo>
                  <a:lnTo>
                    <a:pt x="277" y="46"/>
                  </a:lnTo>
                  <a:lnTo>
                    <a:pt x="277" y="44"/>
                  </a:lnTo>
                  <a:lnTo>
                    <a:pt x="277" y="46"/>
                  </a:lnTo>
                  <a:lnTo>
                    <a:pt x="275" y="46"/>
                  </a:lnTo>
                  <a:lnTo>
                    <a:pt x="275" y="48"/>
                  </a:lnTo>
                  <a:lnTo>
                    <a:pt x="275" y="50"/>
                  </a:lnTo>
                  <a:lnTo>
                    <a:pt x="275" y="52"/>
                  </a:lnTo>
                  <a:lnTo>
                    <a:pt x="273" y="52"/>
                  </a:lnTo>
                  <a:lnTo>
                    <a:pt x="271" y="52"/>
                  </a:lnTo>
                  <a:lnTo>
                    <a:pt x="269" y="52"/>
                  </a:lnTo>
                  <a:lnTo>
                    <a:pt x="269" y="54"/>
                  </a:lnTo>
                  <a:lnTo>
                    <a:pt x="269" y="56"/>
                  </a:lnTo>
                  <a:lnTo>
                    <a:pt x="271" y="56"/>
                  </a:lnTo>
                  <a:lnTo>
                    <a:pt x="271" y="58"/>
                  </a:lnTo>
                  <a:lnTo>
                    <a:pt x="271" y="59"/>
                  </a:lnTo>
                  <a:lnTo>
                    <a:pt x="271" y="61"/>
                  </a:lnTo>
                  <a:lnTo>
                    <a:pt x="273" y="61"/>
                  </a:lnTo>
                  <a:lnTo>
                    <a:pt x="273" y="63"/>
                  </a:lnTo>
                  <a:lnTo>
                    <a:pt x="273" y="65"/>
                  </a:lnTo>
                  <a:lnTo>
                    <a:pt x="273" y="67"/>
                  </a:lnTo>
                  <a:lnTo>
                    <a:pt x="273" y="69"/>
                  </a:lnTo>
                  <a:lnTo>
                    <a:pt x="273" y="71"/>
                  </a:lnTo>
                  <a:lnTo>
                    <a:pt x="275" y="71"/>
                  </a:lnTo>
                  <a:lnTo>
                    <a:pt x="277" y="71"/>
                  </a:lnTo>
                  <a:lnTo>
                    <a:pt x="277" y="73"/>
                  </a:lnTo>
                  <a:lnTo>
                    <a:pt x="275" y="73"/>
                  </a:lnTo>
                  <a:lnTo>
                    <a:pt x="277" y="73"/>
                  </a:lnTo>
                  <a:lnTo>
                    <a:pt x="275" y="73"/>
                  </a:lnTo>
                  <a:lnTo>
                    <a:pt x="277" y="73"/>
                  </a:lnTo>
                  <a:lnTo>
                    <a:pt x="275" y="73"/>
                  </a:lnTo>
                  <a:lnTo>
                    <a:pt x="275" y="75"/>
                  </a:lnTo>
                  <a:lnTo>
                    <a:pt x="275" y="77"/>
                  </a:lnTo>
                  <a:lnTo>
                    <a:pt x="273" y="77"/>
                  </a:lnTo>
                  <a:lnTo>
                    <a:pt x="275" y="77"/>
                  </a:lnTo>
                  <a:lnTo>
                    <a:pt x="273" y="77"/>
                  </a:lnTo>
                  <a:lnTo>
                    <a:pt x="273" y="79"/>
                  </a:lnTo>
                  <a:lnTo>
                    <a:pt x="273" y="81"/>
                  </a:lnTo>
                  <a:lnTo>
                    <a:pt x="271" y="81"/>
                  </a:lnTo>
                  <a:lnTo>
                    <a:pt x="273" y="81"/>
                  </a:lnTo>
                  <a:lnTo>
                    <a:pt x="275" y="81"/>
                  </a:lnTo>
                  <a:lnTo>
                    <a:pt x="275" y="82"/>
                  </a:lnTo>
                  <a:lnTo>
                    <a:pt x="277" y="82"/>
                  </a:lnTo>
                  <a:lnTo>
                    <a:pt x="277" y="84"/>
                  </a:lnTo>
                  <a:lnTo>
                    <a:pt x="277" y="86"/>
                  </a:lnTo>
                  <a:lnTo>
                    <a:pt x="277" y="88"/>
                  </a:lnTo>
                  <a:lnTo>
                    <a:pt x="279" y="88"/>
                  </a:lnTo>
                  <a:lnTo>
                    <a:pt x="279" y="90"/>
                  </a:lnTo>
                  <a:lnTo>
                    <a:pt x="281" y="90"/>
                  </a:lnTo>
                  <a:lnTo>
                    <a:pt x="281" y="92"/>
                  </a:lnTo>
                  <a:lnTo>
                    <a:pt x="281" y="94"/>
                  </a:lnTo>
                  <a:lnTo>
                    <a:pt x="279" y="94"/>
                  </a:lnTo>
                  <a:lnTo>
                    <a:pt x="277" y="94"/>
                  </a:lnTo>
                  <a:lnTo>
                    <a:pt x="277" y="96"/>
                  </a:lnTo>
                  <a:lnTo>
                    <a:pt x="275" y="96"/>
                  </a:lnTo>
                  <a:lnTo>
                    <a:pt x="273" y="96"/>
                  </a:lnTo>
                  <a:lnTo>
                    <a:pt x="275" y="96"/>
                  </a:lnTo>
                  <a:lnTo>
                    <a:pt x="273" y="96"/>
                  </a:lnTo>
                  <a:lnTo>
                    <a:pt x="273" y="98"/>
                  </a:lnTo>
                  <a:lnTo>
                    <a:pt x="273" y="96"/>
                  </a:lnTo>
                  <a:lnTo>
                    <a:pt x="271" y="96"/>
                  </a:lnTo>
                  <a:lnTo>
                    <a:pt x="271" y="94"/>
                  </a:lnTo>
                  <a:lnTo>
                    <a:pt x="273" y="94"/>
                  </a:lnTo>
                  <a:lnTo>
                    <a:pt x="273" y="92"/>
                  </a:lnTo>
                  <a:lnTo>
                    <a:pt x="271" y="92"/>
                  </a:lnTo>
                  <a:lnTo>
                    <a:pt x="271" y="90"/>
                  </a:lnTo>
                  <a:lnTo>
                    <a:pt x="269" y="90"/>
                  </a:lnTo>
                  <a:lnTo>
                    <a:pt x="269" y="92"/>
                  </a:lnTo>
                  <a:lnTo>
                    <a:pt x="267" y="92"/>
                  </a:lnTo>
                  <a:lnTo>
                    <a:pt x="265" y="92"/>
                  </a:lnTo>
                  <a:lnTo>
                    <a:pt x="267" y="92"/>
                  </a:lnTo>
                  <a:lnTo>
                    <a:pt x="265" y="92"/>
                  </a:lnTo>
                  <a:lnTo>
                    <a:pt x="265" y="94"/>
                  </a:lnTo>
                  <a:lnTo>
                    <a:pt x="265" y="92"/>
                  </a:lnTo>
                  <a:lnTo>
                    <a:pt x="263" y="92"/>
                  </a:lnTo>
                  <a:lnTo>
                    <a:pt x="261" y="92"/>
                  </a:lnTo>
                  <a:lnTo>
                    <a:pt x="259" y="92"/>
                  </a:lnTo>
                  <a:lnTo>
                    <a:pt x="259" y="90"/>
                  </a:lnTo>
                  <a:lnTo>
                    <a:pt x="258" y="90"/>
                  </a:lnTo>
                  <a:lnTo>
                    <a:pt x="258" y="92"/>
                  </a:lnTo>
                  <a:lnTo>
                    <a:pt x="258" y="90"/>
                  </a:lnTo>
                  <a:lnTo>
                    <a:pt x="256" y="90"/>
                  </a:lnTo>
                  <a:lnTo>
                    <a:pt x="254" y="90"/>
                  </a:lnTo>
                  <a:lnTo>
                    <a:pt x="252" y="90"/>
                  </a:lnTo>
                  <a:lnTo>
                    <a:pt x="250" y="90"/>
                  </a:lnTo>
                  <a:lnTo>
                    <a:pt x="250" y="92"/>
                  </a:lnTo>
                  <a:lnTo>
                    <a:pt x="248" y="92"/>
                  </a:lnTo>
                  <a:lnTo>
                    <a:pt x="248" y="94"/>
                  </a:lnTo>
                  <a:lnTo>
                    <a:pt x="246" y="94"/>
                  </a:lnTo>
                  <a:lnTo>
                    <a:pt x="244" y="94"/>
                  </a:lnTo>
                  <a:lnTo>
                    <a:pt x="244" y="92"/>
                  </a:lnTo>
                  <a:lnTo>
                    <a:pt x="242" y="92"/>
                  </a:lnTo>
                  <a:lnTo>
                    <a:pt x="242" y="90"/>
                  </a:lnTo>
                  <a:lnTo>
                    <a:pt x="242" y="92"/>
                  </a:lnTo>
                  <a:lnTo>
                    <a:pt x="240" y="92"/>
                  </a:lnTo>
                  <a:lnTo>
                    <a:pt x="240" y="94"/>
                  </a:lnTo>
                  <a:lnTo>
                    <a:pt x="238" y="94"/>
                  </a:lnTo>
                  <a:lnTo>
                    <a:pt x="236" y="94"/>
                  </a:lnTo>
                  <a:lnTo>
                    <a:pt x="234" y="94"/>
                  </a:lnTo>
                  <a:lnTo>
                    <a:pt x="233" y="94"/>
                  </a:lnTo>
                  <a:lnTo>
                    <a:pt x="233" y="96"/>
                  </a:lnTo>
                  <a:lnTo>
                    <a:pt x="231" y="96"/>
                  </a:lnTo>
                  <a:lnTo>
                    <a:pt x="229" y="96"/>
                  </a:lnTo>
                  <a:lnTo>
                    <a:pt x="227" y="96"/>
                  </a:lnTo>
                  <a:lnTo>
                    <a:pt x="227" y="94"/>
                  </a:lnTo>
                  <a:lnTo>
                    <a:pt x="227" y="96"/>
                  </a:lnTo>
                  <a:lnTo>
                    <a:pt x="227" y="94"/>
                  </a:lnTo>
                  <a:lnTo>
                    <a:pt x="227" y="96"/>
                  </a:lnTo>
                  <a:lnTo>
                    <a:pt x="227" y="94"/>
                  </a:lnTo>
                  <a:lnTo>
                    <a:pt x="225" y="94"/>
                  </a:lnTo>
                  <a:lnTo>
                    <a:pt x="223" y="94"/>
                  </a:lnTo>
                  <a:lnTo>
                    <a:pt x="221" y="94"/>
                  </a:lnTo>
                  <a:lnTo>
                    <a:pt x="219" y="94"/>
                  </a:lnTo>
                  <a:lnTo>
                    <a:pt x="219" y="96"/>
                  </a:lnTo>
                  <a:lnTo>
                    <a:pt x="217" y="96"/>
                  </a:lnTo>
                  <a:lnTo>
                    <a:pt x="215" y="96"/>
                  </a:lnTo>
                  <a:lnTo>
                    <a:pt x="215" y="98"/>
                  </a:lnTo>
                  <a:lnTo>
                    <a:pt x="213" y="98"/>
                  </a:lnTo>
                  <a:lnTo>
                    <a:pt x="213" y="100"/>
                  </a:lnTo>
                  <a:lnTo>
                    <a:pt x="211" y="100"/>
                  </a:lnTo>
                  <a:lnTo>
                    <a:pt x="210" y="100"/>
                  </a:lnTo>
                  <a:lnTo>
                    <a:pt x="208" y="100"/>
                  </a:lnTo>
                  <a:lnTo>
                    <a:pt x="208" y="102"/>
                  </a:lnTo>
                  <a:lnTo>
                    <a:pt x="206" y="102"/>
                  </a:lnTo>
                  <a:lnTo>
                    <a:pt x="204" y="102"/>
                  </a:lnTo>
                  <a:lnTo>
                    <a:pt x="202" y="102"/>
                  </a:lnTo>
                  <a:lnTo>
                    <a:pt x="200" y="102"/>
                  </a:lnTo>
                  <a:lnTo>
                    <a:pt x="200" y="104"/>
                  </a:lnTo>
                  <a:lnTo>
                    <a:pt x="198" y="104"/>
                  </a:lnTo>
                  <a:lnTo>
                    <a:pt x="198" y="102"/>
                  </a:lnTo>
                  <a:lnTo>
                    <a:pt x="196" y="102"/>
                  </a:lnTo>
                  <a:lnTo>
                    <a:pt x="194" y="102"/>
                  </a:lnTo>
                  <a:lnTo>
                    <a:pt x="192" y="102"/>
                  </a:lnTo>
                  <a:lnTo>
                    <a:pt x="190" y="102"/>
                  </a:lnTo>
                  <a:lnTo>
                    <a:pt x="190" y="100"/>
                  </a:lnTo>
                  <a:lnTo>
                    <a:pt x="188" y="100"/>
                  </a:lnTo>
                  <a:lnTo>
                    <a:pt x="187" y="100"/>
                  </a:lnTo>
                  <a:lnTo>
                    <a:pt x="187" y="98"/>
                  </a:lnTo>
                  <a:lnTo>
                    <a:pt x="185" y="98"/>
                  </a:lnTo>
                  <a:lnTo>
                    <a:pt x="183" y="98"/>
                  </a:lnTo>
                  <a:lnTo>
                    <a:pt x="183" y="100"/>
                  </a:lnTo>
                  <a:lnTo>
                    <a:pt x="181" y="100"/>
                  </a:lnTo>
                  <a:lnTo>
                    <a:pt x="179" y="100"/>
                  </a:lnTo>
                  <a:lnTo>
                    <a:pt x="179" y="102"/>
                  </a:lnTo>
                  <a:lnTo>
                    <a:pt x="177" y="102"/>
                  </a:lnTo>
                  <a:lnTo>
                    <a:pt x="175" y="102"/>
                  </a:lnTo>
                  <a:lnTo>
                    <a:pt x="173" y="102"/>
                  </a:lnTo>
                  <a:lnTo>
                    <a:pt x="173" y="104"/>
                  </a:lnTo>
                  <a:lnTo>
                    <a:pt x="171" y="104"/>
                  </a:lnTo>
                  <a:lnTo>
                    <a:pt x="169" y="104"/>
                  </a:lnTo>
                  <a:lnTo>
                    <a:pt x="167" y="104"/>
                  </a:lnTo>
                  <a:lnTo>
                    <a:pt x="167" y="102"/>
                  </a:lnTo>
                  <a:lnTo>
                    <a:pt x="165" y="102"/>
                  </a:lnTo>
                  <a:lnTo>
                    <a:pt x="167" y="102"/>
                  </a:lnTo>
                  <a:lnTo>
                    <a:pt x="165" y="102"/>
                  </a:lnTo>
                  <a:lnTo>
                    <a:pt x="165" y="100"/>
                  </a:lnTo>
                  <a:lnTo>
                    <a:pt x="165" y="102"/>
                  </a:lnTo>
                  <a:lnTo>
                    <a:pt x="163" y="102"/>
                  </a:lnTo>
                  <a:lnTo>
                    <a:pt x="163" y="100"/>
                  </a:lnTo>
                  <a:lnTo>
                    <a:pt x="162" y="100"/>
                  </a:lnTo>
                  <a:lnTo>
                    <a:pt x="162" y="102"/>
                  </a:lnTo>
                  <a:lnTo>
                    <a:pt x="160" y="102"/>
                  </a:lnTo>
                  <a:lnTo>
                    <a:pt x="162" y="102"/>
                  </a:lnTo>
                  <a:lnTo>
                    <a:pt x="160" y="102"/>
                  </a:lnTo>
                  <a:lnTo>
                    <a:pt x="160" y="104"/>
                  </a:lnTo>
                  <a:lnTo>
                    <a:pt x="160" y="106"/>
                  </a:lnTo>
                  <a:lnTo>
                    <a:pt x="160" y="107"/>
                  </a:lnTo>
                  <a:lnTo>
                    <a:pt x="160" y="109"/>
                  </a:lnTo>
                  <a:lnTo>
                    <a:pt x="162" y="109"/>
                  </a:lnTo>
                  <a:lnTo>
                    <a:pt x="162" y="111"/>
                  </a:lnTo>
                  <a:lnTo>
                    <a:pt x="160" y="111"/>
                  </a:lnTo>
                  <a:lnTo>
                    <a:pt x="162" y="111"/>
                  </a:lnTo>
                  <a:lnTo>
                    <a:pt x="160" y="111"/>
                  </a:lnTo>
                  <a:lnTo>
                    <a:pt x="158" y="111"/>
                  </a:lnTo>
                  <a:lnTo>
                    <a:pt x="158" y="113"/>
                  </a:lnTo>
                  <a:lnTo>
                    <a:pt x="158" y="115"/>
                  </a:lnTo>
                  <a:lnTo>
                    <a:pt x="156" y="115"/>
                  </a:lnTo>
                  <a:lnTo>
                    <a:pt x="154" y="115"/>
                  </a:lnTo>
                  <a:lnTo>
                    <a:pt x="154" y="117"/>
                  </a:lnTo>
                  <a:lnTo>
                    <a:pt x="154" y="119"/>
                  </a:lnTo>
                  <a:lnTo>
                    <a:pt x="154" y="117"/>
                  </a:lnTo>
                  <a:lnTo>
                    <a:pt x="152" y="117"/>
                  </a:lnTo>
                  <a:lnTo>
                    <a:pt x="152" y="115"/>
                  </a:lnTo>
                  <a:lnTo>
                    <a:pt x="152" y="117"/>
                  </a:lnTo>
                  <a:lnTo>
                    <a:pt x="150" y="117"/>
                  </a:lnTo>
                  <a:lnTo>
                    <a:pt x="150" y="115"/>
                  </a:lnTo>
                  <a:lnTo>
                    <a:pt x="152" y="115"/>
                  </a:lnTo>
                  <a:lnTo>
                    <a:pt x="150" y="115"/>
                  </a:lnTo>
                  <a:lnTo>
                    <a:pt x="150" y="113"/>
                  </a:lnTo>
                  <a:lnTo>
                    <a:pt x="150" y="111"/>
                  </a:lnTo>
                  <a:lnTo>
                    <a:pt x="148" y="111"/>
                  </a:lnTo>
                  <a:lnTo>
                    <a:pt x="148" y="109"/>
                  </a:lnTo>
                  <a:lnTo>
                    <a:pt x="148" y="107"/>
                  </a:lnTo>
                  <a:lnTo>
                    <a:pt x="150" y="107"/>
                  </a:lnTo>
                  <a:lnTo>
                    <a:pt x="150" y="106"/>
                  </a:lnTo>
                  <a:lnTo>
                    <a:pt x="152" y="106"/>
                  </a:lnTo>
                  <a:lnTo>
                    <a:pt x="154" y="106"/>
                  </a:lnTo>
                  <a:lnTo>
                    <a:pt x="154" y="104"/>
                  </a:lnTo>
                  <a:lnTo>
                    <a:pt x="154" y="102"/>
                  </a:lnTo>
                  <a:lnTo>
                    <a:pt x="154" y="100"/>
                  </a:lnTo>
                  <a:lnTo>
                    <a:pt x="154" y="98"/>
                  </a:lnTo>
                  <a:lnTo>
                    <a:pt x="152" y="98"/>
                  </a:lnTo>
                  <a:lnTo>
                    <a:pt x="150" y="98"/>
                  </a:lnTo>
                  <a:lnTo>
                    <a:pt x="150" y="100"/>
                  </a:lnTo>
                  <a:lnTo>
                    <a:pt x="148" y="100"/>
                  </a:lnTo>
                  <a:lnTo>
                    <a:pt x="148" y="102"/>
                  </a:lnTo>
                  <a:lnTo>
                    <a:pt x="146" y="102"/>
                  </a:lnTo>
                  <a:lnTo>
                    <a:pt x="148" y="102"/>
                  </a:lnTo>
                  <a:lnTo>
                    <a:pt x="146" y="102"/>
                  </a:lnTo>
                  <a:lnTo>
                    <a:pt x="146" y="104"/>
                  </a:lnTo>
                  <a:lnTo>
                    <a:pt x="144" y="104"/>
                  </a:lnTo>
                  <a:lnTo>
                    <a:pt x="144" y="106"/>
                  </a:lnTo>
                  <a:lnTo>
                    <a:pt x="144" y="104"/>
                  </a:lnTo>
                  <a:lnTo>
                    <a:pt x="142" y="104"/>
                  </a:lnTo>
                  <a:lnTo>
                    <a:pt x="142" y="106"/>
                  </a:lnTo>
                  <a:lnTo>
                    <a:pt x="140" y="106"/>
                  </a:lnTo>
                  <a:lnTo>
                    <a:pt x="140" y="104"/>
                  </a:lnTo>
                  <a:lnTo>
                    <a:pt x="139" y="104"/>
                  </a:lnTo>
                  <a:lnTo>
                    <a:pt x="139" y="102"/>
                  </a:lnTo>
                  <a:lnTo>
                    <a:pt x="137" y="102"/>
                  </a:lnTo>
                  <a:lnTo>
                    <a:pt x="135" y="102"/>
                  </a:lnTo>
                  <a:lnTo>
                    <a:pt x="135" y="100"/>
                  </a:lnTo>
                  <a:lnTo>
                    <a:pt x="133" y="100"/>
                  </a:lnTo>
                  <a:lnTo>
                    <a:pt x="131" y="100"/>
                  </a:lnTo>
                  <a:lnTo>
                    <a:pt x="133" y="100"/>
                  </a:lnTo>
                  <a:lnTo>
                    <a:pt x="131" y="100"/>
                  </a:lnTo>
                  <a:lnTo>
                    <a:pt x="131" y="102"/>
                  </a:lnTo>
                  <a:lnTo>
                    <a:pt x="129" y="102"/>
                  </a:lnTo>
                  <a:lnTo>
                    <a:pt x="129" y="104"/>
                  </a:lnTo>
                  <a:lnTo>
                    <a:pt x="127" y="104"/>
                  </a:lnTo>
                  <a:lnTo>
                    <a:pt x="125" y="104"/>
                  </a:lnTo>
                  <a:lnTo>
                    <a:pt x="125" y="106"/>
                  </a:lnTo>
                  <a:lnTo>
                    <a:pt x="125" y="107"/>
                  </a:lnTo>
                  <a:lnTo>
                    <a:pt x="125" y="106"/>
                  </a:lnTo>
                  <a:lnTo>
                    <a:pt x="125" y="107"/>
                  </a:lnTo>
                  <a:lnTo>
                    <a:pt x="123" y="107"/>
                  </a:lnTo>
                  <a:lnTo>
                    <a:pt x="125" y="107"/>
                  </a:lnTo>
                  <a:lnTo>
                    <a:pt x="123" y="107"/>
                  </a:lnTo>
                  <a:lnTo>
                    <a:pt x="125" y="107"/>
                  </a:lnTo>
                  <a:lnTo>
                    <a:pt x="123" y="107"/>
                  </a:lnTo>
                  <a:lnTo>
                    <a:pt x="123" y="109"/>
                  </a:lnTo>
                  <a:lnTo>
                    <a:pt x="121" y="109"/>
                  </a:lnTo>
                  <a:lnTo>
                    <a:pt x="121" y="111"/>
                  </a:lnTo>
                  <a:lnTo>
                    <a:pt x="121" y="109"/>
                  </a:lnTo>
                  <a:lnTo>
                    <a:pt x="119" y="109"/>
                  </a:lnTo>
                  <a:lnTo>
                    <a:pt x="119" y="111"/>
                  </a:lnTo>
                  <a:lnTo>
                    <a:pt x="117" y="111"/>
                  </a:lnTo>
                  <a:lnTo>
                    <a:pt x="117" y="113"/>
                  </a:lnTo>
                  <a:lnTo>
                    <a:pt x="117" y="111"/>
                  </a:lnTo>
                  <a:lnTo>
                    <a:pt x="116" y="111"/>
                  </a:lnTo>
                  <a:lnTo>
                    <a:pt x="116" y="113"/>
                  </a:lnTo>
                  <a:lnTo>
                    <a:pt x="116" y="111"/>
                  </a:lnTo>
                  <a:lnTo>
                    <a:pt x="116" y="113"/>
                  </a:lnTo>
                  <a:lnTo>
                    <a:pt x="116" y="111"/>
                  </a:lnTo>
                  <a:lnTo>
                    <a:pt x="114" y="111"/>
                  </a:lnTo>
                  <a:lnTo>
                    <a:pt x="114" y="113"/>
                  </a:lnTo>
                  <a:lnTo>
                    <a:pt x="114" y="111"/>
                  </a:lnTo>
                  <a:lnTo>
                    <a:pt x="114" y="113"/>
                  </a:lnTo>
                  <a:lnTo>
                    <a:pt x="114" y="111"/>
                  </a:lnTo>
                  <a:lnTo>
                    <a:pt x="112" y="111"/>
                  </a:lnTo>
                  <a:lnTo>
                    <a:pt x="112" y="113"/>
                  </a:lnTo>
                  <a:lnTo>
                    <a:pt x="110" y="113"/>
                  </a:lnTo>
                  <a:lnTo>
                    <a:pt x="108" y="113"/>
                  </a:lnTo>
                  <a:lnTo>
                    <a:pt x="110" y="113"/>
                  </a:lnTo>
                  <a:lnTo>
                    <a:pt x="108" y="113"/>
                  </a:lnTo>
                  <a:lnTo>
                    <a:pt x="106" y="113"/>
                  </a:lnTo>
                  <a:lnTo>
                    <a:pt x="106" y="115"/>
                  </a:lnTo>
                  <a:lnTo>
                    <a:pt x="104" y="115"/>
                  </a:lnTo>
                  <a:lnTo>
                    <a:pt x="102" y="115"/>
                  </a:lnTo>
                  <a:lnTo>
                    <a:pt x="102" y="113"/>
                  </a:lnTo>
                  <a:lnTo>
                    <a:pt x="100" y="113"/>
                  </a:lnTo>
                  <a:lnTo>
                    <a:pt x="98" y="111"/>
                  </a:lnTo>
                  <a:lnTo>
                    <a:pt x="96" y="111"/>
                  </a:lnTo>
                  <a:lnTo>
                    <a:pt x="96" y="109"/>
                  </a:lnTo>
                  <a:lnTo>
                    <a:pt x="96" y="107"/>
                  </a:lnTo>
                  <a:lnTo>
                    <a:pt x="94" y="107"/>
                  </a:lnTo>
                  <a:lnTo>
                    <a:pt x="94" y="106"/>
                  </a:lnTo>
                  <a:lnTo>
                    <a:pt x="92" y="106"/>
                  </a:lnTo>
                  <a:lnTo>
                    <a:pt x="92" y="104"/>
                  </a:lnTo>
                  <a:lnTo>
                    <a:pt x="91" y="104"/>
                  </a:lnTo>
                  <a:lnTo>
                    <a:pt x="91" y="106"/>
                  </a:lnTo>
                  <a:lnTo>
                    <a:pt x="91" y="104"/>
                  </a:lnTo>
                  <a:lnTo>
                    <a:pt x="89" y="104"/>
                  </a:lnTo>
                  <a:lnTo>
                    <a:pt x="87" y="104"/>
                  </a:lnTo>
                  <a:lnTo>
                    <a:pt x="87" y="102"/>
                  </a:lnTo>
                  <a:lnTo>
                    <a:pt x="85" y="102"/>
                  </a:lnTo>
                  <a:lnTo>
                    <a:pt x="85" y="100"/>
                  </a:lnTo>
                  <a:lnTo>
                    <a:pt x="83" y="100"/>
                  </a:lnTo>
                  <a:lnTo>
                    <a:pt x="81" y="100"/>
                  </a:lnTo>
                  <a:lnTo>
                    <a:pt x="79" y="100"/>
                  </a:lnTo>
                  <a:lnTo>
                    <a:pt x="77" y="100"/>
                  </a:lnTo>
                  <a:lnTo>
                    <a:pt x="75" y="100"/>
                  </a:lnTo>
                  <a:lnTo>
                    <a:pt x="73" y="100"/>
                  </a:lnTo>
                  <a:lnTo>
                    <a:pt x="71" y="100"/>
                  </a:lnTo>
                  <a:lnTo>
                    <a:pt x="71" y="102"/>
                  </a:lnTo>
                  <a:lnTo>
                    <a:pt x="71" y="104"/>
                  </a:lnTo>
                  <a:lnTo>
                    <a:pt x="73" y="104"/>
                  </a:lnTo>
                  <a:lnTo>
                    <a:pt x="71" y="104"/>
                  </a:lnTo>
                  <a:lnTo>
                    <a:pt x="71" y="106"/>
                  </a:lnTo>
                  <a:lnTo>
                    <a:pt x="71" y="107"/>
                  </a:lnTo>
                  <a:lnTo>
                    <a:pt x="71" y="109"/>
                  </a:lnTo>
                  <a:lnTo>
                    <a:pt x="71" y="107"/>
                  </a:lnTo>
                  <a:lnTo>
                    <a:pt x="71" y="109"/>
                  </a:lnTo>
                  <a:lnTo>
                    <a:pt x="69" y="109"/>
                  </a:lnTo>
                  <a:lnTo>
                    <a:pt x="69" y="111"/>
                  </a:lnTo>
                  <a:lnTo>
                    <a:pt x="69" y="109"/>
                  </a:lnTo>
                  <a:lnTo>
                    <a:pt x="69" y="111"/>
                  </a:lnTo>
                  <a:lnTo>
                    <a:pt x="69" y="109"/>
                  </a:lnTo>
                  <a:lnTo>
                    <a:pt x="68" y="109"/>
                  </a:lnTo>
                  <a:lnTo>
                    <a:pt x="66" y="109"/>
                  </a:lnTo>
                  <a:lnTo>
                    <a:pt x="66" y="111"/>
                  </a:lnTo>
                  <a:lnTo>
                    <a:pt x="66" y="109"/>
                  </a:lnTo>
                  <a:lnTo>
                    <a:pt x="64" y="109"/>
                  </a:lnTo>
                  <a:lnTo>
                    <a:pt x="64" y="111"/>
                  </a:lnTo>
                  <a:lnTo>
                    <a:pt x="62" y="111"/>
                  </a:lnTo>
                  <a:lnTo>
                    <a:pt x="60" y="111"/>
                  </a:lnTo>
                  <a:lnTo>
                    <a:pt x="62" y="111"/>
                  </a:lnTo>
                  <a:lnTo>
                    <a:pt x="60" y="113"/>
                  </a:lnTo>
                  <a:lnTo>
                    <a:pt x="60" y="111"/>
                  </a:lnTo>
                  <a:lnTo>
                    <a:pt x="60" y="113"/>
                  </a:lnTo>
                  <a:lnTo>
                    <a:pt x="60" y="111"/>
                  </a:lnTo>
                  <a:lnTo>
                    <a:pt x="58" y="111"/>
                  </a:lnTo>
                  <a:lnTo>
                    <a:pt x="58" y="113"/>
                  </a:lnTo>
                  <a:lnTo>
                    <a:pt x="58" y="111"/>
                  </a:lnTo>
                  <a:lnTo>
                    <a:pt x="56" y="111"/>
                  </a:lnTo>
                  <a:lnTo>
                    <a:pt x="54" y="111"/>
                  </a:lnTo>
                  <a:lnTo>
                    <a:pt x="56" y="111"/>
                  </a:lnTo>
                  <a:lnTo>
                    <a:pt x="56" y="109"/>
                  </a:lnTo>
                  <a:lnTo>
                    <a:pt x="54" y="109"/>
                  </a:lnTo>
                  <a:lnTo>
                    <a:pt x="54" y="111"/>
                  </a:lnTo>
                  <a:lnTo>
                    <a:pt x="54" y="109"/>
                  </a:lnTo>
                  <a:lnTo>
                    <a:pt x="52" y="109"/>
                  </a:lnTo>
                  <a:lnTo>
                    <a:pt x="50" y="109"/>
                  </a:lnTo>
                  <a:lnTo>
                    <a:pt x="50" y="107"/>
                  </a:lnTo>
                  <a:lnTo>
                    <a:pt x="52" y="107"/>
                  </a:lnTo>
                  <a:lnTo>
                    <a:pt x="50" y="107"/>
                  </a:lnTo>
                  <a:lnTo>
                    <a:pt x="50" y="106"/>
                  </a:lnTo>
                  <a:lnTo>
                    <a:pt x="48" y="106"/>
                  </a:lnTo>
                  <a:lnTo>
                    <a:pt x="50" y="106"/>
                  </a:lnTo>
                  <a:lnTo>
                    <a:pt x="50" y="104"/>
                  </a:lnTo>
                  <a:lnTo>
                    <a:pt x="50" y="102"/>
                  </a:lnTo>
                  <a:lnTo>
                    <a:pt x="48" y="102"/>
                  </a:lnTo>
                  <a:lnTo>
                    <a:pt x="50" y="102"/>
                  </a:lnTo>
                  <a:lnTo>
                    <a:pt x="48" y="102"/>
                  </a:lnTo>
                  <a:lnTo>
                    <a:pt x="46" y="102"/>
                  </a:lnTo>
                  <a:lnTo>
                    <a:pt x="46" y="104"/>
                  </a:lnTo>
                  <a:lnTo>
                    <a:pt x="48" y="104"/>
                  </a:lnTo>
                  <a:lnTo>
                    <a:pt x="46" y="104"/>
                  </a:lnTo>
                  <a:lnTo>
                    <a:pt x="46" y="102"/>
                  </a:lnTo>
                  <a:lnTo>
                    <a:pt x="44" y="102"/>
                  </a:lnTo>
                  <a:lnTo>
                    <a:pt x="43" y="102"/>
                  </a:lnTo>
                  <a:lnTo>
                    <a:pt x="44" y="102"/>
                  </a:lnTo>
                  <a:lnTo>
                    <a:pt x="43" y="102"/>
                  </a:lnTo>
                  <a:lnTo>
                    <a:pt x="44" y="102"/>
                  </a:lnTo>
                  <a:lnTo>
                    <a:pt x="43" y="102"/>
                  </a:lnTo>
                  <a:lnTo>
                    <a:pt x="44" y="102"/>
                  </a:lnTo>
                  <a:lnTo>
                    <a:pt x="43" y="102"/>
                  </a:lnTo>
                  <a:lnTo>
                    <a:pt x="44" y="102"/>
                  </a:lnTo>
                  <a:lnTo>
                    <a:pt x="44" y="100"/>
                  </a:lnTo>
                  <a:lnTo>
                    <a:pt x="43" y="100"/>
                  </a:lnTo>
                  <a:lnTo>
                    <a:pt x="41" y="100"/>
                  </a:lnTo>
                  <a:lnTo>
                    <a:pt x="43" y="100"/>
                  </a:lnTo>
                  <a:lnTo>
                    <a:pt x="41" y="100"/>
                  </a:lnTo>
                  <a:lnTo>
                    <a:pt x="39" y="100"/>
                  </a:lnTo>
                  <a:lnTo>
                    <a:pt x="39" y="102"/>
                  </a:lnTo>
                  <a:lnTo>
                    <a:pt x="37" y="102"/>
                  </a:lnTo>
                  <a:lnTo>
                    <a:pt x="39" y="102"/>
                  </a:lnTo>
                  <a:lnTo>
                    <a:pt x="37" y="102"/>
                  </a:lnTo>
                  <a:lnTo>
                    <a:pt x="37" y="104"/>
                  </a:lnTo>
                  <a:lnTo>
                    <a:pt x="35" y="104"/>
                  </a:lnTo>
                  <a:lnTo>
                    <a:pt x="35" y="106"/>
                  </a:lnTo>
                  <a:lnTo>
                    <a:pt x="35" y="104"/>
                  </a:lnTo>
                  <a:lnTo>
                    <a:pt x="35" y="106"/>
                  </a:lnTo>
                  <a:lnTo>
                    <a:pt x="35" y="104"/>
                  </a:lnTo>
                  <a:lnTo>
                    <a:pt x="35" y="106"/>
                  </a:lnTo>
                  <a:lnTo>
                    <a:pt x="35" y="104"/>
                  </a:lnTo>
                  <a:lnTo>
                    <a:pt x="33" y="104"/>
                  </a:lnTo>
                  <a:lnTo>
                    <a:pt x="35" y="104"/>
                  </a:lnTo>
                  <a:lnTo>
                    <a:pt x="35" y="102"/>
                  </a:lnTo>
                  <a:lnTo>
                    <a:pt x="35" y="104"/>
                  </a:lnTo>
                  <a:lnTo>
                    <a:pt x="35" y="102"/>
                  </a:lnTo>
                  <a:lnTo>
                    <a:pt x="35" y="104"/>
                  </a:lnTo>
                  <a:lnTo>
                    <a:pt x="33" y="104"/>
                  </a:lnTo>
                  <a:lnTo>
                    <a:pt x="33" y="102"/>
                  </a:lnTo>
                  <a:lnTo>
                    <a:pt x="35" y="102"/>
                  </a:lnTo>
                  <a:lnTo>
                    <a:pt x="33" y="102"/>
                  </a:lnTo>
                  <a:lnTo>
                    <a:pt x="35" y="102"/>
                  </a:lnTo>
                  <a:lnTo>
                    <a:pt x="33" y="102"/>
                  </a:lnTo>
                  <a:lnTo>
                    <a:pt x="35" y="102"/>
                  </a:lnTo>
                  <a:lnTo>
                    <a:pt x="37" y="102"/>
                  </a:lnTo>
                  <a:lnTo>
                    <a:pt x="35" y="102"/>
                  </a:lnTo>
                  <a:lnTo>
                    <a:pt x="37" y="102"/>
                  </a:lnTo>
                  <a:lnTo>
                    <a:pt x="35" y="102"/>
                  </a:lnTo>
                  <a:lnTo>
                    <a:pt x="37" y="102"/>
                  </a:lnTo>
                  <a:lnTo>
                    <a:pt x="37" y="100"/>
                  </a:lnTo>
                  <a:lnTo>
                    <a:pt x="35" y="100"/>
                  </a:lnTo>
                  <a:lnTo>
                    <a:pt x="35" y="102"/>
                  </a:lnTo>
                  <a:lnTo>
                    <a:pt x="35" y="100"/>
                  </a:lnTo>
                  <a:lnTo>
                    <a:pt x="35" y="102"/>
                  </a:lnTo>
                  <a:lnTo>
                    <a:pt x="33" y="102"/>
                  </a:lnTo>
                  <a:lnTo>
                    <a:pt x="35" y="102"/>
                  </a:lnTo>
                  <a:lnTo>
                    <a:pt x="33" y="102"/>
                  </a:lnTo>
                  <a:lnTo>
                    <a:pt x="31" y="102"/>
                  </a:lnTo>
                  <a:lnTo>
                    <a:pt x="29" y="102"/>
                  </a:lnTo>
                  <a:lnTo>
                    <a:pt x="29" y="104"/>
                  </a:lnTo>
                  <a:lnTo>
                    <a:pt x="29" y="102"/>
                  </a:lnTo>
                  <a:lnTo>
                    <a:pt x="27" y="102"/>
                  </a:lnTo>
                  <a:lnTo>
                    <a:pt x="27" y="104"/>
                  </a:lnTo>
                  <a:lnTo>
                    <a:pt x="27" y="102"/>
                  </a:lnTo>
                  <a:lnTo>
                    <a:pt x="27" y="104"/>
                  </a:lnTo>
                  <a:lnTo>
                    <a:pt x="27" y="102"/>
                  </a:lnTo>
                  <a:lnTo>
                    <a:pt x="27" y="104"/>
                  </a:lnTo>
                  <a:lnTo>
                    <a:pt x="27" y="102"/>
                  </a:lnTo>
                  <a:lnTo>
                    <a:pt x="27" y="104"/>
                  </a:lnTo>
                  <a:lnTo>
                    <a:pt x="25" y="104"/>
                  </a:lnTo>
                  <a:lnTo>
                    <a:pt x="25" y="102"/>
                  </a:lnTo>
                  <a:lnTo>
                    <a:pt x="27" y="102"/>
                  </a:lnTo>
                  <a:lnTo>
                    <a:pt x="29" y="102"/>
                  </a:lnTo>
                  <a:lnTo>
                    <a:pt x="29" y="100"/>
                  </a:lnTo>
                  <a:lnTo>
                    <a:pt x="31" y="100"/>
                  </a:lnTo>
                  <a:lnTo>
                    <a:pt x="33" y="100"/>
                  </a:lnTo>
                  <a:lnTo>
                    <a:pt x="35" y="100"/>
                  </a:lnTo>
                  <a:lnTo>
                    <a:pt x="35" y="98"/>
                  </a:lnTo>
                  <a:lnTo>
                    <a:pt x="37" y="98"/>
                  </a:lnTo>
                  <a:lnTo>
                    <a:pt x="35" y="98"/>
                  </a:lnTo>
                  <a:lnTo>
                    <a:pt x="37" y="98"/>
                  </a:lnTo>
                  <a:lnTo>
                    <a:pt x="37" y="96"/>
                  </a:lnTo>
                  <a:lnTo>
                    <a:pt x="39" y="96"/>
                  </a:lnTo>
                  <a:lnTo>
                    <a:pt x="39" y="98"/>
                  </a:lnTo>
                  <a:lnTo>
                    <a:pt x="39" y="96"/>
                  </a:lnTo>
                  <a:lnTo>
                    <a:pt x="37" y="96"/>
                  </a:lnTo>
                  <a:lnTo>
                    <a:pt x="35" y="96"/>
                  </a:lnTo>
                  <a:lnTo>
                    <a:pt x="33" y="96"/>
                  </a:lnTo>
                  <a:lnTo>
                    <a:pt x="31" y="96"/>
                  </a:lnTo>
                  <a:lnTo>
                    <a:pt x="31" y="98"/>
                  </a:lnTo>
                  <a:lnTo>
                    <a:pt x="31" y="96"/>
                  </a:lnTo>
                  <a:lnTo>
                    <a:pt x="31" y="98"/>
                  </a:lnTo>
                  <a:lnTo>
                    <a:pt x="31" y="96"/>
                  </a:lnTo>
                  <a:lnTo>
                    <a:pt x="31" y="98"/>
                  </a:lnTo>
                  <a:lnTo>
                    <a:pt x="31" y="96"/>
                  </a:lnTo>
                  <a:lnTo>
                    <a:pt x="31" y="98"/>
                  </a:lnTo>
                  <a:lnTo>
                    <a:pt x="31" y="96"/>
                  </a:lnTo>
                  <a:lnTo>
                    <a:pt x="29" y="96"/>
                  </a:lnTo>
                  <a:lnTo>
                    <a:pt x="29" y="98"/>
                  </a:lnTo>
                  <a:lnTo>
                    <a:pt x="29" y="96"/>
                  </a:lnTo>
                  <a:lnTo>
                    <a:pt x="29" y="98"/>
                  </a:lnTo>
                  <a:lnTo>
                    <a:pt x="27" y="98"/>
                  </a:lnTo>
                  <a:lnTo>
                    <a:pt x="29" y="98"/>
                  </a:lnTo>
                  <a:lnTo>
                    <a:pt x="27" y="98"/>
                  </a:lnTo>
                  <a:lnTo>
                    <a:pt x="27" y="96"/>
                  </a:lnTo>
                  <a:lnTo>
                    <a:pt x="27" y="98"/>
                  </a:lnTo>
                  <a:lnTo>
                    <a:pt x="27" y="96"/>
                  </a:lnTo>
                  <a:lnTo>
                    <a:pt x="27" y="98"/>
                  </a:lnTo>
                  <a:lnTo>
                    <a:pt x="27" y="96"/>
                  </a:lnTo>
                  <a:lnTo>
                    <a:pt x="25" y="96"/>
                  </a:lnTo>
                  <a:lnTo>
                    <a:pt x="27" y="96"/>
                  </a:lnTo>
                  <a:lnTo>
                    <a:pt x="25" y="96"/>
                  </a:lnTo>
                  <a:lnTo>
                    <a:pt x="25" y="98"/>
                  </a:lnTo>
                  <a:lnTo>
                    <a:pt x="23" y="98"/>
                  </a:lnTo>
                  <a:lnTo>
                    <a:pt x="23" y="96"/>
                  </a:lnTo>
                  <a:lnTo>
                    <a:pt x="23" y="94"/>
                  </a:lnTo>
                  <a:lnTo>
                    <a:pt x="25" y="94"/>
                  </a:lnTo>
                  <a:lnTo>
                    <a:pt x="27" y="94"/>
                  </a:lnTo>
                  <a:lnTo>
                    <a:pt x="25" y="94"/>
                  </a:lnTo>
                  <a:lnTo>
                    <a:pt x="27" y="94"/>
                  </a:lnTo>
                  <a:lnTo>
                    <a:pt x="27" y="96"/>
                  </a:lnTo>
                  <a:lnTo>
                    <a:pt x="27" y="94"/>
                  </a:lnTo>
                  <a:lnTo>
                    <a:pt x="29" y="94"/>
                  </a:lnTo>
                  <a:lnTo>
                    <a:pt x="27" y="94"/>
                  </a:lnTo>
                  <a:lnTo>
                    <a:pt x="27" y="92"/>
                  </a:lnTo>
                  <a:lnTo>
                    <a:pt x="29" y="92"/>
                  </a:lnTo>
                  <a:lnTo>
                    <a:pt x="29" y="94"/>
                  </a:lnTo>
                  <a:lnTo>
                    <a:pt x="29" y="92"/>
                  </a:lnTo>
                  <a:lnTo>
                    <a:pt x="29" y="94"/>
                  </a:lnTo>
                  <a:lnTo>
                    <a:pt x="29" y="92"/>
                  </a:lnTo>
                  <a:lnTo>
                    <a:pt x="27" y="92"/>
                  </a:lnTo>
                  <a:lnTo>
                    <a:pt x="27" y="90"/>
                  </a:lnTo>
                  <a:lnTo>
                    <a:pt x="27" y="92"/>
                  </a:lnTo>
                  <a:lnTo>
                    <a:pt x="25" y="92"/>
                  </a:lnTo>
                  <a:lnTo>
                    <a:pt x="25" y="90"/>
                  </a:lnTo>
                  <a:lnTo>
                    <a:pt x="25" y="92"/>
                  </a:lnTo>
                  <a:lnTo>
                    <a:pt x="25" y="90"/>
                  </a:lnTo>
                  <a:lnTo>
                    <a:pt x="25" y="88"/>
                  </a:lnTo>
                  <a:lnTo>
                    <a:pt x="25" y="90"/>
                  </a:lnTo>
                  <a:lnTo>
                    <a:pt x="25" y="88"/>
                  </a:lnTo>
                  <a:lnTo>
                    <a:pt x="25" y="90"/>
                  </a:lnTo>
                  <a:lnTo>
                    <a:pt x="23" y="90"/>
                  </a:lnTo>
                  <a:lnTo>
                    <a:pt x="23" y="88"/>
                  </a:lnTo>
                  <a:lnTo>
                    <a:pt x="23" y="86"/>
                  </a:lnTo>
                  <a:lnTo>
                    <a:pt x="21" y="86"/>
                  </a:lnTo>
                  <a:lnTo>
                    <a:pt x="21" y="84"/>
                  </a:lnTo>
                  <a:lnTo>
                    <a:pt x="21" y="86"/>
                  </a:lnTo>
                  <a:lnTo>
                    <a:pt x="21" y="84"/>
                  </a:lnTo>
                  <a:lnTo>
                    <a:pt x="20" y="84"/>
                  </a:lnTo>
                  <a:lnTo>
                    <a:pt x="21" y="84"/>
                  </a:lnTo>
                  <a:lnTo>
                    <a:pt x="23" y="84"/>
                  </a:lnTo>
                  <a:lnTo>
                    <a:pt x="23" y="82"/>
                  </a:lnTo>
                  <a:lnTo>
                    <a:pt x="23" y="81"/>
                  </a:lnTo>
                  <a:lnTo>
                    <a:pt x="23" y="79"/>
                  </a:lnTo>
                  <a:lnTo>
                    <a:pt x="21" y="79"/>
                  </a:lnTo>
                  <a:lnTo>
                    <a:pt x="21" y="77"/>
                  </a:lnTo>
                  <a:lnTo>
                    <a:pt x="20" y="77"/>
                  </a:lnTo>
                  <a:lnTo>
                    <a:pt x="18" y="77"/>
                  </a:lnTo>
                  <a:lnTo>
                    <a:pt x="18" y="79"/>
                  </a:lnTo>
                  <a:lnTo>
                    <a:pt x="18" y="77"/>
                  </a:lnTo>
                  <a:lnTo>
                    <a:pt x="18" y="75"/>
                  </a:lnTo>
                  <a:lnTo>
                    <a:pt x="16" y="75"/>
                  </a:lnTo>
                  <a:lnTo>
                    <a:pt x="18" y="75"/>
                  </a:lnTo>
                  <a:lnTo>
                    <a:pt x="16" y="75"/>
                  </a:lnTo>
                  <a:lnTo>
                    <a:pt x="14" y="75"/>
                  </a:lnTo>
                  <a:lnTo>
                    <a:pt x="14" y="77"/>
                  </a:lnTo>
                  <a:lnTo>
                    <a:pt x="14" y="75"/>
                  </a:lnTo>
                  <a:lnTo>
                    <a:pt x="14" y="77"/>
                  </a:lnTo>
                  <a:lnTo>
                    <a:pt x="14" y="75"/>
                  </a:lnTo>
                  <a:lnTo>
                    <a:pt x="12" y="75"/>
                  </a:lnTo>
                  <a:lnTo>
                    <a:pt x="14" y="75"/>
                  </a:lnTo>
                  <a:lnTo>
                    <a:pt x="12" y="75"/>
                  </a:lnTo>
                  <a:lnTo>
                    <a:pt x="14" y="75"/>
                  </a:lnTo>
                  <a:lnTo>
                    <a:pt x="12" y="75"/>
                  </a:lnTo>
                  <a:lnTo>
                    <a:pt x="10" y="75"/>
                  </a:lnTo>
                  <a:lnTo>
                    <a:pt x="12" y="75"/>
                  </a:lnTo>
                  <a:lnTo>
                    <a:pt x="10" y="75"/>
                  </a:lnTo>
                  <a:lnTo>
                    <a:pt x="12" y="75"/>
                  </a:lnTo>
                  <a:lnTo>
                    <a:pt x="12" y="73"/>
                  </a:lnTo>
                  <a:lnTo>
                    <a:pt x="10" y="73"/>
                  </a:lnTo>
                  <a:lnTo>
                    <a:pt x="10" y="75"/>
                  </a:lnTo>
                  <a:lnTo>
                    <a:pt x="10" y="73"/>
                  </a:lnTo>
                  <a:lnTo>
                    <a:pt x="8" y="73"/>
                  </a:lnTo>
                  <a:lnTo>
                    <a:pt x="10" y="73"/>
                  </a:lnTo>
                  <a:lnTo>
                    <a:pt x="10" y="71"/>
                  </a:lnTo>
                  <a:lnTo>
                    <a:pt x="10" y="73"/>
                  </a:lnTo>
                  <a:lnTo>
                    <a:pt x="10" y="71"/>
                  </a:lnTo>
                  <a:lnTo>
                    <a:pt x="10" y="73"/>
                  </a:lnTo>
                  <a:lnTo>
                    <a:pt x="12" y="73"/>
                  </a:lnTo>
                  <a:lnTo>
                    <a:pt x="12" y="71"/>
                  </a:lnTo>
                  <a:lnTo>
                    <a:pt x="12" y="69"/>
                  </a:lnTo>
                  <a:lnTo>
                    <a:pt x="12" y="71"/>
                  </a:lnTo>
                  <a:lnTo>
                    <a:pt x="12" y="69"/>
                  </a:lnTo>
                  <a:lnTo>
                    <a:pt x="10" y="69"/>
                  </a:lnTo>
                  <a:lnTo>
                    <a:pt x="12" y="69"/>
                  </a:lnTo>
                  <a:lnTo>
                    <a:pt x="10" y="69"/>
                  </a:lnTo>
                  <a:lnTo>
                    <a:pt x="12" y="69"/>
                  </a:lnTo>
                  <a:lnTo>
                    <a:pt x="10" y="69"/>
                  </a:lnTo>
                  <a:lnTo>
                    <a:pt x="10" y="67"/>
                  </a:lnTo>
                  <a:lnTo>
                    <a:pt x="10" y="65"/>
                  </a:lnTo>
                  <a:lnTo>
                    <a:pt x="12" y="65"/>
                  </a:lnTo>
                  <a:lnTo>
                    <a:pt x="12" y="67"/>
                  </a:lnTo>
                  <a:lnTo>
                    <a:pt x="12" y="65"/>
                  </a:lnTo>
                  <a:lnTo>
                    <a:pt x="12" y="67"/>
                  </a:lnTo>
                  <a:lnTo>
                    <a:pt x="14" y="67"/>
                  </a:lnTo>
                  <a:lnTo>
                    <a:pt x="14" y="69"/>
                  </a:lnTo>
                  <a:lnTo>
                    <a:pt x="14" y="71"/>
                  </a:lnTo>
                  <a:lnTo>
                    <a:pt x="14" y="73"/>
                  </a:lnTo>
                  <a:lnTo>
                    <a:pt x="16" y="73"/>
                  </a:lnTo>
                  <a:lnTo>
                    <a:pt x="14" y="73"/>
                  </a:lnTo>
                  <a:lnTo>
                    <a:pt x="16" y="73"/>
                  </a:lnTo>
                  <a:lnTo>
                    <a:pt x="16" y="71"/>
                  </a:lnTo>
                  <a:lnTo>
                    <a:pt x="18" y="71"/>
                  </a:lnTo>
                  <a:lnTo>
                    <a:pt x="20" y="71"/>
                  </a:lnTo>
                  <a:lnTo>
                    <a:pt x="21" y="71"/>
                  </a:lnTo>
                  <a:lnTo>
                    <a:pt x="20" y="71"/>
                  </a:lnTo>
                  <a:lnTo>
                    <a:pt x="21" y="71"/>
                  </a:lnTo>
                  <a:lnTo>
                    <a:pt x="21" y="69"/>
                  </a:lnTo>
                  <a:lnTo>
                    <a:pt x="21" y="71"/>
                  </a:lnTo>
                  <a:lnTo>
                    <a:pt x="21" y="69"/>
                  </a:lnTo>
                  <a:lnTo>
                    <a:pt x="21" y="71"/>
                  </a:lnTo>
                  <a:lnTo>
                    <a:pt x="21" y="69"/>
                  </a:lnTo>
                  <a:lnTo>
                    <a:pt x="21" y="71"/>
                  </a:lnTo>
                  <a:lnTo>
                    <a:pt x="21" y="69"/>
                  </a:lnTo>
                  <a:lnTo>
                    <a:pt x="20" y="69"/>
                  </a:lnTo>
                  <a:lnTo>
                    <a:pt x="20" y="71"/>
                  </a:lnTo>
                  <a:lnTo>
                    <a:pt x="20" y="69"/>
                  </a:lnTo>
                  <a:lnTo>
                    <a:pt x="20" y="71"/>
                  </a:lnTo>
                  <a:lnTo>
                    <a:pt x="20" y="69"/>
                  </a:lnTo>
                  <a:lnTo>
                    <a:pt x="20" y="71"/>
                  </a:lnTo>
                  <a:lnTo>
                    <a:pt x="20" y="69"/>
                  </a:lnTo>
                  <a:lnTo>
                    <a:pt x="20" y="71"/>
                  </a:lnTo>
                  <a:lnTo>
                    <a:pt x="20" y="69"/>
                  </a:lnTo>
                  <a:lnTo>
                    <a:pt x="20" y="71"/>
                  </a:lnTo>
                  <a:lnTo>
                    <a:pt x="20" y="69"/>
                  </a:lnTo>
                  <a:lnTo>
                    <a:pt x="18" y="69"/>
                  </a:lnTo>
                  <a:lnTo>
                    <a:pt x="18" y="67"/>
                  </a:lnTo>
                  <a:lnTo>
                    <a:pt x="16" y="67"/>
                  </a:lnTo>
                  <a:lnTo>
                    <a:pt x="16" y="65"/>
                  </a:lnTo>
                  <a:lnTo>
                    <a:pt x="16" y="67"/>
                  </a:lnTo>
                  <a:lnTo>
                    <a:pt x="16" y="65"/>
                  </a:lnTo>
                  <a:lnTo>
                    <a:pt x="18" y="65"/>
                  </a:lnTo>
                  <a:lnTo>
                    <a:pt x="18" y="63"/>
                  </a:lnTo>
                  <a:lnTo>
                    <a:pt x="18" y="65"/>
                  </a:lnTo>
                  <a:lnTo>
                    <a:pt x="18" y="63"/>
                  </a:lnTo>
                  <a:lnTo>
                    <a:pt x="20" y="63"/>
                  </a:lnTo>
                  <a:lnTo>
                    <a:pt x="18" y="63"/>
                  </a:lnTo>
                  <a:lnTo>
                    <a:pt x="20" y="63"/>
                  </a:lnTo>
                  <a:lnTo>
                    <a:pt x="20" y="61"/>
                  </a:lnTo>
                  <a:lnTo>
                    <a:pt x="21" y="61"/>
                  </a:lnTo>
                  <a:lnTo>
                    <a:pt x="20" y="61"/>
                  </a:lnTo>
                  <a:lnTo>
                    <a:pt x="21" y="61"/>
                  </a:lnTo>
                  <a:lnTo>
                    <a:pt x="20" y="61"/>
                  </a:lnTo>
                  <a:lnTo>
                    <a:pt x="18" y="61"/>
                  </a:lnTo>
                  <a:lnTo>
                    <a:pt x="18" y="59"/>
                  </a:lnTo>
                  <a:lnTo>
                    <a:pt x="18" y="58"/>
                  </a:lnTo>
                  <a:lnTo>
                    <a:pt x="18" y="56"/>
                  </a:lnTo>
                  <a:lnTo>
                    <a:pt x="16" y="56"/>
                  </a:lnTo>
                  <a:lnTo>
                    <a:pt x="16" y="54"/>
                  </a:lnTo>
                  <a:lnTo>
                    <a:pt x="14" y="54"/>
                  </a:lnTo>
                  <a:lnTo>
                    <a:pt x="16" y="54"/>
                  </a:lnTo>
                  <a:lnTo>
                    <a:pt x="14" y="54"/>
                  </a:lnTo>
                  <a:lnTo>
                    <a:pt x="16" y="54"/>
                  </a:lnTo>
                  <a:lnTo>
                    <a:pt x="14" y="54"/>
                  </a:lnTo>
                  <a:lnTo>
                    <a:pt x="16" y="54"/>
                  </a:lnTo>
                  <a:lnTo>
                    <a:pt x="16" y="52"/>
                  </a:lnTo>
                  <a:lnTo>
                    <a:pt x="18" y="52"/>
                  </a:lnTo>
                  <a:lnTo>
                    <a:pt x="18" y="50"/>
                  </a:lnTo>
                  <a:lnTo>
                    <a:pt x="20" y="50"/>
                  </a:lnTo>
                  <a:lnTo>
                    <a:pt x="20" y="48"/>
                  </a:lnTo>
                  <a:lnTo>
                    <a:pt x="18" y="48"/>
                  </a:lnTo>
                  <a:lnTo>
                    <a:pt x="18" y="50"/>
                  </a:lnTo>
                  <a:lnTo>
                    <a:pt x="18" y="48"/>
                  </a:lnTo>
                  <a:lnTo>
                    <a:pt x="18" y="50"/>
                  </a:lnTo>
                  <a:lnTo>
                    <a:pt x="18" y="48"/>
                  </a:lnTo>
                  <a:lnTo>
                    <a:pt x="16" y="48"/>
                  </a:lnTo>
                  <a:lnTo>
                    <a:pt x="16" y="50"/>
                  </a:lnTo>
                  <a:lnTo>
                    <a:pt x="16" y="48"/>
                  </a:lnTo>
                  <a:lnTo>
                    <a:pt x="16" y="50"/>
                  </a:lnTo>
                  <a:lnTo>
                    <a:pt x="14" y="50"/>
                  </a:lnTo>
                  <a:lnTo>
                    <a:pt x="12" y="50"/>
                  </a:lnTo>
                  <a:lnTo>
                    <a:pt x="10" y="50"/>
                  </a:lnTo>
                  <a:lnTo>
                    <a:pt x="8" y="50"/>
                  </a:lnTo>
                  <a:lnTo>
                    <a:pt x="8" y="52"/>
                  </a:lnTo>
                  <a:lnTo>
                    <a:pt x="8" y="50"/>
                  </a:lnTo>
                  <a:lnTo>
                    <a:pt x="8" y="52"/>
                  </a:lnTo>
                  <a:lnTo>
                    <a:pt x="6" y="52"/>
                  </a:lnTo>
                  <a:lnTo>
                    <a:pt x="6" y="50"/>
                  </a:lnTo>
                  <a:lnTo>
                    <a:pt x="6" y="48"/>
                  </a:lnTo>
                  <a:lnTo>
                    <a:pt x="8" y="48"/>
                  </a:lnTo>
                  <a:lnTo>
                    <a:pt x="8" y="46"/>
                  </a:lnTo>
                  <a:lnTo>
                    <a:pt x="8" y="44"/>
                  </a:lnTo>
                  <a:lnTo>
                    <a:pt x="8" y="42"/>
                  </a:lnTo>
                  <a:lnTo>
                    <a:pt x="8" y="44"/>
                  </a:lnTo>
                  <a:lnTo>
                    <a:pt x="8" y="42"/>
                  </a:lnTo>
                  <a:lnTo>
                    <a:pt x="8" y="40"/>
                  </a:lnTo>
                  <a:lnTo>
                    <a:pt x="10" y="40"/>
                  </a:lnTo>
                  <a:lnTo>
                    <a:pt x="10" y="38"/>
                  </a:lnTo>
                  <a:lnTo>
                    <a:pt x="12" y="38"/>
                  </a:lnTo>
                  <a:lnTo>
                    <a:pt x="12" y="36"/>
                  </a:lnTo>
                  <a:lnTo>
                    <a:pt x="14" y="36"/>
                  </a:lnTo>
                  <a:lnTo>
                    <a:pt x="14" y="34"/>
                  </a:lnTo>
                  <a:lnTo>
                    <a:pt x="16" y="34"/>
                  </a:lnTo>
                  <a:lnTo>
                    <a:pt x="16" y="33"/>
                  </a:lnTo>
                  <a:lnTo>
                    <a:pt x="18" y="33"/>
                  </a:lnTo>
                  <a:lnTo>
                    <a:pt x="20" y="33"/>
                  </a:lnTo>
                  <a:lnTo>
                    <a:pt x="21" y="33"/>
                  </a:lnTo>
                  <a:lnTo>
                    <a:pt x="23" y="33"/>
                  </a:lnTo>
                  <a:lnTo>
                    <a:pt x="23" y="31"/>
                  </a:lnTo>
                  <a:lnTo>
                    <a:pt x="23" y="33"/>
                  </a:lnTo>
                  <a:lnTo>
                    <a:pt x="25" y="33"/>
                  </a:lnTo>
                  <a:lnTo>
                    <a:pt x="23" y="33"/>
                  </a:lnTo>
                  <a:lnTo>
                    <a:pt x="25" y="33"/>
                  </a:lnTo>
                  <a:lnTo>
                    <a:pt x="25" y="34"/>
                  </a:lnTo>
                  <a:lnTo>
                    <a:pt x="27" y="34"/>
                  </a:lnTo>
                  <a:lnTo>
                    <a:pt x="29" y="34"/>
                  </a:lnTo>
                  <a:lnTo>
                    <a:pt x="31" y="34"/>
                  </a:lnTo>
                  <a:lnTo>
                    <a:pt x="33" y="34"/>
                  </a:lnTo>
                  <a:lnTo>
                    <a:pt x="33" y="33"/>
                  </a:lnTo>
                  <a:lnTo>
                    <a:pt x="31" y="33"/>
                  </a:lnTo>
                  <a:lnTo>
                    <a:pt x="29" y="33"/>
                  </a:lnTo>
                  <a:lnTo>
                    <a:pt x="29" y="31"/>
                  </a:lnTo>
                  <a:lnTo>
                    <a:pt x="31" y="31"/>
                  </a:lnTo>
                  <a:lnTo>
                    <a:pt x="33" y="31"/>
                  </a:lnTo>
                  <a:lnTo>
                    <a:pt x="35" y="31"/>
                  </a:lnTo>
                  <a:lnTo>
                    <a:pt x="35" y="33"/>
                  </a:lnTo>
                  <a:lnTo>
                    <a:pt x="33" y="33"/>
                  </a:lnTo>
                  <a:lnTo>
                    <a:pt x="33" y="34"/>
                  </a:lnTo>
                  <a:lnTo>
                    <a:pt x="33" y="33"/>
                  </a:lnTo>
                  <a:lnTo>
                    <a:pt x="33" y="34"/>
                  </a:lnTo>
                  <a:lnTo>
                    <a:pt x="35" y="34"/>
                  </a:lnTo>
                  <a:lnTo>
                    <a:pt x="33" y="34"/>
                  </a:lnTo>
                  <a:lnTo>
                    <a:pt x="35" y="34"/>
                  </a:lnTo>
                  <a:lnTo>
                    <a:pt x="35" y="33"/>
                  </a:lnTo>
                  <a:lnTo>
                    <a:pt x="35" y="34"/>
                  </a:lnTo>
                  <a:lnTo>
                    <a:pt x="35" y="33"/>
                  </a:lnTo>
                  <a:lnTo>
                    <a:pt x="35" y="34"/>
                  </a:lnTo>
                  <a:lnTo>
                    <a:pt x="35" y="33"/>
                  </a:lnTo>
                  <a:lnTo>
                    <a:pt x="35" y="34"/>
                  </a:lnTo>
                  <a:lnTo>
                    <a:pt x="35" y="33"/>
                  </a:lnTo>
                  <a:lnTo>
                    <a:pt x="35" y="34"/>
                  </a:lnTo>
                  <a:lnTo>
                    <a:pt x="35" y="33"/>
                  </a:lnTo>
                  <a:lnTo>
                    <a:pt x="37" y="33"/>
                  </a:lnTo>
                  <a:lnTo>
                    <a:pt x="39" y="33"/>
                  </a:lnTo>
                  <a:lnTo>
                    <a:pt x="41" y="33"/>
                  </a:lnTo>
                  <a:lnTo>
                    <a:pt x="43" y="33"/>
                  </a:lnTo>
                  <a:lnTo>
                    <a:pt x="43" y="34"/>
                  </a:lnTo>
                  <a:lnTo>
                    <a:pt x="44" y="34"/>
                  </a:lnTo>
                  <a:lnTo>
                    <a:pt x="44" y="33"/>
                  </a:lnTo>
                  <a:lnTo>
                    <a:pt x="46" y="33"/>
                  </a:lnTo>
                  <a:lnTo>
                    <a:pt x="48" y="33"/>
                  </a:lnTo>
                  <a:lnTo>
                    <a:pt x="48" y="34"/>
                  </a:lnTo>
                  <a:lnTo>
                    <a:pt x="50" y="34"/>
                  </a:lnTo>
                  <a:lnTo>
                    <a:pt x="50" y="33"/>
                  </a:lnTo>
                  <a:lnTo>
                    <a:pt x="52" y="33"/>
                  </a:lnTo>
                  <a:lnTo>
                    <a:pt x="50" y="33"/>
                  </a:lnTo>
                  <a:lnTo>
                    <a:pt x="50" y="31"/>
                  </a:lnTo>
                  <a:lnTo>
                    <a:pt x="50" y="33"/>
                  </a:lnTo>
                  <a:lnTo>
                    <a:pt x="48" y="33"/>
                  </a:lnTo>
                  <a:lnTo>
                    <a:pt x="48" y="31"/>
                  </a:lnTo>
                  <a:lnTo>
                    <a:pt x="46" y="31"/>
                  </a:lnTo>
                  <a:lnTo>
                    <a:pt x="48" y="31"/>
                  </a:lnTo>
                  <a:lnTo>
                    <a:pt x="46" y="31"/>
                  </a:lnTo>
                  <a:lnTo>
                    <a:pt x="46" y="29"/>
                  </a:lnTo>
                  <a:lnTo>
                    <a:pt x="48" y="29"/>
                  </a:lnTo>
                  <a:lnTo>
                    <a:pt x="50" y="29"/>
                  </a:lnTo>
                  <a:lnTo>
                    <a:pt x="52" y="29"/>
                  </a:lnTo>
                  <a:lnTo>
                    <a:pt x="54" y="29"/>
                  </a:lnTo>
                  <a:lnTo>
                    <a:pt x="54" y="27"/>
                  </a:lnTo>
                  <a:lnTo>
                    <a:pt x="56" y="27"/>
                  </a:lnTo>
                  <a:lnTo>
                    <a:pt x="58" y="27"/>
                  </a:lnTo>
                  <a:lnTo>
                    <a:pt x="60" y="27"/>
                  </a:lnTo>
                  <a:lnTo>
                    <a:pt x="62" y="27"/>
                  </a:lnTo>
                  <a:lnTo>
                    <a:pt x="64" y="27"/>
                  </a:lnTo>
                  <a:lnTo>
                    <a:pt x="62" y="27"/>
                  </a:lnTo>
                  <a:lnTo>
                    <a:pt x="60" y="27"/>
                  </a:lnTo>
                  <a:lnTo>
                    <a:pt x="60" y="25"/>
                  </a:lnTo>
                  <a:lnTo>
                    <a:pt x="60" y="27"/>
                  </a:lnTo>
                  <a:lnTo>
                    <a:pt x="60" y="25"/>
                  </a:lnTo>
                  <a:lnTo>
                    <a:pt x="60" y="27"/>
                  </a:lnTo>
                  <a:lnTo>
                    <a:pt x="60" y="25"/>
                  </a:lnTo>
                  <a:lnTo>
                    <a:pt x="60" y="27"/>
                  </a:lnTo>
                  <a:lnTo>
                    <a:pt x="60" y="25"/>
                  </a:lnTo>
                  <a:lnTo>
                    <a:pt x="60" y="27"/>
                  </a:lnTo>
                  <a:lnTo>
                    <a:pt x="60" y="25"/>
                  </a:lnTo>
                  <a:lnTo>
                    <a:pt x="58" y="25"/>
                  </a:lnTo>
                  <a:lnTo>
                    <a:pt x="58" y="27"/>
                  </a:lnTo>
                  <a:lnTo>
                    <a:pt x="58" y="25"/>
                  </a:lnTo>
                  <a:lnTo>
                    <a:pt x="58" y="27"/>
                  </a:lnTo>
                  <a:lnTo>
                    <a:pt x="56" y="27"/>
                  </a:lnTo>
                  <a:lnTo>
                    <a:pt x="56" y="25"/>
                  </a:lnTo>
                  <a:lnTo>
                    <a:pt x="56" y="27"/>
                  </a:lnTo>
                  <a:lnTo>
                    <a:pt x="56" y="25"/>
                  </a:lnTo>
                  <a:lnTo>
                    <a:pt x="56" y="27"/>
                  </a:lnTo>
                  <a:lnTo>
                    <a:pt x="56" y="25"/>
                  </a:lnTo>
                  <a:lnTo>
                    <a:pt x="56" y="27"/>
                  </a:lnTo>
                  <a:lnTo>
                    <a:pt x="54" y="27"/>
                  </a:lnTo>
                  <a:lnTo>
                    <a:pt x="54" y="25"/>
                  </a:lnTo>
                  <a:lnTo>
                    <a:pt x="52" y="25"/>
                  </a:lnTo>
                  <a:lnTo>
                    <a:pt x="54" y="25"/>
                  </a:lnTo>
                  <a:lnTo>
                    <a:pt x="52" y="25"/>
                  </a:lnTo>
                  <a:lnTo>
                    <a:pt x="54" y="25"/>
                  </a:lnTo>
                  <a:lnTo>
                    <a:pt x="52" y="25"/>
                  </a:lnTo>
                  <a:lnTo>
                    <a:pt x="54" y="25"/>
                  </a:lnTo>
                  <a:lnTo>
                    <a:pt x="52" y="25"/>
                  </a:lnTo>
                  <a:lnTo>
                    <a:pt x="52" y="23"/>
                  </a:lnTo>
                  <a:lnTo>
                    <a:pt x="52" y="25"/>
                  </a:lnTo>
                  <a:lnTo>
                    <a:pt x="52" y="23"/>
                  </a:lnTo>
                  <a:lnTo>
                    <a:pt x="50" y="23"/>
                  </a:lnTo>
                  <a:lnTo>
                    <a:pt x="50" y="21"/>
                  </a:lnTo>
                  <a:lnTo>
                    <a:pt x="50" y="23"/>
                  </a:lnTo>
                  <a:lnTo>
                    <a:pt x="50" y="21"/>
                  </a:lnTo>
                  <a:lnTo>
                    <a:pt x="48" y="21"/>
                  </a:lnTo>
                  <a:lnTo>
                    <a:pt x="50" y="21"/>
                  </a:lnTo>
                  <a:lnTo>
                    <a:pt x="50" y="19"/>
                  </a:lnTo>
                  <a:lnTo>
                    <a:pt x="50" y="17"/>
                  </a:lnTo>
                  <a:lnTo>
                    <a:pt x="52" y="17"/>
                  </a:lnTo>
                  <a:lnTo>
                    <a:pt x="54" y="17"/>
                  </a:lnTo>
                  <a:lnTo>
                    <a:pt x="56" y="17"/>
                  </a:lnTo>
                  <a:lnTo>
                    <a:pt x="58" y="17"/>
                  </a:lnTo>
                  <a:lnTo>
                    <a:pt x="58" y="19"/>
                  </a:lnTo>
                  <a:lnTo>
                    <a:pt x="58" y="17"/>
                  </a:lnTo>
                  <a:lnTo>
                    <a:pt x="58" y="19"/>
                  </a:lnTo>
                  <a:lnTo>
                    <a:pt x="60" y="19"/>
                  </a:lnTo>
                  <a:lnTo>
                    <a:pt x="62" y="19"/>
                  </a:lnTo>
                  <a:lnTo>
                    <a:pt x="64" y="19"/>
                  </a:lnTo>
                  <a:lnTo>
                    <a:pt x="66" y="19"/>
                  </a:lnTo>
                  <a:lnTo>
                    <a:pt x="68" y="19"/>
                  </a:lnTo>
                  <a:lnTo>
                    <a:pt x="66" y="19"/>
                  </a:lnTo>
                  <a:lnTo>
                    <a:pt x="68" y="19"/>
                  </a:lnTo>
                  <a:lnTo>
                    <a:pt x="68" y="17"/>
                  </a:lnTo>
                  <a:lnTo>
                    <a:pt x="69" y="17"/>
                  </a:lnTo>
                  <a:lnTo>
                    <a:pt x="69" y="19"/>
                  </a:lnTo>
                  <a:lnTo>
                    <a:pt x="71" y="19"/>
                  </a:lnTo>
                  <a:lnTo>
                    <a:pt x="73" y="19"/>
                  </a:lnTo>
                  <a:lnTo>
                    <a:pt x="75" y="19"/>
                  </a:lnTo>
                  <a:lnTo>
                    <a:pt x="77" y="19"/>
                  </a:lnTo>
                  <a:lnTo>
                    <a:pt x="79" y="19"/>
                  </a:lnTo>
                  <a:lnTo>
                    <a:pt x="81" y="19"/>
                  </a:lnTo>
                  <a:lnTo>
                    <a:pt x="83" y="19"/>
                  </a:lnTo>
                  <a:lnTo>
                    <a:pt x="83" y="17"/>
                  </a:lnTo>
                  <a:lnTo>
                    <a:pt x="85" y="17"/>
                  </a:lnTo>
                  <a:lnTo>
                    <a:pt x="85" y="15"/>
                  </a:lnTo>
                  <a:lnTo>
                    <a:pt x="85" y="17"/>
                  </a:lnTo>
                  <a:lnTo>
                    <a:pt x="85" y="15"/>
                  </a:lnTo>
                  <a:lnTo>
                    <a:pt x="85" y="17"/>
                  </a:lnTo>
                  <a:lnTo>
                    <a:pt x="85" y="15"/>
                  </a:lnTo>
                  <a:lnTo>
                    <a:pt x="87" y="15"/>
                  </a:lnTo>
                  <a:lnTo>
                    <a:pt x="87" y="13"/>
                  </a:lnTo>
                  <a:lnTo>
                    <a:pt x="87" y="15"/>
                  </a:lnTo>
                  <a:lnTo>
                    <a:pt x="87" y="13"/>
                  </a:lnTo>
                  <a:lnTo>
                    <a:pt x="89" y="13"/>
                  </a:lnTo>
                  <a:lnTo>
                    <a:pt x="91" y="13"/>
                  </a:lnTo>
                  <a:lnTo>
                    <a:pt x="91" y="11"/>
                  </a:lnTo>
                  <a:lnTo>
                    <a:pt x="92" y="11"/>
                  </a:lnTo>
                  <a:lnTo>
                    <a:pt x="92" y="9"/>
                  </a:lnTo>
                  <a:lnTo>
                    <a:pt x="94" y="9"/>
                  </a:lnTo>
                  <a:lnTo>
                    <a:pt x="96" y="9"/>
                  </a:lnTo>
                  <a:lnTo>
                    <a:pt x="96" y="8"/>
                  </a:lnTo>
                  <a:lnTo>
                    <a:pt x="98" y="8"/>
                  </a:lnTo>
                  <a:lnTo>
                    <a:pt x="98" y="6"/>
                  </a:lnTo>
                  <a:lnTo>
                    <a:pt x="100" y="6"/>
                  </a:lnTo>
                  <a:lnTo>
                    <a:pt x="102" y="6"/>
                  </a:lnTo>
                  <a:lnTo>
                    <a:pt x="104" y="6"/>
                  </a:lnTo>
                  <a:lnTo>
                    <a:pt x="104" y="4"/>
                  </a:lnTo>
                  <a:lnTo>
                    <a:pt x="106" y="4"/>
                  </a:lnTo>
                  <a:lnTo>
                    <a:pt x="108" y="4"/>
                  </a:lnTo>
                  <a:lnTo>
                    <a:pt x="110" y="4"/>
                  </a:lnTo>
                  <a:lnTo>
                    <a:pt x="110" y="2"/>
                  </a:lnTo>
                  <a:lnTo>
                    <a:pt x="112" y="2"/>
                  </a:lnTo>
                  <a:lnTo>
                    <a:pt x="114" y="2"/>
                  </a:lnTo>
                  <a:lnTo>
                    <a:pt x="116" y="2"/>
                  </a:lnTo>
                  <a:lnTo>
                    <a:pt x="117" y="2"/>
                  </a:lnTo>
                  <a:lnTo>
                    <a:pt x="119" y="2"/>
                  </a:lnTo>
                  <a:lnTo>
                    <a:pt x="121" y="2"/>
                  </a:lnTo>
                  <a:lnTo>
                    <a:pt x="123" y="2"/>
                  </a:lnTo>
                  <a:lnTo>
                    <a:pt x="125" y="2"/>
                  </a:lnTo>
                  <a:lnTo>
                    <a:pt x="125" y="4"/>
                  </a:lnTo>
                  <a:lnTo>
                    <a:pt x="127" y="4"/>
                  </a:lnTo>
                  <a:lnTo>
                    <a:pt x="127" y="2"/>
                  </a:lnTo>
                  <a:lnTo>
                    <a:pt x="127" y="4"/>
                  </a:lnTo>
                  <a:lnTo>
                    <a:pt x="127" y="2"/>
                  </a:lnTo>
                  <a:lnTo>
                    <a:pt x="127" y="4"/>
                  </a:lnTo>
                  <a:lnTo>
                    <a:pt x="129" y="2"/>
                  </a:lnTo>
                  <a:lnTo>
                    <a:pt x="131" y="2"/>
                  </a:lnTo>
                  <a:lnTo>
                    <a:pt x="131" y="4"/>
                  </a:lnTo>
                  <a:lnTo>
                    <a:pt x="133" y="4"/>
                  </a:lnTo>
                  <a:lnTo>
                    <a:pt x="133" y="2"/>
                  </a:lnTo>
                  <a:lnTo>
                    <a:pt x="133" y="4"/>
                  </a:lnTo>
                  <a:lnTo>
                    <a:pt x="133" y="2"/>
                  </a:lnTo>
                  <a:lnTo>
                    <a:pt x="133" y="4"/>
                  </a:lnTo>
                  <a:lnTo>
                    <a:pt x="133" y="2"/>
                  </a:lnTo>
                  <a:lnTo>
                    <a:pt x="135" y="2"/>
                  </a:lnTo>
                  <a:lnTo>
                    <a:pt x="137" y="2"/>
                  </a:lnTo>
                  <a:lnTo>
                    <a:pt x="137" y="0"/>
                  </a:lnTo>
                  <a:lnTo>
                    <a:pt x="139" y="0"/>
                  </a:lnTo>
                  <a:lnTo>
                    <a:pt x="137" y="0"/>
                  </a:lnTo>
                  <a:lnTo>
                    <a:pt x="137" y="2"/>
                  </a:lnTo>
                  <a:lnTo>
                    <a:pt x="137" y="0"/>
                  </a:lnTo>
                  <a:lnTo>
                    <a:pt x="137" y="2"/>
                  </a:lnTo>
                  <a:lnTo>
                    <a:pt x="139" y="2"/>
                  </a:lnTo>
                  <a:lnTo>
                    <a:pt x="140" y="2"/>
                  </a:lnTo>
                  <a:lnTo>
                    <a:pt x="139" y="2"/>
                  </a:lnTo>
                  <a:lnTo>
                    <a:pt x="139" y="4"/>
                  </a:lnTo>
                  <a:lnTo>
                    <a:pt x="139" y="6"/>
                  </a:lnTo>
                  <a:lnTo>
                    <a:pt x="140" y="6"/>
                  </a:lnTo>
                  <a:lnTo>
                    <a:pt x="140" y="8"/>
                  </a:lnTo>
                  <a:lnTo>
                    <a:pt x="142" y="8"/>
                  </a:lnTo>
                  <a:lnTo>
                    <a:pt x="144" y="8"/>
                  </a:lnTo>
                  <a:lnTo>
                    <a:pt x="144" y="9"/>
                  </a:lnTo>
                  <a:lnTo>
                    <a:pt x="146" y="9"/>
                  </a:lnTo>
                  <a:lnTo>
                    <a:pt x="148" y="9"/>
                  </a:lnTo>
                  <a:lnTo>
                    <a:pt x="148" y="8"/>
                  </a:lnTo>
                  <a:lnTo>
                    <a:pt x="150" y="8"/>
                  </a:lnTo>
                  <a:lnTo>
                    <a:pt x="152" y="8"/>
                  </a:lnTo>
                  <a:lnTo>
                    <a:pt x="152" y="9"/>
                  </a:lnTo>
                  <a:lnTo>
                    <a:pt x="154" y="9"/>
                  </a:lnTo>
                  <a:lnTo>
                    <a:pt x="154" y="11"/>
                  </a:lnTo>
                  <a:lnTo>
                    <a:pt x="154" y="13"/>
                  </a:lnTo>
                  <a:lnTo>
                    <a:pt x="156" y="13"/>
                  </a:lnTo>
                  <a:lnTo>
                    <a:pt x="156" y="15"/>
                  </a:lnTo>
                  <a:lnTo>
                    <a:pt x="158" y="15"/>
                  </a:lnTo>
                  <a:lnTo>
                    <a:pt x="158" y="17"/>
                  </a:lnTo>
                  <a:lnTo>
                    <a:pt x="160" y="17"/>
                  </a:lnTo>
                  <a:lnTo>
                    <a:pt x="160" y="15"/>
                  </a:lnTo>
                  <a:lnTo>
                    <a:pt x="160" y="13"/>
                  </a:lnTo>
                  <a:lnTo>
                    <a:pt x="162" y="13"/>
                  </a:lnTo>
                  <a:lnTo>
                    <a:pt x="162" y="15"/>
                  </a:lnTo>
                  <a:lnTo>
                    <a:pt x="163" y="15"/>
                  </a:lnTo>
                  <a:lnTo>
                    <a:pt x="165" y="15"/>
                  </a:lnTo>
                  <a:lnTo>
                    <a:pt x="167" y="15"/>
                  </a:lnTo>
                  <a:lnTo>
                    <a:pt x="167" y="17"/>
                  </a:lnTo>
                  <a:lnTo>
                    <a:pt x="167" y="19"/>
                  </a:lnTo>
                  <a:lnTo>
                    <a:pt x="169" y="19"/>
                  </a:lnTo>
                  <a:lnTo>
                    <a:pt x="171" y="19"/>
                  </a:lnTo>
                  <a:lnTo>
                    <a:pt x="173" y="19"/>
                  </a:lnTo>
                  <a:lnTo>
                    <a:pt x="173" y="21"/>
                  </a:lnTo>
                  <a:lnTo>
                    <a:pt x="175" y="21"/>
                  </a:lnTo>
                  <a:lnTo>
                    <a:pt x="175" y="19"/>
                  </a:lnTo>
                  <a:lnTo>
                    <a:pt x="177" y="19"/>
                  </a:lnTo>
                  <a:lnTo>
                    <a:pt x="177" y="21"/>
                  </a:lnTo>
                  <a:lnTo>
                    <a:pt x="179" y="21"/>
                  </a:lnTo>
                  <a:lnTo>
                    <a:pt x="181" y="21"/>
                  </a:lnTo>
                  <a:lnTo>
                    <a:pt x="181" y="23"/>
                  </a:lnTo>
                  <a:lnTo>
                    <a:pt x="183" y="23"/>
                  </a:lnTo>
                  <a:lnTo>
                    <a:pt x="185" y="23"/>
                  </a:lnTo>
                  <a:lnTo>
                    <a:pt x="187" y="23"/>
                  </a:lnTo>
                  <a:lnTo>
                    <a:pt x="188" y="23"/>
                  </a:lnTo>
                  <a:lnTo>
                    <a:pt x="190" y="23"/>
                  </a:lnTo>
                  <a:lnTo>
                    <a:pt x="190" y="21"/>
                  </a:lnTo>
                  <a:lnTo>
                    <a:pt x="190" y="23"/>
                  </a:lnTo>
                  <a:lnTo>
                    <a:pt x="192" y="23"/>
                  </a:lnTo>
                  <a:lnTo>
                    <a:pt x="192" y="21"/>
                  </a:lnTo>
                  <a:lnTo>
                    <a:pt x="194" y="21"/>
                  </a:lnTo>
                  <a:lnTo>
                    <a:pt x="196" y="21"/>
                  </a:lnTo>
                  <a:lnTo>
                    <a:pt x="198" y="21"/>
                  </a:lnTo>
                  <a:lnTo>
                    <a:pt x="198" y="19"/>
                  </a:lnTo>
                  <a:lnTo>
                    <a:pt x="198" y="21"/>
                  </a:lnTo>
                  <a:lnTo>
                    <a:pt x="200" y="21"/>
                  </a:lnTo>
                  <a:lnTo>
                    <a:pt x="200" y="19"/>
                  </a:lnTo>
                  <a:lnTo>
                    <a:pt x="202" y="19"/>
                  </a:lnTo>
                  <a:lnTo>
                    <a:pt x="204" y="19"/>
                  </a:lnTo>
                  <a:lnTo>
                    <a:pt x="204" y="21"/>
                  </a:lnTo>
                  <a:lnTo>
                    <a:pt x="206" y="21"/>
                  </a:lnTo>
                  <a:lnTo>
                    <a:pt x="208" y="21"/>
                  </a:lnTo>
                  <a:lnTo>
                    <a:pt x="208" y="23"/>
                  </a:lnTo>
                  <a:lnTo>
                    <a:pt x="210" y="23"/>
                  </a:lnTo>
                  <a:lnTo>
                    <a:pt x="211" y="23"/>
                  </a:lnTo>
                  <a:lnTo>
                    <a:pt x="213" y="23"/>
                  </a:lnTo>
                  <a:lnTo>
                    <a:pt x="215" y="23"/>
                  </a:lnTo>
                  <a:lnTo>
                    <a:pt x="215" y="21"/>
                  </a:lnTo>
                  <a:lnTo>
                    <a:pt x="217" y="21"/>
                  </a:lnTo>
                  <a:lnTo>
                    <a:pt x="219" y="21"/>
                  </a:lnTo>
                  <a:lnTo>
                    <a:pt x="219" y="19"/>
                  </a:lnTo>
                  <a:lnTo>
                    <a:pt x="221" y="19"/>
                  </a:lnTo>
                  <a:lnTo>
                    <a:pt x="221" y="17"/>
                  </a:lnTo>
                  <a:lnTo>
                    <a:pt x="223" y="17"/>
                  </a:lnTo>
                  <a:lnTo>
                    <a:pt x="225" y="17"/>
                  </a:lnTo>
                  <a:lnTo>
                    <a:pt x="227" y="17"/>
                  </a:lnTo>
                  <a:lnTo>
                    <a:pt x="227" y="15"/>
                  </a:lnTo>
                  <a:lnTo>
                    <a:pt x="229" y="15"/>
                  </a:lnTo>
                  <a:lnTo>
                    <a:pt x="229" y="13"/>
                  </a:lnTo>
                  <a:lnTo>
                    <a:pt x="231" y="13"/>
                  </a:lnTo>
                  <a:lnTo>
                    <a:pt x="233" y="11"/>
                  </a:lnTo>
                  <a:close/>
                  <a:moveTo>
                    <a:pt x="35" y="2"/>
                  </a:moveTo>
                  <a:lnTo>
                    <a:pt x="35" y="4"/>
                  </a:lnTo>
                  <a:lnTo>
                    <a:pt x="35" y="6"/>
                  </a:lnTo>
                  <a:lnTo>
                    <a:pt x="35" y="8"/>
                  </a:lnTo>
                  <a:lnTo>
                    <a:pt x="37" y="8"/>
                  </a:lnTo>
                  <a:lnTo>
                    <a:pt x="35" y="8"/>
                  </a:lnTo>
                  <a:lnTo>
                    <a:pt x="35" y="9"/>
                  </a:lnTo>
                  <a:lnTo>
                    <a:pt x="37" y="9"/>
                  </a:lnTo>
                  <a:lnTo>
                    <a:pt x="37" y="11"/>
                  </a:lnTo>
                  <a:lnTo>
                    <a:pt x="39" y="11"/>
                  </a:lnTo>
                  <a:lnTo>
                    <a:pt x="41" y="13"/>
                  </a:lnTo>
                  <a:lnTo>
                    <a:pt x="43" y="13"/>
                  </a:lnTo>
                  <a:lnTo>
                    <a:pt x="43" y="15"/>
                  </a:lnTo>
                  <a:lnTo>
                    <a:pt x="44" y="15"/>
                  </a:lnTo>
                  <a:lnTo>
                    <a:pt x="46" y="15"/>
                  </a:lnTo>
                  <a:lnTo>
                    <a:pt x="48" y="15"/>
                  </a:lnTo>
                  <a:lnTo>
                    <a:pt x="48" y="17"/>
                  </a:lnTo>
                  <a:lnTo>
                    <a:pt x="50" y="17"/>
                  </a:lnTo>
                  <a:lnTo>
                    <a:pt x="50" y="19"/>
                  </a:lnTo>
                  <a:lnTo>
                    <a:pt x="50" y="21"/>
                  </a:lnTo>
                  <a:lnTo>
                    <a:pt x="48" y="21"/>
                  </a:lnTo>
                  <a:lnTo>
                    <a:pt x="46" y="21"/>
                  </a:lnTo>
                  <a:lnTo>
                    <a:pt x="46" y="23"/>
                  </a:lnTo>
                  <a:lnTo>
                    <a:pt x="46" y="21"/>
                  </a:lnTo>
                  <a:lnTo>
                    <a:pt x="46" y="23"/>
                  </a:lnTo>
                  <a:lnTo>
                    <a:pt x="46" y="21"/>
                  </a:lnTo>
                  <a:lnTo>
                    <a:pt x="44" y="21"/>
                  </a:lnTo>
                  <a:lnTo>
                    <a:pt x="44" y="23"/>
                  </a:lnTo>
                  <a:lnTo>
                    <a:pt x="44" y="21"/>
                  </a:lnTo>
                  <a:lnTo>
                    <a:pt x="44" y="23"/>
                  </a:lnTo>
                  <a:lnTo>
                    <a:pt x="43" y="23"/>
                  </a:lnTo>
                  <a:lnTo>
                    <a:pt x="43" y="21"/>
                  </a:lnTo>
                  <a:lnTo>
                    <a:pt x="41" y="21"/>
                  </a:lnTo>
                  <a:lnTo>
                    <a:pt x="39" y="21"/>
                  </a:lnTo>
                  <a:lnTo>
                    <a:pt x="39" y="19"/>
                  </a:lnTo>
                  <a:lnTo>
                    <a:pt x="37" y="19"/>
                  </a:lnTo>
                  <a:lnTo>
                    <a:pt x="37" y="21"/>
                  </a:lnTo>
                  <a:lnTo>
                    <a:pt x="35" y="21"/>
                  </a:lnTo>
                  <a:lnTo>
                    <a:pt x="33" y="21"/>
                  </a:lnTo>
                  <a:lnTo>
                    <a:pt x="35" y="21"/>
                  </a:lnTo>
                  <a:lnTo>
                    <a:pt x="35" y="23"/>
                  </a:lnTo>
                  <a:lnTo>
                    <a:pt x="33" y="23"/>
                  </a:lnTo>
                  <a:lnTo>
                    <a:pt x="33" y="21"/>
                  </a:lnTo>
                  <a:lnTo>
                    <a:pt x="33" y="23"/>
                  </a:lnTo>
                  <a:lnTo>
                    <a:pt x="33" y="21"/>
                  </a:lnTo>
                  <a:lnTo>
                    <a:pt x="31" y="21"/>
                  </a:lnTo>
                  <a:lnTo>
                    <a:pt x="29" y="21"/>
                  </a:lnTo>
                  <a:lnTo>
                    <a:pt x="27" y="21"/>
                  </a:lnTo>
                  <a:lnTo>
                    <a:pt x="27" y="23"/>
                  </a:lnTo>
                  <a:lnTo>
                    <a:pt x="27" y="25"/>
                  </a:lnTo>
                  <a:lnTo>
                    <a:pt x="25" y="25"/>
                  </a:lnTo>
                  <a:lnTo>
                    <a:pt x="25" y="27"/>
                  </a:lnTo>
                  <a:lnTo>
                    <a:pt x="23" y="27"/>
                  </a:lnTo>
                  <a:lnTo>
                    <a:pt x="23" y="29"/>
                  </a:lnTo>
                  <a:lnTo>
                    <a:pt x="21" y="29"/>
                  </a:lnTo>
                  <a:lnTo>
                    <a:pt x="20" y="29"/>
                  </a:lnTo>
                  <a:lnTo>
                    <a:pt x="20" y="31"/>
                  </a:lnTo>
                  <a:lnTo>
                    <a:pt x="18" y="31"/>
                  </a:lnTo>
                  <a:lnTo>
                    <a:pt x="16" y="31"/>
                  </a:lnTo>
                  <a:lnTo>
                    <a:pt x="16" y="33"/>
                  </a:lnTo>
                  <a:lnTo>
                    <a:pt x="14" y="33"/>
                  </a:lnTo>
                  <a:lnTo>
                    <a:pt x="14" y="34"/>
                  </a:lnTo>
                  <a:lnTo>
                    <a:pt x="12" y="34"/>
                  </a:lnTo>
                  <a:lnTo>
                    <a:pt x="12" y="36"/>
                  </a:lnTo>
                  <a:lnTo>
                    <a:pt x="10" y="36"/>
                  </a:lnTo>
                  <a:lnTo>
                    <a:pt x="10" y="38"/>
                  </a:lnTo>
                  <a:lnTo>
                    <a:pt x="8" y="38"/>
                  </a:lnTo>
                  <a:lnTo>
                    <a:pt x="8" y="40"/>
                  </a:lnTo>
                  <a:lnTo>
                    <a:pt x="8" y="38"/>
                  </a:lnTo>
                  <a:lnTo>
                    <a:pt x="8" y="36"/>
                  </a:lnTo>
                  <a:lnTo>
                    <a:pt x="10" y="36"/>
                  </a:lnTo>
                  <a:lnTo>
                    <a:pt x="10" y="34"/>
                  </a:lnTo>
                  <a:lnTo>
                    <a:pt x="8" y="34"/>
                  </a:lnTo>
                  <a:lnTo>
                    <a:pt x="10" y="34"/>
                  </a:lnTo>
                  <a:lnTo>
                    <a:pt x="10" y="33"/>
                  </a:lnTo>
                  <a:lnTo>
                    <a:pt x="12" y="33"/>
                  </a:lnTo>
                  <a:lnTo>
                    <a:pt x="14" y="33"/>
                  </a:lnTo>
                  <a:lnTo>
                    <a:pt x="14" y="31"/>
                  </a:lnTo>
                  <a:lnTo>
                    <a:pt x="16" y="31"/>
                  </a:lnTo>
                  <a:lnTo>
                    <a:pt x="18" y="31"/>
                  </a:lnTo>
                  <a:lnTo>
                    <a:pt x="18" y="29"/>
                  </a:lnTo>
                  <a:lnTo>
                    <a:pt x="16" y="29"/>
                  </a:lnTo>
                  <a:lnTo>
                    <a:pt x="14" y="29"/>
                  </a:lnTo>
                  <a:lnTo>
                    <a:pt x="12" y="29"/>
                  </a:lnTo>
                  <a:lnTo>
                    <a:pt x="10" y="29"/>
                  </a:lnTo>
                  <a:lnTo>
                    <a:pt x="8" y="29"/>
                  </a:lnTo>
                  <a:lnTo>
                    <a:pt x="6" y="29"/>
                  </a:lnTo>
                  <a:lnTo>
                    <a:pt x="6" y="27"/>
                  </a:lnTo>
                  <a:lnTo>
                    <a:pt x="8" y="27"/>
                  </a:lnTo>
                  <a:lnTo>
                    <a:pt x="6" y="25"/>
                  </a:lnTo>
                  <a:lnTo>
                    <a:pt x="8" y="25"/>
                  </a:lnTo>
                  <a:lnTo>
                    <a:pt x="8" y="23"/>
                  </a:lnTo>
                  <a:lnTo>
                    <a:pt x="10" y="23"/>
                  </a:lnTo>
                  <a:lnTo>
                    <a:pt x="10" y="21"/>
                  </a:lnTo>
                  <a:lnTo>
                    <a:pt x="10" y="19"/>
                  </a:lnTo>
                  <a:lnTo>
                    <a:pt x="10" y="17"/>
                  </a:lnTo>
                  <a:lnTo>
                    <a:pt x="12" y="17"/>
                  </a:lnTo>
                  <a:lnTo>
                    <a:pt x="12" y="15"/>
                  </a:lnTo>
                  <a:lnTo>
                    <a:pt x="14" y="15"/>
                  </a:lnTo>
                  <a:lnTo>
                    <a:pt x="14" y="13"/>
                  </a:lnTo>
                  <a:lnTo>
                    <a:pt x="14" y="11"/>
                  </a:lnTo>
                  <a:lnTo>
                    <a:pt x="14" y="9"/>
                  </a:lnTo>
                  <a:lnTo>
                    <a:pt x="12" y="9"/>
                  </a:lnTo>
                  <a:lnTo>
                    <a:pt x="12" y="8"/>
                  </a:lnTo>
                  <a:lnTo>
                    <a:pt x="10" y="8"/>
                  </a:lnTo>
                  <a:lnTo>
                    <a:pt x="10" y="6"/>
                  </a:lnTo>
                  <a:lnTo>
                    <a:pt x="12" y="6"/>
                  </a:lnTo>
                  <a:lnTo>
                    <a:pt x="14" y="6"/>
                  </a:lnTo>
                  <a:lnTo>
                    <a:pt x="14" y="4"/>
                  </a:lnTo>
                  <a:lnTo>
                    <a:pt x="14" y="2"/>
                  </a:lnTo>
                  <a:lnTo>
                    <a:pt x="16" y="2"/>
                  </a:lnTo>
                  <a:lnTo>
                    <a:pt x="18" y="2"/>
                  </a:lnTo>
                  <a:lnTo>
                    <a:pt x="20" y="2"/>
                  </a:lnTo>
                  <a:lnTo>
                    <a:pt x="20" y="0"/>
                  </a:lnTo>
                  <a:lnTo>
                    <a:pt x="21" y="0"/>
                  </a:lnTo>
                  <a:lnTo>
                    <a:pt x="23" y="0"/>
                  </a:lnTo>
                  <a:lnTo>
                    <a:pt x="25" y="0"/>
                  </a:lnTo>
                  <a:lnTo>
                    <a:pt x="25" y="2"/>
                  </a:lnTo>
                  <a:lnTo>
                    <a:pt x="27" y="2"/>
                  </a:lnTo>
                  <a:lnTo>
                    <a:pt x="27" y="4"/>
                  </a:lnTo>
                  <a:lnTo>
                    <a:pt x="27" y="2"/>
                  </a:lnTo>
                  <a:lnTo>
                    <a:pt x="27" y="4"/>
                  </a:lnTo>
                  <a:lnTo>
                    <a:pt x="29" y="4"/>
                  </a:lnTo>
                  <a:lnTo>
                    <a:pt x="27" y="4"/>
                  </a:lnTo>
                  <a:lnTo>
                    <a:pt x="29" y="4"/>
                  </a:lnTo>
                  <a:lnTo>
                    <a:pt x="27" y="4"/>
                  </a:lnTo>
                  <a:lnTo>
                    <a:pt x="29" y="4"/>
                  </a:lnTo>
                  <a:lnTo>
                    <a:pt x="29" y="2"/>
                  </a:lnTo>
                  <a:lnTo>
                    <a:pt x="31" y="2"/>
                  </a:lnTo>
                  <a:lnTo>
                    <a:pt x="29" y="2"/>
                  </a:lnTo>
                  <a:lnTo>
                    <a:pt x="31" y="2"/>
                  </a:lnTo>
                  <a:lnTo>
                    <a:pt x="31" y="4"/>
                  </a:lnTo>
                  <a:lnTo>
                    <a:pt x="31" y="2"/>
                  </a:lnTo>
                  <a:lnTo>
                    <a:pt x="31" y="4"/>
                  </a:lnTo>
                  <a:lnTo>
                    <a:pt x="31" y="2"/>
                  </a:lnTo>
                  <a:lnTo>
                    <a:pt x="31" y="4"/>
                  </a:lnTo>
                  <a:lnTo>
                    <a:pt x="33" y="4"/>
                  </a:lnTo>
                  <a:lnTo>
                    <a:pt x="33" y="2"/>
                  </a:lnTo>
                  <a:lnTo>
                    <a:pt x="31" y="2"/>
                  </a:lnTo>
                  <a:lnTo>
                    <a:pt x="33" y="2"/>
                  </a:lnTo>
                  <a:lnTo>
                    <a:pt x="35" y="2"/>
                  </a:lnTo>
                  <a:close/>
                  <a:moveTo>
                    <a:pt x="4" y="36"/>
                  </a:moveTo>
                  <a:lnTo>
                    <a:pt x="4" y="38"/>
                  </a:lnTo>
                  <a:lnTo>
                    <a:pt x="6" y="38"/>
                  </a:lnTo>
                  <a:lnTo>
                    <a:pt x="4" y="38"/>
                  </a:lnTo>
                  <a:lnTo>
                    <a:pt x="2" y="38"/>
                  </a:lnTo>
                  <a:lnTo>
                    <a:pt x="0" y="38"/>
                  </a:lnTo>
                  <a:lnTo>
                    <a:pt x="0" y="36"/>
                  </a:lnTo>
                  <a:lnTo>
                    <a:pt x="2" y="36"/>
                  </a:lnTo>
                  <a:lnTo>
                    <a:pt x="4" y="36"/>
                  </a:lnTo>
                  <a:close/>
                  <a:moveTo>
                    <a:pt x="27" y="29"/>
                  </a:moveTo>
                  <a:lnTo>
                    <a:pt x="31" y="29"/>
                  </a:lnTo>
                  <a:lnTo>
                    <a:pt x="27" y="29"/>
                  </a:lnTo>
                  <a:close/>
                  <a:moveTo>
                    <a:pt x="4" y="44"/>
                  </a:moveTo>
                  <a:lnTo>
                    <a:pt x="6" y="44"/>
                  </a:lnTo>
                  <a:lnTo>
                    <a:pt x="4" y="44"/>
                  </a:lnTo>
                  <a:close/>
                  <a:moveTo>
                    <a:pt x="14" y="52"/>
                  </a:moveTo>
                  <a:lnTo>
                    <a:pt x="16" y="52"/>
                  </a:lnTo>
                  <a:lnTo>
                    <a:pt x="16" y="54"/>
                  </a:lnTo>
                  <a:lnTo>
                    <a:pt x="14" y="54"/>
                  </a:lnTo>
                  <a:lnTo>
                    <a:pt x="14" y="52"/>
                  </a:lnTo>
                  <a:close/>
                  <a:moveTo>
                    <a:pt x="29" y="31"/>
                  </a:moveTo>
                  <a:lnTo>
                    <a:pt x="29" y="33"/>
                  </a:lnTo>
                  <a:lnTo>
                    <a:pt x="29" y="31"/>
                  </a:lnTo>
                  <a:close/>
                  <a:moveTo>
                    <a:pt x="27" y="31"/>
                  </a:moveTo>
                  <a:lnTo>
                    <a:pt x="27" y="33"/>
                  </a:lnTo>
                  <a:lnTo>
                    <a:pt x="27" y="31"/>
                  </a:lnTo>
                  <a:close/>
                  <a:moveTo>
                    <a:pt x="25" y="96"/>
                  </a:moveTo>
                  <a:lnTo>
                    <a:pt x="27" y="96"/>
                  </a:lnTo>
                  <a:lnTo>
                    <a:pt x="27" y="98"/>
                  </a:lnTo>
                  <a:lnTo>
                    <a:pt x="25" y="98"/>
                  </a:lnTo>
                  <a:lnTo>
                    <a:pt x="25" y="96"/>
                  </a:lnTo>
                  <a:close/>
                  <a:moveTo>
                    <a:pt x="10" y="69"/>
                  </a:moveTo>
                  <a:lnTo>
                    <a:pt x="10" y="71"/>
                  </a:lnTo>
                  <a:lnTo>
                    <a:pt x="10" y="69"/>
                  </a:lnTo>
                  <a:close/>
                  <a:moveTo>
                    <a:pt x="50" y="23"/>
                  </a:moveTo>
                  <a:lnTo>
                    <a:pt x="50" y="25"/>
                  </a:lnTo>
                  <a:lnTo>
                    <a:pt x="50" y="23"/>
                  </a:lnTo>
                  <a:close/>
                  <a:moveTo>
                    <a:pt x="48" y="102"/>
                  </a:moveTo>
                  <a:lnTo>
                    <a:pt x="48" y="104"/>
                  </a:lnTo>
                  <a:lnTo>
                    <a:pt x="48" y="102"/>
                  </a:lnTo>
                  <a:close/>
                  <a:moveTo>
                    <a:pt x="50" y="23"/>
                  </a:moveTo>
                  <a:lnTo>
                    <a:pt x="50" y="25"/>
                  </a:lnTo>
                  <a:lnTo>
                    <a:pt x="50" y="23"/>
                  </a:lnTo>
                  <a:close/>
                  <a:moveTo>
                    <a:pt x="16" y="69"/>
                  </a:moveTo>
                  <a:lnTo>
                    <a:pt x="16" y="71"/>
                  </a:lnTo>
                  <a:lnTo>
                    <a:pt x="16" y="69"/>
                  </a:lnTo>
                  <a:close/>
                  <a:moveTo>
                    <a:pt x="18" y="61"/>
                  </a:moveTo>
                  <a:lnTo>
                    <a:pt x="18" y="63"/>
                  </a:lnTo>
                  <a:lnTo>
                    <a:pt x="18" y="61"/>
                  </a:lnTo>
                  <a:close/>
                  <a:moveTo>
                    <a:pt x="16" y="59"/>
                  </a:moveTo>
                  <a:lnTo>
                    <a:pt x="18" y="59"/>
                  </a:lnTo>
                  <a:lnTo>
                    <a:pt x="16" y="59"/>
                  </a:lnTo>
                  <a:close/>
                  <a:moveTo>
                    <a:pt x="25" y="96"/>
                  </a:moveTo>
                  <a:lnTo>
                    <a:pt x="25" y="98"/>
                  </a:lnTo>
                  <a:lnTo>
                    <a:pt x="25" y="96"/>
                  </a:lnTo>
                  <a:close/>
                  <a:moveTo>
                    <a:pt x="16" y="71"/>
                  </a:moveTo>
                  <a:lnTo>
                    <a:pt x="18" y="71"/>
                  </a:lnTo>
                  <a:lnTo>
                    <a:pt x="16" y="71"/>
                  </a:lnTo>
                  <a:close/>
                  <a:moveTo>
                    <a:pt x="16" y="71"/>
                  </a:moveTo>
                  <a:lnTo>
                    <a:pt x="18" y="71"/>
                  </a:lnTo>
                  <a:lnTo>
                    <a:pt x="16" y="71"/>
                  </a:lnTo>
                  <a:close/>
                  <a:moveTo>
                    <a:pt x="50" y="25"/>
                  </a:moveTo>
                  <a:lnTo>
                    <a:pt x="52" y="25"/>
                  </a:lnTo>
                  <a:lnTo>
                    <a:pt x="50" y="25"/>
                  </a:lnTo>
                  <a:close/>
                  <a:moveTo>
                    <a:pt x="37" y="96"/>
                  </a:moveTo>
                  <a:lnTo>
                    <a:pt x="37" y="98"/>
                  </a:lnTo>
                  <a:lnTo>
                    <a:pt x="37" y="96"/>
                  </a:lnTo>
                  <a:close/>
                  <a:moveTo>
                    <a:pt x="50" y="21"/>
                  </a:moveTo>
                  <a:lnTo>
                    <a:pt x="50" y="23"/>
                  </a:lnTo>
                  <a:lnTo>
                    <a:pt x="50" y="21"/>
                  </a:lnTo>
                  <a:close/>
                  <a:moveTo>
                    <a:pt x="16" y="71"/>
                  </a:moveTo>
                  <a:lnTo>
                    <a:pt x="18" y="71"/>
                  </a:lnTo>
                  <a:lnTo>
                    <a:pt x="16" y="71"/>
                  </a:lnTo>
                  <a:close/>
                  <a:moveTo>
                    <a:pt x="25" y="88"/>
                  </a:moveTo>
                  <a:lnTo>
                    <a:pt x="25" y="90"/>
                  </a:lnTo>
                  <a:lnTo>
                    <a:pt x="25" y="88"/>
                  </a:lnTo>
                  <a:close/>
                  <a:moveTo>
                    <a:pt x="71" y="100"/>
                  </a:moveTo>
                  <a:lnTo>
                    <a:pt x="73" y="100"/>
                  </a:lnTo>
                  <a:lnTo>
                    <a:pt x="71" y="100"/>
                  </a:lnTo>
                  <a:close/>
                  <a:moveTo>
                    <a:pt x="12" y="65"/>
                  </a:moveTo>
                  <a:lnTo>
                    <a:pt x="14" y="65"/>
                  </a:lnTo>
                  <a:lnTo>
                    <a:pt x="14" y="67"/>
                  </a:lnTo>
                  <a:lnTo>
                    <a:pt x="12" y="67"/>
                  </a:lnTo>
                  <a:lnTo>
                    <a:pt x="12" y="65"/>
                  </a:lnTo>
                  <a:close/>
                  <a:moveTo>
                    <a:pt x="27" y="92"/>
                  </a:moveTo>
                  <a:lnTo>
                    <a:pt x="27" y="94"/>
                  </a:lnTo>
                  <a:lnTo>
                    <a:pt x="27" y="92"/>
                  </a:lnTo>
                  <a:close/>
                  <a:moveTo>
                    <a:pt x="23" y="96"/>
                  </a:moveTo>
                  <a:lnTo>
                    <a:pt x="23" y="98"/>
                  </a:lnTo>
                  <a:lnTo>
                    <a:pt x="23" y="96"/>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354">
              <a:extLst>
                <a:ext uri="{FF2B5EF4-FFF2-40B4-BE49-F238E27FC236}">
                  <a16:creationId xmlns:a16="http://schemas.microsoft.com/office/drawing/2014/main" id="{DBD459E4-443E-4393-B64C-BC29F4AFCAA4}"/>
                </a:ext>
              </a:extLst>
            </p:cNvPr>
            <p:cNvSpPr>
              <a:spLocks/>
            </p:cNvSpPr>
            <p:nvPr/>
          </p:nvSpPr>
          <p:spPr bwMode="gray">
            <a:xfrm>
              <a:off x="3904844" y="3642978"/>
              <a:ext cx="176598" cy="179051"/>
            </a:xfrm>
            <a:custGeom>
              <a:avLst/>
              <a:gdLst>
                <a:gd name="T0" fmla="*/ 90 w 144"/>
                <a:gd name="T1" fmla="*/ 8 h 146"/>
                <a:gd name="T2" fmla="*/ 90 w 144"/>
                <a:gd name="T3" fmla="*/ 12 h 146"/>
                <a:gd name="T4" fmla="*/ 90 w 144"/>
                <a:gd name="T5" fmla="*/ 16 h 146"/>
                <a:gd name="T6" fmla="*/ 94 w 144"/>
                <a:gd name="T7" fmla="*/ 19 h 146"/>
                <a:gd name="T8" fmla="*/ 100 w 144"/>
                <a:gd name="T9" fmla="*/ 25 h 146"/>
                <a:gd name="T10" fmla="*/ 104 w 144"/>
                <a:gd name="T11" fmla="*/ 29 h 146"/>
                <a:gd name="T12" fmla="*/ 112 w 144"/>
                <a:gd name="T13" fmla="*/ 29 h 146"/>
                <a:gd name="T14" fmla="*/ 106 w 144"/>
                <a:gd name="T15" fmla="*/ 35 h 146"/>
                <a:gd name="T16" fmla="*/ 108 w 144"/>
                <a:gd name="T17" fmla="*/ 41 h 146"/>
                <a:gd name="T18" fmla="*/ 104 w 144"/>
                <a:gd name="T19" fmla="*/ 41 h 146"/>
                <a:gd name="T20" fmla="*/ 102 w 144"/>
                <a:gd name="T21" fmla="*/ 46 h 146"/>
                <a:gd name="T22" fmla="*/ 102 w 144"/>
                <a:gd name="T23" fmla="*/ 50 h 146"/>
                <a:gd name="T24" fmla="*/ 100 w 144"/>
                <a:gd name="T25" fmla="*/ 56 h 146"/>
                <a:gd name="T26" fmla="*/ 98 w 144"/>
                <a:gd name="T27" fmla="*/ 62 h 146"/>
                <a:gd name="T28" fmla="*/ 100 w 144"/>
                <a:gd name="T29" fmla="*/ 65 h 146"/>
                <a:gd name="T30" fmla="*/ 104 w 144"/>
                <a:gd name="T31" fmla="*/ 69 h 146"/>
                <a:gd name="T32" fmla="*/ 110 w 144"/>
                <a:gd name="T33" fmla="*/ 75 h 146"/>
                <a:gd name="T34" fmla="*/ 110 w 144"/>
                <a:gd name="T35" fmla="*/ 79 h 146"/>
                <a:gd name="T36" fmla="*/ 117 w 144"/>
                <a:gd name="T37" fmla="*/ 83 h 146"/>
                <a:gd name="T38" fmla="*/ 123 w 144"/>
                <a:gd name="T39" fmla="*/ 87 h 146"/>
                <a:gd name="T40" fmla="*/ 127 w 144"/>
                <a:gd name="T41" fmla="*/ 90 h 146"/>
                <a:gd name="T42" fmla="*/ 131 w 144"/>
                <a:gd name="T43" fmla="*/ 94 h 146"/>
                <a:gd name="T44" fmla="*/ 131 w 144"/>
                <a:gd name="T45" fmla="*/ 98 h 146"/>
                <a:gd name="T46" fmla="*/ 131 w 144"/>
                <a:gd name="T47" fmla="*/ 110 h 146"/>
                <a:gd name="T48" fmla="*/ 137 w 144"/>
                <a:gd name="T49" fmla="*/ 121 h 146"/>
                <a:gd name="T50" fmla="*/ 140 w 144"/>
                <a:gd name="T51" fmla="*/ 125 h 146"/>
                <a:gd name="T52" fmla="*/ 142 w 144"/>
                <a:gd name="T53" fmla="*/ 131 h 146"/>
                <a:gd name="T54" fmla="*/ 133 w 144"/>
                <a:gd name="T55" fmla="*/ 129 h 146"/>
                <a:gd name="T56" fmla="*/ 121 w 144"/>
                <a:gd name="T57" fmla="*/ 131 h 146"/>
                <a:gd name="T58" fmla="*/ 117 w 144"/>
                <a:gd name="T59" fmla="*/ 142 h 146"/>
                <a:gd name="T60" fmla="*/ 110 w 144"/>
                <a:gd name="T61" fmla="*/ 146 h 146"/>
                <a:gd name="T62" fmla="*/ 98 w 144"/>
                <a:gd name="T63" fmla="*/ 144 h 146"/>
                <a:gd name="T64" fmla="*/ 87 w 144"/>
                <a:gd name="T65" fmla="*/ 144 h 146"/>
                <a:gd name="T66" fmla="*/ 81 w 144"/>
                <a:gd name="T67" fmla="*/ 138 h 146"/>
                <a:gd name="T68" fmla="*/ 73 w 144"/>
                <a:gd name="T69" fmla="*/ 133 h 146"/>
                <a:gd name="T70" fmla="*/ 67 w 144"/>
                <a:gd name="T71" fmla="*/ 127 h 146"/>
                <a:gd name="T72" fmla="*/ 60 w 144"/>
                <a:gd name="T73" fmla="*/ 121 h 146"/>
                <a:gd name="T74" fmla="*/ 52 w 144"/>
                <a:gd name="T75" fmla="*/ 115 h 146"/>
                <a:gd name="T76" fmla="*/ 44 w 144"/>
                <a:gd name="T77" fmla="*/ 110 h 146"/>
                <a:gd name="T78" fmla="*/ 21 w 144"/>
                <a:gd name="T79" fmla="*/ 96 h 146"/>
                <a:gd name="T80" fmla="*/ 8 w 144"/>
                <a:gd name="T81" fmla="*/ 92 h 146"/>
                <a:gd name="T82" fmla="*/ 2 w 144"/>
                <a:gd name="T83" fmla="*/ 87 h 146"/>
                <a:gd name="T84" fmla="*/ 6 w 144"/>
                <a:gd name="T85" fmla="*/ 69 h 146"/>
                <a:gd name="T86" fmla="*/ 33 w 144"/>
                <a:gd name="T87" fmla="*/ 52 h 146"/>
                <a:gd name="T88" fmla="*/ 35 w 144"/>
                <a:gd name="T89" fmla="*/ 41 h 146"/>
                <a:gd name="T90" fmla="*/ 39 w 144"/>
                <a:gd name="T91" fmla="*/ 27 h 146"/>
                <a:gd name="T92" fmla="*/ 37 w 144"/>
                <a:gd name="T93" fmla="*/ 17 h 146"/>
                <a:gd name="T94" fmla="*/ 46 w 144"/>
                <a:gd name="T95" fmla="*/ 14 h 146"/>
                <a:gd name="T96" fmla="*/ 52 w 144"/>
                <a:gd name="T97" fmla="*/ 8 h 146"/>
                <a:gd name="T98" fmla="*/ 58 w 144"/>
                <a:gd name="T99" fmla="*/ 2 h 146"/>
                <a:gd name="T100" fmla="*/ 66 w 144"/>
                <a:gd name="T101" fmla="*/ 2 h 146"/>
                <a:gd name="T102" fmla="*/ 73 w 144"/>
                <a:gd name="T103" fmla="*/ 2 h 146"/>
                <a:gd name="T104" fmla="*/ 77 w 144"/>
                <a:gd name="T105" fmla="*/ 2 h 146"/>
                <a:gd name="T106" fmla="*/ 79 w 144"/>
                <a:gd name="T107" fmla="*/ 4 h 146"/>
                <a:gd name="T108" fmla="*/ 81 w 144"/>
                <a:gd name="T109" fmla="*/ 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 h="146">
                  <a:moveTo>
                    <a:pt x="89" y="4"/>
                  </a:moveTo>
                  <a:lnTo>
                    <a:pt x="87" y="4"/>
                  </a:lnTo>
                  <a:lnTo>
                    <a:pt x="89" y="4"/>
                  </a:lnTo>
                  <a:lnTo>
                    <a:pt x="89" y="6"/>
                  </a:lnTo>
                  <a:lnTo>
                    <a:pt x="90" y="6"/>
                  </a:lnTo>
                  <a:lnTo>
                    <a:pt x="90" y="8"/>
                  </a:lnTo>
                  <a:lnTo>
                    <a:pt x="89" y="8"/>
                  </a:lnTo>
                  <a:lnTo>
                    <a:pt x="90" y="8"/>
                  </a:lnTo>
                  <a:lnTo>
                    <a:pt x="90" y="10"/>
                  </a:lnTo>
                  <a:lnTo>
                    <a:pt x="89" y="10"/>
                  </a:lnTo>
                  <a:lnTo>
                    <a:pt x="89" y="12"/>
                  </a:lnTo>
                  <a:lnTo>
                    <a:pt x="90" y="12"/>
                  </a:lnTo>
                  <a:lnTo>
                    <a:pt x="90" y="10"/>
                  </a:lnTo>
                  <a:lnTo>
                    <a:pt x="90" y="12"/>
                  </a:lnTo>
                  <a:lnTo>
                    <a:pt x="92" y="12"/>
                  </a:lnTo>
                  <a:lnTo>
                    <a:pt x="92" y="14"/>
                  </a:lnTo>
                  <a:lnTo>
                    <a:pt x="92" y="16"/>
                  </a:lnTo>
                  <a:lnTo>
                    <a:pt x="90" y="16"/>
                  </a:lnTo>
                  <a:lnTo>
                    <a:pt x="92" y="16"/>
                  </a:lnTo>
                  <a:lnTo>
                    <a:pt x="92" y="17"/>
                  </a:lnTo>
                  <a:lnTo>
                    <a:pt x="94" y="17"/>
                  </a:lnTo>
                  <a:lnTo>
                    <a:pt x="94" y="19"/>
                  </a:lnTo>
                  <a:lnTo>
                    <a:pt x="96" y="19"/>
                  </a:lnTo>
                  <a:lnTo>
                    <a:pt x="94" y="19"/>
                  </a:lnTo>
                  <a:lnTo>
                    <a:pt x="94" y="21"/>
                  </a:lnTo>
                  <a:lnTo>
                    <a:pt x="96" y="21"/>
                  </a:lnTo>
                  <a:lnTo>
                    <a:pt x="96" y="23"/>
                  </a:lnTo>
                  <a:lnTo>
                    <a:pt x="96" y="25"/>
                  </a:lnTo>
                  <a:lnTo>
                    <a:pt x="98" y="25"/>
                  </a:lnTo>
                  <a:lnTo>
                    <a:pt x="100" y="25"/>
                  </a:lnTo>
                  <a:lnTo>
                    <a:pt x="100" y="27"/>
                  </a:lnTo>
                  <a:lnTo>
                    <a:pt x="102" y="27"/>
                  </a:lnTo>
                  <a:lnTo>
                    <a:pt x="102" y="29"/>
                  </a:lnTo>
                  <a:lnTo>
                    <a:pt x="104" y="29"/>
                  </a:lnTo>
                  <a:lnTo>
                    <a:pt x="104" y="27"/>
                  </a:lnTo>
                  <a:lnTo>
                    <a:pt x="104" y="29"/>
                  </a:lnTo>
                  <a:lnTo>
                    <a:pt x="106" y="29"/>
                  </a:lnTo>
                  <a:lnTo>
                    <a:pt x="106" y="27"/>
                  </a:lnTo>
                  <a:lnTo>
                    <a:pt x="108" y="27"/>
                  </a:lnTo>
                  <a:lnTo>
                    <a:pt x="108" y="29"/>
                  </a:lnTo>
                  <a:lnTo>
                    <a:pt x="110" y="29"/>
                  </a:lnTo>
                  <a:lnTo>
                    <a:pt x="112" y="29"/>
                  </a:lnTo>
                  <a:lnTo>
                    <a:pt x="110" y="29"/>
                  </a:lnTo>
                  <a:lnTo>
                    <a:pt x="110" y="31"/>
                  </a:lnTo>
                  <a:lnTo>
                    <a:pt x="108" y="31"/>
                  </a:lnTo>
                  <a:lnTo>
                    <a:pt x="106" y="31"/>
                  </a:lnTo>
                  <a:lnTo>
                    <a:pt x="106" y="33"/>
                  </a:lnTo>
                  <a:lnTo>
                    <a:pt x="106" y="35"/>
                  </a:lnTo>
                  <a:lnTo>
                    <a:pt x="106" y="37"/>
                  </a:lnTo>
                  <a:lnTo>
                    <a:pt x="108" y="37"/>
                  </a:lnTo>
                  <a:lnTo>
                    <a:pt x="108" y="39"/>
                  </a:lnTo>
                  <a:lnTo>
                    <a:pt x="108" y="41"/>
                  </a:lnTo>
                  <a:lnTo>
                    <a:pt x="108" y="42"/>
                  </a:lnTo>
                  <a:lnTo>
                    <a:pt x="108" y="41"/>
                  </a:lnTo>
                  <a:lnTo>
                    <a:pt x="106" y="41"/>
                  </a:lnTo>
                  <a:lnTo>
                    <a:pt x="106" y="42"/>
                  </a:lnTo>
                  <a:lnTo>
                    <a:pt x="108" y="42"/>
                  </a:lnTo>
                  <a:lnTo>
                    <a:pt x="106" y="42"/>
                  </a:lnTo>
                  <a:lnTo>
                    <a:pt x="106" y="41"/>
                  </a:lnTo>
                  <a:lnTo>
                    <a:pt x="104" y="41"/>
                  </a:lnTo>
                  <a:lnTo>
                    <a:pt x="104" y="42"/>
                  </a:lnTo>
                  <a:lnTo>
                    <a:pt x="104" y="41"/>
                  </a:lnTo>
                  <a:lnTo>
                    <a:pt x="104" y="42"/>
                  </a:lnTo>
                  <a:lnTo>
                    <a:pt x="104" y="44"/>
                  </a:lnTo>
                  <a:lnTo>
                    <a:pt x="102" y="44"/>
                  </a:lnTo>
                  <a:lnTo>
                    <a:pt x="102" y="46"/>
                  </a:lnTo>
                  <a:lnTo>
                    <a:pt x="100" y="46"/>
                  </a:lnTo>
                  <a:lnTo>
                    <a:pt x="100" y="48"/>
                  </a:lnTo>
                  <a:lnTo>
                    <a:pt x="102" y="48"/>
                  </a:lnTo>
                  <a:lnTo>
                    <a:pt x="102" y="50"/>
                  </a:lnTo>
                  <a:lnTo>
                    <a:pt x="102" y="52"/>
                  </a:lnTo>
                  <a:lnTo>
                    <a:pt x="102" y="50"/>
                  </a:lnTo>
                  <a:lnTo>
                    <a:pt x="100" y="50"/>
                  </a:lnTo>
                  <a:lnTo>
                    <a:pt x="98" y="50"/>
                  </a:lnTo>
                  <a:lnTo>
                    <a:pt x="98" y="52"/>
                  </a:lnTo>
                  <a:lnTo>
                    <a:pt x="98" y="54"/>
                  </a:lnTo>
                  <a:lnTo>
                    <a:pt x="100" y="54"/>
                  </a:lnTo>
                  <a:lnTo>
                    <a:pt x="100" y="56"/>
                  </a:lnTo>
                  <a:lnTo>
                    <a:pt x="100" y="58"/>
                  </a:lnTo>
                  <a:lnTo>
                    <a:pt x="98" y="58"/>
                  </a:lnTo>
                  <a:lnTo>
                    <a:pt x="98" y="60"/>
                  </a:lnTo>
                  <a:lnTo>
                    <a:pt x="98" y="58"/>
                  </a:lnTo>
                  <a:lnTo>
                    <a:pt x="98" y="60"/>
                  </a:lnTo>
                  <a:lnTo>
                    <a:pt x="98" y="62"/>
                  </a:lnTo>
                  <a:lnTo>
                    <a:pt x="96" y="62"/>
                  </a:lnTo>
                  <a:lnTo>
                    <a:pt x="98" y="62"/>
                  </a:lnTo>
                  <a:lnTo>
                    <a:pt x="98" y="64"/>
                  </a:lnTo>
                  <a:lnTo>
                    <a:pt x="100" y="62"/>
                  </a:lnTo>
                  <a:lnTo>
                    <a:pt x="100" y="64"/>
                  </a:lnTo>
                  <a:lnTo>
                    <a:pt x="100" y="65"/>
                  </a:lnTo>
                  <a:lnTo>
                    <a:pt x="102" y="65"/>
                  </a:lnTo>
                  <a:lnTo>
                    <a:pt x="102" y="67"/>
                  </a:lnTo>
                  <a:lnTo>
                    <a:pt x="104" y="67"/>
                  </a:lnTo>
                  <a:lnTo>
                    <a:pt x="106" y="67"/>
                  </a:lnTo>
                  <a:lnTo>
                    <a:pt x="106" y="69"/>
                  </a:lnTo>
                  <a:lnTo>
                    <a:pt x="104" y="69"/>
                  </a:lnTo>
                  <a:lnTo>
                    <a:pt x="106" y="69"/>
                  </a:lnTo>
                  <a:lnTo>
                    <a:pt x="106" y="71"/>
                  </a:lnTo>
                  <a:lnTo>
                    <a:pt x="108" y="71"/>
                  </a:lnTo>
                  <a:lnTo>
                    <a:pt x="108" y="73"/>
                  </a:lnTo>
                  <a:lnTo>
                    <a:pt x="108" y="75"/>
                  </a:lnTo>
                  <a:lnTo>
                    <a:pt x="110" y="75"/>
                  </a:lnTo>
                  <a:lnTo>
                    <a:pt x="108" y="75"/>
                  </a:lnTo>
                  <a:lnTo>
                    <a:pt x="108" y="77"/>
                  </a:lnTo>
                  <a:lnTo>
                    <a:pt x="106" y="77"/>
                  </a:lnTo>
                  <a:lnTo>
                    <a:pt x="108" y="77"/>
                  </a:lnTo>
                  <a:lnTo>
                    <a:pt x="108" y="79"/>
                  </a:lnTo>
                  <a:lnTo>
                    <a:pt x="110" y="79"/>
                  </a:lnTo>
                  <a:lnTo>
                    <a:pt x="112" y="79"/>
                  </a:lnTo>
                  <a:lnTo>
                    <a:pt x="114" y="79"/>
                  </a:lnTo>
                  <a:lnTo>
                    <a:pt x="114" y="81"/>
                  </a:lnTo>
                  <a:lnTo>
                    <a:pt x="115" y="81"/>
                  </a:lnTo>
                  <a:lnTo>
                    <a:pt x="115" y="83"/>
                  </a:lnTo>
                  <a:lnTo>
                    <a:pt x="117" y="83"/>
                  </a:lnTo>
                  <a:lnTo>
                    <a:pt x="117" y="85"/>
                  </a:lnTo>
                  <a:lnTo>
                    <a:pt x="119" y="85"/>
                  </a:lnTo>
                  <a:lnTo>
                    <a:pt x="121" y="87"/>
                  </a:lnTo>
                  <a:lnTo>
                    <a:pt x="123" y="87"/>
                  </a:lnTo>
                  <a:lnTo>
                    <a:pt x="123" y="89"/>
                  </a:lnTo>
                  <a:lnTo>
                    <a:pt x="123" y="87"/>
                  </a:lnTo>
                  <a:lnTo>
                    <a:pt x="123" y="89"/>
                  </a:lnTo>
                  <a:lnTo>
                    <a:pt x="123" y="87"/>
                  </a:lnTo>
                  <a:lnTo>
                    <a:pt x="125" y="87"/>
                  </a:lnTo>
                  <a:lnTo>
                    <a:pt x="127" y="87"/>
                  </a:lnTo>
                  <a:lnTo>
                    <a:pt x="127" y="89"/>
                  </a:lnTo>
                  <a:lnTo>
                    <a:pt x="127" y="90"/>
                  </a:lnTo>
                  <a:lnTo>
                    <a:pt x="129" y="90"/>
                  </a:lnTo>
                  <a:lnTo>
                    <a:pt x="127" y="90"/>
                  </a:lnTo>
                  <a:lnTo>
                    <a:pt x="129" y="90"/>
                  </a:lnTo>
                  <a:lnTo>
                    <a:pt x="129" y="92"/>
                  </a:lnTo>
                  <a:lnTo>
                    <a:pt x="129" y="94"/>
                  </a:lnTo>
                  <a:lnTo>
                    <a:pt x="131" y="94"/>
                  </a:lnTo>
                  <a:lnTo>
                    <a:pt x="129" y="94"/>
                  </a:lnTo>
                  <a:lnTo>
                    <a:pt x="131" y="94"/>
                  </a:lnTo>
                  <a:lnTo>
                    <a:pt x="131" y="96"/>
                  </a:lnTo>
                  <a:lnTo>
                    <a:pt x="131" y="94"/>
                  </a:lnTo>
                  <a:lnTo>
                    <a:pt x="131" y="96"/>
                  </a:lnTo>
                  <a:lnTo>
                    <a:pt x="131" y="98"/>
                  </a:lnTo>
                  <a:lnTo>
                    <a:pt x="133" y="98"/>
                  </a:lnTo>
                  <a:lnTo>
                    <a:pt x="133" y="100"/>
                  </a:lnTo>
                  <a:lnTo>
                    <a:pt x="131" y="102"/>
                  </a:lnTo>
                  <a:lnTo>
                    <a:pt x="131" y="104"/>
                  </a:lnTo>
                  <a:lnTo>
                    <a:pt x="131" y="106"/>
                  </a:lnTo>
                  <a:lnTo>
                    <a:pt x="131" y="110"/>
                  </a:lnTo>
                  <a:lnTo>
                    <a:pt x="131" y="112"/>
                  </a:lnTo>
                  <a:lnTo>
                    <a:pt x="131" y="114"/>
                  </a:lnTo>
                  <a:lnTo>
                    <a:pt x="133" y="114"/>
                  </a:lnTo>
                  <a:lnTo>
                    <a:pt x="135" y="114"/>
                  </a:lnTo>
                  <a:lnTo>
                    <a:pt x="135" y="121"/>
                  </a:lnTo>
                  <a:lnTo>
                    <a:pt x="137" y="121"/>
                  </a:lnTo>
                  <a:lnTo>
                    <a:pt x="137" y="123"/>
                  </a:lnTo>
                  <a:lnTo>
                    <a:pt x="138" y="123"/>
                  </a:lnTo>
                  <a:lnTo>
                    <a:pt x="138" y="125"/>
                  </a:lnTo>
                  <a:lnTo>
                    <a:pt x="138" y="123"/>
                  </a:lnTo>
                  <a:lnTo>
                    <a:pt x="138" y="125"/>
                  </a:lnTo>
                  <a:lnTo>
                    <a:pt x="140" y="125"/>
                  </a:lnTo>
                  <a:lnTo>
                    <a:pt x="140" y="127"/>
                  </a:lnTo>
                  <a:lnTo>
                    <a:pt x="140" y="129"/>
                  </a:lnTo>
                  <a:lnTo>
                    <a:pt x="142" y="129"/>
                  </a:lnTo>
                  <a:lnTo>
                    <a:pt x="142" y="131"/>
                  </a:lnTo>
                  <a:lnTo>
                    <a:pt x="144" y="131"/>
                  </a:lnTo>
                  <a:lnTo>
                    <a:pt x="142" y="131"/>
                  </a:lnTo>
                  <a:lnTo>
                    <a:pt x="140" y="131"/>
                  </a:lnTo>
                  <a:lnTo>
                    <a:pt x="138" y="131"/>
                  </a:lnTo>
                  <a:lnTo>
                    <a:pt x="138" y="129"/>
                  </a:lnTo>
                  <a:lnTo>
                    <a:pt x="137" y="129"/>
                  </a:lnTo>
                  <a:lnTo>
                    <a:pt x="135" y="129"/>
                  </a:lnTo>
                  <a:lnTo>
                    <a:pt x="133" y="129"/>
                  </a:lnTo>
                  <a:lnTo>
                    <a:pt x="131" y="129"/>
                  </a:lnTo>
                  <a:lnTo>
                    <a:pt x="127" y="129"/>
                  </a:lnTo>
                  <a:lnTo>
                    <a:pt x="125" y="129"/>
                  </a:lnTo>
                  <a:lnTo>
                    <a:pt x="123" y="129"/>
                  </a:lnTo>
                  <a:lnTo>
                    <a:pt x="123" y="131"/>
                  </a:lnTo>
                  <a:lnTo>
                    <a:pt x="121" y="131"/>
                  </a:lnTo>
                  <a:lnTo>
                    <a:pt x="121" y="133"/>
                  </a:lnTo>
                  <a:lnTo>
                    <a:pt x="121" y="135"/>
                  </a:lnTo>
                  <a:lnTo>
                    <a:pt x="119" y="137"/>
                  </a:lnTo>
                  <a:lnTo>
                    <a:pt x="119" y="138"/>
                  </a:lnTo>
                  <a:lnTo>
                    <a:pt x="117" y="140"/>
                  </a:lnTo>
                  <a:lnTo>
                    <a:pt x="117" y="142"/>
                  </a:lnTo>
                  <a:lnTo>
                    <a:pt x="115" y="142"/>
                  </a:lnTo>
                  <a:lnTo>
                    <a:pt x="115" y="144"/>
                  </a:lnTo>
                  <a:lnTo>
                    <a:pt x="114" y="144"/>
                  </a:lnTo>
                  <a:lnTo>
                    <a:pt x="114" y="146"/>
                  </a:lnTo>
                  <a:lnTo>
                    <a:pt x="112" y="146"/>
                  </a:lnTo>
                  <a:lnTo>
                    <a:pt x="110" y="146"/>
                  </a:lnTo>
                  <a:lnTo>
                    <a:pt x="108" y="146"/>
                  </a:lnTo>
                  <a:lnTo>
                    <a:pt x="106" y="144"/>
                  </a:lnTo>
                  <a:lnTo>
                    <a:pt x="104" y="144"/>
                  </a:lnTo>
                  <a:lnTo>
                    <a:pt x="102" y="144"/>
                  </a:lnTo>
                  <a:lnTo>
                    <a:pt x="100" y="144"/>
                  </a:lnTo>
                  <a:lnTo>
                    <a:pt x="98" y="144"/>
                  </a:lnTo>
                  <a:lnTo>
                    <a:pt x="96" y="144"/>
                  </a:lnTo>
                  <a:lnTo>
                    <a:pt x="94" y="144"/>
                  </a:lnTo>
                  <a:lnTo>
                    <a:pt x="92" y="144"/>
                  </a:lnTo>
                  <a:lnTo>
                    <a:pt x="90" y="144"/>
                  </a:lnTo>
                  <a:lnTo>
                    <a:pt x="89" y="144"/>
                  </a:lnTo>
                  <a:lnTo>
                    <a:pt x="87" y="144"/>
                  </a:lnTo>
                  <a:lnTo>
                    <a:pt x="87" y="142"/>
                  </a:lnTo>
                  <a:lnTo>
                    <a:pt x="85" y="142"/>
                  </a:lnTo>
                  <a:lnTo>
                    <a:pt x="85" y="140"/>
                  </a:lnTo>
                  <a:lnTo>
                    <a:pt x="83" y="140"/>
                  </a:lnTo>
                  <a:lnTo>
                    <a:pt x="83" y="138"/>
                  </a:lnTo>
                  <a:lnTo>
                    <a:pt x="81" y="138"/>
                  </a:lnTo>
                  <a:lnTo>
                    <a:pt x="81" y="137"/>
                  </a:lnTo>
                  <a:lnTo>
                    <a:pt x="79" y="137"/>
                  </a:lnTo>
                  <a:lnTo>
                    <a:pt x="77" y="135"/>
                  </a:lnTo>
                  <a:lnTo>
                    <a:pt x="75" y="135"/>
                  </a:lnTo>
                  <a:lnTo>
                    <a:pt x="75" y="133"/>
                  </a:lnTo>
                  <a:lnTo>
                    <a:pt x="73" y="133"/>
                  </a:lnTo>
                  <a:lnTo>
                    <a:pt x="73" y="131"/>
                  </a:lnTo>
                  <a:lnTo>
                    <a:pt x="71" y="131"/>
                  </a:lnTo>
                  <a:lnTo>
                    <a:pt x="71" y="129"/>
                  </a:lnTo>
                  <a:lnTo>
                    <a:pt x="69" y="129"/>
                  </a:lnTo>
                  <a:lnTo>
                    <a:pt x="69" y="127"/>
                  </a:lnTo>
                  <a:lnTo>
                    <a:pt x="67" y="127"/>
                  </a:lnTo>
                  <a:lnTo>
                    <a:pt x="66" y="125"/>
                  </a:lnTo>
                  <a:lnTo>
                    <a:pt x="64" y="125"/>
                  </a:lnTo>
                  <a:lnTo>
                    <a:pt x="64" y="123"/>
                  </a:lnTo>
                  <a:lnTo>
                    <a:pt x="62" y="123"/>
                  </a:lnTo>
                  <a:lnTo>
                    <a:pt x="62" y="121"/>
                  </a:lnTo>
                  <a:lnTo>
                    <a:pt x="60" y="121"/>
                  </a:lnTo>
                  <a:lnTo>
                    <a:pt x="60" y="119"/>
                  </a:lnTo>
                  <a:lnTo>
                    <a:pt x="58" y="119"/>
                  </a:lnTo>
                  <a:lnTo>
                    <a:pt x="58" y="117"/>
                  </a:lnTo>
                  <a:lnTo>
                    <a:pt x="56" y="117"/>
                  </a:lnTo>
                  <a:lnTo>
                    <a:pt x="54" y="115"/>
                  </a:lnTo>
                  <a:lnTo>
                    <a:pt x="52" y="115"/>
                  </a:lnTo>
                  <a:lnTo>
                    <a:pt x="52" y="114"/>
                  </a:lnTo>
                  <a:lnTo>
                    <a:pt x="50" y="114"/>
                  </a:lnTo>
                  <a:lnTo>
                    <a:pt x="50" y="112"/>
                  </a:lnTo>
                  <a:lnTo>
                    <a:pt x="48" y="112"/>
                  </a:lnTo>
                  <a:lnTo>
                    <a:pt x="46" y="110"/>
                  </a:lnTo>
                  <a:lnTo>
                    <a:pt x="44" y="110"/>
                  </a:lnTo>
                  <a:lnTo>
                    <a:pt x="44" y="108"/>
                  </a:lnTo>
                  <a:lnTo>
                    <a:pt x="42" y="108"/>
                  </a:lnTo>
                  <a:lnTo>
                    <a:pt x="41" y="108"/>
                  </a:lnTo>
                  <a:lnTo>
                    <a:pt x="39" y="106"/>
                  </a:lnTo>
                  <a:lnTo>
                    <a:pt x="23" y="96"/>
                  </a:lnTo>
                  <a:lnTo>
                    <a:pt x="21" y="96"/>
                  </a:lnTo>
                  <a:lnTo>
                    <a:pt x="19" y="96"/>
                  </a:lnTo>
                  <a:lnTo>
                    <a:pt x="18" y="96"/>
                  </a:lnTo>
                  <a:lnTo>
                    <a:pt x="16" y="94"/>
                  </a:lnTo>
                  <a:lnTo>
                    <a:pt x="14" y="94"/>
                  </a:lnTo>
                  <a:lnTo>
                    <a:pt x="12" y="94"/>
                  </a:lnTo>
                  <a:lnTo>
                    <a:pt x="8" y="92"/>
                  </a:lnTo>
                  <a:lnTo>
                    <a:pt x="6" y="92"/>
                  </a:lnTo>
                  <a:lnTo>
                    <a:pt x="8" y="92"/>
                  </a:lnTo>
                  <a:lnTo>
                    <a:pt x="8" y="90"/>
                  </a:lnTo>
                  <a:lnTo>
                    <a:pt x="8" y="89"/>
                  </a:lnTo>
                  <a:lnTo>
                    <a:pt x="4" y="90"/>
                  </a:lnTo>
                  <a:lnTo>
                    <a:pt x="2" y="87"/>
                  </a:lnTo>
                  <a:lnTo>
                    <a:pt x="4" y="87"/>
                  </a:lnTo>
                  <a:lnTo>
                    <a:pt x="4" y="83"/>
                  </a:lnTo>
                  <a:lnTo>
                    <a:pt x="2" y="75"/>
                  </a:lnTo>
                  <a:lnTo>
                    <a:pt x="0" y="71"/>
                  </a:lnTo>
                  <a:lnTo>
                    <a:pt x="2" y="71"/>
                  </a:lnTo>
                  <a:lnTo>
                    <a:pt x="6" y="69"/>
                  </a:lnTo>
                  <a:lnTo>
                    <a:pt x="8" y="67"/>
                  </a:lnTo>
                  <a:lnTo>
                    <a:pt x="18" y="62"/>
                  </a:lnTo>
                  <a:lnTo>
                    <a:pt x="21" y="60"/>
                  </a:lnTo>
                  <a:lnTo>
                    <a:pt x="27" y="56"/>
                  </a:lnTo>
                  <a:lnTo>
                    <a:pt x="33" y="54"/>
                  </a:lnTo>
                  <a:lnTo>
                    <a:pt x="33" y="52"/>
                  </a:lnTo>
                  <a:lnTo>
                    <a:pt x="35" y="50"/>
                  </a:lnTo>
                  <a:lnTo>
                    <a:pt x="35" y="48"/>
                  </a:lnTo>
                  <a:lnTo>
                    <a:pt x="37" y="46"/>
                  </a:lnTo>
                  <a:lnTo>
                    <a:pt x="35" y="44"/>
                  </a:lnTo>
                  <a:lnTo>
                    <a:pt x="35" y="42"/>
                  </a:lnTo>
                  <a:lnTo>
                    <a:pt x="35" y="41"/>
                  </a:lnTo>
                  <a:lnTo>
                    <a:pt x="37" y="39"/>
                  </a:lnTo>
                  <a:lnTo>
                    <a:pt x="37" y="37"/>
                  </a:lnTo>
                  <a:lnTo>
                    <a:pt x="37" y="35"/>
                  </a:lnTo>
                  <a:lnTo>
                    <a:pt x="37" y="33"/>
                  </a:lnTo>
                  <a:lnTo>
                    <a:pt x="39" y="31"/>
                  </a:lnTo>
                  <a:lnTo>
                    <a:pt x="39" y="27"/>
                  </a:lnTo>
                  <a:lnTo>
                    <a:pt x="37" y="27"/>
                  </a:lnTo>
                  <a:lnTo>
                    <a:pt x="37" y="25"/>
                  </a:lnTo>
                  <a:lnTo>
                    <a:pt x="37" y="23"/>
                  </a:lnTo>
                  <a:lnTo>
                    <a:pt x="37" y="21"/>
                  </a:lnTo>
                  <a:lnTo>
                    <a:pt x="37" y="19"/>
                  </a:lnTo>
                  <a:lnTo>
                    <a:pt x="37" y="17"/>
                  </a:lnTo>
                  <a:lnTo>
                    <a:pt x="39" y="17"/>
                  </a:lnTo>
                  <a:lnTo>
                    <a:pt x="39" y="16"/>
                  </a:lnTo>
                  <a:lnTo>
                    <a:pt x="41" y="16"/>
                  </a:lnTo>
                  <a:lnTo>
                    <a:pt x="42" y="16"/>
                  </a:lnTo>
                  <a:lnTo>
                    <a:pt x="44" y="14"/>
                  </a:lnTo>
                  <a:lnTo>
                    <a:pt x="46" y="14"/>
                  </a:lnTo>
                  <a:lnTo>
                    <a:pt x="46" y="12"/>
                  </a:lnTo>
                  <a:lnTo>
                    <a:pt x="48" y="12"/>
                  </a:lnTo>
                  <a:lnTo>
                    <a:pt x="48" y="10"/>
                  </a:lnTo>
                  <a:lnTo>
                    <a:pt x="50" y="10"/>
                  </a:lnTo>
                  <a:lnTo>
                    <a:pt x="50" y="8"/>
                  </a:lnTo>
                  <a:lnTo>
                    <a:pt x="52" y="8"/>
                  </a:lnTo>
                  <a:lnTo>
                    <a:pt x="52" y="6"/>
                  </a:lnTo>
                  <a:lnTo>
                    <a:pt x="52" y="4"/>
                  </a:lnTo>
                  <a:lnTo>
                    <a:pt x="54" y="4"/>
                  </a:lnTo>
                  <a:lnTo>
                    <a:pt x="56" y="4"/>
                  </a:lnTo>
                  <a:lnTo>
                    <a:pt x="56" y="2"/>
                  </a:lnTo>
                  <a:lnTo>
                    <a:pt x="58" y="2"/>
                  </a:lnTo>
                  <a:lnTo>
                    <a:pt x="58" y="0"/>
                  </a:lnTo>
                  <a:lnTo>
                    <a:pt x="60" y="0"/>
                  </a:lnTo>
                  <a:lnTo>
                    <a:pt x="62" y="0"/>
                  </a:lnTo>
                  <a:lnTo>
                    <a:pt x="64" y="0"/>
                  </a:lnTo>
                  <a:lnTo>
                    <a:pt x="66" y="0"/>
                  </a:lnTo>
                  <a:lnTo>
                    <a:pt x="66" y="2"/>
                  </a:lnTo>
                  <a:lnTo>
                    <a:pt x="66" y="0"/>
                  </a:lnTo>
                  <a:lnTo>
                    <a:pt x="67" y="0"/>
                  </a:lnTo>
                  <a:lnTo>
                    <a:pt x="67" y="2"/>
                  </a:lnTo>
                  <a:lnTo>
                    <a:pt x="69" y="2"/>
                  </a:lnTo>
                  <a:lnTo>
                    <a:pt x="71" y="2"/>
                  </a:lnTo>
                  <a:lnTo>
                    <a:pt x="73" y="2"/>
                  </a:lnTo>
                  <a:lnTo>
                    <a:pt x="73" y="4"/>
                  </a:lnTo>
                  <a:lnTo>
                    <a:pt x="73" y="2"/>
                  </a:lnTo>
                  <a:lnTo>
                    <a:pt x="75" y="2"/>
                  </a:lnTo>
                  <a:lnTo>
                    <a:pt x="73" y="2"/>
                  </a:lnTo>
                  <a:lnTo>
                    <a:pt x="75" y="2"/>
                  </a:lnTo>
                  <a:lnTo>
                    <a:pt x="77" y="2"/>
                  </a:lnTo>
                  <a:lnTo>
                    <a:pt x="77" y="0"/>
                  </a:lnTo>
                  <a:lnTo>
                    <a:pt x="79" y="0"/>
                  </a:lnTo>
                  <a:lnTo>
                    <a:pt x="79" y="2"/>
                  </a:lnTo>
                  <a:lnTo>
                    <a:pt x="81" y="2"/>
                  </a:lnTo>
                  <a:lnTo>
                    <a:pt x="81" y="4"/>
                  </a:lnTo>
                  <a:lnTo>
                    <a:pt x="79" y="4"/>
                  </a:lnTo>
                  <a:lnTo>
                    <a:pt x="79" y="6"/>
                  </a:lnTo>
                  <a:lnTo>
                    <a:pt x="81" y="6"/>
                  </a:lnTo>
                  <a:lnTo>
                    <a:pt x="81" y="8"/>
                  </a:lnTo>
                  <a:lnTo>
                    <a:pt x="81" y="6"/>
                  </a:lnTo>
                  <a:lnTo>
                    <a:pt x="83" y="6"/>
                  </a:lnTo>
                  <a:lnTo>
                    <a:pt x="81" y="6"/>
                  </a:lnTo>
                  <a:lnTo>
                    <a:pt x="83" y="6"/>
                  </a:lnTo>
                  <a:lnTo>
                    <a:pt x="85" y="6"/>
                  </a:lnTo>
                  <a:lnTo>
                    <a:pt x="85" y="4"/>
                  </a:lnTo>
                  <a:lnTo>
                    <a:pt x="87" y="4"/>
                  </a:lnTo>
                  <a:lnTo>
                    <a:pt x="89" y="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355">
              <a:extLst>
                <a:ext uri="{FF2B5EF4-FFF2-40B4-BE49-F238E27FC236}">
                  <a16:creationId xmlns:a16="http://schemas.microsoft.com/office/drawing/2014/main" id="{8C78A383-C581-4437-A9C6-1B6721BFDA02}"/>
                </a:ext>
              </a:extLst>
            </p:cNvPr>
            <p:cNvSpPr>
              <a:spLocks/>
            </p:cNvSpPr>
            <p:nvPr/>
          </p:nvSpPr>
          <p:spPr bwMode="gray">
            <a:xfrm>
              <a:off x="3848431" y="3732504"/>
              <a:ext cx="4906" cy="14717"/>
            </a:xfrm>
            <a:custGeom>
              <a:avLst/>
              <a:gdLst>
                <a:gd name="T0" fmla="*/ 0 w 4"/>
                <a:gd name="T1" fmla="*/ 0 h 12"/>
                <a:gd name="T2" fmla="*/ 2 w 4"/>
                <a:gd name="T3" fmla="*/ 0 h 12"/>
                <a:gd name="T4" fmla="*/ 2 w 4"/>
                <a:gd name="T5" fmla="*/ 2 h 12"/>
                <a:gd name="T6" fmla="*/ 4 w 4"/>
                <a:gd name="T7" fmla="*/ 2 h 12"/>
                <a:gd name="T8" fmla="*/ 2 w 4"/>
                <a:gd name="T9" fmla="*/ 2 h 12"/>
                <a:gd name="T10" fmla="*/ 2 w 4"/>
                <a:gd name="T11" fmla="*/ 4 h 12"/>
                <a:gd name="T12" fmla="*/ 4 w 4"/>
                <a:gd name="T13" fmla="*/ 4 h 12"/>
                <a:gd name="T14" fmla="*/ 4 w 4"/>
                <a:gd name="T15" fmla="*/ 6 h 12"/>
                <a:gd name="T16" fmla="*/ 4 w 4"/>
                <a:gd name="T17" fmla="*/ 8 h 12"/>
                <a:gd name="T18" fmla="*/ 2 w 4"/>
                <a:gd name="T19" fmla="*/ 8 h 12"/>
                <a:gd name="T20" fmla="*/ 2 w 4"/>
                <a:gd name="T21" fmla="*/ 10 h 12"/>
                <a:gd name="T22" fmla="*/ 0 w 4"/>
                <a:gd name="T23" fmla="*/ 10 h 12"/>
                <a:gd name="T24" fmla="*/ 0 w 4"/>
                <a:gd name="T25" fmla="*/ 12 h 12"/>
                <a:gd name="T26" fmla="*/ 0 w 4"/>
                <a:gd name="T27" fmla="*/ 10 h 12"/>
                <a:gd name="T28" fmla="*/ 0 w 4"/>
                <a:gd name="T29" fmla="*/ 8 h 12"/>
                <a:gd name="T30" fmla="*/ 0 w 4"/>
                <a:gd name="T31" fmla="*/ 6 h 12"/>
                <a:gd name="T32" fmla="*/ 0 w 4"/>
                <a:gd name="T33" fmla="*/ 4 h 12"/>
                <a:gd name="T34" fmla="*/ 0 w 4"/>
                <a:gd name="T35" fmla="*/ 2 h 12"/>
                <a:gd name="T36" fmla="*/ 0 w 4"/>
                <a:gd name="T3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2">
                  <a:moveTo>
                    <a:pt x="0" y="0"/>
                  </a:moveTo>
                  <a:lnTo>
                    <a:pt x="2" y="0"/>
                  </a:lnTo>
                  <a:lnTo>
                    <a:pt x="2" y="2"/>
                  </a:lnTo>
                  <a:lnTo>
                    <a:pt x="4" y="2"/>
                  </a:lnTo>
                  <a:lnTo>
                    <a:pt x="2" y="2"/>
                  </a:lnTo>
                  <a:lnTo>
                    <a:pt x="2" y="4"/>
                  </a:lnTo>
                  <a:lnTo>
                    <a:pt x="4" y="4"/>
                  </a:lnTo>
                  <a:lnTo>
                    <a:pt x="4" y="6"/>
                  </a:lnTo>
                  <a:lnTo>
                    <a:pt x="4" y="8"/>
                  </a:lnTo>
                  <a:lnTo>
                    <a:pt x="2" y="8"/>
                  </a:lnTo>
                  <a:lnTo>
                    <a:pt x="2" y="10"/>
                  </a:lnTo>
                  <a:lnTo>
                    <a:pt x="0" y="10"/>
                  </a:lnTo>
                  <a:lnTo>
                    <a:pt x="0" y="12"/>
                  </a:lnTo>
                  <a:lnTo>
                    <a:pt x="0" y="10"/>
                  </a:lnTo>
                  <a:lnTo>
                    <a:pt x="0" y="8"/>
                  </a:lnTo>
                  <a:lnTo>
                    <a:pt x="0" y="6"/>
                  </a:lnTo>
                  <a:lnTo>
                    <a:pt x="0" y="4"/>
                  </a:lnTo>
                  <a:lnTo>
                    <a:pt x="0" y="2"/>
                  </a:lnTo>
                  <a:lnTo>
                    <a:pt x="0"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356">
              <a:extLst>
                <a:ext uri="{FF2B5EF4-FFF2-40B4-BE49-F238E27FC236}">
                  <a16:creationId xmlns:a16="http://schemas.microsoft.com/office/drawing/2014/main" id="{E58DD1C0-D527-46C9-83E8-04EF804A0C89}"/>
                </a:ext>
              </a:extLst>
            </p:cNvPr>
            <p:cNvSpPr>
              <a:spLocks/>
            </p:cNvSpPr>
            <p:nvPr/>
          </p:nvSpPr>
          <p:spPr bwMode="gray">
            <a:xfrm>
              <a:off x="3834941" y="3749673"/>
              <a:ext cx="11038" cy="25754"/>
            </a:xfrm>
            <a:custGeom>
              <a:avLst/>
              <a:gdLst>
                <a:gd name="T0" fmla="*/ 9 w 9"/>
                <a:gd name="T1" fmla="*/ 2 h 21"/>
                <a:gd name="T2" fmla="*/ 9 w 9"/>
                <a:gd name="T3" fmla="*/ 3 h 21"/>
                <a:gd name="T4" fmla="*/ 9 w 9"/>
                <a:gd name="T5" fmla="*/ 5 h 21"/>
                <a:gd name="T6" fmla="*/ 9 w 9"/>
                <a:gd name="T7" fmla="*/ 7 h 21"/>
                <a:gd name="T8" fmla="*/ 9 w 9"/>
                <a:gd name="T9" fmla="*/ 9 h 21"/>
                <a:gd name="T10" fmla="*/ 9 w 9"/>
                <a:gd name="T11" fmla="*/ 11 h 21"/>
                <a:gd name="T12" fmla="*/ 9 w 9"/>
                <a:gd name="T13" fmla="*/ 13 h 21"/>
                <a:gd name="T14" fmla="*/ 9 w 9"/>
                <a:gd name="T15" fmla="*/ 15 h 21"/>
                <a:gd name="T16" fmla="*/ 9 w 9"/>
                <a:gd name="T17" fmla="*/ 17 h 21"/>
                <a:gd name="T18" fmla="*/ 7 w 9"/>
                <a:gd name="T19" fmla="*/ 17 h 21"/>
                <a:gd name="T20" fmla="*/ 7 w 9"/>
                <a:gd name="T21" fmla="*/ 19 h 21"/>
                <a:gd name="T22" fmla="*/ 5 w 9"/>
                <a:gd name="T23" fmla="*/ 19 h 21"/>
                <a:gd name="T24" fmla="*/ 4 w 9"/>
                <a:gd name="T25" fmla="*/ 19 h 21"/>
                <a:gd name="T26" fmla="*/ 2 w 9"/>
                <a:gd name="T27" fmla="*/ 19 h 21"/>
                <a:gd name="T28" fmla="*/ 2 w 9"/>
                <a:gd name="T29" fmla="*/ 21 h 21"/>
                <a:gd name="T30" fmla="*/ 2 w 9"/>
                <a:gd name="T31" fmla="*/ 19 h 21"/>
                <a:gd name="T32" fmla="*/ 2 w 9"/>
                <a:gd name="T33" fmla="*/ 21 h 21"/>
                <a:gd name="T34" fmla="*/ 0 w 9"/>
                <a:gd name="T35" fmla="*/ 21 h 21"/>
                <a:gd name="T36" fmla="*/ 0 w 9"/>
                <a:gd name="T37" fmla="*/ 19 h 21"/>
                <a:gd name="T38" fmla="*/ 2 w 9"/>
                <a:gd name="T39" fmla="*/ 19 h 21"/>
                <a:gd name="T40" fmla="*/ 2 w 9"/>
                <a:gd name="T41" fmla="*/ 17 h 21"/>
                <a:gd name="T42" fmla="*/ 2 w 9"/>
                <a:gd name="T43" fmla="*/ 15 h 21"/>
                <a:gd name="T44" fmla="*/ 4 w 9"/>
                <a:gd name="T45" fmla="*/ 15 h 21"/>
                <a:gd name="T46" fmla="*/ 4 w 9"/>
                <a:gd name="T47" fmla="*/ 13 h 21"/>
                <a:gd name="T48" fmla="*/ 5 w 9"/>
                <a:gd name="T49" fmla="*/ 13 h 21"/>
                <a:gd name="T50" fmla="*/ 5 w 9"/>
                <a:gd name="T51" fmla="*/ 11 h 21"/>
                <a:gd name="T52" fmla="*/ 4 w 9"/>
                <a:gd name="T53" fmla="*/ 11 h 21"/>
                <a:gd name="T54" fmla="*/ 2 w 9"/>
                <a:gd name="T55" fmla="*/ 11 h 21"/>
                <a:gd name="T56" fmla="*/ 2 w 9"/>
                <a:gd name="T57" fmla="*/ 9 h 21"/>
                <a:gd name="T58" fmla="*/ 2 w 9"/>
                <a:gd name="T59" fmla="*/ 7 h 21"/>
                <a:gd name="T60" fmla="*/ 2 w 9"/>
                <a:gd name="T61" fmla="*/ 5 h 21"/>
                <a:gd name="T62" fmla="*/ 2 w 9"/>
                <a:gd name="T63" fmla="*/ 3 h 21"/>
                <a:gd name="T64" fmla="*/ 2 w 9"/>
                <a:gd name="T65" fmla="*/ 2 h 21"/>
                <a:gd name="T66" fmla="*/ 4 w 9"/>
                <a:gd name="T67" fmla="*/ 2 h 21"/>
                <a:gd name="T68" fmla="*/ 2 w 9"/>
                <a:gd name="T69" fmla="*/ 2 h 21"/>
                <a:gd name="T70" fmla="*/ 4 w 9"/>
                <a:gd name="T71" fmla="*/ 2 h 21"/>
                <a:gd name="T72" fmla="*/ 2 w 9"/>
                <a:gd name="T73" fmla="*/ 2 h 21"/>
                <a:gd name="T74" fmla="*/ 4 w 9"/>
                <a:gd name="T75" fmla="*/ 2 h 21"/>
                <a:gd name="T76" fmla="*/ 4 w 9"/>
                <a:gd name="T77" fmla="*/ 0 h 21"/>
                <a:gd name="T78" fmla="*/ 5 w 9"/>
                <a:gd name="T79" fmla="*/ 0 h 21"/>
                <a:gd name="T80" fmla="*/ 7 w 9"/>
                <a:gd name="T81" fmla="*/ 0 h 21"/>
                <a:gd name="T82" fmla="*/ 7 w 9"/>
                <a:gd name="T83" fmla="*/ 2 h 21"/>
                <a:gd name="T84" fmla="*/ 9 w 9"/>
                <a:gd name="T8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 h="21">
                  <a:moveTo>
                    <a:pt x="9" y="2"/>
                  </a:moveTo>
                  <a:lnTo>
                    <a:pt x="9" y="3"/>
                  </a:lnTo>
                  <a:lnTo>
                    <a:pt x="9" y="5"/>
                  </a:lnTo>
                  <a:lnTo>
                    <a:pt x="9" y="7"/>
                  </a:lnTo>
                  <a:lnTo>
                    <a:pt x="9" y="9"/>
                  </a:lnTo>
                  <a:lnTo>
                    <a:pt x="9" y="11"/>
                  </a:lnTo>
                  <a:lnTo>
                    <a:pt x="9" y="13"/>
                  </a:lnTo>
                  <a:lnTo>
                    <a:pt x="9" y="15"/>
                  </a:lnTo>
                  <a:lnTo>
                    <a:pt x="9" y="17"/>
                  </a:lnTo>
                  <a:lnTo>
                    <a:pt x="7" y="17"/>
                  </a:lnTo>
                  <a:lnTo>
                    <a:pt x="7" y="19"/>
                  </a:lnTo>
                  <a:lnTo>
                    <a:pt x="5" y="19"/>
                  </a:lnTo>
                  <a:lnTo>
                    <a:pt x="4" y="19"/>
                  </a:lnTo>
                  <a:lnTo>
                    <a:pt x="2" y="19"/>
                  </a:lnTo>
                  <a:lnTo>
                    <a:pt x="2" y="21"/>
                  </a:lnTo>
                  <a:lnTo>
                    <a:pt x="2" y="19"/>
                  </a:lnTo>
                  <a:lnTo>
                    <a:pt x="2" y="21"/>
                  </a:lnTo>
                  <a:lnTo>
                    <a:pt x="0" y="21"/>
                  </a:lnTo>
                  <a:lnTo>
                    <a:pt x="0" y="19"/>
                  </a:lnTo>
                  <a:lnTo>
                    <a:pt x="2" y="19"/>
                  </a:lnTo>
                  <a:lnTo>
                    <a:pt x="2" y="17"/>
                  </a:lnTo>
                  <a:lnTo>
                    <a:pt x="2" y="15"/>
                  </a:lnTo>
                  <a:lnTo>
                    <a:pt x="4" y="15"/>
                  </a:lnTo>
                  <a:lnTo>
                    <a:pt x="4" y="13"/>
                  </a:lnTo>
                  <a:lnTo>
                    <a:pt x="5" y="13"/>
                  </a:lnTo>
                  <a:lnTo>
                    <a:pt x="5" y="11"/>
                  </a:lnTo>
                  <a:lnTo>
                    <a:pt x="4" y="11"/>
                  </a:lnTo>
                  <a:lnTo>
                    <a:pt x="2" y="11"/>
                  </a:lnTo>
                  <a:lnTo>
                    <a:pt x="2" y="9"/>
                  </a:lnTo>
                  <a:lnTo>
                    <a:pt x="2" y="7"/>
                  </a:lnTo>
                  <a:lnTo>
                    <a:pt x="2" y="5"/>
                  </a:lnTo>
                  <a:lnTo>
                    <a:pt x="2" y="3"/>
                  </a:lnTo>
                  <a:lnTo>
                    <a:pt x="2" y="2"/>
                  </a:lnTo>
                  <a:lnTo>
                    <a:pt x="4" y="2"/>
                  </a:lnTo>
                  <a:lnTo>
                    <a:pt x="2" y="2"/>
                  </a:lnTo>
                  <a:lnTo>
                    <a:pt x="4" y="2"/>
                  </a:lnTo>
                  <a:lnTo>
                    <a:pt x="2" y="2"/>
                  </a:lnTo>
                  <a:lnTo>
                    <a:pt x="4" y="2"/>
                  </a:lnTo>
                  <a:lnTo>
                    <a:pt x="4" y="0"/>
                  </a:lnTo>
                  <a:lnTo>
                    <a:pt x="5" y="0"/>
                  </a:lnTo>
                  <a:lnTo>
                    <a:pt x="7" y="0"/>
                  </a:lnTo>
                  <a:lnTo>
                    <a:pt x="7" y="2"/>
                  </a:lnTo>
                  <a:lnTo>
                    <a:pt x="9" y="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357">
              <a:extLst>
                <a:ext uri="{FF2B5EF4-FFF2-40B4-BE49-F238E27FC236}">
                  <a16:creationId xmlns:a16="http://schemas.microsoft.com/office/drawing/2014/main" id="{4719E8FD-4B93-4D76-ABEC-4797E9304916}"/>
                </a:ext>
              </a:extLst>
            </p:cNvPr>
            <p:cNvSpPr>
              <a:spLocks/>
            </p:cNvSpPr>
            <p:nvPr/>
          </p:nvSpPr>
          <p:spPr bwMode="gray">
            <a:xfrm>
              <a:off x="3825130" y="3732504"/>
              <a:ext cx="23302" cy="79715"/>
            </a:xfrm>
            <a:custGeom>
              <a:avLst/>
              <a:gdLst>
                <a:gd name="T0" fmla="*/ 0 w 19"/>
                <a:gd name="T1" fmla="*/ 33 h 65"/>
                <a:gd name="T2" fmla="*/ 4 w 19"/>
                <a:gd name="T3" fmla="*/ 31 h 65"/>
                <a:gd name="T4" fmla="*/ 4 w 19"/>
                <a:gd name="T5" fmla="*/ 27 h 65"/>
                <a:gd name="T6" fmla="*/ 6 w 19"/>
                <a:gd name="T7" fmla="*/ 23 h 65"/>
                <a:gd name="T8" fmla="*/ 8 w 19"/>
                <a:gd name="T9" fmla="*/ 17 h 65"/>
                <a:gd name="T10" fmla="*/ 8 w 19"/>
                <a:gd name="T11" fmla="*/ 12 h 65"/>
                <a:gd name="T12" fmla="*/ 10 w 19"/>
                <a:gd name="T13" fmla="*/ 12 h 65"/>
                <a:gd name="T14" fmla="*/ 10 w 19"/>
                <a:gd name="T15" fmla="*/ 10 h 65"/>
                <a:gd name="T16" fmla="*/ 12 w 19"/>
                <a:gd name="T17" fmla="*/ 6 h 65"/>
                <a:gd name="T18" fmla="*/ 15 w 19"/>
                <a:gd name="T19" fmla="*/ 4 h 65"/>
                <a:gd name="T20" fmla="*/ 17 w 19"/>
                <a:gd name="T21" fmla="*/ 0 h 65"/>
                <a:gd name="T22" fmla="*/ 19 w 19"/>
                <a:gd name="T23" fmla="*/ 4 h 65"/>
                <a:gd name="T24" fmla="*/ 19 w 19"/>
                <a:gd name="T25" fmla="*/ 10 h 65"/>
                <a:gd name="T26" fmla="*/ 19 w 19"/>
                <a:gd name="T27" fmla="*/ 12 h 65"/>
                <a:gd name="T28" fmla="*/ 19 w 19"/>
                <a:gd name="T29" fmla="*/ 14 h 65"/>
                <a:gd name="T30" fmla="*/ 17 w 19"/>
                <a:gd name="T31" fmla="*/ 14 h 65"/>
                <a:gd name="T32" fmla="*/ 17 w 19"/>
                <a:gd name="T33" fmla="*/ 16 h 65"/>
                <a:gd name="T34" fmla="*/ 13 w 19"/>
                <a:gd name="T35" fmla="*/ 14 h 65"/>
                <a:gd name="T36" fmla="*/ 10 w 19"/>
                <a:gd name="T37" fmla="*/ 16 h 65"/>
                <a:gd name="T38" fmla="*/ 12 w 19"/>
                <a:gd name="T39" fmla="*/ 16 h 65"/>
                <a:gd name="T40" fmla="*/ 10 w 19"/>
                <a:gd name="T41" fmla="*/ 19 h 65"/>
                <a:gd name="T42" fmla="*/ 10 w 19"/>
                <a:gd name="T43" fmla="*/ 25 h 65"/>
                <a:gd name="T44" fmla="*/ 13 w 19"/>
                <a:gd name="T45" fmla="*/ 27 h 65"/>
                <a:gd name="T46" fmla="*/ 10 w 19"/>
                <a:gd name="T47" fmla="*/ 29 h 65"/>
                <a:gd name="T48" fmla="*/ 8 w 19"/>
                <a:gd name="T49" fmla="*/ 33 h 65"/>
                <a:gd name="T50" fmla="*/ 10 w 19"/>
                <a:gd name="T51" fmla="*/ 33 h 65"/>
                <a:gd name="T52" fmla="*/ 12 w 19"/>
                <a:gd name="T53" fmla="*/ 33 h 65"/>
                <a:gd name="T54" fmla="*/ 15 w 19"/>
                <a:gd name="T55" fmla="*/ 31 h 65"/>
                <a:gd name="T56" fmla="*/ 15 w 19"/>
                <a:gd name="T57" fmla="*/ 35 h 65"/>
                <a:gd name="T58" fmla="*/ 17 w 19"/>
                <a:gd name="T59" fmla="*/ 39 h 65"/>
                <a:gd name="T60" fmla="*/ 15 w 19"/>
                <a:gd name="T61" fmla="*/ 42 h 65"/>
                <a:gd name="T62" fmla="*/ 13 w 19"/>
                <a:gd name="T63" fmla="*/ 46 h 65"/>
                <a:gd name="T64" fmla="*/ 12 w 19"/>
                <a:gd name="T65" fmla="*/ 50 h 65"/>
                <a:gd name="T66" fmla="*/ 12 w 19"/>
                <a:gd name="T67" fmla="*/ 52 h 65"/>
                <a:gd name="T68" fmla="*/ 12 w 19"/>
                <a:gd name="T69" fmla="*/ 58 h 65"/>
                <a:gd name="T70" fmla="*/ 10 w 19"/>
                <a:gd name="T71" fmla="*/ 62 h 65"/>
                <a:gd name="T72" fmla="*/ 8 w 19"/>
                <a:gd name="T73" fmla="*/ 65 h 65"/>
                <a:gd name="T74" fmla="*/ 8 w 19"/>
                <a:gd name="T75" fmla="*/ 60 h 65"/>
                <a:gd name="T76" fmla="*/ 6 w 19"/>
                <a:gd name="T77" fmla="*/ 56 h 65"/>
                <a:gd name="T78" fmla="*/ 4 w 19"/>
                <a:gd name="T79" fmla="*/ 50 h 65"/>
                <a:gd name="T80" fmla="*/ 2 w 19"/>
                <a:gd name="T81" fmla="*/ 46 h 65"/>
                <a:gd name="T82" fmla="*/ 0 w 19"/>
                <a:gd name="T83" fmla="*/ 42 h 65"/>
                <a:gd name="T84" fmla="*/ 0 w 19"/>
                <a:gd name="T85"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65">
                  <a:moveTo>
                    <a:pt x="0" y="37"/>
                  </a:moveTo>
                  <a:lnTo>
                    <a:pt x="0" y="35"/>
                  </a:lnTo>
                  <a:lnTo>
                    <a:pt x="0" y="33"/>
                  </a:lnTo>
                  <a:lnTo>
                    <a:pt x="2" y="33"/>
                  </a:lnTo>
                  <a:lnTo>
                    <a:pt x="2" y="31"/>
                  </a:lnTo>
                  <a:lnTo>
                    <a:pt x="4" y="31"/>
                  </a:lnTo>
                  <a:lnTo>
                    <a:pt x="2" y="29"/>
                  </a:lnTo>
                  <a:lnTo>
                    <a:pt x="4" y="29"/>
                  </a:lnTo>
                  <a:lnTo>
                    <a:pt x="4" y="27"/>
                  </a:lnTo>
                  <a:lnTo>
                    <a:pt x="4" y="25"/>
                  </a:lnTo>
                  <a:lnTo>
                    <a:pt x="6" y="25"/>
                  </a:lnTo>
                  <a:lnTo>
                    <a:pt x="6" y="23"/>
                  </a:lnTo>
                  <a:lnTo>
                    <a:pt x="6" y="21"/>
                  </a:lnTo>
                  <a:lnTo>
                    <a:pt x="8" y="19"/>
                  </a:lnTo>
                  <a:lnTo>
                    <a:pt x="8" y="17"/>
                  </a:lnTo>
                  <a:lnTo>
                    <a:pt x="8" y="16"/>
                  </a:lnTo>
                  <a:lnTo>
                    <a:pt x="8" y="14"/>
                  </a:lnTo>
                  <a:lnTo>
                    <a:pt x="8" y="12"/>
                  </a:lnTo>
                  <a:lnTo>
                    <a:pt x="10" y="12"/>
                  </a:lnTo>
                  <a:lnTo>
                    <a:pt x="8" y="12"/>
                  </a:lnTo>
                  <a:lnTo>
                    <a:pt x="10" y="12"/>
                  </a:lnTo>
                  <a:lnTo>
                    <a:pt x="10" y="10"/>
                  </a:lnTo>
                  <a:lnTo>
                    <a:pt x="10" y="12"/>
                  </a:lnTo>
                  <a:lnTo>
                    <a:pt x="10" y="10"/>
                  </a:lnTo>
                  <a:lnTo>
                    <a:pt x="10" y="8"/>
                  </a:lnTo>
                  <a:lnTo>
                    <a:pt x="12" y="8"/>
                  </a:lnTo>
                  <a:lnTo>
                    <a:pt x="12" y="6"/>
                  </a:lnTo>
                  <a:lnTo>
                    <a:pt x="12" y="4"/>
                  </a:lnTo>
                  <a:lnTo>
                    <a:pt x="13" y="4"/>
                  </a:lnTo>
                  <a:lnTo>
                    <a:pt x="15" y="4"/>
                  </a:lnTo>
                  <a:lnTo>
                    <a:pt x="17" y="4"/>
                  </a:lnTo>
                  <a:lnTo>
                    <a:pt x="17" y="2"/>
                  </a:lnTo>
                  <a:lnTo>
                    <a:pt x="17" y="0"/>
                  </a:lnTo>
                  <a:lnTo>
                    <a:pt x="19" y="0"/>
                  </a:lnTo>
                  <a:lnTo>
                    <a:pt x="19" y="2"/>
                  </a:lnTo>
                  <a:lnTo>
                    <a:pt x="19" y="4"/>
                  </a:lnTo>
                  <a:lnTo>
                    <a:pt x="19" y="6"/>
                  </a:lnTo>
                  <a:lnTo>
                    <a:pt x="19" y="8"/>
                  </a:lnTo>
                  <a:lnTo>
                    <a:pt x="19" y="10"/>
                  </a:lnTo>
                  <a:lnTo>
                    <a:pt x="19" y="12"/>
                  </a:lnTo>
                  <a:lnTo>
                    <a:pt x="19" y="10"/>
                  </a:lnTo>
                  <a:lnTo>
                    <a:pt x="19" y="12"/>
                  </a:lnTo>
                  <a:lnTo>
                    <a:pt x="17" y="12"/>
                  </a:lnTo>
                  <a:lnTo>
                    <a:pt x="19" y="12"/>
                  </a:lnTo>
                  <a:lnTo>
                    <a:pt x="19" y="14"/>
                  </a:lnTo>
                  <a:lnTo>
                    <a:pt x="17" y="14"/>
                  </a:lnTo>
                  <a:lnTo>
                    <a:pt x="19" y="14"/>
                  </a:lnTo>
                  <a:lnTo>
                    <a:pt x="17" y="14"/>
                  </a:lnTo>
                  <a:lnTo>
                    <a:pt x="19" y="14"/>
                  </a:lnTo>
                  <a:lnTo>
                    <a:pt x="17" y="14"/>
                  </a:lnTo>
                  <a:lnTo>
                    <a:pt x="17" y="16"/>
                  </a:lnTo>
                  <a:lnTo>
                    <a:pt x="15" y="16"/>
                  </a:lnTo>
                  <a:lnTo>
                    <a:pt x="15" y="14"/>
                  </a:lnTo>
                  <a:lnTo>
                    <a:pt x="13" y="14"/>
                  </a:lnTo>
                  <a:lnTo>
                    <a:pt x="12" y="14"/>
                  </a:lnTo>
                  <a:lnTo>
                    <a:pt x="12" y="16"/>
                  </a:lnTo>
                  <a:lnTo>
                    <a:pt x="10" y="16"/>
                  </a:lnTo>
                  <a:lnTo>
                    <a:pt x="12" y="16"/>
                  </a:lnTo>
                  <a:lnTo>
                    <a:pt x="10" y="16"/>
                  </a:lnTo>
                  <a:lnTo>
                    <a:pt x="12" y="16"/>
                  </a:lnTo>
                  <a:lnTo>
                    <a:pt x="10" y="16"/>
                  </a:lnTo>
                  <a:lnTo>
                    <a:pt x="10" y="17"/>
                  </a:lnTo>
                  <a:lnTo>
                    <a:pt x="10" y="19"/>
                  </a:lnTo>
                  <a:lnTo>
                    <a:pt x="10" y="21"/>
                  </a:lnTo>
                  <a:lnTo>
                    <a:pt x="10" y="23"/>
                  </a:lnTo>
                  <a:lnTo>
                    <a:pt x="10" y="25"/>
                  </a:lnTo>
                  <a:lnTo>
                    <a:pt x="12" y="25"/>
                  </a:lnTo>
                  <a:lnTo>
                    <a:pt x="13" y="25"/>
                  </a:lnTo>
                  <a:lnTo>
                    <a:pt x="13" y="27"/>
                  </a:lnTo>
                  <a:lnTo>
                    <a:pt x="12" y="27"/>
                  </a:lnTo>
                  <a:lnTo>
                    <a:pt x="12" y="29"/>
                  </a:lnTo>
                  <a:lnTo>
                    <a:pt x="10" y="29"/>
                  </a:lnTo>
                  <a:lnTo>
                    <a:pt x="10" y="31"/>
                  </a:lnTo>
                  <a:lnTo>
                    <a:pt x="10" y="33"/>
                  </a:lnTo>
                  <a:lnTo>
                    <a:pt x="8" y="33"/>
                  </a:lnTo>
                  <a:lnTo>
                    <a:pt x="8" y="35"/>
                  </a:lnTo>
                  <a:lnTo>
                    <a:pt x="10" y="35"/>
                  </a:lnTo>
                  <a:lnTo>
                    <a:pt x="10" y="33"/>
                  </a:lnTo>
                  <a:lnTo>
                    <a:pt x="10" y="35"/>
                  </a:lnTo>
                  <a:lnTo>
                    <a:pt x="10" y="33"/>
                  </a:lnTo>
                  <a:lnTo>
                    <a:pt x="12" y="33"/>
                  </a:lnTo>
                  <a:lnTo>
                    <a:pt x="13" y="33"/>
                  </a:lnTo>
                  <a:lnTo>
                    <a:pt x="15" y="33"/>
                  </a:lnTo>
                  <a:lnTo>
                    <a:pt x="15" y="31"/>
                  </a:lnTo>
                  <a:lnTo>
                    <a:pt x="17" y="31"/>
                  </a:lnTo>
                  <a:lnTo>
                    <a:pt x="17" y="33"/>
                  </a:lnTo>
                  <a:lnTo>
                    <a:pt x="15" y="35"/>
                  </a:lnTo>
                  <a:lnTo>
                    <a:pt x="15" y="37"/>
                  </a:lnTo>
                  <a:lnTo>
                    <a:pt x="17" y="37"/>
                  </a:lnTo>
                  <a:lnTo>
                    <a:pt x="17" y="39"/>
                  </a:lnTo>
                  <a:lnTo>
                    <a:pt x="15" y="39"/>
                  </a:lnTo>
                  <a:lnTo>
                    <a:pt x="15" y="41"/>
                  </a:lnTo>
                  <a:lnTo>
                    <a:pt x="15" y="42"/>
                  </a:lnTo>
                  <a:lnTo>
                    <a:pt x="13" y="42"/>
                  </a:lnTo>
                  <a:lnTo>
                    <a:pt x="13" y="44"/>
                  </a:lnTo>
                  <a:lnTo>
                    <a:pt x="13" y="46"/>
                  </a:lnTo>
                  <a:lnTo>
                    <a:pt x="13" y="48"/>
                  </a:lnTo>
                  <a:lnTo>
                    <a:pt x="12" y="48"/>
                  </a:lnTo>
                  <a:lnTo>
                    <a:pt x="12" y="50"/>
                  </a:lnTo>
                  <a:lnTo>
                    <a:pt x="13" y="50"/>
                  </a:lnTo>
                  <a:lnTo>
                    <a:pt x="13" y="52"/>
                  </a:lnTo>
                  <a:lnTo>
                    <a:pt x="12" y="52"/>
                  </a:lnTo>
                  <a:lnTo>
                    <a:pt x="12" y="54"/>
                  </a:lnTo>
                  <a:lnTo>
                    <a:pt x="12" y="56"/>
                  </a:lnTo>
                  <a:lnTo>
                    <a:pt x="12" y="58"/>
                  </a:lnTo>
                  <a:lnTo>
                    <a:pt x="12" y="60"/>
                  </a:lnTo>
                  <a:lnTo>
                    <a:pt x="10" y="60"/>
                  </a:lnTo>
                  <a:lnTo>
                    <a:pt x="10" y="62"/>
                  </a:lnTo>
                  <a:lnTo>
                    <a:pt x="10" y="64"/>
                  </a:lnTo>
                  <a:lnTo>
                    <a:pt x="10" y="65"/>
                  </a:lnTo>
                  <a:lnTo>
                    <a:pt x="8" y="65"/>
                  </a:lnTo>
                  <a:lnTo>
                    <a:pt x="8" y="64"/>
                  </a:lnTo>
                  <a:lnTo>
                    <a:pt x="8" y="62"/>
                  </a:lnTo>
                  <a:lnTo>
                    <a:pt x="8" y="60"/>
                  </a:lnTo>
                  <a:lnTo>
                    <a:pt x="8" y="58"/>
                  </a:lnTo>
                  <a:lnTo>
                    <a:pt x="6" y="58"/>
                  </a:lnTo>
                  <a:lnTo>
                    <a:pt x="6" y="56"/>
                  </a:lnTo>
                  <a:lnTo>
                    <a:pt x="6" y="54"/>
                  </a:lnTo>
                  <a:lnTo>
                    <a:pt x="4" y="52"/>
                  </a:lnTo>
                  <a:lnTo>
                    <a:pt x="4" y="50"/>
                  </a:lnTo>
                  <a:lnTo>
                    <a:pt x="4" y="48"/>
                  </a:lnTo>
                  <a:lnTo>
                    <a:pt x="2" y="48"/>
                  </a:lnTo>
                  <a:lnTo>
                    <a:pt x="2" y="46"/>
                  </a:lnTo>
                  <a:lnTo>
                    <a:pt x="2" y="44"/>
                  </a:lnTo>
                  <a:lnTo>
                    <a:pt x="2" y="42"/>
                  </a:lnTo>
                  <a:lnTo>
                    <a:pt x="0" y="42"/>
                  </a:lnTo>
                  <a:lnTo>
                    <a:pt x="0" y="41"/>
                  </a:lnTo>
                  <a:lnTo>
                    <a:pt x="0" y="39"/>
                  </a:lnTo>
                  <a:lnTo>
                    <a:pt x="0" y="3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358">
              <a:extLst>
                <a:ext uri="{FF2B5EF4-FFF2-40B4-BE49-F238E27FC236}">
                  <a16:creationId xmlns:a16="http://schemas.microsoft.com/office/drawing/2014/main" id="{A0FD12BE-62EA-473B-9FA3-48A96F6B15F9}"/>
                </a:ext>
              </a:extLst>
            </p:cNvPr>
            <p:cNvSpPr>
              <a:spLocks/>
            </p:cNvSpPr>
            <p:nvPr/>
          </p:nvSpPr>
          <p:spPr bwMode="gray">
            <a:xfrm>
              <a:off x="3822677" y="3768068"/>
              <a:ext cx="7358" cy="9811"/>
            </a:xfrm>
            <a:custGeom>
              <a:avLst/>
              <a:gdLst>
                <a:gd name="T0" fmla="*/ 2 w 6"/>
                <a:gd name="T1" fmla="*/ 8 h 8"/>
                <a:gd name="T2" fmla="*/ 0 w 6"/>
                <a:gd name="T3" fmla="*/ 6 h 8"/>
                <a:gd name="T4" fmla="*/ 2 w 6"/>
                <a:gd name="T5" fmla="*/ 4 h 8"/>
                <a:gd name="T6" fmla="*/ 2 w 6"/>
                <a:gd name="T7" fmla="*/ 2 h 8"/>
                <a:gd name="T8" fmla="*/ 4 w 6"/>
                <a:gd name="T9" fmla="*/ 2 h 8"/>
                <a:gd name="T10" fmla="*/ 4 w 6"/>
                <a:gd name="T11" fmla="*/ 0 h 8"/>
                <a:gd name="T12" fmla="*/ 6 w 6"/>
                <a:gd name="T13" fmla="*/ 2 h 8"/>
                <a:gd name="T14" fmla="*/ 4 w 6"/>
                <a:gd name="T15" fmla="*/ 2 h 8"/>
                <a:gd name="T16" fmla="*/ 4 w 6"/>
                <a:gd name="T17" fmla="*/ 4 h 8"/>
                <a:gd name="T18" fmla="*/ 2 w 6"/>
                <a:gd name="T19" fmla="*/ 4 h 8"/>
                <a:gd name="T20" fmla="*/ 2 w 6"/>
                <a:gd name="T21" fmla="*/ 6 h 8"/>
                <a:gd name="T22" fmla="*/ 2 w 6"/>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
                  <a:moveTo>
                    <a:pt x="2" y="8"/>
                  </a:moveTo>
                  <a:lnTo>
                    <a:pt x="0" y="6"/>
                  </a:lnTo>
                  <a:lnTo>
                    <a:pt x="2" y="4"/>
                  </a:lnTo>
                  <a:lnTo>
                    <a:pt x="2" y="2"/>
                  </a:lnTo>
                  <a:lnTo>
                    <a:pt x="4" y="2"/>
                  </a:lnTo>
                  <a:lnTo>
                    <a:pt x="4" y="0"/>
                  </a:lnTo>
                  <a:lnTo>
                    <a:pt x="6" y="2"/>
                  </a:lnTo>
                  <a:lnTo>
                    <a:pt x="4" y="2"/>
                  </a:lnTo>
                  <a:lnTo>
                    <a:pt x="4" y="4"/>
                  </a:lnTo>
                  <a:lnTo>
                    <a:pt x="2" y="4"/>
                  </a:lnTo>
                  <a:lnTo>
                    <a:pt x="2" y="6"/>
                  </a:lnTo>
                  <a:lnTo>
                    <a:pt x="2" y="8"/>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359">
              <a:extLst>
                <a:ext uri="{FF2B5EF4-FFF2-40B4-BE49-F238E27FC236}">
                  <a16:creationId xmlns:a16="http://schemas.microsoft.com/office/drawing/2014/main" id="{26C8F83A-EFAE-442B-918D-A689506D2B4A}"/>
                </a:ext>
              </a:extLst>
            </p:cNvPr>
            <p:cNvSpPr>
              <a:spLocks/>
            </p:cNvSpPr>
            <p:nvPr/>
          </p:nvSpPr>
          <p:spPr bwMode="gray">
            <a:xfrm>
              <a:off x="3837394" y="3730051"/>
              <a:ext cx="77262" cy="89526"/>
            </a:xfrm>
            <a:custGeom>
              <a:avLst/>
              <a:gdLst>
                <a:gd name="T0" fmla="*/ 61 w 63"/>
                <a:gd name="T1" fmla="*/ 23 h 73"/>
                <a:gd name="T2" fmla="*/ 59 w 63"/>
                <a:gd name="T3" fmla="*/ 25 h 73"/>
                <a:gd name="T4" fmla="*/ 55 w 63"/>
                <a:gd name="T5" fmla="*/ 25 h 73"/>
                <a:gd name="T6" fmla="*/ 46 w 63"/>
                <a:gd name="T7" fmla="*/ 29 h 73"/>
                <a:gd name="T8" fmla="*/ 42 w 63"/>
                <a:gd name="T9" fmla="*/ 29 h 73"/>
                <a:gd name="T10" fmla="*/ 38 w 63"/>
                <a:gd name="T11" fmla="*/ 31 h 73"/>
                <a:gd name="T12" fmla="*/ 34 w 63"/>
                <a:gd name="T13" fmla="*/ 31 h 73"/>
                <a:gd name="T14" fmla="*/ 30 w 63"/>
                <a:gd name="T15" fmla="*/ 33 h 73"/>
                <a:gd name="T16" fmla="*/ 30 w 63"/>
                <a:gd name="T17" fmla="*/ 33 h 73"/>
                <a:gd name="T18" fmla="*/ 32 w 63"/>
                <a:gd name="T19" fmla="*/ 37 h 73"/>
                <a:gd name="T20" fmla="*/ 38 w 63"/>
                <a:gd name="T21" fmla="*/ 43 h 73"/>
                <a:gd name="T22" fmla="*/ 40 w 63"/>
                <a:gd name="T23" fmla="*/ 46 h 73"/>
                <a:gd name="T24" fmla="*/ 42 w 63"/>
                <a:gd name="T25" fmla="*/ 52 h 73"/>
                <a:gd name="T26" fmla="*/ 38 w 63"/>
                <a:gd name="T27" fmla="*/ 54 h 73"/>
                <a:gd name="T28" fmla="*/ 36 w 63"/>
                <a:gd name="T29" fmla="*/ 58 h 73"/>
                <a:gd name="T30" fmla="*/ 26 w 63"/>
                <a:gd name="T31" fmla="*/ 60 h 73"/>
                <a:gd name="T32" fmla="*/ 25 w 63"/>
                <a:gd name="T33" fmla="*/ 62 h 73"/>
                <a:gd name="T34" fmla="*/ 23 w 63"/>
                <a:gd name="T35" fmla="*/ 64 h 73"/>
                <a:gd name="T36" fmla="*/ 23 w 63"/>
                <a:gd name="T37" fmla="*/ 67 h 73"/>
                <a:gd name="T38" fmla="*/ 21 w 63"/>
                <a:gd name="T39" fmla="*/ 69 h 73"/>
                <a:gd name="T40" fmla="*/ 15 w 63"/>
                <a:gd name="T41" fmla="*/ 73 h 73"/>
                <a:gd name="T42" fmla="*/ 9 w 63"/>
                <a:gd name="T43" fmla="*/ 71 h 73"/>
                <a:gd name="T44" fmla="*/ 0 w 63"/>
                <a:gd name="T45" fmla="*/ 69 h 73"/>
                <a:gd name="T46" fmla="*/ 0 w 63"/>
                <a:gd name="T47" fmla="*/ 66 h 73"/>
                <a:gd name="T48" fmla="*/ 0 w 63"/>
                <a:gd name="T49" fmla="*/ 62 h 73"/>
                <a:gd name="T50" fmla="*/ 2 w 63"/>
                <a:gd name="T51" fmla="*/ 60 h 73"/>
                <a:gd name="T52" fmla="*/ 2 w 63"/>
                <a:gd name="T53" fmla="*/ 56 h 73"/>
                <a:gd name="T54" fmla="*/ 3 w 63"/>
                <a:gd name="T55" fmla="*/ 54 h 73"/>
                <a:gd name="T56" fmla="*/ 2 w 63"/>
                <a:gd name="T57" fmla="*/ 52 h 73"/>
                <a:gd name="T58" fmla="*/ 3 w 63"/>
                <a:gd name="T59" fmla="*/ 50 h 73"/>
                <a:gd name="T60" fmla="*/ 3 w 63"/>
                <a:gd name="T61" fmla="*/ 46 h 73"/>
                <a:gd name="T62" fmla="*/ 5 w 63"/>
                <a:gd name="T63" fmla="*/ 44 h 73"/>
                <a:gd name="T64" fmla="*/ 5 w 63"/>
                <a:gd name="T65" fmla="*/ 41 h 73"/>
                <a:gd name="T66" fmla="*/ 7 w 63"/>
                <a:gd name="T67" fmla="*/ 39 h 73"/>
                <a:gd name="T68" fmla="*/ 5 w 63"/>
                <a:gd name="T69" fmla="*/ 37 h 73"/>
                <a:gd name="T70" fmla="*/ 7 w 63"/>
                <a:gd name="T71" fmla="*/ 33 h 73"/>
                <a:gd name="T72" fmla="*/ 7 w 63"/>
                <a:gd name="T73" fmla="*/ 29 h 73"/>
                <a:gd name="T74" fmla="*/ 7 w 63"/>
                <a:gd name="T75" fmla="*/ 25 h 73"/>
                <a:gd name="T76" fmla="*/ 7 w 63"/>
                <a:gd name="T77" fmla="*/ 21 h 73"/>
                <a:gd name="T78" fmla="*/ 7 w 63"/>
                <a:gd name="T79" fmla="*/ 18 h 73"/>
                <a:gd name="T80" fmla="*/ 9 w 63"/>
                <a:gd name="T81" fmla="*/ 16 h 73"/>
                <a:gd name="T82" fmla="*/ 9 w 63"/>
                <a:gd name="T83" fmla="*/ 16 h 73"/>
                <a:gd name="T84" fmla="*/ 9 w 63"/>
                <a:gd name="T85" fmla="*/ 16 h 73"/>
                <a:gd name="T86" fmla="*/ 7 w 63"/>
                <a:gd name="T87" fmla="*/ 14 h 73"/>
                <a:gd name="T88" fmla="*/ 9 w 63"/>
                <a:gd name="T89" fmla="*/ 12 h 73"/>
                <a:gd name="T90" fmla="*/ 13 w 63"/>
                <a:gd name="T91" fmla="*/ 12 h 73"/>
                <a:gd name="T92" fmla="*/ 13 w 63"/>
                <a:gd name="T93" fmla="*/ 12 h 73"/>
                <a:gd name="T94" fmla="*/ 15 w 63"/>
                <a:gd name="T95" fmla="*/ 14 h 73"/>
                <a:gd name="T96" fmla="*/ 17 w 63"/>
                <a:gd name="T97" fmla="*/ 16 h 73"/>
                <a:gd name="T98" fmla="*/ 19 w 63"/>
                <a:gd name="T99" fmla="*/ 18 h 73"/>
                <a:gd name="T100" fmla="*/ 23 w 63"/>
                <a:gd name="T101" fmla="*/ 18 h 73"/>
                <a:gd name="T102" fmla="*/ 25 w 63"/>
                <a:gd name="T103" fmla="*/ 19 h 73"/>
                <a:gd name="T104" fmla="*/ 26 w 63"/>
                <a:gd name="T105" fmla="*/ 18 h 73"/>
                <a:gd name="T106" fmla="*/ 32 w 63"/>
                <a:gd name="T107" fmla="*/ 16 h 73"/>
                <a:gd name="T108" fmla="*/ 42 w 63"/>
                <a:gd name="T109" fmla="*/ 10 h 73"/>
                <a:gd name="T110" fmla="*/ 55 w 63"/>
                <a:gd name="T111" fmla="*/ 0 h 73"/>
                <a:gd name="T112" fmla="*/ 59 w 63"/>
                <a:gd name="T113" fmla="*/ 12 h 73"/>
                <a:gd name="T114" fmla="*/ 57 w 63"/>
                <a:gd name="T115" fmla="*/ 16 h 73"/>
                <a:gd name="T116" fmla="*/ 63 w 63"/>
                <a:gd name="T117" fmla="*/ 18 h 73"/>
                <a:gd name="T118" fmla="*/ 63 w 63"/>
                <a:gd name="T119" fmla="*/ 2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73">
                  <a:moveTo>
                    <a:pt x="61" y="21"/>
                  </a:moveTo>
                  <a:lnTo>
                    <a:pt x="61" y="23"/>
                  </a:lnTo>
                  <a:lnTo>
                    <a:pt x="59" y="23"/>
                  </a:lnTo>
                  <a:lnTo>
                    <a:pt x="59" y="25"/>
                  </a:lnTo>
                  <a:lnTo>
                    <a:pt x="57" y="25"/>
                  </a:lnTo>
                  <a:lnTo>
                    <a:pt x="55" y="25"/>
                  </a:lnTo>
                  <a:lnTo>
                    <a:pt x="48" y="27"/>
                  </a:lnTo>
                  <a:lnTo>
                    <a:pt x="46" y="29"/>
                  </a:lnTo>
                  <a:lnTo>
                    <a:pt x="44" y="29"/>
                  </a:lnTo>
                  <a:lnTo>
                    <a:pt x="42" y="29"/>
                  </a:lnTo>
                  <a:lnTo>
                    <a:pt x="40" y="31"/>
                  </a:lnTo>
                  <a:lnTo>
                    <a:pt x="38" y="31"/>
                  </a:lnTo>
                  <a:lnTo>
                    <a:pt x="36" y="31"/>
                  </a:lnTo>
                  <a:lnTo>
                    <a:pt x="34" y="31"/>
                  </a:lnTo>
                  <a:lnTo>
                    <a:pt x="32" y="33"/>
                  </a:lnTo>
                  <a:lnTo>
                    <a:pt x="30" y="33"/>
                  </a:lnTo>
                  <a:lnTo>
                    <a:pt x="28" y="33"/>
                  </a:lnTo>
                  <a:lnTo>
                    <a:pt x="30" y="33"/>
                  </a:lnTo>
                  <a:lnTo>
                    <a:pt x="30" y="35"/>
                  </a:lnTo>
                  <a:lnTo>
                    <a:pt x="32" y="37"/>
                  </a:lnTo>
                  <a:lnTo>
                    <a:pt x="34" y="39"/>
                  </a:lnTo>
                  <a:lnTo>
                    <a:pt x="38" y="43"/>
                  </a:lnTo>
                  <a:lnTo>
                    <a:pt x="38" y="44"/>
                  </a:lnTo>
                  <a:lnTo>
                    <a:pt x="40" y="46"/>
                  </a:lnTo>
                  <a:lnTo>
                    <a:pt x="44" y="50"/>
                  </a:lnTo>
                  <a:lnTo>
                    <a:pt x="42" y="52"/>
                  </a:lnTo>
                  <a:lnTo>
                    <a:pt x="40" y="52"/>
                  </a:lnTo>
                  <a:lnTo>
                    <a:pt x="38" y="54"/>
                  </a:lnTo>
                  <a:lnTo>
                    <a:pt x="38" y="56"/>
                  </a:lnTo>
                  <a:lnTo>
                    <a:pt x="36" y="58"/>
                  </a:lnTo>
                  <a:lnTo>
                    <a:pt x="36" y="60"/>
                  </a:lnTo>
                  <a:lnTo>
                    <a:pt x="26" y="60"/>
                  </a:lnTo>
                  <a:lnTo>
                    <a:pt x="26" y="62"/>
                  </a:lnTo>
                  <a:lnTo>
                    <a:pt x="25" y="62"/>
                  </a:lnTo>
                  <a:lnTo>
                    <a:pt x="25" y="64"/>
                  </a:lnTo>
                  <a:lnTo>
                    <a:pt x="23" y="64"/>
                  </a:lnTo>
                  <a:lnTo>
                    <a:pt x="23" y="66"/>
                  </a:lnTo>
                  <a:lnTo>
                    <a:pt x="23" y="67"/>
                  </a:lnTo>
                  <a:lnTo>
                    <a:pt x="21" y="67"/>
                  </a:lnTo>
                  <a:lnTo>
                    <a:pt x="21" y="69"/>
                  </a:lnTo>
                  <a:lnTo>
                    <a:pt x="19" y="69"/>
                  </a:lnTo>
                  <a:lnTo>
                    <a:pt x="15" y="73"/>
                  </a:lnTo>
                  <a:lnTo>
                    <a:pt x="13" y="71"/>
                  </a:lnTo>
                  <a:lnTo>
                    <a:pt x="9" y="71"/>
                  </a:lnTo>
                  <a:lnTo>
                    <a:pt x="5" y="71"/>
                  </a:lnTo>
                  <a:lnTo>
                    <a:pt x="0" y="69"/>
                  </a:lnTo>
                  <a:lnTo>
                    <a:pt x="0" y="67"/>
                  </a:lnTo>
                  <a:lnTo>
                    <a:pt x="0" y="66"/>
                  </a:lnTo>
                  <a:lnTo>
                    <a:pt x="0" y="64"/>
                  </a:lnTo>
                  <a:lnTo>
                    <a:pt x="0" y="62"/>
                  </a:lnTo>
                  <a:lnTo>
                    <a:pt x="2" y="62"/>
                  </a:lnTo>
                  <a:lnTo>
                    <a:pt x="2" y="60"/>
                  </a:lnTo>
                  <a:lnTo>
                    <a:pt x="2" y="58"/>
                  </a:lnTo>
                  <a:lnTo>
                    <a:pt x="2" y="56"/>
                  </a:lnTo>
                  <a:lnTo>
                    <a:pt x="2" y="54"/>
                  </a:lnTo>
                  <a:lnTo>
                    <a:pt x="3" y="54"/>
                  </a:lnTo>
                  <a:lnTo>
                    <a:pt x="3" y="52"/>
                  </a:lnTo>
                  <a:lnTo>
                    <a:pt x="2" y="52"/>
                  </a:lnTo>
                  <a:lnTo>
                    <a:pt x="2" y="50"/>
                  </a:lnTo>
                  <a:lnTo>
                    <a:pt x="3" y="50"/>
                  </a:lnTo>
                  <a:lnTo>
                    <a:pt x="3" y="48"/>
                  </a:lnTo>
                  <a:lnTo>
                    <a:pt x="3" y="46"/>
                  </a:lnTo>
                  <a:lnTo>
                    <a:pt x="3" y="44"/>
                  </a:lnTo>
                  <a:lnTo>
                    <a:pt x="5" y="44"/>
                  </a:lnTo>
                  <a:lnTo>
                    <a:pt x="5" y="43"/>
                  </a:lnTo>
                  <a:lnTo>
                    <a:pt x="5" y="41"/>
                  </a:lnTo>
                  <a:lnTo>
                    <a:pt x="7" y="41"/>
                  </a:lnTo>
                  <a:lnTo>
                    <a:pt x="7" y="39"/>
                  </a:lnTo>
                  <a:lnTo>
                    <a:pt x="5" y="39"/>
                  </a:lnTo>
                  <a:lnTo>
                    <a:pt x="5" y="37"/>
                  </a:lnTo>
                  <a:lnTo>
                    <a:pt x="7" y="35"/>
                  </a:lnTo>
                  <a:lnTo>
                    <a:pt x="7" y="33"/>
                  </a:lnTo>
                  <a:lnTo>
                    <a:pt x="7" y="31"/>
                  </a:lnTo>
                  <a:lnTo>
                    <a:pt x="7" y="29"/>
                  </a:lnTo>
                  <a:lnTo>
                    <a:pt x="7" y="27"/>
                  </a:lnTo>
                  <a:lnTo>
                    <a:pt x="7" y="25"/>
                  </a:lnTo>
                  <a:lnTo>
                    <a:pt x="7" y="23"/>
                  </a:lnTo>
                  <a:lnTo>
                    <a:pt x="7" y="21"/>
                  </a:lnTo>
                  <a:lnTo>
                    <a:pt x="7" y="19"/>
                  </a:lnTo>
                  <a:lnTo>
                    <a:pt x="7" y="18"/>
                  </a:lnTo>
                  <a:lnTo>
                    <a:pt x="7" y="16"/>
                  </a:lnTo>
                  <a:lnTo>
                    <a:pt x="9" y="16"/>
                  </a:lnTo>
                  <a:lnTo>
                    <a:pt x="7" y="16"/>
                  </a:lnTo>
                  <a:lnTo>
                    <a:pt x="9" y="16"/>
                  </a:lnTo>
                  <a:lnTo>
                    <a:pt x="7" y="16"/>
                  </a:lnTo>
                  <a:lnTo>
                    <a:pt x="9" y="16"/>
                  </a:lnTo>
                  <a:lnTo>
                    <a:pt x="9" y="14"/>
                  </a:lnTo>
                  <a:lnTo>
                    <a:pt x="7" y="14"/>
                  </a:lnTo>
                  <a:lnTo>
                    <a:pt x="9" y="14"/>
                  </a:lnTo>
                  <a:lnTo>
                    <a:pt x="9" y="12"/>
                  </a:lnTo>
                  <a:lnTo>
                    <a:pt x="11" y="12"/>
                  </a:lnTo>
                  <a:lnTo>
                    <a:pt x="13" y="12"/>
                  </a:lnTo>
                  <a:lnTo>
                    <a:pt x="13" y="14"/>
                  </a:lnTo>
                  <a:lnTo>
                    <a:pt x="13" y="12"/>
                  </a:lnTo>
                  <a:lnTo>
                    <a:pt x="13" y="14"/>
                  </a:lnTo>
                  <a:lnTo>
                    <a:pt x="15" y="14"/>
                  </a:lnTo>
                  <a:lnTo>
                    <a:pt x="15" y="16"/>
                  </a:lnTo>
                  <a:lnTo>
                    <a:pt x="17" y="16"/>
                  </a:lnTo>
                  <a:lnTo>
                    <a:pt x="19" y="16"/>
                  </a:lnTo>
                  <a:lnTo>
                    <a:pt x="19" y="18"/>
                  </a:lnTo>
                  <a:lnTo>
                    <a:pt x="21" y="18"/>
                  </a:lnTo>
                  <a:lnTo>
                    <a:pt x="23" y="18"/>
                  </a:lnTo>
                  <a:lnTo>
                    <a:pt x="23" y="19"/>
                  </a:lnTo>
                  <a:lnTo>
                    <a:pt x="25" y="19"/>
                  </a:lnTo>
                  <a:lnTo>
                    <a:pt x="26" y="19"/>
                  </a:lnTo>
                  <a:lnTo>
                    <a:pt x="26" y="18"/>
                  </a:lnTo>
                  <a:lnTo>
                    <a:pt x="28" y="18"/>
                  </a:lnTo>
                  <a:lnTo>
                    <a:pt x="32" y="16"/>
                  </a:lnTo>
                  <a:lnTo>
                    <a:pt x="36" y="12"/>
                  </a:lnTo>
                  <a:lnTo>
                    <a:pt x="42" y="10"/>
                  </a:lnTo>
                  <a:lnTo>
                    <a:pt x="48" y="6"/>
                  </a:lnTo>
                  <a:lnTo>
                    <a:pt x="55" y="0"/>
                  </a:lnTo>
                  <a:lnTo>
                    <a:pt x="57" y="4"/>
                  </a:lnTo>
                  <a:lnTo>
                    <a:pt x="59" y="12"/>
                  </a:lnTo>
                  <a:lnTo>
                    <a:pt x="59" y="16"/>
                  </a:lnTo>
                  <a:lnTo>
                    <a:pt x="57" y="16"/>
                  </a:lnTo>
                  <a:lnTo>
                    <a:pt x="59" y="19"/>
                  </a:lnTo>
                  <a:lnTo>
                    <a:pt x="63" y="18"/>
                  </a:lnTo>
                  <a:lnTo>
                    <a:pt x="63" y="19"/>
                  </a:lnTo>
                  <a:lnTo>
                    <a:pt x="63" y="21"/>
                  </a:lnTo>
                  <a:lnTo>
                    <a:pt x="61" y="21"/>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360">
              <a:extLst>
                <a:ext uri="{FF2B5EF4-FFF2-40B4-BE49-F238E27FC236}">
                  <a16:creationId xmlns:a16="http://schemas.microsoft.com/office/drawing/2014/main" id="{DB124CEE-19D8-42FD-A987-0D288FCA3583}"/>
                </a:ext>
              </a:extLst>
            </p:cNvPr>
            <p:cNvSpPr>
              <a:spLocks noEditPoints="1"/>
            </p:cNvSpPr>
            <p:nvPr/>
          </p:nvSpPr>
          <p:spPr bwMode="gray">
            <a:xfrm>
              <a:off x="3653437" y="3768068"/>
              <a:ext cx="218295" cy="192541"/>
            </a:xfrm>
            <a:custGeom>
              <a:avLst/>
              <a:gdLst>
                <a:gd name="T0" fmla="*/ 15 w 178"/>
                <a:gd name="T1" fmla="*/ 0 h 157"/>
                <a:gd name="T2" fmla="*/ 29 w 178"/>
                <a:gd name="T3" fmla="*/ 2 h 157"/>
                <a:gd name="T4" fmla="*/ 38 w 178"/>
                <a:gd name="T5" fmla="*/ 4 h 157"/>
                <a:gd name="T6" fmla="*/ 46 w 178"/>
                <a:gd name="T7" fmla="*/ 8 h 157"/>
                <a:gd name="T8" fmla="*/ 57 w 178"/>
                <a:gd name="T9" fmla="*/ 12 h 157"/>
                <a:gd name="T10" fmla="*/ 69 w 178"/>
                <a:gd name="T11" fmla="*/ 12 h 157"/>
                <a:gd name="T12" fmla="*/ 73 w 178"/>
                <a:gd name="T13" fmla="*/ 8 h 157"/>
                <a:gd name="T14" fmla="*/ 82 w 178"/>
                <a:gd name="T15" fmla="*/ 2 h 157"/>
                <a:gd name="T16" fmla="*/ 92 w 178"/>
                <a:gd name="T17" fmla="*/ 0 h 157"/>
                <a:gd name="T18" fmla="*/ 102 w 178"/>
                <a:gd name="T19" fmla="*/ 2 h 157"/>
                <a:gd name="T20" fmla="*/ 105 w 178"/>
                <a:gd name="T21" fmla="*/ 2 h 157"/>
                <a:gd name="T22" fmla="*/ 111 w 178"/>
                <a:gd name="T23" fmla="*/ 8 h 157"/>
                <a:gd name="T24" fmla="*/ 117 w 178"/>
                <a:gd name="T25" fmla="*/ 10 h 157"/>
                <a:gd name="T26" fmla="*/ 121 w 178"/>
                <a:gd name="T27" fmla="*/ 10 h 157"/>
                <a:gd name="T28" fmla="*/ 125 w 178"/>
                <a:gd name="T29" fmla="*/ 10 h 157"/>
                <a:gd name="T30" fmla="*/ 132 w 178"/>
                <a:gd name="T31" fmla="*/ 8 h 157"/>
                <a:gd name="T32" fmla="*/ 140 w 178"/>
                <a:gd name="T33" fmla="*/ 13 h 157"/>
                <a:gd name="T34" fmla="*/ 146 w 178"/>
                <a:gd name="T35" fmla="*/ 25 h 157"/>
                <a:gd name="T36" fmla="*/ 148 w 178"/>
                <a:gd name="T37" fmla="*/ 38 h 157"/>
                <a:gd name="T38" fmla="*/ 144 w 178"/>
                <a:gd name="T39" fmla="*/ 50 h 157"/>
                <a:gd name="T40" fmla="*/ 140 w 178"/>
                <a:gd name="T41" fmla="*/ 61 h 157"/>
                <a:gd name="T42" fmla="*/ 132 w 178"/>
                <a:gd name="T43" fmla="*/ 61 h 157"/>
                <a:gd name="T44" fmla="*/ 129 w 178"/>
                <a:gd name="T45" fmla="*/ 58 h 157"/>
                <a:gd name="T46" fmla="*/ 125 w 178"/>
                <a:gd name="T47" fmla="*/ 50 h 157"/>
                <a:gd name="T48" fmla="*/ 121 w 178"/>
                <a:gd name="T49" fmla="*/ 42 h 157"/>
                <a:gd name="T50" fmla="*/ 117 w 178"/>
                <a:gd name="T51" fmla="*/ 35 h 157"/>
                <a:gd name="T52" fmla="*/ 115 w 178"/>
                <a:gd name="T53" fmla="*/ 33 h 157"/>
                <a:gd name="T54" fmla="*/ 111 w 178"/>
                <a:gd name="T55" fmla="*/ 33 h 157"/>
                <a:gd name="T56" fmla="*/ 115 w 178"/>
                <a:gd name="T57" fmla="*/ 40 h 157"/>
                <a:gd name="T58" fmla="*/ 121 w 178"/>
                <a:gd name="T59" fmla="*/ 52 h 157"/>
                <a:gd name="T60" fmla="*/ 127 w 178"/>
                <a:gd name="T61" fmla="*/ 61 h 157"/>
                <a:gd name="T62" fmla="*/ 130 w 178"/>
                <a:gd name="T63" fmla="*/ 65 h 157"/>
                <a:gd name="T64" fmla="*/ 129 w 178"/>
                <a:gd name="T65" fmla="*/ 67 h 157"/>
                <a:gd name="T66" fmla="*/ 134 w 178"/>
                <a:gd name="T67" fmla="*/ 77 h 157"/>
                <a:gd name="T68" fmla="*/ 136 w 178"/>
                <a:gd name="T69" fmla="*/ 86 h 157"/>
                <a:gd name="T70" fmla="*/ 142 w 178"/>
                <a:gd name="T71" fmla="*/ 96 h 157"/>
                <a:gd name="T72" fmla="*/ 148 w 178"/>
                <a:gd name="T73" fmla="*/ 106 h 157"/>
                <a:gd name="T74" fmla="*/ 152 w 178"/>
                <a:gd name="T75" fmla="*/ 117 h 157"/>
                <a:gd name="T76" fmla="*/ 159 w 178"/>
                <a:gd name="T77" fmla="*/ 125 h 157"/>
                <a:gd name="T78" fmla="*/ 157 w 178"/>
                <a:gd name="T79" fmla="*/ 127 h 157"/>
                <a:gd name="T80" fmla="*/ 157 w 178"/>
                <a:gd name="T81" fmla="*/ 138 h 157"/>
                <a:gd name="T82" fmla="*/ 161 w 178"/>
                <a:gd name="T83" fmla="*/ 146 h 157"/>
                <a:gd name="T84" fmla="*/ 167 w 178"/>
                <a:gd name="T85" fmla="*/ 148 h 157"/>
                <a:gd name="T86" fmla="*/ 175 w 178"/>
                <a:gd name="T87" fmla="*/ 156 h 157"/>
                <a:gd name="T88" fmla="*/ 127 w 178"/>
                <a:gd name="T89" fmla="*/ 157 h 157"/>
                <a:gd name="T90" fmla="*/ 4 w 178"/>
                <a:gd name="T91" fmla="*/ 134 h 157"/>
                <a:gd name="T92" fmla="*/ 2 w 178"/>
                <a:gd name="T93" fmla="*/ 38 h 157"/>
                <a:gd name="T94" fmla="*/ 0 w 178"/>
                <a:gd name="T95" fmla="*/ 25 h 157"/>
                <a:gd name="T96" fmla="*/ 4 w 178"/>
                <a:gd name="T97" fmla="*/ 13 h 157"/>
                <a:gd name="T98" fmla="*/ 4 w 178"/>
                <a:gd name="T99" fmla="*/ 0 h 157"/>
                <a:gd name="T100" fmla="*/ 132 w 178"/>
                <a:gd name="T101" fmla="*/ 69 h 157"/>
                <a:gd name="T102" fmla="*/ 123 w 178"/>
                <a:gd name="T103" fmla="*/ 8 h 157"/>
                <a:gd name="T104" fmla="*/ 130 w 178"/>
                <a:gd name="T105" fmla="*/ 67 h 157"/>
                <a:gd name="T106" fmla="*/ 132 w 178"/>
                <a:gd name="T107" fmla="*/ 75 h 157"/>
                <a:gd name="T108" fmla="*/ 125 w 178"/>
                <a:gd name="T109" fmla="*/ 10 h 157"/>
                <a:gd name="T110" fmla="*/ 132 w 178"/>
                <a:gd name="T111" fmla="*/ 6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8" h="157">
                  <a:moveTo>
                    <a:pt x="6" y="0"/>
                  </a:moveTo>
                  <a:lnTo>
                    <a:pt x="6" y="2"/>
                  </a:lnTo>
                  <a:lnTo>
                    <a:pt x="8" y="2"/>
                  </a:lnTo>
                  <a:lnTo>
                    <a:pt x="10" y="2"/>
                  </a:lnTo>
                  <a:lnTo>
                    <a:pt x="11" y="2"/>
                  </a:lnTo>
                  <a:lnTo>
                    <a:pt x="13" y="2"/>
                  </a:lnTo>
                  <a:lnTo>
                    <a:pt x="13" y="0"/>
                  </a:lnTo>
                  <a:lnTo>
                    <a:pt x="15" y="0"/>
                  </a:lnTo>
                  <a:lnTo>
                    <a:pt x="17" y="0"/>
                  </a:lnTo>
                  <a:lnTo>
                    <a:pt x="19" y="0"/>
                  </a:lnTo>
                  <a:lnTo>
                    <a:pt x="21" y="0"/>
                  </a:lnTo>
                  <a:lnTo>
                    <a:pt x="21" y="2"/>
                  </a:lnTo>
                  <a:lnTo>
                    <a:pt x="23" y="2"/>
                  </a:lnTo>
                  <a:lnTo>
                    <a:pt x="25" y="2"/>
                  </a:lnTo>
                  <a:lnTo>
                    <a:pt x="27" y="2"/>
                  </a:lnTo>
                  <a:lnTo>
                    <a:pt x="29" y="2"/>
                  </a:lnTo>
                  <a:lnTo>
                    <a:pt x="29" y="4"/>
                  </a:lnTo>
                  <a:lnTo>
                    <a:pt x="31" y="4"/>
                  </a:lnTo>
                  <a:lnTo>
                    <a:pt x="33" y="4"/>
                  </a:lnTo>
                  <a:lnTo>
                    <a:pt x="34" y="4"/>
                  </a:lnTo>
                  <a:lnTo>
                    <a:pt x="36" y="4"/>
                  </a:lnTo>
                  <a:lnTo>
                    <a:pt x="34" y="4"/>
                  </a:lnTo>
                  <a:lnTo>
                    <a:pt x="36" y="4"/>
                  </a:lnTo>
                  <a:lnTo>
                    <a:pt x="38" y="4"/>
                  </a:lnTo>
                  <a:lnTo>
                    <a:pt x="38" y="6"/>
                  </a:lnTo>
                  <a:lnTo>
                    <a:pt x="38" y="8"/>
                  </a:lnTo>
                  <a:lnTo>
                    <a:pt x="40" y="8"/>
                  </a:lnTo>
                  <a:lnTo>
                    <a:pt x="42" y="8"/>
                  </a:lnTo>
                  <a:lnTo>
                    <a:pt x="44" y="8"/>
                  </a:lnTo>
                  <a:lnTo>
                    <a:pt x="46" y="8"/>
                  </a:lnTo>
                  <a:lnTo>
                    <a:pt x="46" y="6"/>
                  </a:lnTo>
                  <a:lnTo>
                    <a:pt x="46" y="8"/>
                  </a:lnTo>
                  <a:lnTo>
                    <a:pt x="46" y="10"/>
                  </a:lnTo>
                  <a:lnTo>
                    <a:pt x="48" y="10"/>
                  </a:lnTo>
                  <a:lnTo>
                    <a:pt x="50" y="10"/>
                  </a:lnTo>
                  <a:lnTo>
                    <a:pt x="52" y="10"/>
                  </a:lnTo>
                  <a:lnTo>
                    <a:pt x="54" y="10"/>
                  </a:lnTo>
                  <a:lnTo>
                    <a:pt x="56" y="10"/>
                  </a:lnTo>
                  <a:lnTo>
                    <a:pt x="56" y="12"/>
                  </a:lnTo>
                  <a:lnTo>
                    <a:pt x="57" y="12"/>
                  </a:lnTo>
                  <a:lnTo>
                    <a:pt x="59" y="12"/>
                  </a:lnTo>
                  <a:lnTo>
                    <a:pt x="59" y="13"/>
                  </a:lnTo>
                  <a:lnTo>
                    <a:pt x="61" y="13"/>
                  </a:lnTo>
                  <a:lnTo>
                    <a:pt x="63" y="13"/>
                  </a:lnTo>
                  <a:lnTo>
                    <a:pt x="65" y="13"/>
                  </a:lnTo>
                  <a:lnTo>
                    <a:pt x="67" y="13"/>
                  </a:lnTo>
                  <a:lnTo>
                    <a:pt x="67" y="12"/>
                  </a:lnTo>
                  <a:lnTo>
                    <a:pt x="69" y="12"/>
                  </a:lnTo>
                  <a:lnTo>
                    <a:pt x="71" y="12"/>
                  </a:lnTo>
                  <a:lnTo>
                    <a:pt x="71" y="10"/>
                  </a:lnTo>
                  <a:lnTo>
                    <a:pt x="73" y="10"/>
                  </a:lnTo>
                  <a:lnTo>
                    <a:pt x="73" y="8"/>
                  </a:lnTo>
                  <a:lnTo>
                    <a:pt x="75" y="8"/>
                  </a:lnTo>
                  <a:lnTo>
                    <a:pt x="73" y="8"/>
                  </a:lnTo>
                  <a:lnTo>
                    <a:pt x="75" y="8"/>
                  </a:lnTo>
                  <a:lnTo>
                    <a:pt x="73" y="8"/>
                  </a:lnTo>
                  <a:lnTo>
                    <a:pt x="75" y="8"/>
                  </a:lnTo>
                  <a:lnTo>
                    <a:pt x="77" y="8"/>
                  </a:lnTo>
                  <a:lnTo>
                    <a:pt x="77" y="6"/>
                  </a:lnTo>
                  <a:lnTo>
                    <a:pt x="79" y="6"/>
                  </a:lnTo>
                  <a:lnTo>
                    <a:pt x="81" y="6"/>
                  </a:lnTo>
                  <a:lnTo>
                    <a:pt x="81" y="4"/>
                  </a:lnTo>
                  <a:lnTo>
                    <a:pt x="82" y="4"/>
                  </a:lnTo>
                  <a:lnTo>
                    <a:pt x="82" y="2"/>
                  </a:lnTo>
                  <a:lnTo>
                    <a:pt x="82" y="4"/>
                  </a:lnTo>
                  <a:lnTo>
                    <a:pt x="84" y="4"/>
                  </a:lnTo>
                  <a:lnTo>
                    <a:pt x="84" y="2"/>
                  </a:lnTo>
                  <a:lnTo>
                    <a:pt x="86" y="2"/>
                  </a:lnTo>
                  <a:lnTo>
                    <a:pt x="88" y="2"/>
                  </a:lnTo>
                  <a:lnTo>
                    <a:pt x="90" y="2"/>
                  </a:lnTo>
                  <a:lnTo>
                    <a:pt x="90" y="0"/>
                  </a:lnTo>
                  <a:lnTo>
                    <a:pt x="92" y="0"/>
                  </a:lnTo>
                  <a:lnTo>
                    <a:pt x="94" y="0"/>
                  </a:lnTo>
                  <a:lnTo>
                    <a:pt x="94" y="2"/>
                  </a:lnTo>
                  <a:lnTo>
                    <a:pt x="96" y="2"/>
                  </a:lnTo>
                  <a:lnTo>
                    <a:pt x="98" y="2"/>
                  </a:lnTo>
                  <a:lnTo>
                    <a:pt x="98" y="4"/>
                  </a:lnTo>
                  <a:lnTo>
                    <a:pt x="100" y="4"/>
                  </a:lnTo>
                  <a:lnTo>
                    <a:pt x="102" y="4"/>
                  </a:lnTo>
                  <a:lnTo>
                    <a:pt x="102" y="2"/>
                  </a:lnTo>
                  <a:lnTo>
                    <a:pt x="102" y="4"/>
                  </a:lnTo>
                  <a:lnTo>
                    <a:pt x="102" y="2"/>
                  </a:lnTo>
                  <a:lnTo>
                    <a:pt x="102" y="4"/>
                  </a:lnTo>
                  <a:lnTo>
                    <a:pt x="104" y="4"/>
                  </a:lnTo>
                  <a:lnTo>
                    <a:pt x="102" y="4"/>
                  </a:lnTo>
                  <a:lnTo>
                    <a:pt x="102" y="2"/>
                  </a:lnTo>
                  <a:lnTo>
                    <a:pt x="104" y="2"/>
                  </a:lnTo>
                  <a:lnTo>
                    <a:pt x="105" y="2"/>
                  </a:lnTo>
                  <a:lnTo>
                    <a:pt x="105" y="4"/>
                  </a:lnTo>
                  <a:lnTo>
                    <a:pt x="105" y="2"/>
                  </a:lnTo>
                  <a:lnTo>
                    <a:pt x="105" y="4"/>
                  </a:lnTo>
                  <a:lnTo>
                    <a:pt x="107" y="4"/>
                  </a:lnTo>
                  <a:lnTo>
                    <a:pt x="107" y="6"/>
                  </a:lnTo>
                  <a:lnTo>
                    <a:pt x="109" y="6"/>
                  </a:lnTo>
                  <a:lnTo>
                    <a:pt x="111" y="6"/>
                  </a:lnTo>
                  <a:lnTo>
                    <a:pt x="111" y="8"/>
                  </a:lnTo>
                  <a:lnTo>
                    <a:pt x="111" y="6"/>
                  </a:lnTo>
                  <a:lnTo>
                    <a:pt x="111" y="8"/>
                  </a:lnTo>
                  <a:lnTo>
                    <a:pt x="111" y="6"/>
                  </a:lnTo>
                  <a:lnTo>
                    <a:pt x="111" y="8"/>
                  </a:lnTo>
                  <a:lnTo>
                    <a:pt x="113" y="8"/>
                  </a:lnTo>
                  <a:lnTo>
                    <a:pt x="113" y="10"/>
                  </a:lnTo>
                  <a:lnTo>
                    <a:pt x="115" y="10"/>
                  </a:lnTo>
                  <a:lnTo>
                    <a:pt x="117" y="10"/>
                  </a:lnTo>
                  <a:lnTo>
                    <a:pt x="119" y="10"/>
                  </a:lnTo>
                  <a:lnTo>
                    <a:pt x="119" y="8"/>
                  </a:lnTo>
                  <a:lnTo>
                    <a:pt x="119" y="10"/>
                  </a:lnTo>
                  <a:lnTo>
                    <a:pt x="117" y="10"/>
                  </a:lnTo>
                  <a:lnTo>
                    <a:pt x="115" y="10"/>
                  </a:lnTo>
                  <a:lnTo>
                    <a:pt x="117" y="10"/>
                  </a:lnTo>
                  <a:lnTo>
                    <a:pt x="119" y="10"/>
                  </a:lnTo>
                  <a:lnTo>
                    <a:pt x="121" y="10"/>
                  </a:lnTo>
                  <a:lnTo>
                    <a:pt x="121" y="8"/>
                  </a:lnTo>
                  <a:lnTo>
                    <a:pt x="123" y="8"/>
                  </a:lnTo>
                  <a:lnTo>
                    <a:pt x="123" y="10"/>
                  </a:lnTo>
                  <a:lnTo>
                    <a:pt x="123" y="8"/>
                  </a:lnTo>
                  <a:lnTo>
                    <a:pt x="123" y="10"/>
                  </a:lnTo>
                  <a:lnTo>
                    <a:pt x="123" y="8"/>
                  </a:lnTo>
                  <a:lnTo>
                    <a:pt x="123" y="10"/>
                  </a:lnTo>
                  <a:lnTo>
                    <a:pt x="125" y="10"/>
                  </a:lnTo>
                  <a:lnTo>
                    <a:pt x="123" y="10"/>
                  </a:lnTo>
                  <a:lnTo>
                    <a:pt x="125" y="10"/>
                  </a:lnTo>
                  <a:lnTo>
                    <a:pt x="127" y="10"/>
                  </a:lnTo>
                  <a:lnTo>
                    <a:pt x="127" y="8"/>
                  </a:lnTo>
                  <a:lnTo>
                    <a:pt x="129" y="8"/>
                  </a:lnTo>
                  <a:lnTo>
                    <a:pt x="129" y="10"/>
                  </a:lnTo>
                  <a:lnTo>
                    <a:pt x="130" y="10"/>
                  </a:lnTo>
                  <a:lnTo>
                    <a:pt x="132" y="8"/>
                  </a:lnTo>
                  <a:lnTo>
                    <a:pt x="134" y="8"/>
                  </a:lnTo>
                  <a:lnTo>
                    <a:pt x="136" y="8"/>
                  </a:lnTo>
                  <a:lnTo>
                    <a:pt x="136" y="6"/>
                  </a:lnTo>
                  <a:lnTo>
                    <a:pt x="138" y="6"/>
                  </a:lnTo>
                  <a:lnTo>
                    <a:pt x="140" y="8"/>
                  </a:lnTo>
                  <a:lnTo>
                    <a:pt x="140" y="10"/>
                  </a:lnTo>
                  <a:lnTo>
                    <a:pt x="140" y="12"/>
                  </a:lnTo>
                  <a:lnTo>
                    <a:pt x="140" y="13"/>
                  </a:lnTo>
                  <a:lnTo>
                    <a:pt x="142" y="13"/>
                  </a:lnTo>
                  <a:lnTo>
                    <a:pt x="142" y="15"/>
                  </a:lnTo>
                  <a:lnTo>
                    <a:pt x="142" y="17"/>
                  </a:lnTo>
                  <a:lnTo>
                    <a:pt x="142" y="19"/>
                  </a:lnTo>
                  <a:lnTo>
                    <a:pt x="144" y="19"/>
                  </a:lnTo>
                  <a:lnTo>
                    <a:pt x="144" y="21"/>
                  </a:lnTo>
                  <a:lnTo>
                    <a:pt x="144" y="23"/>
                  </a:lnTo>
                  <a:lnTo>
                    <a:pt x="146" y="25"/>
                  </a:lnTo>
                  <a:lnTo>
                    <a:pt x="146" y="27"/>
                  </a:lnTo>
                  <a:lnTo>
                    <a:pt x="146" y="29"/>
                  </a:lnTo>
                  <a:lnTo>
                    <a:pt x="148" y="29"/>
                  </a:lnTo>
                  <a:lnTo>
                    <a:pt x="148" y="31"/>
                  </a:lnTo>
                  <a:lnTo>
                    <a:pt x="148" y="33"/>
                  </a:lnTo>
                  <a:lnTo>
                    <a:pt x="148" y="35"/>
                  </a:lnTo>
                  <a:lnTo>
                    <a:pt x="148" y="36"/>
                  </a:lnTo>
                  <a:lnTo>
                    <a:pt x="148" y="38"/>
                  </a:lnTo>
                  <a:lnTo>
                    <a:pt x="146" y="38"/>
                  </a:lnTo>
                  <a:lnTo>
                    <a:pt x="146" y="40"/>
                  </a:lnTo>
                  <a:lnTo>
                    <a:pt x="146" y="42"/>
                  </a:lnTo>
                  <a:lnTo>
                    <a:pt x="146" y="44"/>
                  </a:lnTo>
                  <a:lnTo>
                    <a:pt x="144" y="44"/>
                  </a:lnTo>
                  <a:lnTo>
                    <a:pt x="144" y="46"/>
                  </a:lnTo>
                  <a:lnTo>
                    <a:pt x="144" y="48"/>
                  </a:lnTo>
                  <a:lnTo>
                    <a:pt x="144" y="50"/>
                  </a:lnTo>
                  <a:lnTo>
                    <a:pt x="144" y="52"/>
                  </a:lnTo>
                  <a:lnTo>
                    <a:pt x="142" y="52"/>
                  </a:lnTo>
                  <a:lnTo>
                    <a:pt x="142" y="54"/>
                  </a:lnTo>
                  <a:lnTo>
                    <a:pt x="142" y="56"/>
                  </a:lnTo>
                  <a:lnTo>
                    <a:pt x="142" y="58"/>
                  </a:lnTo>
                  <a:lnTo>
                    <a:pt x="142" y="60"/>
                  </a:lnTo>
                  <a:lnTo>
                    <a:pt x="142" y="61"/>
                  </a:lnTo>
                  <a:lnTo>
                    <a:pt x="140" y="61"/>
                  </a:lnTo>
                  <a:lnTo>
                    <a:pt x="140" y="63"/>
                  </a:lnTo>
                  <a:lnTo>
                    <a:pt x="140" y="65"/>
                  </a:lnTo>
                  <a:lnTo>
                    <a:pt x="138" y="65"/>
                  </a:lnTo>
                  <a:lnTo>
                    <a:pt x="136" y="65"/>
                  </a:lnTo>
                  <a:lnTo>
                    <a:pt x="136" y="63"/>
                  </a:lnTo>
                  <a:lnTo>
                    <a:pt x="134" y="63"/>
                  </a:lnTo>
                  <a:lnTo>
                    <a:pt x="134" y="61"/>
                  </a:lnTo>
                  <a:lnTo>
                    <a:pt x="132" y="61"/>
                  </a:lnTo>
                  <a:lnTo>
                    <a:pt x="132" y="60"/>
                  </a:lnTo>
                  <a:lnTo>
                    <a:pt x="130" y="60"/>
                  </a:lnTo>
                  <a:lnTo>
                    <a:pt x="130" y="58"/>
                  </a:lnTo>
                  <a:lnTo>
                    <a:pt x="130" y="60"/>
                  </a:lnTo>
                  <a:lnTo>
                    <a:pt x="130" y="58"/>
                  </a:lnTo>
                  <a:lnTo>
                    <a:pt x="129" y="58"/>
                  </a:lnTo>
                  <a:lnTo>
                    <a:pt x="130" y="58"/>
                  </a:lnTo>
                  <a:lnTo>
                    <a:pt x="129" y="58"/>
                  </a:lnTo>
                  <a:lnTo>
                    <a:pt x="129" y="56"/>
                  </a:lnTo>
                  <a:lnTo>
                    <a:pt x="127" y="56"/>
                  </a:lnTo>
                  <a:lnTo>
                    <a:pt x="127" y="54"/>
                  </a:lnTo>
                  <a:lnTo>
                    <a:pt x="125" y="54"/>
                  </a:lnTo>
                  <a:lnTo>
                    <a:pt x="125" y="52"/>
                  </a:lnTo>
                  <a:lnTo>
                    <a:pt x="123" y="52"/>
                  </a:lnTo>
                  <a:lnTo>
                    <a:pt x="125" y="52"/>
                  </a:lnTo>
                  <a:lnTo>
                    <a:pt x="125" y="50"/>
                  </a:lnTo>
                  <a:lnTo>
                    <a:pt x="123" y="50"/>
                  </a:lnTo>
                  <a:lnTo>
                    <a:pt x="125" y="50"/>
                  </a:lnTo>
                  <a:lnTo>
                    <a:pt x="125" y="48"/>
                  </a:lnTo>
                  <a:lnTo>
                    <a:pt x="123" y="48"/>
                  </a:lnTo>
                  <a:lnTo>
                    <a:pt x="123" y="46"/>
                  </a:lnTo>
                  <a:lnTo>
                    <a:pt x="123" y="44"/>
                  </a:lnTo>
                  <a:lnTo>
                    <a:pt x="121" y="44"/>
                  </a:lnTo>
                  <a:lnTo>
                    <a:pt x="121" y="42"/>
                  </a:lnTo>
                  <a:lnTo>
                    <a:pt x="121" y="40"/>
                  </a:lnTo>
                  <a:lnTo>
                    <a:pt x="119" y="40"/>
                  </a:lnTo>
                  <a:lnTo>
                    <a:pt x="119" y="38"/>
                  </a:lnTo>
                  <a:lnTo>
                    <a:pt x="117" y="38"/>
                  </a:lnTo>
                  <a:lnTo>
                    <a:pt x="119" y="38"/>
                  </a:lnTo>
                  <a:lnTo>
                    <a:pt x="117" y="38"/>
                  </a:lnTo>
                  <a:lnTo>
                    <a:pt x="117" y="36"/>
                  </a:lnTo>
                  <a:lnTo>
                    <a:pt x="117" y="35"/>
                  </a:lnTo>
                  <a:lnTo>
                    <a:pt x="115" y="35"/>
                  </a:lnTo>
                  <a:lnTo>
                    <a:pt x="117" y="35"/>
                  </a:lnTo>
                  <a:lnTo>
                    <a:pt x="115" y="35"/>
                  </a:lnTo>
                  <a:lnTo>
                    <a:pt x="115" y="33"/>
                  </a:lnTo>
                  <a:lnTo>
                    <a:pt x="117" y="33"/>
                  </a:lnTo>
                  <a:lnTo>
                    <a:pt x="115" y="33"/>
                  </a:lnTo>
                  <a:lnTo>
                    <a:pt x="117" y="33"/>
                  </a:lnTo>
                  <a:lnTo>
                    <a:pt x="115" y="33"/>
                  </a:lnTo>
                  <a:lnTo>
                    <a:pt x="115" y="31"/>
                  </a:lnTo>
                  <a:lnTo>
                    <a:pt x="115" y="29"/>
                  </a:lnTo>
                  <a:lnTo>
                    <a:pt x="113" y="29"/>
                  </a:lnTo>
                  <a:lnTo>
                    <a:pt x="115" y="29"/>
                  </a:lnTo>
                  <a:lnTo>
                    <a:pt x="113" y="29"/>
                  </a:lnTo>
                  <a:lnTo>
                    <a:pt x="113" y="31"/>
                  </a:lnTo>
                  <a:lnTo>
                    <a:pt x="111" y="31"/>
                  </a:lnTo>
                  <a:lnTo>
                    <a:pt x="111" y="33"/>
                  </a:lnTo>
                  <a:lnTo>
                    <a:pt x="111" y="35"/>
                  </a:lnTo>
                  <a:lnTo>
                    <a:pt x="111" y="33"/>
                  </a:lnTo>
                  <a:lnTo>
                    <a:pt x="111" y="35"/>
                  </a:lnTo>
                  <a:lnTo>
                    <a:pt x="111" y="36"/>
                  </a:lnTo>
                  <a:lnTo>
                    <a:pt x="113" y="36"/>
                  </a:lnTo>
                  <a:lnTo>
                    <a:pt x="113" y="38"/>
                  </a:lnTo>
                  <a:lnTo>
                    <a:pt x="115" y="38"/>
                  </a:lnTo>
                  <a:lnTo>
                    <a:pt x="115" y="40"/>
                  </a:lnTo>
                  <a:lnTo>
                    <a:pt x="115" y="42"/>
                  </a:lnTo>
                  <a:lnTo>
                    <a:pt x="115" y="44"/>
                  </a:lnTo>
                  <a:lnTo>
                    <a:pt x="115" y="46"/>
                  </a:lnTo>
                  <a:lnTo>
                    <a:pt x="117" y="46"/>
                  </a:lnTo>
                  <a:lnTo>
                    <a:pt x="117" y="48"/>
                  </a:lnTo>
                  <a:lnTo>
                    <a:pt x="119" y="50"/>
                  </a:lnTo>
                  <a:lnTo>
                    <a:pt x="119" y="52"/>
                  </a:lnTo>
                  <a:lnTo>
                    <a:pt x="121" y="52"/>
                  </a:lnTo>
                  <a:lnTo>
                    <a:pt x="121" y="54"/>
                  </a:lnTo>
                  <a:lnTo>
                    <a:pt x="121" y="56"/>
                  </a:lnTo>
                  <a:lnTo>
                    <a:pt x="123" y="56"/>
                  </a:lnTo>
                  <a:lnTo>
                    <a:pt x="123" y="58"/>
                  </a:lnTo>
                  <a:lnTo>
                    <a:pt x="125" y="58"/>
                  </a:lnTo>
                  <a:lnTo>
                    <a:pt x="125" y="60"/>
                  </a:lnTo>
                  <a:lnTo>
                    <a:pt x="127" y="60"/>
                  </a:lnTo>
                  <a:lnTo>
                    <a:pt x="127" y="61"/>
                  </a:lnTo>
                  <a:lnTo>
                    <a:pt x="129" y="61"/>
                  </a:lnTo>
                  <a:lnTo>
                    <a:pt x="129" y="63"/>
                  </a:lnTo>
                  <a:lnTo>
                    <a:pt x="129" y="65"/>
                  </a:lnTo>
                  <a:lnTo>
                    <a:pt x="130" y="65"/>
                  </a:lnTo>
                  <a:lnTo>
                    <a:pt x="129" y="65"/>
                  </a:lnTo>
                  <a:lnTo>
                    <a:pt x="130" y="65"/>
                  </a:lnTo>
                  <a:lnTo>
                    <a:pt x="129" y="65"/>
                  </a:lnTo>
                  <a:lnTo>
                    <a:pt x="130" y="65"/>
                  </a:lnTo>
                  <a:lnTo>
                    <a:pt x="129" y="65"/>
                  </a:lnTo>
                  <a:lnTo>
                    <a:pt x="129" y="63"/>
                  </a:lnTo>
                  <a:lnTo>
                    <a:pt x="129" y="65"/>
                  </a:lnTo>
                  <a:lnTo>
                    <a:pt x="129" y="63"/>
                  </a:lnTo>
                  <a:lnTo>
                    <a:pt x="127" y="63"/>
                  </a:lnTo>
                  <a:lnTo>
                    <a:pt x="127" y="65"/>
                  </a:lnTo>
                  <a:lnTo>
                    <a:pt x="129" y="65"/>
                  </a:lnTo>
                  <a:lnTo>
                    <a:pt x="129" y="67"/>
                  </a:lnTo>
                  <a:lnTo>
                    <a:pt x="129" y="69"/>
                  </a:lnTo>
                  <a:lnTo>
                    <a:pt x="130" y="69"/>
                  </a:lnTo>
                  <a:lnTo>
                    <a:pt x="130" y="71"/>
                  </a:lnTo>
                  <a:lnTo>
                    <a:pt x="130" y="73"/>
                  </a:lnTo>
                  <a:lnTo>
                    <a:pt x="132" y="73"/>
                  </a:lnTo>
                  <a:lnTo>
                    <a:pt x="132" y="75"/>
                  </a:lnTo>
                  <a:lnTo>
                    <a:pt x="132" y="77"/>
                  </a:lnTo>
                  <a:lnTo>
                    <a:pt x="134" y="77"/>
                  </a:lnTo>
                  <a:lnTo>
                    <a:pt x="134" y="79"/>
                  </a:lnTo>
                  <a:lnTo>
                    <a:pt x="134" y="81"/>
                  </a:lnTo>
                  <a:lnTo>
                    <a:pt x="136" y="81"/>
                  </a:lnTo>
                  <a:lnTo>
                    <a:pt x="134" y="81"/>
                  </a:lnTo>
                  <a:lnTo>
                    <a:pt x="134" y="83"/>
                  </a:lnTo>
                  <a:lnTo>
                    <a:pt x="134" y="84"/>
                  </a:lnTo>
                  <a:lnTo>
                    <a:pt x="136" y="84"/>
                  </a:lnTo>
                  <a:lnTo>
                    <a:pt x="136" y="86"/>
                  </a:lnTo>
                  <a:lnTo>
                    <a:pt x="136" y="88"/>
                  </a:lnTo>
                  <a:lnTo>
                    <a:pt x="138" y="88"/>
                  </a:lnTo>
                  <a:lnTo>
                    <a:pt x="138" y="90"/>
                  </a:lnTo>
                  <a:lnTo>
                    <a:pt x="138" y="92"/>
                  </a:lnTo>
                  <a:lnTo>
                    <a:pt x="140" y="92"/>
                  </a:lnTo>
                  <a:lnTo>
                    <a:pt x="140" y="94"/>
                  </a:lnTo>
                  <a:lnTo>
                    <a:pt x="140" y="96"/>
                  </a:lnTo>
                  <a:lnTo>
                    <a:pt x="142" y="96"/>
                  </a:lnTo>
                  <a:lnTo>
                    <a:pt x="142" y="98"/>
                  </a:lnTo>
                  <a:lnTo>
                    <a:pt x="144" y="98"/>
                  </a:lnTo>
                  <a:lnTo>
                    <a:pt x="144" y="100"/>
                  </a:lnTo>
                  <a:lnTo>
                    <a:pt x="144" y="102"/>
                  </a:lnTo>
                  <a:lnTo>
                    <a:pt x="146" y="102"/>
                  </a:lnTo>
                  <a:lnTo>
                    <a:pt x="146" y="104"/>
                  </a:lnTo>
                  <a:lnTo>
                    <a:pt x="146" y="106"/>
                  </a:lnTo>
                  <a:lnTo>
                    <a:pt x="148" y="106"/>
                  </a:lnTo>
                  <a:lnTo>
                    <a:pt x="148" y="108"/>
                  </a:lnTo>
                  <a:lnTo>
                    <a:pt x="148" y="109"/>
                  </a:lnTo>
                  <a:lnTo>
                    <a:pt x="150" y="109"/>
                  </a:lnTo>
                  <a:lnTo>
                    <a:pt x="150" y="111"/>
                  </a:lnTo>
                  <a:lnTo>
                    <a:pt x="150" y="113"/>
                  </a:lnTo>
                  <a:lnTo>
                    <a:pt x="152" y="113"/>
                  </a:lnTo>
                  <a:lnTo>
                    <a:pt x="152" y="115"/>
                  </a:lnTo>
                  <a:lnTo>
                    <a:pt x="152" y="117"/>
                  </a:lnTo>
                  <a:lnTo>
                    <a:pt x="152" y="119"/>
                  </a:lnTo>
                  <a:lnTo>
                    <a:pt x="153" y="119"/>
                  </a:lnTo>
                  <a:lnTo>
                    <a:pt x="153" y="121"/>
                  </a:lnTo>
                  <a:lnTo>
                    <a:pt x="155" y="121"/>
                  </a:lnTo>
                  <a:lnTo>
                    <a:pt x="155" y="123"/>
                  </a:lnTo>
                  <a:lnTo>
                    <a:pt x="157" y="123"/>
                  </a:lnTo>
                  <a:lnTo>
                    <a:pt x="157" y="125"/>
                  </a:lnTo>
                  <a:lnTo>
                    <a:pt x="159" y="125"/>
                  </a:lnTo>
                  <a:lnTo>
                    <a:pt x="159" y="127"/>
                  </a:lnTo>
                  <a:lnTo>
                    <a:pt x="161" y="127"/>
                  </a:lnTo>
                  <a:lnTo>
                    <a:pt x="161" y="129"/>
                  </a:lnTo>
                  <a:lnTo>
                    <a:pt x="161" y="127"/>
                  </a:lnTo>
                  <a:lnTo>
                    <a:pt x="159" y="127"/>
                  </a:lnTo>
                  <a:lnTo>
                    <a:pt x="159" y="129"/>
                  </a:lnTo>
                  <a:lnTo>
                    <a:pt x="159" y="127"/>
                  </a:lnTo>
                  <a:lnTo>
                    <a:pt x="157" y="127"/>
                  </a:lnTo>
                  <a:lnTo>
                    <a:pt x="157" y="129"/>
                  </a:lnTo>
                  <a:lnTo>
                    <a:pt x="157" y="127"/>
                  </a:lnTo>
                  <a:lnTo>
                    <a:pt x="157" y="129"/>
                  </a:lnTo>
                  <a:lnTo>
                    <a:pt x="157" y="131"/>
                  </a:lnTo>
                  <a:lnTo>
                    <a:pt x="157" y="133"/>
                  </a:lnTo>
                  <a:lnTo>
                    <a:pt x="157" y="134"/>
                  </a:lnTo>
                  <a:lnTo>
                    <a:pt x="157" y="136"/>
                  </a:lnTo>
                  <a:lnTo>
                    <a:pt x="157" y="138"/>
                  </a:lnTo>
                  <a:lnTo>
                    <a:pt x="159" y="138"/>
                  </a:lnTo>
                  <a:lnTo>
                    <a:pt x="159" y="140"/>
                  </a:lnTo>
                  <a:lnTo>
                    <a:pt x="159" y="142"/>
                  </a:lnTo>
                  <a:lnTo>
                    <a:pt x="159" y="144"/>
                  </a:lnTo>
                  <a:lnTo>
                    <a:pt x="161" y="144"/>
                  </a:lnTo>
                  <a:lnTo>
                    <a:pt x="161" y="146"/>
                  </a:lnTo>
                  <a:lnTo>
                    <a:pt x="161" y="144"/>
                  </a:lnTo>
                  <a:lnTo>
                    <a:pt x="161" y="146"/>
                  </a:lnTo>
                  <a:lnTo>
                    <a:pt x="161" y="144"/>
                  </a:lnTo>
                  <a:lnTo>
                    <a:pt x="161" y="146"/>
                  </a:lnTo>
                  <a:lnTo>
                    <a:pt x="163" y="146"/>
                  </a:lnTo>
                  <a:lnTo>
                    <a:pt x="163" y="148"/>
                  </a:lnTo>
                  <a:lnTo>
                    <a:pt x="165" y="148"/>
                  </a:lnTo>
                  <a:lnTo>
                    <a:pt x="163" y="148"/>
                  </a:lnTo>
                  <a:lnTo>
                    <a:pt x="165" y="148"/>
                  </a:lnTo>
                  <a:lnTo>
                    <a:pt x="167" y="148"/>
                  </a:lnTo>
                  <a:lnTo>
                    <a:pt x="169" y="148"/>
                  </a:lnTo>
                  <a:lnTo>
                    <a:pt x="169" y="150"/>
                  </a:lnTo>
                  <a:lnTo>
                    <a:pt x="169" y="152"/>
                  </a:lnTo>
                  <a:lnTo>
                    <a:pt x="171" y="152"/>
                  </a:lnTo>
                  <a:lnTo>
                    <a:pt x="171" y="154"/>
                  </a:lnTo>
                  <a:lnTo>
                    <a:pt x="173" y="154"/>
                  </a:lnTo>
                  <a:lnTo>
                    <a:pt x="175" y="154"/>
                  </a:lnTo>
                  <a:lnTo>
                    <a:pt x="175" y="156"/>
                  </a:lnTo>
                  <a:lnTo>
                    <a:pt x="176" y="156"/>
                  </a:lnTo>
                  <a:lnTo>
                    <a:pt x="176" y="157"/>
                  </a:lnTo>
                  <a:lnTo>
                    <a:pt x="178" y="157"/>
                  </a:lnTo>
                  <a:lnTo>
                    <a:pt x="176" y="157"/>
                  </a:lnTo>
                  <a:lnTo>
                    <a:pt x="175" y="157"/>
                  </a:lnTo>
                  <a:lnTo>
                    <a:pt x="144" y="157"/>
                  </a:lnTo>
                  <a:lnTo>
                    <a:pt x="136" y="157"/>
                  </a:lnTo>
                  <a:lnTo>
                    <a:pt x="127" y="157"/>
                  </a:lnTo>
                  <a:lnTo>
                    <a:pt x="123" y="157"/>
                  </a:lnTo>
                  <a:lnTo>
                    <a:pt x="113" y="157"/>
                  </a:lnTo>
                  <a:lnTo>
                    <a:pt x="98" y="157"/>
                  </a:lnTo>
                  <a:lnTo>
                    <a:pt x="96" y="157"/>
                  </a:lnTo>
                  <a:lnTo>
                    <a:pt x="94" y="157"/>
                  </a:lnTo>
                  <a:lnTo>
                    <a:pt x="75" y="157"/>
                  </a:lnTo>
                  <a:lnTo>
                    <a:pt x="4" y="157"/>
                  </a:lnTo>
                  <a:lnTo>
                    <a:pt x="4" y="134"/>
                  </a:lnTo>
                  <a:lnTo>
                    <a:pt x="4" y="109"/>
                  </a:lnTo>
                  <a:lnTo>
                    <a:pt x="4" y="90"/>
                  </a:lnTo>
                  <a:lnTo>
                    <a:pt x="4" y="79"/>
                  </a:lnTo>
                  <a:lnTo>
                    <a:pt x="4" y="67"/>
                  </a:lnTo>
                  <a:lnTo>
                    <a:pt x="4" y="61"/>
                  </a:lnTo>
                  <a:lnTo>
                    <a:pt x="4" y="40"/>
                  </a:lnTo>
                  <a:lnTo>
                    <a:pt x="4" y="38"/>
                  </a:lnTo>
                  <a:lnTo>
                    <a:pt x="2" y="38"/>
                  </a:lnTo>
                  <a:lnTo>
                    <a:pt x="2" y="36"/>
                  </a:lnTo>
                  <a:lnTo>
                    <a:pt x="2" y="35"/>
                  </a:lnTo>
                  <a:lnTo>
                    <a:pt x="2" y="33"/>
                  </a:lnTo>
                  <a:lnTo>
                    <a:pt x="2" y="31"/>
                  </a:lnTo>
                  <a:lnTo>
                    <a:pt x="2" y="29"/>
                  </a:lnTo>
                  <a:lnTo>
                    <a:pt x="0" y="29"/>
                  </a:lnTo>
                  <a:lnTo>
                    <a:pt x="0" y="27"/>
                  </a:lnTo>
                  <a:lnTo>
                    <a:pt x="0" y="25"/>
                  </a:lnTo>
                  <a:lnTo>
                    <a:pt x="0" y="23"/>
                  </a:lnTo>
                  <a:lnTo>
                    <a:pt x="0" y="21"/>
                  </a:lnTo>
                  <a:lnTo>
                    <a:pt x="2" y="21"/>
                  </a:lnTo>
                  <a:lnTo>
                    <a:pt x="2" y="19"/>
                  </a:lnTo>
                  <a:lnTo>
                    <a:pt x="2" y="17"/>
                  </a:lnTo>
                  <a:lnTo>
                    <a:pt x="4" y="17"/>
                  </a:lnTo>
                  <a:lnTo>
                    <a:pt x="4" y="15"/>
                  </a:lnTo>
                  <a:lnTo>
                    <a:pt x="4" y="13"/>
                  </a:lnTo>
                  <a:lnTo>
                    <a:pt x="4" y="12"/>
                  </a:lnTo>
                  <a:lnTo>
                    <a:pt x="2" y="10"/>
                  </a:lnTo>
                  <a:lnTo>
                    <a:pt x="2" y="8"/>
                  </a:lnTo>
                  <a:lnTo>
                    <a:pt x="2" y="6"/>
                  </a:lnTo>
                  <a:lnTo>
                    <a:pt x="2" y="4"/>
                  </a:lnTo>
                  <a:lnTo>
                    <a:pt x="2" y="2"/>
                  </a:lnTo>
                  <a:lnTo>
                    <a:pt x="4" y="2"/>
                  </a:lnTo>
                  <a:lnTo>
                    <a:pt x="4" y="0"/>
                  </a:lnTo>
                  <a:lnTo>
                    <a:pt x="6" y="0"/>
                  </a:lnTo>
                  <a:close/>
                  <a:moveTo>
                    <a:pt x="134" y="69"/>
                  </a:moveTo>
                  <a:lnTo>
                    <a:pt x="136" y="69"/>
                  </a:lnTo>
                  <a:lnTo>
                    <a:pt x="136" y="71"/>
                  </a:lnTo>
                  <a:lnTo>
                    <a:pt x="134" y="71"/>
                  </a:lnTo>
                  <a:lnTo>
                    <a:pt x="134" y="69"/>
                  </a:lnTo>
                  <a:close/>
                  <a:moveTo>
                    <a:pt x="132" y="67"/>
                  </a:moveTo>
                  <a:lnTo>
                    <a:pt x="132" y="69"/>
                  </a:lnTo>
                  <a:lnTo>
                    <a:pt x="132" y="67"/>
                  </a:lnTo>
                  <a:close/>
                  <a:moveTo>
                    <a:pt x="134" y="73"/>
                  </a:moveTo>
                  <a:lnTo>
                    <a:pt x="134" y="75"/>
                  </a:lnTo>
                  <a:lnTo>
                    <a:pt x="134" y="73"/>
                  </a:lnTo>
                  <a:close/>
                  <a:moveTo>
                    <a:pt x="134" y="81"/>
                  </a:moveTo>
                  <a:lnTo>
                    <a:pt x="134" y="83"/>
                  </a:lnTo>
                  <a:lnTo>
                    <a:pt x="134" y="81"/>
                  </a:lnTo>
                  <a:close/>
                  <a:moveTo>
                    <a:pt x="123" y="8"/>
                  </a:moveTo>
                  <a:lnTo>
                    <a:pt x="125" y="8"/>
                  </a:lnTo>
                  <a:lnTo>
                    <a:pt x="123" y="8"/>
                  </a:lnTo>
                  <a:lnTo>
                    <a:pt x="121" y="8"/>
                  </a:lnTo>
                  <a:lnTo>
                    <a:pt x="123" y="8"/>
                  </a:lnTo>
                  <a:close/>
                  <a:moveTo>
                    <a:pt x="130" y="65"/>
                  </a:moveTo>
                  <a:lnTo>
                    <a:pt x="132" y="65"/>
                  </a:lnTo>
                  <a:lnTo>
                    <a:pt x="132" y="67"/>
                  </a:lnTo>
                  <a:lnTo>
                    <a:pt x="130" y="67"/>
                  </a:lnTo>
                  <a:lnTo>
                    <a:pt x="130" y="65"/>
                  </a:lnTo>
                  <a:close/>
                  <a:moveTo>
                    <a:pt x="125" y="8"/>
                  </a:moveTo>
                  <a:lnTo>
                    <a:pt x="127" y="8"/>
                  </a:lnTo>
                  <a:lnTo>
                    <a:pt x="125" y="8"/>
                  </a:lnTo>
                  <a:close/>
                  <a:moveTo>
                    <a:pt x="130" y="65"/>
                  </a:moveTo>
                  <a:lnTo>
                    <a:pt x="130" y="67"/>
                  </a:lnTo>
                  <a:lnTo>
                    <a:pt x="130" y="65"/>
                  </a:lnTo>
                  <a:close/>
                  <a:moveTo>
                    <a:pt x="132" y="75"/>
                  </a:moveTo>
                  <a:lnTo>
                    <a:pt x="134" y="75"/>
                  </a:lnTo>
                  <a:lnTo>
                    <a:pt x="132" y="75"/>
                  </a:lnTo>
                  <a:close/>
                  <a:moveTo>
                    <a:pt x="132" y="75"/>
                  </a:moveTo>
                  <a:lnTo>
                    <a:pt x="134" y="75"/>
                  </a:lnTo>
                  <a:lnTo>
                    <a:pt x="132" y="75"/>
                  </a:lnTo>
                  <a:close/>
                  <a:moveTo>
                    <a:pt x="125" y="10"/>
                  </a:moveTo>
                  <a:lnTo>
                    <a:pt x="127" y="10"/>
                  </a:lnTo>
                  <a:lnTo>
                    <a:pt x="125" y="10"/>
                  </a:lnTo>
                  <a:close/>
                  <a:moveTo>
                    <a:pt x="159" y="144"/>
                  </a:moveTo>
                  <a:lnTo>
                    <a:pt x="161" y="144"/>
                  </a:lnTo>
                  <a:lnTo>
                    <a:pt x="159" y="144"/>
                  </a:lnTo>
                  <a:close/>
                  <a:moveTo>
                    <a:pt x="119" y="8"/>
                  </a:moveTo>
                  <a:lnTo>
                    <a:pt x="121" y="8"/>
                  </a:lnTo>
                  <a:lnTo>
                    <a:pt x="119" y="8"/>
                  </a:lnTo>
                  <a:close/>
                  <a:moveTo>
                    <a:pt x="132" y="65"/>
                  </a:moveTo>
                  <a:lnTo>
                    <a:pt x="132" y="67"/>
                  </a:lnTo>
                  <a:lnTo>
                    <a:pt x="132" y="6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361">
              <a:extLst>
                <a:ext uri="{FF2B5EF4-FFF2-40B4-BE49-F238E27FC236}">
                  <a16:creationId xmlns:a16="http://schemas.microsoft.com/office/drawing/2014/main" id="{5CBAF38D-5463-4C81-A05E-A5E7E3F17416}"/>
                </a:ext>
              </a:extLst>
            </p:cNvPr>
            <p:cNvSpPr>
              <a:spLocks/>
            </p:cNvSpPr>
            <p:nvPr/>
          </p:nvSpPr>
          <p:spPr bwMode="gray">
            <a:xfrm>
              <a:off x="3377502" y="3734957"/>
              <a:ext cx="283293" cy="275935"/>
            </a:xfrm>
            <a:custGeom>
              <a:avLst/>
              <a:gdLst>
                <a:gd name="T0" fmla="*/ 227 w 231"/>
                <a:gd name="T1" fmla="*/ 33 h 225"/>
                <a:gd name="T2" fmla="*/ 229 w 231"/>
                <a:gd name="T3" fmla="*/ 44 h 225"/>
                <a:gd name="T4" fmla="*/ 225 w 231"/>
                <a:gd name="T5" fmla="*/ 52 h 225"/>
                <a:gd name="T6" fmla="*/ 227 w 231"/>
                <a:gd name="T7" fmla="*/ 62 h 225"/>
                <a:gd name="T8" fmla="*/ 229 w 231"/>
                <a:gd name="T9" fmla="*/ 94 h 225"/>
                <a:gd name="T10" fmla="*/ 229 w 231"/>
                <a:gd name="T11" fmla="*/ 200 h 225"/>
                <a:gd name="T12" fmla="*/ 169 w 231"/>
                <a:gd name="T13" fmla="*/ 200 h 225"/>
                <a:gd name="T14" fmla="*/ 96 w 231"/>
                <a:gd name="T15" fmla="*/ 161 h 225"/>
                <a:gd name="T16" fmla="*/ 60 w 231"/>
                <a:gd name="T17" fmla="*/ 165 h 225"/>
                <a:gd name="T18" fmla="*/ 25 w 231"/>
                <a:gd name="T19" fmla="*/ 148 h 225"/>
                <a:gd name="T20" fmla="*/ 20 w 231"/>
                <a:gd name="T21" fmla="*/ 146 h 225"/>
                <a:gd name="T22" fmla="*/ 12 w 231"/>
                <a:gd name="T23" fmla="*/ 142 h 225"/>
                <a:gd name="T24" fmla="*/ 10 w 231"/>
                <a:gd name="T25" fmla="*/ 131 h 225"/>
                <a:gd name="T26" fmla="*/ 8 w 231"/>
                <a:gd name="T27" fmla="*/ 113 h 225"/>
                <a:gd name="T28" fmla="*/ 6 w 231"/>
                <a:gd name="T29" fmla="*/ 104 h 225"/>
                <a:gd name="T30" fmla="*/ 6 w 231"/>
                <a:gd name="T31" fmla="*/ 96 h 225"/>
                <a:gd name="T32" fmla="*/ 8 w 231"/>
                <a:gd name="T33" fmla="*/ 87 h 225"/>
                <a:gd name="T34" fmla="*/ 2 w 231"/>
                <a:gd name="T35" fmla="*/ 56 h 225"/>
                <a:gd name="T36" fmla="*/ 6 w 231"/>
                <a:gd name="T37" fmla="*/ 50 h 225"/>
                <a:gd name="T38" fmla="*/ 12 w 231"/>
                <a:gd name="T39" fmla="*/ 42 h 225"/>
                <a:gd name="T40" fmla="*/ 12 w 231"/>
                <a:gd name="T41" fmla="*/ 35 h 225"/>
                <a:gd name="T42" fmla="*/ 16 w 231"/>
                <a:gd name="T43" fmla="*/ 25 h 225"/>
                <a:gd name="T44" fmla="*/ 21 w 231"/>
                <a:gd name="T45" fmla="*/ 19 h 225"/>
                <a:gd name="T46" fmla="*/ 29 w 231"/>
                <a:gd name="T47" fmla="*/ 14 h 225"/>
                <a:gd name="T48" fmla="*/ 31 w 231"/>
                <a:gd name="T49" fmla="*/ 6 h 225"/>
                <a:gd name="T50" fmla="*/ 35 w 231"/>
                <a:gd name="T51" fmla="*/ 2 h 225"/>
                <a:gd name="T52" fmla="*/ 41 w 231"/>
                <a:gd name="T53" fmla="*/ 4 h 225"/>
                <a:gd name="T54" fmla="*/ 46 w 231"/>
                <a:gd name="T55" fmla="*/ 6 h 225"/>
                <a:gd name="T56" fmla="*/ 50 w 231"/>
                <a:gd name="T57" fmla="*/ 6 h 225"/>
                <a:gd name="T58" fmla="*/ 56 w 231"/>
                <a:gd name="T59" fmla="*/ 4 h 225"/>
                <a:gd name="T60" fmla="*/ 58 w 231"/>
                <a:gd name="T61" fmla="*/ 6 h 225"/>
                <a:gd name="T62" fmla="*/ 66 w 231"/>
                <a:gd name="T63" fmla="*/ 6 h 225"/>
                <a:gd name="T64" fmla="*/ 71 w 231"/>
                <a:gd name="T65" fmla="*/ 8 h 225"/>
                <a:gd name="T66" fmla="*/ 77 w 231"/>
                <a:gd name="T67" fmla="*/ 14 h 225"/>
                <a:gd name="T68" fmla="*/ 87 w 231"/>
                <a:gd name="T69" fmla="*/ 15 h 225"/>
                <a:gd name="T70" fmla="*/ 89 w 231"/>
                <a:gd name="T71" fmla="*/ 21 h 225"/>
                <a:gd name="T72" fmla="*/ 92 w 231"/>
                <a:gd name="T73" fmla="*/ 29 h 225"/>
                <a:gd name="T74" fmla="*/ 100 w 231"/>
                <a:gd name="T75" fmla="*/ 33 h 225"/>
                <a:gd name="T76" fmla="*/ 110 w 231"/>
                <a:gd name="T77" fmla="*/ 35 h 225"/>
                <a:gd name="T78" fmla="*/ 119 w 231"/>
                <a:gd name="T79" fmla="*/ 37 h 225"/>
                <a:gd name="T80" fmla="*/ 127 w 231"/>
                <a:gd name="T81" fmla="*/ 40 h 225"/>
                <a:gd name="T82" fmla="*/ 133 w 231"/>
                <a:gd name="T83" fmla="*/ 46 h 225"/>
                <a:gd name="T84" fmla="*/ 140 w 231"/>
                <a:gd name="T85" fmla="*/ 50 h 225"/>
                <a:gd name="T86" fmla="*/ 150 w 231"/>
                <a:gd name="T87" fmla="*/ 48 h 225"/>
                <a:gd name="T88" fmla="*/ 156 w 231"/>
                <a:gd name="T89" fmla="*/ 42 h 225"/>
                <a:gd name="T90" fmla="*/ 158 w 231"/>
                <a:gd name="T91" fmla="*/ 33 h 225"/>
                <a:gd name="T92" fmla="*/ 154 w 231"/>
                <a:gd name="T93" fmla="*/ 25 h 225"/>
                <a:gd name="T94" fmla="*/ 158 w 231"/>
                <a:gd name="T95" fmla="*/ 17 h 225"/>
                <a:gd name="T96" fmla="*/ 162 w 231"/>
                <a:gd name="T97" fmla="*/ 14 h 225"/>
                <a:gd name="T98" fmla="*/ 169 w 231"/>
                <a:gd name="T99" fmla="*/ 10 h 225"/>
                <a:gd name="T100" fmla="*/ 177 w 231"/>
                <a:gd name="T101" fmla="*/ 6 h 225"/>
                <a:gd name="T102" fmla="*/ 183 w 231"/>
                <a:gd name="T103" fmla="*/ 4 h 225"/>
                <a:gd name="T104" fmla="*/ 185 w 231"/>
                <a:gd name="T105" fmla="*/ 6 h 225"/>
                <a:gd name="T106" fmla="*/ 188 w 231"/>
                <a:gd name="T107" fmla="*/ 6 h 225"/>
                <a:gd name="T108" fmla="*/ 198 w 231"/>
                <a:gd name="T109" fmla="*/ 8 h 225"/>
                <a:gd name="T110" fmla="*/ 202 w 231"/>
                <a:gd name="T111" fmla="*/ 12 h 225"/>
                <a:gd name="T112" fmla="*/ 204 w 231"/>
                <a:gd name="T113" fmla="*/ 17 h 225"/>
                <a:gd name="T114" fmla="*/ 211 w 231"/>
                <a:gd name="T115" fmla="*/ 17 h 225"/>
                <a:gd name="T116" fmla="*/ 215 w 231"/>
                <a:gd name="T117" fmla="*/ 21 h 225"/>
                <a:gd name="T118" fmla="*/ 225 w 231"/>
                <a:gd name="T119" fmla="*/ 19 h 225"/>
                <a:gd name="T120" fmla="*/ 229 w 231"/>
                <a:gd name="T121" fmla="*/ 2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1" h="225">
                  <a:moveTo>
                    <a:pt x="231" y="27"/>
                  </a:moveTo>
                  <a:lnTo>
                    <a:pt x="229" y="27"/>
                  </a:lnTo>
                  <a:lnTo>
                    <a:pt x="229" y="29"/>
                  </a:lnTo>
                  <a:lnTo>
                    <a:pt x="227" y="29"/>
                  </a:lnTo>
                  <a:lnTo>
                    <a:pt x="227" y="31"/>
                  </a:lnTo>
                  <a:lnTo>
                    <a:pt x="227" y="33"/>
                  </a:lnTo>
                  <a:lnTo>
                    <a:pt x="227" y="35"/>
                  </a:lnTo>
                  <a:lnTo>
                    <a:pt x="227" y="37"/>
                  </a:lnTo>
                  <a:lnTo>
                    <a:pt x="229" y="39"/>
                  </a:lnTo>
                  <a:lnTo>
                    <a:pt x="229" y="40"/>
                  </a:lnTo>
                  <a:lnTo>
                    <a:pt x="229" y="42"/>
                  </a:lnTo>
                  <a:lnTo>
                    <a:pt x="229" y="44"/>
                  </a:lnTo>
                  <a:lnTo>
                    <a:pt x="227" y="44"/>
                  </a:lnTo>
                  <a:lnTo>
                    <a:pt x="227" y="46"/>
                  </a:lnTo>
                  <a:lnTo>
                    <a:pt x="227" y="48"/>
                  </a:lnTo>
                  <a:lnTo>
                    <a:pt x="225" y="48"/>
                  </a:lnTo>
                  <a:lnTo>
                    <a:pt x="225" y="50"/>
                  </a:lnTo>
                  <a:lnTo>
                    <a:pt x="225" y="52"/>
                  </a:lnTo>
                  <a:lnTo>
                    <a:pt x="225" y="54"/>
                  </a:lnTo>
                  <a:lnTo>
                    <a:pt x="225" y="56"/>
                  </a:lnTo>
                  <a:lnTo>
                    <a:pt x="227" y="56"/>
                  </a:lnTo>
                  <a:lnTo>
                    <a:pt x="227" y="58"/>
                  </a:lnTo>
                  <a:lnTo>
                    <a:pt x="227" y="60"/>
                  </a:lnTo>
                  <a:lnTo>
                    <a:pt x="227" y="62"/>
                  </a:lnTo>
                  <a:lnTo>
                    <a:pt x="227" y="63"/>
                  </a:lnTo>
                  <a:lnTo>
                    <a:pt x="227" y="65"/>
                  </a:lnTo>
                  <a:lnTo>
                    <a:pt x="229" y="65"/>
                  </a:lnTo>
                  <a:lnTo>
                    <a:pt x="229" y="67"/>
                  </a:lnTo>
                  <a:lnTo>
                    <a:pt x="229" y="88"/>
                  </a:lnTo>
                  <a:lnTo>
                    <a:pt x="229" y="94"/>
                  </a:lnTo>
                  <a:lnTo>
                    <a:pt x="229" y="106"/>
                  </a:lnTo>
                  <a:lnTo>
                    <a:pt x="229" y="117"/>
                  </a:lnTo>
                  <a:lnTo>
                    <a:pt x="229" y="136"/>
                  </a:lnTo>
                  <a:lnTo>
                    <a:pt x="229" y="161"/>
                  </a:lnTo>
                  <a:lnTo>
                    <a:pt x="229" y="184"/>
                  </a:lnTo>
                  <a:lnTo>
                    <a:pt x="229" y="200"/>
                  </a:lnTo>
                  <a:lnTo>
                    <a:pt x="229" y="209"/>
                  </a:lnTo>
                  <a:lnTo>
                    <a:pt x="229" y="217"/>
                  </a:lnTo>
                  <a:lnTo>
                    <a:pt x="213" y="217"/>
                  </a:lnTo>
                  <a:lnTo>
                    <a:pt x="213" y="225"/>
                  </a:lnTo>
                  <a:lnTo>
                    <a:pt x="187" y="209"/>
                  </a:lnTo>
                  <a:lnTo>
                    <a:pt x="169" y="200"/>
                  </a:lnTo>
                  <a:lnTo>
                    <a:pt x="167" y="198"/>
                  </a:lnTo>
                  <a:lnTo>
                    <a:pt x="154" y="192"/>
                  </a:lnTo>
                  <a:lnTo>
                    <a:pt x="142" y="184"/>
                  </a:lnTo>
                  <a:lnTo>
                    <a:pt x="125" y="177"/>
                  </a:lnTo>
                  <a:lnTo>
                    <a:pt x="110" y="169"/>
                  </a:lnTo>
                  <a:lnTo>
                    <a:pt x="96" y="161"/>
                  </a:lnTo>
                  <a:lnTo>
                    <a:pt x="85" y="169"/>
                  </a:lnTo>
                  <a:lnTo>
                    <a:pt x="83" y="169"/>
                  </a:lnTo>
                  <a:lnTo>
                    <a:pt x="71" y="175"/>
                  </a:lnTo>
                  <a:lnTo>
                    <a:pt x="64" y="169"/>
                  </a:lnTo>
                  <a:lnTo>
                    <a:pt x="62" y="167"/>
                  </a:lnTo>
                  <a:lnTo>
                    <a:pt x="60" y="165"/>
                  </a:lnTo>
                  <a:lnTo>
                    <a:pt x="54" y="165"/>
                  </a:lnTo>
                  <a:lnTo>
                    <a:pt x="39" y="161"/>
                  </a:lnTo>
                  <a:lnTo>
                    <a:pt x="33" y="150"/>
                  </a:lnTo>
                  <a:lnTo>
                    <a:pt x="31" y="150"/>
                  </a:lnTo>
                  <a:lnTo>
                    <a:pt x="29" y="150"/>
                  </a:lnTo>
                  <a:lnTo>
                    <a:pt x="25" y="148"/>
                  </a:lnTo>
                  <a:lnTo>
                    <a:pt x="25" y="146"/>
                  </a:lnTo>
                  <a:lnTo>
                    <a:pt x="23" y="146"/>
                  </a:lnTo>
                  <a:lnTo>
                    <a:pt x="23" y="144"/>
                  </a:lnTo>
                  <a:lnTo>
                    <a:pt x="21" y="144"/>
                  </a:lnTo>
                  <a:lnTo>
                    <a:pt x="21" y="146"/>
                  </a:lnTo>
                  <a:lnTo>
                    <a:pt x="20" y="146"/>
                  </a:lnTo>
                  <a:lnTo>
                    <a:pt x="20" y="144"/>
                  </a:lnTo>
                  <a:lnTo>
                    <a:pt x="18" y="144"/>
                  </a:lnTo>
                  <a:lnTo>
                    <a:pt x="16" y="144"/>
                  </a:lnTo>
                  <a:lnTo>
                    <a:pt x="14" y="144"/>
                  </a:lnTo>
                  <a:lnTo>
                    <a:pt x="12" y="144"/>
                  </a:lnTo>
                  <a:lnTo>
                    <a:pt x="12" y="142"/>
                  </a:lnTo>
                  <a:lnTo>
                    <a:pt x="12" y="140"/>
                  </a:lnTo>
                  <a:lnTo>
                    <a:pt x="10" y="140"/>
                  </a:lnTo>
                  <a:lnTo>
                    <a:pt x="10" y="138"/>
                  </a:lnTo>
                  <a:lnTo>
                    <a:pt x="10" y="136"/>
                  </a:lnTo>
                  <a:lnTo>
                    <a:pt x="10" y="135"/>
                  </a:lnTo>
                  <a:lnTo>
                    <a:pt x="10" y="131"/>
                  </a:lnTo>
                  <a:lnTo>
                    <a:pt x="4" y="125"/>
                  </a:lnTo>
                  <a:lnTo>
                    <a:pt x="2" y="121"/>
                  </a:lnTo>
                  <a:lnTo>
                    <a:pt x="0" y="117"/>
                  </a:lnTo>
                  <a:lnTo>
                    <a:pt x="2" y="117"/>
                  </a:lnTo>
                  <a:lnTo>
                    <a:pt x="2" y="115"/>
                  </a:lnTo>
                  <a:lnTo>
                    <a:pt x="8" y="113"/>
                  </a:lnTo>
                  <a:lnTo>
                    <a:pt x="8" y="111"/>
                  </a:lnTo>
                  <a:lnTo>
                    <a:pt x="8" y="110"/>
                  </a:lnTo>
                  <a:lnTo>
                    <a:pt x="8" y="108"/>
                  </a:lnTo>
                  <a:lnTo>
                    <a:pt x="8" y="106"/>
                  </a:lnTo>
                  <a:lnTo>
                    <a:pt x="6" y="106"/>
                  </a:lnTo>
                  <a:lnTo>
                    <a:pt x="6" y="104"/>
                  </a:lnTo>
                  <a:lnTo>
                    <a:pt x="6" y="102"/>
                  </a:lnTo>
                  <a:lnTo>
                    <a:pt x="6" y="100"/>
                  </a:lnTo>
                  <a:lnTo>
                    <a:pt x="6" y="98"/>
                  </a:lnTo>
                  <a:lnTo>
                    <a:pt x="6" y="96"/>
                  </a:lnTo>
                  <a:lnTo>
                    <a:pt x="8" y="96"/>
                  </a:lnTo>
                  <a:lnTo>
                    <a:pt x="6" y="96"/>
                  </a:lnTo>
                  <a:lnTo>
                    <a:pt x="6" y="94"/>
                  </a:lnTo>
                  <a:lnTo>
                    <a:pt x="8" y="94"/>
                  </a:lnTo>
                  <a:lnTo>
                    <a:pt x="8" y="92"/>
                  </a:lnTo>
                  <a:lnTo>
                    <a:pt x="8" y="90"/>
                  </a:lnTo>
                  <a:lnTo>
                    <a:pt x="8" y="88"/>
                  </a:lnTo>
                  <a:lnTo>
                    <a:pt x="8" y="87"/>
                  </a:lnTo>
                  <a:lnTo>
                    <a:pt x="6" y="83"/>
                  </a:lnTo>
                  <a:lnTo>
                    <a:pt x="8" y="77"/>
                  </a:lnTo>
                  <a:lnTo>
                    <a:pt x="8" y="75"/>
                  </a:lnTo>
                  <a:lnTo>
                    <a:pt x="8" y="71"/>
                  </a:lnTo>
                  <a:lnTo>
                    <a:pt x="6" y="65"/>
                  </a:lnTo>
                  <a:lnTo>
                    <a:pt x="2" y="56"/>
                  </a:lnTo>
                  <a:lnTo>
                    <a:pt x="0" y="54"/>
                  </a:lnTo>
                  <a:lnTo>
                    <a:pt x="0" y="52"/>
                  </a:lnTo>
                  <a:lnTo>
                    <a:pt x="2" y="52"/>
                  </a:lnTo>
                  <a:lnTo>
                    <a:pt x="2" y="50"/>
                  </a:lnTo>
                  <a:lnTo>
                    <a:pt x="4" y="50"/>
                  </a:lnTo>
                  <a:lnTo>
                    <a:pt x="6" y="50"/>
                  </a:lnTo>
                  <a:lnTo>
                    <a:pt x="6" y="48"/>
                  </a:lnTo>
                  <a:lnTo>
                    <a:pt x="8" y="48"/>
                  </a:lnTo>
                  <a:lnTo>
                    <a:pt x="10" y="46"/>
                  </a:lnTo>
                  <a:lnTo>
                    <a:pt x="10" y="44"/>
                  </a:lnTo>
                  <a:lnTo>
                    <a:pt x="12" y="44"/>
                  </a:lnTo>
                  <a:lnTo>
                    <a:pt x="12" y="42"/>
                  </a:lnTo>
                  <a:lnTo>
                    <a:pt x="14" y="40"/>
                  </a:lnTo>
                  <a:lnTo>
                    <a:pt x="14" y="39"/>
                  </a:lnTo>
                  <a:lnTo>
                    <a:pt x="14" y="37"/>
                  </a:lnTo>
                  <a:lnTo>
                    <a:pt x="12" y="35"/>
                  </a:lnTo>
                  <a:lnTo>
                    <a:pt x="14" y="35"/>
                  </a:lnTo>
                  <a:lnTo>
                    <a:pt x="12" y="35"/>
                  </a:lnTo>
                  <a:lnTo>
                    <a:pt x="12" y="33"/>
                  </a:lnTo>
                  <a:lnTo>
                    <a:pt x="12" y="31"/>
                  </a:lnTo>
                  <a:lnTo>
                    <a:pt x="12" y="29"/>
                  </a:lnTo>
                  <a:lnTo>
                    <a:pt x="12" y="27"/>
                  </a:lnTo>
                  <a:lnTo>
                    <a:pt x="14" y="25"/>
                  </a:lnTo>
                  <a:lnTo>
                    <a:pt x="16" y="25"/>
                  </a:lnTo>
                  <a:lnTo>
                    <a:pt x="18" y="25"/>
                  </a:lnTo>
                  <a:lnTo>
                    <a:pt x="18" y="23"/>
                  </a:lnTo>
                  <a:lnTo>
                    <a:pt x="18" y="21"/>
                  </a:lnTo>
                  <a:lnTo>
                    <a:pt x="20" y="21"/>
                  </a:lnTo>
                  <a:lnTo>
                    <a:pt x="21" y="21"/>
                  </a:lnTo>
                  <a:lnTo>
                    <a:pt x="21" y="19"/>
                  </a:lnTo>
                  <a:lnTo>
                    <a:pt x="23" y="17"/>
                  </a:lnTo>
                  <a:lnTo>
                    <a:pt x="25" y="17"/>
                  </a:lnTo>
                  <a:lnTo>
                    <a:pt x="25" y="15"/>
                  </a:lnTo>
                  <a:lnTo>
                    <a:pt x="27" y="15"/>
                  </a:lnTo>
                  <a:lnTo>
                    <a:pt x="29" y="15"/>
                  </a:lnTo>
                  <a:lnTo>
                    <a:pt x="29" y="14"/>
                  </a:lnTo>
                  <a:lnTo>
                    <a:pt x="31" y="14"/>
                  </a:lnTo>
                  <a:lnTo>
                    <a:pt x="33" y="14"/>
                  </a:lnTo>
                  <a:lnTo>
                    <a:pt x="33" y="12"/>
                  </a:lnTo>
                  <a:lnTo>
                    <a:pt x="31" y="10"/>
                  </a:lnTo>
                  <a:lnTo>
                    <a:pt x="31" y="8"/>
                  </a:lnTo>
                  <a:lnTo>
                    <a:pt x="31" y="6"/>
                  </a:lnTo>
                  <a:lnTo>
                    <a:pt x="31" y="4"/>
                  </a:lnTo>
                  <a:lnTo>
                    <a:pt x="31" y="2"/>
                  </a:lnTo>
                  <a:lnTo>
                    <a:pt x="31" y="0"/>
                  </a:lnTo>
                  <a:lnTo>
                    <a:pt x="33" y="0"/>
                  </a:lnTo>
                  <a:lnTo>
                    <a:pt x="33" y="2"/>
                  </a:lnTo>
                  <a:lnTo>
                    <a:pt x="35" y="2"/>
                  </a:lnTo>
                  <a:lnTo>
                    <a:pt x="33" y="2"/>
                  </a:lnTo>
                  <a:lnTo>
                    <a:pt x="35" y="2"/>
                  </a:lnTo>
                  <a:lnTo>
                    <a:pt x="37" y="2"/>
                  </a:lnTo>
                  <a:lnTo>
                    <a:pt x="37" y="4"/>
                  </a:lnTo>
                  <a:lnTo>
                    <a:pt x="39" y="4"/>
                  </a:lnTo>
                  <a:lnTo>
                    <a:pt x="41" y="4"/>
                  </a:lnTo>
                  <a:lnTo>
                    <a:pt x="41" y="6"/>
                  </a:lnTo>
                  <a:lnTo>
                    <a:pt x="43" y="6"/>
                  </a:lnTo>
                  <a:lnTo>
                    <a:pt x="44" y="6"/>
                  </a:lnTo>
                  <a:lnTo>
                    <a:pt x="46" y="6"/>
                  </a:lnTo>
                  <a:lnTo>
                    <a:pt x="46" y="8"/>
                  </a:lnTo>
                  <a:lnTo>
                    <a:pt x="46" y="6"/>
                  </a:lnTo>
                  <a:lnTo>
                    <a:pt x="46" y="8"/>
                  </a:lnTo>
                  <a:lnTo>
                    <a:pt x="46" y="6"/>
                  </a:lnTo>
                  <a:lnTo>
                    <a:pt x="46" y="8"/>
                  </a:lnTo>
                  <a:lnTo>
                    <a:pt x="48" y="8"/>
                  </a:lnTo>
                  <a:lnTo>
                    <a:pt x="50" y="8"/>
                  </a:lnTo>
                  <a:lnTo>
                    <a:pt x="50" y="6"/>
                  </a:lnTo>
                  <a:lnTo>
                    <a:pt x="52" y="6"/>
                  </a:lnTo>
                  <a:lnTo>
                    <a:pt x="54" y="6"/>
                  </a:lnTo>
                  <a:lnTo>
                    <a:pt x="56" y="6"/>
                  </a:lnTo>
                  <a:lnTo>
                    <a:pt x="56" y="4"/>
                  </a:lnTo>
                  <a:lnTo>
                    <a:pt x="56" y="6"/>
                  </a:lnTo>
                  <a:lnTo>
                    <a:pt x="56" y="4"/>
                  </a:lnTo>
                  <a:lnTo>
                    <a:pt x="56" y="6"/>
                  </a:lnTo>
                  <a:lnTo>
                    <a:pt x="56" y="4"/>
                  </a:lnTo>
                  <a:lnTo>
                    <a:pt x="56" y="6"/>
                  </a:lnTo>
                  <a:lnTo>
                    <a:pt x="56" y="4"/>
                  </a:lnTo>
                  <a:lnTo>
                    <a:pt x="58" y="4"/>
                  </a:lnTo>
                  <a:lnTo>
                    <a:pt x="58" y="6"/>
                  </a:lnTo>
                  <a:lnTo>
                    <a:pt x="60" y="6"/>
                  </a:lnTo>
                  <a:lnTo>
                    <a:pt x="62" y="6"/>
                  </a:lnTo>
                  <a:lnTo>
                    <a:pt x="62" y="8"/>
                  </a:lnTo>
                  <a:lnTo>
                    <a:pt x="64" y="8"/>
                  </a:lnTo>
                  <a:lnTo>
                    <a:pt x="64" y="6"/>
                  </a:lnTo>
                  <a:lnTo>
                    <a:pt x="66" y="6"/>
                  </a:lnTo>
                  <a:lnTo>
                    <a:pt x="66" y="8"/>
                  </a:lnTo>
                  <a:lnTo>
                    <a:pt x="68" y="8"/>
                  </a:lnTo>
                  <a:lnTo>
                    <a:pt x="69" y="8"/>
                  </a:lnTo>
                  <a:lnTo>
                    <a:pt x="71" y="8"/>
                  </a:lnTo>
                  <a:lnTo>
                    <a:pt x="71" y="10"/>
                  </a:lnTo>
                  <a:lnTo>
                    <a:pt x="71" y="8"/>
                  </a:lnTo>
                  <a:lnTo>
                    <a:pt x="71" y="10"/>
                  </a:lnTo>
                  <a:lnTo>
                    <a:pt x="73" y="10"/>
                  </a:lnTo>
                  <a:lnTo>
                    <a:pt x="73" y="12"/>
                  </a:lnTo>
                  <a:lnTo>
                    <a:pt x="75" y="12"/>
                  </a:lnTo>
                  <a:lnTo>
                    <a:pt x="77" y="12"/>
                  </a:lnTo>
                  <a:lnTo>
                    <a:pt x="77" y="14"/>
                  </a:lnTo>
                  <a:lnTo>
                    <a:pt x="79" y="14"/>
                  </a:lnTo>
                  <a:lnTo>
                    <a:pt x="81" y="14"/>
                  </a:lnTo>
                  <a:lnTo>
                    <a:pt x="83" y="14"/>
                  </a:lnTo>
                  <a:lnTo>
                    <a:pt x="85" y="14"/>
                  </a:lnTo>
                  <a:lnTo>
                    <a:pt x="85" y="15"/>
                  </a:lnTo>
                  <a:lnTo>
                    <a:pt x="87" y="15"/>
                  </a:lnTo>
                  <a:lnTo>
                    <a:pt x="85" y="15"/>
                  </a:lnTo>
                  <a:lnTo>
                    <a:pt x="87" y="15"/>
                  </a:lnTo>
                  <a:lnTo>
                    <a:pt x="87" y="17"/>
                  </a:lnTo>
                  <a:lnTo>
                    <a:pt x="87" y="19"/>
                  </a:lnTo>
                  <a:lnTo>
                    <a:pt x="87" y="21"/>
                  </a:lnTo>
                  <a:lnTo>
                    <a:pt x="89" y="21"/>
                  </a:lnTo>
                  <a:lnTo>
                    <a:pt x="89" y="23"/>
                  </a:lnTo>
                  <a:lnTo>
                    <a:pt x="89" y="25"/>
                  </a:lnTo>
                  <a:lnTo>
                    <a:pt x="89" y="27"/>
                  </a:lnTo>
                  <a:lnTo>
                    <a:pt x="91" y="27"/>
                  </a:lnTo>
                  <a:lnTo>
                    <a:pt x="91" y="29"/>
                  </a:lnTo>
                  <a:lnTo>
                    <a:pt x="92" y="29"/>
                  </a:lnTo>
                  <a:lnTo>
                    <a:pt x="92" y="31"/>
                  </a:lnTo>
                  <a:lnTo>
                    <a:pt x="94" y="31"/>
                  </a:lnTo>
                  <a:lnTo>
                    <a:pt x="94" y="33"/>
                  </a:lnTo>
                  <a:lnTo>
                    <a:pt x="96" y="33"/>
                  </a:lnTo>
                  <a:lnTo>
                    <a:pt x="98" y="33"/>
                  </a:lnTo>
                  <a:lnTo>
                    <a:pt x="100" y="33"/>
                  </a:lnTo>
                  <a:lnTo>
                    <a:pt x="100" y="35"/>
                  </a:lnTo>
                  <a:lnTo>
                    <a:pt x="102" y="35"/>
                  </a:lnTo>
                  <a:lnTo>
                    <a:pt x="104" y="35"/>
                  </a:lnTo>
                  <a:lnTo>
                    <a:pt x="106" y="35"/>
                  </a:lnTo>
                  <a:lnTo>
                    <a:pt x="108" y="35"/>
                  </a:lnTo>
                  <a:lnTo>
                    <a:pt x="110" y="35"/>
                  </a:lnTo>
                  <a:lnTo>
                    <a:pt x="112" y="35"/>
                  </a:lnTo>
                  <a:lnTo>
                    <a:pt x="114" y="35"/>
                  </a:lnTo>
                  <a:lnTo>
                    <a:pt x="114" y="37"/>
                  </a:lnTo>
                  <a:lnTo>
                    <a:pt x="116" y="37"/>
                  </a:lnTo>
                  <a:lnTo>
                    <a:pt x="117" y="37"/>
                  </a:lnTo>
                  <a:lnTo>
                    <a:pt x="119" y="37"/>
                  </a:lnTo>
                  <a:lnTo>
                    <a:pt x="119" y="39"/>
                  </a:lnTo>
                  <a:lnTo>
                    <a:pt x="121" y="39"/>
                  </a:lnTo>
                  <a:lnTo>
                    <a:pt x="123" y="39"/>
                  </a:lnTo>
                  <a:lnTo>
                    <a:pt x="125" y="39"/>
                  </a:lnTo>
                  <a:lnTo>
                    <a:pt x="125" y="40"/>
                  </a:lnTo>
                  <a:lnTo>
                    <a:pt x="127" y="40"/>
                  </a:lnTo>
                  <a:lnTo>
                    <a:pt x="129" y="40"/>
                  </a:lnTo>
                  <a:lnTo>
                    <a:pt x="129" y="42"/>
                  </a:lnTo>
                  <a:lnTo>
                    <a:pt x="131" y="42"/>
                  </a:lnTo>
                  <a:lnTo>
                    <a:pt x="131" y="44"/>
                  </a:lnTo>
                  <a:lnTo>
                    <a:pt x="133" y="44"/>
                  </a:lnTo>
                  <a:lnTo>
                    <a:pt x="133" y="46"/>
                  </a:lnTo>
                  <a:lnTo>
                    <a:pt x="135" y="46"/>
                  </a:lnTo>
                  <a:lnTo>
                    <a:pt x="135" y="48"/>
                  </a:lnTo>
                  <a:lnTo>
                    <a:pt x="137" y="48"/>
                  </a:lnTo>
                  <a:lnTo>
                    <a:pt x="139" y="48"/>
                  </a:lnTo>
                  <a:lnTo>
                    <a:pt x="139" y="50"/>
                  </a:lnTo>
                  <a:lnTo>
                    <a:pt x="140" y="50"/>
                  </a:lnTo>
                  <a:lnTo>
                    <a:pt x="142" y="50"/>
                  </a:lnTo>
                  <a:lnTo>
                    <a:pt x="144" y="50"/>
                  </a:lnTo>
                  <a:lnTo>
                    <a:pt x="146" y="50"/>
                  </a:lnTo>
                  <a:lnTo>
                    <a:pt x="146" y="48"/>
                  </a:lnTo>
                  <a:lnTo>
                    <a:pt x="148" y="48"/>
                  </a:lnTo>
                  <a:lnTo>
                    <a:pt x="150" y="48"/>
                  </a:lnTo>
                  <a:lnTo>
                    <a:pt x="150" y="46"/>
                  </a:lnTo>
                  <a:lnTo>
                    <a:pt x="152" y="46"/>
                  </a:lnTo>
                  <a:lnTo>
                    <a:pt x="152" y="44"/>
                  </a:lnTo>
                  <a:lnTo>
                    <a:pt x="154" y="44"/>
                  </a:lnTo>
                  <a:lnTo>
                    <a:pt x="154" y="42"/>
                  </a:lnTo>
                  <a:lnTo>
                    <a:pt x="156" y="42"/>
                  </a:lnTo>
                  <a:lnTo>
                    <a:pt x="156" y="40"/>
                  </a:lnTo>
                  <a:lnTo>
                    <a:pt x="156" y="39"/>
                  </a:lnTo>
                  <a:lnTo>
                    <a:pt x="158" y="39"/>
                  </a:lnTo>
                  <a:lnTo>
                    <a:pt x="158" y="37"/>
                  </a:lnTo>
                  <a:lnTo>
                    <a:pt x="158" y="35"/>
                  </a:lnTo>
                  <a:lnTo>
                    <a:pt x="158" y="33"/>
                  </a:lnTo>
                  <a:lnTo>
                    <a:pt x="156" y="33"/>
                  </a:lnTo>
                  <a:lnTo>
                    <a:pt x="156" y="31"/>
                  </a:lnTo>
                  <a:lnTo>
                    <a:pt x="156" y="29"/>
                  </a:lnTo>
                  <a:lnTo>
                    <a:pt x="156" y="27"/>
                  </a:lnTo>
                  <a:lnTo>
                    <a:pt x="154" y="27"/>
                  </a:lnTo>
                  <a:lnTo>
                    <a:pt x="154" y="25"/>
                  </a:lnTo>
                  <a:lnTo>
                    <a:pt x="154" y="23"/>
                  </a:lnTo>
                  <a:lnTo>
                    <a:pt x="154" y="21"/>
                  </a:lnTo>
                  <a:lnTo>
                    <a:pt x="156" y="21"/>
                  </a:lnTo>
                  <a:lnTo>
                    <a:pt x="156" y="19"/>
                  </a:lnTo>
                  <a:lnTo>
                    <a:pt x="156" y="17"/>
                  </a:lnTo>
                  <a:lnTo>
                    <a:pt x="158" y="17"/>
                  </a:lnTo>
                  <a:lnTo>
                    <a:pt x="156" y="17"/>
                  </a:lnTo>
                  <a:lnTo>
                    <a:pt x="158" y="17"/>
                  </a:lnTo>
                  <a:lnTo>
                    <a:pt x="158" y="15"/>
                  </a:lnTo>
                  <a:lnTo>
                    <a:pt x="160" y="15"/>
                  </a:lnTo>
                  <a:lnTo>
                    <a:pt x="160" y="14"/>
                  </a:lnTo>
                  <a:lnTo>
                    <a:pt x="162" y="14"/>
                  </a:lnTo>
                  <a:lnTo>
                    <a:pt x="162" y="12"/>
                  </a:lnTo>
                  <a:lnTo>
                    <a:pt x="163" y="12"/>
                  </a:lnTo>
                  <a:lnTo>
                    <a:pt x="165" y="12"/>
                  </a:lnTo>
                  <a:lnTo>
                    <a:pt x="165" y="10"/>
                  </a:lnTo>
                  <a:lnTo>
                    <a:pt x="167" y="10"/>
                  </a:lnTo>
                  <a:lnTo>
                    <a:pt x="169" y="10"/>
                  </a:lnTo>
                  <a:lnTo>
                    <a:pt x="169" y="8"/>
                  </a:lnTo>
                  <a:lnTo>
                    <a:pt x="171" y="8"/>
                  </a:lnTo>
                  <a:lnTo>
                    <a:pt x="173" y="8"/>
                  </a:lnTo>
                  <a:lnTo>
                    <a:pt x="175" y="8"/>
                  </a:lnTo>
                  <a:lnTo>
                    <a:pt x="177" y="8"/>
                  </a:lnTo>
                  <a:lnTo>
                    <a:pt x="177" y="6"/>
                  </a:lnTo>
                  <a:lnTo>
                    <a:pt x="179" y="6"/>
                  </a:lnTo>
                  <a:lnTo>
                    <a:pt x="179" y="4"/>
                  </a:lnTo>
                  <a:lnTo>
                    <a:pt x="179" y="6"/>
                  </a:lnTo>
                  <a:lnTo>
                    <a:pt x="179" y="4"/>
                  </a:lnTo>
                  <a:lnTo>
                    <a:pt x="181" y="4"/>
                  </a:lnTo>
                  <a:lnTo>
                    <a:pt x="183" y="4"/>
                  </a:lnTo>
                  <a:lnTo>
                    <a:pt x="183" y="6"/>
                  </a:lnTo>
                  <a:lnTo>
                    <a:pt x="185" y="6"/>
                  </a:lnTo>
                  <a:lnTo>
                    <a:pt x="185" y="4"/>
                  </a:lnTo>
                  <a:lnTo>
                    <a:pt x="185" y="6"/>
                  </a:lnTo>
                  <a:lnTo>
                    <a:pt x="185" y="4"/>
                  </a:lnTo>
                  <a:lnTo>
                    <a:pt x="185" y="6"/>
                  </a:lnTo>
                  <a:lnTo>
                    <a:pt x="185" y="4"/>
                  </a:lnTo>
                  <a:lnTo>
                    <a:pt x="185" y="6"/>
                  </a:lnTo>
                  <a:lnTo>
                    <a:pt x="185" y="4"/>
                  </a:lnTo>
                  <a:lnTo>
                    <a:pt x="187" y="4"/>
                  </a:lnTo>
                  <a:lnTo>
                    <a:pt x="187" y="6"/>
                  </a:lnTo>
                  <a:lnTo>
                    <a:pt x="188" y="6"/>
                  </a:lnTo>
                  <a:lnTo>
                    <a:pt x="190" y="6"/>
                  </a:lnTo>
                  <a:lnTo>
                    <a:pt x="192" y="6"/>
                  </a:lnTo>
                  <a:lnTo>
                    <a:pt x="192" y="8"/>
                  </a:lnTo>
                  <a:lnTo>
                    <a:pt x="194" y="8"/>
                  </a:lnTo>
                  <a:lnTo>
                    <a:pt x="196" y="8"/>
                  </a:lnTo>
                  <a:lnTo>
                    <a:pt x="198" y="8"/>
                  </a:lnTo>
                  <a:lnTo>
                    <a:pt x="198" y="10"/>
                  </a:lnTo>
                  <a:lnTo>
                    <a:pt x="200" y="10"/>
                  </a:lnTo>
                  <a:lnTo>
                    <a:pt x="202" y="10"/>
                  </a:lnTo>
                  <a:lnTo>
                    <a:pt x="200" y="10"/>
                  </a:lnTo>
                  <a:lnTo>
                    <a:pt x="200" y="12"/>
                  </a:lnTo>
                  <a:lnTo>
                    <a:pt x="202" y="12"/>
                  </a:lnTo>
                  <a:lnTo>
                    <a:pt x="202" y="14"/>
                  </a:lnTo>
                  <a:lnTo>
                    <a:pt x="200" y="14"/>
                  </a:lnTo>
                  <a:lnTo>
                    <a:pt x="200" y="15"/>
                  </a:lnTo>
                  <a:lnTo>
                    <a:pt x="202" y="15"/>
                  </a:lnTo>
                  <a:lnTo>
                    <a:pt x="202" y="17"/>
                  </a:lnTo>
                  <a:lnTo>
                    <a:pt x="204" y="17"/>
                  </a:lnTo>
                  <a:lnTo>
                    <a:pt x="206" y="17"/>
                  </a:lnTo>
                  <a:lnTo>
                    <a:pt x="208" y="17"/>
                  </a:lnTo>
                  <a:lnTo>
                    <a:pt x="210" y="17"/>
                  </a:lnTo>
                  <a:lnTo>
                    <a:pt x="211" y="17"/>
                  </a:lnTo>
                  <a:lnTo>
                    <a:pt x="211" y="19"/>
                  </a:lnTo>
                  <a:lnTo>
                    <a:pt x="211" y="17"/>
                  </a:lnTo>
                  <a:lnTo>
                    <a:pt x="211" y="19"/>
                  </a:lnTo>
                  <a:lnTo>
                    <a:pt x="213" y="19"/>
                  </a:lnTo>
                  <a:lnTo>
                    <a:pt x="215" y="19"/>
                  </a:lnTo>
                  <a:lnTo>
                    <a:pt x="213" y="19"/>
                  </a:lnTo>
                  <a:lnTo>
                    <a:pt x="215" y="19"/>
                  </a:lnTo>
                  <a:lnTo>
                    <a:pt x="215" y="21"/>
                  </a:lnTo>
                  <a:lnTo>
                    <a:pt x="217" y="21"/>
                  </a:lnTo>
                  <a:lnTo>
                    <a:pt x="219" y="21"/>
                  </a:lnTo>
                  <a:lnTo>
                    <a:pt x="221" y="21"/>
                  </a:lnTo>
                  <a:lnTo>
                    <a:pt x="223" y="21"/>
                  </a:lnTo>
                  <a:lnTo>
                    <a:pt x="225" y="21"/>
                  </a:lnTo>
                  <a:lnTo>
                    <a:pt x="225" y="19"/>
                  </a:lnTo>
                  <a:lnTo>
                    <a:pt x="225" y="21"/>
                  </a:lnTo>
                  <a:lnTo>
                    <a:pt x="225" y="19"/>
                  </a:lnTo>
                  <a:lnTo>
                    <a:pt x="225" y="21"/>
                  </a:lnTo>
                  <a:lnTo>
                    <a:pt x="227" y="21"/>
                  </a:lnTo>
                  <a:lnTo>
                    <a:pt x="229" y="21"/>
                  </a:lnTo>
                  <a:lnTo>
                    <a:pt x="229" y="23"/>
                  </a:lnTo>
                  <a:lnTo>
                    <a:pt x="229" y="25"/>
                  </a:lnTo>
                  <a:lnTo>
                    <a:pt x="231" y="25"/>
                  </a:lnTo>
                  <a:lnTo>
                    <a:pt x="229" y="25"/>
                  </a:lnTo>
                  <a:lnTo>
                    <a:pt x="231" y="25"/>
                  </a:lnTo>
                  <a:lnTo>
                    <a:pt x="231" y="2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362">
              <a:extLst>
                <a:ext uri="{FF2B5EF4-FFF2-40B4-BE49-F238E27FC236}">
                  <a16:creationId xmlns:a16="http://schemas.microsoft.com/office/drawing/2014/main" id="{44A043BD-8B1F-4153-8627-68880B3CB914}"/>
                </a:ext>
              </a:extLst>
            </p:cNvPr>
            <p:cNvSpPr>
              <a:spLocks noEditPoints="1"/>
            </p:cNvSpPr>
            <p:nvPr/>
          </p:nvSpPr>
          <p:spPr bwMode="gray">
            <a:xfrm>
              <a:off x="3052512" y="3650336"/>
              <a:ext cx="372819" cy="370366"/>
            </a:xfrm>
            <a:custGeom>
              <a:avLst/>
              <a:gdLst>
                <a:gd name="T0" fmla="*/ 252 w 304"/>
                <a:gd name="T1" fmla="*/ 6 h 302"/>
                <a:gd name="T2" fmla="*/ 250 w 304"/>
                <a:gd name="T3" fmla="*/ 15 h 302"/>
                <a:gd name="T4" fmla="*/ 250 w 304"/>
                <a:gd name="T5" fmla="*/ 27 h 302"/>
                <a:gd name="T6" fmla="*/ 250 w 304"/>
                <a:gd name="T7" fmla="*/ 38 h 302"/>
                <a:gd name="T8" fmla="*/ 248 w 304"/>
                <a:gd name="T9" fmla="*/ 44 h 302"/>
                <a:gd name="T10" fmla="*/ 240 w 304"/>
                <a:gd name="T11" fmla="*/ 52 h 302"/>
                <a:gd name="T12" fmla="*/ 240 w 304"/>
                <a:gd name="T13" fmla="*/ 65 h 302"/>
                <a:gd name="T14" fmla="*/ 250 w 304"/>
                <a:gd name="T15" fmla="*/ 81 h 302"/>
                <a:gd name="T16" fmla="*/ 271 w 304"/>
                <a:gd name="T17" fmla="*/ 134 h 302"/>
                <a:gd name="T18" fmla="*/ 273 w 304"/>
                <a:gd name="T19" fmla="*/ 161 h 302"/>
                <a:gd name="T20" fmla="*/ 271 w 304"/>
                <a:gd name="T21" fmla="*/ 171 h 302"/>
                <a:gd name="T22" fmla="*/ 267 w 304"/>
                <a:gd name="T23" fmla="*/ 184 h 302"/>
                <a:gd name="T24" fmla="*/ 275 w 304"/>
                <a:gd name="T25" fmla="*/ 207 h 302"/>
                <a:gd name="T26" fmla="*/ 285 w 304"/>
                <a:gd name="T27" fmla="*/ 213 h 302"/>
                <a:gd name="T28" fmla="*/ 294 w 304"/>
                <a:gd name="T29" fmla="*/ 219 h 302"/>
                <a:gd name="T30" fmla="*/ 244 w 304"/>
                <a:gd name="T31" fmla="*/ 267 h 302"/>
                <a:gd name="T32" fmla="*/ 175 w 304"/>
                <a:gd name="T33" fmla="*/ 302 h 302"/>
                <a:gd name="T34" fmla="*/ 175 w 304"/>
                <a:gd name="T35" fmla="*/ 290 h 302"/>
                <a:gd name="T36" fmla="*/ 166 w 304"/>
                <a:gd name="T37" fmla="*/ 284 h 302"/>
                <a:gd name="T38" fmla="*/ 156 w 304"/>
                <a:gd name="T39" fmla="*/ 280 h 302"/>
                <a:gd name="T40" fmla="*/ 144 w 304"/>
                <a:gd name="T41" fmla="*/ 275 h 302"/>
                <a:gd name="T42" fmla="*/ 45 w 304"/>
                <a:gd name="T43" fmla="*/ 198 h 302"/>
                <a:gd name="T44" fmla="*/ 4 w 304"/>
                <a:gd name="T45" fmla="*/ 144 h 302"/>
                <a:gd name="T46" fmla="*/ 16 w 304"/>
                <a:gd name="T47" fmla="*/ 136 h 302"/>
                <a:gd name="T48" fmla="*/ 27 w 304"/>
                <a:gd name="T49" fmla="*/ 132 h 302"/>
                <a:gd name="T50" fmla="*/ 43 w 304"/>
                <a:gd name="T51" fmla="*/ 132 h 302"/>
                <a:gd name="T52" fmla="*/ 48 w 304"/>
                <a:gd name="T53" fmla="*/ 131 h 302"/>
                <a:gd name="T54" fmla="*/ 60 w 304"/>
                <a:gd name="T55" fmla="*/ 119 h 302"/>
                <a:gd name="T56" fmla="*/ 75 w 304"/>
                <a:gd name="T57" fmla="*/ 109 h 302"/>
                <a:gd name="T58" fmla="*/ 73 w 304"/>
                <a:gd name="T59" fmla="*/ 104 h 302"/>
                <a:gd name="T60" fmla="*/ 73 w 304"/>
                <a:gd name="T61" fmla="*/ 100 h 302"/>
                <a:gd name="T62" fmla="*/ 87 w 304"/>
                <a:gd name="T63" fmla="*/ 94 h 302"/>
                <a:gd name="T64" fmla="*/ 91 w 304"/>
                <a:gd name="T65" fmla="*/ 86 h 302"/>
                <a:gd name="T66" fmla="*/ 102 w 304"/>
                <a:gd name="T67" fmla="*/ 86 h 302"/>
                <a:gd name="T68" fmla="*/ 110 w 304"/>
                <a:gd name="T69" fmla="*/ 86 h 302"/>
                <a:gd name="T70" fmla="*/ 112 w 304"/>
                <a:gd name="T71" fmla="*/ 81 h 302"/>
                <a:gd name="T72" fmla="*/ 104 w 304"/>
                <a:gd name="T73" fmla="*/ 69 h 302"/>
                <a:gd name="T74" fmla="*/ 104 w 304"/>
                <a:gd name="T75" fmla="*/ 59 h 302"/>
                <a:gd name="T76" fmla="*/ 104 w 304"/>
                <a:gd name="T77" fmla="*/ 46 h 302"/>
                <a:gd name="T78" fmla="*/ 98 w 304"/>
                <a:gd name="T79" fmla="*/ 38 h 302"/>
                <a:gd name="T80" fmla="*/ 100 w 304"/>
                <a:gd name="T81" fmla="*/ 36 h 302"/>
                <a:gd name="T82" fmla="*/ 106 w 304"/>
                <a:gd name="T83" fmla="*/ 31 h 302"/>
                <a:gd name="T84" fmla="*/ 110 w 304"/>
                <a:gd name="T85" fmla="*/ 27 h 302"/>
                <a:gd name="T86" fmla="*/ 118 w 304"/>
                <a:gd name="T87" fmla="*/ 23 h 302"/>
                <a:gd name="T88" fmla="*/ 121 w 304"/>
                <a:gd name="T89" fmla="*/ 23 h 302"/>
                <a:gd name="T90" fmla="*/ 129 w 304"/>
                <a:gd name="T91" fmla="*/ 19 h 302"/>
                <a:gd name="T92" fmla="*/ 135 w 304"/>
                <a:gd name="T93" fmla="*/ 13 h 302"/>
                <a:gd name="T94" fmla="*/ 148 w 304"/>
                <a:gd name="T95" fmla="*/ 10 h 302"/>
                <a:gd name="T96" fmla="*/ 158 w 304"/>
                <a:gd name="T97" fmla="*/ 8 h 302"/>
                <a:gd name="T98" fmla="*/ 169 w 304"/>
                <a:gd name="T99" fmla="*/ 4 h 302"/>
                <a:gd name="T100" fmla="*/ 177 w 304"/>
                <a:gd name="T101" fmla="*/ 4 h 302"/>
                <a:gd name="T102" fmla="*/ 187 w 304"/>
                <a:gd name="T103" fmla="*/ 2 h 302"/>
                <a:gd name="T104" fmla="*/ 196 w 304"/>
                <a:gd name="T105" fmla="*/ 4 h 302"/>
                <a:gd name="T106" fmla="*/ 206 w 304"/>
                <a:gd name="T107" fmla="*/ 8 h 302"/>
                <a:gd name="T108" fmla="*/ 210 w 304"/>
                <a:gd name="T109" fmla="*/ 4 h 302"/>
                <a:gd name="T110" fmla="*/ 219 w 304"/>
                <a:gd name="T111" fmla="*/ 2 h 302"/>
                <a:gd name="T112" fmla="*/ 227 w 304"/>
                <a:gd name="T113" fmla="*/ 2 h 302"/>
                <a:gd name="T114" fmla="*/ 229 w 304"/>
                <a:gd name="T115" fmla="*/ 4 h 302"/>
                <a:gd name="T116" fmla="*/ 237 w 304"/>
                <a:gd name="T117" fmla="*/ 0 h 302"/>
                <a:gd name="T118" fmla="*/ 246 w 304"/>
                <a:gd name="T119" fmla="*/ 2 h 302"/>
                <a:gd name="T120" fmla="*/ 114 w 304"/>
                <a:gd name="T121" fmla="*/ 2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4" h="302">
                  <a:moveTo>
                    <a:pt x="254" y="2"/>
                  </a:moveTo>
                  <a:lnTo>
                    <a:pt x="254" y="4"/>
                  </a:lnTo>
                  <a:lnTo>
                    <a:pt x="256" y="4"/>
                  </a:lnTo>
                  <a:lnTo>
                    <a:pt x="254" y="4"/>
                  </a:lnTo>
                  <a:lnTo>
                    <a:pt x="254" y="6"/>
                  </a:lnTo>
                  <a:lnTo>
                    <a:pt x="252" y="6"/>
                  </a:lnTo>
                  <a:lnTo>
                    <a:pt x="252" y="4"/>
                  </a:lnTo>
                  <a:lnTo>
                    <a:pt x="252" y="6"/>
                  </a:lnTo>
                  <a:lnTo>
                    <a:pt x="252" y="8"/>
                  </a:lnTo>
                  <a:lnTo>
                    <a:pt x="250" y="8"/>
                  </a:lnTo>
                  <a:lnTo>
                    <a:pt x="250" y="10"/>
                  </a:lnTo>
                  <a:lnTo>
                    <a:pt x="248" y="10"/>
                  </a:lnTo>
                  <a:lnTo>
                    <a:pt x="248" y="11"/>
                  </a:lnTo>
                  <a:lnTo>
                    <a:pt x="250" y="11"/>
                  </a:lnTo>
                  <a:lnTo>
                    <a:pt x="250" y="13"/>
                  </a:lnTo>
                  <a:lnTo>
                    <a:pt x="250" y="15"/>
                  </a:lnTo>
                  <a:lnTo>
                    <a:pt x="250" y="17"/>
                  </a:lnTo>
                  <a:lnTo>
                    <a:pt x="250" y="19"/>
                  </a:lnTo>
                  <a:lnTo>
                    <a:pt x="248" y="19"/>
                  </a:lnTo>
                  <a:lnTo>
                    <a:pt x="248" y="21"/>
                  </a:lnTo>
                  <a:lnTo>
                    <a:pt x="248" y="23"/>
                  </a:lnTo>
                  <a:lnTo>
                    <a:pt x="248" y="25"/>
                  </a:lnTo>
                  <a:lnTo>
                    <a:pt x="250" y="25"/>
                  </a:lnTo>
                  <a:lnTo>
                    <a:pt x="250" y="27"/>
                  </a:lnTo>
                  <a:lnTo>
                    <a:pt x="250" y="29"/>
                  </a:lnTo>
                  <a:lnTo>
                    <a:pt x="250" y="31"/>
                  </a:lnTo>
                  <a:lnTo>
                    <a:pt x="250" y="33"/>
                  </a:lnTo>
                  <a:lnTo>
                    <a:pt x="252" y="33"/>
                  </a:lnTo>
                  <a:lnTo>
                    <a:pt x="252" y="35"/>
                  </a:lnTo>
                  <a:lnTo>
                    <a:pt x="250" y="35"/>
                  </a:lnTo>
                  <a:lnTo>
                    <a:pt x="250" y="36"/>
                  </a:lnTo>
                  <a:lnTo>
                    <a:pt x="250" y="38"/>
                  </a:lnTo>
                  <a:lnTo>
                    <a:pt x="248" y="38"/>
                  </a:lnTo>
                  <a:lnTo>
                    <a:pt x="248" y="40"/>
                  </a:lnTo>
                  <a:lnTo>
                    <a:pt x="250" y="40"/>
                  </a:lnTo>
                  <a:lnTo>
                    <a:pt x="250" y="42"/>
                  </a:lnTo>
                  <a:lnTo>
                    <a:pt x="248" y="42"/>
                  </a:lnTo>
                  <a:lnTo>
                    <a:pt x="250" y="42"/>
                  </a:lnTo>
                  <a:lnTo>
                    <a:pt x="248" y="42"/>
                  </a:lnTo>
                  <a:lnTo>
                    <a:pt x="248" y="44"/>
                  </a:lnTo>
                  <a:lnTo>
                    <a:pt x="248" y="46"/>
                  </a:lnTo>
                  <a:lnTo>
                    <a:pt x="246" y="46"/>
                  </a:lnTo>
                  <a:lnTo>
                    <a:pt x="244" y="46"/>
                  </a:lnTo>
                  <a:lnTo>
                    <a:pt x="244" y="48"/>
                  </a:lnTo>
                  <a:lnTo>
                    <a:pt x="242" y="48"/>
                  </a:lnTo>
                  <a:lnTo>
                    <a:pt x="242" y="50"/>
                  </a:lnTo>
                  <a:lnTo>
                    <a:pt x="242" y="52"/>
                  </a:lnTo>
                  <a:lnTo>
                    <a:pt x="240" y="52"/>
                  </a:lnTo>
                  <a:lnTo>
                    <a:pt x="238" y="52"/>
                  </a:lnTo>
                  <a:lnTo>
                    <a:pt x="238" y="54"/>
                  </a:lnTo>
                  <a:lnTo>
                    <a:pt x="238" y="56"/>
                  </a:lnTo>
                  <a:lnTo>
                    <a:pt x="238" y="58"/>
                  </a:lnTo>
                  <a:lnTo>
                    <a:pt x="238" y="59"/>
                  </a:lnTo>
                  <a:lnTo>
                    <a:pt x="238" y="61"/>
                  </a:lnTo>
                  <a:lnTo>
                    <a:pt x="240" y="61"/>
                  </a:lnTo>
                  <a:lnTo>
                    <a:pt x="240" y="65"/>
                  </a:lnTo>
                  <a:lnTo>
                    <a:pt x="240" y="67"/>
                  </a:lnTo>
                  <a:lnTo>
                    <a:pt x="242" y="69"/>
                  </a:lnTo>
                  <a:lnTo>
                    <a:pt x="244" y="69"/>
                  </a:lnTo>
                  <a:lnTo>
                    <a:pt x="244" y="71"/>
                  </a:lnTo>
                  <a:lnTo>
                    <a:pt x="246" y="71"/>
                  </a:lnTo>
                  <a:lnTo>
                    <a:pt x="246" y="73"/>
                  </a:lnTo>
                  <a:lnTo>
                    <a:pt x="250" y="75"/>
                  </a:lnTo>
                  <a:lnTo>
                    <a:pt x="250" y="81"/>
                  </a:lnTo>
                  <a:lnTo>
                    <a:pt x="260" y="88"/>
                  </a:lnTo>
                  <a:lnTo>
                    <a:pt x="267" y="115"/>
                  </a:lnTo>
                  <a:lnTo>
                    <a:pt x="267" y="119"/>
                  </a:lnTo>
                  <a:lnTo>
                    <a:pt x="267" y="121"/>
                  </a:lnTo>
                  <a:lnTo>
                    <a:pt x="265" y="121"/>
                  </a:lnTo>
                  <a:lnTo>
                    <a:pt x="265" y="123"/>
                  </a:lnTo>
                  <a:lnTo>
                    <a:pt x="267" y="125"/>
                  </a:lnTo>
                  <a:lnTo>
                    <a:pt x="271" y="134"/>
                  </a:lnTo>
                  <a:lnTo>
                    <a:pt x="273" y="140"/>
                  </a:lnTo>
                  <a:lnTo>
                    <a:pt x="273" y="144"/>
                  </a:lnTo>
                  <a:lnTo>
                    <a:pt x="273" y="146"/>
                  </a:lnTo>
                  <a:lnTo>
                    <a:pt x="271" y="152"/>
                  </a:lnTo>
                  <a:lnTo>
                    <a:pt x="273" y="156"/>
                  </a:lnTo>
                  <a:lnTo>
                    <a:pt x="273" y="157"/>
                  </a:lnTo>
                  <a:lnTo>
                    <a:pt x="273" y="159"/>
                  </a:lnTo>
                  <a:lnTo>
                    <a:pt x="273" y="161"/>
                  </a:lnTo>
                  <a:lnTo>
                    <a:pt x="273" y="163"/>
                  </a:lnTo>
                  <a:lnTo>
                    <a:pt x="271" y="163"/>
                  </a:lnTo>
                  <a:lnTo>
                    <a:pt x="271" y="165"/>
                  </a:lnTo>
                  <a:lnTo>
                    <a:pt x="273" y="165"/>
                  </a:lnTo>
                  <a:lnTo>
                    <a:pt x="271" y="165"/>
                  </a:lnTo>
                  <a:lnTo>
                    <a:pt x="271" y="167"/>
                  </a:lnTo>
                  <a:lnTo>
                    <a:pt x="271" y="169"/>
                  </a:lnTo>
                  <a:lnTo>
                    <a:pt x="271" y="171"/>
                  </a:lnTo>
                  <a:lnTo>
                    <a:pt x="271" y="173"/>
                  </a:lnTo>
                  <a:lnTo>
                    <a:pt x="271" y="175"/>
                  </a:lnTo>
                  <a:lnTo>
                    <a:pt x="273" y="175"/>
                  </a:lnTo>
                  <a:lnTo>
                    <a:pt x="273" y="177"/>
                  </a:lnTo>
                  <a:lnTo>
                    <a:pt x="273" y="179"/>
                  </a:lnTo>
                  <a:lnTo>
                    <a:pt x="273" y="180"/>
                  </a:lnTo>
                  <a:lnTo>
                    <a:pt x="273" y="182"/>
                  </a:lnTo>
                  <a:lnTo>
                    <a:pt x="267" y="184"/>
                  </a:lnTo>
                  <a:lnTo>
                    <a:pt x="267" y="186"/>
                  </a:lnTo>
                  <a:lnTo>
                    <a:pt x="265" y="186"/>
                  </a:lnTo>
                  <a:lnTo>
                    <a:pt x="267" y="190"/>
                  </a:lnTo>
                  <a:lnTo>
                    <a:pt x="269" y="194"/>
                  </a:lnTo>
                  <a:lnTo>
                    <a:pt x="275" y="200"/>
                  </a:lnTo>
                  <a:lnTo>
                    <a:pt x="275" y="204"/>
                  </a:lnTo>
                  <a:lnTo>
                    <a:pt x="275" y="205"/>
                  </a:lnTo>
                  <a:lnTo>
                    <a:pt x="275" y="207"/>
                  </a:lnTo>
                  <a:lnTo>
                    <a:pt x="275" y="209"/>
                  </a:lnTo>
                  <a:lnTo>
                    <a:pt x="277" y="209"/>
                  </a:lnTo>
                  <a:lnTo>
                    <a:pt x="277" y="211"/>
                  </a:lnTo>
                  <a:lnTo>
                    <a:pt x="277" y="213"/>
                  </a:lnTo>
                  <a:lnTo>
                    <a:pt x="279" y="213"/>
                  </a:lnTo>
                  <a:lnTo>
                    <a:pt x="281" y="213"/>
                  </a:lnTo>
                  <a:lnTo>
                    <a:pt x="283" y="213"/>
                  </a:lnTo>
                  <a:lnTo>
                    <a:pt x="285" y="213"/>
                  </a:lnTo>
                  <a:lnTo>
                    <a:pt x="285" y="215"/>
                  </a:lnTo>
                  <a:lnTo>
                    <a:pt x="286" y="215"/>
                  </a:lnTo>
                  <a:lnTo>
                    <a:pt x="286" y="213"/>
                  </a:lnTo>
                  <a:lnTo>
                    <a:pt x="288" y="213"/>
                  </a:lnTo>
                  <a:lnTo>
                    <a:pt x="288" y="215"/>
                  </a:lnTo>
                  <a:lnTo>
                    <a:pt x="290" y="215"/>
                  </a:lnTo>
                  <a:lnTo>
                    <a:pt x="290" y="217"/>
                  </a:lnTo>
                  <a:lnTo>
                    <a:pt x="294" y="219"/>
                  </a:lnTo>
                  <a:lnTo>
                    <a:pt x="296" y="219"/>
                  </a:lnTo>
                  <a:lnTo>
                    <a:pt x="298" y="219"/>
                  </a:lnTo>
                  <a:lnTo>
                    <a:pt x="304" y="230"/>
                  </a:lnTo>
                  <a:lnTo>
                    <a:pt x="290" y="238"/>
                  </a:lnTo>
                  <a:lnTo>
                    <a:pt x="288" y="238"/>
                  </a:lnTo>
                  <a:lnTo>
                    <a:pt x="277" y="246"/>
                  </a:lnTo>
                  <a:lnTo>
                    <a:pt x="260" y="257"/>
                  </a:lnTo>
                  <a:lnTo>
                    <a:pt x="244" y="267"/>
                  </a:lnTo>
                  <a:lnTo>
                    <a:pt x="237" y="273"/>
                  </a:lnTo>
                  <a:lnTo>
                    <a:pt x="223" y="286"/>
                  </a:lnTo>
                  <a:lnTo>
                    <a:pt x="214" y="294"/>
                  </a:lnTo>
                  <a:lnTo>
                    <a:pt x="196" y="298"/>
                  </a:lnTo>
                  <a:lnTo>
                    <a:pt x="190" y="300"/>
                  </a:lnTo>
                  <a:lnTo>
                    <a:pt x="181" y="302"/>
                  </a:lnTo>
                  <a:lnTo>
                    <a:pt x="177" y="302"/>
                  </a:lnTo>
                  <a:lnTo>
                    <a:pt x="175" y="302"/>
                  </a:lnTo>
                  <a:lnTo>
                    <a:pt x="175" y="300"/>
                  </a:lnTo>
                  <a:lnTo>
                    <a:pt x="173" y="300"/>
                  </a:lnTo>
                  <a:lnTo>
                    <a:pt x="173" y="298"/>
                  </a:lnTo>
                  <a:lnTo>
                    <a:pt x="175" y="298"/>
                  </a:lnTo>
                  <a:lnTo>
                    <a:pt x="175" y="296"/>
                  </a:lnTo>
                  <a:lnTo>
                    <a:pt x="175" y="294"/>
                  </a:lnTo>
                  <a:lnTo>
                    <a:pt x="175" y="292"/>
                  </a:lnTo>
                  <a:lnTo>
                    <a:pt x="175" y="290"/>
                  </a:lnTo>
                  <a:lnTo>
                    <a:pt x="175" y="288"/>
                  </a:lnTo>
                  <a:lnTo>
                    <a:pt x="173" y="288"/>
                  </a:lnTo>
                  <a:lnTo>
                    <a:pt x="173" y="286"/>
                  </a:lnTo>
                  <a:lnTo>
                    <a:pt x="171" y="286"/>
                  </a:lnTo>
                  <a:lnTo>
                    <a:pt x="169" y="286"/>
                  </a:lnTo>
                  <a:lnTo>
                    <a:pt x="167" y="286"/>
                  </a:lnTo>
                  <a:lnTo>
                    <a:pt x="167" y="284"/>
                  </a:lnTo>
                  <a:lnTo>
                    <a:pt x="166" y="284"/>
                  </a:lnTo>
                  <a:lnTo>
                    <a:pt x="164" y="284"/>
                  </a:lnTo>
                  <a:lnTo>
                    <a:pt x="162" y="282"/>
                  </a:lnTo>
                  <a:lnTo>
                    <a:pt x="162" y="280"/>
                  </a:lnTo>
                  <a:lnTo>
                    <a:pt x="160" y="280"/>
                  </a:lnTo>
                  <a:lnTo>
                    <a:pt x="160" y="282"/>
                  </a:lnTo>
                  <a:lnTo>
                    <a:pt x="158" y="282"/>
                  </a:lnTo>
                  <a:lnTo>
                    <a:pt x="156" y="282"/>
                  </a:lnTo>
                  <a:lnTo>
                    <a:pt x="156" y="280"/>
                  </a:lnTo>
                  <a:lnTo>
                    <a:pt x="154" y="280"/>
                  </a:lnTo>
                  <a:lnTo>
                    <a:pt x="152" y="280"/>
                  </a:lnTo>
                  <a:lnTo>
                    <a:pt x="152" y="278"/>
                  </a:lnTo>
                  <a:lnTo>
                    <a:pt x="152" y="277"/>
                  </a:lnTo>
                  <a:lnTo>
                    <a:pt x="150" y="277"/>
                  </a:lnTo>
                  <a:lnTo>
                    <a:pt x="148" y="275"/>
                  </a:lnTo>
                  <a:lnTo>
                    <a:pt x="146" y="275"/>
                  </a:lnTo>
                  <a:lnTo>
                    <a:pt x="144" y="275"/>
                  </a:lnTo>
                  <a:lnTo>
                    <a:pt x="144" y="273"/>
                  </a:lnTo>
                  <a:lnTo>
                    <a:pt x="144" y="271"/>
                  </a:lnTo>
                  <a:lnTo>
                    <a:pt x="144" y="269"/>
                  </a:lnTo>
                  <a:lnTo>
                    <a:pt x="127" y="255"/>
                  </a:lnTo>
                  <a:lnTo>
                    <a:pt x="91" y="229"/>
                  </a:lnTo>
                  <a:lnTo>
                    <a:pt x="58" y="205"/>
                  </a:lnTo>
                  <a:lnTo>
                    <a:pt x="56" y="205"/>
                  </a:lnTo>
                  <a:lnTo>
                    <a:pt x="45" y="198"/>
                  </a:lnTo>
                  <a:lnTo>
                    <a:pt x="0" y="169"/>
                  </a:lnTo>
                  <a:lnTo>
                    <a:pt x="0" y="163"/>
                  </a:lnTo>
                  <a:lnTo>
                    <a:pt x="0" y="157"/>
                  </a:lnTo>
                  <a:lnTo>
                    <a:pt x="0" y="152"/>
                  </a:lnTo>
                  <a:lnTo>
                    <a:pt x="0" y="146"/>
                  </a:lnTo>
                  <a:lnTo>
                    <a:pt x="2" y="146"/>
                  </a:lnTo>
                  <a:lnTo>
                    <a:pt x="2" y="144"/>
                  </a:lnTo>
                  <a:lnTo>
                    <a:pt x="4" y="144"/>
                  </a:lnTo>
                  <a:lnTo>
                    <a:pt x="6" y="142"/>
                  </a:lnTo>
                  <a:lnTo>
                    <a:pt x="8" y="140"/>
                  </a:lnTo>
                  <a:lnTo>
                    <a:pt x="10" y="140"/>
                  </a:lnTo>
                  <a:lnTo>
                    <a:pt x="10" y="138"/>
                  </a:lnTo>
                  <a:lnTo>
                    <a:pt x="12" y="138"/>
                  </a:lnTo>
                  <a:lnTo>
                    <a:pt x="12" y="136"/>
                  </a:lnTo>
                  <a:lnTo>
                    <a:pt x="14" y="136"/>
                  </a:lnTo>
                  <a:lnTo>
                    <a:pt x="16" y="136"/>
                  </a:lnTo>
                  <a:lnTo>
                    <a:pt x="16" y="134"/>
                  </a:lnTo>
                  <a:lnTo>
                    <a:pt x="18" y="134"/>
                  </a:lnTo>
                  <a:lnTo>
                    <a:pt x="20" y="134"/>
                  </a:lnTo>
                  <a:lnTo>
                    <a:pt x="22" y="134"/>
                  </a:lnTo>
                  <a:lnTo>
                    <a:pt x="22" y="132"/>
                  </a:lnTo>
                  <a:lnTo>
                    <a:pt x="24" y="132"/>
                  </a:lnTo>
                  <a:lnTo>
                    <a:pt x="25" y="132"/>
                  </a:lnTo>
                  <a:lnTo>
                    <a:pt x="27" y="132"/>
                  </a:lnTo>
                  <a:lnTo>
                    <a:pt x="29" y="132"/>
                  </a:lnTo>
                  <a:lnTo>
                    <a:pt x="31" y="132"/>
                  </a:lnTo>
                  <a:lnTo>
                    <a:pt x="33" y="132"/>
                  </a:lnTo>
                  <a:lnTo>
                    <a:pt x="35" y="132"/>
                  </a:lnTo>
                  <a:lnTo>
                    <a:pt x="37" y="132"/>
                  </a:lnTo>
                  <a:lnTo>
                    <a:pt x="39" y="132"/>
                  </a:lnTo>
                  <a:lnTo>
                    <a:pt x="41" y="132"/>
                  </a:lnTo>
                  <a:lnTo>
                    <a:pt x="43" y="132"/>
                  </a:lnTo>
                  <a:lnTo>
                    <a:pt x="43" y="131"/>
                  </a:lnTo>
                  <a:lnTo>
                    <a:pt x="45" y="131"/>
                  </a:lnTo>
                  <a:lnTo>
                    <a:pt x="45" y="132"/>
                  </a:lnTo>
                  <a:lnTo>
                    <a:pt x="45" y="131"/>
                  </a:lnTo>
                  <a:lnTo>
                    <a:pt x="45" y="132"/>
                  </a:lnTo>
                  <a:lnTo>
                    <a:pt x="47" y="132"/>
                  </a:lnTo>
                  <a:lnTo>
                    <a:pt x="47" y="131"/>
                  </a:lnTo>
                  <a:lnTo>
                    <a:pt x="48" y="131"/>
                  </a:lnTo>
                  <a:lnTo>
                    <a:pt x="48" y="129"/>
                  </a:lnTo>
                  <a:lnTo>
                    <a:pt x="50" y="129"/>
                  </a:lnTo>
                  <a:lnTo>
                    <a:pt x="50" y="127"/>
                  </a:lnTo>
                  <a:lnTo>
                    <a:pt x="50" y="125"/>
                  </a:lnTo>
                  <a:lnTo>
                    <a:pt x="52" y="125"/>
                  </a:lnTo>
                  <a:lnTo>
                    <a:pt x="52" y="123"/>
                  </a:lnTo>
                  <a:lnTo>
                    <a:pt x="54" y="123"/>
                  </a:lnTo>
                  <a:lnTo>
                    <a:pt x="60" y="119"/>
                  </a:lnTo>
                  <a:lnTo>
                    <a:pt x="66" y="115"/>
                  </a:lnTo>
                  <a:lnTo>
                    <a:pt x="68" y="115"/>
                  </a:lnTo>
                  <a:lnTo>
                    <a:pt x="70" y="115"/>
                  </a:lnTo>
                  <a:lnTo>
                    <a:pt x="70" y="113"/>
                  </a:lnTo>
                  <a:lnTo>
                    <a:pt x="72" y="113"/>
                  </a:lnTo>
                  <a:lnTo>
                    <a:pt x="73" y="111"/>
                  </a:lnTo>
                  <a:lnTo>
                    <a:pt x="73" y="109"/>
                  </a:lnTo>
                  <a:lnTo>
                    <a:pt x="75" y="109"/>
                  </a:lnTo>
                  <a:lnTo>
                    <a:pt x="75" y="108"/>
                  </a:lnTo>
                  <a:lnTo>
                    <a:pt x="75" y="106"/>
                  </a:lnTo>
                  <a:lnTo>
                    <a:pt x="73" y="106"/>
                  </a:lnTo>
                  <a:lnTo>
                    <a:pt x="75" y="106"/>
                  </a:lnTo>
                  <a:lnTo>
                    <a:pt x="73" y="106"/>
                  </a:lnTo>
                  <a:lnTo>
                    <a:pt x="73" y="104"/>
                  </a:lnTo>
                  <a:lnTo>
                    <a:pt x="73" y="106"/>
                  </a:lnTo>
                  <a:lnTo>
                    <a:pt x="73" y="104"/>
                  </a:lnTo>
                  <a:lnTo>
                    <a:pt x="73" y="106"/>
                  </a:lnTo>
                  <a:lnTo>
                    <a:pt x="73" y="104"/>
                  </a:lnTo>
                  <a:lnTo>
                    <a:pt x="73" y="106"/>
                  </a:lnTo>
                  <a:lnTo>
                    <a:pt x="73" y="104"/>
                  </a:lnTo>
                  <a:lnTo>
                    <a:pt x="73" y="102"/>
                  </a:lnTo>
                  <a:lnTo>
                    <a:pt x="73" y="100"/>
                  </a:lnTo>
                  <a:lnTo>
                    <a:pt x="73" y="102"/>
                  </a:lnTo>
                  <a:lnTo>
                    <a:pt x="73" y="100"/>
                  </a:lnTo>
                  <a:lnTo>
                    <a:pt x="75" y="100"/>
                  </a:lnTo>
                  <a:lnTo>
                    <a:pt x="73" y="100"/>
                  </a:lnTo>
                  <a:lnTo>
                    <a:pt x="73" y="98"/>
                  </a:lnTo>
                  <a:lnTo>
                    <a:pt x="75" y="96"/>
                  </a:lnTo>
                  <a:lnTo>
                    <a:pt x="79" y="94"/>
                  </a:lnTo>
                  <a:lnTo>
                    <a:pt x="81" y="94"/>
                  </a:lnTo>
                  <a:lnTo>
                    <a:pt x="85" y="94"/>
                  </a:lnTo>
                  <a:lnTo>
                    <a:pt x="87" y="94"/>
                  </a:lnTo>
                  <a:lnTo>
                    <a:pt x="87" y="92"/>
                  </a:lnTo>
                  <a:lnTo>
                    <a:pt x="87" y="90"/>
                  </a:lnTo>
                  <a:lnTo>
                    <a:pt x="85" y="90"/>
                  </a:lnTo>
                  <a:lnTo>
                    <a:pt x="85" y="88"/>
                  </a:lnTo>
                  <a:lnTo>
                    <a:pt x="87" y="88"/>
                  </a:lnTo>
                  <a:lnTo>
                    <a:pt x="89" y="88"/>
                  </a:lnTo>
                  <a:lnTo>
                    <a:pt x="91" y="88"/>
                  </a:lnTo>
                  <a:lnTo>
                    <a:pt x="91" y="86"/>
                  </a:lnTo>
                  <a:lnTo>
                    <a:pt x="93" y="86"/>
                  </a:lnTo>
                  <a:lnTo>
                    <a:pt x="95" y="86"/>
                  </a:lnTo>
                  <a:lnTo>
                    <a:pt x="95" y="88"/>
                  </a:lnTo>
                  <a:lnTo>
                    <a:pt x="95" y="86"/>
                  </a:lnTo>
                  <a:lnTo>
                    <a:pt x="96" y="86"/>
                  </a:lnTo>
                  <a:lnTo>
                    <a:pt x="98" y="86"/>
                  </a:lnTo>
                  <a:lnTo>
                    <a:pt x="100" y="86"/>
                  </a:lnTo>
                  <a:lnTo>
                    <a:pt x="102" y="86"/>
                  </a:lnTo>
                  <a:lnTo>
                    <a:pt x="102" y="88"/>
                  </a:lnTo>
                  <a:lnTo>
                    <a:pt x="104" y="88"/>
                  </a:lnTo>
                  <a:lnTo>
                    <a:pt x="106" y="88"/>
                  </a:lnTo>
                  <a:lnTo>
                    <a:pt x="108" y="88"/>
                  </a:lnTo>
                  <a:lnTo>
                    <a:pt x="110" y="88"/>
                  </a:lnTo>
                  <a:lnTo>
                    <a:pt x="112" y="88"/>
                  </a:lnTo>
                  <a:lnTo>
                    <a:pt x="112" y="86"/>
                  </a:lnTo>
                  <a:lnTo>
                    <a:pt x="110" y="86"/>
                  </a:lnTo>
                  <a:lnTo>
                    <a:pt x="108" y="86"/>
                  </a:lnTo>
                  <a:lnTo>
                    <a:pt x="110" y="86"/>
                  </a:lnTo>
                  <a:lnTo>
                    <a:pt x="110" y="84"/>
                  </a:lnTo>
                  <a:lnTo>
                    <a:pt x="110" y="83"/>
                  </a:lnTo>
                  <a:lnTo>
                    <a:pt x="112" y="83"/>
                  </a:lnTo>
                  <a:lnTo>
                    <a:pt x="112" y="81"/>
                  </a:lnTo>
                  <a:lnTo>
                    <a:pt x="114" y="81"/>
                  </a:lnTo>
                  <a:lnTo>
                    <a:pt x="112" y="81"/>
                  </a:lnTo>
                  <a:lnTo>
                    <a:pt x="112" y="79"/>
                  </a:lnTo>
                  <a:lnTo>
                    <a:pt x="110" y="79"/>
                  </a:lnTo>
                  <a:lnTo>
                    <a:pt x="110" y="77"/>
                  </a:lnTo>
                  <a:lnTo>
                    <a:pt x="108" y="77"/>
                  </a:lnTo>
                  <a:lnTo>
                    <a:pt x="106" y="73"/>
                  </a:lnTo>
                  <a:lnTo>
                    <a:pt x="106" y="71"/>
                  </a:lnTo>
                  <a:lnTo>
                    <a:pt x="106" y="69"/>
                  </a:lnTo>
                  <a:lnTo>
                    <a:pt x="104" y="69"/>
                  </a:lnTo>
                  <a:lnTo>
                    <a:pt x="104" y="67"/>
                  </a:lnTo>
                  <a:lnTo>
                    <a:pt x="104" y="65"/>
                  </a:lnTo>
                  <a:lnTo>
                    <a:pt x="104" y="63"/>
                  </a:lnTo>
                  <a:lnTo>
                    <a:pt x="104" y="61"/>
                  </a:lnTo>
                  <a:lnTo>
                    <a:pt x="104" y="59"/>
                  </a:lnTo>
                  <a:lnTo>
                    <a:pt x="102" y="61"/>
                  </a:lnTo>
                  <a:lnTo>
                    <a:pt x="102" y="59"/>
                  </a:lnTo>
                  <a:lnTo>
                    <a:pt x="104" y="59"/>
                  </a:lnTo>
                  <a:lnTo>
                    <a:pt x="102" y="58"/>
                  </a:lnTo>
                  <a:lnTo>
                    <a:pt x="104" y="56"/>
                  </a:lnTo>
                  <a:lnTo>
                    <a:pt x="104" y="54"/>
                  </a:lnTo>
                  <a:lnTo>
                    <a:pt x="104" y="52"/>
                  </a:lnTo>
                  <a:lnTo>
                    <a:pt x="102" y="50"/>
                  </a:lnTo>
                  <a:lnTo>
                    <a:pt x="102" y="48"/>
                  </a:lnTo>
                  <a:lnTo>
                    <a:pt x="102" y="46"/>
                  </a:lnTo>
                  <a:lnTo>
                    <a:pt x="104" y="46"/>
                  </a:lnTo>
                  <a:lnTo>
                    <a:pt x="102" y="46"/>
                  </a:lnTo>
                  <a:lnTo>
                    <a:pt x="102" y="44"/>
                  </a:lnTo>
                  <a:lnTo>
                    <a:pt x="100" y="44"/>
                  </a:lnTo>
                  <a:lnTo>
                    <a:pt x="102" y="42"/>
                  </a:lnTo>
                  <a:lnTo>
                    <a:pt x="102" y="40"/>
                  </a:lnTo>
                  <a:lnTo>
                    <a:pt x="100" y="40"/>
                  </a:lnTo>
                  <a:lnTo>
                    <a:pt x="100" y="38"/>
                  </a:lnTo>
                  <a:lnTo>
                    <a:pt x="98" y="38"/>
                  </a:lnTo>
                  <a:lnTo>
                    <a:pt x="96" y="38"/>
                  </a:lnTo>
                  <a:lnTo>
                    <a:pt x="96" y="36"/>
                  </a:lnTo>
                  <a:lnTo>
                    <a:pt x="95" y="36"/>
                  </a:lnTo>
                  <a:lnTo>
                    <a:pt x="96" y="36"/>
                  </a:lnTo>
                  <a:lnTo>
                    <a:pt x="96" y="35"/>
                  </a:lnTo>
                  <a:lnTo>
                    <a:pt x="96" y="36"/>
                  </a:lnTo>
                  <a:lnTo>
                    <a:pt x="98" y="36"/>
                  </a:lnTo>
                  <a:lnTo>
                    <a:pt x="100" y="36"/>
                  </a:lnTo>
                  <a:lnTo>
                    <a:pt x="100" y="35"/>
                  </a:lnTo>
                  <a:lnTo>
                    <a:pt x="102" y="35"/>
                  </a:lnTo>
                  <a:lnTo>
                    <a:pt x="104" y="35"/>
                  </a:lnTo>
                  <a:lnTo>
                    <a:pt x="104" y="33"/>
                  </a:lnTo>
                  <a:lnTo>
                    <a:pt x="106" y="33"/>
                  </a:lnTo>
                  <a:lnTo>
                    <a:pt x="106" y="31"/>
                  </a:lnTo>
                  <a:lnTo>
                    <a:pt x="106" y="33"/>
                  </a:lnTo>
                  <a:lnTo>
                    <a:pt x="106" y="31"/>
                  </a:lnTo>
                  <a:lnTo>
                    <a:pt x="108" y="31"/>
                  </a:lnTo>
                  <a:lnTo>
                    <a:pt x="110" y="31"/>
                  </a:lnTo>
                  <a:lnTo>
                    <a:pt x="110" y="29"/>
                  </a:lnTo>
                  <a:lnTo>
                    <a:pt x="110" y="27"/>
                  </a:lnTo>
                  <a:lnTo>
                    <a:pt x="112" y="27"/>
                  </a:lnTo>
                  <a:lnTo>
                    <a:pt x="110" y="27"/>
                  </a:lnTo>
                  <a:lnTo>
                    <a:pt x="112" y="27"/>
                  </a:lnTo>
                  <a:lnTo>
                    <a:pt x="110" y="27"/>
                  </a:lnTo>
                  <a:lnTo>
                    <a:pt x="112" y="27"/>
                  </a:lnTo>
                  <a:lnTo>
                    <a:pt x="112" y="25"/>
                  </a:lnTo>
                  <a:lnTo>
                    <a:pt x="114" y="25"/>
                  </a:lnTo>
                  <a:lnTo>
                    <a:pt x="114" y="23"/>
                  </a:lnTo>
                  <a:lnTo>
                    <a:pt x="114" y="25"/>
                  </a:lnTo>
                  <a:lnTo>
                    <a:pt x="116" y="25"/>
                  </a:lnTo>
                  <a:lnTo>
                    <a:pt x="116" y="23"/>
                  </a:lnTo>
                  <a:lnTo>
                    <a:pt x="118" y="23"/>
                  </a:lnTo>
                  <a:lnTo>
                    <a:pt x="118" y="25"/>
                  </a:lnTo>
                  <a:lnTo>
                    <a:pt x="119" y="25"/>
                  </a:lnTo>
                  <a:lnTo>
                    <a:pt x="118" y="25"/>
                  </a:lnTo>
                  <a:lnTo>
                    <a:pt x="119" y="25"/>
                  </a:lnTo>
                  <a:lnTo>
                    <a:pt x="118" y="25"/>
                  </a:lnTo>
                  <a:lnTo>
                    <a:pt x="119" y="25"/>
                  </a:lnTo>
                  <a:lnTo>
                    <a:pt x="119" y="23"/>
                  </a:lnTo>
                  <a:lnTo>
                    <a:pt x="121" y="23"/>
                  </a:lnTo>
                  <a:lnTo>
                    <a:pt x="121" y="21"/>
                  </a:lnTo>
                  <a:lnTo>
                    <a:pt x="123" y="21"/>
                  </a:lnTo>
                  <a:lnTo>
                    <a:pt x="123" y="23"/>
                  </a:lnTo>
                  <a:lnTo>
                    <a:pt x="125" y="23"/>
                  </a:lnTo>
                  <a:lnTo>
                    <a:pt x="127" y="23"/>
                  </a:lnTo>
                  <a:lnTo>
                    <a:pt x="127" y="21"/>
                  </a:lnTo>
                  <a:lnTo>
                    <a:pt x="129" y="21"/>
                  </a:lnTo>
                  <a:lnTo>
                    <a:pt x="129" y="19"/>
                  </a:lnTo>
                  <a:lnTo>
                    <a:pt x="129" y="21"/>
                  </a:lnTo>
                  <a:lnTo>
                    <a:pt x="129" y="19"/>
                  </a:lnTo>
                  <a:lnTo>
                    <a:pt x="129" y="17"/>
                  </a:lnTo>
                  <a:lnTo>
                    <a:pt x="131" y="17"/>
                  </a:lnTo>
                  <a:lnTo>
                    <a:pt x="133" y="17"/>
                  </a:lnTo>
                  <a:lnTo>
                    <a:pt x="133" y="15"/>
                  </a:lnTo>
                  <a:lnTo>
                    <a:pt x="135" y="15"/>
                  </a:lnTo>
                  <a:lnTo>
                    <a:pt x="135" y="13"/>
                  </a:lnTo>
                  <a:lnTo>
                    <a:pt x="137" y="13"/>
                  </a:lnTo>
                  <a:lnTo>
                    <a:pt x="139" y="13"/>
                  </a:lnTo>
                  <a:lnTo>
                    <a:pt x="141" y="11"/>
                  </a:lnTo>
                  <a:lnTo>
                    <a:pt x="143" y="11"/>
                  </a:lnTo>
                  <a:lnTo>
                    <a:pt x="143" y="10"/>
                  </a:lnTo>
                  <a:lnTo>
                    <a:pt x="144" y="10"/>
                  </a:lnTo>
                  <a:lnTo>
                    <a:pt x="146" y="10"/>
                  </a:lnTo>
                  <a:lnTo>
                    <a:pt x="148" y="10"/>
                  </a:lnTo>
                  <a:lnTo>
                    <a:pt x="150" y="10"/>
                  </a:lnTo>
                  <a:lnTo>
                    <a:pt x="152" y="10"/>
                  </a:lnTo>
                  <a:lnTo>
                    <a:pt x="154" y="10"/>
                  </a:lnTo>
                  <a:lnTo>
                    <a:pt x="156" y="10"/>
                  </a:lnTo>
                  <a:lnTo>
                    <a:pt x="156" y="8"/>
                  </a:lnTo>
                  <a:lnTo>
                    <a:pt x="156" y="10"/>
                  </a:lnTo>
                  <a:lnTo>
                    <a:pt x="158" y="10"/>
                  </a:lnTo>
                  <a:lnTo>
                    <a:pt x="158" y="8"/>
                  </a:lnTo>
                  <a:lnTo>
                    <a:pt x="160" y="8"/>
                  </a:lnTo>
                  <a:lnTo>
                    <a:pt x="162" y="8"/>
                  </a:lnTo>
                  <a:lnTo>
                    <a:pt x="164" y="8"/>
                  </a:lnTo>
                  <a:lnTo>
                    <a:pt x="166" y="8"/>
                  </a:lnTo>
                  <a:lnTo>
                    <a:pt x="167" y="8"/>
                  </a:lnTo>
                  <a:lnTo>
                    <a:pt x="167" y="6"/>
                  </a:lnTo>
                  <a:lnTo>
                    <a:pt x="169" y="6"/>
                  </a:lnTo>
                  <a:lnTo>
                    <a:pt x="169" y="4"/>
                  </a:lnTo>
                  <a:lnTo>
                    <a:pt x="171" y="4"/>
                  </a:lnTo>
                  <a:lnTo>
                    <a:pt x="173" y="4"/>
                  </a:lnTo>
                  <a:lnTo>
                    <a:pt x="173" y="6"/>
                  </a:lnTo>
                  <a:lnTo>
                    <a:pt x="173" y="4"/>
                  </a:lnTo>
                  <a:lnTo>
                    <a:pt x="173" y="6"/>
                  </a:lnTo>
                  <a:lnTo>
                    <a:pt x="175" y="6"/>
                  </a:lnTo>
                  <a:lnTo>
                    <a:pt x="175" y="4"/>
                  </a:lnTo>
                  <a:lnTo>
                    <a:pt x="177" y="4"/>
                  </a:lnTo>
                  <a:lnTo>
                    <a:pt x="177" y="6"/>
                  </a:lnTo>
                  <a:lnTo>
                    <a:pt x="179" y="6"/>
                  </a:lnTo>
                  <a:lnTo>
                    <a:pt x="179" y="4"/>
                  </a:lnTo>
                  <a:lnTo>
                    <a:pt x="181" y="4"/>
                  </a:lnTo>
                  <a:lnTo>
                    <a:pt x="183" y="4"/>
                  </a:lnTo>
                  <a:lnTo>
                    <a:pt x="183" y="2"/>
                  </a:lnTo>
                  <a:lnTo>
                    <a:pt x="185" y="2"/>
                  </a:lnTo>
                  <a:lnTo>
                    <a:pt x="187" y="2"/>
                  </a:lnTo>
                  <a:lnTo>
                    <a:pt x="189" y="2"/>
                  </a:lnTo>
                  <a:lnTo>
                    <a:pt x="190" y="2"/>
                  </a:lnTo>
                  <a:lnTo>
                    <a:pt x="192" y="2"/>
                  </a:lnTo>
                  <a:lnTo>
                    <a:pt x="194" y="2"/>
                  </a:lnTo>
                  <a:lnTo>
                    <a:pt x="194" y="4"/>
                  </a:lnTo>
                  <a:lnTo>
                    <a:pt x="196" y="4"/>
                  </a:lnTo>
                  <a:lnTo>
                    <a:pt x="196" y="2"/>
                  </a:lnTo>
                  <a:lnTo>
                    <a:pt x="196" y="4"/>
                  </a:lnTo>
                  <a:lnTo>
                    <a:pt x="198" y="2"/>
                  </a:lnTo>
                  <a:lnTo>
                    <a:pt x="198" y="4"/>
                  </a:lnTo>
                  <a:lnTo>
                    <a:pt x="200" y="4"/>
                  </a:lnTo>
                  <a:lnTo>
                    <a:pt x="202" y="4"/>
                  </a:lnTo>
                  <a:lnTo>
                    <a:pt x="202" y="6"/>
                  </a:lnTo>
                  <a:lnTo>
                    <a:pt x="204" y="6"/>
                  </a:lnTo>
                  <a:lnTo>
                    <a:pt x="204" y="8"/>
                  </a:lnTo>
                  <a:lnTo>
                    <a:pt x="206" y="8"/>
                  </a:lnTo>
                  <a:lnTo>
                    <a:pt x="208" y="8"/>
                  </a:lnTo>
                  <a:lnTo>
                    <a:pt x="208" y="6"/>
                  </a:lnTo>
                  <a:lnTo>
                    <a:pt x="208" y="8"/>
                  </a:lnTo>
                  <a:lnTo>
                    <a:pt x="208" y="6"/>
                  </a:lnTo>
                  <a:lnTo>
                    <a:pt x="210" y="6"/>
                  </a:lnTo>
                  <a:lnTo>
                    <a:pt x="208" y="6"/>
                  </a:lnTo>
                  <a:lnTo>
                    <a:pt x="210" y="6"/>
                  </a:lnTo>
                  <a:lnTo>
                    <a:pt x="210" y="4"/>
                  </a:lnTo>
                  <a:lnTo>
                    <a:pt x="212" y="4"/>
                  </a:lnTo>
                  <a:lnTo>
                    <a:pt x="210" y="4"/>
                  </a:lnTo>
                  <a:lnTo>
                    <a:pt x="212" y="4"/>
                  </a:lnTo>
                  <a:lnTo>
                    <a:pt x="214" y="4"/>
                  </a:lnTo>
                  <a:lnTo>
                    <a:pt x="215" y="4"/>
                  </a:lnTo>
                  <a:lnTo>
                    <a:pt x="217" y="4"/>
                  </a:lnTo>
                  <a:lnTo>
                    <a:pt x="217" y="2"/>
                  </a:lnTo>
                  <a:lnTo>
                    <a:pt x="219" y="2"/>
                  </a:lnTo>
                  <a:lnTo>
                    <a:pt x="219" y="0"/>
                  </a:lnTo>
                  <a:lnTo>
                    <a:pt x="221" y="0"/>
                  </a:lnTo>
                  <a:lnTo>
                    <a:pt x="223" y="0"/>
                  </a:lnTo>
                  <a:lnTo>
                    <a:pt x="225" y="0"/>
                  </a:lnTo>
                  <a:lnTo>
                    <a:pt x="223" y="0"/>
                  </a:lnTo>
                  <a:lnTo>
                    <a:pt x="223" y="2"/>
                  </a:lnTo>
                  <a:lnTo>
                    <a:pt x="225" y="2"/>
                  </a:lnTo>
                  <a:lnTo>
                    <a:pt x="227" y="2"/>
                  </a:lnTo>
                  <a:lnTo>
                    <a:pt x="229" y="2"/>
                  </a:lnTo>
                  <a:lnTo>
                    <a:pt x="229" y="4"/>
                  </a:lnTo>
                  <a:lnTo>
                    <a:pt x="229" y="2"/>
                  </a:lnTo>
                  <a:lnTo>
                    <a:pt x="229" y="4"/>
                  </a:lnTo>
                  <a:lnTo>
                    <a:pt x="229" y="2"/>
                  </a:lnTo>
                  <a:lnTo>
                    <a:pt x="229" y="4"/>
                  </a:lnTo>
                  <a:lnTo>
                    <a:pt x="229" y="2"/>
                  </a:lnTo>
                  <a:lnTo>
                    <a:pt x="229" y="4"/>
                  </a:lnTo>
                  <a:lnTo>
                    <a:pt x="231" y="4"/>
                  </a:lnTo>
                  <a:lnTo>
                    <a:pt x="231" y="2"/>
                  </a:lnTo>
                  <a:lnTo>
                    <a:pt x="233" y="2"/>
                  </a:lnTo>
                  <a:lnTo>
                    <a:pt x="235" y="2"/>
                  </a:lnTo>
                  <a:lnTo>
                    <a:pt x="235" y="0"/>
                  </a:lnTo>
                  <a:lnTo>
                    <a:pt x="233" y="0"/>
                  </a:lnTo>
                  <a:lnTo>
                    <a:pt x="235" y="0"/>
                  </a:lnTo>
                  <a:lnTo>
                    <a:pt x="237" y="0"/>
                  </a:lnTo>
                  <a:lnTo>
                    <a:pt x="238" y="0"/>
                  </a:lnTo>
                  <a:lnTo>
                    <a:pt x="238" y="2"/>
                  </a:lnTo>
                  <a:lnTo>
                    <a:pt x="240" y="2"/>
                  </a:lnTo>
                  <a:lnTo>
                    <a:pt x="242" y="2"/>
                  </a:lnTo>
                  <a:lnTo>
                    <a:pt x="242" y="4"/>
                  </a:lnTo>
                  <a:lnTo>
                    <a:pt x="244" y="4"/>
                  </a:lnTo>
                  <a:lnTo>
                    <a:pt x="246" y="4"/>
                  </a:lnTo>
                  <a:lnTo>
                    <a:pt x="246" y="2"/>
                  </a:lnTo>
                  <a:lnTo>
                    <a:pt x="248" y="2"/>
                  </a:lnTo>
                  <a:lnTo>
                    <a:pt x="250" y="2"/>
                  </a:lnTo>
                  <a:lnTo>
                    <a:pt x="252" y="2"/>
                  </a:lnTo>
                  <a:lnTo>
                    <a:pt x="254" y="2"/>
                  </a:lnTo>
                  <a:close/>
                  <a:moveTo>
                    <a:pt x="112" y="23"/>
                  </a:moveTo>
                  <a:lnTo>
                    <a:pt x="112" y="25"/>
                  </a:lnTo>
                  <a:lnTo>
                    <a:pt x="112" y="23"/>
                  </a:lnTo>
                  <a:close/>
                  <a:moveTo>
                    <a:pt x="114" y="23"/>
                  </a:moveTo>
                  <a:lnTo>
                    <a:pt x="116" y="23"/>
                  </a:lnTo>
                  <a:lnTo>
                    <a:pt x="114" y="2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363">
              <a:extLst>
                <a:ext uri="{FF2B5EF4-FFF2-40B4-BE49-F238E27FC236}">
                  <a16:creationId xmlns:a16="http://schemas.microsoft.com/office/drawing/2014/main" id="{D0F8C5DB-536A-4016-9C42-FAC6CC749AF7}"/>
                </a:ext>
              </a:extLst>
            </p:cNvPr>
            <p:cNvSpPr>
              <a:spLocks noEditPoints="1"/>
            </p:cNvSpPr>
            <p:nvPr/>
          </p:nvSpPr>
          <p:spPr bwMode="gray">
            <a:xfrm>
              <a:off x="3344390" y="3638072"/>
              <a:ext cx="73583" cy="158203"/>
            </a:xfrm>
            <a:custGeom>
              <a:avLst/>
              <a:gdLst>
                <a:gd name="T0" fmla="*/ 58 w 60"/>
                <a:gd name="T1" fmla="*/ 85 h 129"/>
                <a:gd name="T2" fmla="*/ 58 w 60"/>
                <a:gd name="T3" fmla="*/ 93 h 129"/>
                <a:gd name="T4" fmla="*/ 52 w 60"/>
                <a:gd name="T5" fmla="*/ 96 h 129"/>
                <a:gd name="T6" fmla="*/ 45 w 60"/>
                <a:gd name="T7" fmla="*/ 100 h 129"/>
                <a:gd name="T8" fmla="*/ 39 w 60"/>
                <a:gd name="T9" fmla="*/ 106 h 129"/>
                <a:gd name="T10" fmla="*/ 41 w 60"/>
                <a:gd name="T11" fmla="*/ 114 h 129"/>
                <a:gd name="T12" fmla="*/ 39 w 60"/>
                <a:gd name="T13" fmla="*/ 121 h 129"/>
                <a:gd name="T14" fmla="*/ 33 w 60"/>
                <a:gd name="T15" fmla="*/ 127 h 129"/>
                <a:gd name="T16" fmla="*/ 22 w 60"/>
                <a:gd name="T17" fmla="*/ 98 h 129"/>
                <a:gd name="T18" fmla="*/ 6 w 60"/>
                <a:gd name="T19" fmla="*/ 81 h 129"/>
                <a:gd name="T20" fmla="*/ 2 w 60"/>
                <a:gd name="T21" fmla="*/ 71 h 129"/>
                <a:gd name="T22" fmla="*/ 0 w 60"/>
                <a:gd name="T23" fmla="*/ 64 h 129"/>
                <a:gd name="T24" fmla="*/ 4 w 60"/>
                <a:gd name="T25" fmla="*/ 58 h 129"/>
                <a:gd name="T26" fmla="*/ 10 w 60"/>
                <a:gd name="T27" fmla="*/ 54 h 129"/>
                <a:gd name="T28" fmla="*/ 12 w 60"/>
                <a:gd name="T29" fmla="*/ 50 h 129"/>
                <a:gd name="T30" fmla="*/ 12 w 60"/>
                <a:gd name="T31" fmla="*/ 45 h 129"/>
                <a:gd name="T32" fmla="*/ 12 w 60"/>
                <a:gd name="T33" fmla="*/ 39 h 129"/>
                <a:gd name="T34" fmla="*/ 10 w 60"/>
                <a:gd name="T35" fmla="*/ 31 h 129"/>
                <a:gd name="T36" fmla="*/ 12 w 60"/>
                <a:gd name="T37" fmla="*/ 23 h 129"/>
                <a:gd name="T38" fmla="*/ 12 w 60"/>
                <a:gd name="T39" fmla="*/ 18 h 129"/>
                <a:gd name="T40" fmla="*/ 16 w 60"/>
                <a:gd name="T41" fmla="*/ 16 h 129"/>
                <a:gd name="T42" fmla="*/ 18 w 60"/>
                <a:gd name="T43" fmla="*/ 12 h 129"/>
                <a:gd name="T44" fmla="*/ 24 w 60"/>
                <a:gd name="T45" fmla="*/ 8 h 129"/>
                <a:gd name="T46" fmla="*/ 31 w 60"/>
                <a:gd name="T47" fmla="*/ 6 h 129"/>
                <a:gd name="T48" fmla="*/ 33 w 60"/>
                <a:gd name="T49" fmla="*/ 6 h 129"/>
                <a:gd name="T50" fmla="*/ 35 w 60"/>
                <a:gd name="T51" fmla="*/ 6 h 129"/>
                <a:gd name="T52" fmla="*/ 39 w 60"/>
                <a:gd name="T53" fmla="*/ 8 h 129"/>
                <a:gd name="T54" fmla="*/ 39 w 60"/>
                <a:gd name="T55" fmla="*/ 10 h 129"/>
                <a:gd name="T56" fmla="*/ 43 w 60"/>
                <a:gd name="T57" fmla="*/ 16 h 129"/>
                <a:gd name="T58" fmla="*/ 48 w 60"/>
                <a:gd name="T59" fmla="*/ 12 h 129"/>
                <a:gd name="T60" fmla="*/ 48 w 60"/>
                <a:gd name="T61" fmla="*/ 10 h 129"/>
                <a:gd name="T62" fmla="*/ 50 w 60"/>
                <a:gd name="T63" fmla="*/ 10 h 129"/>
                <a:gd name="T64" fmla="*/ 50 w 60"/>
                <a:gd name="T65" fmla="*/ 16 h 129"/>
                <a:gd name="T66" fmla="*/ 47 w 60"/>
                <a:gd name="T67" fmla="*/ 21 h 129"/>
                <a:gd name="T68" fmla="*/ 43 w 60"/>
                <a:gd name="T69" fmla="*/ 27 h 129"/>
                <a:gd name="T70" fmla="*/ 45 w 60"/>
                <a:gd name="T71" fmla="*/ 33 h 129"/>
                <a:gd name="T72" fmla="*/ 48 w 60"/>
                <a:gd name="T73" fmla="*/ 35 h 129"/>
                <a:gd name="T74" fmla="*/ 52 w 60"/>
                <a:gd name="T75" fmla="*/ 37 h 129"/>
                <a:gd name="T76" fmla="*/ 52 w 60"/>
                <a:gd name="T77" fmla="*/ 43 h 129"/>
                <a:gd name="T78" fmla="*/ 48 w 60"/>
                <a:gd name="T79" fmla="*/ 50 h 129"/>
                <a:gd name="T80" fmla="*/ 48 w 60"/>
                <a:gd name="T81" fmla="*/ 52 h 129"/>
                <a:gd name="T82" fmla="*/ 43 w 60"/>
                <a:gd name="T83" fmla="*/ 56 h 129"/>
                <a:gd name="T84" fmla="*/ 39 w 60"/>
                <a:gd name="T85" fmla="*/ 58 h 129"/>
                <a:gd name="T86" fmla="*/ 37 w 60"/>
                <a:gd name="T87" fmla="*/ 66 h 129"/>
                <a:gd name="T88" fmla="*/ 39 w 60"/>
                <a:gd name="T89" fmla="*/ 69 h 129"/>
                <a:gd name="T90" fmla="*/ 47 w 60"/>
                <a:gd name="T91" fmla="*/ 69 h 129"/>
                <a:gd name="T92" fmla="*/ 50 w 60"/>
                <a:gd name="T93" fmla="*/ 71 h 129"/>
                <a:gd name="T94" fmla="*/ 52 w 60"/>
                <a:gd name="T95" fmla="*/ 77 h 129"/>
                <a:gd name="T96" fmla="*/ 56 w 60"/>
                <a:gd name="T97" fmla="*/ 79 h 129"/>
                <a:gd name="T98" fmla="*/ 58 w 60"/>
                <a:gd name="T99" fmla="*/ 79 h 129"/>
                <a:gd name="T100" fmla="*/ 50 w 60"/>
                <a:gd name="T101" fmla="*/ 69 h 129"/>
                <a:gd name="T102" fmla="*/ 47 w 60"/>
                <a:gd name="T103" fmla="*/ 68 h 129"/>
                <a:gd name="T104" fmla="*/ 50 w 60"/>
                <a:gd name="T105" fmla="*/ 66 h 129"/>
                <a:gd name="T106" fmla="*/ 56 w 60"/>
                <a:gd name="T107" fmla="*/ 50 h 129"/>
                <a:gd name="T108" fmla="*/ 52 w 60"/>
                <a:gd name="T109" fmla="*/ 52 h 129"/>
                <a:gd name="T110" fmla="*/ 22 w 60"/>
                <a:gd name="T111" fmla="*/ 0 h 129"/>
                <a:gd name="T112" fmla="*/ 52 w 60"/>
                <a:gd name="T113" fmla="*/ 33 h 129"/>
                <a:gd name="T114" fmla="*/ 50 w 60"/>
                <a:gd name="T115" fmla="*/ 69 h 129"/>
                <a:gd name="T116" fmla="*/ 47 w 60"/>
                <a:gd name="T117" fmla="*/ 69 h 129"/>
                <a:gd name="T118" fmla="*/ 48 w 60"/>
                <a:gd name="T119" fmla="*/ 3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29">
                  <a:moveTo>
                    <a:pt x="60" y="79"/>
                  </a:moveTo>
                  <a:lnTo>
                    <a:pt x="58" y="79"/>
                  </a:lnTo>
                  <a:lnTo>
                    <a:pt x="58" y="81"/>
                  </a:lnTo>
                  <a:lnTo>
                    <a:pt x="58" y="83"/>
                  </a:lnTo>
                  <a:lnTo>
                    <a:pt x="58" y="85"/>
                  </a:lnTo>
                  <a:lnTo>
                    <a:pt x="58" y="87"/>
                  </a:lnTo>
                  <a:lnTo>
                    <a:pt x="58" y="89"/>
                  </a:lnTo>
                  <a:lnTo>
                    <a:pt x="60" y="91"/>
                  </a:lnTo>
                  <a:lnTo>
                    <a:pt x="60" y="93"/>
                  </a:lnTo>
                  <a:lnTo>
                    <a:pt x="58" y="93"/>
                  </a:lnTo>
                  <a:lnTo>
                    <a:pt x="56" y="93"/>
                  </a:lnTo>
                  <a:lnTo>
                    <a:pt x="56" y="94"/>
                  </a:lnTo>
                  <a:lnTo>
                    <a:pt x="54" y="94"/>
                  </a:lnTo>
                  <a:lnTo>
                    <a:pt x="52" y="94"/>
                  </a:lnTo>
                  <a:lnTo>
                    <a:pt x="52" y="96"/>
                  </a:lnTo>
                  <a:lnTo>
                    <a:pt x="50" y="96"/>
                  </a:lnTo>
                  <a:lnTo>
                    <a:pt x="48" y="98"/>
                  </a:lnTo>
                  <a:lnTo>
                    <a:pt x="48" y="100"/>
                  </a:lnTo>
                  <a:lnTo>
                    <a:pt x="47" y="100"/>
                  </a:lnTo>
                  <a:lnTo>
                    <a:pt x="45" y="100"/>
                  </a:lnTo>
                  <a:lnTo>
                    <a:pt x="45" y="102"/>
                  </a:lnTo>
                  <a:lnTo>
                    <a:pt x="45" y="104"/>
                  </a:lnTo>
                  <a:lnTo>
                    <a:pt x="43" y="104"/>
                  </a:lnTo>
                  <a:lnTo>
                    <a:pt x="41" y="104"/>
                  </a:lnTo>
                  <a:lnTo>
                    <a:pt x="39" y="106"/>
                  </a:lnTo>
                  <a:lnTo>
                    <a:pt x="39" y="108"/>
                  </a:lnTo>
                  <a:lnTo>
                    <a:pt x="39" y="110"/>
                  </a:lnTo>
                  <a:lnTo>
                    <a:pt x="39" y="112"/>
                  </a:lnTo>
                  <a:lnTo>
                    <a:pt x="39" y="114"/>
                  </a:lnTo>
                  <a:lnTo>
                    <a:pt x="41" y="114"/>
                  </a:lnTo>
                  <a:lnTo>
                    <a:pt x="39" y="114"/>
                  </a:lnTo>
                  <a:lnTo>
                    <a:pt x="41" y="116"/>
                  </a:lnTo>
                  <a:lnTo>
                    <a:pt x="41" y="118"/>
                  </a:lnTo>
                  <a:lnTo>
                    <a:pt x="41" y="119"/>
                  </a:lnTo>
                  <a:lnTo>
                    <a:pt x="39" y="121"/>
                  </a:lnTo>
                  <a:lnTo>
                    <a:pt x="39" y="123"/>
                  </a:lnTo>
                  <a:lnTo>
                    <a:pt x="37" y="123"/>
                  </a:lnTo>
                  <a:lnTo>
                    <a:pt x="37" y="125"/>
                  </a:lnTo>
                  <a:lnTo>
                    <a:pt x="35" y="127"/>
                  </a:lnTo>
                  <a:lnTo>
                    <a:pt x="33" y="127"/>
                  </a:lnTo>
                  <a:lnTo>
                    <a:pt x="33" y="129"/>
                  </a:lnTo>
                  <a:lnTo>
                    <a:pt x="31" y="129"/>
                  </a:lnTo>
                  <a:lnTo>
                    <a:pt x="29" y="129"/>
                  </a:lnTo>
                  <a:lnTo>
                    <a:pt x="29" y="125"/>
                  </a:lnTo>
                  <a:lnTo>
                    <a:pt x="22" y="98"/>
                  </a:lnTo>
                  <a:lnTo>
                    <a:pt x="12" y="91"/>
                  </a:lnTo>
                  <a:lnTo>
                    <a:pt x="12" y="85"/>
                  </a:lnTo>
                  <a:lnTo>
                    <a:pt x="8" y="83"/>
                  </a:lnTo>
                  <a:lnTo>
                    <a:pt x="8" y="81"/>
                  </a:lnTo>
                  <a:lnTo>
                    <a:pt x="6" y="81"/>
                  </a:lnTo>
                  <a:lnTo>
                    <a:pt x="6" y="79"/>
                  </a:lnTo>
                  <a:lnTo>
                    <a:pt x="4" y="79"/>
                  </a:lnTo>
                  <a:lnTo>
                    <a:pt x="2" y="77"/>
                  </a:lnTo>
                  <a:lnTo>
                    <a:pt x="2" y="75"/>
                  </a:lnTo>
                  <a:lnTo>
                    <a:pt x="2" y="71"/>
                  </a:lnTo>
                  <a:lnTo>
                    <a:pt x="0" y="71"/>
                  </a:lnTo>
                  <a:lnTo>
                    <a:pt x="0" y="69"/>
                  </a:lnTo>
                  <a:lnTo>
                    <a:pt x="0" y="68"/>
                  </a:lnTo>
                  <a:lnTo>
                    <a:pt x="0" y="66"/>
                  </a:lnTo>
                  <a:lnTo>
                    <a:pt x="0" y="64"/>
                  </a:lnTo>
                  <a:lnTo>
                    <a:pt x="0" y="62"/>
                  </a:lnTo>
                  <a:lnTo>
                    <a:pt x="2" y="62"/>
                  </a:lnTo>
                  <a:lnTo>
                    <a:pt x="4" y="62"/>
                  </a:lnTo>
                  <a:lnTo>
                    <a:pt x="4" y="60"/>
                  </a:lnTo>
                  <a:lnTo>
                    <a:pt x="4" y="58"/>
                  </a:lnTo>
                  <a:lnTo>
                    <a:pt x="6" y="58"/>
                  </a:lnTo>
                  <a:lnTo>
                    <a:pt x="6" y="56"/>
                  </a:lnTo>
                  <a:lnTo>
                    <a:pt x="8" y="56"/>
                  </a:lnTo>
                  <a:lnTo>
                    <a:pt x="10" y="56"/>
                  </a:lnTo>
                  <a:lnTo>
                    <a:pt x="10" y="54"/>
                  </a:lnTo>
                  <a:lnTo>
                    <a:pt x="10" y="52"/>
                  </a:lnTo>
                  <a:lnTo>
                    <a:pt x="12" y="52"/>
                  </a:lnTo>
                  <a:lnTo>
                    <a:pt x="10" y="52"/>
                  </a:lnTo>
                  <a:lnTo>
                    <a:pt x="12" y="52"/>
                  </a:lnTo>
                  <a:lnTo>
                    <a:pt x="12" y="50"/>
                  </a:lnTo>
                  <a:lnTo>
                    <a:pt x="10" y="50"/>
                  </a:lnTo>
                  <a:lnTo>
                    <a:pt x="10" y="48"/>
                  </a:lnTo>
                  <a:lnTo>
                    <a:pt x="12" y="48"/>
                  </a:lnTo>
                  <a:lnTo>
                    <a:pt x="12" y="46"/>
                  </a:lnTo>
                  <a:lnTo>
                    <a:pt x="12" y="45"/>
                  </a:lnTo>
                  <a:lnTo>
                    <a:pt x="14" y="45"/>
                  </a:lnTo>
                  <a:lnTo>
                    <a:pt x="14" y="43"/>
                  </a:lnTo>
                  <a:lnTo>
                    <a:pt x="12" y="43"/>
                  </a:lnTo>
                  <a:lnTo>
                    <a:pt x="12" y="41"/>
                  </a:lnTo>
                  <a:lnTo>
                    <a:pt x="12" y="39"/>
                  </a:lnTo>
                  <a:lnTo>
                    <a:pt x="12" y="37"/>
                  </a:lnTo>
                  <a:lnTo>
                    <a:pt x="12" y="35"/>
                  </a:lnTo>
                  <a:lnTo>
                    <a:pt x="10" y="35"/>
                  </a:lnTo>
                  <a:lnTo>
                    <a:pt x="10" y="33"/>
                  </a:lnTo>
                  <a:lnTo>
                    <a:pt x="10" y="31"/>
                  </a:lnTo>
                  <a:lnTo>
                    <a:pt x="10" y="29"/>
                  </a:lnTo>
                  <a:lnTo>
                    <a:pt x="12" y="29"/>
                  </a:lnTo>
                  <a:lnTo>
                    <a:pt x="12" y="27"/>
                  </a:lnTo>
                  <a:lnTo>
                    <a:pt x="12" y="25"/>
                  </a:lnTo>
                  <a:lnTo>
                    <a:pt x="12" y="23"/>
                  </a:lnTo>
                  <a:lnTo>
                    <a:pt x="12" y="21"/>
                  </a:lnTo>
                  <a:lnTo>
                    <a:pt x="10" y="21"/>
                  </a:lnTo>
                  <a:lnTo>
                    <a:pt x="10" y="20"/>
                  </a:lnTo>
                  <a:lnTo>
                    <a:pt x="12" y="20"/>
                  </a:lnTo>
                  <a:lnTo>
                    <a:pt x="12" y="18"/>
                  </a:lnTo>
                  <a:lnTo>
                    <a:pt x="14" y="18"/>
                  </a:lnTo>
                  <a:lnTo>
                    <a:pt x="14" y="16"/>
                  </a:lnTo>
                  <a:lnTo>
                    <a:pt x="14" y="14"/>
                  </a:lnTo>
                  <a:lnTo>
                    <a:pt x="14" y="16"/>
                  </a:lnTo>
                  <a:lnTo>
                    <a:pt x="16" y="16"/>
                  </a:lnTo>
                  <a:lnTo>
                    <a:pt x="16" y="14"/>
                  </a:lnTo>
                  <a:lnTo>
                    <a:pt x="18" y="14"/>
                  </a:lnTo>
                  <a:lnTo>
                    <a:pt x="16" y="14"/>
                  </a:lnTo>
                  <a:lnTo>
                    <a:pt x="16" y="12"/>
                  </a:lnTo>
                  <a:lnTo>
                    <a:pt x="18" y="12"/>
                  </a:lnTo>
                  <a:lnTo>
                    <a:pt x="20" y="12"/>
                  </a:lnTo>
                  <a:lnTo>
                    <a:pt x="20" y="10"/>
                  </a:lnTo>
                  <a:lnTo>
                    <a:pt x="22" y="10"/>
                  </a:lnTo>
                  <a:lnTo>
                    <a:pt x="22" y="8"/>
                  </a:lnTo>
                  <a:lnTo>
                    <a:pt x="24" y="8"/>
                  </a:lnTo>
                  <a:lnTo>
                    <a:pt x="24" y="6"/>
                  </a:lnTo>
                  <a:lnTo>
                    <a:pt x="25" y="6"/>
                  </a:lnTo>
                  <a:lnTo>
                    <a:pt x="27" y="6"/>
                  </a:lnTo>
                  <a:lnTo>
                    <a:pt x="29" y="6"/>
                  </a:lnTo>
                  <a:lnTo>
                    <a:pt x="31" y="6"/>
                  </a:lnTo>
                  <a:lnTo>
                    <a:pt x="31" y="4"/>
                  </a:lnTo>
                  <a:lnTo>
                    <a:pt x="33" y="4"/>
                  </a:lnTo>
                  <a:lnTo>
                    <a:pt x="35" y="4"/>
                  </a:lnTo>
                  <a:lnTo>
                    <a:pt x="35" y="6"/>
                  </a:lnTo>
                  <a:lnTo>
                    <a:pt x="33" y="6"/>
                  </a:lnTo>
                  <a:lnTo>
                    <a:pt x="35" y="6"/>
                  </a:lnTo>
                  <a:lnTo>
                    <a:pt x="33" y="6"/>
                  </a:lnTo>
                  <a:lnTo>
                    <a:pt x="33" y="8"/>
                  </a:lnTo>
                  <a:lnTo>
                    <a:pt x="35" y="8"/>
                  </a:lnTo>
                  <a:lnTo>
                    <a:pt x="35" y="6"/>
                  </a:lnTo>
                  <a:lnTo>
                    <a:pt x="33" y="6"/>
                  </a:lnTo>
                  <a:lnTo>
                    <a:pt x="35" y="6"/>
                  </a:lnTo>
                  <a:lnTo>
                    <a:pt x="37" y="6"/>
                  </a:lnTo>
                  <a:lnTo>
                    <a:pt x="39" y="6"/>
                  </a:lnTo>
                  <a:lnTo>
                    <a:pt x="39" y="8"/>
                  </a:lnTo>
                  <a:lnTo>
                    <a:pt x="41" y="8"/>
                  </a:lnTo>
                  <a:lnTo>
                    <a:pt x="39" y="8"/>
                  </a:lnTo>
                  <a:lnTo>
                    <a:pt x="39" y="10"/>
                  </a:lnTo>
                  <a:lnTo>
                    <a:pt x="39" y="8"/>
                  </a:lnTo>
                  <a:lnTo>
                    <a:pt x="39" y="10"/>
                  </a:lnTo>
                  <a:lnTo>
                    <a:pt x="39" y="12"/>
                  </a:lnTo>
                  <a:lnTo>
                    <a:pt x="41" y="12"/>
                  </a:lnTo>
                  <a:lnTo>
                    <a:pt x="41" y="14"/>
                  </a:lnTo>
                  <a:lnTo>
                    <a:pt x="41" y="16"/>
                  </a:lnTo>
                  <a:lnTo>
                    <a:pt x="43" y="16"/>
                  </a:lnTo>
                  <a:lnTo>
                    <a:pt x="45" y="16"/>
                  </a:lnTo>
                  <a:lnTo>
                    <a:pt x="45" y="14"/>
                  </a:lnTo>
                  <a:lnTo>
                    <a:pt x="47" y="14"/>
                  </a:lnTo>
                  <a:lnTo>
                    <a:pt x="47" y="12"/>
                  </a:lnTo>
                  <a:lnTo>
                    <a:pt x="48" y="12"/>
                  </a:lnTo>
                  <a:lnTo>
                    <a:pt x="48" y="10"/>
                  </a:lnTo>
                  <a:lnTo>
                    <a:pt x="50" y="10"/>
                  </a:lnTo>
                  <a:lnTo>
                    <a:pt x="48" y="10"/>
                  </a:lnTo>
                  <a:lnTo>
                    <a:pt x="50" y="10"/>
                  </a:lnTo>
                  <a:lnTo>
                    <a:pt x="48" y="10"/>
                  </a:lnTo>
                  <a:lnTo>
                    <a:pt x="50" y="10"/>
                  </a:lnTo>
                  <a:lnTo>
                    <a:pt x="48" y="10"/>
                  </a:lnTo>
                  <a:lnTo>
                    <a:pt x="50" y="10"/>
                  </a:lnTo>
                  <a:lnTo>
                    <a:pt x="52" y="10"/>
                  </a:lnTo>
                  <a:lnTo>
                    <a:pt x="50" y="10"/>
                  </a:lnTo>
                  <a:lnTo>
                    <a:pt x="52" y="10"/>
                  </a:lnTo>
                  <a:lnTo>
                    <a:pt x="52" y="12"/>
                  </a:lnTo>
                  <a:lnTo>
                    <a:pt x="52" y="14"/>
                  </a:lnTo>
                  <a:lnTo>
                    <a:pt x="50" y="14"/>
                  </a:lnTo>
                  <a:lnTo>
                    <a:pt x="50" y="16"/>
                  </a:lnTo>
                  <a:lnTo>
                    <a:pt x="50" y="18"/>
                  </a:lnTo>
                  <a:lnTo>
                    <a:pt x="48" y="18"/>
                  </a:lnTo>
                  <a:lnTo>
                    <a:pt x="48" y="20"/>
                  </a:lnTo>
                  <a:lnTo>
                    <a:pt x="48" y="21"/>
                  </a:lnTo>
                  <a:lnTo>
                    <a:pt x="47" y="21"/>
                  </a:lnTo>
                  <a:lnTo>
                    <a:pt x="45" y="21"/>
                  </a:lnTo>
                  <a:lnTo>
                    <a:pt x="45" y="23"/>
                  </a:lnTo>
                  <a:lnTo>
                    <a:pt x="43" y="23"/>
                  </a:lnTo>
                  <a:lnTo>
                    <a:pt x="43" y="25"/>
                  </a:lnTo>
                  <a:lnTo>
                    <a:pt x="43" y="27"/>
                  </a:lnTo>
                  <a:lnTo>
                    <a:pt x="43" y="29"/>
                  </a:lnTo>
                  <a:lnTo>
                    <a:pt x="45" y="29"/>
                  </a:lnTo>
                  <a:lnTo>
                    <a:pt x="45" y="31"/>
                  </a:lnTo>
                  <a:lnTo>
                    <a:pt x="47" y="33"/>
                  </a:lnTo>
                  <a:lnTo>
                    <a:pt x="45" y="33"/>
                  </a:lnTo>
                  <a:lnTo>
                    <a:pt x="47" y="33"/>
                  </a:lnTo>
                  <a:lnTo>
                    <a:pt x="45" y="33"/>
                  </a:lnTo>
                  <a:lnTo>
                    <a:pt x="47" y="33"/>
                  </a:lnTo>
                  <a:lnTo>
                    <a:pt x="48" y="33"/>
                  </a:lnTo>
                  <a:lnTo>
                    <a:pt x="48" y="35"/>
                  </a:lnTo>
                  <a:lnTo>
                    <a:pt x="50" y="35"/>
                  </a:lnTo>
                  <a:lnTo>
                    <a:pt x="52" y="35"/>
                  </a:lnTo>
                  <a:lnTo>
                    <a:pt x="52" y="37"/>
                  </a:lnTo>
                  <a:lnTo>
                    <a:pt x="50" y="37"/>
                  </a:lnTo>
                  <a:lnTo>
                    <a:pt x="52" y="37"/>
                  </a:lnTo>
                  <a:lnTo>
                    <a:pt x="52" y="39"/>
                  </a:lnTo>
                  <a:lnTo>
                    <a:pt x="52" y="41"/>
                  </a:lnTo>
                  <a:lnTo>
                    <a:pt x="50" y="41"/>
                  </a:lnTo>
                  <a:lnTo>
                    <a:pt x="52" y="41"/>
                  </a:lnTo>
                  <a:lnTo>
                    <a:pt x="52" y="43"/>
                  </a:lnTo>
                  <a:lnTo>
                    <a:pt x="52" y="45"/>
                  </a:lnTo>
                  <a:lnTo>
                    <a:pt x="50" y="45"/>
                  </a:lnTo>
                  <a:lnTo>
                    <a:pt x="50" y="46"/>
                  </a:lnTo>
                  <a:lnTo>
                    <a:pt x="50" y="48"/>
                  </a:lnTo>
                  <a:lnTo>
                    <a:pt x="48" y="50"/>
                  </a:lnTo>
                  <a:lnTo>
                    <a:pt x="48" y="52"/>
                  </a:lnTo>
                  <a:lnTo>
                    <a:pt x="47" y="52"/>
                  </a:lnTo>
                  <a:lnTo>
                    <a:pt x="48" y="52"/>
                  </a:lnTo>
                  <a:lnTo>
                    <a:pt x="47" y="52"/>
                  </a:lnTo>
                  <a:lnTo>
                    <a:pt x="48" y="52"/>
                  </a:lnTo>
                  <a:lnTo>
                    <a:pt x="47" y="52"/>
                  </a:lnTo>
                  <a:lnTo>
                    <a:pt x="47" y="54"/>
                  </a:lnTo>
                  <a:lnTo>
                    <a:pt x="45" y="54"/>
                  </a:lnTo>
                  <a:lnTo>
                    <a:pt x="45" y="56"/>
                  </a:lnTo>
                  <a:lnTo>
                    <a:pt x="43" y="56"/>
                  </a:lnTo>
                  <a:lnTo>
                    <a:pt x="43" y="58"/>
                  </a:lnTo>
                  <a:lnTo>
                    <a:pt x="41" y="58"/>
                  </a:lnTo>
                  <a:lnTo>
                    <a:pt x="39" y="58"/>
                  </a:lnTo>
                  <a:lnTo>
                    <a:pt x="39" y="60"/>
                  </a:lnTo>
                  <a:lnTo>
                    <a:pt x="39" y="58"/>
                  </a:lnTo>
                  <a:lnTo>
                    <a:pt x="39" y="60"/>
                  </a:lnTo>
                  <a:lnTo>
                    <a:pt x="37" y="60"/>
                  </a:lnTo>
                  <a:lnTo>
                    <a:pt x="37" y="62"/>
                  </a:lnTo>
                  <a:lnTo>
                    <a:pt x="37" y="64"/>
                  </a:lnTo>
                  <a:lnTo>
                    <a:pt x="37" y="66"/>
                  </a:lnTo>
                  <a:lnTo>
                    <a:pt x="39" y="66"/>
                  </a:lnTo>
                  <a:lnTo>
                    <a:pt x="37" y="66"/>
                  </a:lnTo>
                  <a:lnTo>
                    <a:pt x="37" y="68"/>
                  </a:lnTo>
                  <a:lnTo>
                    <a:pt x="39" y="68"/>
                  </a:lnTo>
                  <a:lnTo>
                    <a:pt x="39" y="69"/>
                  </a:lnTo>
                  <a:lnTo>
                    <a:pt x="41" y="69"/>
                  </a:lnTo>
                  <a:lnTo>
                    <a:pt x="43" y="69"/>
                  </a:lnTo>
                  <a:lnTo>
                    <a:pt x="43" y="71"/>
                  </a:lnTo>
                  <a:lnTo>
                    <a:pt x="45" y="71"/>
                  </a:lnTo>
                  <a:lnTo>
                    <a:pt x="47" y="69"/>
                  </a:lnTo>
                  <a:lnTo>
                    <a:pt x="47" y="71"/>
                  </a:lnTo>
                  <a:lnTo>
                    <a:pt x="47" y="73"/>
                  </a:lnTo>
                  <a:lnTo>
                    <a:pt x="48" y="73"/>
                  </a:lnTo>
                  <a:lnTo>
                    <a:pt x="50" y="73"/>
                  </a:lnTo>
                  <a:lnTo>
                    <a:pt x="50" y="71"/>
                  </a:lnTo>
                  <a:lnTo>
                    <a:pt x="52" y="71"/>
                  </a:lnTo>
                  <a:lnTo>
                    <a:pt x="52" y="73"/>
                  </a:lnTo>
                  <a:lnTo>
                    <a:pt x="52" y="75"/>
                  </a:lnTo>
                  <a:lnTo>
                    <a:pt x="54" y="77"/>
                  </a:lnTo>
                  <a:lnTo>
                    <a:pt x="52" y="77"/>
                  </a:lnTo>
                  <a:lnTo>
                    <a:pt x="54" y="77"/>
                  </a:lnTo>
                  <a:lnTo>
                    <a:pt x="54" y="79"/>
                  </a:lnTo>
                  <a:lnTo>
                    <a:pt x="52" y="79"/>
                  </a:lnTo>
                  <a:lnTo>
                    <a:pt x="54" y="79"/>
                  </a:lnTo>
                  <a:lnTo>
                    <a:pt x="56" y="79"/>
                  </a:lnTo>
                  <a:lnTo>
                    <a:pt x="58" y="79"/>
                  </a:lnTo>
                  <a:lnTo>
                    <a:pt x="56" y="79"/>
                  </a:lnTo>
                  <a:lnTo>
                    <a:pt x="56" y="77"/>
                  </a:lnTo>
                  <a:lnTo>
                    <a:pt x="56" y="79"/>
                  </a:lnTo>
                  <a:lnTo>
                    <a:pt x="58" y="79"/>
                  </a:lnTo>
                  <a:lnTo>
                    <a:pt x="60" y="79"/>
                  </a:lnTo>
                  <a:close/>
                  <a:moveTo>
                    <a:pt x="50" y="68"/>
                  </a:moveTo>
                  <a:lnTo>
                    <a:pt x="52" y="68"/>
                  </a:lnTo>
                  <a:lnTo>
                    <a:pt x="52" y="69"/>
                  </a:lnTo>
                  <a:lnTo>
                    <a:pt x="50" y="69"/>
                  </a:lnTo>
                  <a:lnTo>
                    <a:pt x="48" y="69"/>
                  </a:lnTo>
                  <a:lnTo>
                    <a:pt x="48" y="71"/>
                  </a:lnTo>
                  <a:lnTo>
                    <a:pt x="48" y="69"/>
                  </a:lnTo>
                  <a:lnTo>
                    <a:pt x="47" y="69"/>
                  </a:lnTo>
                  <a:lnTo>
                    <a:pt x="47" y="68"/>
                  </a:lnTo>
                  <a:lnTo>
                    <a:pt x="47" y="66"/>
                  </a:lnTo>
                  <a:lnTo>
                    <a:pt x="48" y="66"/>
                  </a:lnTo>
                  <a:lnTo>
                    <a:pt x="48" y="68"/>
                  </a:lnTo>
                  <a:lnTo>
                    <a:pt x="50" y="68"/>
                  </a:lnTo>
                  <a:lnTo>
                    <a:pt x="50" y="66"/>
                  </a:lnTo>
                  <a:lnTo>
                    <a:pt x="48" y="66"/>
                  </a:lnTo>
                  <a:lnTo>
                    <a:pt x="50" y="66"/>
                  </a:lnTo>
                  <a:lnTo>
                    <a:pt x="50" y="68"/>
                  </a:lnTo>
                  <a:close/>
                  <a:moveTo>
                    <a:pt x="52" y="50"/>
                  </a:moveTo>
                  <a:lnTo>
                    <a:pt x="56" y="50"/>
                  </a:lnTo>
                  <a:lnTo>
                    <a:pt x="56" y="52"/>
                  </a:lnTo>
                  <a:lnTo>
                    <a:pt x="52" y="52"/>
                  </a:lnTo>
                  <a:lnTo>
                    <a:pt x="52" y="50"/>
                  </a:lnTo>
                  <a:close/>
                  <a:moveTo>
                    <a:pt x="50" y="52"/>
                  </a:moveTo>
                  <a:lnTo>
                    <a:pt x="52" y="52"/>
                  </a:lnTo>
                  <a:lnTo>
                    <a:pt x="52" y="54"/>
                  </a:lnTo>
                  <a:lnTo>
                    <a:pt x="50" y="54"/>
                  </a:lnTo>
                  <a:lnTo>
                    <a:pt x="50" y="52"/>
                  </a:lnTo>
                  <a:close/>
                  <a:moveTo>
                    <a:pt x="20" y="0"/>
                  </a:moveTo>
                  <a:lnTo>
                    <a:pt x="22" y="0"/>
                  </a:lnTo>
                  <a:lnTo>
                    <a:pt x="22" y="2"/>
                  </a:lnTo>
                  <a:lnTo>
                    <a:pt x="20" y="2"/>
                  </a:lnTo>
                  <a:lnTo>
                    <a:pt x="20" y="0"/>
                  </a:lnTo>
                  <a:close/>
                  <a:moveTo>
                    <a:pt x="50" y="33"/>
                  </a:moveTo>
                  <a:lnTo>
                    <a:pt x="52" y="33"/>
                  </a:lnTo>
                  <a:lnTo>
                    <a:pt x="50" y="33"/>
                  </a:lnTo>
                  <a:close/>
                  <a:moveTo>
                    <a:pt x="56" y="50"/>
                  </a:moveTo>
                  <a:lnTo>
                    <a:pt x="56" y="52"/>
                  </a:lnTo>
                  <a:lnTo>
                    <a:pt x="56" y="50"/>
                  </a:lnTo>
                  <a:close/>
                  <a:moveTo>
                    <a:pt x="50" y="69"/>
                  </a:moveTo>
                  <a:lnTo>
                    <a:pt x="50" y="71"/>
                  </a:lnTo>
                  <a:lnTo>
                    <a:pt x="50" y="69"/>
                  </a:lnTo>
                  <a:close/>
                  <a:moveTo>
                    <a:pt x="47" y="69"/>
                  </a:moveTo>
                  <a:lnTo>
                    <a:pt x="48" y="69"/>
                  </a:lnTo>
                  <a:lnTo>
                    <a:pt x="47" y="69"/>
                  </a:lnTo>
                  <a:close/>
                  <a:moveTo>
                    <a:pt x="54" y="50"/>
                  </a:moveTo>
                  <a:lnTo>
                    <a:pt x="56" y="50"/>
                  </a:lnTo>
                  <a:lnTo>
                    <a:pt x="54" y="50"/>
                  </a:lnTo>
                  <a:close/>
                  <a:moveTo>
                    <a:pt x="48" y="33"/>
                  </a:moveTo>
                  <a:lnTo>
                    <a:pt x="48" y="35"/>
                  </a:lnTo>
                  <a:lnTo>
                    <a:pt x="48" y="33"/>
                  </a:lnTo>
                  <a:close/>
                  <a:moveTo>
                    <a:pt x="39" y="6"/>
                  </a:moveTo>
                  <a:lnTo>
                    <a:pt x="39" y="8"/>
                  </a:lnTo>
                  <a:lnTo>
                    <a:pt x="39" y="6"/>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364">
              <a:extLst>
                <a:ext uri="{FF2B5EF4-FFF2-40B4-BE49-F238E27FC236}">
                  <a16:creationId xmlns:a16="http://schemas.microsoft.com/office/drawing/2014/main" id="{DB261B91-EA85-4F99-8F94-0204B0C63840}"/>
                </a:ext>
              </a:extLst>
            </p:cNvPr>
            <p:cNvSpPr>
              <a:spLocks noEditPoints="1"/>
            </p:cNvSpPr>
            <p:nvPr/>
          </p:nvSpPr>
          <p:spPr bwMode="gray">
            <a:xfrm>
              <a:off x="3462122" y="3671185"/>
              <a:ext cx="7358" cy="7358"/>
            </a:xfrm>
            <a:custGeom>
              <a:avLst/>
              <a:gdLst>
                <a:gd name="T0" fmla="*/ 4 w 6"/>
                <a:gd name="T1" fmla="*/ 2 h 6"/>
                <a:gd name="T2" fmla="*/ 6 w 6"/>
                <a:gd name="T3" fmla="*/ 2 h 6"/>
                <a:gd name="T4" fmla="*/ 6 w 6"/>
                <a:gd name="T5" fmla="*/ 4 h 6"/>
                <a:gd name="T6" fmla="*/ 6 w 6"/>
                <a:gd name="T7" fmla="*/ 2 h 6"/>
                <a:gd name="T8" fmla="*/ 6 w 6"/>
                <a:gd name="T9" fmla="*/ 4 h 6"/>
                <a:gd name="T10" fmla="*/ 6 w 6"/>
                <a:gd name="T11" fmla="*/ 2 h 6"/>
                <a:gd name="T12" fmla="*/ 6 w 6"/>
                <a:gd name="T13" fmla="*/ 4 h 6"/>
                <a:gd name="T14" fmla="*/ 6 w 6"/>
                <a:gd name="T15" fmla="*/ 2 h 6"/>
                <a:gd name="T16" fmla="*/ 6 w 6"/>
                <a:gd name="T17" fmla="*/ 4 h 6"/>
                <a:gd name="T18" fmla="*/ 6 w 6"/>
                <a:gd name="T19" fmla="*/ 6 h 6"/>
                <a:gd name="T20" fmla="*/ 6 w 6"/>
                <a:gd name="T21" fmla="*/ 4 h 6"/>
                <a:gd name="T22" fmla="*/ 6 w 6"/>
                <a:gd name="T23" fmla="*/ 6 h 6"/>
                <a:gd name="T24" fmla="*/ 6 w 6"/>
                <a:gd name="T25" fmla="*/ 4 h 6"/>
                <a:gd name="T26" fmla="*/ 6 w 6"/>
                <a:gd name="T27" fmla="*/ 6 h 6"/>
                <a:gd name="T28" fmla="*/ 4 w 6"/>
                <a:gd name="T29" fmla="*/ 6 h 6"/>
                <a:gd name="T30" fmla="*/ 4 w 6"/>
                <a:gd name="T31" fmla="*/ 4 h 6"/>
                <a:gd name="T32" fmla="*/ 4 w 6"/>
                <a:gd name="T33" fmla="*/ 2 h 6"/>
                <a:gd name="T34" fmla="*/ 0 w 6"/>
                <a:gd name="T35" fmla="*/ 0 h 6"/>
                <a:gd name="T36" fmla="*/ 4 w 6"/>
                <a:gd name="T37" fmla="*/ 0 h 6"/>
                <a:gd name="T38" fmla="*/ 4 w 6"/>
                <a:gd name="T39" fmla="*/ 2 h 6"/>
                <a:gd name="T40" fmla="*/ 0 w 6"/>
                <a:gd name="T41" fmla="*/ 2 h 6"/>
                <a:gd name="T42" fmla="*/ 0 w 6"/>
                <a:gd name="T43" fmla="*/ 0 h 6"/>
                <a:gd name="T44" fmla="*/ 2 w 6"/>
                <a:gd name="T45" fmla="*/ 2 h 6"/>
                <a:gd name="T46" fmla="*/ 4 w 6"/>
                <a:gd name="T47" fmla="*/ 2 h 6"/>
                <a:gd name="T48" fmla="*/ 2 w 6"/>
                <a:gd name="T4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6">
                  <a:moveTo>
                    <a:pt x="4" y="2"/>
                  </a:moveTo>
                  <a:lnTo>
                    <a:pt x="6" y="2"/>
                  </a:lnTo>
                  <a:lnTo>
                    <a:pt x="6" y="4"/>
                  </a:lnTo>
                  <a:lnTo>
                    <a:pt x="6" y="2"/>
                  </a:lnTo>
                  <a:lnTo>
                    <a:pt x="6" y="4"/>
                  </a:lnTo>
                  <a:lnTo>
                    <a:pt x="6" y="2"/>
                  </a:lnTo>
                  <a:lnTo>
                    <a:pt x="6" y="4"/>
                  </a:lnTo>
                  <a:lnTo>
                    <a:pt x="6" y="2"/>
                  </a:lnTo>
                  <a:lnTo>
                    <a:pt x="6" y="4"/>
                  </a:lnTo>
                  <a:lnTo>
                    <a:pt x="6" y="6"/>
                  </a:lnTo>
                  <a:lnTo>
                    <a:pt x="6" y="4"/>
                  </a:lnTo>
                  <a:lnTo>
                    <a:pt x="6" y="6"/>
                  </a:lnTo>
                  <a:lnTo>
                    <a:pt x="6" y="4"/>
                  </a:lnTo>
                  <a:lnTo>
                    <a:pt x="6" y="6"/>
                  </a:lnTo>
                  <a:lnTo>
                    <a:pt x="4" y="6"/>
                  </a:lnTo>
                  <a:lnTo>
                    <a:pt x="4" y="4"/>
                  </a:lnTo>
                  <a:lnTo>
                    <a:pt x="4" y="2"/>
                  </a:lnTo>
                  <a:close/>
                  <a:moveTo>
                    <a:pt x="0" y="0"/>
                  </a:moveTo>
                  <a:lnTo>
                    <a:pt x="4" y="0"/>
                  </a:lnTo>
                  <a:lnTo>
                    <a:pt x="4" y="2"/>
                  </a:lnTo>
                  <a:lnTo>
                    <a:pt x="0" y="2"/>
                  </a:lnTo>
                  <a:lnTo>
                    <a:pt x="0" y="0"/>
                  </a:lnTo>
                  <a:close/>
                  <a:moveTo>
                    <a:pt x="2" y="2"/>
                  </a:moveTo>
                  <a:lnTo>
                    <a:pt x="4" y="2"/>
                  </a:lnTo>
                  <a:lnTo>
                    <a:pt x="2" y="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365">
              <a:extLst>
                <a:ext uri="{FF2B5EF4-FFF2-40B4-BE49-F238E27FC236}">
                  <a16:creationId xmlns:a16="http://schemas.microsoft.com/office/drawing/2014/main" id="{FCCFB28B-CE87-40E5-A0FC-2C89741373D9}"/>
                </a:ext>
              </a:extLst>
            </p:cNvPr>
            <p:cNvSpPr>
              <a:spLocks noEditPoints="1"/>
            </p:cNvSpPr>
            <p:nvPr/>
          </p:nvSpPr>
          <p:spPr bwMode="gray">
            <a:xfrm>
              <a:off x="3328447" y="3407514"/>
              <a:ext cx="214616" cy="278388"/>
            </a:xfrm>
            <a:custGeom>
              <a:avLst/>
              <a:gdLst>
                <a:gd name="T0" fmla="*/ 102 w 175"/>
                <a:gd name="T1" fmla="*/ 27 h 227"/>
                <a:gd name="T2" fmla="*/ 100 w 175"/>
                <a:gd name="T3" fmla="*/ 29 h 227"/>
                <a:gd name="T4" fmla="*/ 84 w 175"/>
                <a:gd name="T5" fmla="*/ 33 h 227"/>
                <a:gd name="T6" fmla="*/ 83 w 175"/>
                <a:gd name="T7" fmla="*/ 33 h 227"/>
                <a:gd name="T8" fmla="*/ 81 w 175"/>
                <a:gd name="T9" fmla="*/ 37 h 227"/>
                <a:gd name="T10" fmla="*/ 83 w 175"/>
                <a:gd name="T11" fmla="*/ 39 h 227"/>
                <a:gd name="T12" fmla="*/ 84 w 175"/>
                <a:gd name="T13" fmla="*/ 48 h 227"/>
                <a:gd name="T14" fmla="*/ 84 w 175"/>
                <a:gd name="T15" fmla="*/ 62 h 227"/>
                <a:gd name="T16" fmla="*/ 102 w 175"/>
                <a:gd name="T17" fmla="*/ 73 h 227"/>
                <a:gd name="T18" fmla="*/ 117 w 175"/>
                <a:gd name="T19" fmla="*/ 100 h 227"/>
                <a:gd name="T20" fmla="*/ 140 w 175"/>
                <a:gd name="T21" fmla="*/ 108 h 227"/>
                <a:gd name="T22" fmla="*/ 150 w 175"/>
                <a:gd name="T23" fmla="*/ 121 h 227"/>
                <a:gd name="T24" fmla="*/ 167 w 175"/>
                <a:gd name="T25" fmla="*/ 131 h 227"/>
                <a:gd name="T26" fmla="*/ 171 w 175"/>
                <a:gd name="T27" fmla="*/ 146 h 227"/>
                <a:gd name="T28" fmla="*/ 157 w 175"/>
                <a:gd name="T29" fmla="*/ 136 h 227"/>
                <a:gd name="T30" fmla="*/ 146 w 175"/>
                <a:gd name="T31" fmla="*/ 144 h 227"/>
                <a:gd name="T32" fmla="*/ 154 w 175"/>
                <a:gd name="T33" fmla="*/ 163 h 227"/>
                <a:gd name="T34" fmla="*/ 138 w 175"/>
                <a:gd name="T35" fmla="*/ 183 h 227"/>
                <a:gd name="T36" fmla="*/ 140 w 175"/>
                <a:gd name="T37" fmla="*/ 167 h 227"/>
                <a:gd name="T38" fmla="*/ 132 w 175"/>
                <a:gd name="T39" fmla="*/ 140 h 227"/>
                <a:gd name="T40" fmla="*/ 121 w 175"/>
                <a:gd name="T41" fmla="*/ 133 h 227"/>
                <a:gd name="T42" fmla="*/ 111 w 175"/>
                <a:gd name="T43" fmla="*/ 127 h 227"/>
                <a:gd name="T44" fmla="*/ 86 w 175"/>
                <a:gd name="T45" fmla="*/ 111 h 227"/>
                <a:gd name="T46" fmla="*/ 65 w 175"/>
                <a:gd name="T47" fmla="*/ 94 h 227"/>
                <a:gd name="T48" fmla="*/ 58 w 175"/>
                <a:gd name="T49" fmla="*/ 87 h 227"/>
                <a:gd name="T50" fmla="*/ 52 w 175"/>
                <a:gd name="T51" fmla="*/ 65 h 227"/>
                <a:gd name="T52" fmla="*/ 37 w 175"/>
                <a:gd name="T53" fmla="*/ 58 h 227"/>
                <a:gd name="T54" fmla="*/ 19 w 175"/>
                <a:gd name="T55" fmla="*/ 67 h 227"/>
                <a:gd name="T56" fmla="*/ 6 w 175"/>
                <a:gd name="T57" fmla="*/ 58 h 227"/>
                <a:gd name="T58" fmla="*/ 6 w 175"/>
                <a:gd name="T59" fmla="*/ 35 h 227"/>
                <a:gd name="T60" fmla="*/ 17 w 175"/>
                <a:gd name="T61" fmla="*/ 23 h 227"/>
                <a:gd name="T62" fmla="*/ 27 w 175"/>
                <a:gd name="T63" fmla="*/ 14 h 227"/>
                <a:gd name="T64" fmla="*/ 35 w 175"/>
                <a:gd name="T65" fmla="*/ 23 h 227"/>
                <a:gd name="T66" fmla="*/ 42 w 175"/>
                <a:gd name="T67" fmla="*/ 15 h 227"/>
                <a:gd name="T68" fmla="*/ 52 w 175"/>
                <a:gd name="T69" fmla="*/ 14 h 227"/>
                <a:gd name="T70" fmla="*/ 63 w 175"/>
                <a:gd name="T71" fmla="*/ 6 h 227"/>
                <a:gd name="T72" fmla="*/ 83 w 175"/>
                <a:gd name="T73" fmla="*/ 6 h 227"/>
                <a:gd name="T74" fmla="*/ 86 w 175"/>
                <a:gd name="T75" fmla="*/ 63 h 227"/>
                <a:gd name="T76" fmla="*/ 123 w 175"/>
                <a:gd name="T77" fmla="*/ 190 h 227"/>
                <a:gd name="T78" fmla="*/ 117 w 175"/>
                <a:gd name="T79" fmla="*/ 204 h 227"/>
                <a:gd name="T80" fmla="*/ 106 w 175"/>
                <a:gd name="T81" fmla="*/ 196 h 227"/>
                <a:gd name="T82" fmla="*/ 84 w 175"/>
                <a:gd name="T83" fmla="*/ 186 h 227"/>
                <a:gd name="T84" fmla="*/ 98 w 175"/>
                <a:gd name="T85" fmla="*/ 177 h 227"/>
                <a:gd name="T86" fmla="*/ 115 w 175"/>
                <a:gd name="T87" fmla="*/ 179 h 227"/>
                <a:gd name="T88" fmla="*/ 131 w 175"/>
                <a:gd name="T89" fmla="*/ 175 h 227"/>
                <a:gd name="T90" fmla="*/ 46 w 175"/>
                <a:gd name="T91" fmla="*/ 133 h 227"/>
                <a:gd name="T92" fmla="*/ 42 w 175"/>
                <a:gd name="T93" fmla="*/ 156 h 227"/>
                <a:gd name="T94" fmla="*/ 35 w 175"/>
                <a:gd name="T95" fmla="*/ 163 h 227"/>
                <a:gd name="T96" fmla="*/ 25 w 175"/>
                <a:gd name="T97" fmla="*/ 158 h 227"/>
                <a:gd name="T98" fmla="*/ 27 w 175"/>
                <a:gd name="T99" fmla="*/ 148 h 227"/>
                <a:gd name="T100" fmla="*/ 27 w 175"/>
                <a:gd name="T101" fmla="*/ 140 h 227"/>
                <a:gd name="T102" fmla="*/ 23 w 175"/>
                <a:gd name="T103" fmla="*/ 129 h 227"/>
                <a:gd name="T104" fmla="*/ 56 w 175"/>
                <a:gd name="T105" fmla="*/ 87 h 227"/>
                <a:gd name="T106" fmla="*/ 25 w 175"/>
                <a:gd name="T107" fmla="*/ 163 h 227"/>
                <a:gd name="T108" fmla="*/ 123 w 175"/>
                <a:gd name="T109" fmla="*/ 173 h 227"/>
                <a:gd name="T110" fmla="*/ 83 w 175"/>
                <a:gd name="T111" fmla="*/ 181 h 227"/>
                <a:gd name="T112" fmla="*/ 84 w 175"/>
                <a:gd name="T113" fmla="*/ 33 h 227"/>
                <a:gd name="T114" fmla="*/ 83 w 175"/>
                <a:gd name="T115" fmla="*/ 42 h 227"/>
                <a:gd name="T116" fmla="*/ 65 w 175"/>
                <a:gd name="T117" fmla="*/ 100 h 227"/>
                <a:gd name="T118" fmla="*/ 84 w 175"/>
                <a:gd name="T119" fmla="*/ 42 h 227"/>
                <a:gd name="T120" fmla="*/ 83 w 175"/>
                <a:gd name="T121" fmla="*/ 35 h 227"/>
                <a:gd name="T122" fmla="*/ 86 w 175"/>
                <a:gd name="T123" fmla="*/ 22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 h="227">
                  <a:moveTo>
                    <a:pt x="104" y="12"/>
                  </a:moveTo>
                  <a:lnTo>
                    <a:pt x="104" y="14"/>
                  </a:lnTo>
                  <a:lnTo>
                    <a:pt x="102" y="14"/>
                  </a:lnTo>
                  <a:lnTo>
                    <a:pt x="100" y="14"/>
                  </a:lnTo>
                  <a:lnTo>
                    <a:pt x="100" y="15"/>
                  </a:lnTo>
                  <a:lnTo>
                    <a:pt x="98" y="15"/>
                  </a:lnTo>
                  <a:lnTo>
                    <a:pt x="98" y="17"/>
                  </a:lnTo>
                  <a:lnTo>
                    <a:pt x="100" y="17"/>
                  </a:lnTo>
                  <a:lnTo>
                    <a:pt x="102" y="17"/>
                  </a:lnTo>
                  <a:lnTo>
                    <a:pt x="102" y="19"/>
                  </a:lnTo>
                  <a:lnTo>
                    <a:pt x="102" y="17"/>
                  </a:lnTo>
                  <a:lnTo>
                    <a:pt x="102" y="19"/>
                  </a:lnTo>
                  <a:lnTo>
                    <a:pt x="104" y="19"/>
                  </a:lnTo>
                  <a:lnTo>
                    <a:pt x="102" y="19"/>
                  </a:lnTo>
                  <a:lnTo>
                    <a:pt x="102" y="21"/>
                  </a:lnTo>
                  <a:lnTo>
                    <a:pt x="100" y="21"/>
                  </a:lnTo>
                  <a:lnTo>
                    <a:pt x="102" y="21"/>
                  </a:lnTo>
                  <a:lnTo>
                    <a:pt x="100" y="21"/>
                  </a:lnTo>
                  <a:lnTo>
                    <a:pt x="100" y="23"/>
                  </a:lnTo>
                  <a:lnTo>
                    <a:pt x="102" y="23"/>
                  </a:lnTo>
                  <a:lnTo>
                    <a:pt x="102" y="25"/>
                  </a:lnTo>
                  <a:lnTo>
                    <a:pt x="102" y="27"/>
                  </a:lnTo>
                  <a:lnTo>
                    <a:pt x="104" y="27"/>
                  </a:lnTo>
                  <a:lnTo>
                    <a:pt x="106" y="27"/>
                  </a:lnTo>
                  <a:lnTo>
                    <a:pt x="106" y="29"/>
                  </a:lnTo>
                  <a:lnTo>
                    <a:pt x="106" y="31"/>
                  </a:lnTo>
                  <a:lnTo>
                    <a:pt x="104" y="31"/>
                  </a:lnTo>
                  <a:lnTo>
                    <a:pt x="106" y="31"/>
                  </a:lnTo>
                  <a:lnTo>
                    <a:pt x="104" y="31"/>
                  </a:lnTo>
                  <a:lnTo>
                    <a:pt x="104" y="29"/>
                  </a:lnTo>
                  <a:lnTo>
                    <a:pt x="104" y="27"/>
                  </a:lnTo>
                  <a:lnTo>
                    <a:pt x="102" y="27"/>
                  </a:lnTo>
                  <a:lnTo>
                    <a:pt x="100" y="27"/>
                  </a:lnTo>
                  <a:lnTo>
                    <a:pt x="102" y="27"/>
                  </a:lnTo>
                  <a:lnTo>
                    <a:pt x="100" y="27"/>
                  </a:lnTo>
                  <a:lnTo>
                    <a:pt x="102" y="27"/>
                  </a:lnTo>
                  <a:lnTo>
                    <a:pt x="102" y="29"/>
                  </a:lnTo>
                  <a:lnTo>
                    <a:pt x="100" y="29"/>
                  </a:lnTo>
                  <a:lnTo>
                    <a:pt x="100" y="27"/>
                  </a:lnTo>
                  <a:lnTo>
                    <a:pt x="100" y="29"/>
                  </a:lnTo>
                  <a:lnTo>
                    <a:pt x="102" y="29"/>
                  </a:lnTo>
                  <a:lnTo>
                    <a:pt x="100" y="29"/>
                  </a:lnTo>
                  <a:lnTo>
                    <a:pt x="98" y="29"/>
                  </a:lnTo>
                  <a:lnTo>
                    <a:pt x="100" y="29"/>
                  </a:lnTo>
                  <a:lnTo>
                    <a:pt x="98" y="29"/>
                  </a:lnTo>
                  <a:lnTo>
                    <a:pt x="98" y="27"/>
                  </a:lnTo>
                  <a:lnTo>
                    <a:pt x="96" y="27"/>
                  </a:lnTo>
                  <a:lnTo>
                    <a:pt x="94" y="27"/>
                  </a:lnTo>
                  <a:lnTo>
                    <a:pt x="94" y="29"/>
                  </a:lnTo>
                  <a:lnTo>
                    <a:pt x="96" y="29"/>
                  </a:lnTo>
                  <a:lnTo>
                    <a:pt x="94" y="29"/>
                  </a:lnTo>
                  <a:lnTo>
                    <a:pt x="94" y="31"/>
                  </a:lnTo>
                  <a:lnTo>
                    <a:pt x="92" y="31"/>
                  </a:lnTo>
                  <a:lnTo>
                    <a:pt x="92" y="29"/>
                  </a:lnTo>
                  <a:lnTo>
                    <a:pt x="92" y="31"/>
                  </a:lnTo>
                  <a:lnTo>
                    <a:pt x="92" y="29"/>
                  </a:lnTo>
                  <a:lnTo>
                    <a:pt x="92" y="31"/>
                  </a:lnTo>
                  <a:lnTo>
                    <a:pt x="90" y="31"/>
                  </a:lnTo>
                  <a:lnTo>
                    <a:pt x="90" y="33"/>
                  </a:lnTo>
                  <a:lnTo>
                    <a:pt x="88" y="33"/>
                  </a:lnTo>
                  <a:lnTo>
                    <a:pt x="90" y="33"/>
                  </a:lnTo>
                  <a:lnTo>
                    <a:pt x="88" y="33"/>
                  </a:lnTo>
                  <a:lnTo>
                    <a:pt x="86" y="33"/>
                  </a:lnTo>
                  <a:lnTo>
                    <a:pt x="86" y="35"/>
                  </a:lnTo>
                  <a:lnTo>
                    <a:pt x="84" y="35"/>
                  </a:lnTo>
                  <a:lnTo>
                    <a:pt x="84" y="33"/>
                  </a:lnTo>
                  <a:lnTo>
                    <a:pt x="84" y="35"/>
                  </a:lnTo>
                  <a:lnTo>
                    <a:pt x="84" y="33"/>
                  </a:lnTo>
                  <a:lnTo>
                    <a:pt x="86" y="33"/>
                  </a:lnTo>
                  <a:lnTo>
                    <a:pt x="88" y="33"/>
                  </a:lnTo>
                  <a:lnTo>
                    <a:pt x="86" y="33"/>
                  </a:lnTo>
                  <a:lnTo>
                    <a:pt x="88" y="33"/>
                  </a:lnTo>
                  <a:lnTo>
                    <a:pt x="86" y="33"/>
                  </a:lnTo>
                  <a:lnTo>
                    <a:pt x="86" y="31"/>
                  </a:lnTo>
                  <a:lnTo>
                    <a:pt x="84" y="31"/>
                  </a:lnTo>
                  <a:lnTo>
                    <a:pt x="86" y="31"/>
                  </a:lnTo>
                  <a:lnTo>
                    <a:pt x="84" y="33"/>
                  </a:lnTo>
                  <a:lnTo>
                    <a:pt x="86" y="33"/>
                  </a:lnTo>
                  <a:lnTo>
                    <a:pt x="84" y="33"/>
                  </a:lnTo>
                  <a:lnTo>
                    <a:pt x="83" y="33"/>
                  </a:lnTo>
                  <a:lnTo>
                    <a:pt x="83" y="35"/>
                  </a:lnTo>
                  <a:lnTo>
                    <a:pt x="84" y="35"/>
                  </a:lnTo>
                  <a:lnTo>
                    <a:pt x="83" y="35"/>
                  </a:lnTo>
                  <a:lnTo>
                    <a:pt x="83" y="33"/>
                  </a:lnTo>
                  <a:lnTo>
                    <a:pt x="83" y="35"/>
                  </a:lnTo>
                  <a:lnTo>
                    <a:pt x="83" y="33"/>
                  </a:lnTo>
                  <a:lnTo>
                    <a:pt x="83" y="35"/>
                  </a:lnTo>
                  <a:lnTo>
                    <a:pt x="83" y="33"/>
                  </a:lnTo>
                  <a:lnTo>
                    <a:pt x="83" y="35"/>
                  </a:lnTo>
                  <a:lnTo>
                    <a:pt x="83" y="33"/>
                  </a:lnTo>
                  <a:lnTo>
                    <a:pt x="83" y="35"/>
                  </a:lnTo>
                  <a:lnTo>
                    <a:pt x="83" y="33"/>
                  </a:lnTo>
                  <a:lnTo>
                    <a:pt x="83" y="35"/>
                  </a:lnTo>
                  <a:lnTo>
                    <a:pt x="81" y="35"/>
                  </a:lnTo>
                  <a:lnTo>
                    <a:pt x="83" y="35"/>
                  </a:lnTo>
                  <a:lnTo>
                    <a:pt x="83" y="37"/>
                  </a:lnTo>
                  <a:lnTo>
                    <a:pt x="83" y="35"/>
                  </a:lnTo>
                  <a:lnTo>
                    <a:pt x="83" y="37"/>
                  </a:lnTo>
                  <a:lnTo>
                    <a:pt x="83" y="35"/>
                  </a:lnTo>
                  <a:lnTo>
                    <a:pt x="81" y="35"/>
                  </a:lnTo>
                  <a:lnTo>
                    <a:pt x="83" y="35"/>
                  </a:lnTo>
                  <a:lnTo>
                    <a:pt x="81" y="35"/>
                  </a:lnTo>
                  <a:lnTo>
                    <a:pt x="83" y="35"/>
                  </a:lnTo>
                  <a:lnTo>
                    <a:pt x="81" y="35"/>
                  </a:lnTo>
                  <a:lnTo>
                    <a:pt x="83" y="35"/>
                  </a:lnTo>
                  <a:lnTo>
                    <a:pt x="81" y="35"/>
                  </a:lnTo>
                  <a:lnTo>
                    <a:pt x="83" y="37"/>
                  </a:lnTo>
                  <a:lnTo>
                    <a:pt x="81" y="37"/>
                  </a:lnTo>
                  <a:lnTo>
                    <a:pt x="83" y="37"/>
                  </a:lnTo>
                  <a:lnTo>
                    <a:pt x="81" y="37"/>
                  </a:lnTo>
                  <a:lnTo>
                    <a:pt x="81" y="35"/>
                  </a:lnTo>
                  <a:lnTo>
                    <a:pt x="81" y="37"/>
                  </a:lnTo>
                  <a:lnTo>
                    <a:pt x="81" y="35"/>
                  </a:lnTo>
                  <a:lnTo>
                    <a:pt x="81" y="37"/>
                  </a:lnTo>
                  <a:lnTo>
                    <a:pt x="81" y="39"/>
                  </a:lnTo>
                  <a:lnTo>
                    <a:pt x="81" y="37"/>
                  </a:lnTo>
                  <a:lnTo>
                    <a:pt x="81" y="39"/>
                  </a:lnTo>
                  <a:lnTo>
                    <a:pt x="81" y="37"/>
                  </a:lnTo>
                  <a:lnTo>
                    <a:pt x="83" y="37"/>
                  </a:lnTo>
                  <a:lnTo>
                    <a:pt x="83" y="39"/>
                  </a:lnTo>
                  <a:lnTo>
                    <a:pt x="81" y="39"/>
                  </a:lnTo>
                  <a:lnTo>
                    <a:pt x="83" y="39"/>
                  </a:lnTo>
                  <a:lnTo>
                    <a:pt x="81" y="39"/>
                  </a:lnTo>
                  <a:lnTo>
                    <a:pt x="83" y="39"/>
                  </a:lnTo>
                  <a:lnTo>
                    <a:pt x="81" y="39"/>
                  </a:lnTo>
                  <a:lnTo>
                    <a:pt x="83" y="39"/>
                  </a:lnTo>
                  <a:lnTo>
                    <a:pt x="81" y="39"/>
                  </a:lnTo>
                  <a:lnTo>
                    <a:pt x="83" y="39"/>
                  </a:lnTo>
                  <a:lnTo>
                    <a:pt x="83" y="40"/>
                  </a:lnTo>
                  <a:lnTo>
                    <a:pt x="83" y="39"/>
                  </a:lnTo>
                  <a:lnTo>
                    <a:pt x="83" y="40"/>
                  </a:lnTo>
                  <a:lnTo>
                    <a:pt x="83" y="39"/>
                  </a:lnTo>
                  <a:lnTo>
                    <a:pt x="83" y="40"/>
                  </a:lnTo>
                  <a:lnTo>
                    <a:pt x="83" y="42"/>
                  </a:lnTo>
                  <a:lnTo>
                    <a:pt x="83" y="40"/>
                  </a:lnTo>
                  <a:lnTo>
                    <a:pt x="83" y="42"/>
                  </a:lnTo>
                  <a:lnTo>
                    <a:pt x="84" y="42"/>
                  </a:lnTo>
                  <a:lnTo>
                    <a:pt x="84" y="44"/>
                  </a:lnTo>
                  <a:lnTo>
                    <a:pt x="86" y="44"/>
                  </a:lnTo>
                  <a:lnTo>
                    <a:pt x="84" y="44"/>
                  </a:lnTo>
                  <a:lnTo>
                    <a:pt x="86" y="44"/>
                  </a:lnTo>
                  <a:lnTo>
                    <a:pt x="86" y="46"/>
                  </a:lnTo>
                  <a:lnTo>
                    <a:pt x="86" y="44"/>
                  </a:lnTo>
                  <a:lnTo>
                    <a:pt x="86" y="46"/>
                  </a:lnTo>
                  <a:lnTo>
                    <a:pt x="84" y="46"/>
                  </a:lnTo>
                  <a:lnTo>
                    <a:pt x="86" y="46"/>
                  </a:lnTo>
                  <a:lnTo>
                    <a:pt x="84" y="46"/>
                  </a:lnTo>
                  <a:lnTo>
                    <a:pt x="86" y="46"/>
                  </a:lnTo>
                  <a:lnTo>
                    <a:pt x="84" y="46"/>
                  </a:lnTo>
                  <a:lnTo>
                    <a:pt x="86" y="46"/>
                  </a:lnTo>
                  <a:lnTo>
                    <a:pt x="84" y="46"/>
                  </a:lnTo>
                  <a:lnTo>
                    <a:pt x="84" y="48"/>
                  </a:lnTo>
                  <a:lnTo>
                    <a:pt x="83" y="48"/>
                  </a:lnTo>
                  <a:lnTo>
                    <a:pt x="84" y="48"/>
                  </a:lnTo>
                  <a:lnTo>
                    <a:pt x="83" y="48"/>
                  </a:lnTo>
                  <a:lnTo>
                    <a:pt x="84" y="48"/>
                  </a:lnTo>
                  <a:lnTo>
                    <a:pt x="84" y="46"/>
                  </a:lnTo>
                  <a:lnTo>
                    <a:pt x="83" y="46"/>
                  </a:lnTo>
                  <a:lnTo>
                    <a:pt x="84" y="46"/>
                  </a:lnTo>
                  <a:lnTo>
                    <a:pt x="83" y="46"/>
                  </a:lnTo>
                  <a:lnTo>
                    <a:pt x="83" y="48"/>
                  </a:lnTo>
                  <a:lnTo>
                    <a:pt x="83" y="46"/>
                  </a:lnTo>
                  <a:lnTo>
                    <a:pt x="83" y="48"/>
                  </a:lnTo>
                  <a:lnTo>
                    <a:pt x="83" y="50"/>
                  </a:lnTo>
                  <a:lnTo>
                    <a:pt x="83" y="52"/>
                  </a:lnTo>
                  <a:lnTo>
                    <a:pt x="83" y="54"/>
                  </a:lnTo>
                  <a:lnTo>
                    <a:pt x="83" y="56"/>
                  </a:lnTo>
                  <a:lnTo>
                    <a:pt x="81" y="56"/>
                  </a:lnTo>
                  <a:lnTo>
                    <a:pt x="83" y="56"/>
                  </a:lnTo>
                  <a:lnTo>
                    <a:pt x="83" y="54"/>
                  </a:lnTo>
                  <a:lnTo>
                    <a:pt x="83" y="56"/>
                  </a:lnTo>
                  <a:lnTo>
                    <a:pt x="83" y="54"/>
                  </a:lnTo>
                  <a:lnTo>
                    <a:pt x="83" y="56"/>
                  </a:lnTo>
                  <a:lnTo>
                    <a:pt x="83" y="58"/>
                  </a:lnTo>
                  <a:lnTo>
                    <a:pt x="84" y="60"/>
                  </a:lnTo>
                  <a:lnTo>
                    <a:pt x="84" y="62"/>
                  </a:lnTo>
                  <a:lnTo>
                    <a:pt x="86" y="62"/>
                  </a:lnTo>
                  <a:lnTo>
                    <a:pt x="86" y="63"/>
                  </a:lnTo>
                  <a:lnTo>
                    <a:pt x="88" y="63"/>
                  </a:lnTo>
                  <a:lnTo>
                    <a:pt x="88" y="65"/>
                  </a:lnTo>
                  <a:lnTo>
                    <a:pt x="90" y="63"/>
                  </a:lnTo>
                  <a:lnTo>
                    <a:pt x="90" y="65"/>
                  </a:lnTo>
                  <a:lnTo>
                    <a:pt x="90" y="63"/>
                  </a:lnTo>
                  <a:lnTo>
                    <a:pt x="90" y="65"/>
                  </a:lnTo>
                  <a:lnTo>
                    <a:pt x="90" y="63"/>
                  </a:lnTo>
                  <a:lnTo>
                    <a:pt x="90" y="65"/>
                  </a:lnTo>
                  <a:lnTo>
                    <a:pt x="92" y="65"/>
                  </a:lnTo>
                  <a:lnTo>
                    <a:pt x="92" y="67"/>
                  </a:lnTo>
                  <a:lnTo>
                    <a:pt x="92" y="65"/>
                  </a:lnTo>
                  <a:lnTo>
                    <a:pt x="92" y="67"/>
                  </a:lnTo>
                  <a:lnTo>
                    <a:pt x="94" y="67"/>
                  </a:lnTo>
                  <a:lnTo>
                    <a:pt x="94" y="69"/>
                  </a:lnTo>
                  <a:lnTo>
                    <a:pt x="96" y="69"/>
                  </a:lnTo>
                  <a:lnTo>
                    <a:pt x="98" y="69"/>
                  </a:lnTo>
                  <a:lnTo>
                    <a:pt x="98" y="71"/>
                  </a:lnTo>
                  <a:lnTo>
                    <a:pt x="100" y="71"/>
                  </a:lnTo>
                  <a:lnTo>
                    <a:pt x="102" y="71"/>
                  </a:lnTo>
                  <a:lnTo>
                    <a:pt x="102" y="73"/>
                  </a:lnTo>
                  <a:lnTo>
                    <a:pt x="102" y="75"/>
                  </a:lnTo>
                  <a:lnTo>
                    <a:pt x="104" y="75"/>
                  </a:lnTo>
                  <a:lnTo>
                    <a:pt x="104" y="77"/>
                  </a:lnTo>
                  <a:lnTo>
                    <a:pt x="104" y="79"/>
                  </a:lnTo>
                  <a:lnTo>
                    <a:pt x="104" y="81"/>
                  </a:lnTo>
                  <a:lnTo>
                    <a:pt x="106" y="81"/>
                  </a:lnTo>
                  <a:lnTo>
                    <a:pt x="106" y="83"/>
                  </a:lnTo>
                  <a:lnTo>
                    <a:pt x="106" y="85"/>
                  </a:lnTo>
                  <a:lnTo>
                    <a:pt x="106" y="87"/>
                  </a:lnTo>
                  <a:lnTo>
                    <a:pt x="108" y="87"/>
                  </a:lnTo>
                  <a:lnTo>
                    <a:pt x="108" y="88"/>
                  </a:lnTo>
                  <a:lnTo>
                    <a:pt x="108" y="90"/>
                  </a:lnTo>
                  <a:lnTo>
                    <a:pt x="108" y="92"/>
                  </a:lnTo>
                  <a:lnTo>
                    <a:pt x="109" y="92"/>
                  </a:lnTo>
                  <a:lnTo>
                    <a:pt x="109" y="94"/>
                  </a:lnTo>
                  <a:lnTo>
                    <a:pt x="111" y="94"/>
                  </a:lnTo>
                  <a:lnTo>
                    <a:pt x="111" y="96"/>
                  </a:lnTo>
                  <a:lnTo>
                    <a:pt x="113" y="96"/>
                  </a:lnTo>
                  <a:lnTo>
                    <a:pt x="113" y="98"/>
                  </a:lnTo>
                  <a:lnTo>
                    <a:pt x="115" y="98"/>
                  </a:lnTo>
                  <a:lnTo>
                    <a:pt x="115" y="100"/>
                  </a:lnTo>
                  <a:lnTo>
                    <a:pt x="117" y="100"/>
                  </a:lnTo>
                  <a:lnTo>
                    <a:pt x="119" y="100"/>
                  </a:lnTo>
                  <a:lnTo>
                    <a:pt x="117" y="100"/>
                  </a:lnTo>
                  <a:lnTo>
                    <a:pt x="119" y="100"/>
                  </a:lnTo>
                  <a:lnTo>
                    <a:pt x="117" y="100"/>
                  </a:lnTo>
                  <a:lnTo>
                    <a:pt x="119" y="100"/>
                  </a:lnTo>
                  <a:lnTo>
                    <a:pt x="119" y="102"/>
                  </a:lnTo>
                  <a:lnTo>
                    <a:pt x="119" y="104"/>
                  </a:lnTo>
                  <a:lnTo>
                    <a:pt x="121" y="104"/>
                  </a:lnTo>
                  <a:lnTo>
                    <a:pt x="123" y="104"/>
                  </a:lnTo>
                  <a:lnTo>
                    <a:pt x="123" y="106"/>
                  </a:lnTo>
                  <a:lnTo>
                    <a:pt x="125" y="106"/>
                  </a:lnTo>
                  <a:lnTo>
                    <a:pt x="127" y="106"/>
                  </a:lnTo>
                  <a:lnTo>
                    <a:pt x="129" y="106"/>
                  </a:lnTo>
                  <a:lnTo>
                    <a:pt x="131" y="106"/>
                  </a:lnTo>
                  <a:lnTo>
                    <a:pt x="132" y="106"/>
                  </a:lnTo>
                  <a:lnTo>
                    <a:pt x="134" y="106"/>
                  </a:lnTo>
                  <a:lnTo>
                    <a:pt x="136" y="106"/>
                  </a:lnTo>
                  <a:lnTo>
                    <a:pt x="138" y="106"/>
                  </a:lnTo>
                  <a:lnTo>
                    <a:pt x="140" y="106"/>
                  </a:lnTo>
                  <a:lnTo>
                    <a:pt x="138" y="106"/>
                  </a:lnTo>
                  <a:lnTo>
                    <a:pt x="140" y="106"/>
                  </a:lnTo>
                  <a:lnTo>
                    <a:pt x="140" y="108"/>
                  </a:lnTo>
                  <a:lnTo>
                    <a:pt x="140" y="110"/>
                  </a:lnTo>
                  <a:lnTo>
                    <a:pt x="138" y="110"/>
                  </a:lnTo>
                  <a:lnTo>
                    <a:pt x="140" y="110"/>
                  </a:lnTo>
                  <a:lnTo>
                    <a:pt x="138" y="110"/>
                  </a:lnTo>
                  <a:lnTo>
                    <a:pt x="136" y="110"/>
                  </a:lnTo>
                  <a:lnTo>
                    <a:pt x="136" y="111"/>
                  </a:lnTo>
                  <a:lnTo>
                    <a:pt x="136" y="113"/>
                  </a:lnTo>
                  <a:lnTo>
                    <a:pt x="136" y="115"/>
                  </a:lnTo>
                  <a:lnTo>
                    <a:pt x="138" y="115"/>
                  </a:lnTo>
                  <a:lnTo>
                    <a:pt x="140" y="115"/>
                  </a:lnTo>
                  <a:lnTo>
                    <a:pt x="140" y="117"/>
                  </a:lnTo>
                  <a:lnTo>
                    <a:pt x="142" y="117"/>
                  </a:lnTo>
                  <a:lnTo>
                    <a:pt x="140" y="117"/>
                  </a:lnTo>
                  <a:lnTo>
                    <a:pt x="142" y="117"/>
                  </a:lnTo>
                  <a:lnTo>
                    <a:pt x="140" y="117"/>
                  </a:lnTo>
                  <a:lnTo>
                    <a:pt x="142" y="117"/>
                  </a:lnTo>
                  <a:lnTo>
                    <a:pt x="144" y="117"/>
                  </a:lnTo>
                  <a:lnTo>
                    <a:pt x="144" y="119"/>
                  </a:lnTo>
                  <a:lnTo>
                    <a:pt x="146" y="119"/>
                  </a:lnTo>
                  <a:lnTo>
                    <a:pt x="148" y="119"/>
                  </a:lnTo>
                  <a:lnTo>
                    <a:pt x="148" y="121"/>
                  </a:lnTo>
                  <a:lnTo>
                    <a:pt x="150" y="121"/>
                  </a:lnTo>
                  <a:lnTo>
                    <a:pt x="152" y="121"/>
                  </a:lnTo>
                  <a:lnTo>
                    <a:pt x="154" y="121"/>
                  </a:lnTo>
                  <a:lnTo>
                    <a:pt x="154" y="123"/>
                  </a:lnTo>
                  <a:lnTo>
                    <a:pt x="156" y="123"/>
                  </a:lnTo>
                  <a:lnTo>
                    <a:pt x="154" y="123"/>
                  </a:lnTo>
                  <a:lnTo>
                    <a:pt x="156" y="123"/>
                  </a:lnTo>
                  <a:lnTo>
                    <a:pt x="156" y="125"/>
                  </a:lnTo>
                  <a:lnTo>
                    <a:pt x="157" y="125"/>
                  </a:lnTo>
                  <a:lnTo>
                    <a:pt x="157" y="127"/>
                  </a:lnTo>
                  <a:lnTo>
                    <a:pt x="159" y="127"/>
                  </a:lnTo>
                  <a:lnTo>
                    <a:pt x="161" y="127"/>
                  </a:lnTo>
                  <a:lnTo>
                    <a:pt x="161" y="129"/>
                  </a:lnTo>
                  <a:lnTo>
                    <a:pt x="161" y="127"/>
                  </a:lnTo>
                  <a:lnTo>
                    <a:pt x="161" y="129"/>
                  </a:lnTo>
                  <a:lnTo>
                    <a:pt x="161" y="127"/>
                  </a:lnTo>
                  <a:lnTo>
                    <a:pt x="161" y="129"/>
                  </a:lnTo>
                  <a:lnTo>
                    <a:pt x="163" y="129"/>
                  </a:lnTo>
                  <a:lnTo>
                    <a:pt x="165" y="129"/>
                  </a:lnTo>
                  <a:lnTo>
                    <a:pt x="165" y="131"/>
                  </a:lnTo>
                  <a:lnTo>
                    <a:pt x="167" y="131"/>
                  </a:lnTo>
                  <a:lnTo>
                    <a:pt x="165" y="131"/>
                  </a:lnTo>
                  <a:lnTo>
                    <a:pt x="167" y="131"/>
                  </a:lnTo>
                  <a:lnTo>
                    <a:pt x="167" y="133"/>
                  </a:lnTo>
                  <a:lnTo>
                    <a:pt x="169" y="133"/>
                  </a:lnTo>
                  <a:lnTo>
                    <a:pt x="167" y="133"/>
                  </a:lnTo>
                  <a:lnTo>
                    <a:pt x="169" y="133"/>
                  </a:lnTo>
                  <a:lnTo>
                    <a:pt x="169" y="135"/>
                  </a:lnTo>
                  <a:lnTo>
                    <a:pt x="171" y="135"/>
                  </a:lnTo>
                  <a:lnTo>
                    <a:pt x="171" y="136"/>
                  </a:lnTo>
                  <a:lnTo>
                    <a:pt x="173" y="136"/>
                  </a:lnTo>
                  <a:lnTo>
                    <a:pt x="173" y="138"/>
                  </a:lnTo>
                  <a:lnTo>
                    <a:pt x="173" y="140"/>
                  </a:lnTo>
                  <a:lnTo>
                    <a:pt x="175" y="140"/>
                  </a:lnTo>
                  <a:lnTo>
                    <a:pt x="173" y="140"/>
                  </a:lnTo>
                  <a:lnTo>
                    <a:pt x="175" y="140"/>
                  </a:lnTo>
                  <a:lnTo>
                    <a:pt x="173" y="140"/>
                  </a:lnTo>
                  <a:lnTo>
                    <a:pt x="173" y="142"/>
                  </a:lnTo>
                  <a:lnTo>
                    <a:pt x="173" y="144"/>
                  </a:lnTo>
                  <a:lnTo>
                    <a:pt x="173" y="146"/>
                  </a:lnTo>
                  <a:lnTo>
                    <a:pt x="171" y="146"/>
                  </a:lnTo>
                  <a:lnTo>
                    <a:pt x="173" y="146"/>
                  </a:lnTo>
                  <a:lnTo>
                    <a:pt x="171" y="146"/>
                  </a:lnTo>
                  <a:lnTo>
                    <a:pt x="173" y="146"/>
                  </a:lnTo>
                  <a:lnTo>
                    <a:pt x="171" y="146"/>
                  </a:lnTo>
                  <a:lnTo>
                    <a:pt x="173" y="146"/>
                  </a:lnTo>
                  <a:lnTo>
                    <a:pt x="171" y="146"/>
                  </a:lnTo>
                  <a:lnTo>
                    <a:pt x="169" y="146"/>
                  </a:lnTo>
                  <a:lnTo>
                    <a:pt x="169" y="144"/>
                  </a:lnTo>
                  <a:lnTo>
                    <a:pt x="167" y="144"/>
                  </a:lnTo>
                  <a:lnTo>
                    <a:pt x="167" y="142"/>
                  </a:lnTo>
                  <a:lnTo>
                    <a:pt x="165" y="142"/>
                  </a:lnTo>
                  <a:lnTo>
                    <a:pt x="167" y="142"/>
                  </a:lnTo>
                  <a:lnTo>
                    <a:pt x="167" y="140"/>
                  </a:lnTo>
                  <a:lnTo>
                    <a:pt x="165" y="140"/>
                  </a:lnTo>
                  <a:lnTo>
                    <a:pt x="165" y="138"/>
                  </a:lnTo>
                  <a:lnTo>
                    <a:pt x="165" y="136"/>
                  </a:lnTo>
                  <a:lnTo>
                    <a:pt x="165" y="138"/>
                  </a:lnTo>
                  <a:lnTo>
                    <a:pt x="165" y="136"/>
                  </a:lnTo>
                  <a:lnTo>
                    <a:pt x="165" y="138"/>
                  </a:lnTo>
                  <a:lnTo>
                    <a:pt x="165" y="136"/>
                  </a:lnTo>
                  <a:lnTo>
                    <a:pt x="165" y="138"/>
                  </a:lnTo>
                  <a:lnTo>
                    <a:pt x="165" y="136"/>
                  </a:lnTo>
                  <a:lnTo>
                    <a:pt x="163" y="136"/>
                  </a:lnTo>
                  <a:lnTo>
                    <a:pt x="161" y="136"/>
                  </a:lnTo>
                  <a:lnTo>
                    <a:pt x="159" y="136"/>
                  </a:lnTo>
                  <a:lnTo>
                    <a:pt x="157" y="136"/>
                  </a:lnTo>
                  <a:lnTo>
                    <a:pt x="156" y="136"/>
                  </a:lnTo>
                  <a:lnTo>
                    <a:pt x="156" y="135"/>
                  </a:lnTo>
                  <a:lnTo>
                    <a:pt x="154" y="135"/>
                  </a:lnTo>
                  <a:lnTo>
                    <a:pt x="156" y="135"/>
                  </a:lnTo>
                  <a:lnTo>
                    <a:pt x="156" y="133"/>
                  </a:lnTo>
                  <a:lnTo>
                    <a:pt x="156" y="135"/>
                  </a:lnTo>
                  <a:lnTo>
                    <a:pt x="156" y="133"/>
                  </a:lnTo>
                  <a:lnTo>
                    <a:pt x="156" y="135"/>
                  </a:lnTo>
                  <a:lnTo>
                    <a:pt x="156" y="133"/>
                  </a:lnTo>
                  <a:lnTo>
                    <a:pt x="154" y="133"/>
                  </a:lnTo>
                  <a:lnTo>
                    <a:pt x="156" y="133"/>
                  </a:lnTo>
                  <a:lnTo>
                    <a:pt x="154" y="133"/>
                  </a:lnTo>
                  <a:lnTo>
                    <a:pt x="152" y="133"/>
                  </a:lnTo>
                  <a:lnTo>
                    <a:pt x="152" y="135"/>
                  </a:lnTo>
                  <a:lnTo>
                    <a:pt x="150" y="135"/>
                  </a:lnTo>
                  <a:lnTo>
                    <a:pt x="150" y="136"/>
                  </a:lnTo>
                  <a:lnTo>
                    <a:pt x="148" y="136"/>
                  </a:lnTo>
                  <a:lnTo>
                    <a:pt x="148" y="138"/>
                  </a:lnTo>
                  <a:lnTo>
                    <a:pt x="148" y="140"/>
                  </a:lnTo>
                  <a:lnTo>
                    <a:pt x="146" y="140"/>
                  </a:lnTo>
                  <a:lnTo>
                    <a:pt x="146" y="142"/>
                  </a:lnTo>
                  <a:lnTo>
                    <a:pt x="146" y="144"/>
                  </a:lnTo>
                  <a:lnTo>
                    <a:pt x="144" y="144"/>
                  </a:lnTo>
                  <a:lnTo>
                    <a:pt x="144" y="146"/>
                  </a:lnTo>
                  <a:lnTo>
                    <a:pt x="144" y="148"/>
                  </a:lnTo>
                  <a:lnTo>
                    <a:pt x="144" y="150"/>
                  </a:lnTo>
                  <a:lnTo>
                    <a:pt x="144" y="148"/>
                  </a:lnTo>
                  <a:lnTo>
                    <a:pt x="144" y="150"/>
                  </a:lnTo>
                  <a:lnTo>
                    <a:pt x="146" y="150"/>
                  </a:lnTo>
                  <a:lnTo>
                    <a:pt x="148" y="150"/>
                  </a:lnTo>
                  <a:lnTo>
                    <a:pt x="150" y="150"/>
                  </a:lnTo>
                  <a:lnTo>
                    <a:pt x="150" y="152"/>
                  </a:lnTo>
                  <a:lnTo>
                    <a:pt x="152" y="152"/>
                  </a:lnTo>
                  <a:lnTo>
                    <a:pt x="150" y="152"/>
                  </a:lnTo>
                  <a:lnTo>
                    <a:pt x="152" y="152"/>
                  </a:lnTo>
                  <a:lnTo>
                    <a:pt x="152" y="154"/>
                  </a:lnTo>
                  <a:lnTo>
                    <a:pt x="154" y="154"/>
                  </a:lnTo>
                  <a:lnTo>
                    <a:pt x="154" y="156"/>
                  </a:lnTo>
                  <a:lnTo>
                    <a:pt x="154" y="158"/>
                  </a:lnTo>
                  <a:lnTo>
                    <a:pt x="154" y="160"/>
                  </a:lnTo>
                  <a:lnTo>
                    <a:pt x="154" y="161"/>
                  </a:lnTo>
                  <a:lnTo>
                    <a:pt x="156" y="161"/>
                  </a:lnTo>
                  <a:lnTo>
                    <a:pt x="154" y="161"/>
                  </a:lnTo>
                  <a:lnTo>
                    <a:pt x="154" y="163"/>
                  </a:lnTo>
                  <a:lnTo>
                    <a:pt x="152" y="163"/>
                  </a:lnTo>
                  <a:lnTo>
                    <a:pt x="150" y="163"/>
                  </a:lnTo>
                  <a:lnTo>
                    <a:pt x="148" y="163"/>
                  </a:lnTo>
                  <a:lnTo>
                    <a:pt x="148" y="165"/>
                  </a:lnTo>
                  <a:lnTo>
                    <a:pt x="146" y="165"/>
                  </a:lnTo>
                  <a:lnTo>
                    <a:pt x="146" y="167"/>
                  </a:lnTo>
                  <a:lnTo>
                    <a:pt x="146" y="165"/>
                  </a:lnTo>
                  <a:lnTo>
                    <a:pt x="146" y="167"/>
                  </a:lnTo>
                  <a:lnTo>
                    <a:pt x="144" y="167"/>
                  </a:lnTo>
                  <a:lnTo>
                    <a:pt x="146" y="167"/>
                  </a:lnTo>
                  <a:lnTo>
                    <a:pt x="146" y="169"/>
                  </a:lnTo>
                  <a:lnTo>
                    <a:pt x="146" y="171"/>
                  </a:lnTo>
                  <a:lnTo>
                    <a:pt x="146" y="173"/>
                  </a:lnTo>
                  <a:lnTo>
                    <a:pt x="144" y="173"/>
                  </a:lnTo>
                  <a:lnTo>
                    <a:pt x="144" y="175"/>
                  </a:lnTo>
                  <a:lnTo>
                    <a:pt x="142" y="175"/>
                  </a:lnTo>
                  <a:lnTo>
                    <a:pt x="140" y="175"/>
                  </a:lnTo>
                  <a:lnTo>
                    <a:pt x="140" y="177"/>
                  </a:lnTo>
                  <a:lnTo>
                    <a:pt x="140" y="179"/>
                  </a:lnTo>
                  <a:lnTo>
                    <a:pt x="138" y="179"/>
                  </a:lnTo>
                  <a:lnTo>
                    <a:pt x="138" y="181"/>
                  </a:lnTo>
                  <a:lnTo>
                    <a:pt x="138" y="183"/>
                  </a:lnTo>
                  <a:lnTo>
                    <a:pt x="136" y="183"/>
                  </a:lnTo>
                  <a:lnTo>
                    <a:pt x="134" y="183"/>
                  </a:lnTo>
                  <a:lnTo>
                    <a:pt x="132" y="183"/>
                  </a:lnTo>
                  <a:lnTo>
                    <a:pt x="132" y="181"/>
                  </a:lnTo>
                  <a:lnTo>
                    <a:pt x="132" y="179"/>
                  </a:lnTo>
                  <a:lnTo>
                    <a:pt x="132" y="177"/>
                  </a:lnTo>
                  <a:lnTo>
                    <a:pt x="131" y="177"/>
                  </a:lnTo>
                  <a:lnTo>
                    <a:pt x="132" y="177"/>
                  </a:lnTo>
                  <a:lnTo>
                    <a:pt x="132" y="175"/>
                  </a:lnTo>
                  <a:lnTo>
                    <a:pt x="134" y="175"/>
                  </a:lnTo>
                  <a:lnTo>
                    <a:pt x="134" y="173"/>
                  </a:lnTo>
                  <a:lnTo>
                    <a:pt x="136" y="173"/>
                  </a:lnTo>
                  <a:lnTo>
                    <a:pt x="136" y="171"/>
                  </a:lnTo>
                  <a:lnTo>
                    <a:pt x="134" y="173"/>
                  </a:lnTo>
                  <a:lnTo>
                    <a:pt x="134" y="171"/>
                  </a:lnTo>
                  <a:lnTo>
                    <a:pt x="136" y="171"/>
                  </a:lnTo>
                  <a:lnTo>
                    <a:pt x="136" y="169"/>
                  </a:lnTo>
                  <a:lnTo>
                    <a:pt x="134" y="169"/>
                  </a:lnTo>
                  <a:lnTo>
                    <a:pt x="134" y="167"/>
                  </a:lnTo>
                  <a:lnTo>
                    <a:pt x="136" y="167"/>
                  </a:lnTo>
                  <a:lnTo>
                    <a:pt x="138" y="167"/>
                  </a:lnTo>
                  <a:lnTo>
                    <a:pt x="140" y="167"/>
                  </a:lnTo>
                  <a:lnTo>
                    <a:pt x="140" y="165"/>
                  </a:lnTo>
                  <a:lnTo>
                    <a:pt x="140" y="163"/>
                  </a:lnTo>
                  <a:lnTo>
                    <a:pt x="138" y="163"/>
                  </a:lnTo>
                  <a:lnTo>
                    <a:pt x="138" y="161"/>
                  </a:lnTo>
                  <a:lnTo>
                    <a:pt x="138" y="160"/>
                  </a:lnTo>
                  <a:lnTo>
                    <a:pt x="138" y="158"/>
                  </a:lnTo>
                  <a:lnTo>
                    <a:pt x="138" y="156"/>
                  </a:lnTo>
                  <a:lnTo>
                    <a:pt x="138" y="154"/>
                  </a:lnTo>
                  <a:lnTo>
                    <a:pt x="136" y="154"/>
                  </a:lnTo>
                  <a:lnTo>
                    <a:pt x="136" y="152"/>
                  </a:lnTo>
                  <a:lnTo>
                    <a:pt x="134" y="152"/>
                  </a:lnTo>
                  <a:lnTo>
                    <a:pt x="134" y="150"/>
                  </a:lnTo>
                  <a:lnTo>
                    <a:pt x="134" y="148"/>
                  </a:lnTo>
                  <a:lnTo>
                    <a:pt x="134" y="146"/>
                  </a:lnTo>
                  <a:lnTo>
                    <a:pt x="134" y="144"/>
                  </a:lnTo>
                  <a:lnTo>
                    <a:pt x="132" y="144"/>
                  </a:lnTo>
                  <a:lnTo>
                    <a:pt x="132" y="142"/>
                  </a:lnTo>
                  <a:lnTo>
                    <a:pt x="131" y="142"/>
                  </a:lnTo>
                  <a:lnTo>
                    <a:pt x="132" y="142"/>
                  </a:lnTo>
                  <a:lnTo>
                    <a:pt x="131" y="142"/>
                  </a:lnTo>
                  <a:lnTo>
                    <a:pt x="132" y="142"/>
                  </a:lnTo>
                  <a:lnTo>
                    <a:pt x="132" y="140"/>
                  </a:lnTo>
                  <a:lnTo>
                    <a:pt x="131" y="140"/>
                  </a:lnTo>
                  <a:lnTo>
                    <a:pt x="131" y="142"/>
                  </a:lnTo>
                  <a:lnTo>
                    <a:pt x="131" y="140"/>
                  </a:lnTo>
                  <a:lnTo>
                    <a:pt x="131" y="142"/>
                  </a:lnTo>
                  <a:lnTo>
                    <a:pt x="131" y="140"/>
                  </a:lnTo>
                  <a:lnTo>
                    <a:pt x="131" y="142"/>
                  </a:lnTo>
                  <a:lnTo>
                    <a:pt x="131" y="140"/>
                  </a:lnTo>
                  <a:lnTo>
                    <a:pt x="131" y="142"/>
                  </a:lnTo>
                  <a:lnTo>
                    <a:pt x="129" y="142"/>
                  </a:lnTo>
                  <a:lnTo>
                    <a:pt x="127" y="142"/>
                  </a:lnTo>
                  <a:lnTo>
                    <a:pt x="127" y="140"/>
                  </a:lnTo>
                  <a:lnTo>
                    <a:pt x="125" y="140"/>
                  </a:lnTo>
                  <a:lnTo>
                    <a:pt x="125" y="138"/>
                  </a:lnTo>
                  <a:lnTo>
                    <a:pt x="123" y="138"/>
                  </a:lnTo>
                  <a:lnTo>
                    <a:pt x="123" y="140"/>
                  </a:lnTo>
                  <a:lnTo>
                    <a:pt x="123" y="138"/>
                  </a:lnTo>
                  <a:lnTo>
                    <a:pt x="121" y="138"/>
                  </a:lnTo>
                  <a:lnTo>
                    <a:pt x="121" y="136"/>
                  </a:lnTo>
                  <a:lnTo>
                    <a:pt x="123" y="136"/>
                  </a:lnTo>
                  <a:lnTo>
                    <a:pt x="123" y="135"/>
                  </a:lnTo>
                  <a:lnTo>
                    <a:pt x="121" y="135"/>
                  </a:lnTo>
                  <a:lnTo>
                    <a:pt x="121" y="133"/>
                  </a:lnTo>
                  <a:lnTo>
                    <a:pt x="121" y="131"/>
                  </a:lnTo>
                  <a:lnTo>
                    <a:pt x="119" y="131"/>
                  </a:lnTo>
                  <a:lnTo>
                    <a:pt x="119" y="129"/>
                  </a:lnTo>
                  <a:lnTo>
                    <a:pt x="119" y="131"/>
                  </a:lnTo>
                  <a:lnTo>
                    <a:pt x="119" y="129"/>
                  </a:lnTo>
                  <a:lnTo>
                    <a:pt x="119" y="131"/>
                  </a:lnTo>
                  <a:lnTo>
                    <a:pt x="117" y="131"/>
                  </a:lnTo>
                  <a:lnTo>
                    <a:pt x="115" y="131"/>
                  </a:lnTo>
                  <a:lnTo>
                    <a:pt x="113" y="131"/>
                  </a:lnTo>
                  <a:lnTo>
                    <a:pt x="113" y="133"/>
                  </a:lnTo>
                  <a:lnTo>
                    <a:pt x="113" y="131"/>
                  </a:lnTo>
                  <a:lnTo>
                    <a:pt x="113" y="133"/>
                  </a:lnTo>
                  <a:lnTo>
                    <a:pt x="113" y="131"/>
                  </a:lnTo>
                  <a:lnTo>
                    <a:pt x="113" y="129"/>
                  </a:lnTo>
                  <a:lnTo>
                    <a:pt x="115" y="129"/>
                  </a:lnTo>
                  <a:lnTo>
                    <a:pt x="113" y="129"/>
                  </a:lnTo>
                  <a:lnTo>
                    <a:pt x="115" y="129"/>
                  </a:lnTo>
                  <a:lnTo>
                    <a:pt x="113" y="129"/>
                  </a:lnTo>
                  <a:lnTo>
                    <a:pt x="115" y="129"/>
                  </a:lnTo>
                  <a:lnTo>
                    <a:pt x="113" y="129"/>
                  </a:lnTo>
                  <a:lnTo>
                    <a:pt x="113" y="127"/>
                  </a:lnTo>
                  <a:lnTo>
                    <a:pt x="111" y="127"/>
                  </a:lnTo>
                  <a:lnTo>
                    <a:pt x="109" y="127"/>
                  </a:lnTo>
                  <a:lnTo>
                    <a:pt x="108" y="127"/>
                  </a:lnTo>
                  <a:lnTo>
                    <a:pt x="108" y="125"/>
                  </a:lnTo>
                  <a:lnTo>
                    <a:pt x="108" y="123"/>
                  </a:lnTo>
                  <a:lnTo>
                    <a:pt x="106" y="123"/>
                  </a:lnTo>
                  <a:lnTo>
                    <a:pt x="106" y="121"/>
                  </a:lnTo>
                  <a:lnTo>
                    <a:pt x="106" y="119"/>
                  </a:lnTo>
                  <a:lnTo>
                    <a:pt x="104" y="119"/>
                  </a:lnTo>
                  <a:lnTo>
                    <a:pt x="102" y="119"/>
                  </a:lnTo>
                  <a:lnTo>
                    <a:pt x="100" y="119"/>
                  </a:lnTo>
                  <a:lnTo>
                    <a:pt x="100" y="117"/>
                  </a:lnTo>
                  <a:lnTo>
                    <a:pt x="98" y="117"/>
                  </a:lnTo>
                  <a:lnTo>
                    <a:pt x="96" y="117"/>
                  </a:lnTo>
                  <a:lnTo>
                    <a:pt x="96" y="119"/>
                  </a:lnTo>
                  <a:lnTo>
                    <a:pt x="94" y="119"/>
                  </a:lnTo>
                  <a:lnTo>
                    <a:pt x="94" y="117"/>
                  </a:lnTo>
                  <a:lnTo>
                    <a:pt x="92" y="117"/>
                  </a:lnTo>
                  <a:lnTo>
                    <a:pt x="92" y="115"/>
                  </a:lnTo>
                  <a:lnTo>
                    <a:pt x="90" y="115"/>
                  </a:lnTo>
                  <a:lnTo>
                    <a:pt x="88" y="115"/>
                  </a:lnTo>
                  <a:lnTo>
                    <a:pt x="86" y="113"/>
                  </a:lnTo>
                  <a:lnTo>
                    <a:pt x="86" y="111"/>
                  </a:lnTo>
                  <a:lnTo>
                    <a:pt x="84" y="111"/>
                  </a:lnTo>
                  <a:lnTo>
                    <a:pt x="84" y="110"/>
                  </a:lnTo>
                  <a:lnTo>
                    <a:pt x="83" y="110"/>
                  </a:lnTo>
                  <a:lnTo>
                    <a:pt x="83" y="108"/>
                  </a:lnTo>
                  <a:lnTo>
                    <a:pt x="81" y="108"/>
                  </a:lnTo>
                  <a:lnTo>
                    <a:pt x="83" y="108"/>
                  </a:lnTo>
                  <a:lnTo>
                    <a:pt x="81" y="108"/>
                  </a:lnTo>
                  <a:lnTo>
                    <a:pt x="81" y="106"/>
                  </a:lnTo>
                  <a:lnTo>
                    <a:pt x="79" y="106"/>
                  </a:lnTo>
                  <a:lnTo>
                    <a:pt x="79" y="104"/>
                  </a:lnTo>
                  <a:lnTo>
                    <a:pt x="77" y="104"/>
                  </a:lnTo>
                  <a:lnTo>
                    <a:pt x="75" y="104"/>
                  </a:lnTo>
                  <a:lnTo>
                    <a:pt x="75" y="102"/>
                  </a:lnTo>
                  <a:lnTo>
                    <a:pt x="75" y="100"/>
                  </a:lnTo>
                  <a:lnTo>
                    <a:pt x="73" y="100"/>
                  </a:lnTo>
                  <a:lnTo>
                    <a:pt x="73" y="98"/>
                  </a:lnTo>
                  <a:lnTo>
                    <a:pt x="71" y="98"/>
                  </a:lnTo>
                  <a:lnTo>
                    <a:pt x="71" y="96"/>
                  </a:lnTo>
                  <a:lnTo>
                    <a:pt x="69" y="96"/>
                  </a:lnTo>
                  <a:lnTo>
                    <a:pt x="67" y="96"/>
                  </a:lnTo>
                  <a:lnTo>
                    <a:pt x="65" y="96"/>
                  </a:lnTo>
                  <a:lnTo>
                    <a:pt x="65" y="94"/>
                  </a:lnTo>
                  <a:lnTo>
                    <a:pt x="65" y="96"/>
                  </a:lnTo>
                  <a:lnTo>
                    <a:pt x="65" y="94"/>
                  </a:lnTo>
                  <a:lnTo>
                    <a:pt x="65" y="96"/>
                  </a:lnTo>
                  <a:lnTo>
                    <a:pt x="65" y="94"/>
                  </a:lnTo>
                  <a:lnTo>
                    <a:pt x="67" y="94"/>
                  </a:lnTo>
                  <a:lnTo>
                    <a:pt x="67" y="92"/>
                  </a:lnTo>
                  <a:lnTo>
                    <a:pt x="65" y="92"/>
                  </a:lnTo>
                  <a:lnTo>
                    <a:pt x="65" y="90"/>
                  </a:lnTo>
                  <a:lnTo>
                    <a:pt x="63" y="90"/>
                  </a:lnTo>
                  <a:lnTo>
                    <a:pt x="63" y="88"/>
                  </a:lnTo>
                  <a:lnTo>
                    <a:pt x="61" y="88"/>
                  </a:lnTo>
                  <a:lnTo>
                    <a:pt x="60" y="88"/>
                  </a:lnTo>
                  <a:lnTo>
                    <a:pt x="60" y="87"/>
                  </a:lnTo>
                  <a:lnTo>
                    <a:pt x="61" y="87"/>
                  </a:lnTo>
                  <a:lnTo>
                    <a:pt x="60" y="87"/>
                  </a:lnTo>
                  <a:lnTo>
                    <a:pt x="61" y="87"/>
                  </a:lnTo>
                  <a:lnTo>
                    <a:pt x="60" y="87"/>
                  </a:lnTo>
                  <a:lnTo>
                    <a:pt x="60" y="85"/>
                  </a:lnTo>
                  <a:lnTo>
                    <a:pt x="58" y="85"/>
                  </a:lnTo>
                  <a:lnTo>
                    <a:pt x="58" y="87"/>
                  </a:lnTo>
                  <a:lnTo>
                    <a:pt x="58" y="85"/>
                  </a:lnTo>
                  <a:lnTo>
                    <a:pt x="58" y="87"/>
                  </a:lnTo>
                  <a:lnTo>
                    <a:pt x="58" y="85"/>
                  </a:lnTo>
                  <a:lnTo>
                    <a:pt x="56" y="85"/>
                  </a:lnTo>
                  <a:lnTo>
                    <a:pt x="58" y="85"/>
                  </a:lnTo>
                  <a:lnTo>
                    <a:pt x="56" y="85"/>
                  </a:lnTo>
                  <a:lnTo>
                    <a:pt x="58" y="85"/>
                  </a:lnTo>
                  <a:lnTo>
                    <a:pt x="56" y="85"/>
                  </a:lnTo>
                  <a:lnTo>
                    <a:pt x="58" y="85"/>
                  </a:lnTo>
                  <a:lnTo>
                    <a:pt x="56" y="85"/>
                  </a:lnTo>
                  <a:lnTo>
                    <a:pt x="58" y="85"/>
                  </a:lnTo>
                  <a:lnTo>
                    <a:pt x="58" y="83"/>
                  </a:lnTo>
                  <a:lnTo>
                    <a:pt x="58" y="81"/>
                  </a:lnTo>
                  <a:lnTo>
                    <a:pt x="58" y="79"/>
                  </a:lnTo>
                  <a:lnTo>
                    <a:pt x="56" y="79"/>
                  </a:lnTo>
                  <a:lnTo>
                    <a:pt x="56" y="77"/>
                  </a:lnTo>
                  <a:lnTo>
                    <a:pt x="56" y="75"/>
                  </a:lnTo>
                  <a:lnTo>
                    <a:pt x="54" y="75"/>
                  </a:lnTo>
                  <a:lnTo>
                    <a:pt x="54" y="73"/>
                  </a:lnTo>
                  <a:lnTo>
                    <a:pt x="54" y="71"/>
                  </a:lnTo>
                  <a:lnTo>
                    <a:pt x="54" y="69"/>
                  </a:lnTo>
                  <a:lnTo>
                    <a:pt x="54" y="67"/>
                  </a:lnTo>
                  <a:lnTo>
                    <a:pt x="52" y="67"/>
                  </a:lnTo>
                  <a:lnTo>
                    <a:pt x="52" y="65"/>
                  </a:lnTo>
                  <a:lnTo>
                    <a:pt x="52" y="63"/>
                  </a:lnTo>
                  <a:lnTo>
                    <a:pt x="50" y="63"/>
                  </a:lnTo>
                  <a:lnTo>
                    <a:pt x="48" y="63"/>
                  </a:lnTo>
                  <a:lnTo>
                    <a:pt x="48" y="62"/>
                  </a:lnTo>
                  <a:lnTo>
                    <a:pt x="48" y="63"/>
                  </a:lnTo>
                  <a:lnTo>
                    <a:pt x="48" y="62"/>
                  </a:lnTo>
                  <a:lnTo>
                    <a:pt x="48" y="63"/>
                  </a:lnTo>
                  <a:lnTo>
                    <a:pt x="48" y="62"/>
                  </a:lnTo>
                  <a:lnTo>
                    <a:pt x="46" y="62"/>
                  </a:lnTo>
                  <a:lnTo>
                    <a:pt x="48" y="62"/>
                  </a:lnTo>
                  <a:lnTo>
                    <a:pt x="46" y="62"/>
                  </a:lnTo>
                  <a:lnTo>
                    <a:pt x="46" y="63"/>
                  </a:lnTo>
                  <a:lnTo>
                    <a:pt x="46" y="62"/>
                  </a:lnTo>
                  <a:lnTo>
                    <a:pt x="44" y="62"/>
                  </a:lnTo>
                  <a:lnTo>
                    <a:pt x="44" y="60"/>
                  </a:lnTo>
                  <a:lnTo>
                    <a:pt x="42" y="60"/>
                  </a:lnTo>
                  <a:lnTo>
                    <a:pt x="40" y="60"/>
                  </a:lnTo>
                  <a:lnTo>
                    <a:pt x="40" y="58"/>
                  </a:lnTo>
                  <a:lnTo>
                    <a:pt x="38" y="58"/>
                  </a:lnTo>
                  <a:lnTo>
                    <a:pt x="38" y="56"/>
                  </a:lnTo>
                  <a:lnTo>
                    <a:pt x="38" y="58"/>
                  </a:lnTo>
                  <a:lnTo>
                    <a:pt x="37" y="58"/>
                  </a:lnTo>
                  <a:lnTo>
                    <a:pt x="37" y="56"/>
                  </a:lnTo>
                  <a:lnTo>
                    <a:pt x="35" y="56"/>
                  </a:lnTo>
                  <a:lnTo>
                    <a:pt x="33" y="56"/>
                  </a:lnTo>
                  <a:lnTo>
                    <a:pt x="35" y="56"/>
                  </a:lnTo>
                  <a:lnTo>
                    <a:pt x="33" y="56"/>
                  </a:lnTo>
                  <a:lnTo>
                    <a:pt x="35" y="56"/>
                  </a:lnTo>
                  <a:lnTo>
                    <a:pt x="33" y="56"/>
                  </a:lnTo>
                  <a:lnTo>
                    <a:pt x="31" y="56"/>
                  </a:lnTo>
                  <a:lnTo>
                    <a:pt x="29" y="56"/>
                  </a:lnTo>
                  <a:lnTo>
                    <a:pt x="29" y="58"/>
                  </a:lnTo>
                  <a:lnTo>
                    <a:pt x="27" y="58"/>
                  </a:lnTo>
                  <a:lnTo>
                    <a:pt x="27" y="60"/>
                  </a:lnTo>
                  <a:lnTo>
                    <a:pt x="25" y="60"/>
                  </a:lnTo>
                  <a:lnTo>
                    <a:pt x="25" y="62"/>
                  </a:lnTo>
                  <a:lnTo>
                    <a:pt x="23" y="62"/>
                  </a:lnTo>
                  <a:lnTo>
                    <a:pt x="23" y="63"/>
                  </a:lnTo>
                  <a:lnTo>
                    <a:pt x="23" y="65"/>
                  </a:lnTo>
                  <a:lnTo>
                    <a:pt x="21" y="65"/>
                  </a:lnTo>
                  <a:lnTo>
                    <a:pt x="19" y="65"/>
                  </a:lnTo>
                  <a:lnTo>
                    <a:pt x="19" y="67"/>
                  </a:lnTo>
                  <a:lnTo>
                    <a:pt x="21" y="67"/>
                  </a:lnTo>
                  <a:lnTo>
                    <a:pt x="19" y="67"/>
                  </a:lnTo>
                  <a:lnTo>
                    <a:pt x="17" y="67"/>
                  </a:lnTo>
                  <a:lnTo>
                    <a:pt x="15" y="67"/>
                  </a:lnTo>
                  <a:lnTo>
                    <a:pt x="15" y="69"/>
                  </a:lnTo>
                  <a:lnTo>
                    <a:pt x="15" y="67"/>
                  </a:lnTo>
                  <a:lnTo>
                    <a:pt x="15" y="69"/>
                  </a:lnTo>
                  <a:lnTo>
                    <a:pt x="15" y="67"/>
                  </a:lnTo>
                  <a:lnTo>
                    <a:pt x="15" y="69"/>
                  </a:lnTo>
                  <a:lnTo>
                    <a:pt x="15" y="67"/>
                  </a:lnTo>
                  <a:lnTo>
                    <a:pt x="13" y="67"/>
                  </a:lnTo>
                  <a:lnTo>
                    <a:pt x="13" y="65"/>
                  </a:lnTo>
                  <a:lnTo>
                    <a:pt x="15" y="65"/>
                  </a:lnTo>
                  <a:lnTo>
                    <a:pt x="15" y="63"/>
                  </a:lnTo>
                  <a:lnTo>
                    <a:pt x="15" y="62"/>
                  </a:lnTo>
                  <a:lnTo>
                    <a:pt x="15" y="60"/>
                  </a:lnTo>
                  <a:lnTo>
                    <a:pt x="15" y="62"/>
                  </a:lnTo>
                  <a:lnTo>
                    <a:pt x="13" y="62"/>
                  </a:lnTo>
                  <a:lnTo>
                    <a:pt x="12" y="62"/>
                  </a:lnTo>
                  <a:lnTo>
                    <a:pt x="10" y="62"/>
                  </a:lnTo>
                  <a:lnTo>
                    <a:pt x="10" y="60"/>
                  </a:lnTo>
                  <a:lnTo>
                    <a:pt x="8" y="60"/>
                  </a:lnTo>
                  <a:lnTo>
                    <a:pt x="6" y="60"/>
                  </a:lnTo>
                  <a:lnTo>
                    <a:pt x="6" y="58"/>
                  </a:lnTo>
                  <a:lnTo>
                    <a:pt x="4" y="58"/>
                  </a:lnTo>
                  <a:lnTo>
                    <a:pt x="4" y="56"/>
                  </a:lnTo>
                  <a:lnTo>
                    <a:pt x="4" y="54"/>
                  </a:lnTo>
                  <a:lnTo>
                    <a:pt x="4" y="52"/>
                  </a:lnTo>
                  <a:lnTo>
                    <a:pt x="4" y="50"/>
                  </a:lnTo>
                  <a:lnTo>
                    <a:pt x="6" y="50"/>
                  </a:lnTo>
                  <a:lnTo>
                    <a:pt x="6" y="48"/>
                  </a:lnTo>
                  <a:lnTo>
                    <a:pt x="6" y="46"/>
                  </a:lnTo>
                  <a:lnTo>
                    <a:pt x="4" y="46"/>
                  </a:lnTo>
                  <a:lnTo>
                    <a:pt x="2" y="46"/>
                  </a:lnTo>
                  <a:lnTo>
                    <a:pt x="2" y="44"/>
                  </a:lnTo>
                  <a:lnTo>
                    <a:pt x="2" y="42"/>
                  </a:lnTo>
                  <a:lnTo>
                    <a:pt x="0" y="42"/>
                  </a:lnTo>
                  <a:lnTo>
                    <a:pt x="0" y="40"/>
                  </a:lnTo>
                  <a:lnTo>
                    <a:pt x="2" y="40"/>
                  </a:lnTo>
                  <a:lnTo>
                    <a:pt x="4" y="40"/>
                  </a:lnTo>
                  <a:lnTo>
                    <a:pt x="4" y="39"/>
                  </a:lnTo>
                  <a:lnTo>
                    <a:pt x="6" y="39"/>
                  </a:lnTo>
                  <a:lnTo>
                    <a:pt x="8" y="39"/>
                  </a:lnTo>
                  <a:lnTo>
                    <a:pt x="8" y="37"/>
                  </a:lnTo>
                  <a:lnTo>
                    <a:pt x="8" y="35"/>
                  </a:lnTo>
                  <a:lnTo>
                    <a:pt x="6" y="35"/>
                  </a:lnTo>
                  <a:lnTo>
                    <a:pt x="6" y="33"/>
                  </a:lnTo>
                  <a:lnTo>
                    <a:pt x="8" y="33"/>
                  </a:lnTo>
                  <a:lnTo>
                    <a:pt x="6" y="33"/>
                  </a:lnTo>
                  <a:lnTo>
                    <a:pt x="6" y="31"/>
                  </a:lnTo>
                  <a:lnTo>
                    <a:pt x="6" y="29"/>
                  </a:lnTo>
                  <a:lnTo>
                    <a:pt x="4" y="29"/>
                  </a:lnTo>
                  <a:lnTo>
                    <a:pt x="2" y="29"/>
                  </a:lnTo>
                  <a:lnTo>
                    <a:pt x="2" y="27"/>
                  </a:lnTo>
                  <a:lnTo>
                    <a:pt x="2" y="25"/>
                  </a:lnTo>
                  <a:lnTo>
                    <a:pt x="4" y="25"/>
                  </a:lnTo>
                  <a:lnTo>
                    <a:pt x="6" y="25"/>
                  </a:lnTo>
                  <a:lnTo>
                    <a:pt x="6" y="23"/>
                  </a:lnTo>
                  <a:lnTo>
                    <a:pt x="6" y="25"/>
                  </a:lnTo>
                  <a:lnTo>
                    <a:pt x="8" y="25"/>
                  </a:lnTo>
                  <a:lnTo>
                    <a:pt x="10" y="25"/>
                  </a:lnTo>
                  <a:lnTo>
                    <a:pt x="10" y="23"/>
                  </a:lnTo>
                  <a:lnTo>
                    <a:pt x="10" y="25"/>
                  </a:lnTo>
                  <a:lnTo>
                    <a:pt x="12" y="25"/>
                  </a:lnTo>
                  <a:lnTo>
                    <a:pt x="12" y="23"/>
                  </a:lnTo>
                  <a:lnTo>
                    <a:pt x="13" y="23"/>
                  </a:lnTo>
                  <a:lnTo>
                    <a:pt x="15" y="23"/>
                  </a:lnTo>
                  <a:lnTo>
                    <a:pt x="17" y="23"/>
                  </a:lnTo>
                  <a:lnTo>
                    <a:pt x="17" y="25"/>
                  </a:lnTo>
                  <a:lnTo>
                    <a:pt x="17" y="23"/>
                  </a:lnTo>
                  <a:lnTo>
                    <a:pt x="17" y="25"/>
                  </a:lnTo>
                  <a:lnTo>
                    <a:pt x="17" y="23"/>
                  </a:lnTo>
                  <a:lnTo>
                    <a:pt x="19" y="23"/>
                  </a:lnTo>
                  <a:lnTo>
                    <a:pt x="19" y="21"/>
                  </a:lnTo>
                  <a:lnTo>
                    <a:pt x="21" y="21"/>
                  </a:lnTo>
                  <a:lnTo>
                    <a:pt x="21" y="19"/>
                  </a:lnTo>
                  <a:lnTo>
                    <a:pt x="23" y="19"/>
                  </a:lnTo>
                  <a:lnTo>
                    <a:pt x="21" y="19"/>
                  </a:lnTo>
                  <a:lnTo>
                    <a:pt x="23" y="19"/>
                  </a:lnTo>
                  <a:lnTo>
                    <a:pt x="23" y="17"/>
                  </a:lnTo>
                  <a:lnTo>
                    <a:pt x="21" y="17"/>
                  </a:lnTo>
                  <a:lnTo>
                    <a:pt x="21" y="15"/>
                  </a:lnTo>
                  <a:lnTo>
                    <a:pt x="23" y="15"/>
                  </a:lnTo>
                  <a:lnTo>
                    <a:pt x="25" y="15"/>
                  </a:lnTo>
                  <a:lnTo>
                    <a:pt x="25" y="14"/>
                  </a:lnTo>
                  <a:lnTo>
                    <a:pt x="27" y="14"/>
                  </a:lnTo>
                  <a:lnTo>
                    <a:pt x="27" y="12"/>
                  </a:lnTo>
                  <a:lnTo>
                    <a:pt x="27" y="14"/>
                  </a:lnTo>
                  <a:lnTo>
                    <a:pt x="27" y="12"/>
                  </a:lnTo>
                  <a:lnTo>
                    <a:pt x="27" y="14"/>
                  </a:lnTo>
                  <a:lnTo>
                    <a:pt x="27" y="15"/>
                  </a:lnTo>
                  <a:lnTo>
                    <a:pt x="27" y="17"/>
                  </a:lnTo>
                  <a:lnTo>
                    <a:pt x="29" y="17"/>
                  </a:lnTo>
                  <a:lnTo>
                    <a:pt x="29" y="19"/>
                  </a:lnTo>
                  <a:lnTo>
                    <a:pt x="31" y="19"/>
                  </a:lnTo>
                  <a:lnTo>
                    <a:pt x="31" y="21"/>
                  </a:lnTo>
                  <a:lnTo>
                    <a:pt x="31" y="19"/>
                  </a:lnTo>
                  <a:lnTo>
                    <a:pt x="31" y="21"/>
                  </a:lnTo>
                  <a:lnTo>
                    <a:pt x="31" y="19"/>
                  </a:lnTo>
                  <a:lnTo>
                    <a:pt x="33" y="21"/>
                  </a:lnTo>
                  <a:lnTo>
                    <a:pt x="31" y="21"/>
                  </a:lnTo>
                  <a:lnTo>
                    <a:pt x="31" y="23"/>
                  </a:lnTo>
                  <a:lnTo>
                    <a:pt x="33" y="23"/>
                  </a:lnTo>
                  <a:lnTo>
                    <a:pt x="33" y="25"/>
                  </a:lnTo>
                  <a:lnTo>
                    <a:pt x="35" y="25"/>
                  </a:lnTo>
                  <a:lnTo>
                    <a:pt x="33" y="25"/>
                  </a:lnTo>
                  <a:lnTo>
                    <a:pt x="35" y="25"/>
                  </a:lnTo>
                  <a:lnTo>
                    <a:pt x="35" y="27"/>
                  </a:lnTo>
                  <a:lnTo>
                    <a:pt x="35" y="25"/>
                  </a:lnTo>
                  <a:lnTo>
                    <a:pt x="37" y="25"/>
                  </a:lnTo>
                  <a:lnTo>
                    <a:pt x="35" y="25"/>
                  </a:lnTo>
                  <a:lnTo>
                    <a:pt x="35" y="23"/>
                  </a:lnTo>
                  <a:lnTo>
                    <a:pt x="35" y="21"/>
                  </a:lnTo>
                  <a:lnTo>
                    <a:pt x="37" y="21"/>
                  </a:lnTo>
                  <a:lnTo>
                    <a:pt x="37" y="19"/>
                  </a:lnTo>
                  <a:lnTo>
                    <a:pt x="37" y="17"/>
                  </a:lnTo>
                  <a:lnTo>
                    <a:pt x="38" y="17"/>
                  </a:lnTo>
                  <a:lnTo>
                    <a:pt x="38" y="15"/>
                  </a:lnTo>
                  <a:lnTo>
                    <a:pt x="38" y="14"/>
                  </a:lnTo>
                  <a:lnTo>
                    <a:pt x="38" y="12"/>
                  </a:lnTo>
                  <a:lnTo>
                    <a:pt x="40" y="12"/>
                  </a:lnTo>
                  <a:lnTo>
                    <a:pt x="42" y="12"/>
                  </a:lnTo>
                  <a:lnTo>
                    <a:pt x="40" y="12"/>
                  </a:lnTo>
                  <a:lnTo>
                    <a:pt x="42" y="12"/>
                  </a:lnTo>
                  <a:lnTo>
                    <a:pt x="40" y="12"/>
                  </a:lnTo>
                  <a:lnTo>
                    <a:pt x="42" y="12"/>
                  </a:lnTo>
                  <a:lnTo>
                    <a:pt x="40" y="12"/>
                  </a:lnTo>
                  <a:lnTo>
                    <a:pt x="40" y="14"/>
                  </a:lnTo>
                  <a:lnTo>
                    <a:pt x="42" y="14"/>
                  </a:lnTo>
                  <a:lnTo>
                    <a:pt x="40" y="14"/>
                  </a:lnTo>
                  <a:lnTo>
                    <a:pt x="42" y="14"/>
                  </a:lnTo>
                  <a:lnTo>
                    <a:pt x="40" y="14"/>
                  </a:lnTo>
                  <a:lnTo>
                    <a:pt x="42" y="14"/>
                  </a:lnTo>
                  <a:lnTo>
                    <a:pt x="42" y="15"/>
                  </a:lnTo>
                  <a:lnTo>
                    <a:pt x="44" y="15"/>
                  </a:lnTo>
                  <a:lnTo>
                    <a:pt x="46" y="15"/>
                  </a:lnTo>
                  <a:lnTo>
                    <a:pt x="44" y="15"/>
                  </a:lnTo>
                  <a:lnTo>
                    <a:pt x="46" y="15"/>
                  </a:lnTo>
                  <a:lnTo>
                    <a:pt x="44" y="15"/>
                  </a:lnTo>
                  <a:lnTo>
                    <a:pt x="46" y="15"/>
                  </a:lnTo>
                  <a:lnTo>
                    <a:pt x="48" y="15"/>
                  </a:lnTo>
                  <a:lnTo>
                    <a:pt x="48" y="14"/>
                  </a:lnTo>
                  <a:lnTo>
                    <a:pt x="48" y="15"/>
                  </a:lnTo>
                  <a:lnTo>
                    <a:pt x="48" y="14"/>
                  </a:lnTo>
                  <a:lnTo>
                    <a:pt x="48" y="15"/>
                  </a:lnTo>
                  <a:lnTo>
                    <a:pt x="48" y="14"/>
                  </a:lnTo>
                  <a:lnTo>
                    <a:pt x="48" y="15"/>
                  </a:lnTo>
                  <a:lnTo>
                    <a:pt x="50" y="15"/>
                  </a:lnTo>
                  <a:lnTo>
                    <a:pt x="48" y="15"/>
                  </a:lnTo>
                  <a:lnTo>
                    <a:pt x="50" y="15"/>
                  </a:lnTo>
                  <a:lnTo>
                    <a:pt x="50" y="17"/>
                  </a:lnTo>
                  <a:lnTo>
                    <a:pt x="52" y="17"/>
                  </a:lnTo>
                  <a:lnTo>
                    <a:pt x="52" y="15"/>
                  </a:lnTo>
                  <a:lnTo>
                    <a:pt x="50" y="15"/>
                  </a:lnTo>
                  <a:lnTo>
                    <a:pt x="52" y="15"/>
                  </a:lnTo>
                  <a:lnTo>
                    <a:pt x="52" y="14"/>
                  </a:lnTo>
                  <a:lnTo>
                    <a:pt x="50" y="14"/>
                  </a:lnTo>
                  <a:lnTo>
                    <a:pt x="50" y="12"/>
                  </a:lnTo>
                  <a:lnTo>
                    <a:pt x="50" y="10"/>
                  </a:lnTo>
                  <a:lnTo>
                    <a:pt x="52" y="10"/>
                  </a:lnTo>
                  <a:lnTo>
                    <a:pt x="54" y="10"/>
                  </a:lnTo>
                  <a:lnTo>
                    <a:pt x="52" y="10"/>
                  </a:lnTo>
                  <a:lnTo>
                    <a:pt x="54" y="10"/>
                  </a:lnTo>
                  <a:lnTo>
                    <a:pt x="54" y="12"/>
                  </a:lnTo>
                  <a:lnTo>
                    <a:pt x="54" y="10"/>
                  </a:lnTo>
                  <a:lnTo>
                    <a:pt x="54" y="12"/>
                  </a:lnTo>
                  <a:lnTo>
                    <a:pt x="54" y="10"/>
                  </a:lnTo>
                  <a:lnTo>
                    <a:pt x="54" y="12"/>
                  </a:lnTo>
                  <a:lnTo>
                    <a:pt x="56" y="12"/>
                  </a:lnTo>
                  <a:lnTo>
                    <a:pt x="56" y="10"/>
                  </a:lnTo>
                  <a:lnTo>
                    <a:pt x="56" y="8"/>
                  </a:lnTo>
                  <a:lnTo>
                    <a:pt x="56" y="6"/>
                  </a:lnTo>
                  <a:lnTo>
                    <a:pt x="56" y="4"/>
                  </a:lnTo>
                  <a:lnTo>
                    <a:pt x="58" y="4"/>
                  </a:lnTo>
                  <a:lnTo>
                    <a:pt x="60" y="4"/>
                  </a:lnTo>
                  <a:lnTo>
                    <a:pt x="60" y="6"/>
                  </a:lnTo>
                  <a:lnTo>
                    <a:pt x="61" y="6"/>
                  </a:lnTo>
                  <a:lnTo>
                    <a:pt x="63" y="6"/>
                  </a:lnTo>
                  <a:lnTo>
                    <a:pt x="65" y="6"/>
                  </a:lnTo>
                  <a:lnTo>
                    <a:pt x="65" y="4"/>
                  </a:lnTo>
                  <a:lnTo>
                    <a:pt x="65" y="2"/>
                  </a:lnTo>
                  <a:lnTo>
                    <a:pt x="67" y="2"/>
                  </a:lnTo>
                  <a:lnTo>
                    <a:pt x="69" y="2"/>
                  </a:lnTo>
                  <a:lnTo>
                    <a:pt x="71" y="2"/>
                  </a:lnTo>
                  <a:lnTo>
                    <a:pt x="71" y="0"/>
                  </a:lnTo>
                  <a:lnTo>
                    <a:pt x="71" y="2"/>
                  </a:lnTo>
                  <a:lnTo>
                    <a:pt x="73" y="2"/>
                  </a:lnTo>
                  <a:lnTo>
                    <a:pt x="73" y="0"/>
                  </a:lnTo>
                  <a:lnTo>
                    <a:pt x="73" y="2"/>
                  </a:lnTo>
                  <a:lnTo>
                    <a:pt x="75" y="2"/>
                  </a:lnTo>
                  <a:lnTo>
                    <a:pt x="77" y="2"/>
                  </a:lnTo>
                  <a:lnTo>
                    <a:pt x="77" y="0"/>
                  </a:lnTo>
                  <a:lnTo>
                    <a:pt x="79" y="0"/>
                  </a:lnTo>
                  <a:lnTo>
                    <a:pt x="81" y="0"/>
                  </a:lnTo>
                  <a:lnTo>
                    <a:pt x="83" y="0"/>
                  </a:lnTo>
                  <a:lnTo>
                    <a:pt x="81" y="0"/>
                  </a:lnTo>
                  <a:lnTo>
                    <a:pt x="81" y="2"/>
                  </a:lnTo>
                  <a:lnTo>
                    <a:pt x="81" y="4"/>
                  </a:lnTo>
                  <a:lnTo>
                    <a:pt x="83" y="4"/>
                  </a:lnTo>
                  <a:lnTo>
                    <a:pt x="83" y="6"/>
                  </a:lnTo>
                  <a:lnTo>
                    <a:pt x="84" y="6"/>
                  </a:lnTo>
                  <a:lnTo>
                    <a:pt x="84" y="8"/>
                  </a:lnTo>
                  <a:lnTo>
                    <a:pt x="86" y="8"/>
                  </a:lnTo>
                  <a:lnTo>
                    <a:pt x="88" y="8"/>
                  </a:lnTo>
                  <a:lnTo>
                    <a:pt x="88" y="10"/>
                  </a:lnTo>
                  <a:lnTo>
                    <a:pt x="90" y="10"/>
                  </a:lnTo>
                  <a:lnTo>
                    <a:pt x="90" y="8"/>
                  </a:lnTo>
                  <a:lnTo>
                    <a:pt x="90" y="10"/>
                  </a:lnTo>
                  <a:lnTo>
                    <a:pt x="92" y="10"/>
                  </a:lnTo>
                  <a:lnTo>
                    <a:pt x="94" y="10"/>
                  </a:lnTo>
                  <a:lnTo>
                    <a:pt x="96" y="10"/>
                  </a:lnTo>
                  <a:lnTo>
                    <a:pt x="96" y="12"/>
                  </a:lnTo>
                  <a:lnTo>
                    <a:pt x="96" y="10"/>
                  </a:lnTo>
                  <a:lnTo>
                    <a:pt x="98" y="10"/>
                  </a:lnTo>
                  <a:lnTo>
                    <a:pt x="98" y="12"/>
                  </a:lnTo>
                  <a:lnTo>
                    <a:pt x="98" y="10"/>
                  </a:lnTo>
                  <a:lnTo>
                    <a:pt x="100" y="10"/>
                  </a:lnTo>
                  <a:lnTo>
                    <a:pt x="100" y="12"/>
                  </a:lnTo>
                  <a:lnTo>
                    <a:pt x="102" y="12"/>
                  </a:lnTo>
                  <a:lnTo>
                    <a:pt x="104" y="12"/>
                  </a:lnTo>
                  <a:close/>
                  <a:moveTo>
                    <a:pt x="84" y="63"/>
                  </a:moveTo>
                  <a:lnTo>
                    <a:pt x="86" y="63"/>
                  </a:lnTo>
                  <a:lnTo>
                    <a:pt x="86" y="65"/>
                  </a:lnTo>
                  <a:lnTo>
                    <a:pt x="84" y="65"/>
                  </a:lnTo>
                  <a:lnTo>
                    <a:pt x="84" y="63"/>
                  </a:lnTo>
                  <a:close/>
                  <a:moveTo>
                    <a:pt x="131" y="175"/>
                  </a:moveTo>
                  <a:lnTo>
                    <a:pt x="132" y="175"/>
                  </a:lnTo>
                  <a:lnTo>
                    <a:pt x="131" y="175"/>
                  </a:lnTo>
                  <a:lnTo>
                    <a:pt x="131" y="177"/>
                  </a:lnTo>
                  <a:lnTo>
                    <a:pt x="131" y="179"/>
                  </a:lnTo>
                  <a:lnTo>
                    <a:pt x="129" y="179"/>
                  </a:lnTo>
                  <a:lnTo>
                    <a:pt x="129" y="181"/>
                  </a:lnTo>
                  <a:lnTo>
                    <a:pt x="127" y="181"/>
                  </a:lnTo>
                  <a:lnTo>
                    <a:pt x="127" y="183"/>
                  </a:lnTo>
                  <a:lnTo>
                    <a:pt x="127" y="184"/>
                  </a:lnTo>
                  <a:lnTo>
                    <a:pt x="127" y="183"/>
                  </a:lnTo>
                  <a:lnTo>
                    <a:pt x="127" y="184"/>
                  </a:lnTo>
                  <a:lnTo>
                    <a:pt x="125" y="184"/>
                  </a:lnTo>
                  <a:lnTo>
                    <a:pt x="125" y="186"/>
                  </a:lnTo>
                  <a:lnTo>
                    <a:pt x="125" y="188"/>
                  </a:lnTo>
                  <a:lnTo>
                    <a:pt x="125" y="190"/>
                  </a:lnTo>
                  <a:lnTo>
                    <a:pt x="123" y="190"/>
                  </a:lnTo>
                  <a:lnTo>
                    <a:pt x="125" y="190"/>
                  </a:lnTo>
                  <a:lnTo>
                    <a:pt x="123" y="190"/>
                  </a:lnTo>
                  <a:lnTo>
                    <a:pt x="123" y="192"/>
                  </a:lnTo>
                  <a:lnTo>
                    <a:pt x="125" y="192"/>
                  </a:lnTo>
                  <a:lnTo>
                    <a:pt x="125" y="194"/>
                  </a:lnTo>
                  <a:lnTo>
                    <a:pt x="127" y="194"/>
                  </a:lnTo>
                  <a:lnTo>
                    <a:pt x="125" y="194"/>
                  </a:lnTo>
                  <a:lnTo>
                    <a:pt x="125" y="196"/>
                  </a:lnTo>
                  <a:lnTo>
                    <a:pt x="127" y="196"/>
                  </a:lnTo>
                  <a:lnTo>
                    <a:pt x="125" y="196"/>
                  </a:lnTo>
                  <a:lnTo>
                    <a:pt x="127" y="196"/>
                  </a:lnTo>
                  <a:lnTo>
                    <a:pt x="127" y="198"/>
                  </a:lnTo>
                  <a:lnTo>
                    <a:pt x="127" y="200"/>
                  </a:lnTo>
                  <a:lnTo>
                    <a:pt x="125" y="200"/>
                  </a:lnTo>
                  <a:lnTo>
                    <a:pt x="125" y="202"/>
                  </a:lnTo>
                  <a:lnTo>
                    <a:pt x="123" y="202"/>
                  </a:lnTo>
                  <a:lnTo>
                    <a:pt x="123" y="204"/>
                  </a:lnTo>
                  <a:lnTo>
                    <a:pt x="125" y="204"/>
                  </a:lnTo>
                  <a:lnTo>
                    <a:pt x="125" y="206"/>
                  </a:lnTo>
                  <a:lnTo>
                    <a:pt x="123" y="206"/>
                  </a:lnTo>
                  <a:lnTo>
                    <a:pt x="123" y="204"/>
                  </a:lnTo>
                  <a:lnTo>
                    <a:pt x="121" y="204"/>
                  </a:lnTo>
                  <a:lnTo>
                    <a:pt x="119" y="204"/>
                  </a:lnTo>
                  <a:lnTo>
                    <a:pt x="117" y="204"/>
                  </a:lnTo>
                  <a:lnTo>
                    <a:pt x="115" y="204"/>
                  </a:lnTo>
                  <a:lnTo>
                    <a:pt x="115" y="202"/>
                  </a:lnTo>
                  <a:lnTo>
                    <a:pt x="115" y="204"/>
                  </a:lnTo>
                  <a:lnTo>
                    <a:pt x="115" y="202"/>
                  </a:lnTo>
                  <a:lnTo>
                    <a:pt x="113" y="202"/>
                  </a:lnTo>
                  <a:lnTo>
                    <a:pt x="113" y="200"/>
                  </a:lnTo>
                  <a:lnTo>
                    <a:pt x="113" y="198"/>
                  </a:lnTo>
                  <a:lnTo>
                    <a:pt x="111" y="198"/>
                  </a:lnTo>
                  <a:lnTo>
                    <a:pt x="109" y="198"/>
                  </a:lnTo>
                  <a:lnTo>
                    <a:pt x="109" y="196"/>
                  </a:lnTo>
                  <a:lnTo>
                    <a:pt x="109" y="198"/>
                  </a:lnTo>
                  <a:lnTo>
                    <a:pt x="109" y="196"/>
                  </a:lnTo>
                  <a:lnTo>
                    <a:pt x="108" y="196"/>
                  </a:lnTo>
                  <a:lnTo>
                    <a:pt x="108" y="198"/>
                  </a:lnTo>
                  <a:lnTo>
                    <a:pt x="108" y="196"/>
                  </a:lnTo>
                  <a:lnTo>
                    <a:pt x="108" y="198"/>
                  </a:lnTo>
                  <a:lnTo>
                    <a:pt x="108" y="196"/>
                  </a:lnTo>
                  <a:lnTo>
                    <a:pt x="106" y="196"/>
                  </a:lnTo>
                  <a:lnTo>
                    <a:pt x="106" y="198"/>
                  </a:lnTo>
                  <a:lnTo>
                    <a:pt x="106" y="196"/>
                  </a:lnTo>
                  <a:lnTo>
                    <a:pt x="106" y="198"/>
                  </a:lnTo>
                  <a:lnTo>
                    <a:pt x="106" y="196"/>
                  </a:lnTo>
                  <a:lnTo>
                    <a:pt x="106" y="198"/>
                  </a:lnTo>
                  <a:lnTo>
                    <a:pt x="106" y="196"/>
                  </a:lnTo>
                  <a:lnTo>
                    <a:pt x="104" y="196"/>
                  </a:lnTo>
                  <a:lnTo>
                    <a:pt x="102" y="196"/>
                  </a:lnTo>
                  <a:lnTo>
                    <a:pt x="104" y="196"/>
                  </a:lnTo>
                  <a:lnTo>
                    <a:pt x="102" y="196"/>
                  </a:lnTo>
                  <a:lnTo>
                    <a:pt x="102" y="194"/>
                  </a:lnTo>
                  <a:lnTo>
                    <a:pt x="100" y="194"/>
                  </a:lnTo>
                  <a:lnTo>
                    <a:pt x="102" y="194"/>
                  </a:lnTo>
                  <a:lnTo>
                    <a:pt x="100" y="194"/>
                  </a:lnTo>
                  <a:lnTo>
                    <a:pt x="100" y="192"/>
                  </a:lnTo>
                  <a:lnTo>
                    <a:pt x="98" y="192"/>
                  </a:lnTo>
                  <a:lnTo>
                    <a:pt x="96" y="192"/>
                  </a:lnTo>
                  <a:lnTo>
                    <a:pt x="96" y="190"/>
                  </a:lnTo>
                  <a:lnTo>
                    <a:pt x="94" y="190"/>
                  </a:lnTo>
                  <a:lnTo>
                    <a:pt x="94" y="188"/>
                  </a:lnTo>
                  <a:lnTo>
                    <a:pt x="92" y="188"/>
                  </a:lnTo>
                  <a:lnTo>
                    <a:pt x="90" y="188"/>
                  </a:lnTo>
                  <a:lnTo>
                    <a:pt x="88" y="188"/>
                  </a:lnTo>
                  <a:lnTo>
                    <a:pt x="88" y="186"/>
                  </a:lnTo>
                  <a:lnTo>
                    <a:pt x="86" y="186"/>
                  </a:lnTo>
                  <a:lnTo>
                    <a:pt x="84" y="186"/>
                  </a:lnTo>
                  <a:lnTo>
                    <a:pt x="84" y="184"/>
                  </a:lnTo>
                  <a:lnTo>
                    <a:pt x="84" y="183"/>
                  </a:lnTo>
                  <a:lnTo>
                    <a:pt x="86" y="183"/>
                  </a:lnTo>
                  <a:lnTo>
                    <a:pt x="84" y="183"/>
                  </a:lnTo>
                  <a:lnTo>
                    <a:pt x="86" y="183"/>
                  </a:lnTo>
                  <a:lnTo>
                    <a:pt x="84" y="183"/>
                  </a:lnTo>
                  <a:lnTo>
                    <a:pt x="84" y="181"/>
                  </a:lnTo>
                  <a:lnTo>
                    <a:pt x="86" y="181"/>
                  </a:lnTo>
                  <a:lnTo>
                    <a:pt x="86" y="179"/>
                  </a:lnTo>
                  <a:lnTo>
                    <a:pt x="88" y="179"/>
                  </a:lnTo>
                  <a:lnTo>
                    <a:pt x="88" y="177"/>
                  </a:lnTo>
                  <a:lnTo>
                    <a:pt x="88" y="179"/>
                  </a:lnTo>
                  <a:lnTo>
                    <a:pt x="88" y="177"/>
                  </a:lnTo>
                  <a:lnTo>
                    <a:pt x="90" y="177"/>
                  </a:lnTo>
                  <a:lnTo>
                    <a:pt x="90" y="179"/>
                  </a:lnTo>
                  <a:lnTo>
                    <a:pt x="92" y="179"/>
                  </a:lnTo>
                  <a:lnTo>
                    <a:pt x="92" y="181"/>
                  </a:lnTo>
                  <a:lnTo>
                    <a:pt x="92" y="179"/>
                  </a:lnTo>
                  <a:lnTo>
                    <a:pt x="94" y="179"/>
                  </a:lnTo>
                  <a:lnTo>
                    <a:pt x="94" y="177"/>
                  </a:lnTo>
                  <a:lnTo>
                    <a:pt x="96" y="177"/>
                  </a:lnTo>
                  <a:lnTo>
                    <a:pt x="98" y="177"/>
                  </a:lnTo>
                  <a:lnTo>
                    <a:pt x="98" y="179"/>
                  </a:lnTo>
                  <a:lnTo>
                    <a:pt x="98" y="177"/>
                  </a:lnTo>
                  <a:lnTo>
                    <a:pt x="98" y="179"/>
                  </a:lnTo>
                  <a:lnTo>
                    <a:pt x="100" y="179"/>
                  </a:lnTo>
                  <a:lnTo>
                    <a:pt x="102" y="179"/>
                  </a:lnTo>
                  <a:lnTo>
                    <a:pt x="102" y="181"/>
                  </a:lnTo>
                  <a:lnTo>
                    <a:pt x="104" y="181"/>
                  </a:lnTo>
                  <a:lnTo>
                    <a:pt x="106" y="181"/>
                  </a:lnTo>
                  <a:lnTo>
                    <a:pt x="108" y="181"/>
                  </a:lnTo>
                  <a:lnTo>
                    <a:pt x="108" y="179"/>
                  </a:lnTo>
                  <a:lnTo>
                    <a:pt x="108" y="181"/>
                  </a:lnTo>
                  <a:lnTo>
                    <a:pt x="108" y="179"/>
                  </a:lnTo>
                  <a:lnTo>
                    <a:pt x="108" y="181"/>
                  </a:lnTo>
                  <a:lnTo>
                    <a:pt x="108" y="179"/>
                  </a:lnTo>
                  <a:lnTo>
                    <a:pt x="108" y="181"/>
                  </a:lnTo>
                  <a:lnTo>
                    <a:pt x="109" y="181"/>
                  </a:lnTo>
                  <a:lnTo>
                    <a:pt x="111" y="181"/>
                  </a:lnTo>
                  <a:lnTo>
                    <a:pt x="113" y="181"/>
                  </a:lnTo>
                  <a:lnTo>
                    <a:pt x="113" y="179"/>
                  </a:lnTo>
                  <a:lnTo>
                    <a:pt x="115" y="179"/>
                  </a:lnTo>
                  <a:lnTo>
                    <a:pt x="115" y="181"/>
                  </a:lnTo>
                  <a:lnTo>
                    <a:pt x="115" y="179"/>
                  </a:lnTo>
                  <a:lnTo>
                    <a:pt x="115" y="181"/>
                  </a:lnTo>
                  <a:lnTo>
                    <a:pt x="115" y="179"/>
                  </a:lnTo>
                  <a:lnTo>
                    <a:pt x="117" y="179"/>
                  </a:lnTo>
                  <a:lnTo>
                    <a:pt x="119" y="179"/>
                  </a:lnTo>
                  <a:lnTo>
                    <a:pt x="119" y="177"/>
                  </a:lnTo>
                  <a:lnTo>
                    <a:pt x="121" y="177"/>
                  </a:lnTo>
                  <a:lnTo>
                    <a:pt x="123" y="177"/>
                  </a:lnTo>
                  <a:lnTo>
                    <a:pt x="123" y="179"/>
                  </a:lnTo>
                  <a:lnTo>
                    <a:pt x="125" y="179"/>
                  </a:lnTo>
                  <a:lnTo>
                    <a:pt x="125" y="177"/>
                  </a:lnTo>
                  <a:lnTo>
                    <a:pt x="127" y="177"/>
                  </a:lnTo>
                  <a:lnTo>
                    <a:pt x="127" y="175"/>
                  </a:lnTo>
                  <a:lnTo>
                    <a:pt x="125" y="175"/>
                  </a:lnTo>
                  <a:lnTo>
                    <a:pt x="127" y="175"/>
                  </a:lnTo>
                  <a:lnTo>
                    <a:pt x="125" y="175"/>
                  </a:lnTo>
                  <a:lnTo>
                    <a:pt x="127" y="175"/>
                  </a:lnTo>
                  <a:lnTo>
                    <a:pt x="125" y="175"/>
                  </a:lnTo>
                  <a:lnTo>
                    <a:pt x="127" y="175"/>
                  </a:lnTo>
                  <a:lnTo>
                    <a:pt x="127" y="177"/>
                  </a:lnTo>
                  <a:lnTo>
                    <a:pt x="129" y="177"/>
                  </a:lnTo>
                  <a:lnTo>
                    <a:pt x="129" y="175"/>
                  </a:lnTo>
                  <a:lnTo>
                    <a:pt x="131" y="175"/>
                  </a:lnTo>
                  <a:close/>
                  <a:moveTo>
                    <a:pt x="38" y="119"/>
                  </a:moveTo>
                  <a:lnTo>
                    <a:pt x="40" y="119"/>
                  </a:lnTo>
                  <a:lnTo>
                    <a:pt x="38" y="119"/>
                  </a:lnTo>
                  <a:lnTo>
                    <a:pt x="40" y="119"/>
                  </a:lnTo>
                  <a:lnTo>
                    <a:pt x="40" y="121"/>
                  </a:lnTo>
                  <a:lnTo>
                    <a:pt x="42" y="121"/>
                  </a:lnTo>
                  <a:lnTo>
                    <a:pt x="42" y="123"/>
                  </a:lnTo>
                  <a:lnTo>
                    <a:pt x="44" y="123"/>
                  </a:lnTo>
                  <a:lnTo>
                    <a:pt x="42" y="123"/>
                  </a:lnTo>
                  <a:lnTo>
                    <a:pt x="42" y="125"/>
                  </a:lnTo>
                  <a:lnTo>
                    <a:pt x="44" y="125"/>
                  </a:lnTo>
                  <a:lnTo>
                    <a:pt x="42" y="125"/>
                  </a:lnTo>
                  <a:lnTo>
                    <a:pt x="44" y="125"/>
                  </a:lnTo>
                  <a:lnTo>
                    <a:pt x="44" y="127"/>
                  </a:lnTo>
                  <a:lnTo>
                    <a:pt x="46" y="127"/>
                  </a:lnTo>
                  <a:lnTo>
                    <a:pt x="44" y="127"/>
                  </a:lnTo>
                  <a:lnTo>
                    <a:pt x="46" y="127"/>
                  </a:lnTo>
                  <a:lnTo>
                    <a:pt x="44" y="127"/>
                  </a:lnTo>
                  <a:lnTo>
                    <a:pt x="44" y="129"/>
                  </a:lnTo>
                  <a:lnTo>
                    <a:pt x="46" y="129"/>
                  </a:lnTo>
                  <a:lnTo>
                    <a:pt x="46" y="131"/>
                  </a:lnTo>
                  <a:lnTo>
                    <a:pt x="46" y="133"/>
                  </a:lnTo>
                  <a:lnTo>
                    <a:pt x="46" y="135"/>
                  </a:lnTo>
                  <a:lnTo>
                    <a:pt x="46" y="136"/>
                  </a:lnTo>
                  <a:lnTo>
                    <a:pt x="44" y="136"/>
                  </a:lnTo>
                  <a:lnTo>
                    <a:pt x="44" y="138"/>
                  </a:lnTo>
                  <a:lnTo>
                    <a:pt x="44" y="140"/>
                  </a:lnTo>
                  <a:lnTo>
                    <a:pt x="46" y="140"/>
                  </a:lnTo>
                  <a:lnTo>
                    <a:pt x="46" y="142"/>
                  </a:lnTo>
                  <a:lnTo>
                    <a:pt x="44" y="142"/>
                  </a:lnTo>
                  <a:lnTo>
                    <a:pt x="44" y="144"/>
                  </a:lnTo>
                  <a:lnTo>
                    <a:pt x="44" y="146"/>
                  </a:lnTo>
                  <a:lnTo>
                    <a:pt x="44" y="148"/>
                  </a:lnTo>
                  <a:lnTo>
                    <a:pt x="44" y="150"/>
                  </a:lnTo>
                  <a:lnTo>
                    <a:pt x="44" y="152"/>
                  </a:lnTo>
                  <a:lnTo>
                    <a:pt x="44" y="154"/>
                  </a:lnTo>
                  <a:lnTo>
                    <a:pt x="44" y="156"/>
                  </a:lnTo>
                  <a:lnTo>
                    <a:pt x="42" y="156"/>
                  </a:lnTo>
                  <a:lnTo>
                    <a:pt x="44" y="156"/>
                  </a:lnTo>
                  <a:lnTo>
                    <a:pt x="42" y="156"/>
                  </a:lnTo>
                  <a:lnTo>
                    <a:pt x="44" y="156"/>
                  </a:lnTo>
                  <a:lnTo>
                    <a:pt x="42" y="156"/>
                  </a:lnTo>
                  <a:lnTo>
                    <a:pt x="44" y="156"/>
                  </a:lnTo>
                  <a:lnTo>
                    <a:pt x="42" y="156"/>
                  </a:lnTo>
                  <a:lnTo>
                    <a:pt x="44" y="156"/>
                  </a:lnTo>
                  <a:lnTo>
                    <a:pt x="42" y="156"/>
                  </a:lnTo>
                  <a:lnTo>
                    <a:pt x="42" y="158"/>
                  </a:lnTo>
                  <a:lnTo>
                    <a:pt x="42" y="160"/>
                  </a:lnTo>
                  <a:lnTo>
                    <a:pt x="40" y="160"/>
                  </a:lnTo>
                  <a:lnTo>
                    <a:pt x="40" y="158"/>
                  </a:lnTo>
                  <a:lnTo>
                    <a:pt x="38" y="158"/>
                  </a:lnTo>
                  <a:lnTo>
                    <a:pt x="37" y="158"/>
                  </a:lnTo>
                  <a:lnTo>
                    <a:pt x="35" y="158"/>
                  </a:lnTo>
                  <a:lnTo>
                    <a:pt x="35" y="156"/>
                  </a:lnTo>
                  <a:lnTo>
                    <a:pt x="35" y="158"/>
                  </a:lnTo>
                  <a:lnTo>
                    <a:pt x="35" y="156"/>
                  </a:lnTo>
                  <a:lnTo>
                    <a:pt x="35" y="158"/>
                  </a:lnTo>
                  <a:lnTo>
                    <a:pt x="35" y="156"/>
                  </a:lnTo>
                  <a:lnTo>
                    <a:pt x="35" y="158"/>
                  </a:lnTo>
                  <a:lnTo>
                    <a:pt x="37" y="158"/>
                  </a:lnTo>
                  <a:lnTo>
                    <a:pt x="35" y="158"/>
                  </a:lnTo>
                  <a:lnTo>
                    <a:pt x="37" y="158"/>
                  </a:lnTo>
                  <a:lnTo>
                    <a:pt x="35" y="158"/>
                  </a:lnTo>
                  <a:lnTo>
                    <a:pt x="35" y="160"/>
                  </a:lnTo>
                  <a:lnTo>
                    <a:pt x="35" y="161"/>
                  </a:lnTo>
                  <a:lnTo>
                    <a:pt x="35" y="163"/>
                  </a:lnTo>
                  <a:lnTo>
                    <a:pt x="33" y="163"/>
                  </a:lnTo>
                  <a:lnTo>
                    <a:pt x="31" y="163"/>
                  </a:lnTo>
                  <a:lnTo>
                    <a:pt x="33" y="163"/>
                  </a:lnTo>
                  <a:lnTo>
                    <a:pt x="31" y="163"/>
                  </a:lnTo>
                  <a:lnTo>
                    <a:pt x="33" y="163"/>
                  </a:lnTo>
                  <a:lnTo>
                    <a:pt x="31" y="163"/>
                  </a:lnTo>
                  <a:lnTo>
                    <a:pt x="29" y="163"/>
                  </a:lnTo>
                  <a:lnTo>
                    <a:pt x="29" y="161"/>
                  </a:lnTo>
                  <a:lnTo>
                    <a:pt x="29" y="163"/>
                  </a:lnTo>
                  <a:lnTo>
                    <a:pt x="29" y="161"/>
                  </a:lnTo>
                  <a:lnTo>
                    <a:pt x="29" y="163"/>
                  </a:lnTo>
                  <a:lnTo>
                    <a:pt x="29" y="161"/>
                  </a:lnTo>
                  <a:lnTo>
                    <a:pt x="27" y="161"/>
                  </a:lnTo>
                  <a:lnTo>
                    <a:pt x="27" y="160"/>
                  </a:lnTo>
                  <a:lnTo>
                    <a:pt x="27" y="161"/>
                  </a:lnTo>
                  <a:lnTo>
                    <a:pt x="27" y="160"/>
                  </a:lnTo>
                  <a:lnTo>
                    <a:pt x="27" y="161"/>
                  </a:lnTo>
                  <a:lnTo>
                    <a:pt x="27" y="160"/>
                  </a:lnTo>
                  <a:lnTo>
                    <a:pt x="27" y="161"/>
                  </a:lnTo>
                  <a:lnTo>
                    <a:pt x="27" y="160"/>
                  </a:lnTo>
                  <a:lnTo>
                    <a:pt x="27" y="158"/>
                  </a:lnTo>
                  <a:lnTo>
                    <a:pt x="25" y="158"/>
                  </a:lnTo>
                  <a:lnTo>
                    <a:pt x="25" y="160"/>
                  </a:lnTo>
                  <a:lnTo>
                    <a:pt x="27" y="160"/>
                  </a:lnTo>
                  <a:lnTo>
                    <a:pt x="25" y="160"/>
                  </a:lnTo>
                  <a:lnTo>
                    <a:pt x="27" y="160"/>
                  </a:lnTo>
                  <a:lnTo>
                    <a:pt x="25" y="160"/>
                  </a:lnTo>
                  <a:lnTo>
                    <a:pt x="25" y="158"/>
                  </a:lnTo>
                  <a:lnTo>
                    <a:pt x="25" y="156"/>
                  </a:lnTo>
                  <a:lnTo>
                    <a:pt x="27" y="156"/>
                  </a:lnTo>
                  <a:lnTo>
                    <a:pt x="25" y="156"/>
                  </a:lnTo>
                  <a:lnTo>
                    <a:pt x="25" y="154"/>
                  </a:lnTo>
                  <a:lnTo>
                    <a:pt x="27" y="154"/>
                  </a:lnTo>
                  <a:lnTo>
                    <a:pt x="25" y="154"/>
                  </a:lnTo>
                  <a:lnTo>
                    <a:pt x="25" y="152"/>
                  </a:lnTo>
                  <a:lnTo>
                    <a:pt x="27" y="152"/>
                  </a:lnTo>
                  <a:lnTo>
                    <a:pt x="27" y="150"/>
                  </a:lnTo>
                  <a:lnTo>
                    <a:pt x="27" y="148"/>
                  </a:lnTo>
                  <a:lnTo>
                    <a:pt x="27" y="146"/>
                  </a:lnTo>
                  <a:lnTo>
                    <a:pt x="27" y="148"/>
                  </a:lnTo>
                  <a:lnTo>
                    <a:pt x="29" y="148"/>
                  </a:lnTo>
                  <a:lnTo>
                    <a:pt x="27" y="148"/>
                  </a:lnTo>
                  <a:lnTo>
                    <a:pt x="27" y="146"/>
                  </a:lnTo>
                  <a:lnTo>
                    <a:pt x="27" y="148"/>
                  </a:lnTo>
                  <a:lnTo>
                    <a:pt x="27" y="146"/>
                  </a:lnTo>
                  <a:lnTo>
                    <a:pt x="29" y="146"/>
                  </a:lnTo>
                  <a:lnTo>
                    <a:pt x="27" y="146"/>
                  </a:lnTo>
                  <a:lnTo>
                    <a:pt x="29" y="146"/>
                  </a:lnTo>
                  <a:lnTo>
                    <a:pt x="27" y="146"/>
                  </a:lnTo>
                  <a:lnTo>
                    <a:pt x="27" y="144"/>
                  </a:lnTo>
                  <a:lnTo>
                    <a:pt x="29" y="144"/>
                  </a:lnTo>
                  <a:lnTo>
                    <a:pt x="27" y="144"/>
                  </a:lnTo>
                  <a:lnTo>
                    <a:pt x="29" y="144"/>
                  </a:lnTo>
                  <a:lnTo>
                    <a:pt x="29" y="146"/>
                  </a:lnTo>
                  <a:lnTo>
                    <a:pt x="29" y="144"/>
                  </a:lnTo>
                  <a:lnTo>
                    <a:pt x="27" y="144"/>
                  </a:lnTo>
                  <a:lnTo>
                    <a:pt x="27" y="142"/>
                  </a:lnTo>
                  <a:lnTo>
                    <a:pt x="27" y="144"/>
                  </a:lnTo>
                  <a:lnTo>
                    <a:pt x="27" y="146"/>
                  </a:lnTo>
                  <a:lnTo>
                    <a:pt x="27" y="144"/>
                  </a:lnTo>
                  <a:lnTo>
                    <a:pt x="25" y="144"/>
                  </a:lnTo>
                  <a:lnTo>
                    <a:pt x="25" y="142"/>
                  </a:lnTo>
                  <a:lnTo>
                    <a:pt x="27" y="142"/>
                  </a:lnTo>
                  <a:lnTo>
                    <a:pt x="25" y="142"/>
                  </a:lnTo>
                  <a:lnTo>
                    <a:pt x="27" y="142"/>
                  </a:lnTo>
                  <a:lnTo>
                    <a:pt x="27" y="140"/>
                  </a:lnTo>
                  <a:lnTo>
                    <a:pt x="27" y="138"/>
                  </a:lnTo>
                  <a:lnTo>
                    <a:pt x="27" y="136"/>
                  </a:lnTo>
                  <a:lnTo>
                    <a:pt x="25" y="136"/>
                  </a:lnTo>
                  <a:lnTo>
                    <a:pt x="25" y="135"/>
                  </a:lnTo>
                  <a:lnTo>
                    <a:pt x="25" y="133"/>
                  </a:lnTo>
                  <a:lnTo>
                    <a:pt x="25" y="131"/>
                  </a:lnTo>
                  <a:lnTo>
                    <a:pt x="23" y="131"/>
                  </a:lnTo>
                  <a:lnTo>
                    <a:pt x="23" y="133"/>
                  </a:lnTo>
                  <a:lnTo>
                    <a:pt x="23" y="131"/>
                  </a:lnTo>
                  <a:lnTo>
                    <a:pt x="23" y="133"/>
                  </a:lnTo>
                  <a:lnTo>
                    <a:pt x="23" y="131"/>
                  </a:lnTo>
                  <a:lnTo>
                    <a:pt x="23" y="133"/>
                  </a:lnTo>
                  <a:lnTo>
                    <a:pt x="23" y="131"/>
                  </a:lnTo>
                  <a:lnTo>
                    <a:pt x="23" y="133"/>
                  </a:lnTo>
                  <a:lnTo>
                    <a:pt x="23" y="131"/>
                  </a:lnTo>
                  <a:lnTo>
                    <a:pt x="23" y="133"/>
                  </a:lnTo>
                  <a:lnTo>
                    <a:pt x="23" y="131"/>
                  </a:lnTo>
                  <a:lnTo>
                    <a:pt x="21" y="131"/>
                  </a:lnTo>
                  <a:lnTo>
                    <a:pt x="23" y="131"/>
                  </a:lnTo>
                  <a:lnTo>
                    <a:pt x="21" y="131"/>
                  </a:lnTo>
                  <a:lnTo>
                    <a:pt x="23" y="131"/>
                  </a:lnTo>
                  <a:lnTo>
                    <a:pt x="23" y="129"/>
                  </a:lnTo>
                  <a:lnTo>
                    <a:pt x="21" y="129"/>
                  </a:lnTo>
                  <a:lnTo>
                    <a:pt x="23" y="129"/>
                  </a:lnTo>
                  <a:lnTo>
                    <a:pt x="23" y="127"/>
                  </a:lnTo>
                  <a:lnTo>
                    <a:pt x="23" y="125"/>
                  </a:lnTo>
                  <a:lnTo>
                    <a:pt x="23" y="123"/>
                  </a:lnTo>
                  <a:lnTo>
                    <a:pt x="23" y="125"/>
                  </a:lnTo>
                  <a:lnTo>
                    <a:pt x="23" y="127"/>
                  </a:lnTo>
                  <a:lnTo>
                    <a:pt x="25" y="127"/>
                  </a:lnTo>
                  <a:lnTo>
                    <a:pt x="27" y="127"/>
                  </a:lnTo>
                  <a:lnTo>
                    <a:pt x="29" y="127"/>
                  </a:lnTo>
                  <a:lnTo>
                    <a:pt x="29" y="125"/>
                  </a:lnTo>
                  <a:lnTo>
                    <a:pt x="31" y="125"/>
                  </a:lnTo>
                  <a:lnTo>
                    <a:pt x="33" y="125"/>
                  </a:lnTo>
                  <a:lnTo>
                    <a:pt x="33" y="123"/>
                  </a:lnTo>
                  <a:lnTo>
                    <a:pt x="35" y="123"/>
                  </a:lnTo>
                  <a:lnTo>
                    <a:pt x="33" y="123"/>
                  </a:lnTo>
                  <a:lnTo>
                    <a:pt x="35" y="123"/>
                  </a:lnTo>
                  <a:lnTo>
                    <a:pt x="35" y="121"/>
                  </a:lnTo>
                  <a:lnTo>
                    <a:pt x="37" y="121"/>
                  </a:lnTo>
                  <a:lnTo>
                    <a:pt x="37" y="119"/>
                  </a:lnTo>
                  <a:lnTo>
                    <a:pt x="38" y="119"/>
                  </a:lnTo>
                  <a:close/>
                  <a:moveTo>
                    <a:pt x="56" y="87"/>
                  </a:moveTo>
                  <a:lnTo>
                    <a:pt x="56" y="88"/>
                  </a:lnTo>
                  <a:lnTo>
                    <a:pt x="56" y="90"/>
                  </a:lnTo>
                  <a:lnTo>
                    <a:pt x="54" y="90"/>
                  </a:lnTo>
                  <a:lnTo>
                    <a:pt x="54" y="88"/>
                  </a:lnTo>
                  <a:lnTo>
                    <a:pt x="52" y="88"/>
                  </a:lnTo>
                  <a:lnTo>
                    <a:pt x="52" y="90"/>
                  </a:lnTo>
                  <a:lnTo>
                    <a:pt x="52" y="88"/>
                  </a:lnTo>
                  <a:lnTo>
                    <a:pt x="52" y="90"/>
                  </a:lnTo>
                  <a:lnTo>
                    <a:pt x="52" y="88"/>
                  </a:lnTo>
                  <a:lnTo>
                    <a:pt x="52" y="90"/>
                  </a:lnTo>
                  <a:lnTo>
                    <a:pt x="52" y="88"/>
                  </a:lnTo>
                  <a:lnTo>
                    <a:pt x="50" y="88"/>
                  </a:lnTo>
                  <a:lnTo>
                    <a:pt x="52" y="88"/>
                  </a:lnTo>
                  <a:lnTo>
                    <a:pt x="54" y="88"/>
                  </a:lnTo>
                  <a:lnTo>
                    <a:pt x="54" y="87"/>
                  </a:lnTo>
                  <a:lnTo>
                    <a:pt x="54" y="88"/>
                  </a:lnTo>
                  <a:lnTo>
                    <a:pt x="54" y="87"/>
                  </a:lnTo>
                  <a:lnTo>
                    <a:pt x="56" y="87"/>
                  </a:lnTo>
                  <a:close/>
                  <a:moveTo>
                    <a:pt x="25" y="160"/>
                  </a:moveTo>
                  <a:lnTo>
                    <a:pt x="27" y="160"/>
                  </a:lnTo>
                  <a:lnTo>
                    <a:pt x="27" y="163"/>
                  </a:lnTo>
                  <a:lnTo>
                    <a:pt x="25" y="163"/>
                  </a:lnTo>
                  <a:lnTo>
                    <a:pt x="25" y="160"/>
                  </a:lnTo>
                  <a:close/>
                  <a:moveTo>
                    <a:pt x="77" y="202"/>
                  </a:moveTo>
                  <a:lnTo>
                    <a:pt x="79" y="202"/>
                  </a:lnTo>
                  <a:lnTo>
                    <a:pt x="79" y="204"/>
                  </a:lnTo>
                  <a:lnTo>
                    <a:pt x="77" y="204"/>
                  </a:lnTo>
                  <a:lnTo>
                    <a:pt x="77" y="202"/>
                  </a:lnTo>
                  <a:close/>
                  <a:moveTo>
                    <a:pt x="23" y="121"/>
                  </a:moveTo>
                  <a:lnTo>
                    <a:pt x="25" y="121"/>
                  </a:lnTo>
                  <a:lnTo>
                    <a:pt x="25" y="123"/>
                  </a:lnTo>
                  <a:lnTo>
                    <a:pt x="23" y="123"/>
                  </a:lnTo>
                  <a:lnTo>
                    <a:pt x="23" y="121"/>
                  </a:lnTo>
                  <a:close/>
                  <a:moveTo>
                    <a:pt x="23" y="158"/>
                  </a:moveTo>
                  <a:lnTo>
                    <a:pt x="25" y="158"/>
                  </a:lnTo>
                  <a:lnTo>
                    <a:pt x="25" y="160"/>
                  </a:lnTo>
                  <a:lnTo>
                    <a:pt x="23" y="160"/>
                  </a:lnTo>
                  <a:lnTo>
                    <a:pt x="23" y="158"/>
                  </a:lnTo>
                  <a:close/>
                  <a:moveTo>
                    <a:pt x="106" y="129"/>
                  </a:moveTo>
                  <a:lnTo>
                    <a:pt x="108" y="129"/>
                  </a:lnTo>
                  <a:lnTo>
                    <a:pt x="106" y="129"/>
                  </a:lnTo>
                  <a:close/>
                  <a:moveTo>
                    <a:pt x="121" y="171"/>
                  </a:moveTo>
                  <a:lnTo>
                    <a:pt x="123" y="171"/>
                  </a:lnTo>
                  <a:lnTo>
                    <a:pt x="123" y="173"/>
                  </a:lnTo>
                  <a:lnTo>
                    <a:pt x="121" y="173"/>
                  </a:lnTo>
                  <a:lnTo>
                    <a:pt x="121" y="171"/>
                  </a:lnTo>
                  <a:close/>
                  <a:moveTo>
                    <a:pt x="119" y="169"/>
                  </a:moveTo>
                  <a:lnTo>
                    <a:pt x="121" y="169"/>
                  </a:lnTo>
                  <a:lnTo>
                    <a:pt x="121" y="171"/>
                  </a:lnTo>
                  <a:lnTo>
                    <a:pt x="119" y="171"/>
                  </a:lnTo>
                  <a:lnTo>
                    <a:pt x="119" y="169"/>
                  </a:lnTo>
                  <a:close/>
                  <a:moveTo>
                    <a:pt x="61" y="96"/>
                  </a:moveTo>
                  <a:lnTo>
                    <a:pt x="63" y="96"/>
                  </a:lnTo>
                  <a:lnTo>
                    <a:pt x="63" y="98"/>
                  </a:lnTo>
                  <a:lnTo>
                    <a:pt x="61" y="98"/>
                  </a:lnTo>
                  <a:lnTo>
                    <a:pt x="61" y="96"/>
                  </a:lnTo>
                  <a:close/>
                  <a:moveTo>
                    <a:pt x="40" y="117"/>
                  </a:moveTo>
                  <a:lnTo>
                    <a:pt x="40" y="119"/>
                  </a:lnTo>
                  <a:lnTo>
                    <a:pt x="40" y="117"/>
                  </a:lnTo>
                  <a:close/>
                  <a:moveTo>
                    <a:pt x="121" y="173"/>
                  </a:moveTo>
                  <a:lnTo>
                    <a:pt x="123" y="173"/>
                  </a:lnTo>
                  <a:lnTo>
                    <a:pt x="121" y="173"/>
                  </a:lnTo>
                  <a:close/>
                  <a:moveTo>
                    <a:pt x="46" y="83"/>
                  </a:moveTo>
                  <a:lnTo>
                    <a:pt x="46" y="85"/>
                  </a:lnTo>
                  <a:lnTo>
                    <a:pt x="46" y="83"/>
                  </a:lnTo>
                  <a:close/>
                  <a:moveTo>
                    <a:pt x="83" y="181"/>
                  </a:moveTo>
                  <a:lnTo>
                    <a:pt x="84" y="181"/>
                  </a:lnTo>
                  <a:lnTo>
                    <a:pt x="84" y="183"/>
                  </a:lnTo>
                  <a:lnTo>
                    <a:pt x="83" y="183"/>
                  </a:lnTo>
                  <a:lnTo>
                    <a:pt x="83" y="181"/>
                  </a:lnTo>
                  <a:close/>
                  <a:moveTo>
                    <a:pt x="86" y="225"/>
                  </a:moveTo>
                  <a:lnTo>
                    <a:pt x="88" y="225"/>
                  </a:lnTo>
                  <a:lnTo>
                    <a:pt x="88" y="227"/>
                  </a:lnTo>
                  <a:lnTo>
                    <a:pt x="86" y="227"/>
                  </a:lnTo>
                  <a:lnTo>
                    <a:pt x="86" y="225"/>
                  </a:lnTo>
                  <a:close/>
                  <a:moveTo>
                    <a:pt x="40" y="119"/>
                  </a:moveTo>
                  <a:lnTo>
                    <a:pt x="42" y="119"/>
                  </a:lnTo>
                  <a:lnTo>
                    <a:pt x="40" y="119"/>
                  </a:lnTo>
                  <a:close/>
                  <a:moveTo>
                    <a:pt x="125" y="165"/>
                  </a:moveTo>
                  <a:lnTo>
                    <a:pt x="127" y="165"/>
                  </a:lnTo>
                  <a:lnTo>
                    <a:pt x="125" y="165"/>
                  </a:lnTo>
                  <a:close/>
                  <a:moveTo>
                    <a:pt x="79" y="181"/>
                  </a:moveTo>
                  <a:lnTo>
                    <a:pt x="81" y="181"/>
                  </a:lnTo>
                  <a:lnTo>
                    <a:pt x="79" y="181"/>
                  </a:lnTo>
                  <a:close/>
                  <a:moveTo>
                    <a:pt x="54" y="96"/>
                  </a:moveTo>
                  <a:lnTo>
                    <a:pt x="54" y="98"/>
                  </a:lnTo>
                  <a:lnTo>
                    <a:pt x="54" y="96"/>
                  </a:lnTo>
                  <a:close/>
                  <a:moveTo>
                    <a:pt x="84" y="33"/>
                  </a:moveTo>
                  <a:lnTo>
                    <a:pt x="86" y="33"/>
                  </a:lnTo>
                  <a:lnTo>
                    <a:pt x="84" y="33"/>
                  </a:lnTo>
                  <a:close/>
                  <a:moveTo>
                    <a:pt x="115" y="169"/>
                  </a:moveTo>
                  <a:lnTo>
                    <a:pt x="117" y="169"/>
                  </a:lnTo>
                  <a:lnTo>
                    <a:pt x="115" y="169"/>
                  </a:lnTo>
                  <a:close/>
                  <a:moveTo>
                    <a:pt x="83" y="35"/>
                  </a:moveTo>
                  <a:lnTo>
                    <a:pt x="84" y="35"/>
                  </a:lnTo>
                  <a:lnTo>
                    <a:pt x="84" y="37"/>
                  </a:lnTo>
                  <a:lnTo>
                    <a:pt x="83" y="37"/>
                  </a:lnTo>
                  <a:lnTo>
                    <a:pt x="83" y="35"/>
                  </a:lnTo>
                  <a:close/>
                  <a:moveTo>
                    <a:pt x="44" y="125"/>
                  </a:moveTo>
                  <a:lnTo>
                    <a:pt x="46" y="125"/>
                  </a:lnTo>
                  <a:lnTo>
                    <a:pt x="44" y="125"/>
                  </a:lnTo>
                  <a:close/>
                  <a:moveTo>
                    <a:pt x="81" y="37"/>
                  </a:moveTo>
                  <a:lnTo>
                    <a:pt x="83" y="37"/>
                  </a:lnTo>
                  <a:lnTo>
                    <a:pt x="81" y="37"/>
                  </a:lnTo>
                  <a:close/>
                  <a:moveTo>
                    <a:pt x="83" y="181"/>
                  </a:moveTo>
                  <a:lnTo>
                    <a:pt x="84" y="181"/>
                  </a:lnTo>
                  <a:lnTo>
                    <a:pt x="83" y="181"/>
                  </a:lnTo>
                  <a:close/>
                  <a:moveTo>
                    <a:pt x="83" y="42"/>
                  </a:moveTo>
                  <a:lnTo>
                    <a:pt x="84" y="42"/>
                  </a:lnTo>
                  <a:lnTo>
                    <a:pt x="83" y="42"/>
                  </a:lnTo>
                  <a:close/>
                  <a:moveTo>
                    <a:pt x="90" y="219"/>
                  </a:moveTo>
                  <a:lnTo>
                    <a:pt x="92" y="219"/>
                  </a:lnTo>
                  <a:lnTo>
                    <a:pt x="90" y="219"/>
                  </a:lnTo>
                  <a:close/>
                  <a:moveTo>
                    <a:pt x="113" y="169"/>
                  </a:moveTo>
                  <a:lnTo>
                    <a:pt x="113" y="171"/>
                  </a:lnTo>
                  <a:lnTo>
                    <a:pt x="113" y="169"/>
                  </a:lnTo>
                  <a:close/>
                  <a:moveTo>
                    <a:pt x="108" y="127"/>
                  </a:moveTo>
                  <a:lnTo>
                    <a:pt x="108" y="129"/>
                  </a:lnTo>
                  <a:lnTo>
                    <a:pt x="108" y="127"/>
                  </a:lnTo>
                  <a:close/>
                  <a:moveTo>
                    <a:pt x="84" y="33"/>
                  </a:moveTo>
                  <a:lnTo>
                    <a:pt x="84" y="35"/>
                  </a:lnTo>
                  <a:lnTo>
                    <a:pt x="84" y="33"/>
                  </a:lnTo>
                  <a:close/>
                  <a:moveTo>
                    <a:pt x="44" y="125"/>
                  </a:moveTo>
                  <a:lnTo>
                    <a:pt x="46" y="125"/>
                  </a:lnTo>
                  <a:lnTo>
                    <a:pt x="46" y="127"/>
                  </a:lnTo>
                  <a:lnTo>
                    <a:pt x="44" y="127"/>
                  </a:lnTo>
                  <a:lnTo>
                    <a:pt x="44" y="125"/>
                  </a:lnTo>
                  <a:close/>
                  <a:moveTo>
                    <a:pt x="83" y="37"/>
                  </a:moveTo>
                  <a:lnTo>
                    <a:pt x="83" y="39"/>
                  </a:lnTo>
                  <a:lnTo>
                    <a:pt x="83" y="37"/>
                  </a:lnTo>
                  <a:close/>
                  <a:moveTo>
                    <a:pt x="65" y="98"/>
                  </a:moveTo>
                  <a:lnTo>
                    <a:pt x="65" y="100"/>
                  </a:lnTo>
                  <a:lnTo>
                    <a:pt x="65" y="98"/>
                  </a:lnTo>
                  <a:close/>
                  <a:moveTo>
                    <a:pt x="84" y="33"/>
                  </a:moveTo>
                  <a:lnTo>
                    <a:pt x="86" y="33"/>
                  </a:lnTo>
                  <a:lnTo>
                    <a:pt x="84" y="33"/>
                  </a:lnTo>
                  <a:close/>
                  <a:moveTo>
                    <a:pt x="84" y="33"/>
                  </a:moveTo>
                  <a:lnTo>
                    <a:pt x="84" y="35"/>
                  </a:lnTo>
                  <a:lnTo>
                    <a:pt x="84" y="33"/>
                  </a:lnTo>
                  <a:close/>
                  <a:moveTo>
                    <a:pt x="23" y="123"/>
                  </a:moveTo>
                  <a:lnTo>
                    <a:pt x="23" y="125"/>
                  </a:lnTo>
                  <a:lnTo>
                    <a:pt x="23" y="123"/>
                  </a:lnTo>
                  <a:close/>
                  <a:moveTo>
                    <a:pt x="94" y="123"/>
                  </a:moveTo>
                  <a:lnTo>
                    <a:pt x="94" y="125"/>
                  </a:lnTo>
                  <a:lnTo>
                    <a:pt x="94" y="123"/>
                  </a:lnTo>
                  <a:close/>
                  <a:moveTo>
                    <a:pt x="83" y="33"/>
                  </a:moveTo>
                  <a:lnTo>
                    <a:pt x="84" y="33"/>
                  </a:lnTo>
                  <a:lnTo>
                    <a:pt x="84" y="35"/>
                  </a:lnTo>
                  <a:lnTo>
                    <a:pt x="83" y="35"/>
                  </a:lnTo>
                  <a:lnTo>
                    <a:pt x="83" y="33"/>
                  </a:lnTo>
                  <a:close/>
                  <a:moveTo>
                    <a:pt x="96" y="29"/>
                  </a:moveTo>
                  <a:lnTo>
                    <a:pt x="98" y="29"/>
                  </a:lnTo>
                  <a:lnTo>
                    <a:pt x="96" y="29"/>
                  </a:lnTo>
                  <a:close/>
                  <a:moveTo>
                    <a:pt x="84" y="42"/>
                  </a:moveTo>
                  <a:lnTo>
                    <a:pt x="86" y="42"/>
                  </a:lnTo>
                  <a:lnTo>
                    <a:pt x="86" y="44"/>
                  </a:lnTo>
                  <a:lnTo>
                    <a:pt x="84" y="44"/>
                  </a:lnTo>
                  <a:lnTo>
                    <a:pt x="84" y="42"/>
                  </a:lnTo>
                  <a:close/>
                  <a:moveTo>
                    <a:pt x="81" y="37"/>
                  </a:moveTo>
                  <a:lnTo>
                    <a:pt x="83" y="37"/>
                  </a:lnTo>
                  <a:lnTo>
                    <a:pt x="81" y="37"/>
                  </a:lnTo>
                  <a:close/>
                  <a:moveTo>
                    <a:pt x="42" y="121"/>
                  </a:moveTo>
                  <a:lnTo>
                    <a:pt x="42" y="123"/>
                  </a:lnTo>
                  <a:lnTo>
                    <a:pt x="42" y="121"/>
                  </a:lnTo>
                  <a:close/>
                  <a:moveTo>
                    <a:pt x="94" y="27"/>
                  </a:moveTo>
                  <a:lnTo>
                    <a:pt x="96" y="27"/>
                  </a:lnTo>
                  <a:lnTo>
                    <a:pt x="94" y="27"/>
                  </a:lnTo>
                  <a:close/>
                  <a:moveTo>
                    <a:pt x="83" y="35"/>
                  </a:moveTo>
                  <a:lnTo>
                    <a:pt x="84" y="35"/>
                  </a:lnTo>
                  <a:lnTo>
                    <a:pt x="83" y="35"/>
                  </a:lnTo>
                  <a:close/>
                  <a:moveTo>
                    <a:pt x="96" y="29"/>
                  </a:moveTo>
                  <a:lnTo>
                    <a:pt x="98" y="29"/>
                  </a:lnTo>
                  <a:lnTo>
                    <a:pt x="96" y="29"/>
                  </a:lnTo>
                  <a:close/>
                  <a:moveTo>
                    <a:pt x="83" y="35"/>
                  </a:moveTo>
                  <a:lnTo>
                    <a:pt x="84" y="35"/>
                  </a:lnTo>
                  <a:lnTo>
                    <a:pt x="83" y="35"/>
                  </a:lnTo>
                  <a:close/>
                  <a:moveTo>
                    <a:pt x="84" y="44"/>
                  </a:moveTo>
                  <a:lnTo>
                    <a:pt x="86" y="44"/>
                  </a:lnTo>
                  <a:lnTo>
                    <a:pt x="84" y="44"/>
                  </a:lnTo>
                  <a:close/>
                  <a:moveTo>
                    <a:pt x="84" y="46"/>
                  </a:moveTo>
                  <a:lnTo>
                    <a:pt x="84" y="48"/>
                  </a:lnTo>
                  <a:lnTo>
                    <a:pt x="84" y="46"/>
                  </a:lnTo>
                  <a:close/>
                  <a:moveTo>
                    <a:pt x="129" y="102"/>
                  </a:moveTo>
                  <a:lnTo>
                    <a:pt x="131" y="102"/>
                  </a:lnTo>
                  <a:lnTo>
                    <a:pt x="129" y="102"/>
                  </a:lnTo>
                  <a:close/>
                  <a:moveTo>
                    <a:pt x="123" y="202"/>
                  </a:moveTo>
                  <a:lnTo>
                    <a:pt x="125" y="202"/>
                  </a:lnTo>
                  <a:lnTo>
                    <a:pt x="123" y="202"/>
                  </a:lnTo>
                  <a:close/>
                  <a:moveTo>
                    <a:pt x="23" y="131"/>
                  </a:moveTo>
                  <a:lnTo>
                    <a:pt x="23" y="133"/>
                  </a:lnTo>
                  <a:lnTo>
                    <a:pt x="23" y="131"/>
                  </a:lnTo>
                  <a:close/>
                  <a:moveTo>
                    <a:pt x="42" y="121"/>
                  </a:moveTo>
                  <a:lnTo>
                    <a:pt x="42" y="123"/>
                  </a:lnTo>
                  <a:lnTo>
                    <a:pt x="42" y="121"/>
                  </a:lnTo>
                  <a:close/>
                  <a:moveTo>
                    <a:pt x="44" y="127"/>
                  </a:moveTo>
                  <a:lnTo>
                    <a:pt x="46" y="127"/>
                  </a:lnTo>
                  <a:lnTo>
                    <a:pt x="44" y="127"/>
                  </a:lnTo>
                  <a:close/>
                  <a:moveTo>
                    <a:pt x="86" y="225"/>
                  </a:moveTo>
                  <a:lnTo>
                    <a:pt x="86" y="227"/>
                  </a:lnTo>
                  <a:lnTo>
                    <a:pt x="86" y="225"/>
                  </a:lnTo>
                  <a:close/>
                  <a:moveTo>
                    <a:pt x="109" y="127"/>
                  </a:moveTo>
                  <a:lnTo>
                    <a:pt x="111" y="127"/>
                  </a:lnTo>
                  <a:lnTo>
                    <a:pt x="109" y="127"/>
                  </a:lnTo>
                  <a:close/>
                  <a:moveTo>
                    <a:pt x="165" y="131"/>
                  </a:moveTo>
                  <a:lnTo>
                    <a:pt x="167" y="131"/>
                  </a:lnTo>
                  <a:lnTo>
                    <a:pt x="165" y="131"/>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Rectangle 366">
              <a:extLst>
                <a:ext uri="{FF2B5EF4-FFF2-40B4-BE49-F238E27FC236}">
                  <a16:creationId xmlns:a16="http://schemas.microsoft.com/office/drawing/2014/main" id="{543B57F1-F1C9-4AFB-8503-DF931E297CE7}"/>
                </a:ext>
              </a:extLst>
            </p:cNvPr>
            <p:cNvSpPr>
              <a:spLocks noChangeArrowheads="1"/>
            </p:cNvSpPr>
            <p:nvPr/>
          </p:nvSpPr>
          <p:spPr bwMode="gray">
            <a:xfrm>
              <a:off x="3431462" y="3537510"/>
              <a:ext cx="4906" cy="4906"/>
            </a:xfrm>
            <a:prstGeom prst="rect">
              <a:avLst/>
            </a:prstGeom>
            <a:solidFill>
              <a:srgbClr val="D0D0D0"/>
            </a:solidFill>
            <a:ln w="6350">
              <a:solidFill>
                <a:schemeClr val="tx1">
                  <a:alpha val="38000"/>
                </a:schemeClr>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367">
              <a:extLst>
                <a:ext uri="{FF2B5EF4-FFF2-40B4-BE49-F238E27FC236}">
                  <a16:creationId xmlns:a16="http://schemas.microsoft.com/office/drawing/2014/main" id="{CE77ADF5-C020-4E21-BEAD-ED6102E9D63B}"/>
                </a:ext>
              </a:extLst>
            </p:cNvPr>
            <p:cNvSpPr>
              <a:spLocks/>
            </p:cNvSpPr>
            <p:nvPr/>
          </p:nvSpPr>
          <p:spPr bwMode="gray">
            <a:xfrm>
              <a:off x="3554100" y="3517888"/>
              <a:ext cx="33113" cy="73583"/>
            </a:xfrm>
            <a:custGeom>
              <a:avLst/>
              <a:gdLst>
                <a:gd name="T0" fmla="*/ 14 w 27"/>
                <a:gd name="T1" fmla="*/ 4 h 60"/>
                <a:gd name="T2" fmla="*/ 14 w 27"/>
                <a:gd name="T3" fmla="*/ 6 h 60"/>
                <a:gd name="T4" fmla="*/ 18 w 27"/>
                <a:gd name="T5" fmla="*/ 8 h 60"/>
                <a:gd name="T6" fmla="*/ 19 w 27"/>
                <a:gd name="T7" fmla="*/ 12 h 60"/>
                <a:gd name="T8" fmla="*/ 21 w 27"/>
                <a:gd name="T9" fmla="*/ 16 h 60"/>
                <a:gd name="T10" fmla="*/ 19 w 27"/>
                <a:gd name="T11" fmla="*/ 20 h 60"/>
                <a:gd name="T12" fmla="*/ 18 w 27"/>
                <a:gd name="T13" fmla="*/ 23 h 60"/>
                <a:gd name="T14" fmla="*/ 19 w 27"/>
                <a:gd name="T15" fmla="*/ 27 h 60"/>
                <a:gd name="T16" fmla="*/ 21 w 27"/>
                <a:gd name="T17" fmla="*/ 31 h 60"/>
                <a:gd name="T18" fmla="*/ 23 w 27"/>
                <a:gd name="T19" fmla="*/ 35 h 60"/>
                <a:gd name="T20" fmla="*/ 25 w 27"/>
                <a:gd name="T21" fmla="*/ 39 h 60"/>
                <a:gd name="T22" fmla="*/ 27 w 27"/>
                <a:gd name="T23" fmla="*/ 43 h 60"/>
                <a:gd name="T24" fmla="*/ 25 w 27"/>
                <a:gd name="T25" fmla="*/ 43 h 60"/>
                <a:gd name="T26" fmla="*/ 23 w 27"/>
                <a:gd name="T27" fmla="*/ 43 h 60"/>
                <a:gd name="T28" fmla="*/ 21 w 27"/>
                <a:gd name="T29" fmla="*/ 46 h 60"/>
                <a:gd name="T30" fmla="*/ 19 w 27"/>
                <a:gd name="T31" fmla="*/ 50 h 60"/>
                <a:gd name="T32" fmla="*/ 19 w 27"/>
                <a:gd name="T33" fmla="*/ 52 h 60"/>
                <a:gd name="T34" fmla="*/ 18 w 27"/>
                <a:gd name="T35" fmla="*/ 52 h 60"/>
                <a:gd name="T36" fmla="*/ 16 w 27"/>
                <a:gd name="T37" fmla="*/ 52 h 60"/>
                <a:gd name="T38" fmla="*/ 18 w 27"/>
                <a:gd name="T39" fmla="*/ 56 h 60"/>
                <a:gd name="T40" fmla="*/ 14 w 27"/>
                <a:gd name="T41" fmla="*/ 58 h 60"/>
                <a:gd name="T42" fmla="*/ 14 w 27"/>
                <a:gd name="T43" fmla="*/ 60 h 60"/>
                <a:gd name="T44" fmla="*/ 12 w 27"/>
                <a:gd name="T45" fmla="*/ 56 h 60"/>
                <a:gd name="T46" fmla="*/ 12 w 27"/>
                <a:gd name="T47" fmla="*/ 58 h 60"/>
                <a:gd name="T48" fmla="*/ 12 w 27"/>
                <a:gd name="T49" fmla="*/ 56 h 60"/>
                <a:gd name="T50" fmla="*/ 12 w 27"/>
                <a:gd name="T51" fmla="*/ 54 h 60"/>
                <a:gd name="T52" fmla="*/ 12 w 27"/>
                <a:gd name="T53" fmla="*/ 56 h 60"/>
                <a:gd name="T54" fmla="*/ 10 w 27"/>
                <a:gd name="T55" fmla="*/ 52 h 60"/>
                <a:gd name="T56" fmla="*/ 8 w 27"/>
                <a:gd name="T57" fmla="*/ 52 h 60"/>
                <a:gd name="T58" fmla="*/ 6 w 27"/>
                <a:gd name="T59" fmla="*/ 48 h 60"/>
                <a:gd name="T60" fmla="*/ 4 w 27"/>
                <a:gd name="T61" fmla="*/ 48 h 60"/>
                <a:gd name="T62" fmla="*/ 2 w 27"/>
                <a:gd name="T63" fmla="*/ 45 h 60"/>
                <a:gd name="T64" fmla="*/ 2 w 27"/>
                <a:gd name="T65" fmla="*/ 46 h 60"/>
                <a:gd name="T66" fmla="*/ 4 w 27"/>
                <a:gd name="T67" fmla="*/ 43 h 60"/>
                <a:gd name="T68" fmla="*/ 2 w 27"/>
                <a:gd name="T69" fmla="*/ 43 h 60"/>
                <a:gd name="T70" fmla="*/ 2 w 27"/>
                <a:gd name="T71" fmla="*/ 37 h 60"/>
                <a:gd name="T72" fmla="*/ 4 w 27"/>
                <a:gd name="T73" fmla="*/ 33 h 60"/>
                <a:gd name="T74" fmla="*/ 4 w 27"/>
                <a:gd name="T75" fmla="*/ 27 h 60"/>
                <a:gd name="T76" fmla="*/ 4 w 27"/>
                <a:gd name="T77" fmla="*/ 25 h 60"/>
                <a:gd name="T78" fmla="*/ 6 w 27"/>
                <a:gd name="T79" fmla="*/ 21 h 60"/>
                <a:gd name="T80" fmla="*/ 4 w 27"/>
                <a:gd name="T81" fmla="*/ 18 h 60"/>
                <a:gd name="T82" fmla="*/ 2 w 27"/>
                <a:gd name="T83" fmla="*/ 18 h 60"/>
                <a:gd name="T84" fmla="*/ 2 w 27"/>
                <a:gd name="T85" fmla="*/ 12 h 60"/>
                <a:gd name="T86" fmla="*/ 2 w 27"/>
                <a:gd name="T87" fmla="*/ 8 h 60"/>
                <a:gd name="T88" fmla="*/ 4 w 27"/>
                <a:gd name="T89" fmla="*/ 4 h 60"/>
                <a:gd name="T90" fmla="*/ 6 w 27"/>
                <a:gd name="T91" fmla="*/ 0 h 60"/>
                <a:gd name="T92" fmla="*/ 8 w 27"/>
                <a:gd name="T93" fmla="*/ 4 h 60"/>
                <a:gd name="T94" fmla="*/ 12 w 27"/>
                <a:gd name="T95"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 h="60">
                  <a:moveTo>
                    <a:pt x="12" y="2"/>
                  </a:moveTo>
                  <a:lnTo>
                    <a:pt x="14" y="2"/>
                  </a:lnTo>
                  <a:lnTo>
                    <a:pt x="14" y="4"/>
                  </a:lnTo>
                  <a:lnTo>
                    <a:pt x="14" y="6"/>
                  </a:lnTo>
                  <a:lnTo>
                    <a:pt x="16" y="6"/>
                  </a:lnTo>
                  <a:lnTo>
                    <a:pt x="14" y="6"/>
                  </a:lnTo>
                  <a:lnTo>
                    <a:pt x="16" y="6"/>
                  </a:lnTo>
                  <a:lnTo>
                    <a:pt x="16" y="8"/>
                  </a:lnTo>
                  <a:lnTo>
                    <a:pt x="18" y="8"/>
                  </a:lnTo>
                  <a:lnTo>
                    <a:pt x="19" y="8"/>
                  </a:lnTo>
                  <a:lnTo>
                    <a:pt x="19" y="10"/>
                  </a:lnTo>
                  <a:lnTo>
                    <a:pt x="19" y="12"/>
                  </a:lnTo>
                  <a:lnTo>
                    <a:pt x="19" y="14"/>
                  </a:lnTo>
                  <a:lnTo>
                    <a:pt x="21" y="14"/>
                  </a:lnTo>
                  <a:lnTo>
                    <a:pt x="21" y="16"/>
                  </a:lnTo>
                  <a:lnTo>
                    <a:pt x="19" y="16"/>
                  </a:lnTo>
                  <a:lnTo>
                    <a:pt x="19" y="18"/>
                  </a:lnTo>
                  <a:lnTo>
                    <a:pt x="19" y="20"/>
                  </a:lnTo>
                  <a:lnTo>
                    <a:pt x="19" y="21"/>
                  </a:lnTo>
                  <a:lnTo>
                    <a:pt x="19" y="23"/>
                  </a:lnTo>
                  <a:lnTo>
                    <a:pt x="18" y="23"/>
                  </a:lnTo>
                  <a:lnTo>
                    <a:pt x="19" y="23"/>
                  </a:lnTo>
                  <a:lnTo>
                    <a:pt x="19" y="25"/>
                  </a:lnTo>
                  <a:lnTo>
                    <a:pt x="19" y="27"/>
                  </a:lnTo>
                  <a:lnTo>
                    <a:pt x="19" y="29"/>
                  </a:lnTo>
                  <a:lnTo>
                    <a:pt x="19" y="31"/>
                  </a:lnTo>
                  <a:lnTo>
                    <a:pt x="21" y="31"/>
                  </a:lnTo>
                  <a:lnTo>
                    <a:pt x="21" y="33"/>
                  </a:lnTo>
                  <a:lnTo>
                    <a:pt x="21" y="35"/>
                  </a:lnTo>
                  <a:lnTo>
                    <a:pt x="23" y="35"/>
                  </a:lnTo>
                  <a:lnTo>
                    <a:pt x="25" y="35"/>
                  </a:lnTo>
                  <a:lnTo>
                    <a:pt x="25" y="37"/>
                  </a:lnTo>
                  <a:lnTo>
                    <a:pt x="25" y="39"/>
                  </a:lnTo>
                  <a:lnTo>
                    <a:pt x="27" y="39"/>
                  </a:lnTo>
                  <a:lnTo>
                    <a:pt x="27" y="41"/>
                  </a:lnTo>
                  <a:lnTo>
                    <a:pt x="27" y="43"/>
                  </a:lnTo>
                  <a:lnTo>
                    <a:pt x="25" y="43"/>
                  </a:lnTo>
                  <a:lnTo>
                    <a:pt x="25" y="45"/>
                  </a:lnTo>
                  <a:lnTo>
                    <a:pt x="25" y="43"/>
                  </a:lnTo>
                  <a:lnTo>
                    <a:pt x="23" y="43"/>
                  </a:lnTo>
                  <a:lnTo>
                    <a:pt x="23" y="45"/>
                  </a:lnTo>
                  <a:lnTo>
                    <a:pt x="23" y="43"/>
                  </a:lnTo>
                  <a:lnTo>
                    <a:pt x="23" y="45"/>
                  </a:lnTo>
                  <a:lnTo>
                    <a:pt x="23" y="46"/>
                  </a:lnTo>
                  <a:lnTo>
                    <a:pt x="21" y="46"/>
                  </a:lnTo>
                  <a:lnTo>
                    <a:pt x="21" y="48"/>
                  </a:lnTo>
                  <a:lnTo>
                    <a:pt x="21" y="50"/>
                  </a:lnTo>
                  <a:lnTo>
                    <a:pt x="19" y="50"/>
                  </a:lnTo>
                  <a:lnTo>
                    <a:pt x="19" y="52"/>
                  </a:lnTo>
                  <a:lnTo>
                    <a:pt x="19" y="50"/>
                  </a:lnTo>
                  <a:lnTo>
                    <a:pt x="19" y="52"/>
                  </a:lnTo>
                  <a:lnTo>
                    <a:pt x="19" y="50"/>
                  </a:lnTo>
                  <a:lnTo>
                    <a:pt x="19" y="52"/>
                  </a:lnTo>
                  <a:lnTo>
                    <a:pt x="18" y="52"/>
                  </a:lnTo>
                  <a:lnTo>
                    <a:pt x="18" y="50"/>
                  </a:lnTo>
                  <a:lnTo>
                    <a:pt x="18" y="52"/>
                  </a:lnTo>
                  <a:lnTo>
                    <a:pt x="16" y="52"/>
                  </a:lnTo>
                  <a:lnTo>
                    <a:pt x="16" y="54"/>
                  </a:lnTo>
                  <a:lnTo>
                    <a:pt x="18" y="54"/>
                  </a:lnTo>
                  <a:lnTo>
                    <a:pt x="18" y="56"/>
                  </a:lnTo>
                  <a:lnTo>
                    <a:pt x="16" y="56"/>
                  </a:lnTo>
                  <a:lnTo>
                    <a:pt x="16" y="58"/>
                  </a:lnTo>
                  <a:lnTo>
                    <a:pt x="14" y="58"/>
                  </a:lnTo>
                  <a:lnTo>
                    <a:pt x="14" y="60"/>
                  </a:lnTo>
                  <a:lnTo>
                    <a:pt x="16" y="60"/>
                  </a:lnTo>
                  <a:lnTo>
                    <a:pt x="14" y="60"/>
                  </a:lnTo>
                  <a:lnTo>
                    <a:pt x="14" y="58"/>
                  </a:lnTo>
                  <a:lnTo>
                    <a:pt x="12" y="58"/>
                  </a:lnTo>
                  <a:lnTo>
                    <a:pt x="12" y="56"/>
                  </a:lnTo>
                  <a:lnTo>
                    <a:pt x="12" y="58"/>
                  </a:lnTo>
                  <a:lnTo>
                    <a:pt x="12" y="56"/>
                  </a:lnTo>
                  <a:lnTo>
                    <a:pt x="12" y="58"/>
                  </a:lnTo>
                  <a:lnTo>
                    <a:pt x="12" y="56"/>
                  </a:lnTo>
                  <a:lnTo>
                    <a:pt x="12" y="58"/>
                  </a:lnTo>
                  <a:lnTo>
                    <a:pt x="12" y="56"/>
                  </a:lnTo>
                  <a:lnTo>
                    <a:pt x="12" y="58"/>
                  </a:lnTo>
                  <a:lnTo>
                    <a:pt x="12" y="56"/>
                  </a:lnTo>
                  <a:lnTo>
                    <a:pt x="12" y="54"/>
                  </a:lnTo>
                  <a:lnTo>
                    <a:pt x="12" y="56"/>
                  </a:lnTo>
                  <a:lnTo>
                    <a:pt x="12" y="54"/>
                  </a:lnTo>
                  <a:lnTo>
                    <a:pt x="12" y="56"/>
                  </a:lnTo>
                  <a:lnTo>
                    <a:pt x="12" y="54"/>
                  </a:lnTo>
                  <a:lnTo>
                    <a:pt x="10" y="54"/>
                  </a:lnTo>
                  <a:lnTo>
                    <a:pt x="10" y="52"/>
                  </a:lnTo>
                  <a:lnTo>
                    <a:pt x="8" y="52"/>
                  </a:lnTo>
                  <a:lnTo>
                    <a:pt x="8" y="50"/>
                  </a:lnTo>
                  <a:lnTo>
                    <a:pt x="8" y="52"/>
                  </a:lnTo>
                  <a:lnTo>
                    <a:pt x="8" y="50"/>
                  </a:lnTo>
                  <a:lnTo>
                    <a:pt x="6" y="50"/>
                  </a:lnTo>
                  <a:lnTo>
                    <a:pt x="6" y="48"/>
                  </a:lnTo>
                  <a:lnTo>
                    <a:pt x="4" y="48"/>
                  </a:lnTo>
                  <a:lnTo>
                    <a:pt x="2" y="48"/>
                  </a:lnTo>
                  <a:lnTo>
                    <a:pt x="4" y="48"/>
                  </a:lnTo>
                  <a:lnTo>
                    <a:pt x="2" y="48"/>
                  </a:lnTo>
                  <a:lnTo>
                    <a:pt x="2" y="46"/>
                  </a:lnTo>
                  <a:lnTo>
                    <a:pt x="2" y="45"/>
                  </a:lnTo>
                  <a:lnTo>
                    <a:pt x="0" y="45"/>
                  </a:lnTo>
                  <a:lnTo>
                    <a:pt x="2" y="45"/>
                  </a:lnTo>
                  <a:lnTo>
                    <a:pt x="2" y="46"/>
                  </a:lnTo>
                  <a:lnTo>
                    <a:pt x="4" y="46"/>
                  </a:lnTo>
                  <a:lnTo>
                    <a:pt x="4" y="45"/>
                  </a:lnTo>
                  <a:lnTo>
                    <a:pt x="4" y="43"/>
                  </a:lnTo>
                  <a:lnTo>
                    <a:pt x="2" y="43"/>
                  </a:lnTo>
                  <a:lnTo>
                    <a:pt x="4" y="43"/>
                  </a:lnTo>
                  <a:lnTo>
                    <a:pt x="2" y="43"/>
                  </a:lnTo>
                  <a:lnTo>
                    <a:pt x="2" y="41"/>
                  </a:lnTo>
                  <a:lnTo>
                    <a:pt x="2" y="39"/>
                  </a:lnTo>
                  <a:lnTo>
                    <a:pt x="2" y="37"/>
                  </a:lnTo>
                  <a:lnTo>
                    <a:pt x="2" y="35"/>
                  </a:lnTo>
                  <a:lnTo>
                    <a:pt x="4" y="35"/>
                  </a:lnTo>
                  <a:lnTo>
                    <a:pt x="4" y="33"/>
                  </a:lnTo>
                  <a:lnTo>
                    <a:pt x="4" y="31"/>
                  </a:lnTo>
                  <a:lnTo>
                    <a:pt x="4" y="29"/>
                  </a:lnTo>
                  <a:lnTo>
                    <a:pt x="4" y="27"/>
                  </a:lnTo>
                  <a:lnTo>
                    <a:pt x="2" y="27"/>
                  </a:lnTo>
                  <a:lnTo>
                    <a:pt x="2" y="25"/>
                  </a:lnTo>
                  <a:lnTo>
                    <a:pt x="4" y="25"/>
                  </a:lnTo>
                  <a:lnTo>
                    <a:pt x="4" y="23"/>
                  </a:lnTo>
                  <a:lnTo>
                    <a:pt x="4" y="21"/>
                  </a:lnTo>
                  <a:lnTo>
                    <a:pt x="6" y="21"/>
                  </a:lnTo>
                  <a:lnTo>
                    <a:pt x="6" y="20"/>
                  </a:lnTo>
                  <a:lnTo>
                    <a:pt x="6" y="18"/>
                  </a:lnTo>
                  <a:lnTo>
                    <a:pt x="4" y="18"/>
                  </a:lnTo>
                  <a:lnTo>
                    <a:pt x="4" y="16"/>
                  </a:lnTo>
                  <a:lnTo>
                    <a:pt x="2" y="16"/>
                  </a:lnTo>
                  <a:lnTo>
                    <a:pt x="2" y="18"/>
                  </a:lnTo>
                  <a:lnTo>
                    <a:pt x="2" y="16"/>
                  </a:lnTo>
                  <a:lnTo>
                    <a:pt x="2" y="14"/>
                  </a:lnTo>
                  <a:lnTo>
                    <a:pt x="2" y="12"/>
                  </a:lnTo>
                  <a:lnTo>
                    <a:pt x="0" y="10"/>
                  </a:lnTo>
                  <a:lnTo>
                    <a:pt x="2" y="10"/>
                  </a:lnTo>
                  <a:lnTo>
                    <a:pt x="2" y="8"/>
                  </a:lnTo>
                  <a:lnTo>
                    <a:pt x="2" y="6"/>
                  </a:lnTo>
                  <a:lnTo>
                    <a:pt x="4" y="6"/>
                  </a:lnTo>
                  <a:lnTo>
                    <a:pt x="4" y="4"/>
                  </a:lnTo>
                  <a:lnTo>
                    <a:pt x="6" y="4"/>
                  </a:lnTo>
                  <a:lnTo>
                    <a:pt x="6" y="2"/>
                  </a:lnTo>
                  <a:lnTo>
                    <a:pt x="6" y="0"/>
                  </a:lnTo>
                  <a:lnTo>
                    <a:pt x="8" y="0"/>
                  </a:lnTo>
                  <a:lnTo>
                    <a:pt x="8" y="2"/>
                  </a:lnTo>
                  <a:lnTo>
                    <a:pt x="8" y="4"/>
                  </a:lnTo>
                  <a:lnTo>
                    <a:pt x="10" y="4"/>
                  </a:lnTo>
                  <a:lnTo>
                    <a:pt x="12" y="4"/>
                  </a:lnTo>
                  <a:lnTo>
                    <a:pt x="12" y="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368">
              <a:extLst>
                <a:ext uri="{FF2B5EF4-FFF2-40B4-BE49-F238E27FC236}">
                  <a16:creationId xmlns:a16="http://schemas.microsoft.com/office/drawing/2014/main" id="{92C8B944-41E4-4802-BC86-929FCF47B132}"/>
                </a:ext>
              </a:extLst>
            </p:cNvPr>
            <p:cNvSpPr>
              <a:spLocks/>
            </p:cNvSpPr>
            <p:nvPr/>
          </p:nvSpPr>
          <p:spPr bwMode="gray">
            <a:xfrm>
              <a:off x="3576175" y="3525246"/>
              <a:ext cx="46602" cy="38018"/>
            </a:xfrm>
            <a:custGeom>
              <a:avLst/>
              <a:gdLst>
                <a:gd name="T0" fmla="*/ 28 w 38"/>
                <a:gd name="T1" fmla="*/ 4 h 31"/>
                <a:gd name="T2" fmla="*/ 30 w 38"/>
                <a:gd name="T3" fmla="*/ 6 h 31"/>
                <a:gd name="T4" fmla="*/ 34 w 38"/>
                <a:gd name="T5" fmla="*/ 6 h 31"/>
                <a:gd name="T6" fmla="*/ 36 w 38"/>
                <a:gd name="T7" fmla="*/ 8 h 31"/>
                <a:gd name="T8" fmla="*/ 36 w 38"/>
                <a:gd name="T9" fmla="*/ 12 h 31"/>
                <a:gd name="T10" fmla="*/ 38 w 38"/>
                <a:gd name="T11" fmla="*/ 14 h 31"/>
                <a:gd name="T12" fmla="*/ 36 w 38"/>
                <a:gd name="T13" fmla="*/ 15 h 31"/>
                <a:gd name="T14" fmla="*/ 36 w 38"/>
                <a:gd name="T15" fmla="*/ 19 h 31"/>
                <a:gd name="T16" fmla="*/ 36 w 38"/>
                <a:gd name="T17" fmla="*/ 19 h 31"/>
                <a:gd name="T18" fmla="*/ 34 w 38"/>
                <a:gd name="T19" fmla="*/ 21 h 31"/>
                <a:gd name="T20" fmla="*/ 34 w 38"/>
                <a:gd name="T21" fmla="*/ 25 h 31"/>
                <a:gd name="T22" fmla="*/ 32 w 38"/>
                <a:gd name="T23" fmla="*/ 23 h 31"/>
                <a:gd name="T24" fmla="*/ 30 w 38"/>
                <a:gd name="T25" fmla="*/ 25 h 31"/>
                <a:gd name="T26" fmla="*/ 26 w 38"/>
                <a:gd name="T27" fmla="*/ 25 h 31"/>
                <a:gd name="T28" fmla="*/ 26 w 38"/>
                <a:gd name="T29" fmla="*/ 25 h 31"/>
                <a:gd name="T30" fmla="*/ 26 w 38"/>
                <a:gd name="T31" fmla="*/ 25 h 31"/>
                <a:gd name="T32" fmla="*/ 23 w 38"/>
                <a:gd name="T33" fmla="*/ 25 h 31"/>
                <a:gd name="T34" fmla="*/ 21 w 38"/>
                <a:gd name="T35" fmla="*/ 27 h 31"/>
                <a:gd name="T36" fmla="*/ 19 w 38"/>
                <a:gd name="T37" fmla="*/ 29 h 31"/>
                <a:gd name="T38" fmla="*/ 17 w 38"/>
                <a:gd name="T39" fmla="*/ 31 h 31"/>
                <a:gd name="T40" fmla="*/ 15 w 38"/>
                <a:gd name="T41" fmla="*/ 29 h 31"/>
                <a:gd name="T42" fmla="*/ 13 w 38"/>
                <a:gd name="T43" fmla="*/ 31 h 31"/>
                <a:gd name="T44" fmla="*/ 11 w 38"/>
                <a:gd name="T45" fmla="*/ 29 h 31"/>
                <a:gd name="T46" fmla="*/ 9 w 38"/>
                <a:gd name="T47" fmla="*/ 31 h 31"/>
                <a:gd name="T48" fmla="*/ 7 w 38"/>
                <a:gd name="T49" fmla="*/ 29 h 31"/>
                <a:gd name="T50" fmla="*/ 3 w 38"/>
                <a:gd name="T51" fmla="*/ 29 h 31"/>
                <a:gd name="T52" fmla="*/ 3 w 38"/>
                <a:gd name="T53" fmla="*/ 25 h 31"/>
                <a:gd name="T54" fmla="*/ 1 w 38"/>
                <a:gd name="T55" fmla="*/ 23 h 31"/>
                <a:gd name="T56" fmla="*/ 1 w 38"/>
                <a:gd name="T57" fmla="*/ 19 h 31"/>
                <a:gd name="T58" fmla="*/ 0 w 38"/>
                <a:gd name="T59" fmla="*/ 17 h 31"/>
                <a:gd name="T60" fmla="*/ 1 w 38"/>
                <a:gd name="T61" fmla="*/ 15 h 31"/>
                <a:gd name="T62" fmla="*/ 1 w 38"/>
                <a:gd name="T63" fmla="*/ 12 h 31"/>
                <a:gd name="T64" fmla="*/ 1 w 38"/>
                <a:gd name="T65" fmla="*/ 12 h 31"/>
                <a:gd name="T66" fmla="*/ 3 w 38"/>
                <a:gd name="T67" fmla="*/ 10 h 31"/>
                <a:gd name="T68" fmla="*/ 5 w 38"/>
                <a:gd name="T69" fmla="*/ 8 h 31"/>
                <a:gd name="T70" fmla="*/ 5 w 38"/>
                <a:gd name="T71" fmla="*/ 8 h 31"/>
                <a:gd name="T72" fmla="*/ 5 w 38"/>
                <a:gd name="T73" fmla="*/ 8 h 31"/>
                <a:gd name="T74" fmla="*/ 5 w 38"/>
                <a:gd name="T75" fmla="*/ 8 h 31"/>
                <a:gd name="T76" fmla="*/ 7 w 38"/>
                <a:gd name="T77" fmla="*/ 6 h 31"/>
                <a:gd name="T78" fmla="*/ 9 w 38"/>
                <a:gd name="T79" fmla="*/ 4 h 31"/>
                <a:gd name="T80" fmla="*/ 11 w 38"/>
                <a:gd name="T81" fmla="*/ 6 h 31"/>
                <a:gd name="T82" fmla="*/ 13 w 38"/>
                <a:gd name="T83" fmla="*/ 4 h 31"/>
                <a:gd name="T84" fmla="*/ 15 w 38"/>
                <a:gd name="T85" fmla="*/ 2 h 31"/>
                <a:gd name="T86" fmla="*/ 15 w 38"/>
                <a:gd name="T87" fmla="*/ 2 h 31"/>
                <a:gd name="T88" fmla="*/ 15 w 38"/>
                <a:gd name="T89" fmla="*/ 2 h 31"/>
                <a:gd name="T90" fmla="*/ 17 w 38"/>
                <a:gd name="T91" fmla="*/ 4 h 31"/>
                <a:gd name="T92" fmla="*/ 17 w 38"/>
                <a:gd name="T93" fmla="*/ 2 h 31"/>
                <a:gd name="T94" fmla="*/ 19 w 38"/>
                <a:gd name="T95" fmla="*/ 4 h 31"/>
                <a:gd name="T96" fmla="*/ 21 w 38"/>
                <a:gd name="T97" fmla="*/ 2 h 31"/>
                <a:gd name="T98" fmla="*/ 23 w 38"/>
                <a:gd name="T99" fmla="*/ 0 h 31"/>
                <a:gd name="T100" fmla="*/ 25 w 38"/>
                <a:gd name="T101" fmla="*/ 2 h 31"/>
                <a:gd name="T102" fmla="*/ 26 w 38"/>
                <a:gd name="T103" fmla="*/ 0 h 31"/>
                <a:gd name="T104" fmla="*/ 28 w 38"/>
                <a:gd name="T105"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 h="31">
                  <a:moveTo>
                    <a:pt x="28" y="2"/>
                  </a:moveTo>
                  <a:lnTo>
                    <a:pt x="28" y="4"/>
                  </a:lnTo>
                  <a:lnTo>
                    <a:pt x="30" y="4"/>
                  </a:lnTo>
                  <a:lnTo>
                    <a:pt x="30" y="6"/>
                  </a:lnTo>
                  <a:lnTo>
                    <a:pt x="32" y="6"/>
                  </a:lnTo>
                  <a:lnTo>
                    <a:pt x="34" y="6"/>
                  </a:lnTo>
                  <a:lnTo>
                    <a:pt x="34" y="8"/>
                  </a:lnTo>
                  <a:lnTo>
                    <a:pt x="36" y="8"/>
                  </a:lnTo>
                  <a:lnTo>
                    <a:pt x="36" y="10"/>
                  </a:lnTo>
                  <a:lnTo>
                    <a:pt x="36" y="12"/>
                  </a:lnTo>
                  <a:lnTo>
                    <a:pt x="38" y="12"/>
                  </a:lnTo>
                  <a:lnTo>
                    <a:pt x="38" y="14"/>
                  </a:lnTo>
                  <a:lnTo>
                    <a:pt x="38" y="15"/>
                  </a:lnTo>
                  <a:lnTo>
                    <a:pt x="36" y="15"/>
                  </a:lnTo>
                  <a:lnTo>
                    <a:pt x="36" y="17"/>
                  </a:lnTo>
                  <a:lnTo>
                    <a:pt x="36" y="19"/>
                  </a:lnTo>
                  <a:lnTo>
                    <a:pt x="38" y="19"/>
                  </a:lnTo>
                  <a:lnTo>
                    <a:pt x="36" y="19"/>
                  </a:lnTo>
                  <a:lnTo>
                    <a:pt x="36" y="21"/>
                  </a:lnTo>
                  <a:lnTo>
                    <a:pt x="34" y="21"/>
                  </a:lnTo>
                  <a:lnTo>
                    <a:pt x="34" y="23"/>
                  </a:lnTo>
                  <a:lnTo>
                    <a:pt x="34" y="25"/>
                  </a:lnTo>
                  <a:lnTo>
                    <a:pt x="32" y="25"/>
                  </a:lnTo>
                  <a:lnTo>
                    <a:pt x="32" y="23"/>
                  </a:lnTo>
                  <a:lnTo>
                    <a:pt x="32" y="25"/>
                  </a:lnTo>
                  <a:lnTo>
                    <a:pt x="30" y="25"/>
                  </a:lnTo>
                  <a:lnTo>
                    <a:pt x="28" y="25"/>
                  </a:lnTo>
                  <a:lnTo>
                    <a:pt x="26" y="25"/>
                  </a:lnTo>
                  <a:lnTo>
                    <a:pt x="28" y="25"/>
                  </a:lnTo>
                  <a:lnTo>
                    <a:pt x="26" y="25"/>
                  </a:lnTo>
                  <a:lnTo>
                    <a:pt x="26" y="23"/>
                  </a:lnTo>
                  <a:lnTo>
                    <a:pt x="26" y="25"/>
                  </a:lnTo>
                  <a:lnTo>
                    <a:pt x="25" y="25"/>
                  </a:lnTo>
                  <a:lnTo>
                    <a:pt x="23" y="25"/>
                  </a:lnTo>
                  <a:lnTo>
                    <a:pt x="21" y="25"/>
                  </a:lnTo>
                  <a:lnTo>
                    <a:pt x="21" y="27"/>
                  </a:lnTo>
                  <a:lnTo>
                    <a:pt x="21" y="29"/>
                  </a:lnTo>
                  <a:lnTo>
                    <a:pt x="19" y="29"/>
                  </a:lnTo>
                  <a:lnTo>
                    <a:pt x="17" y="29"/>
                  </a:lnTo>
                  <a:lnTo>
                    <a:pt x="17" y="31"/>
                  </a:lnTo>
                  <a:lnTo>
                    <a:pt x="17" y="29"/>
                  </a:lnTo>
                  <a:lnTo>
                    <a:pt x="15" y="29"/>
                  </a:lnTo>
                  <a:lnTo>
                    <a:pt x="13" y="29"/>
                  </a:lnTo>
                  <a:lnTo>
                    <a:pt x="13" y="31"/>
                  </a:lnTo>
                  <a:lnTo>
                    <a:pt x="11" y="31"/>
                  </a:lnTo>
                  <a:lnTo>
                    <a:pt x="11" y="29"/>
                  </a:lnTo>
                  <a:lnTo>
                    <a:pt x="11" y="31"/>
                  </a:lnTo>
                  <a:lnTo>
                    <a:pt x="9" y="31"/>
                  </a:lnTo>
                  <a:lnTo>
                    <a:pt x="7" y="31"/>
                  </a:lnTo>
                  <a:lnTo>
                    <a:pt x="7" y="29"/>
                  </a:lnTo>
                  <a:lnTo>
                    <a:pt x="5" y="29"/>
                  </a:lnTo>
                  <a:lnTo>
                    <a:pt x="3" y="29"/>
                  </a:lnTo>
                  <a:lnTo>
                    <a:pt x="3" y="27"/>
                  </a:lnTo>
                  <a:lnTo>
                    <a:pt x="3" y="25"/>
                  </a:lnTo>
                  <a:lnTo>
                    <a:pt x="1" y="25"/>
                  </a:lnTo>
                  <a:lnTo>
                    <a:pt x="1" y="23"/>
                  </a:lnTo>
                  <a:lnTo>
                    <a:pt x="1" y="21"/>
                  </a:lnTo>
                  <a:lnTo>
                    <a:pt x="1" y="19"/>
                  </a:lnTo>
                  <a:lnTo>
                    <a:pt x="1" y="17"/>
                  </a:lnTo>
                  <a:lnTo>
                    <a:pt x="0" y="17"/>
                  </a:lnTo>
                  <a:lnTo>
                    <a:pt x="1" y="17"/>
                  </a:lnTo>
                  <a:lnTo>
                    <a:pt x="1" y="15"/>
                  </a:lnTo>
                  <a:lnTo>
                    <a:pt x="1" y="14"/>
                  </a:lnTo>
                  <a:lnTo>
                    <a:pt x="1" y="12"/>
                  </a:lnTo>
                  <a:lnTo>
                    <a:pt x="1" y="10"/>
                  </a:lnTo>
                  <a:lnTo>
                    <a:pt x="1" y="12"/>
                  </a:lnTo>
                  <a:lnTo>
                    <a:pt x="3" y="12"/>
                  </a:lnTo>
                  <a:lnTo>
                    <a:pt x="3" y="10"/>
                  </a:lnTo>
                  <a:lnTo>
                    <a:pt x="5" y="10"/>
                  </a:lnTo>
                  <a:lnTo>
                    <a:pt x="5" y="8"/>
                  </a:lnTo>
                  <a:lnTo>
                    <a:pt x="3" y="8"/>
                  </a:lnTo>
                  <a:lnTo>
                    <a:pt x="5" y="8"/>
                  </a:lnTo>
                  <a:lnTo>
                    <a:pt x="3" y="8"/>
                  </a:lnTo>
                  <a:lnTo>
                    <a:pt x="5" y="8"/>
                  </a:lnTo>
                  <a:lnTo>
                    <a:pt x="3" y="8"/>
                  </a:lnTo>
                  <a:lnTo>
                    <a:pt x="5" y="8"/>
                  </a:lnTo>
                  <a:lnTo>
                    <a:pt x="5" y="6"/>
                  </a:lnTo>
                  <a:lnTo>
                    <a:pt x="7" y="6"/>
                  </a:lnTo>
                  <a:lnTo>
                    <a:pt x="7" y="4"/>
                  </a:lnTo>
                  <a:lnTo>
                    <a:pt x="9" y="4"/>
                  </a:lnTo>
                  <a:lnTo>
                    <a:pt x="11" y="4"/>
                  </a:lnTo>
                  <a:lnTo>
                    <a:pt x="11" y="6"/>
                  </a:lnTo>
                  <a:lnTo>
                    <a:pt x="13" y="6"/>
                  </a:lnTo>
                  <a:lnTo>
                    <a:pt x="13" y="4"/>
                  </a:lnTo>
                  <a:lnTo>
                    <a:pt x="13" y="2"/>
                  </a:lnTo>
                  <a:lnTo>
                    <a:pt x="15" y="2"/>
                  </a:lnTo>
                  <a:lnTo>
                    <a:pt x="15" y="4"/>
                  </a:lnTo>
                  <a:lnTo>
                    <a:pt x="15" y="2"/>
                  </a:lnTo>
                  <a:lnTo>
                    <a:pt x="15" y="4"/>
                  </a:lnTo>
                  <a:lnTo>
                    <a:pt x="15" y="2"/>
                  </a:lnTo>
                  <a:lnTo>
                    <a:pt x="15" y="4"/>
                  </a:lnTo>
                  <a:lnTo>
                    <a:pt x="17" y="4"/>
                  </a:lnTo>
                  <a:lnTo>
                    <a:pt x="15" y="4"/>
                  </a:lnTo>
                  <a:lnTo>
                    <a:pt x="17" y="2"/>
                  </a:lnTo>
                  <a:lnTo>
                    <a:pt x="19" y="2"/>
                  </a:lnTo>
                  <a:lnTo>
                    <a:pt x="19" y="4"/>
                  </a:lnTo>
                  <a:lnTo>
                    <a:pt x="19" y="2"/>
                  </a:lnTo>
                  <a:lnTo>
                    <a:pt x="21" y="2"/>
                  </a:lnTo>
                  <a:lnTo>
                    <a:pt x="23" y="2"/>
                  </a:lnTo>
                  <a:lnTo>
                    <a:pt x="23" y="0"/>
                  </a:lnTo>
                  <a:lnTo>
                    <a:pt x="23" y="2"/>
                  </a:lnTo>
                  <a:lnTo>
                    <a:pt x="25" y="2"/>
                  </a:lnTo>
                  <a:lnTo>
                    <a:pt x="26" y="2"/>
                  </a:lnTo>
                  <a:lnTo>
                    <a:pt x="26" y="0"/>
                  </a:lnTo>
                  <a:lnTo>
                    <a:pt x="26" y="2"/>
                  </a:lnTo>
                  <a:lnTo>
                    <a:pt x="28" y="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369">
              <a:extLst>
                <a:ext uri="{FF2B5EF4-FFF2-40B4-BE49-F238E27FC236}">
                  <a16:creationId xmlns:a16="http://schemas.microsoft.com/office/drawing/2014/main" id="{306CDA13-938C-46E1-BBAA-FFA91675953D}"/>
                </a:ext>
              </a:extLst>
            </p:cNvPr>
            <p:cNvSpPr>
              <a:spLocks noEditPoints="1"/>
            </p:cNvSpPr>
            <p:nvPr/>
          </p:nvSpPr>
          <p:spPr bwMode="gray">
            <a:xfrm>
              <a:off x="3540610" y="3497039"/>
              <a:ext cx="35565" cy="42924"/>
            </a:xfrm>
            <a:custGeom>
              <a:avLst/>
              <a:gdLst>
                <a:gd name="T0" fmla="*/ 11 w 29"/>
                <a:gd name="T1" fmla="*/ 2 h 35"/>
                <a:gd name="T2" fmla="*/ 13 w 29"/>
                <a:gd name="T3" fmla="*/ 4 h 35"/>
                <a:gd name="T4" fmla="*/ 15 w 29"/>
                <a:gd name="T5" fmla="*/ 6 h 35"/>
                <a:gd name="T6" fmla="*/ 17 w 29"/>
                <a:gd name="T7" fmla="*/ 8 h 35"/>
                <a:gd name="T8" fmla="*/ 21 w 29"/>
                <a:gd name="T9" fmla="*/ 8 h 35"/>
                <a:gd name="T10" fmla="*/ 21 w 29"/>
                <a:gd name="T11" fmla="*/ 8 h 35"/>
                <a:gd name="T12" fmla="*/ 23 w 29"/>
                <a:gd name="T13" fmla="*/ 10 h 35"/>
                <a:gd name="T14" fmla="*/ 25 w 29"/>
                <a:gd name="T15" fmla="*/ 12 h 35"/>
                <a:gd name="T16" fmla="*/ 27 w 29"/>
                <a:gd name="T17" fmla="*/ 14 h 35"/>
                <a:gd name="T18" fmla="*/ 27 w 29"/>
                <a:gd name="T19" fmla="*/ 14 h 35"/>
                <a:gd name="T20" fmla="*/ 25 w 29"/>
                <a:gd name="T21" fmla="*/ 15 h 35"/>
                <a:gd name="T22" fmla="*/ 23 w 29"/>
                <a:gd name="T23" fmla="*/ 17 h 35"/>
                <a:gd name="T24" fmla="*/ 23 w 29"/>
                <a:gd name="T25" fmla="*/ 17 h 35"/>
                <a:gd name="T26" fmla="*/ 23 w 29"/>
                <a:gd name="T27" fmla="*/ 21 h 35"/>
                <a:gd name="T28" fmla="*/ 19 w 29"/>
                <a:gd name="T29" fmla="*/ 21 h 35"/>
                <a:gd name="T30" fmla="*/ 19 w 29"/>
                <a:gd name="T31" fmla="*/ 17 h 35"/>
                <a:gd name="T32" fmla="*/ 17 w 29"/>
                <a:gd name="T33" fmla="*/ 19 h 35"/>
                <a:gd name="T34" fmla="*/ 15 w 29"/>
                <a:gd name="T35" fmla="*/ 21 h 35"/>
                <a:gd name="T36" fmla="*/ 13 w 29"/>
                <a:gd name="T37" fmla="*/ 23 h 35"/>
                <a:gd name="T38" fmla="*/ 13 w 29"/>
                <a:gd name="T39" fmla="*/ 27 h 35"/>
                <a:gd name="T40" fmla="*/ 13 w 29"/>
                <a:gd name="T41" fmla="*/ 29 h 35"/>
                <a:gd name="T42" fmla="*/ 13 w 29"/>
                <a:gd name="T43" fmla="*/ 33 h 35"/>
                <a:gd name="T44" fmla="*/ 9 w 29"/>
                <a:gd name="T45" fmla="*/ 33 h 35"/>
                <a:gd name="T46" fmla="*/ 9 w 29"/>
                <a:gd name="T47" fmla="*/ 33 h 35"/>
                <a:gd name="T48" fmla="*/ 9 w 29"/>
                <a:gd name="T49" fmla="*/ 29 h 35"/>
                <a:gd name="T50" fmla="*/ 7 w 29"/>
                <a:gd name="T51" fmla="*/ 27 h 35"/>
                <a:gd name="T52" fmla="*/ 6 w 29"/>
                <a:gd name="T53" fmla="*/ 25 h 35"/>
                <a:gd name="T54" fmla="*/ 4 w 29"/>
                <a:gd name="T55" fmla="*/ 23 h 35"/>
                <a:gd name="T56" fmla="*/ 4 w 29"/>
                <a:gd name="T57" fmla="*/ 23 h 35"/>
                <a:gd name="T58" fmla="*/ 4 w 29"/>
                <a:gd name="T59" fmla="*/ 23 h 35"/>
                <a:gd name="T60" fmla="*/ 2 w 29"/>
                <a:gd name="T61" fmla="*/ 21 h 35"/>
                <a:gd name="T62" fmla="*/ 2 w 29"/>
                <a:gd name="T63" fmla="*/ 21 h 35"/>
                <a:gd name="T64" fmla="*/ 0 w 29"/>
                <a:gd name="T65" fmla="*/ 23 h 35"/>
                <a:gd name="T66" fmla="*/ 0 w 29"/>
                <a:gd name="T67" fmla="*/ 23 h 35"/>
                <a:gd name="T68" fmla="*/ 0 w 29"/>
                <a:gd name="T69" fmla="*/ 19 h 35"/>
                <a:gd name="T70" fmla="*/ 0 w 29"/>
                <a:gd name="T71" fmla="*/ 19 h 35"/>
                <a:gd name="T72" fmla="*/ 2 w 29"/>
                <a:gd name="T73" fmla="*/ 17 h 35"/>
                <a:gd name="T74" fmla="*/ 2 w 29"/>
                <a:gd name="T75" fmla="*/ 17 h 35"/>
                <a:gd name="T76" fmla="*/ 0 w 29"/>
                <a:gd name="T77" fmla="*/ 15 h 35"/>
                <a:gd name="T78" fmla="*/ 0 w 29"/>
                <a:gd name="T79" fmla="*/ 12 h 35"/>
                <a:gd name="T80" fmla="*/ 4 w 29"/>
                <a:gd name="T81" fmla="*/ 10 h 35"/>
                <a:gd name="T82" fmla="*/ 2 w 29"/>
                <a:gd name="T83" fmla="*/ 8 h 35"/>
                <a:gd name="T84" fmla="*/ 4 w 29"/>
                <a:gd name="T85" fmla="*/ 6 h 35"/>
                <a:gd name="T86" fmla="*/ 6 w 29"/>
                <a:gd name="T87" fmla="*/ 4 h 35"/>
                <a:gd name="T88" fmla="*/ 7 w 29"/>
                <a:gd name="T89" fmla="*/ 6 h 35"/>
                <a:gd name="T90" fmla="*/ 9 w 29"/>
                <a:gd name="T91" fmla="*/ 4 h 35"/>
                <a:gd name="T92" fmla="*/ 7 w 29"/>
                <a:gd name="T93" fmla="*/ 2 h 35"/>
                <a:gd name="T94" fmla="*/ 7 w 29"/>
                <a:gd name="T95" fmla="*/ 2 h 35"/>
                <a:gd name="T96" fmla="*/ 9 w 29"/>
                <a:gd name="T97" fmla="*/ 0 h 35"/>
                <a:gd name="T98" fmla="*/ 13 w 29"/>
                <a:gd name="T99" fmla="*/ 33 h 35"/>
                <a:gd name="T100" fmla="*/ 13 w 29"/>
                <a:gd name="T101"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 h="35">
                  <a:moveTo>
                    <a:pt x="11" y="0"/>
                  </a:moveTo>
                  <a:lnTo>
                    <a:pt x="11" y="2"/>
                  </a:lnTo>
                  <a:lnTo>
                    <a:pt x="13" y="2"/>
                  </a:lnTo>
                  <a:lnTo>
                    <a:pt x="13" y="4"/>
                  </a:lnTo>
                  <a:lnTo>
                    <a:pt x="15" y="4"/>
                  </a:lnTo>
                  <a:lnTo>
                    <a:pt x="15" y="6"/>
                  </a:lnTo>
                  <a:lnTo>
                    <a:pt x="17" y="6"/>
                  </a:lnTo>
                  <a:lnTo>
                    <a:pt x="17" y="8"/>
                  </a:lnTo>
                  <a:lnTo>
                    <a:pt x="19" y="8"/>
                  </a:lnTo>
                  <a:lnTo>
                    <a:pt x="21" y="8"/>
                  </a:lnTo>
                  <a:lnTo>
                    <a:pt x="21" y="10"/>
                  </a:lnTo>
                  <a:lnTo>
                    <a:pt x="21" y="8"/>
                  </a:lnTo>
                  <a:lnTo>
                    <a:pt x="21" y="10"/>
                  </a:lnTo>
                  <a:lnTo>
                    <a:pt x="23" y="10"/>
                  </a:lnTo>
                  <a:lnTo>
                    <a:pt x="23" y="12"/>
                  </a:lnTo>
                  <a:lnTo>
                    <a:pt x="25" y="12"/>
                  </a:lnTo>
                  <a:lnTo>
                    <a:pt x="27" y="12"/>
                  </a:lnTo>
                  <a:lnTo>
                    <a:pt x="27" y="14"/>
                  </a:lnTo>
                  <a:lnTo>
                    <a:pt x="29" y="14"/>
                  </a:lnTo>
                  <a:lnTo>
                    <a:pt x="27" y="14"/>
                  </a:lnTo>
                  <a:lnTo>
                    <a:pt x="27" y="15"/>
                  </a:lnTo>
                  <a:lnTo>
                    <a:pt x="25" y="15"/>
                  </a:lnTo>
                  <a:lnTo>
                    <a:pt x="23" y="15"/>
                  </a:lnTo>
                  <a:lnTo>
                    <a:pt x="23" y="17"/>
                  </a:lnTo>
                  <a:lnTo>
                    <a:pt x="25" y="17"/>
                  </a:lnTo>
                  <a:lnTo>
                    <a:pt x="23" y="17"/>
                  </a:lnTo>
                  <a:lnTo>
                    <a:pt x="23" y="19"/>
                  </a:lnTo>
                  <a:lnTo>
                    <a:pt x="23" y="21"/>
                  </a:lnTo>
                  <a:lnTo>
                    <a:pt x="21" y="21"/>
                  </a:lnTo>
                  <a:lnTo>
                    <a:pt x="19" y="21"/>
                  </a:lnTo>
                  <a:lnTo>
                    <a:pt x="19" y="19"/>
                  </a:lnTo>
                  <a:lnTo>
                    <a:pt x="19" y="17"/>
                  </a:lnTo>
                  <a:lnTo>
                    <a:pt x="17" y="17"/>
                  </a:lnTo>
                  <a:lnTo>
                    <a:pt x="17" y="19"/>
                  </a:lnTo>
                  <a:lnTo>
                    <a:pt x="17" y="21"/>
                  </a:lnTo>
                  <a:lnTo>
                    <a:pt x="15" y="21"/>
                  </a:lnTo>
                  <a:lnTo>
                    <a:pt x="15" y="23"/>
                  </a:lnTo>
                  <a:lnTo>
                    <a:pt x="13" y="23"/>
                  </a:lnTo>
                  <a:lnTo>
                    <a:pt x="13" y="25"/>
                  </a:lnTo>
                  <a:lnTo>
                    <a:pt x="13" y="27"/>
                  </a:lnTo>
                  <a:lnTo>
                    <a:pt x="11" y="27"/>
                  </a:lnTo>
                  <a:lnTo>
                    <a:pt x="13" y="29"/>
                  </a:lnTo>
                  <a:lnTo>
                    <a:pt x="13" y="31"/>
                  </a:lnTo>
                  <a:lnTo>
                    <a:pt x="13" y="33"/>
                  </a:lnTo>
                  <a:lnTo>
                    <a:pt x="11" y="33"/>
                  </a:lnTo>
                  <a:lnTo>
                    <a:pt x="9" y="33"/>
                  </a:lnTo>
                  <a:lnTo>
                    <a:pt x="9" y="31"/>
                  </a:lnTo>
                  <a:lnTo>
                    <a:pt x="9" y="33"/>
                  </a:lnTo>
                  <a:lnTo>
                    <a:pt x="9" y="31"/>
                  </a:lnTo>
                  <a:lnTo>
                    <a:pt x="9" y="29"/>
                  </a:lnTo>
                  <a:lnTo>
                    <a:pt x="7" y="29"/>
                  </a:lnTo>
                  <a:lnTo>
                    <a:pt x="7" y="27"/>
                  </a:lnTo>
                  <a:lnTo>
                    <a:pt x="6" y="27"/>
                  </a:lnTo>
                  <a:lnTo>
                    <a:pt x="6" y="25"/>
                  </a:lnTo>
                  <a:lnTo>
                    <a:pt x="4" y="25"/>
                  </a:lnTo>
                  <a:lnTo>
                    <a:pt x="4" y="23"/>
                  </a:lnTo>
                  <a:lnTo>
                    <a:pt x="2" y="23"/>
                  </a:lnTo>
                  <a:lnTo>
                    <a:pt x="4" y="23"/>
                  </a:lnTo>
                  <a:lnTo>
                    <a:pt x="4" y="21"/>
                  </a:lnTo>
                  <a:lnTo>
                    <a:pt x="4" y="23"/>
                  </a:lnTo>
                  <a:lnTo>
                    <a:pt x="4" y="21"/>
                  </a:lnTo>
                  <a:lnTo>
                    <a:pt x="2" y="21"/>
                  </a:lnTo>
                  <a:lnTo>
                    <a:pt x="2" y="23"/>
                  </a:lnTo>
                  <a:lnTo>
                    <a:pt x="2" y="21"/>
                  </a:lnTo>
                  <a:lnTo>
                    <a:pt x="0" y="21"/>
                  </a:lnTo>
                  <a:lnTo>
                    <a:pt x="0" y="23"/>
                  </a:lnTo>
                  <a:lnTo>
                    <a:pt x="2" y="23"/>
                  </a:lnTo>
                  <a:lnTo>
                    <a:pt x="0" y="23"/>
                  </a:lnTo>
                  <a:lnTo>
                    <a:pt x="0" y="21"/>
                  </a:lnTo>
                  <a:lnTo>
                    <a:pt x="0" y="19"/>
                  </a:lnTo>
                  <a:lnTo>
                    <a:pt x="2" y="19"/>
                  </a:lnTo>
                  <a:lnTo>
                    <a:pt x="0" y="19"/>
                  </a:lnTo>
                  <a:lnTo>
                    <a:pt x="2" y="19"/>
                  </a:lnTo>
                  <a:lnTo>
                    <a:pt x="2" y="17"/>
                  </a:lnTo>
                  <a:lnTo>
                    <a:pt x="2" y="15"/>
                  </a:lnTo>
                  <a:lnTo>
                    <a:pt x="2" y="17"/>
                  </a:lnTo>
                  <a:lnTo>
                    <a:pt x="2" y="15"/>
                  </a:lnTo>
                  <a:lnTo>
                    <a:pt x="0" y="15"/>
                  </a:lnTo>
                  <a:lnTo>
                    <a:pt x="0" y="14"/>
                  </a:lnTo>
                  <a:lnTo>
                    <a:pt x="0" y="12"/>
                  </a:lnTo>
                  <a:lnTo>
                    <a:pt x="2" y="10"/>
                  </a:lnTo>
                  <a:lnTo>
                    <a:pt x="4" y="10"/>
                  </a:lnTo>
                  <a:lnTo>
                    <a:pt x="2" y="10"/>
                  </a:lnTo>
                  <a:lnTo>
                    <a:pt x="2" y="8"/>
                  </a:lnTo>
                  <a:lnTo>
                    <a:pt x="4" y="8"/>
                  </a:lnTo>
                  <a:lnTo>
                    <a:pt x="4" y="6"/>
                  </a:lnTo>
                  <a:lnTo>
                    <a:pt x="6" y="6"/>
                  </a:lnTo>
                  <a:lnTo>
                    <a:pt x="6" y="4"/>
                  </a:lnTo>
                  <a:lnTo>
                    <a:pt x="7" y="4"/>
                  </a:lnTo>
                  <a:lnTo>
                    <a:pt x="7" y="6"/>
                  </a:lnTo>
                  <a:lnTo>
                    <a:pt x="9" y="6"/>
                  </a:lnTo>
                  <a:lnTo>
                    <a:pt x="9" y="4"/>
                  </a:lnTo>
                  <a:lnTo>
                    <a:pt x="7" y="4"/>
                  </a:lnTo>
                  <a:lnTo>
                    <a:pt x="7" y="2"/>
                  </a:lnTo>
                  <a:lnTo>
                    <a:pt x="7" y="0"/>
                  </a:lnTo>
                  <a:lnTo>
                    <a:pt x="7" y="2"/>
                  </a:lnTo>
                  <a:lnTo>
                    <a:pt x="7" y="0"/>
                  </a:lnTo>
                  <a:lnTo>
                    <a:pt x="9" y="0"/>
                  </a:lnTo>
                  <a:lnTo>
                    <a:pt x="11" y="0"/>
                  </a:lnTo>
                  <a:close/>
                  <a:moveTo>
                    <a:pt x="13" y="33"/>
                  </a:moveTo>
                  <a:lnTo>
                    <a:pt x="13" y="35"/>
                  </a:lnTo>
                  <a:lnTo>
                    <a:pt x="13" y="3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370">
              <a:extLst>
                <a:ext uri="{FF2B5EF4-FFF2-40B4-BE49-F238E27FC236}">
                  <a16:creationId xmlns:a16="http://schemas.microsoft.com/office/drawing/2014/main" id="{F9D72DAD-4408-4B30-846C-F7B0893D4EC3}"/>
                </a:ext>
              </a:extLst>
            </p:cNvPr>
            <p:cNvSpPr>
              <a:spLocks/>
            </p:cNvSpPr>
            <p:nvPr/>
          </p:nvSpPr>
          <p:spPr bwMode="gray">
            <a:xfrm>
              <a:off x="3568817" y="3504398"/>
              <a:ext cx="30660" cy="35565"/>
            </a:xfrm>
            <a:custGeom>
              <a:avLst/>
              <a:gdLst>
                <a:gd name="T0" fmla="*/ 21 w 25"/>
                <a:gd name="T1" fmla="*/ 21 h 29"/>
                <a:gd name="T2" fmla="*/ 21 w 25"/>
                <a:gd name="T3" fmla="*/ 21 h 29"/>
                <a:gd name="T4" fmla="*/ 21 w 25"/>
                <a:gd name="T5" fmla="*/ 21 h 29"/>
                <a:gd name="T6" fmla="*/ 21 w 25"/>
                <a:gd name="T7" fmla="*/ 21 h 29"/>
                <a:gd name="T8" fmla="*/ 19 w 25"/>
                <a:gd name="T9" fmla="*/ 19 h 29"/>
                <a:gd name="T10" fmla="*/ 19 w 25"/>
                <a:gd name="T11" fmla="*/ 23 h 29"/>
                <a:gd name="T12" fmla="*/ 17 w 25"/>
                <a:gd name="T13" fmla="*/ 21 h 29"/>
                <a:gd name="T14" fmla="*/ 13 w 25"/>
                <a:gd name="T15" fmla="*/ 21 h 29"/>
                <a:gd name="T16" fmla="*/ 11 w 25"/>
                <a:gd name="T17" fmla="*/ 23 h 29"/>
                <a:gd name="T18" fmla="*/ 9 w 25"/>
                <a:gd name="T19" fmla="*/ 25 h 29"/>
                <a:gd name="T20" fmla="*/ 9 w 25"/>
                <a:gd name="T21" fmla="*/ 25 h 29"/>
                <a:gd name="T22" fmla="*/ 9 w 25"/>
                <a:gd name="T23" fmla="*/ 25 h 29"/>
                <a:gd name="T24" fmla="*/ 11 w 25"/>
                <a:gd name="T25" fmla="*/ 27 h 29"/>
                <a:gd name="T26" fmla="*/ 9 w 25"/>
                <a:gd name="T27" fmla="*/ 29 h 29"/>
                <a:gd name="T28" fmla="*/ 7 w 25"/>
                <a:gd name="T29" fmla="*/ 27 h 29"/>
                <a:gd name="T30" fmla="*/ 9 w 25"/>
                <a:gd name="T31" fmla="*/ 25 h 29"/>
                <a:gd name="T32" fmla="*/ 7 w 25"/>
                <a:gd name="T33" fmla="*/ 23 h 29"/>
                <a:gd name="T34" fmla="*/ 7 w 25"/>
                <a:gd name="T35" fmla="*/ 19 h 29"/>
                <a:gd name="T36" fmla="*/ 4 w 25"/>
                <a:gd name="T37" fmla="*/ 19 h 29"/>
                <a:gd name="T38" fmla="*/ 2 w 25"/>
                <a:gd name="T39" fmla="*/ 17 h 29"/>
                <a:gd name="T40" fmla="*/ 2 w 25"/>
                <a:gd name="T41" fmla="*/ 17 h 29"/>
                <a:gd name="T42" fmla="*/ 2 w 25"/>
                <a:gd name="T43" fmla="*/ 13 h 29"/>
                <a:gd name="T44" fmla="*/ 0 w 25"/>
                <a:gd name="T45" fmla="*/ 11 h 29"/>
                <a:gd name="T46" fmla="*/ 0 w 25"/>
                <a:gd name="T47" fmla="*/ 11 h 29"/>
                <a:gd name="T48" fmla="*/ 2 w 25"/>
                <a:gd name="T49" fmla="*/ 9 h 29"/>
                <a:gd name="T50" fmla="*/ 4 w 25"/>
                <a:gd name="T51" fmla="*/ 8 h 29"/>
                <a:gd name="T52" fmla="*/ 7 w 25"/>
                <a:gd name="T53" fmla="*/ 8 h 29"/>
                <a:gd name="T54" fmla="*/ 6 w 25"/>
                <a:gd name="T55" fmla="*/ 6 h 29"/>
                <a:gd name="T56" fmla="*/ 7 w 25"/>
                <a:gd name="T57" fmla="*/ 4 h 29"/>
                <a:gd name="T58" fmla="*/ 7 w 25"/>
                <a:gd name="T59" fmla="*/ 4 h 29"/>
                <a:gd name="T60" fmla="*/ 7 w 25"/>
                <a:gd name="T61" fmla="*/ 4 h 29"/>
                <a:gd name="T62" fmla="*/ 9 w 25"/>
                <a:gd name="T63" fmla="*/ 6 h 29"/>
                <a:gd name="T64" fmla="*/ 9 w 25"/>
                <a:gd name="T65" fmla="*/ 6 h 29"/>
                <a:gd name="T66" fmla="*/ 9 w 25"/>
                <a:gd name="T67" fmla="*/ 2 h 29"/>
                <a:gd name="T68" fmla="*/ 7 w 25"/>
                <a:gd name="T69" fmla="*/ 0 h 29"/>
                <a:gd name="T70" fmla="*/ 9 w 25"/>
                <a:gd name="T71" fmla="*/ 2 h 29"/>
                <a:gd name="T72" fmla="*/ 9 w 25"/>
                <a:gd name="T73" fmla="*/ 2 h 29"/>
                <a:gd name="T74" fmla="*/ 11 w 25"/>
                <a:gd name="T75" fmla="*/ 0 h 29"/>
                <a:gd name="T76" fmla="*/ 13 w 25"/>
                <a:gd name="T77" fmla="*/ 2 h 29"/>
                <a:gd name="T78" fmla="*/ 11 w 25"/>
                <a:gd name="T79" fmla="*/ 0 h 29"/>
                <a:gd name="T80" fmla="*/ 13 w 25"/>
                <a:gd name="T81" fmla="*/ 2 h 29"/>
                <a:gd name="T82" fmla="*/ 15 w 25"/>
                <a:gd name="T83" fmla="*/ 4 h 29"/>
                <a:gd name="T84" fmla="*/ 15 w 25"/>
                <a:gd name="T85" fmla="*/ 4 h 29"/>
                <a:gd name="T86" fmla="*/ 15 w 25"/>
                <a:gd name="T87" fmla="*/ 4 h 29"/>
                <a:gd name="T88" fmla="*/ 15 w 25"/>
                <a:gd name="T89" fmla="*/ 4 h 29"/>
                <a:gd name="T90" fmla="*/ 15 w 25"/>
                <a:gd name="T91" fmla="*/ 4 h 29"/>
                <a:gd name="T92" fmla="*/ 15 w 25"/>
                <a:gd name="T93" fmla="*/ 4 h 29"/>
                <a:gd name="T94" fmla="*/ 17 w 25"/>
                <a:gd name="T95" fmla="*/ 6 h 29"/>
                <a:gd name="T96" fmla="*/ 17 w 25"/>
                <a:gd name="T97" fmla="*/ 6 h 29"/>
                <a:gd name="T98" fmla="*/ 19 w 25"/>
                <a:gd name="T99" fmla="*/ 8 h 29"/>
                <a:gd name="T100" fmla="*/ 21 w 25"/>
                <a:gd name="T101" fmla="*/ 9 h 29"/>
                <a:gd name="T102" fmla="*/ 21 w 25"/>
                <a:gd name="T103" fmla="*/ 9 h 29"/>
                <a:gd name="T104" fmla="*/ 21 w 25"/>
                <a:gd name="T105" fmla="*/ 9 h 29"/>
                <a:gd name="T106" fmla="*/ 23 w 25"/>
                <a:gd name="T107" fmla="*/ 11 h 29"/>
                <a:gd name="T108" fmla="*/ 23 w 25"/>
                <a:gd name="T109" fmla="*/ 11 h 29"/>
                <a:gd name="T110" fmla="*/ 25 w 25"/>
                <a:gd name="T111" fmla="*/ 13 h 29"/>
                <a:gd name="T112" fmla="*/ 23 w 25"/>
                <a:gd name="T113" fmla="*/ 15 h 29"/>
                <a:gd name="T114" fmla="*/ 21 w 25"/>
                <a:gd name="T115" fmla="*/ 17 h 29"/>
                <a:gd name="T116" fmla="*/ 23 w 25"/>
                <a:gd name="T11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 h="29">
                  <a:moveTo>
                    <a:pt x="23" y="19"/>
                  </a:moveTo>
                  <a:lnTo>
                    <a:pt x="21" y="21"/>
                  </a:lnTo>
                  <a:lnTo>
                    <a:pt x="23" y="21"/>
                  </a:lnTo>
                  <a:lnTo>
                    <a:pt x="21" y="21"/>
                  </a:lnTo>
                  <a:lnTo>
                    <a:pt x="21" y="19"/>
                  </a:lnTo>
                  <a:lnTo>
                    <a:pt x="21" y="21"/>
                  </a:lnTo>
                  <a:lnTo>
                    <a:pt x="21" y="19"/>
                  </a:lnTo>
                  <a:lnTo>
                    <a:pt x="21" y="21"/>
                  </a:lnTo>
                  <a:lnTo>
                    <a:pt x="21" y="19"/>
                  </a:lnTo>
                  <a:lnTo>
                    <a:pt x="19" y="19"/>
                  </a:lnTo>
                  <a:lnTo>
                    <a:pt x="19" y="21"/>
                  </a:lnTo>
                  <a:lnTo>
                    <a:pt x="19" y="23"/>
                  </a:lnTo>
                  <a:lnTo>
                    <a:pt x="17" y="23"/>
                  </a:lnTo>
                  <a:lnTo>
                    <a:pt x="17" y="21"/>
                  </a:lnTo>
                  <a:lnTo>
                    <a:pt x="15" y="21"/>
                  </a:lnTo>
                  <a:lnTo>
                    <a:pt x="13" y="21"/>
                  </a:lnTo>
                  <a:lnTo>
                    <a:pt x="13" y="23"/>
                  </a:lnTo>
                  <a:lnTo>
                    <a:pt x="11" y="23"/>
                  </a:lnTo>
                  <a:lnTo>
                    <a:pt x="11" y="25"/>
                  </a:lnTo>
                  <a:lnTo>
                    <a:pt x="9" y="25"/>
                  </a:lnTo>
                  <a:lnTo>
                    <a:pt x="11" y="25"/>
                  </a:lnTo>
                  <a:lnTo>
                    <a:pt x="9" y="25"/>
                  </a:lnTo>
                  <a:lnTo>
                    <a:pt x="11" y="25"/>
                  </a:lnTo>
                  <a:lnTo>
                    <a:pt x="9" y="25"/>
                  </a:lnTo>
                  <a:lnTo>
                    <a:pt x="11" y="25"/>
                  </a:lnTo>
                  <a:lnTo>
                    <a:pt x="11" y="27"/>
                  </a:lnTo>
                  <a:lnTo>
                    <a:pt x="9" y="27"/>
                  </a:lnTo>
                  <a:lnTo>
                    <a:pt x="9" y="29"/>
                  </a:lnTo>
                  <a:lnTo>
                    <a:pt x="7" y="29"/>
                  </a:lnTo>
                  <a:lnTo>
                    <a:pt x="7" y="27"/>
                  </a:lnTo>
                  <a:lnTo>
                    <a:pt x="9" y="27"/>
                  </a:lnTo>
                  <a:lnTo>
                    <a:pt x="9" y="25"/>
                  </a:lnTo>
                  <a:lnTo>
                    <a:pt x="7" y="25"/>
                  </a:lnTo>
                  <a:lnTo>
                    <a:pt x="7" y="23"/>
                  </a:lnTo>
                  <a:lnTo>
                    <a:pt x="7" y="21"/>
                  </a:lnTo>
                  <a:lnTo>
                    <a:pt x="7" y="19"/>
                  </a:lnTo>
                  <a:lnTo>
                    <a:pt x="6" y="19"/>
                  </a:lnTo>
                  <a:lnTo>
                    <a:pt x="4" y="19"/>
                  </a:lnTo>
                  <a:lnTo>
                    <a:pt x="4" y="17"/>
                  </a:lnTo>
                  <a:lnTo>
                    <a:pt x="2" y="17"/>
                  </a:lnTo>
                  <a:lnTo>
                    <a:pt x="4" y="17"/>
                  </a:lnTo>
                  <a:lnTo>
                    <a:pt x="2" y="17"/>
                  </a:lnTo>
                  <a:lnTo>
                    <a:pt x="2" y="15"/>
                  </a:lnTo>
                  <a:lnTo>
                    <a:pt x="2" y="13"/>
                  </a:lnTo>
                  <a:lnTo>
                    <a:pt x="0" y="13"/>
                  </a:lnTo>
                  <a:lnTo>
                    <a:pt x="0" y="11"/>
                  </a:lnTo>
                  <a:lnTo>
                    <a:pt x="2" y="11"/>
                  </a:lnTo>
                  <a:lnTo>
                    <a:pt x="0" y="11"/>
                  </a:lnTo>
                  <a:lnTo>
                    <a:pt x="0" y="9"/>
                  </a:lnTo>
                  <a:lnTo>
                    <a:pt x="2" y="9"/>
                  </a:lnTo>
                  <a:lnTo>
                    <a:pt x="4" y="9"/>
                  </a:lnTo>
                  <a:lnTo>
                    <a:pt x="4" y="8"/>
                  </a:lnTo>
                  <a:lnTo>
                    <a:pt x="6" y="8"/>
                  </a:lnTo>
                  <a:lnTo>
                    <a:pt x="7" y="8"/>
                  </a:lnTo>
                  <a:lnTo>
                    <a:pt x="7" y="6"/>
                  </a:lnTo>
                  <a:lnTo>
                    <a:pt x="6" y="6"/>
                  </a:lnTo>
                  <a:lnTo>
                    <a:pt x="7" y="6"/>
                  </a:lnTo>
                  <a:lnTo>
                    <a:pt x="7" y="4"/>
                  </a:lnTo>
                  <a:lnTo>
                    <a:pt x="7" y="6"/>
                  </a:lnTo>
                  <a:lnTo>
                    <a:pt x="7" y="4"/>
                  </a:lnTo>
                  <a:lnTo>
                    <a:pt x="7" y="6"/>
                  </a:lnTo>
                  <a:lnTo>
                    <a:pt x="7" y="4"/>
                  </a:lnTo>
                  <a:lnTo>
                    <a:pt x="9" y="4"/>
                  </a:lnTo>
                  <a:lnTo>
                    <a:pt x="9" y="6"/>
                  </a:lnTo>
                  <a:lnTo>
                    <a:pt x="7" y="6"/>
                  </a:lnTo>
                  <a:lnTo>
                    <a:pt x="9" y="6"/>
                  </a:lnTo>
                  <a:lnTo>
                    <a:pt x="9" y="4"/>
                  </a:lnTo>
                  <a:lnTo>
                    <a:pt x="9" y="2"/>
                  </a:lnTo>
                  <a:lnTo>
                    <a:pt x="7" y="2"/>
                  </a:lnTo>
                  <a:lnTo>
                    <a:pt x="7" y="0"/>
                  </a:lnTo>
                  <a:lnTo>
                    <a:pt x="7" y="2"/>
                  </a:lnTo>
                  <a:lnTo>
                    <a:pt x="9" y="2"/>
                  </a:lnTo>
                  <a:lnTo>
                    <a:pt x="9" y="0"/>
                  </a:lnTo>
                  <a:lnTo>
                    <a:pt x="9" y="2"/>
                  </a:lnTo>
                  <a:lnTo>
                    <a:pt x="9" y="0"/>
                  </a:lnTo>
                  <a:lnTo>
                    <a:pt x="11" y="0"/>
                  </a:lnTo>
                  <a:lnTo>
                    <a:pt x="13" y="0"/>
                  </a:lnTo>
                  <a:lnTo>
                    <a:pt x="13" y="2"/>
                  </a:lnTo>
                  <a:lnTo>
                    <a:pt x="11" y="2"/>
                  </a:lnTo>
                  <a:lnTo>
                    <a:pt x="11" y="0"/>
                  </a:lnTo>
                  <a:lnTo>
                    <a:pt x="11" y="2"/>
                  </a:lnTo>
                  <a:lnTo>
                    <a:pt x="13" y="2"/>
                  </a:lnTo>
                  <a:lnTo>
                    <a:pt x="15" y="2"/>
                  </a:lnTo>
                  <a:lnTo>
                    <a:pt x="15" y="4"/>
                  </a:lnTo>
                  <a:lnTo>
                    <a:pt x="15" y="2"/>
                  </a:lnTo>
                  <a:lnTo>
                    <a:pt x="15" y="4"/>
                  </a:lnTo>
                  <a:lnTo>
                    <a:pt x="15" y="2"/>
                  </a:lnTo>
                  <a:lnTo>
                    <a:pt x="15" y="4"/>
                  </a:lnTo>
                  <a:lnTo>
                    <a:pt x="15" y="2"/>
                  </a:lnTo>
                  <a:lnTo>
                    <a:pt x="15" y="4"/>
                  </a:lnTo>
                  <a:lnTo>
                    <a:pt x="15" y="2"/>
                  </a:lnTo>
                  <a:lnTo>
                    <a:pt x="15" y="4"/>
                  </a:lnTo>
                  <a:lnTo>
                    <a:pt x="17" y="4"/>
                  </a:lnTo>
                  <a:lnTo>
                    <a:pt x="15" y="4"/>
                  </a:lnTo>
                  <a:lnTo>
                    <a:pt x="17" y="4"/>
                  </a:lnTo>
                  <a:lnTo>
                    <a:pt x="17" y="6"/>
                  </a:lnTo>
                  <a:lnTo>
                    <a:pt x="17" y="4"/>
                  </a:lnTo>
                  <a:lnTo>
                    <a:pt x="17" y="6"/>
                  </a:lnTo>
                  <a:lnTo>
                    <a:pt x="17" y="8"/>
                  </a:lnTo>
                  <a:lnTo>
                    <a:pt x="19" y="8"/>
                  </a:lnTo>
                  <a:lnTo>
                    <a:pt x="21" y="8"/>
                  </a:lnTo>
                  <a:lnTo>
                    <a:pt x="21" y="9"/>
                  </a:lnTo>
                  <a:lnTo>
                    <a:pt x="19" y="9"/>
                  </a:lnTo>
                  <a:lnTo>
                    <a:pt x="21" y="9"/>
                  </a:lnTo>
                  <a:lnTo>
                    <a:pt x="19" y="9"/>
                  </a:lnTo>
                  <a:lnTo>
                    <a:pt x="21" y="9"/>
                  </a:lnTo>
                  <a:lnTo>
                    <a:pt x="21" y="11"/>
                  </a:lnTo>
                  <a:lnTo>
                    <a:pt x="23" y="11"/>
                  </a:lnTo>
                  <a:lnTo>
                    <a:pt x="23" y="9"/>
                  </a:lnTo>
                  <a:lnTo>
                    <a:pt x="23" y="11"/>
                  </a:lnTo>
                  <a:lnTo>
                    <a:pt x="25" y="11"/>
                  </a:lnTo>
                  <a:lnTo>
                    <a:pt x="25" y="13"/>
                  </a:lnTo>
                  <a:lnTo>
                    <a:pt x="25" y="15"/>
                  </a:lnTo>
                  <a:lnTo>
                    <a:pt x="23" y="15"/>
                  </a:lnTo>
                  <a:lnTo>
                    <a:pt x="23" y="17"/>
                  </a:lnTo>
                  <a:lnTo>
                    <a:pt x="21" y="17"/>
                  </a:lnTo>
                  <a:lnTo>
                    <a:pt x="21" y="19"/>
                  </a:lnTo>
                  <a:lnTo>
                    <a:pt x="23" y="1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371">
              <a:extLst>
                <a:ext uri="{FF2B5EF4-FFF2-40B4-BE49-F238E27FC236}">
                  <a16:creationId xmlns:a16="http://schemas.microsoft.com/office/drawing/2014/main" id="{22DE1D7C-8F81-4269-A927-4BA3E5D584D4}"/>
                </a:ext>
              </a:extLst>
            </p:cNvPr>
            <p:cNvSpPr>
              <a:spLocks/>
            </p:cNvSpPr>
            <p:nvPr/>
          </p:nvSpPr>
          <p:spPr bwMode="gray">
            <a:xfrm>
              <a:off x="3547969" y="3430815"/>
              <a:ext cx="74809" cy="99337"/>
            </a:xfrm>
            <a:custGeom>
              <a:avLst/>
              <a:gdLst>
                <a:gd name="T0" fmla="*/ 21 w 61"/>
                <a:gd name="T1" fmla="*/ 4 h 81"/>
                <a:gd name="T2" fmla="*/ 26 w 61"/>
                <a:gd name="T3" fmla="*/ 8 h 81"/>
                <a:gd name="T4" fmla="*/ 28 w 61"/>
                <a:gd name="T5" fmla="*/ 16 h 81"/>
                <a:gd name="T6" fmla="*/ 30 w 61"/>
                <a:gd name="T7" fmla="*/ 16 h 81"/>
                <a:gd name="T8" fmla="*/ 36 w 61"/>
                <a:gd name="T9" fmla="*/ 20 h 81"/>
                <a:gd name="T10" fmla="*/ 36 w 61"/>
                <a:gd name="T11" fmla="*/ 25 h 81"/>
                <a:gd name="T12" fmla="*/ 36 w 61"/>
                <a:gd name="T13" fmla="*/ 27 h 81"/>
                <a:gd name="T14" fmla="*/ 42 w 61"/>
                <a:gd name="T15" fmla="*/ 31 h 81"/>
                <a:gd name="T16" fmla="*/ 48 w 61"/>
                <a:gd name="T17" fmla="*/ 35 h 81"/>
                <a:gd name="T18" fmla="*/ 49 w 61"/>
                <a:gd name="T19" fmla="*/ 31 h 81"/>
                <a:gd name="T20" fmla="*/ 57 w 61"/>
                <a:gd name="T21" fmla="*/ 33 h 81"/>
                <a:gd name="T22" fmla="*/ 53 w 61"/>
                <a:gd name="T23" fmla="*/ 35 h 81"/>
                <a:gd name="T24" fmla="*/ 55 w 61"/>
                <a:gd name="T25" fmla="*/ 43 h 81"/>
                <a:gd name="T26" fmla="*/ 51 w 61"/>
                <a:gd name="T27" fmla="*/ 44 h 81"/>
                <a:gd name="T28" fmla="*/ 53 w 61"/>
                <a:gd name="T29" fmla="*/ 52 h 81"/>
                <a:gd name="T30" fmla="*/ 57 w 61"/>
                <a:gd name="T31" fmla="*/ 58 h 81"/>
                <a:gd name="T32" fmla="*/ 61 w 61"/>
                <a:gd name="T33" fmla="*/ 64 h 81"/>
                <a:gd name="T34" fmla="*/ 55 w 61"/>
                <a:gd name="T35" fmla="*/ 68 h 81"/>
                <a:gd name="T36" fmla="*/ 53 w 61"/>
                <a:gd name="T37" fmla="*/ 71 h 81"/>
                <a:gd name="T38" fmla="*/ 53 w 61"/>
                <a:gd name="T39" fmla="*/ 77 h 81"/>
                <a:gd name="T40" fmla="*/ 49 w 61"/>
                <a:gd name="T41" fmla="*/ 79 h 81"/>
                <a:gd name="T42" fmla="*/ 44 w 61"/>
                <a:gd name="T43" fmla="*/ 79 h 81"/>
                <a:gd name="T44" fmla="*/ 38 w 61"/>
                <a:gd name="T45" fmla="*/ 79 h 81"/>
                <a:gd name="T46" fmla="*/ 42 w 61"/>
                <a:gd name="T47" fmla="*/ 73 h 81"/>
                <a:gd name="T48" fmla="*/ 38 w 61"/>
                <a:gd name="T49" fmla="*/ 71 h 81"/>
                <a:gd name="T50" fmla="*/ 38 w 61"/>
                <a:gd name="T51" fmla="*/ 69 h 81"/>
                <a:gd name="T52" fmla="*/ 34 w 61"/>
                <a:gd name="T53" fmla="*/ 64 h 81"/>
                <a:gd name="T54" fmla="*/ 32 w 61"/>
                <a:gd name="T55" fmla="*/ 64 h 81"/>
                <a:gd name="T56" fmla="*/ 32 w 61"/>
                <a:gd name="T57" fmla="*/ 62 h 81"/>
                <a:gd name="T58" fmla="*/ 30 w 61"/>
                <a:gd name="T59" fmla="*/ 62 h 81"/>
                <a:gd name="T60" fmla="*/ 30 w 61"/>
                <a:gd name="T61" fmla="*/ 60 h 81"/>
                <a:gd name="T62" fmla="*/ 26 w 61"/>
                <a:gd name="T63" fmla="*/ 62 h 81"/>
                <a:gd name="T64" fmla="*/ 26 w 61"/>
                <a:gd name="T65" fmla="*/ 64 h 81"/>
                <a:gd name="T66" fmla="*/ 24 w 61"/>
                <a:gd name="T67" fmla="*/ 64 h 81"/>
                <a:gd name="T68" fmla="*/ 24 w 61"/>
                <a:gd name="T69" fmla="*/ 66 h 81"/>
                <a:gd name="T70" fmla="*/ 21 w 61"/>
                <a:gd name="T71" fmla="*/ 68 h 81"/>
                <a:gd name="T72" fmla="*/ 15 w 61"/>
                <a:gd name="T73" fmla="*/ 64 h 81"/>
                <a:gd name="T74" fmla="*/ 11 w 61"/>
                <a:gd name="T75" fmla="*/ 62 h 81"/>
                <a:gd name="T76" fmla="*/ 7 w 61"/>
                <a:gd name="T77" fmla="*/ 56 h 81"/>
                <a:gd name="T78" fmla="*/ 7 w 61"/>
                <a:gd name="T79" fmla="*/ 54 h 81"/>
                <a:gd name="T80" fmla="*/ 9 w 61"/>
                <a:gd name="T81" fmla="*/ 54 h 81"/>
                <a:gd name="T82" fmla="*/ 7 w 61"/>
                <a:gd name="T83" fmla="*/ 46 h 81"/>
                <a:gd name="T84" fmla="*/ 9 w 61"/>
                <a:gd name="T85" fmla="*/ 46 h 81"/>
                <a:gd name="T86" fmla="*/ 11 w 61"/>
                <a:gd name="T87" fmla="*/ 43 h 81"/>
                <a:gd name="T88" fmla="*/ 7 w 61"/>
                <a:gd name="T89" fmla="*/ 41 h 81"/>
                <a:gd name="T90" fmla="*/ 3 w 61"/>
                <a:gd name="T91" fmla="*/ 35 h 81"/>
                <a:gd name="T92" fmla="*/ 7 w 61"/>
                <a:gd name="T93" fmla="*/ 29 h 81"/>
                <a:gd name="T94" fmla="*/ 5 w 61"/>
                <a:gd name="T95" fmla="*/ 25 h 81"/>
                <a:gd name="T96" fmla="*/ 1 w 61"/>
                <a:gd name="T97" fmla="*/ 27 h 81"/>
                <a:gd name="T98" fmla="*/ 3 w 61"/>
                <a:gd name="T99" fmla="*/ 23 h 81"/>
                <a:gd name="T100" fmla="*/ 5 w 61"/>
                <a:gd name="T101" fmla="*/ 20 h 81"/>
                <a:gd name="T102" fmla="*/ 7 w 61"/>
                <a:gd name="T103" fmla="*/ 20 h 81"/>
                <a:gd name="T104" fmla="*/ 5 w 61"/>
                <a:gd name="T105" fmla="*/ 20 h 81"/>
                <a:gd name="T106" fmla="*/ 3 w 61"/>
                <a:gd name="T107" fmla="*/ 14 h 81"/>
                <a:gd name="T108" fmla="*/ 0 w 61"/>
                <a:gd name="T109" fmla="*/ 12 h 81"/>
                <a:gd name="T110" fmla="*/ 0 w 61"/>
                <a:gd name="T111" fmla="*/ 10 h 81"/>
                <a:gd name="T112" fmla="*/ 0 w 61"/>
                <a:gd name="T113" fmla="*/ 8 h 81"/>
                <a:gd name="T114" fmla="*/ 1 w 61"/>
                <a:gd name="T115" fmla="*/ 4 h 81"/>
                <a:gd name="T116" fmla="*/ 5 w 61"/>
                <a:gd name="T117" fmla="*/ 2 h 81"/>
                <a:gd name="T118" fmla="*/ 13 w 61"/>
                <a:gd name="T11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 h="81">
                  <a:moveTo>
                    <a:pt x="21" y="0"/>
                  </a:moveTo>
                  <a:lnTo>
                    <a:pt x="21" y="2"/>
                  </a:lnTo>
                  <a:lnTo>
                    <a:pt x="23" y="2"/>
                  </a:lnTo>
                  <a:lnTo>
                    <a:pt x="23" y="4"/>
                  </a:lnTo>
                  <a:lnTo>
                    <a:pt x="21" y="4"/>
                  </a:lnTo>
                  <a:lnTo>
                    <a:pt x="23" y="4"/>
                  </a:lnTo>
                  <a:lnTo>
                    <a:pt x="24" y="4"/>
                  </a:lnTo>
                  <a:lnTo>
                    <a:pt x="24" y="6"/>
                  </a:lnTo>
                  <a:lnTo>
                    <a:pt x="26" y="6"/>
                  </a:lnTo>
                  <a:lnTo>
                    <a:pt x="26" y="8"/>
                  </a:lnTo>
                  <a:lnTo>
                    <a:pt x="28" y="8"/>
                  </a:lnTo>
                  <a:lnTo>
                    <a:pt x="28" y="10"/>
                  </a:lnTo>
                  <a:lnTo>
                    <a:pt x="28" y="12"/>
                  </a:lnTo>
                  <a:lnTo>
                    <a:pt x="28" y="14"/>
                  </a:lnTo>
                  <a:lnTo>
                    <a:pt x="28" y="16"/>
                  </a:lnTo>
                  <a:lnTo>
                    <a:pt x="30" y="16"/>
                  </a:lnTo>
                  <a:lnTo>
                    <a:pt x="28" y="16"/>
                  </a:lnTo>
                  <a:lnTo>
                    <a:pt x="30" y="16"/>
                  </a:lnTo>
                  <a:lnTo>
                    <a:pt x="28" y="16"/>
                  </a:lnTo>
                  <a:lnTo>
                    <a:pt x="30" y="16"/>
                  </a:lnTo>
                  <a:lnTo>
                    <a:pt x="30" y="18"/>
                  </a:lnTo>
                  <a:lnTo>
                    <a:pt x="32" y="18"/>
                  </a:lnTo>
                  <a:lnTo>
                    <a:pt x="34" y="18"/>
                  </a:lnTo>
                  <a:lnTo>
                    <a:pt x="34" y="20"/>
                  </a:lnTo>
                  <a:lnTo>
                    <a:pt x="36" y="20"/>
                  </a:lnTo>
                  <a:lnTo>
                    <a:pt x="38" y="20"/>
                  </a:lnTo>
                  <a:lnTo>
                    <a:pt x="38" y="21"/>
                  </a:lnTo>
                  <a:lnTo>
                    <a:pt x="38" y="23"/>
                  </a:lnTo>
                  <a:lnTo>
                    <a:pt x="36" y="23"/>
                  </a:lnTo>
                  <a:lnTo>
                    <a:pt x="36" y="25"/>
                  </a:lnTo>
                  <a:lnTo>
                    <a:pt x="38" y="25"/>
                  </a:lnTo>
                  <a:lnTo>
                    <a:pt x="40" y="25"/>
                  </a:lnTo>
                  <a:lnTo>
                    <a:pt x="40" y="27"/>
                  </a:lnTo>
                  <a:lnTo>
                    <a:pt x="38" y="27"/>
                  </a:lnTo>
                  <a:lnTo>
                    <a:pt x="36" y="27"/>
                  </a:lnTo>
                  <a:lnTo>
                    <a:pt x="36" y="29"/>
                  </a:lnTo>
                  <a:lnTo>
                    <a:pt x="38" y="29"/>
                  </a:lnTo>
                  <a:lnTo>
                    <a:pt x="40" y="29"/>
                  </a:lnTo>
                  <a:lnTo>
                    <a:pt x="40" y="31"/>
                  </a:lnTo>
                  <a:lnTo>
                    <a:pt x="42" y="31"/>
                  </a:lnTo>
                  <a:lnTo>
                    <a:pt x="44" y="31"/>
                  </a:lnTo>
                  <a:lnTo>
                    <a:pt x="46" y="31"/>
                  </a:lnTo>
                  <a:lnTo>
                    <a:pt x="46" y="33"/>
                  </a:lnTo>
                  <a:lnTo>
                    <a:pt x="48" y="33"/>
                  </a:lnTo>
                  <a:lnTo>
                    <a:pt x="48" y="35"/>
                  </a:lnTo>
                  <a:lnTo>
                    <a:pt x="49" y="35"/>
                  </a:lnTo>
                  <a:lnTo>
                    <a:pt x="48" y="35"/>
                  </a:lnTo>
                  <a:lnTo>
                    <a:pt x="49" y="35"/>
                  </a:lnTo>
                  <a:lnTo>
                    <a:pt x="49" y="33"/>
                  </a:lnTo>
                  <a:lnTo>
                    <a:pt x="49" y="31"/>
                  </a:lnTo>
                  <a:lnTo>
                    <a:pt x="51" y="31"/>
                  </a:lnTo>
                  <a:lnTo>
                    <a:pt x="53" y="31"/>
                  </a:lnTo>
                  <a:lnTo>
                    <a:pt x="55" y="31"/>
                  </a:lnTo>
                  <a:lnTo>
                    <a:pt x="55" y="33"/>
                  </a:lnTo>
                  <a:lnTo>
                    <a:pt x="57" y="33"/>
                  </a:lnTo>
                  <a:lnTo>
                    <a:pt x="57" y="35"/>
                  </a:lnTo>
                  <a:lnTo>
                    <a:pt x="55" y="35"/>
                  </a:lnTo>
                  <a:lnTo>
                    <a:pt x="55" y="33"/>
                  </a:lnTo>
                  <a:lnTo>
                    <a:pt x="53" y="33"/>
                  </a:lnTo>
                  <a:lnTo>
                    <a:pt x="53" y="35"/>
                  </a:lnTo>
                  <a:lnTo>
                    <a:pt x="53" y="37"/>
                  </a:lnTo>
                  <a:lnTo>
                    <a:pt x="53" y="39"/>
                  </a:lnTo>
                  <a:lnTo>
                    <a:pt x="55" y="39"/>
                  </a:lnTo>
                  <a:lnTo>
                    <a:pt x="55" y="41"/>
                  </a:lnTo>
                  <a:lnTo>
                    <a:pt x="55" y="43"/>
                  </a:lnTo>
                  <a:lnTo>
                    <a:pt x="55" y="44"/>
                  </a:lnTo>
                  <a:lnTo>
                    <a:pt x="55" y="43"/>
                  </a:lnTo>
                  <a:lnTo>
                    <a:pt x="55" y="44"/>
                  </a:lnTo>
                  <a:lnTo>
                    <a:pt x="53" y="44"/>
                  </a:lnTo>
                  <a:lnTo>
                    <a:pt x="51" y="44"/>
                  </a:lnTo>
                  <a:lnTo>
                    <a:pt x="51" y="46"/>
                  </a:lnTo>
                  <a:lnTo>
                    <a:pt x="51" y="48"/>
                  </a:lnTo>
                  <a:lnTo>
                    <a:pt x="51" y="50"/>
                  </a:lnTo>
                  <a:lnTo>
                    <a:pt x="51" y="52"/>
                  </a:lnTo>
                  <a:lnTo>
                    <a:pt x="53" y="52"/>
                  </a:lnTo>
                  <a:lnTo>
                    <a:pt x="53" y="54"/>
                  </a:lnTo>
                  <a:lnTo>
                    <a:pt x="53" y="56"/>
                  </a:lnTo>
                  <a:lnTo>
                    <a:pt x="55" y="56"/>
                  </a:lnTo>
                  <a:lnTo>
                    <a:pt x="55" y="58"/>
                  </a:lnTo>
                  <a:lnTo>
                    <a:pt x="57" y="58"/>
                  </a:lnTo>
                  <a:lnTo>
                    <a:pt x="57" y="60"/>
                  </a:lnTo>
                  <a:lnTo>
                    <a:pt x="59" y="60"/>
                  </a:lnTo>
                  <a:lnTo>
                    <a:pt x="59" y="62"/>
                  </a:lnTo>
                  <a:lnTo>
                    <a:pt x="61" y="62"/>
                  </a:lnTo>
                  <a:lnTo>
                    <a:pt x="61" y="64"/>
                  </a:lnTo>
                  <a:lnTo>
                    <a:pt x="59" y="64"/>
                  </a:lnTo>
                  <a:lnTo>
                    <a:pt x="59" y="66"/>
                  </a:lnTo>
                  <a:lnTo>
                    <a:pt x="57" y="66"/>
                  </a:lnTo>
                  <a:lnTo>
                    <a:pt x="57" y="68"/>
                  </a:lnTo>
                  <a:lnTo>
                    <a:pt x="55" y="68"/>
                  </a:lnTo>
                  <a:lnTo>
                    <a:pt x="53" y="68"/>
                  </a:lnTo>
                  <a:lnTo>
                    <a:pt x="51" y="68"/>
                  </a:lnTo>
                  <a:lnTo>
                    <a:pt x="51" y="69"/>
                  </a:lnTo>
                  <a:lnTo>
                    <a:pt x="53" y="69"/>
                  </a:lnTo>
                  <a:lnTo>
                    <a:pt x="53" y="71"/>
                  </a:lnTo>
                  <a:lnTo>
                    <a:pt x="53" y="73"/>
                  </a:lnTo>
                  <a:lnTo>
                    <a:pt x="51" y="73"/>
                  </a:lnTo>
                  <a:lnTo>
                    <a:pt x="53" y="73"/>
                  </a:lnTo>
                  <a:lnTo>
                    <a:pt x="53" y="75"/>
                  </a:lnTo>
                  <a:lnTo>
                    <a:pt x="53" y="77"/>
                  </a:lnTo>
                  <a:lnTo>
                    <a:pt x="53" y="79"/>
                  </a:lnTo>
                  <a:lnTo>
                    <a:pt x="51" y="79"/>
                  </a:lnTo>
                  <a:lnTo>
                    <a:pt x="49" y="79"/>
                  </a:lnTo>
                  <a:lnTo>
                    <a:pt x="49" y="77"/>
                  </a:lnTo>
                  <a:lnTo>
                    <a:pt x="49" y="79"/>
                  </a:lnTo>
                  <a:lnTo>
                    <a:pt x="48" y="79"/>
                  </a:lnTo>
                  <a:lnTo>
                    <a:pt x="46" y="79"/>
                  </a:lnTo>
                  <a:lnTo>
                    <a:pt x="46" y="77"/>
                  </a:lnTo>
                  <a:lnTo>
                    <a:pt x="46" y="79"/>
                  </a:lnTo>
                  <a:lnTo>
                    <a:pt x="44" y="79"/>
                  </a:lnTo>
                  <a:lnTo>
                    <a:pt x="42" y="79"/>
                  </a:lnTo>
                  <a:lnTo>
                    <a:pt x="42" y="81"/>
                  </a:lnTo>
                  <a:lnTo>
                    <a:pt x="42" y="79"/>
                  </a:lnTo>
                  <a:lnTo>
                    <a:pt x="40" y="79"/>
                  </a:lnTo>
                  <a:lnTo>
                    <a:pt x="38" y="79"/>
                  </a:lnTo>
                  <a:lnTo>
                    <a:pt x="38" y="77"/>
                  </a:lnTo>
                  <a:lnTo>
                    <a:pt x="40" y="77"/>
                  </a:lnTo>
                  <a:lnTo>
                    <a:pt x="40" y="75"/>
                  </a:lnTo>
                  <a:lnTo>
                    <a:pt x="42" y="75"/>
                  </a:lnTo>
                  <a:lnTo>
                    <a:pt x="42" y="73"/>
                  </a:lnTo>
                  <a:lnTo>
                    <a:pt x="42" y="71"/>
                  </a:lnTo>
                  <a:lnTo>
                    <a:pt x="40" y="71"/>
                  </a:lnTo>
                  <a:lnTo>
                    <a:pt x="40" y="69"/>
                  </a:lnTo>
                  <a:lnTo>
                    <a:pt x="40" y="71"/>
                  </a:lnTo>
                  <a:lnTo>
                    <a:pt x="38" y="71"/>
                  </a:lnTo>
                  <a:lnTo>
                    <a:pt x="38" y="69"/>
                  </a:lnTo>
                  <a:lnTo>
                    <a:pt x="36" y="69"/>
                  </a:lnTo>
                  <a:lnTo>
                    <a:pt x="38" y="69"/>
                  </a:lnTo>
                  <a:lnTo>
                    <a:pt x="36" y="69"/>
                  </a:lnTo>
                  <a:lnTo>
                    <a:pt x="38" y="69"/>
                  </a:lnTo>
                  <a:lnTo>
                    <a:pt x="38" y="68"/>
                  </a:lnTo>
                  <a:lnTo>
                    <a:pt x="36" y="68"/>
                  </a:lnTo>
                  <a:lnTo>
                    <a:pt x="34" y="68"/>
                  </a:lnTo>
                  <a:lnTo>
                    <a:pt x="34" y="66"/>
                  </a:lnTo>
                  <a:lnTo>
                    <a:pt x="34" y="64"/>
                  </a:lnTo>
                  <a:lnTo>
                    <a:pt x="34" y="66"/>
                  </a:lnTo>
                  <a:lnTo>
                    <a:pt x="34" y="64"/>
                  </a:lnTo>
                  <a:lnTo>
                    <a:pt x="32" y="64"/>
                  </a:lnTo>
                  <a:lnTo>
                    <a:pt x="34" y="64"/>
                  </a:lnTo>
                  <a:lnTo>
                    <a:pt x="32" y="64"/>
                  </a:lnTo>
                  <a:lnTo>
                    <a:pt x="32" y="62"/>
                  </a:lnTo>
                  <a:lnTo>
                    <a:pt x="32" y="64"/>
                  </a:lnTo>
                  <a:lnTo>
                    <a:pt x="32" y="62"/>
                  </a:lnTo>
                  <a:lnTo>
                    <a:pt x="32" y="64"/>
                  </a:lnTo>
                  <a:lnTo>
                    <a:pt x="32" y="62"/>
                  </a:lnTo>
                  <a:lnTo>
                    <a:pt x="32" y="64"/>
                  </a:lnTo>
                  <a:lnTo>
                    <a:pt x="32" y="62"/>
                  </a:lnTo>
                  <a:lnTo>
                    <a:pt x="32" y="64"/>
                  </a:lnTo>
                  <a:lnTo>
                    <a:pt x="32" y="62"/>
                  </a:lnTo>
                  <a:lnTo>
                    <a:pt x="30" y="62"/>
                  </a:lnTo>
                  <a:lnTo>
                    <a:pt x="28" y="62"/>
                  </a:lnTo>
                  <a:lnTo>
                    <a:pt x="28" y="60"/>
                  </a:lnTo>
                  <a:lnTo>
                    <a:pt x="28" y="62"/>
                  </a:lnTo>
                  <a:lnTo>
                    <a:pt x="30" y="62"/>
                  </a:lnTo>
                  <a:lnTo>
                    <a:pt x="30" y="60"/>
                  </a:lnTo>
                  <a:lnTo>
                    <a:pt x="28" y="60"/>
                  </a:lnTo>
                  <a:lnTo>
                    <a:pt x="26" y="60"/>
                  </a:lnTo>
                  <a:lnTo>
                    <a:pt x="26" y="62"/>
                  </a:lnTo>
                  <a:lnTo>
                    <a:pt x="26" y="60"/>
                  </a:lnTo>
                  <a:lnTo>
                    <a:pt x="26" y="62"/>
                  </a:lnTo>
                  <a:lnTo>
                    <a:pt x="24" y="62"/>
                  </a:lnTo>
                  <a:lnTo>
                    <a:pt x="24" y="60"/>
                  </a:lnTo>
                  <a:lnTo>
                    <a:pt x="24" y="62"/>
                  </a:lnTo>
                  <a:lnTo>
                    <a:pt x="26" y="62"/>
                  </a:lnTo>
                  <a:lnTo>
                    <a:pt x="26" y="64"/>
                  </a:lnTo>
                  <a:lnTo>
                    <a:pt x="26" y="66"/>
                  </a:lnTo>
                  <a:lnTo>
                    <a:pt x="24" y="66"/>
                  </a:lnTo>
                  <a:lnTo>
                    <a:pt x="26" y="66"/>
                  </a:lnTo>
                  <a:lnTo>
                    <a:pt x="26" y="64"/>
                  </a:lnTo>
                  <a:lnTo>
                    <a:pt x="24" y="64"/>
                  </a:lnTo>
                  <a:lnTo>
                    <a:pt x="24" y="66"/>
                  </a:lnTo>
                  <a:lnTo>
                    <a:pt x="24" y="64"/>
                  </a:lnTo>
                  <a:lnTo>
                    <a:pt x="24" y="66"/>
                  </a:lnTo>
                  <a:lnTo>
                    <a:pt x="24" y="64"/>
                  </a:lnTo>
                  <a:lnTo>
                    <a:pt x="24" y="66"/>
                  </a:lnTo>
                  <a:lnTo>
                    <a:pt x="23" y="66"/>
                  </a:lnTo>
                  <a:lnTo>
                    <a:pt x="24" y="66"/>
                  </a:lnTo>
                  <a:lnTo>
                    <a:pt x="24" y="68"/>
                  </a:lnTo>
                  <a:lnTo>
                    <a:pt x="23" y="68"/>
                  </a:lnTo>
                  <a:lnTo>
                    <a:pt x="21" y="68"/>
                  </a:lnTo>
                  <a:lnTo>
                    <a:pt x="21" y="66"/>
                  </a:lnTo>
                  <a:lnTo>
                    <a:pt x="19" y="66"/>
                  </a:lnTo>
                  <a:lnTo>
                    <a:pt x="17" y="66"/>
                  </a:lnTo>
                  <a:lnTo>
                    <a:pt x="17" y="64"/>
                  </a:lnTo>
                  <a:lnTo>
                    <a:pt x="15" y="64"/>
                  </a:lnTo>
                  <a:lnTo>
                    <a:pt x="15" y="62"/>
                  </a:lnTo>
                  <a:lnTo>
                    <a:pt x="15" y="64"/>
                  </a:lnTo>
                  <a:lnTo>
                    <a:pt x="15" y="62"/>
                  </a:lnTo>
                  <a:lnTo>
                    <a:pt x="13" y="62"/>
                  </a:lnTo>
                  <a:lnTo>
                    <a:pt x="11" y="62"/>
                  </a:lnTo>
                  <a:lnTo>
                    <a:pt x="11" y="60"/>
                  </a:lnTo>
                  <a:lnTo>
                    <a:pt x="9" y="60"/>
                  </a:lnTo>
                  <a:lnTo>
                    <a:pt x="9" y="58"/>
                  </a:lnTo>
                  <a:lnTo>
                    <a:pt x="7" y="58"/>
                  </a:lnTo>
                  <a:lnTo>
                    <a:pt x="7" y="56"/>
                  </a:lnTo>
                  <a:lnTo>
                    <a:pt x="5" y="56"/>
                  </a:lnTo>
                  <a:lnTo>
                    <a:pt x="5" y="54"/>
                  </a:lnTo>
                  <a:lnTo>
                    <a:pt x="5" y="52"/>
                  </a:lnTo>
                  <a:lnTo>
                    <a:pt x="7" y="52"/>
                  </a:lnTo>
                  <a:lnTo>
                    <a:pt x="7" y="54"/>
                  </a:lnTo>
                  <a:lnTo>
                    <a:pt x="7" y="52"/>
                  </a:lnTo>
                  <a:lnTo>
                    <a:pt x="7" y="54"/>
                  </a:lnTo>
                  <a:lnTo>
                    <a:pt x="7" y="52"/>
                  </a:lnTo>
                  <a:lnTo>
                    <a:pt x="7" y="54"/>
                  </a:lnTo>
                  <a:lnTo>
                    <a:pt x="9" y="54"/>
                  </a:lnTo>
                  <a:lnTo>
                    <a:pt x="9" y="52"/>
                  </a:lnTo>
                  <a:lnTo>
                    <a:pt x="9" y="50"/>
                  </a:lnTo>
                  <a:lnTo>
                    <a:pt x="7" y="50"/>
                  </a:lnTo>
                  <a:lnTo>
                    <a:pt x="7" y="48"/>
                  </a:lnTo>
                  <a:lnTo>
                    <a:pt x="7" y="46"/>
                  </a:lnTo>
                  <a:lnTo>
                    <a:pt x="5" y="46"/>
                  </a:lnTo>
                  <a:lnTo>
                    <a:pt x="5" y="44"/>
                  </a:lnTo>
                  <a:lnTo>
                    <a:pt x="7" y="44"/>
                  </a:lnTo>
                  <a:lnTo>
                    <a:pt x="7" y="46"/>
                  </a:lnTo>
                  <a:lnTo>
                    <a:pt x="9" y="46"/>
                  </a:lnTo>
                  <a:lnTo>
                    <a:pt x="9" y="44"/>
                  </a:lnTo>
                  <a:lnTo>
                    <a:pt x="11" y="44"/>
                  </a:lnTo>
                  <a:lnTo>
                    <a:pt x="9" y="44"/>
                  </a:lnTo>
                  <a:lnTo>
                    <a:pt x="11" y="44"/>
                  </a:lnTo>
                  <a:lnTo>
                    <a:pt x="11" y="43"/>
                  </a:lnTo>
                  <a:lnTo>
                    <a:pt x="11" y="44"/>
                  </a:lnTo>
                  <a:lnTo>
                    <a:pt x="9" y="44"/>
                  </a:lnTo>
                  <a:lnTo>
                    <a:pt x="9" y="43"/>
                  </a:lnTo>
                  <a:lnTo>
                    <a:pt x="7" y="43"/>
                  </a:lnTo>
                  <a:lnTo>
                    <a:pt x="7" y="41"/>
                  </a:lnTo>
                  <a:lnTo>
                    <a:pt x="7" y="39"/>
                  </a:lnTo>
                  <a:lnTo>
                    <a:pt x="5" y="39"/>
                  </a:lnTo>
                  <a:lnTo>
                    <a:pt x="3" y="39"/>
                  </a:lnTo>
                  <a:lnTo>
                    <a:pt x="3" y="37"/>
                  </a:lnTo>
                  <a:lnTo>
                    <a:pt x="3" y="35"/>
                  </a:lnTo>
                  <a:lnTo>
                    <a:pt x="5" y="35"/>
                  </a:lnTo>
                  <a:lnTo>
                    <a:pt x="5" y="33"/>
                  </a:lnTo>
                  <a:lnTo>
                    <a:pt x="5" y="31"/>
                  </a:lnTo>
                  <a:lnTo>
                    <a:pt x="7" y="31"/>
                  </a:lnTo>
                  <a:lnTo>
                    <a:pt x="7" y="29"/>
                  </a:lnTo>
                  <a:lnTo>
                    <a:pt x="7" y="27"/>
                  </a:lnTo>
                  <a:lnTo>
                    <a:pt x="7" y="25"/>
                  </a:lnTo>
                  <a:lnTo>
                    <a:pt x="5" y="25"/>
                  </a:lnTo>
                  <a:lnTo>
                    <a:pt x="5" y="27"/>
                  </a:lnTo>
                  <a:lnTo>
                    <a:pt x="5" y="25"/>
                  </a:lnTo>
                  <a:lnTo>
                    <a:pt x="5" y="27"/>
                  </a:lnTo>
                  <a:lnTo>
                    <a:pt x="5" y="25"/>
                  </a:lnTo>
                  <a:lnTo>
                    <a:pt x="3" y="25"/>
                  </a:lnTo>
                  <a:lnTo>
                    <a:pt x="3" y="27"/>
                  </a:lnTo>
                  <a:lnTo>
                    <a:pt x="1" y="27"/>
                  </a:lnTo>
                  <a:lnTo>
                    <a:pt x="1" y="25"/>
                  </a:lnTo>
                  <a:lnTo>
                    <a:pt x="3" y="25"/>
                  </a:lnTo>
                  <a:lnTo>
                    <a:pt x="3" y="27"/>
                  </a:lnTo>
                  <a:lnTo>
                    <a:pt x="3" y="25"/>
                  </a:lnTo>
                  <a:lnTo>
                    <a:pt x="3" y="23"/>
                  </a:lnTo>
                  <a:lnTo>
                    <a:pt x="3" y="21"/>
                  </a:lnTo>
                  <a:lnTo>
                    <a:pt x="5" y="21"/>
                  </a:lnTo>
                  <a:lnTo>
                    <a:pt x="5" y="20"/>
                  </a:lnTo>
                  <a:lnTo>
                    <a:pt x="3" y="20"/>
                  </a:lnTo>
                  <a:lnTo>
                    <a:pt x="5" y="20"/>
                  </a:lnTo>
                  <a:lnTo>
                    <a:pt x="5" y="21"/>
                  </a:lnTo>
                  <a:lnTo>
                    <a:pt x="5" y="20"/>
                  </a:lnTo>
                  <a:lnTo>
                    <a:pt x="7" y="20"/>
                  </a:lnTo>
                  <a:lnTo>
                    <a:pt x="7" y="21"/>
                  </a:lnTo>
                  <a:lnTo>
                    <a:pt x="7" y="20"/>
                  </a:lnTo>
                  <a:lnTo>
                    <a:pt x="9" y="20"/>
                  </a:lnTo>
                  <a:lnTo>
                    <a:pt x="7" y="20"/>
                  </a:lnTo>
                  <a:lnTo>
                    <a:pt x="5" y="20"/>
                  </a:lnTo>
                  <a:lnTo>
                    <a:pt x="5" y="18"/>
                  </a:lnTo>
                  <a:lnTo>
                    <a:pt x="5" y="20"/>
                  </a:lnTo>
                  <a:lnTo>
                    <a:pt x="3" y="18"/>
                  </a:lnTo>
                  <a:lnTo>
                    <a:pt x="1" y="18"/>
                  </a:lnTo>
                  <a:lnTo>
                    <a:pt x="1" y="16"/>
                  </a:lnTo>
                  <a:lnTo>
                    <a:pt x="1" y="14"/>
                  </a:lnTo>
                  <a:lnTo>
                    <a:pt x="3" y="14"/>
                  </a:lnTo>
                  <a:lnTo>
                    <a:pt x="1" y="14"/>
                  </a:lnTo>
                  <a:lnTo>
                    <a:pt x="1" y="12"/>
                  </a:lnTo>
                  <a:lnTo>
                    <a:pt x="1" y="14"/>
                  </a:lnTo>
                  <a:lnTo>
                    <a:pt x="1" y="12"/>
                  </a:lnTo>
                  <a:lnTo>
                    <a:pt x="0" y="12"/>
                  </a:lnTo>
                  <a:lnTo>
                    <a:pt x="1" y="12"/>
                  </a:lnTo>
                  <a:lnTo>
                    <a:pt x="1" y="10"/>
                  </a:lnTo>
                  <a:lnTo>
                    <a:pt x="1" y="12"/>
                  </a:lnTo>
                  <a:lnTo>
                    <a:pt x="1" y="10"/>
                  </a:lnTo>
                  <a:lnTo>
                    <a:pt x="0" y="10"/>
                  </a:lnTo>
                  <a:lnTo>
                    <a:pt x="1" y="10"/>
                  </a:lnTo>
                  <a:lnTo>
                    <a:pt x="0" y="10"/>
                  </a:lnTo>
                  <a:lnTo>
                    <a:pt x="1" y="10"/>
                  </a:lnTo>
                  <a:lnTo>
                    <a:pt x="1" y="8"/>
                  </a:lnTo>
                  <a:lnTo>
                    <a:pt x="0" y="8"/>
                  </a:lnTo>
                  <a:lnTo>
                    <a:pt x="1" y="8"/>
                  </a:lnTo>
                  <a:lnTo>
                    <a:pt x="0" y="8"/>
                  </a:lnTo>
                  <a:lnTo>
                    <a:pt x="0" y="6"/>
                  </a:lnTo>
                  <a:lnTo>
                    <a:pt x="0" y="4"/>
                  </a:lnTo>
                  <a:lnTo>
                    <a:pt x="1" y="4"/>
                  </a:lnTo>
                  <a:lnTo>
                    <a:pt x="3" y="4"/>
                  </a:lnTo>
                  <a:lnTo>
                    <a:pt x="3" y="2"/>
                  </a:lnTo>
                  <a:lnTo>
                    <a:pt x="3" y="4"/>
                  </a:lnTo>
                  <a:lnTo>
                    <a:pt x="5" y="4"/>
                  </a:lnTo>
                  <a:lnTo>
                    <a:pt x="5" y="2"/>
                  </a:lnTo>
                  <a:lnTo>
                    <a:pt x="7" y="2"/>
                  </a:lnTo>
                  <a:lnTo>
                    <a:pt x="9" y="2"/>
                  </a:lnTo>
                  <a:lnTo>
                    <a:pt x="9" y="0"/>
                  </a:lnTo>
                  <a:lnTo>
                    <a:pt x="11" y="0"/>
                  </a:lnTo>
                  <a:lnTo>
                    <a:pt x="13" y="0"/>
                  </a:lnTo>
                  <a:lnTo>
                    <a:pt x="15" y="0"/>
                  </a:lnTo>
                  <a:lnTo>
                    <a:pt x="17" y="0"/>
                  </a:lnTo>
                  <a:lnTo>
                    <a:pt x="19" y="0"/>
                  </a:lnTo>
                  <a:lnTo>
                    <a:pt x="21"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372">
              <a:extLst>
                <a:ext uri="{FF2B5EF4-FFF2-40B4-BE49-F238E27FC236}">
                  <a16:creationId xmlns:a16="http://schemas.microsoft.com/office/drawing/2014/main" id="{EACC5BBA-18EC-41DF-969E-64BA6510D536}"/>
                </a:ext>
              </a:extLst>
            </p:cNvPr>
            <p:cNvSpPr>
              <a:spLocks/>
            </p:cNvSpPr>
            <p:nvPr/>
          </p:nvSpPr>
          <p:spPr bwMode="gray">
            <a:xfrm>
              <a:off x="3490329" y="3452890"/>
              <a:ext cx="71130" cy="67451"/>
            </a:xfrm>
            <a:custGeom>
              <a:avLst/>
              <a:gdLst>
                <a:gd name="T0" fmla="*/ 52 w 58"/>
                <a:gd name="T1" fmla="*/ 7 h 55"/>
                <a:gd name="T2" fmla="*/ 52 w 58"/>
                <a:gd name="T3" fmla="*/ 7 h 55"/>
                <a:gd name="T4" fmla="*/ 54 w 58"/>
                <a:gd name="T5" fmla="*/ 13 h 55"/>
                <a:gd name="T6" fmla="*/ 50 w 58"/>
                <a:gd name="T7" fmla="*/ 17 h 55"/>
                <a:gd name="T8" fmla="*/ 54 w 58"/>
                <a:gd name="T9" fmla="*/ 21 h 55"/>
                <a:gd name="T10" fmla="*/ 56 w 58"/>
                <a:gd name="T11" fmla="*/ 26 h 55"/>
                <a:gd name="T12" fmla="*/ 56 w 58"/>
                <a:gd name="T13" fmla="*/ 26 h 55"/>
                <a:gd name="T14" fmla="*/ 54 w 58"/>
                <a:gd name="T15" fmla="*/ 28 h 55"/>
                <a:gd name="T16" fmla="*/ 54 w 58"/>
                <a:gd name="T17" fmla="*/ 28 h 55"/>
                <a:gd name="T18" fmla="*/ 56 w 58"/>
                <a:gd name="T19" fmla="*/ 34 h 55"/>
                <a:gd name="T20" fmla="*/ 54 w 58"/>
                <a:gd name="T21" fmla="*/ 36 h 55"/>
                <a:gd name="T22" fmla="*/ 52 w 58"/>
                <a:gd name="T23" fmla="*/ 34 h 55"/>
                <a:gd name="T24" fmla="*/ 48 w 58"/>
                <a:gd name="T25" fmla="*/ 38 h 55"/>
                <a:gd name="T26" fmla="*/ 50 w 58"/>
                <a:gd name="T27" fmla="*/ 40 h 55"/>
                <a:gd name="T28" fmla="*/ 47 w 58"/>
                <a:gd name="T29" fmla="*/ 40 h 55"/>
                <a:gd name="T30" fmla="*/ 43 w 58"/>
                <a:gd name="T31" fmla="*/ 44 h 55"/>
                <a:gd name="T32" fmla="*/ 41 w 58"/>
                <a:gd name="T33" fmla="*/ 48 h 55"/>
                <a:gd name="T34" fmla="*/ 43 w 58"/>
                <a:gd name="T35" fmla="*/ 53 h 55"/>
                <a:gd name="T36" fmla="*/ 41 w 58"/>
                <a:gd name="T37" fmla="*/ 55 h 55"/>
                <a:gd name="T38" fmla="*/ 37 w 58"/>
                <a:gd name="T39" fmla="*/ 55 h 55"/>
                <a:gd name="T40" fmla="*/ 33 w 58"/>
                <a:gd name="T41" fmla="*/ 51 h 55"/>
                <a:gd name="T42" fmla="*/ 31 w 58"/>
                <a:gd name="T43" fmla="*/ 50 h 55"/>
                <a:gd name="T44" fmla="*/ 27 w 58"/>
                <a:gd name="T45" fmla="*/ 50 h 55"/>
                <a:gd name="T46" fmla="*/ 29 w 58"/>
                <a:gd name="T47" fmla="*/ 48 h 55"/>
                <a:gd name="T48" fmla="*/ 27 w 58"/>
                <a:gd name="T49" fmla="*/ 44 h 55"/>
                <a:gd name="T50" fmla="*/ 24 w 58"/>
                <a:gd name="T51" fmla="*/ 40 h 55"/>
                <a:gd name="T52" fmla="*/ 22 w 58"/>
                <a:gd name="T53" fmla="*/ 38 h 55"/>
                <a:gd name="T54" fmla="*/ 18 w 58"/>
                <a:gd name="T55" fmla="*/ 34 h 55"/>
                <a:gd name="T56" fmla="*/ 14 w 58"/>
                <a:gd name="T57" fmla="*/ 28 h 55"/>
                <a:gd name="T58" fmla="*/ 10 w 58"/>
                <a:gd name="T59" fmla="*/ 23 h 55"/>
                <a:gd name="T60" fmla="*/ 6 w 58"/>
                <a:gd name="T61" fmla="*/ 19 h 55"/>
                <a:gd name="T62" fmla="*/ 6 w 58"/>
                <a:gd name="T63" fmla="*/ 15 h 55"/>
                <a:gd name="T64" fmla="*/ 6 w 58"/>
                <a:gd name="T65" fmla="*/ 15 h 55"/>
                <a:gd name="T66" fmla="*/ 2 w 58"/>
                <a:gd name="T67" fmla="*/ 11 h 55"/>
                <a:gd name="T68" fmla="*/ 0 w 58"/>
                <a:gd name="T69" fmla="*/ 9 h 55"/>
                <a:gd name="T70" fmla="*/ 2 w 58"/>
                <a:gd name="T71" fmla="*/ 7 h 55"/>
                <a:gd name="T72" fmla="*/ 0 w 58"/>
                <a:gd name="T73" fmla="*/ 5 h 55"/>
                <a:gd name="T74" fmla="*/ 4 w 58"/>
                <a:gd name="T75" fmla="*/ 2 h 55"/>
                <a:gd name="T76" fmla="*/ 4 w 58"/>
                <a:gd name="T77" fmla="*/ 2 h 55"/>
                <a:gd name="T78" fmla="*/ 8 w 58"/>
                <a:gd name="T79" fmla="*/ 5 h 55"/>
                <a:gd name="T80" fmla="*/ 10 w 58"/>
                <a:gd name="T81" fmla="*/ 7 h 55"/>
                <a:gd name="T82" fmla="*/ 10 w 58"/>
                <a:gd name="T83" fmla="*/ 3 h 55"/>
                <a:gd name="T84" fmla="*/ 16 w 58"/>
                <a:gd name="T85" fmla="*/ 2 h 55"/>
                <a:gd name="T86" fmla="*/ 20 w 58"/>
                <a:gd name="T87" fmla="*/ 2 h 55"/>
                <a:gd name="T88" fmla="*/ 24 w 58"/>
                <a:gd name="T89" fmla="*/ 3 h 55"/>
                <a:gd name="T90" fmla="*/ 27 w 58"/>
                <a:gd name="T91" fmla="*/ 3 h 55"/>
                <a:gd name="T92" fmla="*/ 33 w 58"/>
                <a:gd name="T93" fmla="*/ 5 h 55"/>
                <a:gd name="T94" fmla="*/ 37 w 58"/>
                <a:gd name="T95" fmla="*/ 5 h 55"/>
                <a:gd name="T96" fmla="*/ 41 w 58"/>
                <a:gd name="T97" fmla="*/ 5 h 55"/>
                <a:gd name="T98" fmla="*/ 43 w 58"/>
                <a:gd name="T99" fmla="*/ 3 h 55"/>
                <a:gd name="T100" fmla="*/ 45 w 58"/>
                <a:gd name="T101" fmla="*/ 5 h 55"/>
                <a:gd name="T102" fmla="*/ 45 w 58"/>
                <a:gd name="T103" fmla="*/ 5 h 55"/>
                <a:gd name="T104" fmla="*/ 47 w 58"/>
                <a:gd name="T105"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55">
                  <a:moveTo>
                    <a:pt x="48" y="9"/>
                  </a:moveTo>
                  <a:lnTo>
                    <a:pt x="50" y="9"/>
                  </a:lnTo>
                  <a:lnTo>
                    <a:pt x="50" y="7"/>
                  </a:lnTo>
                  <a:lnTo>
                    <a:pt x="52" y="7"/>
                  </a:lnTo>
                  <a:lnTo>
                    <a:pt x="52" y="9"/>
                  </a:lnTo>
                  <a:lnTo>
                    <a:pt x="52" y="7"/>
                  </a:lnTo>
                  <a:lnTo>
                    <a:pt x="52" y="9"/>
                  </a:lnTo>
                  <a:lnTo>
                    <a:pt x="52" y="7"/>
                  </a:lnTo>
                  <a:lnTo>
                    <a:pt x="54" y="7"/>
                  </a:lnTo>
                  <a:lnTo>
                    <a:pt x="54" y="9"/>
                  </a:lnTo>
                  <a:lnTo>
                    <a:pt x="54" y="11"/>
                  </a:lnTo>
                  <a:lnTo>
                    <a:pt x="54" y="13"/>
                  </a:lnTo>
                  <a:lnTo>
                    <a:pt x="52" y="13"/>
                  </a:lnTo>
                  <a:lnTo>
                    <a:pt x="52" y="15"/>
                  </a:lnTo>
                  <a:lnTo>
                    <a:pt x="52" y="17"/>
                  </a:lnTo>
                  <a:lnTo>
                    <a:pt x="50" y="17"/>
                  </a:lnTo>
                  <a:lnTo>
                    <a:pt x="50" y="19"/>
                  </a:lnTo>
                  <a:lnTo>
                    <a:pt x="50" y="21"/>
                  </a:lnTo>
                  <a:lnTo>
                    <a:pt x="52" y="21"/>
                  </a:lnTo>
                  <a:lnTo>
                    <a:pt x="54" y="21"/>
                  </a:lnTo>
                  <a:lnTo>
                    <a:pt x="54" y="23"/>
                  </a:lnTo>
                  <a:lnTo>
                    <a:pt x="54" y="25"/>
                  </a:lnTo>
                  <a:lnTo>
                    <a:pt x="56" y="25"/>
                  </a:lnTo>
                  <a:lnTo>
                    <a:pt x="56" y="26"/>
                  </a:lnTo>
                  <a:lnTo>
                    <a:pt x="58" y="26"/>
                  </a:lnTo>
                  <a:lnTo>
                    <a:pt x="58" y="25"/>
                  </a:lnTo>
                  <a:lnTo>
                    <a:pt x="58" y="26"/>
                  </a:lnTo>
                  <a:lnTo>
                    <a:pt x="56" y="26"/>
                  </a:lnTo>
                  <a:lnTo>
                    <a:pt x="58" y="26"/>
                  </a:lnTo>
                  <a:lnTo>
                    <a:pt x="56" y="26"/>
                  </a:lnTo>
                  <a:lnTo>
                    <a:pt x="56" y="28"/>
                  </a:lnTo>
                  <a:lnTo>
                    <a:pt x="54" y="28"/>
                  </a:lnTo>
                  <a:lnTo>
                    <a:pt x="54" y="26"/>
                  </a:lnTo>
                  <a:lnTo>
                    <a:pt x="52" y="26"/>
                  </a:lnTo>
                  <a:lnTo>
                    <a:pt x="52" y="28"/>
                  </a:lnTo>
                  <a:lnTo>
                    <a:pt x="54" y="28"/>
                  </a:lnTo>
                  <a:lnTo>
                    <a:pt x="54" y="30"/>
                  </a:lnTo>
                  <a:lnTo>
                    <a:pt x="54" y="32"/>
                  </a:lnTo>
                  <a:lnTo>
                    <a:pt x="56" y="32"/>
                  </a:lnTo>
                  <a:lnTo>
                    <a:pt x="56" y="34"/>
                  </a:lnTo>
                  <a:lnTo>
                    <a:pt x="56" y="36"/>
                  </a:lnTo>
                  <a:lnTo>
                    <a:pt x="54" y="36"/>
                  </a:lnTo>
                  <a:lnTo>
                    <a:pt x="54" y="34"/>
                  </a:lnTo>
                  <a:lnTo>
                    <a:pt x="54" y="36"/>
                  </a:lnTo>
                  <a:lnTo>
                    <a:pt x="54" y="34"/>
                  </a:lnTo>
                  <a:lnTo>
                    <a:pt x="54" y="36"/>
                  </a:lnTo>
                  <a:lnTo>
                    <a:pt x="54" y="34"/>
                  </a:lnTo>
                  <a:lnTo>
                    <a:pt x="52" y="34"/>
                  </a:lnTo>
                  <a:lnTo>
                    <a:pt x="52" y="36"/>
                  </a:lnTo>
                  <a:lnTo>
                    <a:pt x="50" y="36"/>
                  </a:lnTo>
                  <a:lnTo>
                    <a:pt x="48" y="36"/>
                  </a:lnTo>
                  <a:lnTo>
                    <a:pt x="48" y="38"/>
                  </a:lnTo>
                  <a:lnTo>
                    <a:pt x="48" y="36"/>
                  </a:lnTo>
                  <a:lnTo>
                    <a:pt x="48" y="38"/>
                  </a:lnTo>
                  <a:lnTo>
                    <a:pt x="48" y="40"/>
                  </a:lnTo>
                  <a:lnTo>
                    <a:pt x="50" y="40"/>
                  </a:lnTo>
                  <a:lnTo>
                    <a:pt x="50" y="42"/>
                  </a:lnTo>
                  <a:lnTo>
                    <a:pt x="48" y="42"/>
                  </a:lnTo>
                  <a:lnTo>
                    <a:pt x="48" y="40"/>
                  </a:lnTo>
                  <a:lnTo>
                    <a:pt x="47" y="40"/>
                  </a:lnTo>
                  <a:lnTo>
                    <a:pt x="47" y="42"/>
                  </a:lnTo>
                  <a:lnTo>
                    <a:pt x="45" y="42"/>
                  </a:lnTo>
                  <a:lnTo>
                    <a:pt x="45" y="44"/>
                  </a:lnTo>
                  <a:lnTo>
                    <a:pt x="43" y="44"/>
                  </a:lnTo>
                  <a:lnTo>
                    <a:pt x="43" y="46"/>
                  </a:lnTo>
                  <a:lnTo>
                    <a:pt x="45" y="46"/>
                  </a:lnTo>
                  <a:lnTo>
                    <a:pt x="43" y="46"/>
                  </a:lnTo>
                  <a:lnTo>
                    <a:pt x="41" y="48"/>
                  </a:lnTo>
                  <a:lnTo>
                    <a:pt x="41" y="50"/>
                  </a:lnTo>
                  <a:lnTo>
                    <a:pt x="41" y="51"/>
                  </a:lnTo>
                  <a:lnTo>
                    <a:pt x="43" y="51"/>
                  </a:lnTo>
                  <a:lnTo>
                    <a:pt x="43" y="53"/>
                  </a:lnTo>
                  <a:lnTo>
                    <a:pt x="43" y="51"/>
                  </a:lnTo>
                  <a:lnTo>
                    <a:pt x="43" y="53"/>
                  </a:lnTo>
                  <a:lnTo>
                    <a:pt x="43" y="55"/>
                  </a:lnTo>
                  <a:lnTo>
                    <a:pt x="41" y="55"/>
                  </a:lnTo>
                  <a:lnTo>
                    <a:pt x="43" y="55"/>
                  </a:lnTo>
                  <a:lnTo>
                    <a:pt x="41" y="55"/>
                  </a:lnTo>
                  <a:lnTo>
                    <a:pt x="39" y="55"/>
                  </a:lnTo>
                  <a:lnTo>
                    <a:pt x="37" y="55"/>
                  </a:lnTo>
                  <a:lnTo>
                    <a:pt x="37" y="53"/>
                  </a:lnTo>
                  <a:lnTo>
                    <a:pt x="35" y="53"/>
                  </a:lnTo>
                  <a:lnTo>
                    <a:pt x="35" y="51"/>
                  </a:lnTo>
                  <a:lnTo>
                    <a:pt x="33" y="51"/>
                  </a:lnTo>
                  <a:lnTo>
                    <a:pt x="33" y="50"/>
                  </a:lnTo>
                  <a:lnTo>
                    <a:pt x="31" y="50"/>
                  </a:lnTo>
                  <a:lnTo>
                    <a:pt x="33" y="50"/>
                  </a:lnTo>
                  <a:lnTo>
                    <a:pt x="31" y="50"/>
                  </a:lnTo>
                  <a:lnTo>
                    <a:pt x="29" y="50"/>
                  </a:lnTo>
                  <a:lnTo>
                    <a:pt x="29" y="48"/>
                  </a:lnTo>
                  <a:lnTo>
                    <a:pt x="29" y="50"/>
                  </a:lnTo>
                  <a:lnTo>
                    <a:pt x="27" y="50"/>
                  </a:lnTo>
                  <a:lnTo>
                    <a:pt x="27" y="48"/>
                  </a:lnTo>
                  <a:lnTo>
                    <a:pt x="27" y="50"/>
                  </a:lnTo>
                  <a:lnTo>
                    <a:pt x="29" y="50"/>
                  </a:lnTo>
                  <a:lnTo>
                    <a:pt x="29" y="48"/>
                  </a:lnTo>
                  <a:lnTo>
                    <a:pt x="27" y="48"/>
                  </a:lnTo>
                  <a:lnTo>
                    <a:pt x="29" y="48"/>
                  </a:lnTo>
                  <a:lnTo>
                    <a:pt x="29" y="46"/>
                  </a:lnTo>
                  <a:lnTo>
                    <a:pt x="27" y="44"/>
                  </a:lnTo>
                  <a:lnTo>
                    <a:pt x="25" y="44"/>
                  </a:lnTo>
                  <a:lnTo>
                    <a:pt x="25" y="42"/>
                  </a:lnTo>
                  <a:lnTo>
                    <a:pt x="24" y="42"/>
                  </a:lnTo>
                  <a:lnTo>
                    <a:pt x="24" y="40"/>
                  </a:lnTo>
                  <a:lnTo>
                    <a:pt x="24" y="38"/>
                  </a:lnTo>
                  <a:lnTo>
                    <a:pt x="24" y="36"/>
                  </a:lnTo>
                  <a:lnTo>
                    <a:pt x="22" y="36"/>
                  </a:lnTo>
                  <a:lnTo>
                    <a:pt x="22" y="38"/>
                  </a:lnTo>
                  <a:lnTo>
                    <a:pt x="22" y="36"/>
                  </a:lnTo>
                  <a:lnTo>
                    <a:pt x="20" y="36"/>
                  </a:lnTo>
                  <a:lnTo>
                    <a:pt x="20" y="34"/>
                  </a:lnTo>
                  <a:lnTo>
                    <a:pt x="18" y="34"/>
                  </a:lnTo>
                  <a:lnTo>
                    <a:pt x="18" y="32"/>
                  </a:lnTo>
                  <a:lnTo>
                    <a:pt x="16" y="32"/>
                  </a:lnTo>
                  <a:lnTo>
                    <a:pt x="16" y="30"/>
                  </a:lnTo>
                  <a:lnTo>
                    <a:pt x="14" y="28"/>
                  </a:lnTo>
                  <a:lnTo>
                    <a:pt x="12" y="26"/>
                  </a:lnTo>
                  <a:lnTo>
                    <a:pt x="12" y="25"/>
                  </a:lnTo>
                  <a:lnTo>
                    <a:pt x="10" y="25"/>
                  </a:lnTo>
                  <a:lnTo>
                    <a:pt x="10" y="23"/>
                  </a:lnTo>
                  <a:lnTo>
                    <a:pt x="8" y="23"/>
                  </a:lnTo>
                  <a:lnTo>
                    <a:pt x="8" y="21"/>
                  </a:lnTo>
                  <a:lnTo>
                    <a:pt x="8" y="19"/>
                  </a:lnTo>
                  <a:lnTo>
                    <a:pt x="6" y="19"/>
                  </a:lnTo>
                  <a:lnTo>
                    <a:pt x="8" y="19"/>
                  </a:lnTo>
                  <a:lnTo>
                    <a:pt x="6" y="19"/>
                  </a:lnTo>
                  <a:lnTo>
                    <a:pt x="6" y="17"/>
                  </a:lnTo>
                  <a:lnTo>
                    <a:pt x="6" y="15"/>
                  </a:lnTo>
                  <a:lnTo>
                    <a:pt x="4" y="15"/>
                  </a:lnTo>
                  <a:lnTo>
                    <a:pt x="6" y="15"/>
                  </a:lnTo>
                  <a:lnTo>
                    <a:pt x="6" y="13"/>
                  </a:lnTo>
                  <a:lnTo>
                    <a:pt x="6" y="15"/>
                  </a:lnTo>
                  <a:lnTo>
                    <a:pt x="6" y="13"/>
                  </a:lnTo>
                  <a:lnTo>
                    <a:pt x="4" y="13"/>
                  </a:lnTo>
                  <a:lnTo>
                    <a:pt x="4" y="11"/>
                  </a:lnTo>
                  <a:lnTo>
                    <a:pt x="2" y="11"/>
                  </a:lnTo>
                  <a:lnTo>
                    <a:pt x="2" y="13"/>
                  </a:lnTo>
                  <a:lnTo>
                    <a:pt x="2" y="11"/>
                  </a:lnTo>
                  <a:lnTo>
                    <a:pt x="0" y="11"/>
                  </a:lnTo>
                  <a:lnTo>
                    <a:pt x="0" y="9"/>
                  </a:lnTo>
                  <a:lnTo>
                    <a:pt x="2" y="9"/>
                  </a:lnTo>
                  <a:lnTo>
                    <a:pt x="0" y="9"/>
                  </a:lnTo>
                  <a:lnTo>
                    <a:pt x="0" y="7"/>
                  </a:lnTo>
                  <a:lnTo>
                    <a:pt x="2" y="7"/>
                  </a:lnTo>
                  <a:lnTo>
                    <a:pt x="2" y="5"/>
                  </a:lnTo>
                  <a:lnTo>
                    <a:pt x="0" y="5"/>
                  </a:lnTo>
                  <a:lnTo>
                    <a:pt x="2" y="5"/>
                  </a:lnTo>
                  <a:lnTo>
                    <a:pt x="0" y="5"/>
                  </a:lnTo>
                  <a:lnTo>
                    <a:pt x="2" y="5"/>
                  </a:lnTo>
                  <a:lnTo>
                    <a:pt x="2" y="3"/>
                  </a:lnTo>
                  <a:lnTo>
                    <a:pt x="2" y="2"/>
                  </a:lnTo>
                  <a:lnTo>
                    <a:pt x="4" y="2"/>
                  </a:lnTo>
                  <a:lnTo>
                    <a:pt x="2" y="2"/>
                  </a:lnTo>
                  <a:lnTo>
                    <a:pt x="4" y="2"/>
                  </a:lnTo>
                  <a:lnTo>
                    <a:pt x="6" y="2"/>
                  </a:lnTo>
                  <a:lnTo>
                    <a:pt x="4" y="2"/>
                  </a:lnTo>
                  <a:lnTo>
                    <a:pt x="4" y="3"/>
                  </a:lnTo>
                  <a:lnTo>
                    <a:pt x="6" y="3"/>
                  </a:lnTo>
                  <a:lnTo>
                    <a:pt x="6" y="5"/>
                  </a:lnTo>
                  <a:lnTo>
                    <a:pt x="8" y="5"/>
                  </a:lnTo>
                  <a:lnTo>
                    <a:pt x="10" y="5"/>
                  </a:lnTo>
                  <a:lnTo>
                    <a:pt x="10" y="7"/>
                  </a:lnTo>
                  <a:lnTo>
                    <a:pt x="10" y="5"/>
                  </a:lnTo>
                  <a:lnTo>
                    <a:pt x="10" y="7"/>
                  </a:lnTo>
                  <a:lnTo>
                    <a:pt x="10" y="5"/>
                  </a:lnTo>
                  <a:lnTo>
                    <a:pt x="10" y="7"/>
                  </a:lnTo>
                  <a:lnTo>
                    <a:pt x="10" y="5"/>
                  </a:lnTo>
                  <a:lnTo>
                    <a:pt x="10" y="3"/>
                  </a:lnTo>
                  <a:lnTo>
                    <a:pt x="12" y="3"/>
                  </a:lnTo>
                  <a:lnTo>
                    <a:pt x="12" y="2"/>
                  </a:lnTo>
                  <a:lnTo>
                    <a:pt x="14" y="2"/>
                  </a:lnTo>
                  <a:lnTo>
                    <a:pt x="16" y="2"/>
                  </a:lnTo>
                  <a:lnTo>
                    <a:pt x="18" y="2"/>
                  </a:lnTo>
                  <a:lnTo>
                    <a:pt x="18" y="0"/>
                  </a:lnTo>
                  <a:lnTo>
                    <a:pt x="18" y="2"/>
                  </a:lnTo>
                  <a:lnTo>
                    <a:pt x="20" y="2"/>
                  </a:lnTo>
                  <a:lnTo>
                    <a:pt x="18" y="2"/>
                  </a:lnTo>
                  <a:lnTo>
                    <a:pt x="20" y="2"/>
                  </a:lnTo>
                  <a:lnTo>
                    <a:pt x="22" y="3"/>
                  </a:lnTo>
                  <a:lnTo>
                    <a:pt x="24" y="3"/>
                  </a:lnTo>
                  <a:lnTo>
                    <a:pt x="24" y="2"/>
                  </a:lnTo>
                  <a:lnTo>
                    <a:pt x="24" y="3"/>
                  </a:lnTo>
                  <a:lnTo>
                    <a:pt x="25" y="3"/>
                  </a:lnTo>
                  <a:lnTo>
                    <a:pt x="27" y="3"/>
                  </a:lnTo>
                  <a:lnTo>
                    <a:pt x="29" y="3"/>
                  </a:lnTo>
                  <a:lnTo>
                    <a:pt x="31" y="3"/>
                  </a:lnTo>
                  <a:lnTo>
                    <a:pt x="31" y="5"/>
                  </a:lnTo>
                  <a:lnTo>
                    <a:pt x="33" y="5"/>
                  </a:lnTo>
                  <a:lnTo>
                    <a:pt x="33" y="3"/>
                  </a:lnTo>
                  <a:lnTo>
                    <a:pt x="35" y="3"/>
                  </a:lnTo>
                  <a:lnTo>
                    <a:pt x="35" y="5"/>
                  </a:lnTo>
                  <a:lnTo>
                    <a:pt x="37" y="5"/>
                  </a:lnTo>
                  <a:lnTo>
                    <a:pt x="37" y="3"/>
                  </a:lnTo>
                  <a:lnTo>
                    <a:pt x="39" y="3"/>
                  </a:lnTo>
                  <a:lnTo>
                    <a:pt x="41" y="3"/>
                  </a:lnTo>
                  <a:lnTo>
                    <a:pt x="41" y="5"/>
                  </a:lnTo>
                  <a:lnTo>
                    <a:pt x="43" y="5"/>
                  </a:lnTo>
                  <a:lnTo>
                    <a:pt x="43" y="3"/>
                  </a:lnTo>
                  <a:lnTo>
                    <a:pt x="43" y="5"/>
                  </a:lnTo>
                  <a:lnTo>
                    <a:pt x="43" y="3"/>
                  </a:lnTo>
                  <a:lnTo>
                    <a:pt x="43" y="5"/>
                  </a:lnTo>
                  <a:lnTo>
                    <a:pt x="43" y="3"/>
                  </a:lnTo>
                  <a:lnTo>
                    <a:pt x="43" y="5"/>
                  </a:lnTo>
                  <a:lnTo>
                    <a:pt x="45" y="5"/>
                  </a:lnTo>
                  <a:lnTo>
                    <a:pt x="45" y="3"/>
                  </a:lnTo>
                  <a:lnTo>
                    <a:pt x="45" y="5"/>
                  </a:lnTo>
                  <a:lnTo>
                    <a:pt x="45" y="7"/>
                  </a:lnTo>
                  <a:lnTo>
                    <a:pt x="45" y="5"/>
                  </a:lnTo>
                  <a:lnTo>
                    <a:pt x="47" y="7"/>
                  </a:lnTo>
                  <a:lnTo>
                    <a:pt x="45" y="7"/>
                  </a:lnTo>
                  <a:lnTo>
                    <a:pt x="45" y="9"/>
                  </a:lnTo>
                  <a:lnTo>
                    <a:pt x="47" y="9"/>
                  </a:lnTo>
                  <a:lnTo>
                    <a:pt x="48" y="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373">
              <a:extLst>
                <a:ext uri="{FF2B5EF4-FFF2-40B4-BE49-F238E27FC236}">
                  <a16:creationId xmlns:a16="http://schemas.microsoft.com/office/drawing/2014/main" id="{84F421DB-5B1D-43EF-8684-39D428A8D6F0}"/>
                </a:ext>
              </a:extLst>
            </p:cNvPr>
            <p:cNvSpPr>
              <a:spLocks noEditPoints="1"/>
            </p:cNvSpPr>
            <p:nvPr/>
          </p:nvSpPr>
          <p:spPr bwMode="gray">
            <a:xfrm>
              <a:off x="3451085" y="3419777"/>
              <a:ext cx="107921" cy="105468"/>
            </a:xfrm>
            <a:custGeom>
              <a:avLst/>
              <a:gdLst>
                <a:gd name="T0" fmla="*/ 54 w 88"/>
                <a:gd name="T1" fmla="*/ 11 h 86"/>
                <a:gd name="T2" fmla="*/ 75 w 88"/>
                <a:gd name="T3" fmla="*/ 17 h 86"/>
                <a:gd name="T4" fmla="*/ 80 w 88"/>
                <a:gd name="T5" fmla="*/ 19 h 86"/>
                <a:gd name="T6" fmla="*/ 84 w 88"/>
                <a:gd name="T7" fmla="*/ 29 h 86"/>
                <a:gd name="T8" fmla="*/ 82 w 88"/>
                <a:gd name="T9" fmla="*/ 34 h 86"/>
                <a:gd name="T10" fmla="*/ 75 w 88"/>
                <a:gd name="T11" fmla="*/ 32 h 86"/>
                <a:gd name="T12" fmla="*/ 61 w 88"/>
                <a:gd name="T13" fmla="*/ 30 h 86"/>
                <a:gd name="T14" fmla="*/ 44 w 88"/>
                <a:gd name="T15" fmla="*/ 30 h 86"/>
                <a:gd name="T16" fmla="*/ 34 w 88"/>
                <a:gd name="T17" fmla="*/ 29 h 86"/>
                <a:gd name="T18" fmla="*/ 34 w 88"/>
                <a:gd name="T19" fmla="*/ 40 h 86"/>
                <a:gd name="T20" fmla="*/ 40 w 88"/>
                <a:gd name="T21" fmla="*/ 50 h 86"/>
                <a:gd name="T22" fmla="*/ 56 w 88"/>
                <a:gd name="T23" fmla="*/ 65 h 86"/>
                <a:gd name="T24" fmla="*/ 56 w 88"/>
                <a:gd name="T25" fmla="*/ 71 h 86"/>
                <a:gd name="T26" fmla="*/ 44 w 88"/>
                <a:gd name="T27" fmla="*/ 63 h 86"/>
                <a:gd name="T28" fmla="*/ 36 w 88"/>
                <a:gd name="T29" fmla="*/ 59 h 86"/>
                <a:gd name="T30" fmla="*/ 25 w 88"/>
                <a:gd name="T31" fmla="*/ 48 h 86"/>
                <a:gd name="T32" fmla="*/ 31 w 88"/>
                <a:gd name="T33" fmla="*/ 50 h 86"/>
                <a:gd name="T34" fmla="*/ 21 w 88"/>
                <a:gd name="T35" fmla="*/ 36 h 86"/>
                <a:gd name="T36" fmla="*/ 11 w 88"/>
                <a:gd name="T37" fmla="*/ 27 h 86"/>
                <a:gd name="T38" fmla="*/ 8 w 88"/>
                <a:gd name="T39" fmla="*/ 34 h 86"/>
                <a:gd name="T40" fmla="*/ 4 w 88"/>
                <a:gd name="T41" fmla="*/ 34 h 86"/>
                <a:gd name="T42" fmla="*/ 0 w 88"/>
                <a:gd name="T43" fmla="*/ 23 h 86"/>
                <a:gd name="T44" fmla="*/ 17 w 88"/>
                <a:gd name="T45" fmla="*/ 21 h 86"/>
                <a:gd name="T46" fmla="*/ 27 w 88"/>
                <a:gd name="T47" fmla="*/ 23 h 86"/>
                <a:gd name="T48" fmla="*/ 32 w 88"/>
                <a:gd name="T49" fmla="*/ 17 h 86"/>
                <a:gd name="T50" fmla="*/ 40 w 88"/>
                <a:gd name="T51" fmla="*/ 4 h 86"/>
                <a:gd name="T52" fmla="*/ 65 w 88"/>
                <a:gd name="T53" fmla="*/ 78 h 86"/>
                <a:gd name="T54" fmla="*/ 69 w 88"/>
                <a:gd name="T55" fmla="*/ 82 h 86"/>
                <a:gd name="T56" fmla="*/ 59 w 88"/>
                <a:gd name="T57" fmla="*/ 77 h 86"/>
                <a:gd name="T58" fmla="*/ 59 w 88"/>
                <a:gd name="T59" fmla="*/ 77 h 86"/>
                <a:gd name="T60" fmla="*/ 13 w 88"/>
                <a:gd name="T61" fmla="*/ 30 h 86"/>
                <a:gd name="T62" fmla="*/ 15 w 88"/>
                <a:gd name="T63" fmla="*/ 38 h 86"/>
                <a:gd name="T64" fmla="*/ 13 w 88"/>
                <a:gd name="T65" fmla="*/ 36 h 86"/>
                <a:gd name="T66" fmla="*/ 50 w 88"/>
                <a:gd name="T67" fmla="*/ 69 h 86"/>
                <a:gd name="T68" fmla="*/ 46 w 88"/>
                <a:gd name="T69" fmla="*/ 71 h 86"/>
                <a:gd name="T70" fmla="*/ 46 w 88"/>
                <a:gd name="T71" fmla="*/ 71 h 86"/>
                <a:gd name="T72" fmla="*/ 44 w 88"/>
                <a:gd name="T73" fmla="*/ 69 h 86"/>
                <a:gd name="T74" fmla="*/ 23 w 88"/>
                <a:gd name="T75" fmla="*/ 44 h 86"/>
                <a:gd name="T76" fmla="*/ 25 w 88"/>
                <a:gd name="T77" fmla="*/ 46 h 86"/>
                <a:gd name="T78" fmla="*/ 48 w 88"/>
                <a:gd name="T79" fmla="*/ 77 h 86"/>
                <a:gd name="T80" fmla="*/ 25 w 88"/>
                <a:gd name="T81" fmla="*/ 53 h 86"/>
                <a:gd name="T82" fmla="*/ 59 w 88"/>
                <a:gd name="T83" fmla="*/ 78 h 86"/>
                <a:gd name="T84" fmla="*/ 40 w 88"/>
                <a:gd name="T85" fmla="*/ 75 h 86"/>
                <a:gd name="T86" fmla="*/ 27 w 88"/>
                <a:gd name="T87" fmla="*/ 55 h 86"/>
                <a:gd name="T88" fmla="*/ 50 w 88"/>
                <a:gd name="T89" fmla="*/ 78 h 86"/>
                <a:gd name="T90" fmla="*/ 23 w 88"/>
                <a:gd name="T91" fmla="*/ 48 h 86"/>
                <a:gd name="T92" fmla="*/ 25 w 88"/>
                <a:gd name="T93" fmla="*/ 53 h 86"/>
                <a:gd name="T94" fmla="*/ 27 w 88"/>
                <a:gd name="T95" fmla="*/ 55 h 86"/>
                <a:gd name="T96" fmla="*/ 17 w 88"/>
                <a:gd name="T97" fmla="*/ 46 h 86"/>
                <a:gd name="T98" fmla="*/ 36 w 88"/>
                <a:gd name="T99" fmla="*/ 75 h 86"/>
                <a:gd name="T100" fmla="*/ 11 w 88"/>
                <a:gd name="T101" fmla="*/ 44 h 86"/>
                <a:gd name="T102" fmla="*/ 32 w 88"/>
                <a:gd name="T103" fmla="*/ 59 h 86"/>
                <a:gd name="T104" fmla="*/ 29 w 88"/>
                <a:gd name="T105" fmla="*/ 57 h 86"/>
                <a:gd name="T106" fmla="*/ 69 w 88"/>
                <a:gd name="T107" fmla="*/ 80 h 86"/>
                <a:gd name="T108" fmla="*/ 15 w 88"/>
                <a:gd name="T109" fmla="*/ 42 h 86"/>
                <a:gd name="T110" fmla="*/ 48 w 88"/>
                <a:gd name="T111" fmla="*/ 77 h 86"/>
                <a:gd name="T112" fmla="*/ 25 w 88"/>
                <a:gd name="T113" fmla="*/ 55 h 86"/>
                <a:gd name="T114" fmla="*/ 25 w 88"/>
                <a:gd name="T115" fmla="*/ 55 h 86"/>
                <a:gd name="T116" fmla="*/ 17 w 88"/>
                <a:gd name="T117" fmla="*/ 46 h 86"/>
                <a:gd name="T118" fmla="*/ 40 w 88"/>
                <a:gd name="T119" fmla="*/ 6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6">
                  <a:moveTo>
                    <a:pt x="46" y="2"/>
                  </a:moveTo>
                  <a:lnTo>
                    <a:pt x="46" y="4"/>
                  </a:lnTo>
                  <a:lnTo>
                    <a:pt x="46" y="2"/>
                  </a:lnTo>
                  <a:lnTo>
                    <a:pt x="46" y="4"/>
                  </a:lnTo>
                  <a:lnTo>
                    <a:pt x="48" y="4"/>
                  </a:lnTo>
                  <a:lnTo>
                    <a:pt x="50" y="4"/>
                  </a:lnTo>
                  <a:lnTo>
                    <a:pt x="50" y="5"/>
                  </a:lnTo>
                  <a:lnTo>
                    <a:pt x="50" y="4"/>
                  </a:lnTo>
                  <a:lnTo>
                    <a:pt x="50" y="5"/>
                  </a:lnTo>
                  <a:lnTo>
                    <a:pt x="50" y="7"/>
                  </a:lnTo>
                  <a:lnTo>
                    <a:pt x="52" y="7"/>
                  </a:lnTo>
                  <a:lnTo>
                    <a:pt x="52" y="9"/>
                  </a:lnTo>
                  <a:lnTo>
                    <a:pt x="54" y="9"/>
                  </a:lnTo>
                  <a:lnTo>
                    <a:pt x="56" y="9"/>
                  </a:lnTo>
                  <a:lnTo>
                    <a:pt x="56" y="11"/>
                  </a:lnTo>
                  <a:lnTo>
                    <a:pt x="54" y="11"/>
                  </a:lnTo>
                  <a:lnTo>
                    <a:pt x="56" y="11"/>
                  </a:lnTo>
                  <a:lnTo>
                    <a:pt x="56" y="13"/>
                  </a:lnTo>
                  <a:lnTo>
                    <a:pt x="57" y="13"/>
                  </a:lnTo>
                  <a:lnTo>
                    <a:pt x="56" y="13"/>
                  </a:lnTo>
                  <a:lnTo>
                    <a:pt x="57" y="13"/>
                  </a:lnTo>
                  <a:lnTo>
                    <a:pt x="59" y="13"/>
                  </a:lnTo>
                  <a:lnTo>
                    <a:pt x="59" y="15"/>
                  </a:lnTo>
                  <a:lnTo>
                    <a:pt x="61" y="15"/>
                  </a:lnTo>
                  <a:lnTo>
                    <a:pt x="63" y="15"/>
                  </a:lnTo>
                  <a:lnTo>
                    <a:pt x="63" y="17"/>
                  </a:lnTo>
                  <a:lnTo>
                    <a:pt x="65" y="17"/>
                  </a:lnTo>
                  <a:lnTo>
                    <a:pt x="67" y="17"/>
                  </a:lnTo>
                  <a:lnTo>
                    <a:pt x="69" y="17"/>
                  </a:lnTo>
                  <a:lnTo>
                    <a:pt x="71" y="17"/>
                  </a:lnTo>
                  <a:lnTo>
                    <a:pt x="73" y="17"/>
                  </a:lnTo>
                  <a:lnTo>
                    <a:pt x="75" y="17"/>
                  </a:lnTo>
                  <a:lnTo>
                    <a:pt x="75" y="15"/>
                  </a:lnTo>
                  <a:lnTo>
                    <a:pt x="77" y="15"/>
                  </a:lnTo>
                  <a:lnTo>
                    <a:pt x="75" y="15"/>
                  </a:lnTo>
                  <a:lnTo>
                    <a:pt x="77" y="15"/>
                  </a:lnTo>
                  <a:lnTo>
                    <a:pt x="79" y="15"/>
                  </a:lnTo>
                  <a:lnTo>
                    <a:pt x="79" y="13"/>
                  </a:lnTo>
                  <a:lnTo>
                    <a:pt x="79" y="15"/>
                  </a:lnTo>
                  <a:lnTo>
                    <a:pt x="79" y="13"/>
                  </a:lnTo>
                  <a:lnTo>
                    <a:pt x="79" y="15"/>
                  </a:lnTo>
                  <a:lnTo>
                    <a:pt x="79" y="17"/>
                  </a:lnTo>
                  <a:lnTo>
                    <a:pt x="80" y="17"/>
                  </a:lnTo>
                  <a:lnTo>
                    <a:pt x="79" y="17"/>
                  </a:lnTo>
                  <a:lnTo>
                    <a:pt x="80" y="17"/>
                  </a:lnTo>
                  <a:lnTo>
                    <a:pt x="80" y="19"/>
                  </a:lnTo>
                  <a:lnTo>
                    <a:pt x="79" y="19"/>
                  </a:lnTo>
                  <a:lnTo>
                    <a:pt x="80" y="19"/>
                  </a:lnTo>
                  <a:lnTo>
                    <a:pt x="79" y="19"/>
                  </a:lnTo>
                  <a:lnTo>
                    <a:pt x="80" y="19"/>
                  </a:lnTo>
                  <a:lnTo>
                    <a:pt x="80" y="21"/>
                  </a:lnTo>
                  <a:lnTo>
                    <a:pt x="80" y="19"/>
                  </a:lnTo>
                  <a:lnTo>
                    <a:pt x="80" y="21"/>
                  </a:lnTo>
                  <a:lnTo>
                    <a:pt x="79" y="21"/>
                  </a:lnTo>
                  <a:lnTo>
                    <a:pt x="80" y="21"/>
                  </a:lnTo>
                  <a:lnTo>
                    <a:pt x="80" y="23"/>
                  </a:lnTo>
                  <a:lnTo>
                    <a:pt x="80" y="21"/>
                  </a:lnTo>
                  <a:lnTo>
                    <a:pt x="80" y="23"/>
                  </a:lnTo>
                  <a:lnTo>
                    <a:pt x="82" y="23"/>
                  </a:lnTo>
                  <a:lnTo>
                    <a:pt x="80" y="23"/>
                  </a:lnTo>
                  <a:lnTo>
                    <a:pt x="80" y="25"/>
                  </a:lnTo>
                  <a:lnTo>
                    <a:pt x="80" y="27"/>
                  </a:lnTo>
                  <a:lnTo>
                    <a:pt x="82" y="27"/>
                  </a:lnTo>
                  <a:lnTo>
                    <a:pt x="84" y="29"/>
                  </a:lnTo>
                  <a:lnTo>
                    <a:pt x="84" y="27"/>
                  </a:lnTo>
                  <a:lnTo>
                    <a:pt x="84" y="29"/>
                  </a:lnTo>
                  <a:lnTo>
                    <a:pt x="86" y="29"/>
                  </a:lnTo>
                  <a:lnTo>
                    <a:pt x="88" y="29"/>
                  </a:lnTo>
                  <a:lnTo>
                    <a:pt x="86" y="29"/>
                  </a:lnTo>
                  <a:lnTo>
                    <a:pt x="86" y="30"/>
                  </a:lnTo>
                  <a:lnTo>
                    <a:pt x="86" y="29"/>
                  </a:lnTo>
                  <a:lnTo>
                    <a:pt x="84" y="29"/>
                  </a:lnTo>
                  <a:lnTo>
                    <a:pt x="84" y="30"/>
                  </a:lnTo>
                  <a:lnTo>
                    <a:pt x="84" y="29"/>
                  </a:lnTo>
                  <a:lnTo>
                    <a:pt x="82" y="29"/>
                  </a:lnTo>
                  <a:lnTo>
                    <a:pt x="84" y="29"/>
                  </a:lnTo>
                  <a:lnTo>
                    <a:pt x="84" y="30"/>
                  </a:lnTo>
                  <a:lnTo>
                    <a:pt x="82" y="30"/>
                  </a:lnTo>
                  <a:lnTo>
                    <a:pt x="82" y="32"/>
                  </a:lnTo>
                  <a:lnTo>
                    <a:pt x="82" y="34"/>
                  </a:lnTo>
                  <a:lnTo>
                    <a:pt x="82" y="36"/>
                  </a:lnTo>
                  <a:lnTo>
                    <a:pt x="82" y="34"/>
                  </a:lnTo>
                  <a:lnTo>
                    <a:pt x="80" y="34"/>
                  </a:lnTo>
                  <a:lnTo>
                    <a:pt x="80" y="36"/>
                  </a:lnTo>
                  <a:lnTo>
                    <a:pt x="79" y="36"/>
                  </a:lnTo>
                  <a:lnTo>
                    <a:pt x="77" y="36"/>
                  </a:lnTo>
                  <a:lnTo>
                    <a:pt x="77" y="34"/>
                  </a:lnTo>
                  <a:lnTo>
                    <a:pt x="79" y="34"/>
                  </a:lnTo>
                  <a:lnTo>
                    <a:pt x="77" y="32"/>
                  </a:lnTo>
                  <a:lnTo>
                    <a:pt x="77" y="34"/>
                  </a:lnTo>
                  <a:lnTo>
                    <a:pt x="77" y="32"/>
                  </a:lnTo>
                  <a:lnTo>
                    <a:pt x="77" y="30"/>
                  </a:lnTo>
                  <a:lnTo>
                    <a:pt x="77" y="32"/>
                  </a:lnTo>
                  <a:lnTo>
                    <a:pt x="75" y="32"/>
                  </a:lnTo>
                  <a:lnTo>
                    <a:pt x="75" y="30"/>
                  </a:lnTo>
                  <a:lnTo>
                    <a:pt x="75" y="32"/>
                  </a:lnTo>
                  <a:lnTo>
                    <a:pt x="75" y="30"/>
                  </a:lnTo>
                  <a:lnTo>
                    <a:pt x="75" y="32"/>
                  </a:lnTo>
                  <a:lnTo>
                    <a:pt x="75" y="30"/>
                  </a:lnTo>
                  <a:lnTo>
                    <a:pt x="75" y="32"/>
                  </a:lnTo>
                  <a:lnTo>
                    <a:pt x="73" y="32"/>
                  </a:lnTo>
                  <a:lnTo>
                    <a:pt x="73" y="30"/>
                  </a:lnTo>
                  <a:lnTo>
                    <a:pt x="71" y="30"/>
                  </a:lnTo>
                  <a:lnTo>
                    <a:pt x="69" y="30"/>
                  </a:lnTo>
                  <a:lnTo>
                    <a:pt x="69" y="32"/>
                  </a:lnTo>
                  <a:lnTo>
                    <a:pt x="67" y="32"/>
                  </a:lnTo>
                  <a:lnTo>
                    <a:pt x="67" y="30"/>
                  </a:lnTo>
                  <a:lnTo>
                    <a:pt x="65" y="30"/>
                  </a:lnTo>
                  <a:lnTo>
                    <a:pt x="65" y="32"/>
                  </a:lnTo>
                  <a:lnTo>
                    <a:pt x="63" y="32"/>
                  </a:lnTo>
                  <a:lnTo>
                    <a:pt x="63" y="30"/>
                  </a:lnTo>
                  <a:lnTo>
                    <a:pt x="61" y="30"/>
                  </a:lnTo>
                  <a:lnTo>
                    <a:pt x="59" y="30"/>
                  </a:lnTo>
                  <a:lnTo>
                    <a:pt x="57" y="30"/>
                  </a:lnTo>
                  <a:lnTo>
                    <a:pt x="56" y="30"/>
                  </a:lnTo>
                  <a:lnTo>
                    <a:pt x="56" y="29"/>
                  </a:lnTo>
                  <a:lnTo>
                    <a:pt x="56" y="30"/>
                  </a:lnTo>
                  <a:lnTo>
                    <a:pt x="54" y="30"/>
                  </a:lnTo>
                  <a:lnTo>
                    <a:pt x="52" y="29"/>
                  </a:lnTo>
                  <a:lnTo>
                    <a:pt x="50" y="29"/>
                  </a:lnTo>
                  <a:lnTo>
                    <a:pt x="52" y="29"/>
                  </a:lnTo>
                  <a:lnTo>
                    <a:pt x="50" y="29"/>
                  </a:lnTo>
                  <a:lnTo>
                    <a:pt x="50" y="27"/>
                  </a:lnTo>
                  <a:lnTo>
                    <a:pt x="50" y="29"/>
                  </a:lnTo>
                  <a:lnTo>
                    <a:pt x="48" y="29"/>
                  </a:lnTo>
                  <a:lnTo>
                    <a:pt x="46" y="29"/>
                  </a:lnTo>
                  <a:lnTo>
                    <a:pt x="44" y="29"/>
                  </a:lnTo>
                  <a:lnTo>
                    <a:pt x="44" y="30"/>
                  </a:lnTo>
                  <a:lnTo>
                    <a:pt x="42" y="30"/>
                  </a:lnTo>
                  <a:lnTo>
                    <a:pt x="42" y="32"/>
                  </a:lnTo>
                  <a:lnTo>
                    <a:pt x="42" y="34"/>
                  </a:lnTo>
                  <a:lnTo>
                    <a:pt x="42" y="32"/>
                  </a:lnTo>
                  <a:lnTo>
                    <a:pt x="42" y="34"/>
                  </a:lnTo>
                  <a:lnTo>
                    <a:pt x="42" y="32"/>
                  </a:lnTo>
                  <a:lnTo>
                    <a:pt x="42" y="34"/>
                  </a:lnTo>
                  <a:lnTo>
                    <a:pt x="42" y="32"/>
                  </a:lnTo>
                  <a:lnTo>
                    <a:pt x="40" y="32"/>
                  </a:lnTo>
                  <a:lnTo>
                    <a:pt x="38" y="32"/>
                  </a:lnTo>
                  <a:lnTo>
                    <a:pt x="38" y="30"/>
                  </a:lnTo>
                  <a:lnTo>
                    <a:pt x="36" y="30"/>
                  </a:lnTo>
                  <a:lnTo>
                    <a:pt x="36" y="29"/>
                  </a:lnTo>
                  <a:lnTo>
                    <a:pt x="38" y="29"/>
                  </a:lnTo>
                  <a:lnTo>
                    <a:pt x="36" y="29"/>
                  </a:lnTo>
                  <a:lnTo>
                    <a:pt x="34" y="29"/>
                  </a:lnTo>
                  <a:lnTo>
                    <a:pt x="36" y="29"/>
                  </a:lnTo>
                  <a:lnTo>
                    <a:pt x="34" y="29"/>
                  </a:lnTo>
                  <a:lnTo>
                    <a:pt x="34" y="30"/>
                  </a:lnTo>
                  <a:lnTo>
                    <a:pt x="34" y="32"/>
                  </a:lnTo>
                  <a:lnTo>
                    <a:pt x="32" y="32"/>
                  </a:lnTo>
                  <a:lnTo>
                    <a:pt x="34" y="32"/>
                  </a:lnTo>
                  <a:lnTo>
                    <a:pt x="32" y="32"/>
                  </a:lnTo>
                  <a:lnTo>
                    <a:pt x="34" y="32"/>
                  </a:lnTo>
                  <a:lnTo>
                    <a:pt x="34" y="34"/>
                  </a:lnTo>
                  <a:lnTo>
                    <a:pt x="32" y="34"/>
                  </a:lnTo>
                  <a:lnTo>
                    <a:pt x="32" y="36"/>
                  </a:lnTo>
                  <a:lnTo>
                    <a:pt x="34" y="36"/>
                  </a:lnTo>
                  <a:lnTo>
                    <a:pt x="32" y="36"/>
                  </a:lnTo>
                  <a:lnTo>
                    <a:pt x="32" y="38"/>
                  </a:lnTo>
                  <a:lnTo>
                    <a:pt x="34" y="38"/>
                  </a:lnTo>
                  <a:lnTo>
                    <a:pt x="34" y="40"/>
                  </a:lnTo>
                  <a:lnTo>
                    <a:pt x="34" y="38"/>
                  </a:lnTo>
                  <a:lnTo>
                    <a:pt x="36" y="38"/>
                  </a:lnTo>
                  <a:lnTo>
                    <a:pt x="36" y="40"/>
                  </a:lnTo>
                  <a:lnTo>
                    <a:pt x="38" y="40"/>
                  </a:lnTo>
                  <a:lnTo>
                    <a:pt x="38" y="42"/>
                  </a:lnTo>
                  <a:lnTo>
                    <a:pt x="38" y="40"/>
                  </a:lnTo>
                  <a:lnTo>
                    <a:pt x="38" y="42"/>
                  </a:lnTo>
                  <a:lnTo>
                    <a:pt x="36" y="42"/>
                  </a:lnTo>
                  <a:lnTo>
                    <a:pt x="38" y="42"/>
                  </a:lnTo>
                  <a:lnTo>
                    <a:pt x="38" y="44"/>
                  </a:lnTo>
                  <a:lnTo>
                    <a:pt x="38" y="46"/>
                  </a:lnTo>
                  <a:lnTo>
                    <a:pt x="40" y="46"/>
                  </a:lnTo>
                  <a:lnTo>
                    <a:pt x="38" y="46"/>
                  </a:lnTo>
                  <a:lnTo>
                    <a:pt x="40" y="46"/>
                  </a:lnTo>
                  <a:lnTo>
                    <a:pt x="40" y="48"/>
                  </a:lnTo>
                  <a:lnTo>
                    <a:pt x="40" y="50"/>
                  </a:lnTo>
                  <a:lnTo>
                    <a:pt x="42" y="50"/>
                  </a:lnTo>
                  <a:lnTo>
                    <a:pt x="42" y="52"/>
                  </a:lnTo>
                  <a:lnTo>
                    <a:pt x="44" y="52"/>
                  </a:lnTo>
                  <a:lnTo>
                    <a:pt x="44" y="53"/>
                  </a:lnTo>
                  <a:lnTo>
                    <a:pt x="46" y="55"/>
                  </a:lnTo>
                  <a:lnTo>
                    <a:pt x="48" y="57"/>
                  </a:lnTo>
                  <a:lnTo>
                    <a:pt x="48" y="59"/>
                  </a:lnTo>
                  <a:lnTo>
                    <a:pt x="50" y="59"/>
                  </a:lnTo>
                  <a:lnTo>
                    <a:pt x="50" y="61"/>
                  </a:lnTo>
                  <a:lnTo>
                    <a:pt x="52" y="61"/>
                  </a:lnTo>
                  <a:lnTo>
                    <a:pt x="52" y="63"/>
                  </a:lnTo>
                  <a:lnTo>
                    <a:pt x="54" y="63"/>
                  </a:lnTo>
                  <a:lnTo>
                    <a:pt x="54" y="65"/>
                  </a:lnTo>
                  <a:lnTo>
                    <a:pt x="54" y="63"/>
                  </a:lnTo>
                  <a:lnTo>
                    <a:pt x="56" y="63"/>
                  </a:lnTo>
                  <a:lnTo>
                    <a:pt x="56" y="65"/>
                  </a:lnTo>
                  <a:lnTo>
                    <a:pt x="56" y="67"/>
                  </a:lnTo>
                  <a:lnTo>
                    <a:pt x="56" y="69"/>
                  </a:lnTo>
                  <a:lnTo>
                    <a:pt x="57" y="69"/>
                  </a:lnTo>
                  <a:lnTo>
                    <a:pt x="57" y="71"/>
                  </a:lnTo>
                  <a:lnTo>
                    <a:pt x="59" y="71"/>
                  </a:lnTo>
                  <a:lnTo>
                    <a:pt x="61" y="73"/>
                  </a:lnTo>
                  <a:lnTo>
                    <a:pt x="61" y="75"/>
                  </a:lnTo>
                  <a:lnTo>
                    <a:pt x="59" y="75"/>
                  </a:lnTo>
                  <a:lnTo>
                    <a:pt x="57" y="75"/>
                  </a:lnTo>
                  <a:lnTo>
                    <a:pt x="59" y="75"/>
                  </a:lnTo>
                  <a:lnTo>
                    <a:pt x="57" y="75"/>
                  </a:lnTo>
                  <a:lnTo>
                    <a:pt x="57" y="73"/>
                  </a:lnTo>
                  <a:lnTo>
                    <a:pt x="59" y="73"/>
                  </a:lnTo>
                  <a:lnTo>
                    <a:pt x="57" y="73"/>
                  </a:lnTo>
                  <a:lnTo>
                    <a:pt x="56" y="73"/>
                  </a:lnTo>
                  <a:lnTo>
                    <a:pt x="56" y="71"/>
                  </a:lnTo>
                  <a:lnTo>
                    <a:pt x="54" y="71"/>
                  </a:lnTo>
                  <a:lnTo>
                    <a:pt x="54" y="69"/>
                  </a:lnTo>
                  <a:lnTo>
                    <a:pt x="52" y="69"/>
                  </a:lnTo>
                  <a:lnTo>
                    <a:pt x="52" y="67"/>
                  </a:lnTo>
                  <a:lnTo>
                    <a:pt x="50" y="67"/>
                  </a:lnTo>
                  <a:lnTo>
                    <a:pt x="50" y="65"/>
                  </a:lnTo>
                  <a:lnTo>
                    <a:pt x="50" y="67"/>
                  </a:lnTo>
                  <a:lnTo>
                    <a:pt x="50" y="65"/>
                  </a:lnTo>
                  <a:lnTo>
                    <a:pt x="48" y="65"/>
                  </a:lnTo>
                  <a:lnTo>
                    <a:pt x="46" y="65"/>
                  </a:lnTo>
                  <a:lnTo>
                    <a:pt x="44" y="65"/>
                  </a:lnTo>
                  <a:lnTo>
                    <a:pt x="44" y="63"/>
                  </a:lnTo>
                  <a:lnTo>
                    <a:pt x="42" y="63"/>
                  </a:lnTo>
                  <a:lnTo>
                    <a:pt x="44" y="63"/>
                  </a:lnTo>
                  <a:lnTo>
                    <a:pt x="42" y="63"/>
                  </a:lnTo>
                  <a:lnTo>
                    <a:pt x="44" y="63"/>
                  </a:lnTo>
                  <a:lnTo>
                    <a:pt x="42" y="63"/>
                  </a:lnTo>
                  <a:lnTo>
                    <a:pt x="40" y="63"/>
                  </a:lnTo>
                  <a:lnTo>
                    <a:pt x="38" y="63"/>
                  </a:lnTo>
                  <a:lnTo>
                    <a:pt x="40" y="63"/>
                  </a:lnTo>
                  <a:lnTo>
                    <a:pt x="40" y="65"/>
                  </a:lnTo>
                  <a:lnTo>
                    <a:pt x="38" y="65"/>
                  </a:lnTo>
                  <a:lnTo>
                    <a:pt x="36" y="65"/>
                  </a:lnTo>
                  <a:lnTo>
                    <a:pt x="36" y="63"/>
                  </a:lnTo>
                  <a:lnTo>
                    <a:pt x="36" y="65"/>
                  </a:lnTo>
                  <a:lnTo>
                    <a:pt x="36" y="63"/>
                  </a:lnTo>
                  <a:lnTo>
                    <a:pt x="36" y="65"/>
                  </a:lnTo>
                  <a:lnTo>
                    <a:pt x="36" y="63"/>
                  </a:lnTo>
                  <a:lnTo>
                    <a:pt x="36" y="61"/>
                  </a:lnTo>
                  <a:lnTo>
                    <a:pt x="36" y="63"/>
                  </a:lnTo>
                  <a:lnTo>
                    <a:pt x="36" y="61"/>
                  </a:lnTo>
                  <a:lnTo>
                    <a:pt x="36" y="59"/>
                  </a:lnTo>
                  <a:lnTo>
                    <a:pt x="36" y="61"/>
                  </a:lnTo>
                  <a:lnTo>
                    <a:pt x="36" y="59"/>
                  </a:lnTo>
                  <a:lnTo>
                    <a:pt x="34" y="59"/>
                  </a:lnTo>
                  <a:lnTo>
                    <a:pt x="32" y="59"/>
                  </a:lnTo>
                  <a:lnTo>
                    <a:pt x="32" y="57"/>
                  </a:lnTo>
                  <a:lnTo>
                    <a:pt x="31" y="57"/>
                  </a:lnTo>
                  <a:lnTo>
                    <a:pt x="32" y="57"/>
                  </a:lnTo>
                  <a:lnTo>
                    <a:pt x="31" y="57"/>
                  </a:lnTo>
                  <a:lnTo>
                    <a:pt x="31" y="55"/>
                  </a:lnTo>
                  <a:lnTo>
                    <a:pt x="29" y="55"/>
                  </a:lnTo>
                  <a:lnTo>
                    <a:pt x="29" y="53"/>
                  </a:lnTo>
                  <a:lnTo>
                    <a:pt x="27" y="53"/>
                  </a:lnTo>
                  <a:lnTo>
                    <a:pt x="27" y="52"/>
                  </a:lnTo>
                  <a:lnTo>
                    <a:pt x="25" y="52"/>
                  </a:lnTo>
                  <a:lnTo>
                    <a:pt x="25" y="50"/>
                  </a:lnTo>
                  <a:lnTo>
                    <a:pt x="25" y="48"/>
                  </a:lnTo>
                  <a:lnTo>
                    <a:pt x="25" y="50"/>
                  </a:lnTo>
                  <a:lnTo>
                    <a:pt x="25" y="48"/>
                  </a:lnTo>
                  <a:lnTo>
                    <a:pt x="27" y="48"/>
                  </a:lnTo>
                  <a:lnTo>
                    <a:pt x="27" y="50"/>
                  </a:lnTo>
                  <a:lnTo>
                    <a:pt x="27" y="48"/>
                  </a:lnTo>
                  <a:lnTo>
                    <a:pt x="29" y="48"/>
                  </a:lnTo>
                  <a:lnTo>
                    <a:pt x="29" y="50"/>
                  </a:lnTo>
                  <a:lnTo>
                    <a:pt x="31" y="50"/>
                  </a:lnTo>
                  <a:lnTo>
                    <a:pt x="29" y="50"/>
                  </a:lnTo>
                  <a:lnTo>
                    <a:pt x="31" y="50"/>
                  </a:lnTo>
                  <a:lnTo>
                    <a:pt x="31" y="52"/>
                  </a:lnTo>
                  <a:lnTo>
                    <a:pt x="32" y="52"/>
                  </a:lnTo>
                  <a:lnTo>
                    <a:pt x="31" y="52"/>
                  </a:lnTo>
                  <a:lnTo>
                    <a:pt x="32" y="52"/>
                  </a:lnTo>
                  <a:lnTo>
                    <a:pt x="31" y="52"/>
                  </a:lnTo>
                  <a:lnTo>
                    <a:pt x="31" y="50"/>
                  </a:lnTo>
                  <a:lnTo>
                    <a:pt x="31" y="48"/>
                  </a:lnTo>
                  <a:lnTo>
                    <a:pt x="29" y="48"/>
                  </a:lnTo>
                  <a:lnTo>
                    <a:pt x="27" y="48"/>
                  </a:lnTo>
                  <a:lnTo>
                    <a:pt x="27" y="46"/>
                  </a:lnTo>
                  <a:lnTo>
                    <a:pt x="25" y="46"/>
                  </a:lnTo>
                  <a:lnTo>
                    <a:pt x="27" y="46"/>
                  </a:lnTo>
                  <a:lnTo>
                    <a:pt x="25" y="46"/>
                  </a:lnTo>
                  <a:lnTo>
                    <a:pt x="25" y="44"/>
                  </a:lnTo>
                  <a:lnTo>
                    <a:pt x="23" y="44"/>
                  </a:lnTo>
                  <a:lnTo>
                    <a:pt x="23" y="42"/>
                  </a:lnTo>
                  <a:lnTo>
                    <a:pt x="21" y="42"/>
                  </a:lnTo>
                  <a:lnTo>
                    <a:pt x="21" y="40"/>
                  </a:lnTo>
                  <a:lnTo>
                    <a:pt x="21" y="38"/>
                  </a:lnTo>
                  <a:lnTo>
                    <a:pt x="21" y="36"/>
                  </a:lnTo>
                  <a:lnTo>
                    <a:pt x="21" y="34"/>
                  </a:lnTo>
                  <a:lnTo>
                    <a:pt x="21" y="36"/>
                  </a:lnTo>
                  <a:lnTo>
                    <a:pt x="21" y="34"/>
                  </a:lnTo>
                  <a:lnTo>
                    <a:pt x="21" y="32"/>
                  </a:lnTo>
                  <a:lnTo>
                    <a:pt x="21" y="30"/>
                  </a:lnTo>
                  <a:lnTo>
                    <a:pt x="19" y="30"/>
                  </a:lnTo>
                  <a:lnTo>
                    <a:pt x="21" y="30"/>
                  </a:lnTo>
                  <a:lnTo>
                    <a:pt x="19" y="30"/>
                  </a:lnTo>
                  <a:lnTo>
                    <a:pt x="21" y="30"/>
                  </a:lnTo>
                  <a:lnTo>
                    <a:pt x="19" y="30"/>
                  </a:lnTo>
                  <a:lnTo>
                    <a:pt x="17" y="30"/>
                  </a:lnTo>
                  <a:lnTo>
                    <a:pt x="17" y="29"/>
                  </a:lnTo>
                  <a:lnTo>
                    <a:pt x="15" y="29"/>
                  </a:lnTo>
                  <a:lnTo>
                    <a:pt x="15" y="27"/>
                  </a:lnTo>
                  <a:lnTo>
                    <a:pt x="17" y="27"/>
                  </a:lnTo>
                  <a:lnTo>
                    <a:pt x="15" y="27"/>
                  </a:lnTo>
                  <a:lnTo>
                    <a:pt x="13" y="27"/>
                  </a:lnTo>
                  <a:lnTo>
                    <a:pt x="11" y="27"/>
                  </a:lnTo>
                  <a:lnTo>
                    <a:pt x="11" y="29"/>
                  </a:lnTo>
                  <a:lnTo>
                    <a:pt x="11" y="30"/>
                  </a:lnTo>
                  <a:lnTo>
                    <a:pt x="9" y="30"/>
                  </a:lnTo>
                  <a:lnTo>
                    <a:pt x="11" y="30"/>
                  </a:lnTo>
                  <a:lnTo>
                    <a:pt x="11" y="32"/>
                  </a:lnTo>
                  <a:lnTo>
                    <a:pt x="9" y="32"/>
                  </a:lnTo>
                  <a:lnTo>
                    <a:pt x="9" y="34"/>
                  </a:lnTo>
                  <a:lnTo>
                    <a:pt x="9" y="32"/>
                  </a:lnTo>
                  <a:lnTo>
                    <a:pt x="8" y="32"/>
                  </a:lnTo>
                  <a:lnTo>
                    <a:pt x="9" y="32"/>
                  </a:lnTo>
                  <a:lnTo>
                    <a:pt x="8" y="32"/>
                  </a:lnTo>
                  <a:lnTo>
                    <a:pt x="8" y="34"/>
                  </a:lnTo>
                  <a:lnTo>
                    <a:pt x="9" y="34"/>
                  </a:lnTo>
                  <a:lnTo>
                    <a:pt x="8" y="34"/>
                  </a:lnTo>
                  <a:lnTo>
                    <a:pt x="9" y="34"/>
                  </a:lnTo>
                  <a:lnTo>
                    <a:pt x="8" y="34"/>
                  </a:lnTo>
                  <a:lnTo>
                    <a:pt x="8" y="36"/>
                  </a:lnTo>
                  <a:lnTo>
                    <a:pt x="8" y="38"/>
                  </a:lnTo>
                  <a:lnTo>
                    <a:pt x="8" y="36"/>
                  </a:lnTo>
                  <a:lnTo>
                    <a:pt x="8" y="38"/>
                  </a:lnTo>
                  <a:lnTo>
                    <a:pt x="8" y="36"/>
                  </a:lnTo>
                  <a:lnTo>
                    <a:pt x="6" y="36"/>
                  </a:lnTo>
                  <a:lnTo>
                    <a:pt x="8" y="36"/>
                  </a:lnTo>
                  <a:lnTo>
                    <a:pt x="6" y="36"/>
                  </a:lnTo>
                  <a:lnTo>
                    <a:pt x="6" y="38"/>
                  </a:lnTo>
                  <a:lnTo>
                    <a:pt x="8" y="38"/>
                  </a:lnTo>
                  <a:lnTo>
                    <a:pt x="6" y="38"/>
                  </a:lnTo>
                  <a:lnTo>
                    <a:pt x="8" y="38"/>
                  </a:lnTo>
                  <a:lnTo>
                    <a:pt x="6" y="38"/>
                  </a:lnTo>
                  <a:lnTo>
                    <a:pt x="6" y="36"/>
                  </a:lnTo>
                  <a:lnTo>
                    <a:pt x="6" y="34"/>
                  </a:lnTo>
                  <a:lnTo>
                    <a:pt x="4" y="34"/>
                  </a:lnTo>
                  <a:lnTo>
                    <a:pt x="4" y="32"/>
                  </a:lnTo>
                  <a:lnTo>
                    <a:pt x="2" y="32"/>
                  </a:lnTo>
                  <a:lnTo>
                    <a:pt x="2" y="30"/>
                  </a:lnTo>
                  <a:lnTo>
                    <a:pt x="4" y="30"/>
                  </a:lnTo>
                  <a:lnTo>
                    <a:pt x="2" y="30"/>
                  </a:lnTo>
                  <a:lnTo>
                    <a:pt x="2" y="29"/>
                  </a:lnTo>
                  <a:lnTo>
                    <a:pt x="2" y="27"/>
                  </a:lnTo>
                  <a:lnTo>
                    <a:pt x="2" y="29"/>
                  </a:lnTo>
                  <a:lnTo>
                    <a:pt x="2" y="27"/>
                  </a:lnTo>
                  <a:lnTo>
                    <a:pt x="2" y="29"/>
                  </a:lnTo>
                  <a:lnTo>
                    <a:pt x="2" y="27"/>
                  </a:lnTo>
                  <a:lnTo>
                    <a:pt x="2" y="29"/>
                  </a:lnTo>
                  <a:lnTo>
                    <a:pt x="2" y="27"/>
                  </a:lnTo>
                  <a:lnTo>
                    <a:pt x="2" y="25"/>
                  </a:lnTo>
                  <a:lnTo>
                    <a:pt x="0" y="25"/>
                  </a:lnTo>
                  <a:lnTo>
                    <a:pt x="0" y="23"/>
                  </a:lnTo>
                  <a:lnTo>
                    <a:pt x="2" y="23"/>
                  </a:lnTo>
                  <a:lnTo>
                    <a:pt x="2" y="25"/>
                  </a:lnTo>
                  <a:lnTo>
                    <a:pt x="4" y="25"/>
                  </a:lnTo>
                  <a:lnTo>
                    <a:pt x="4" y="23"/>
                  </a:lnTo>
                  <a:lnTo>
                    <a:pt x="6" y="23"/>
                  </a:lnTo>
                  <a:lnTo>
                    <a:pt x="6" y="25"/>
                  </a:lnTo>
                  <a:lnTo>
                    <a:pt x="8" y="25"/>
                  </a:lnTo>
                  <a:lnTo>
                    <a:pt x="8" y="23"/>
                  </a:lnTo>
                  <a:lnTo>
                    <a:pt x="9" y="23"/>
                  </a:lnTo>
                  <a:lnTo>
                    <a:pt x="11" y="23"/>
                  </a:lnTo>
                  <a:lnTo>
                    <a:pt x="13" y="23"/>
                  </a:lnTo>
                  <a:lnTo>
                    <a:pt x="15" y="23"/>
                  </a:lnTo>
                  <a:lnTo>
                    <a:pt x="15" y="21"/>
                  </a:lnTo>
                  <a:lnTo>
                    <a:pt x="15" y="19"/>
                  </a:lnTo>
                  <a:lnTo>
                    <a:pt x="17" y="19"/>
                  </a:lnTo>
                  <a:lnTo>
                    <a:pt x="17" y="21"/>
                  </a:lnTo>
                  <a:lnTo>
                    <a:pt x="17" y="23"/>
                  </a:lnTo>
                  <a:lnTo>
                    <a:pt x="19" y="23"/>
                  </a:lnTo>
                  <a:lnTo>
                    <a:pt x="19" y="25"/>
                  </a:lnTo>
                  <a:lnTo>
                    <a:pt x="19" y="23"/>
                  </a:lnTo>
                  <a:lnTo>
                    <a:pt x="19" y="25"/>
                  </a:lnTo>
                  <a:lnTo>
                    <a:pt x="19" y="23"/>
                  </a:lnTo>
                  <a:lnTo>
                    <a:pt x="21" y="23"/>
                  </a:lnTo>
                  <a:lnTo>
                    <a:pt x="23" y="23"/>
                  </a:lnTo>
                  <a:lnTo>
                    <a:pt x="25" y="23"/>
                  </a:lnTo>
                  <a:lnTo>
                    <a:pt x="25" y="25"/>
                  </a:lnTo>
                  <a:lnTo>
                    <a:pt x="27" y="25"/>
                  </a:lnTo>
                  <a:lnTo>
                    <a:pt x="27" y="23"/>
                  </a:lnTo>
                  <a:lnTo>
                    <a:pt x="27" y="25"/>
                  </a:lnTo>
                  <a:lnTo>
                    <a:pt x="27" y="23"/>
                  </a:lnTo>
                  <a:lnTo>
                    <a:pt x="29" y="23"/>
                  </a:lnTo>
                  <a:lnTo>
                    <a:pt x="27" y="23"/>
                  </a:lnTo>
                  <a:lnTo>
                    <a:pt x="27" y="21"/>
                  </a:lnTo>
                  <a:lnTo>
                    <a:pt x="27" y="19"/>
                  </a:lnTo>
                  <a:lnTo>
                    <a:pt x="27" y="21"/>
                  </a:lnTo>
                  <a:lnTo>
                    <a:pt x="27" y="19"/>
                  </a:lnTo>
                  <a:lnTo>
                    <a:pt x="29" y="19"/>
                  </a:lnTo>
                  <a:lnTo>
                    <a:pt x="29" y="21"/>
                  </a:lnTo>
                  <a:lnTo>
                    <a:pt x="29" y="19"/>
                  </a:lnTo>
                  <a:lnTo>
                    <a:pt x="27" y="19"/>
                  </a:lnTo>
                  <a:lnTo>
                    <a:pt x="27" y="17"/>
                  </a:lnTo>
                  <a:lnTo>
                    <a:pt x="29" y="17"/>
                  </a:lnTo>
                  <a:lnTo>
                    <a:pt x="29" y="15"/>
                  </a:lnTo>
                  <a:lnTo>
                    <a:pt x="31" y="15"/>
                  </a:lnTo>
                  <a:lnTo>
                    <a:pt x="31" y="17"/>
                  </a:lnTo>
                  <a:lnTo>
                    <a:pt x="31" y="15"/>
                  </a:lnTo>
                  <a:lnTo>
                    <a:pt x="32" y="15"/>
                  </a:lnTo>
                  <a:lnTo>
                    <a:pt x="32" y="17"/>
                  </a:lnTo>
                  <a:lnTo>
                    <a:pt x="32" y="15"/>
                  </a:lnTo>
                  <a:lnTo>
                    <a:pt x="32" y="13"/>
                  </a:lnTo>
                  <a:lnTo>
                    <a:pt x="32" y="11"/>
                  </a:lnTo>
                  <a:lnTo>
                    <a:pt x="31" y="11"/>
                  </a:lnTo>
                  <a:lnTo>
                    <a:pt x="31" y="9"/>
                  </a:lnTo>
                  <a:lnTo>
                    <a:pt x="31" y="11"/>
                  </a:lnTo>
                  <a:lnTo>
                    <a:pt x="31" y="9"/>
                  </a:lnTo>
                  <a:lnTo>
                    <a:pt x="32" y="9"/>
                  </a:lnTo>
                  <a:lnTo>
                    <a:pt x="32" y="7"/>
                  </a:lnTo>
                  <a:lnTo>
                    <a:pt x="34" y="7"/>
                  </a:lnTo>
                  <a:lnTo>
                    <a:pt x="36" y="5"/>
                  </a:lnTo>
                  <a:lnTo>
                    <a:pt x="38" y="5"/>
                  </a:lnTo>
                  <a:lnTo>
                    <a:pt x="38" y="4"/>
                  </a:lnTo>
                  <a:lnTo>
                    <a:pt x="40" y="4"/>
                  </a:lnTo>
                  <a:lnTo>
                    <a:pt x="42" y="4"/>
                  </a:lnTo>
                  <a:lnTo>
                    <a:pt x="40" y="4"/>
                  </a:lnTo>
                  <a:lnTo>
                    <a:pt x="40" y="2"/>
                  </a:lnTo>
                  <a:lnTo>
                    <a:pt x="42" y="2"/>
                  </a:lnTo>
                  <a:lnTo>
                    <a:pt x="42" y="0"/>
                  </a:lnTo>
                  <a:lnTo>
                    <a:pt x="42" y="2"/>
                  </a:lnTo>
                  <a:lnTo>
                    <a:pt x="44" y="2"/>
                  </a:lnTo>
                  <a:lnTo>
                    <a:pt x="46" y="2"/>
                  </a:lnTo>
                  <a:lnTo>
                    <a:pt x="46" y="4"/>
                  </a:lnTo>
                  <a:lnTo>
                    <a:pt x="46" y="2"/>
                  </a:lnTo>
                  <a:close/>
                  <a:moveTo>
                    <a:pt x="61" y="77"/>
                  </a:moveTo>
                  <a:lnTo>
                    <a:pt x="61" y="75"/>
                  </a:lnTo>
                  <a:lnTo>
                    <a:pt x="61" y="77"/>
                  </a:lnTo>
                  <a:lnTo>
                    <a:pt x="63" y="77"/>
                  </a:lnTo>
                  <a:lnTo>
                    <a:pt x="65" y="77"/>
                  </a:lnTo>
                  <a:lnTo>
                    <a:pt x="63" y="77"/>
                  </a:lnTo>
                  <a:lnTo>
                    <a:pt x="65" y="77"/>
                  </a:lnTo>
                  <a:lnTo>
                    <a:pt x="65" y="78"/>
                  </a:lnTo>
                  <a:lnTo>
                    <a:pt x="67" y="78"/>
                  </a:lnTo>
                  <a:lnTo>
                    <a:pt x="67" y="80"/>
                  </a:lnTo>
                  <a:lnTo>
                    <a:pt x="69" y="80"/>
                  </a:lnTo>
                  <a:lnTo>
                    <a:pt x="69" y="82"/>
                  </a:lnTo>
                  <a:lnTo>
                    <a:pt x="71" y="82"/>
                  </a:lnTo>
                  <a:lnTo>
                    <a:pt x="73" y="82"/>
                  </a:lnTo>
                  <a:lnTo>
                    <a:pt x="73" y="84"/>
                  </a:lnTo>
                  <a:lnTo>
                    <a:pt x="73" y="86"/>
                  </a:lnTo>
                  <a:lnTo>
                    <a:pt x="75" y="86"/>
                  </a:lnTo>
                  <a:lnTo>
                    <a:pt x="73" y="86"/>
                  </a:lnTo>
                  <a:lnTo>
                    <a:pt x="75" y="86"/>
                  </a:lnTo>
                  <a:lnTo>
                    <a:pt x="73" y="86"/>
                  </a:lnTo>
                  <a:lnTo>
                    <a:pt x="73" y="84"/>
                  </a:lnTo>
                  <a:lnTo>
                    <a:pt x="71" y="84"/>
                  </a:lnTo>
                  <a:lnTo>
                    <a:pt x="71" y="82"/>
                  </a:lnTo>
                  <a:lnTo>
                    <a:pt x="69" y="82"/>
                  </a:lnTo>
                  <a:lnTo>
                    <a:pt x="69" y="80"/>
                  </a:lnTo>
                  <a:lnTo>
                    <a:pt x="67" y="80"/>
                  </a:lnTo>
                  <a:lnTo>
                    <a:pt x="69" y="80"/>
                  </a:lnTo>
                  <a:lnTo>
                    <a:pt x="67" y="80"/>
                  </a:lnTo>
                  <a:lnTo>
                    <a:pt x="65" y="80"/>
                  </a:lnTo>
                  <a:lnTo>
                    <a:pt x="65" y="78"/>
                  </a:lnTo>
                  <a:lnTo>
                    <a:pt x="65" y="80"/>
                  </a:lnTo>
                  <a:lnTo>
                    <a:pt x="65" y="78"/>
                  </a:lnTo>
                  <a:lnTo>
                    <a:pt x="63" y="78"/>
                  </a:lnTo>
                  <a:lnTo>
                    <a:pt x="61" y="78"/>
                  </a:lnTo>
                  <a:lnTo>
                    <a:pt x="61" y="77"/>
                  </a:lnTo>
                  <a:lnTo>
                    <a:pt x="61" y="78"/>
                  </a:lnTo>
                  <a:lnTo>
                    <a:pt x="63" y="78"/>
                  </a:lnTo>
                  <a:lnTo>
                    <a:pt x="61" y="78"/>
                  </a:lnTo>
                  <a:lnTo>
                    <a:pt x="61" y="77"/>
                  </a:lnTo>
                  <a:lnTo>
                    <a:pt x="59" y="77"/>
                  </a:lnTo>
                  <a:lnTo>
                    <a:pt x="57" y="77"/>
                  </a:lnTo>
                  <a:lnTo>
                    <a:pt x="57" y="75"/>
                  </a:lnTo>
                  <a:lnTo>
                    <a:pt x="56" y="75"/>
                  </a:lnTo>
                  <a:lnTo>
                    <a:pt x="54" y="75"/>
                  </a:lnTo>
                  <a:lnTo>
                    <a:pt x="52" y="75"/>
                  </a:lnTo>
                  <a:lnTo>
                    <a:pt x="52" y="73"/>
                  </a:lnTo>
                  <a:lnTo>
                    <a:pt x="54" y="73"/>
                  </a:lnTo>
                  <a:lnTo>
                    <a:pt x="56" y="73"/>
                  </a:lnTo>
                  <a:lnTo>
                    <a:pt x="56" y="75"/>
                  </a:lnTo>
                  <a:lnTo>
                    <a:pt x="57" y="75"/>
                  </a:lnTo>
                  <a:lnTo>
                    <a:pt x="57" y="77"/>
                  </a:lnTo>
                  <a:lnTo>
                    <a:pt x="57" y="75"/>
                  </a:lnTo>
                  <a:lnTo>
                    <a:pt x="59" y="75"/>
                  </a:lnTo>
                  <a:lnTo>
                    <a:pt x="59" y="77"/>
                  </a:lnTo>
                  <a:lnTo>
                    <a:pt x="59" y="75"/>
                  </a:lnTo>
                  <a:lnTo>
                    <a:pt x="59" y="77"/>
                  </a:lnTo>
                  <a:lnTo>
                    <a:pt x="61" y="77"/>
                  </a:lnTo>
                  <a:lnTo>
                    <a:pt x="63" y="77"/>
                  </a:lnTo>
                  <a:lnTo>
                    <a:pt x="61" y="77"/>
                  </a:lnTo>
                  <a:close/>
                  <a:moveTo>
                    <a:pt x="15" y="29"/>
                  </a:moveTo>
                  <a:lnTo>
                    <a:pt x="17" y="29"/>
                  </a:lnTo>
                  <a:lnTo>
                    <a:pt x="17" y="30"/>
                  </a:lnTo>
                  <a:lnTo>
                    <a:pt x="17" y="32"/>
                  </a:lnTo>
                  <a:lnTo>
                    <a:pt x="19" y="32"/>
                  </a:lnTo>
                  <a:lnTo>
                    <a:pt x="19" y="34"/>
                  </a:lnTo>
                  <a:lnTo>
                    <a:pt x="17" y="34"/>
                  </a:lnTo>
                  <a:lnTo>
                    <a:pt x="17" y="32"/>
                  </a:lnTo>
                  <a:lnTo>
                    <a:pt x="15" y="32"/>
                  </a:lnTo>
                  <a:lnTo>
                    <a:pt x="13" y="32"/>
                  </a:lnTo>
                  <a:lnTo>
                    <a:pt x="15" y="32"/>
                  </a:lnTo>
                  <a:lnTo>
                    <a:pt x="13" y="32"/>
                  </a:lnTo>
                  <a:lnTo>
                    <a:pt x="13" y="30"/>
                  </a:lnTo>
                  <a:lnTo>
                    <a:pt x="15" y="30"/>
                  </a:lnTo>
                  <a:lnTo>
                    <a:pt x="15" y="29"/>
                  </a:lnTo>
                  <a:close/>
                  <a:moveTo>
                    <a:pt x="13" y="30"/>
                  </a:moveTo>
                  <a:lnTo>
                    <a:pt x="13" y="32"/>
                  </a:lnTo>
                  <a:lnTo>
                    <a:pt x="13" y="34"/>
                  </a:lnTo>
                  <a:lnTo>
                    <a:pt x="15" y="34"/>
                  </a:lnTo>
                  <a:lnTo>
                    <a:pt x="15" y="36"/>
                  </a:lnTo>
                  <a:lnTo>
                    <a:pt x="13" y="36"/>
                  </a:lnTo>
                  <a:lnTo>
                    <a:pt x="15" y="36"/>
                  </a:lnTo>
                  <a:lnTo>
                    <a:pt x="13" y="36"/>
                  </a:lnTo>
                  <a:lnTo>
                    <a:pt x="15" y="36"/>
                  </a:lnTo>
                  <a:lnTo>
                    <a:pt x="15" y="38"/>
                  </a:lnTo>
                  <a:lnTo>
                    <a:pt x="13" y="38"/>
                  </a:lnTo>
                  <a:lnTo>
                    <a:pt x="15" y="38"/>
                  </a:lnTo>
                  <a:lnTo>
                    <a:pt x="13" y="38"/>
                  </a:lnTo>
                  <a:lnTo>
                    <a:pt x="15" y="38"/>
                  </a:lnTo>
                  <a:lnTo>
                    <a:pt x="15" y="40"/>
                  </a:lnTo>
                  <a:lnTo>
                    <a:pt x="15" y="42"/>
                  </a:lnTo>
                  <a:lnTo>
                    <a:pt x="15" y="40"/>
                  </a:lnTo>
                  <a:lnTo>
                    <a:pt x="15" y="42"/>
                  </a:lnTo>
                  <a:lnTo>
                    <a:pt x="15" y="40"/>
                  </a:lnTo>
                  <a:lnTo>
                    <a:pt x="13" y="40"/>
                  </a:lnTo>
                  <a:lnTo>
                    <a:pt x="13" y="38"/>
                  </a:lnTo>
                  <a:lnTo>
                    <a:pt x="13" y="36"/>
                  </a:lnTo>
                  <a:lnTo>
                    <a:pt x="13" y="38"/>
                  </a:lnTo>
                  <a:lnTo>
                    <a:pt x="13" y="36"/>
                  </a:lnTo>
                  <a:lnTo>
                    <a:pt x="11" y="36"/>
                  </a:lnTo>
                  <a:lnTo>
                    <a:pt x="13" y="36"/>
                  </a:lnTo>
                  <a:lnTo>
                    <a:pt x="11" y="36"/>
                  </a:lnTo>
                  <a:lnTo>
                    <a:pt x="11" y="34"/>
                  </a:lnTo>
                  <a:lnTo>
                    <a:pt x="13" y="34"/>
                  </a:lnTo>
                  <a:lnTo>
                    <a:pt x="13" y="36"/>
                  </a:lnTo>
                  <a:lnTo>
                    <a:pt x="13" y="34"/>
                  </a:lnTo>
                  <a:lnTo>
                    <a:pt x="13" y="36"/>
                  </a:lnTo>
                  <a:lnTo>
                    <a:pt x="13" y="34"/>
                  </a:lnTo>
                  <a:lnTo>
                    <a:pt x="13" y="32"/>
                  </a:lnTo>
                  <a:lnTo>
                    <a:pt x="11" y="32"/>
                  </a:lnTo>
                  <a:lnTo>
                    <a:pt x="11" y="30"/>
                  </a:lnTo>
                  <a:lnTo>
                    <a:pt x="13" y="30"/>
                  </a:lnTo>
                  <a:close/>
                  <a:moveTo>
                    <a:pt x="44" y="67"/>
                  </a:moveTo>
                  <a:lnTo>
                    <a:pt x="46" y="67"/>
                  </a:lnTo>
                  <a:lnTo>
                    <a:pt x="44" y="67"/>
                  </a:lnTo>
                  <a:lnTo>
                    <a:pt x="46" y="67"/>
                  </a:lnTo>
                  <a:lnTo>
                    <a:pt x="48" y="67"/>
                  </a:lnTo>
                  <a:lnTo>
                    <a:pt x="50" y="67"/>
                  </a:lnTo>
                  <a:lnTo>
                    <a:pt x="48" y="67"/>
                  </a:lnTo>
                  <a:lnTo>
                    <a:pt x="50" y="67"/>
                  </a:lnTo>
                  <a:lnTo>
                    <a:pt x="50" y="69"/>
                  </a:lnTo>
                  <a:lnTo>
                    <a:pt x="48" y="69"/>
                  </a:lnTo>
                  <a:lnTo>
                    <a:pt x="46" y="69"/>
                  </a:lnTo>
                  <a:lnTo>
                    <a:pt x="44" y="69"/>
                  </a:lnTo>
                  <a:lnTo>
                    <a:pt x="44" y="67"/>
                  </a:lnTo>
                  <a:lnTo>
                    <a:pt x="44" y="69"/>
                  </a:lnTo>
                  <a:lnTo>
                    <a:pt x="44" y="67"/>
                  </a:lnTo>
                  <a:lnTo>
                    <a:pt x="44" y="69"/>
                  </a:lnTo>
                  <a:lnTo>
                    <a:pt x="44" y="67"/>
                  </a:lnTo>
                  <a:lnTo>
                    <a:pt x="42" y="67"/>
                  </a:lnTo>
                  <a:lnTo>
                    <a:pt x="44" y="67"/>
                  </a:lnTo>
                  <a:close/>
                  <a:moveTo>
                    <a:pt x="46" y="69"/>
                  </a:moveTo>
                  <a:lnTo>
                    <a:pt x="46" y="71"/>
                  </a:lnTo>
                  <a:lnTo>
                    <a:pt x="46" y="69"/>
                  </a:lnTo>
                  <a:lnTo>
                    <a:pt x="46" y="71"/>
                  </a:lnTo>
                  <a:lnTo>
                    <a:pt x="48" y="71"/>
                  </a:lnTo>
                  <a:lnTo>
                    <a:pt x="46" y="71"/>
                  </a:lnTo>
                  <a:lnTo>
                    <a:pt x="48" y="71"/>
                  </a:lnTo>
                  <a:lnTo>
                    <a:pt x="50" y="71"/>
                  </a:lnTo>
                  <a:lnTo>
                    <a:pt x="52" y="71"/>
                  </a:lnTo>
                  <a:lnTo>
                    <a:pt x="54" y="71"/>
                  </a:lnTo>
                  <a:lnTo>
                    <a:pt x="52" y="71"/>
                  </a:lnTo>
                  <a:lnTo>
                    <a:pt x="52" y="73"/>
                  </a:lnTo>
                  <a:lnTo>
                    <a:pt x="52" y="71"/>
                  </a:lnTo>
                  <a:lnTo>
                    <a:pt x="52" y="73"/>
                  </a:lnTo>
                  <a:lnTo>
                    <a:pt x="52" y="71"/>
                  </a:lnTo>
                  <a:lnTo>
                    <a:pt x="50" y="71"/>
                  </a:lnTo>
                  <a:lnTo>
                    <a:pt x="50" y="73"/>
                  </a:lnTo>
                  <a:lnTo>
                    <a:pt x="50" y="71"/>
                  </a:lnTo>
                  <a:lnTo>
                    <a:pt x="50" y="73"/>
                  </a:lnTo>
                  <a:lnTo>
                    <a:pt x="50" y="71"/>
                  </a:lnTo>
                  <a:lnTo>
                    <a:pt x="48" y="71"/>
                  </a:lnTo>
                  <a:lnTo>
                    <a:pt x="46" y="71"/>
                  </a:lnTo>
                  <a:lnTo>
                    <a:pt x="44" y="71"/>
                  </a:lnTo>
                  <a:lnTo>
                    <a:pt x="42" y="71"/>
                  </a:lnTo>
                  <a:lnTo>
                    <a:pt x="44" y="71"/>
                  </a:lnTo>
                  <a:lnTo>
                    <a:pt x="42" y="71"/>
                  </a:lnTo>
                  <a:lnTo>
                    <a:pt x="44" y="71"/>
                  </a:lnTo>
                  <a:lnTo>
                    <a:pt x="42" y="71"/>
                  </a:lnTo>
                  <a:lnTo>
                    <a:pt x="44" y="71"/>
                  </a:lnTo>
                  <a:lnTo>
                    <a:pt x="44" y="69"/>
                  </a:lnTo>
                  <a:lnTo>
                    <a:pt x="44" y="71"/>
                  </a:lnTo>
                  <a:lnTo>
                    <a:pt x="44" y="69"/>
                  </a:lnTo>
                  <a:lnTo>
                    <a:pt x="44" y="71"/>
                  </a:lnTo>
                  <a:lnTo>
                    <a:pt x="44" y="69"/>
                  </a:lnTo>
                  <a:lnTo>
                    <a:pt x="44" y="71"/>
                  </a:lnTo>
                  <a:lnTo>
                    <a:pt x="46" y="71"/>
                  </a:lnTo>
                  <a:lnTo>
                    <a:pt x="46" y="69"/>
                  </a:lnTo>
                  <a:lnTo>
                    <a:pt x="44" y="69"/>
                  </a:lnTo>
                  <a:lnTo>
                    <a:pt x="46" y="69"/>
                  </a:lnTo>
                  <a:lnTo>
                    <a:pt x="44" y="69"/>
                  </a:lnTo>
                  <a:lnTo>
                    <a:pt x="46" y="69"/>
                  </a:lnTo>
                  <a:close/>
                  <a:moveTo>
                    <a:pt x="19" y="40"/>
                  </a:moveTo>
                  <a:lnTo>
                    <a:pt x="19" y="42"/>
                  </a:lnTo>
                  <a:lnTo>
                    <a:pt x="21" y="42"/>
                  </a:lnTo>
                  <a:lnTo>
                    <a:pt x="19" y="42"/>
                  </a:lnTo>
                  <a:lnTo>
                    <a:pt x="21" y="42"/>
                  </a:lnTo>
                  <a:lnTo>
                    <a:pt x="23" y="42"/>
                  </a:lnTo>
                  <a:lnTo>
                    <a:pt x="23" y="44"/>
                  </a:lnTo>
                  <a:lnTo>
                    <a:pt x="23" y="42"/>
                  </a:lnTo>
                  <a:lnTo>
                    <a:pt x="23" y="44"/>
                  </a:lnTo>
                  <a:lnTo>
                    <a:pt x="21" y="44"/>
                  </a:lnTo>
                  <a:lnTo>
                    <a:pt x="21" y="42"/>
                  </a:lnTo>
                  <a:lnTo>
                    <a:pt x="21" y="44"/>
                  </a:lnTo>
                  <a:lnTo>
                    <a:pt x="23" y="44"/>
                  </a:lnTo>
                  <a:lnTo>
                    <a:pt x="23" y="46"/>
                  </a:lnTo>
                  <a:lnTo>
                    <a:pt x="23" y="44"/>
                  </a:lnTo>
                  <a:lnTo>
                    <a:pt x="25" y="44"/>
                  </a:lnTo>
                  <a:lnTo>
                    <a:pt x="25" y="46"/>
                  </a:lnTo>
                  <a:lnTo>
                    <a:pt x="27" y="46"/>
                  </a:lnTo>
                  <a:lnTo>
                    <a:pt x="27" y="48"/>
                  </a:lnTo>
                  <a:lnTo>
                    <a:pt x="25" y="48"/>
                  </a:lnTo>
                  <a:lnTo>
                    <a:pt x="25" y="46"/>
                  </a:lnTo>
                  <a:lnTo>
                    <a:pt x="25" y="48"/>
                  </a:lnTo>
                  <a:lnTo>
                    <a:pt x="27" y="48"/>
                  </a:lnTo>
                  <a:lnTo>
                    <a:pt x="25" y="48"/>
                  </a:lnTo>
                  <a:lnTo>
                    <a:pt x="23" y="48"/>
                  </a:lnTo>
                  <a:lnTo>
                    <a:pt x="25" y="48"/>
                  </a:lnTo>
                  <a:lnTo>
                    <a:pt x="25" y="46"/>
                  </a:lnTo>
                  <a:lnTo>
                    <a:pt x="23" y="46"/>
                  </a:lnTo>
                  <a:lnTo>
                    <a:pt x="25" y="46"/>
                  </a:lnTo>
                  <a:lnTo>
                    <a:pt x="23" y="46"/>
                  </a:lnTo>
                  <a:lnTo>
                    <a:pt x="23" y="44"/>
                  </a:lnTo>
                  <a:lnTo>
                    <a:pt x="21" y="44"/>
                  </a:lnTo>
                  <a:lnTo>
                    <a:pt x="21" y="42"/>
                  </a:lnTo>
                  <a:lnTo>
                    <a:pt x="19" y="42"/>
                  </a:lnTo>
                  <a:lnTo>
                    <a:pt x="19" y="40"/>
                  </a:lnTo>
                  <a:close/>
                  <a:moveTo>
                    <a:pt x="48" y="75"/>
                  </a:moveTo>
                  <a:lnTo>
                    <a:pt x="50" y="75"/>
                  </a:lnTo>
                  <a:lnTo>
                    <a:pt x="52" y="75"/>
                  </a:lnTo>
                  <a:lnTo>
                    <a:pt x="54" y="75"/>
                  </a:lnTo>
                  <a:lnTo>
                    <a:pt x="54" y="77"/>
                  </a:lnTo>
                  <a:lnTo>
                    <a:pt x="52" y="77"/>
                  </a:lnTo>
                  <a:lnTo>
                    <a:pt x="52" y="75"/>
                  </a:lnTo>
                  <a:lnTo>
                    <a:pt x="52" y="77"/>
                  </a:lnTo>
                  <a:lnTo>
                    <a:pt x="50" y="77"/>
                  </a:lnTo>
                  <a:lnTo>
                    <a:pt x="48" y="77"/>
                  </a:lnTo>
                  <a:lnTo>
                    <a:pt x="48" y="75"/>
                  </a:lnTo>
                  <a:lnTo>
                    <a:pt x="48" y="77"/>
                  </a:lnTo>
                  <a:lnTo>
                    <a:pt x="48" y="75"/>
                  </a:lnTo>
                  <a:lnTo>
                    <a:pt x="46" y="75"/>
                  </a:lnTo>
                  <a:lnTo>
                    <a:pt x="46" y="77"/>
                  </a:lnTo>
                  <a:lnTo>
                    <a:pt x="46" y="75"/>
                  </a:lnTo>
                  <a:lnTo>
                    <a:pt x="48" y="75"/>
                  </a:lnTo>
                  <a:lnTo>
                    <a:pt x="46" y="75"/>
                  </a:lnTo>
                  <a:lnTo>
                    <a:pt x="48" y="75"/>
                  </a:lnTo>
                  <a:close/>
                  <a:moveTo>
                    <a:pt x="21" y="50"/>
                  </a:moveTo>
                  <a:lnTo>
                    <a:pt x="21" y="52"/>
                  </a:lnTo>
                  <a:lnTo>
                    <a:pt x="23" y="52"/>
                  </a:lnTo>
                  <a:lnTo>
                    <a:pt x="23" y="53"/>
                  </a:lnTo>
                  <a:lnTo>
                    <a:pt x="23" y="52"/>
                  </a:lnTo>
                  <a:lnTo>
                    <a:pt x="23" y="53"/>
                  </a:lnTo>
                  <a:lnTo>
                    <a:pt x="25" y="53"/>
                  </a:lnTo>
                  <a:lnTo>
                    <a:pt x="25" y="55"/>
                  </a:lnTo>
                  <a:lnTo>
                    <a:pt x="25" y="57"/>
                  </a:lnTo>
                  <a:lnTo>
                    <a:pt x="25" y="55"/>
                  </a:lnTo>
                  <a:lnTo>
                    <a:pt x="23" y="55"/>
                  </a:lnTo>
                  <a:lnTo>
                    <a:pt x="23" y="53"/>
                  </a:lnTo>
                  <a:lnTo>
                    <a:pt x="23" y="52"/>
                  </a:lnTo>
                  <a:lnTo>
                    <a:pt x="21" y="52"/>
                  </a:lnTo>
                  <a:lnTo>
                    <a:pt x="19" y="52"/>
                  </a:lnTo>
                  <a:lnTo>
                    <a:pt x="19" y="50"/>
                  </a:lnTo>
                  <a:lnTo>
                    <a:pt x="19" y="52"/>
                  </a:lnTo>
                  <a:lnTo>
                    <a:pt x="21" y="52"/>
                  </a:lnTo>
                  <a:lnTo>
                    <a:pt x="21" y="50"/>
                  </a:lnTo>
                  <a:close/>
                  <a:moveTo>
                    <a:pt x="57" y="78"/>
                  </a:moveTo>
                  <a:lnTo>
                    <a:pt x="59" y="78"/>
                  </a:lnTo>
                  <a:lnTo>
                    <a:pt x="61" y="78"/>
                  </a:lnTo>
                  <a:lnTo>
                    <a:pt x="59" y="78"/>
                  </a:lnTo>
                  <a:lnTo>
                    <a:pt x="61" y="78"/>
                  </a:lnTo>
                  <a:lnTo>
                    <a:pt x="59" y="78"/>
                  </a:lnTo>
                  <a:lnTo>
                    <a:pt x="61" y="78"/>
                  </a:lnTo>
                  <a:lnTo>
                    <a:pt x="61" y="80"/>
                  </a:lnTo>
                  <a:lnTo>
                    <a:pt x="61" y="78"/>
                  </a:lnTo>
                  <a:lnTo>
                    <a:pt x="61" y="80"/>
                  </a:lnTo>
                  <a:lnTo>
                    <a:pt x="63" y="80"/>
                  </a:lnTo>
                  <a:lnTo>
                    <a:pt x="61" y="80"/>
                  </a:lnTo>
                  <a:lnTo>
                    <a:pt x="59" y="80"/>
                  </a:lnTo>
                  <a:lnTo>
                    <a:pt x="59" y="78"/>
                  </a:lnTo>
                  <a:lnTo>
                    <a:pt x="57" y="78"/>
                  </a:lnTo>
                  <a:lnTo>
                    <a:pt x="56" y="78"/>
                  </a:lnTo>
                  <a:lnTo>
                    <a:pt x="57" y="78"/>
                  </a:lnTo>
                  <a:close/>
                  <a:moveTo>
                    <a:pt x="38" y="73"/>
                  </a:moveTo>
                  <a:lnTo>
                    <a:pt x="40" y="73"/>
                  </a:lnTo>
                  <a:lnTo>
                    <a:pt x="40" y="75"/>
                  </a:lnTo>
                  <a:lnTo>
                    <a:pt x="38" y="75"/>
                  </a:lnTo>
                  <a:lnTo>
                    <a:pt x="38" y="73"/>
                  </a:lnTo>
                  <a:close/>
                  <a:moveTo>
                    <a:pt x="17" y="36"/>
                  </a:moveTo>
                  <a:lnTo>
                    <a:pt x="21" y="36"/>
                  </a:lnTo>
                  <a:lnTo>
                    <a:pt x="21" y="40"/>
                  </a:lnTo>
                  <a:lnTo>
                    <a:pt x="17" y="40"/>
                  </a:lnTo>
                  <a:lnTo>
                    <a:pt x="17" y="36"/>
                  </a:lnTo>
                  <a:close/>
                  <a:moveTo>
                    <a:pt x="13" y="40"/>
                  </a:moveTo>
                  <a:lnTo>
                    <a:pt x="15" y="40"/>
                  </a:lnTo>
                  <a:lnTo>
                    <a:pt x="15" y="44"/>
                  </a:lnTo>
                  <a:lnTo>
                    <a:pt x="13" y="44"/>
                  </a:lnTo>
                  <a:lnTo>
                    <a:pt x="13" y="40"/>
                  </a:lnTo>
                  <a:close/>
                  <a:moveTo>
                    <a:pt x="27" y="53"/>
                  </a:moveTo>
                  <a:lnTo>
                    <a:pt x="29" y="53"/>
                  </a:lnTo>
                  <a:lnTo>
                    <a:pt x="29" y="55"/>
                  </a:lnTo>
                  <a:lnTo>
                    <a:pt x="27" y="55"/>
                  </a:lnTo>
                  <a:lnTo>
                    <a:pt x="27" y="53"/>
                  </a:lnTo>
                  <a:close/>
                  <a:moveTo>
                    <a:pt x="40" y="65"/>
                  </a:moveTo>
                  <a:lnTo>
                    <a:pt x="42" y="65"/>
                  </a:lnTo>
                  <a:lnTo>
                    <a:pt x="42" y="67"/>
                  </a:lnTo>
                  <a:lnTo>
                    <a:pt x="40" y="67"/>
                  </a:lnTo>
                  <a:lnTo>
                    <a:pt x="40" y="65"/>
                  </a:lnTo>
                  <a:close/>
                  <a:moveTo>
                    <a:pt x="23" y="50"/>
                  </a:moveTo>
                  <a:lnTo>
                    <a:pt x="27" y="50"/>
                  </a:lnTo>
                  <a:lnTo>
                    <a:pt x="27" y="53"/>
                  </a:lnTo>
                  <a:lnTo>
                    <a:pt x="23" y="53"/>
                  </a:lnTo>
                  <a:lnTo>
                    <a:pt x="23" y="50"/>
                  </a:lnTo>
                  <a:close/>
                  <a:moveTo>
                    <a:pt x="50" y="78"/>
                  </a:moveTo>
                  <a:lnTo>
                    <a:pt x="52" y="78"/>
                  </a:lnTo>
                  <a:lnTo>
                    <a:pt x="52" y="80"/>
                  </a:lnTo>
                  <a:lnTo>
                    <a:pt x="50" y="80"/>
                  </a:lnTo>
                  <a:lnTo>
                    <a:pt x="50" y="78"/>
                  </a:lnTo>
                  <a:close/>
                  <a:moveTo>
                    <a:pt x="25" y="55"/>
                  </a:moveTo>
                  <a:lnTo>
                    <a:pt x="29" y="55"/>
                  </a:lnTo>
                  <a:lnTo>
                    <a:pt x="29" y="59"/>
                  </a:lnTo>
                  <a:lnTo>
                    <a:pt x="25" y="59"/>
                  </a:lnTo>
                  <a:lnTo>
                    <a:pt x="25" y="55"/>
                  </a:lnTo>
                  <a:close/>
                  <a:moveTo>
                    <a:pt x="40" y="63"/>
                  </a:moveTo>
                  <a:lnTo>
                    <a:pt x="42" y="63"/>
                  </a:lnTo>
                  <a:lnTo>
                    <a:pt x="42" y="65"/>
                  </a:lnTo>
                  <a:lnTo>
                    <a:pt x="40" y="65"/>
                  </a:lnTo>
                  <a:lnTo>
                    <a:pt x="40" y="63"/>
                  </a:lnTo>
                  <a:close/>
                  <a:moveTo>
                    <a:pt x="19" y="46"/>
                  </a:moveTo>
                  <a:lnTo>
                    <a:pt x="19" y="48"/>
                  </a:lnTo>
                  <a:lnTo>
                    <a:pt x="19" y="46"/>
                  </a:lnTo>
                  <a:close/>
                  <a:moveTo>
                    <a:pt x="23" y="48"/>
                  </a:moveTo>
                  <a:lnTo>
                    <a:pt x="25" y="48"/>
                  </a:lnTo>
                  <a:lnTo>
                    <a:pt x="23" y="48"/>
                  </a:lnTo>
                  <a:close/>
                  <a:moveTo>
                    <a:pt x="19" y="48"/>
                  </a:moveTo>
                  <a:lnTo>
                    <a:pt x="21" y="48"/>
                  </a:lnTo>
                  <a:lnTo>
                    <a:pt x="21" y="50"/>
                  </a:lnTo>
                  <a:lnTo>
                    <a:pt x="19" y="50"/>
                  </a:lnTo>
                  <a:lnTo>
                    <a:pt x="19" y="48"/>
                  </a:lnTo>
                  <a:close/>
                  <a:moveTo>
                    <a:pt x="31" y="57"/>
                  </a:moveTo>
                  <a:lnTo>
                    <a:pt x="32" y="57"/>
                  </a:lnTo>
                  <a:lnTo>
                    <a:pt x="32" y="59"/>
                  </a:lnTo>
                  <a:lnTo>
                    <a:pt x="31" y="59"/>
                  </a:lnTo>
                  <a:lnTo>
                    <a:pt x="31" y="57"/>
                  </a:lnTo>
                  <a:close/>
                  <a:moveTo>
                    <a:pt x="11" y="40"/>
                  </a:moveTo>
                  <a:lnTo>
                    <a:pt x="11" y="42"/>
                  </a:lnTo>
                  <a:lnTo>
                    <a:pt x="11" y="40"/>
                  </a:lnTo>
                  <a:close/>
                  <a:moveTo>
                    <a:pt x="23" y="52"/>
                  </a:moveTo>
                  <a:lnTo>
                    <a:pt x="25" y="52"/>
                  </a:lnTo>
                  <a:lnTo>
                    <a:pt x="25" y="53"/>
                  </a:lnTo>
                  <a:lnTo>
                    <a:pt x="23" y="53"/>
                  </a:lnTo>
                  <a:lnTo>
                    <a:pt x="23" y="52"/>
                  </a:lnTo>
                  <a:close/>
                  <a:moveTo>
                    <a:pt x="63" y="78"/>
                  </a:moveTo>
                  <a:lnTo>
                    <a:pt x="65" y="78"/>
                  </a:lnTo>
                  <a:lnTo>
                    <a:pt x="65" y="80"/>
                  </a:lnTo>
                  <a:lnTo>
                    <a:pt x="63" y="80"/>
                  </a:lnTo>
                  <a:lnTo>
                    <a:pt x="63" y="78"/>
                  </a:lnTo>
                  <a:close/>
                  <a:moveTo>
                    <a:pt x="31" y="61"/>
                  </a:moveTo>
                  <a:lnTo>
                    <a:pt x="32" y="61"/>
                  </a:lnTo>
                  <a:lnTo>
                    <a:pt x="31" y="61"/>
                  </a:lnTo>
                  <a:close/>
                  <a:moveTo>
                    <a:pt x="21" y="50"/>
                  </a:moveTo>
                  <a:lnTo>
                    <a:pt x="23" y="50"/>
                  </a:lnTo>
                  <a:lnTo>
                    <a:pt x="23" y="52"/>
                  </a:lnTo>
                  <a:lnTo>
                    <a:pt x="21" y="52"/>
                  </a:lnTo>
                  <a:lnTo>
                    <a:pt x="21" y="50"/>
                  </a:lnTo>
                  <a:close/>
                  <a:moveTo>
                    <a:pt x="27" y="55"/>
                  </a:moveTo>
                  <a:lnTo>
                    <a:pt x="29" y="55"/>
                  </a:lnTo>
                  <a:lnTo>
                    <a:pt x="29" y="57"/>
                  </a:lnTo>
                  <a:lnTo>
                    <a:pt x="27" y="57"/>
                  </a:lnTo>
                  <a:lnTo>
                    <a:pt x="27" y="55"/>
                  </a:lnTo>
                  <a:close/>
                  <a:moveTo>
                    <a:pt x="17" y="46"/>
                  </a:moveTo>
                  <a:lnTo>
                    <a:pt x="19" y="46"/>
                  </a:lnTo>
                  <a:lnTo>
                    <a:pt x="17" y="46"/>
                  </a:lnTo>
                  <a:close/>
                  <a:moveTo>
                    <a:pt x="19" y="34"/>
                  </a:moveTo>
                  <a:lnTo>
                    <a:pt x="19" y="36"/>
                  </a:lnTo>
                  <a:lnTo>
                    <a:pt x="19" y="34"/>
                  </a:lnTo>
                  <a:close/>
                  <a:moveTo>
                    <a:pt x="38" y="65"/>
                  </a:moveTo>
                  <a:lnTo>
                    <a:pt x="40" y="65"/>
                  </a:lnTo>
                  <a:lnTo>
                    <a:pt x="38" y="65"/>
                  </a:lnTo>
                  <a:close/>
                  <a:moveTo>
                    <a:pt x="17" y="46"/>
                  </a:moveTo>
                  <a:lnTo>
                    <a:pt x="17" y="48"/>
                  </a:lnTo>
                  <a:lnTo>
                    <a:pt x="17" y="46"/>
                  </a:lnTo>
                  <a:close/>
                  <a:moveTo>
                    <a:pt x="21" y="44"/>
                  </a:moveTo>
                  <a:lnTo>
                    <a:pt x="21" y="46"/>
                  </a:lnTo>
                  <a:lnTo>
                    <a:pt x="21" y="44"/>
                  </a:lnTo>
                  <a:close/>
                  <a:moveTo>
                    <a:pt x="46" y="73"/>
                  </a:moveTo>
                  <a:lnTo>
                    <a:pt x="48" y="73"/>
                  </a:lnTo>
                  <a:lnTo>
                    <a:pt x="46" y="73"/>
                  </a:lnTo>
                  <a:close/>
                  <a:moveTo>
                    <a:pt x="34" y="59"/>
                  </a:moveTo>
                  <a:lnTo>
                    <a:pt x="34" y="61"/>
                  </a:lnTo>
                  <a:lnTo>
                    <a:pt x="34" y="59"/>
                  </a:lnTo>
                  <a:close/>
                  <a:moveTo>
                    <a:pt x="32" y="59"/>
                  </a:moveTo>
                  <a:lnTo>
                    <a:pt x="32" y="61"/>
                  </a:lnTo>
                  <a:lnTo>
                    <a:pt x="32" y="59"/>
                  </a:lnTo>
                  <a:close/>
                  <a:moveTo>
                    <a:pt x="4" y="34"/>
                  </a:moveTo>
                  <a:lnTo>
                    <a:pt x="4" y="36"/>
                  </a:lnTo>
                  <a:lnTo>
                    <a:pt x="4" y="34"/>
                  </a:lnTo>
                  <a:close/>
                  <a:moveTo>
                    <a:pt x="36" y="75"/>
                  </a:moveTo>
                  <a:lnTo>
                    <a:pt x="38" y="75"/>
                  </a:lnTo>
                  <a:lnTo>
                    <a:pt x="36" y="75"/>
                  </a:lnTo>
                  <a:close/>
                  <a:moveTo>
                    <a:pt x="19" y="38"/>
                  </a:moveTo>
                  <a:lnTo>
                    <a:pt x="21" y="38"/>
                  </a:lnTo>
                  <a:lnTo>
                    <a:pt x="21" y="40"/>
                  </a:lnTo>
                  <a:lnTo>
                    <a:pt x="19" y="40"/>
                  </a:lnTo>
                  <a:lnTo>
                    <a:pt x="19" y="38"/>
                  </a:lnTo>
                  <a:close/>
                  <a:moveTo>
                    <a:pt x="21" y="50"/>
                  </a:moveTo>
                  <a:lnTo>
                    <a:pt x="21" y="52"/>
                  </a:lnTo>
                  <a:lnTo>
                    <a:pt x="21" y="50"/>
                  </a:lnTo>
                  <a:close/>
                  <a:moveTo>
                    <a:pt x="32" y="73"/>
                  </a:moveTo>
                  <a:lnTo>
                    <a:pt x="34" y="73"/>
                  </a:lnTo>
                  <a:lnTo>
                    <a:pt x="34" y="75"/>
                  </a:lnTo>
                  <a:lnTo>
                    <a:pt x="32" y="75"/>
                  </a:lnTo>
                  <a:lnTo>
                    <a:pt x="32" y="73"/>
                  </a:lnTo>
                  <a:close/>
                  <a:moveTo>
                    <a:pt x="11" y="44"/>
                  </a:moveTo>
                  <a:lnTo>
                    <a:pt x="13" y="44"/>
                  </a:lnTo>
                  <a:lnTo>
                    <a:pt x="11" y="44"/>
                  </a:lnTo>
                  <a:close/>
                  <a:moveTo>
                    <a:pt x="17" y="48"/>
                  </a:moveTo>
                  <a:lnTo>
                    <a:pt x="19" y="48"/>
                  </a:lnTo>
                  <a:lnTo>
                    <a:pt x="17" y="48"/>
                  </a:lnTo>
                  <a:close/>
                  <a:moveTo>
                    <a:pt x="23" y="50"/>
                  </a:moveTo>
                  <a:lnTo>
                    <a:pt x="23" y="52"/>
                  </a:lnTo>
                  <a:lnTo>
                    <a:pt x="23" y="50"/>
                  </a:lnTo>
                  <a:close/>
                  <a:moveTo>
                    <a:pt x="32" y="59"/>
                  </a:moveTo>
                  <a:lnTo>
                    <a:pt x="32" y="61"/>
                  </a:lnTo>
                  <a:lnTo>
                    <a:pt x="32" y="59"/>
                  </a:lnTo>
                  <a:close/>
                  <a:moveTo>
                    <a:pt x="32" y="59"/>
                  </a:moveTo>
                  <a:lnTo>
                    <a:pt x="34" y="59"/>
                  </a:lnTo>
                  <a:lnTo>
                    <a:pt x="34" y="61"/>
                  </a:lnTo>
                  <a:lnTo>
                    <a:pt x="32" y="61"/>
                  </a:lnTo>
                  <a:lnTo>
                    <a:pt x="32" y="59"/>
                  </a:lnTo>
                  <a:close/>
                  <a:moveTo>
                    <a:pt x="63" y="78"/>
                  </a:moveTo>
                  <a:lnTo>
                    <a:pt x="63" y="80"/>
                  </a:lnTo>
                  <a:lnTo>
                    <a:pt x="63" y="78"/>
                  </a:lnTo>
                  <a:close/>
                  <a:moveTo>
                    <a:pt x="48" y="78"/>
                  </a:moveTo>
                  <a:lnTo>
                    <a:pt x="50" y="78"/>
                  </a:lnTo>
                  <a:lnTo>
                    <a:pt x="48" y="78"/>
                  </a:lnTo>
                  <a:close/>
                  <a:moveTo>
                    <a:pt x="32" y="59"/>
                  </a:moveTo>
                  <a:lnTo>
                    <a:pt x="34" y="59"/>
                  </a:lnTo>
                  <a:lnTo>
                    <a:pt x="32" y="59"/>
                  </a:lnTo>
                  <a:close/>
                  <a:moveTo>
                    <a:pt x="11" y="38"/>
                  </a:moveTo>
                  <a:lnTo>
                    <a:pt x="13" y="38"/>
                  </a:lnTo>
                  <a:lnTo>
                    <a:pt x="11" y="38"/>
                  </a:lnTo>
                  <a:close/>
                  <a:moveTo>
                    <a:pt x="65" y="80"/>
                  </a:moveTo>
                  <a:lnTo>
                    <a:pt x="67" y="80"/>
                  </a:lnTo>
                  <a:lnTo>
                    <a:pt x="65" y="80"/>
                  </a:lnTo>
                  <a:close/>
                  <a:moveTo>
                    <a:pt x="29" y="57"/>
                  </a:moveTo>
                  <a:lnTo>
                    <a:pt x="31" y="57"/>
                  </a:lnTo>
                  <a:lnTo>
                    <a:pt x="29" y="57"/>
                  </a:lnTo>
                  <a:close/>
                  <a:moveTo>
                    <a:pt x="29" y="59"/>
                  </a:moveTo>
                  <a:lnTo>
                    <a:pt x="31" y="59"/>
                  </a:lnTo>
                  <a:lnTo>
                    <a:pt x="29" y="59"/>
                  </a:lnTo>
                  <a:close/>
                  <a:moveTo>
                    <a:pt x="25" y="57"/>
                  </a:moveTo>
                  <a:lnTo>
                    <a:pt x="27" y="57"/>
                  </a:lnTo>
                  <a:lnTo>
                    <a:pt x="25" y="57"/>
                  </a:lnTo>
                  <a:close/>
                  <a:moveTo>
                    <a:pt x="27" y="59"/>
                  </a:moveTo>
                  <a:lnTo>
                    <a:pt x="29" y="59"/>
                  </a:lnTo>
                  <a:lnTo>
                    <a:pt x="27" y="59"/>
                  </a:lnTo>
                  <a:close/>
                  <a:moveTo>
                    <a:pt x="11" y="42"/>
                  </a:moveTo>
                  <a:lnTo>
                    <a:pt x="13" y="42"/>
                  </a:lnTo>
                  <a:lnTo>
                    <a:pt x="11" y="42"/>
                  </a:lnTo>
                  <a:close/>
                  <a:moveTo>
                    <a:pt x="67" y="80"/>
                  </a:moveTo>
                  <a:lnTo>
                    <a:pt x="69" y="80"/>
                  </a:lnTo>
                  <a:lnTo>
                    <a:pt x="69" y="82"/>
                  </a:lnTo>
                  <a:lnTo>
                    <a:pt x="67" y="82"/>
                  </a:lnTo>
                  <a:lnTo>
                    <a:pt x="67" y="80"/>
                  </a:lnTo>
                  <a:close/>
                  <a:moveTo>
                    <a:pt x="42" y="71"/>
                  </a:moveTo>
                  <a:lnTo>
                    <a:pt x="44" y="71"/>
                  </a:lnTo>
                  <a:lnTo>
                    <a:pt x="42" y="71"/>
                  </a:lnTo>
                  <a:close/>
                  <a:moveTo>
                    <a:pt x="40" y="65"/>
                  </a:moveTo>
                  <a:lnTo>
                    <a:pt x="40" y="67"/>
                  </a:lnTo>
                  <a:lnTo>
                    <a:pt x="40" y="65"/>
                  </a:lnTo>
                  <a:close/>
                  <a:moveTo>
                    <a:pt x="34" y="59"/>
                  </a:moveTo>
                  <a:lnTo>
                    <a:pt x="34" y="61"/>
                  </a:lnTo>
                  <a:lnTo>
                    <a:pt x="34" y="59"/>
                  </a:lnTo>
                  <a:close/>
                  <a:moveTo>
                    <a:pt x="36" y="65"/>
                  </a:moveTo>
                  <a:lnTo>
                    <a:pt x="38" y="65"/>
                  </a:lnTo>
                  <a:lnTo>
                    <a:pt x="36" y="65"/>
                  </a:lnTo>
                  <a:close/>
                  <a:moveTo>
                    <a:pt x="15" y="42"/>
                  </a:moveTo>
                  <a:lnTo>
                    <a:pt x="17" y="42"/>
                  </a:lnTo>
                  <a:lnTo>
                    <a:pt x="15" y="42"/>
                  </a:lnTo>
                  <a:close/>
                  <a:moveTo>
                    <a:pt x="34" y="63"/>
                  </a:moveTo>
                  <a:lnTo>
                    <a:pt x="36" y="63"/>
                  </a:lnTo>
                  <a:lnTo>
                    <a:pt x="34" y="63"/>
                  </a:lnTo>
                  <a:close/>
                  <a:moveTo>
                    <a:pt x="25" y="53"/>
                  </a:moveTo>
                  <a:lnTo>
                    <a:pt x="25" y="55"/>
                  </a:lnTo>
                  <a:lnTo>
                    <a:pt x="25" y="53"/>
                  </a:lnTo>
                  <a:close/>
                  <a:moveTo>
                    <a:pt x="32" y="61"/>
                  </a:moveTo>
                  <a:lnTo>
                    <a:pt x="34" y="61"/>
                  </a:lnTo>
                  <a:lnTo>
                    <a:pt x="32" y="61"/>
                  </a:lnTo>
                  <a:close/>
                  <a:moveTo>
                    <a:pt x="15" y="40"/>
                  </a:moveTo>
                  <a:lnTo>
                    <a:pt x="17" y="40"/>
                  </a:lnTo>
                  <a:lnTo>
                    <a:pt x="15" y="40"/>
                  </a:lnTo>
                  <a:close/>
                  <a:moveTo>
                    <a:pt x="46" y="77"/>
                  </a:moveTo>
                  <a:lnTo>
                    <a:pt x="48" y="77"/>
                  </a:lnTo>
                  <a:lnTo>
                    <a:pt x="46" y="77"/>
                  </a:lnTo>
                  <a:close/>
                  <a:moveTo>
                    <a:pt x="59" y="75"/>
                  </a:moveTo>
                  <a:lnTo>
                    <a:pt x="59" y="77"/>
                  </a:lnTo>
                  <a:lnTo>
                    <a:pt x="59" y="75"/>
                  </a:lnTo>
                  <a:close/>
                  <a:moveTo>
                    <a:pt x="40" y="73"/>
                  </a:moveTo>
                  <a:lnTo>
                    <a:pt x="40" y="75"/>
                  </a:lnTo>
                  <a:lnTo>
                    <a:pt x="40" y="73"/>
                  </a:lnTo>
                  <a:close/>
                  <a:moveTo>
                    <a:pt x="27" y="57"/>
                  </a:moveTo>
                  <a:lnTo>
                    <a:pt x="29" y="57"/>
                  </a:lnTo>
                  <a:lnTo>
                    <a:pt x="27" y="57"/>
                  </a:lnTo>
                  <a:close/>
                  <a:moveTo>
                    <a:pt x="27" y="57"/>
                  </a:moveTo>
                  <a:lnTo>
                    <a:pt x="27" y="59"/>
                  </a:lnTo>
                  <a:lnTo>
                    <a:pt x="27" y="57"/>
                  </a:lnTo>
                  <a:close/>
                  <a:moveTo>
                    <a:pt x="25" y="55"/>
                  </a:moveTo>
                  <a:lnTo>
                    <a:pt x="27" y="55"/>
                  </a:lnTo>
                  <a:lnTo>
                    <a:pt x="25" y="55"/>
                  </a:lnTo>
                  <a:close/>
                  <a:moveTo>
                    <a:pt x="46" y="75"/>
                  </a:moveTo>
                  <a:lnTo>
                    <a:pt x="48" y="75"/>
                  </a:lnTo>
                  <a:lnTo>
                    <a:pt x="46" y="75"/>
                  </a:lnTo>
                  <a:close/>
                  <a:moveTo>
                    <a:pt x="25" y="48"/>
                  </a:moveTo>
                  <a:lnTo>
                    <a:pt x="27" y="48"/>
                  </a:lnTo>
                  <a:lnTo>
                    <a:pt x="25" y="48"/>
                  </a:lnTo>
                  <a:close/>
                  <a:moveTo>
                    <a:pt x="17" y="36"/>
                  </a:moveTo>
                  <a:lnTo>
                    <a:pt x="17" y="38"/>
                  </a:lnTo>
                  <a:lnTo>
                    <a:pt x="17" y="36"/>
                  </a:lnTo>
                  <a:close/>
                  <a:moveTo>
                    <a:pt x="29" y="59"/>
                  </a:moveTo>
                  <a:lnTo>
                    <a:pt x="29" y="61"/>
                  </a:lnTo>
                  <a:lnTo>
                    <a:pt x="29" y="59"/>
                  </a:lnTo>
                  <a:close/>
                  <a:moveTo>
                    <a:pt x="17" y="38"/>
                  </a:moveTo>
                  <a:lnTo>
                    <a:pt x="17" y="40"/>
                  </a:lnTo>
                  <a:lnTo>
                    <a:pt x="17" y="38"/>
                  </a:lnTo>
                  <a:close/>
                  <a:moveTo>
                    <a:pt x="25" y="55"/>
                  </a:moveTo>
                  <a:lnTo>
                    <a:pt x="27" y="55"/>
                  </a:lnTo>
                  <a:lnTo>
                    <a:pt x="25" y="55"/>
                  </a:lnTo>
                  <a:close/>
                  <a:moveTo>
                    <a:pt x="42" y="71"/>
                  </a:moveTo>
                  <a:lnTo>
                    <a:pt x="44" y="71"/>
                  </a:lnTo>
                  <a:lnTo>
                    <a:pt x="42" y="71"/>
                  </a:lnTo>
                  <a:close/>
                  <a:moveTo>
                    <a:pt x="32" y="57"/>
                  </a:moveTo>
                  <a:lnTo>
                    <a:pt x="32" y="59"/>
                  </a:lnTo>
                  <a:lnTo>
                    <a:pt x="32" y="57"/>
                  </a:lnTo>
                  <a:close/>
                  <a:moveTo>
                    <a:pt x="59" y="75"/>
                  </a:moveTo>
                  <a:lnTo>
                    <a:pt x="59" y="77"/>
                  </a:lnTo>
                  <a:lnTo>
                    <a:pt x="59" y="75"/>
                  </a:lnTo>
                  <a:close/>
                  <a:moveTo>
                    <a:pt x="54" y="75"/>
                  </a:moveTo>
                  <a:lnTo>
                    <a:pt x="56" y="75"/>
                  </a:lnTo>
                  <a:lnTo>
                    <a:pt x="54" y="75"/>
                  </a:lnTo>
                  <a:close/>
                  <a:moveTo>
                    <a:pt x="15" y="46"/>
                  </a:moveTo>
                  <a:lnTo>
                    <a:pt x="17" y="46"/>
                  </a:lnTo>
                  <a:lnTo>
                    <a:pt x="15" y="46"/>
                  </a:lnTo>
                  <a:close/>
                  <a:moveTo>
                    <a:pt x="29" y="57"/>
                  </a:moveTo>
                  <a:lnTo>
                    <a:pt x="31" y="57"/>
                  </a:lnTo>
                  <a:lnTo>
                    <a:pt x="29" y="57"/>
                  </a:lnTo>
                  <a:close/>
                  <a:moveTo>
                    <a:pt x="25" y="55"/>
                  </a:moveTo>
                  <a:lnTo>
                    <a:pt x="25" y="57"/>
                  </a:lnTo>
                  <a:lnTo>
                    <a:pt x="25" y="55"/>
                  </a:lnTo>
                  <a:close/>
                  <a:moveTo>
                    <a:pt x="31" y="59"/>
                  </a:moveTo>
                  <a:lnTo>
                    <a:pt x="32" y="59"/>
                  </a:lnTo>
                  <a:lnTo>
                    <a:pt x="31" y="59"/>
                  </a:lnTo>
                  <a:close/>
                  <a:moveTo>
                    <a:pt x="25" y="57"/>
                  </a:moveTo>
                  <a:lnTo>
                    <a:pt x="27" y="57"/>
                  </a:lnTo>
                  <a:lnTo>
                    <a:pt x="25" y="57"/>
                  </a:lnTo>
                  <a:close/>
                  <a:moveTo>
                    <a:pt x="40" y="65"/>
                  </a:moveTo>
                  <a:lnTo>
                    <a:pt x="40" y="67"/>
                  </a:lnTo>
                  <a:lnTo>
                    <a:pt x="40" y="65"/>
                  </a:lnTo>
                  <a:close/>
                  <a:moveTo>
                    <a:pt x="23" y="44"/>
                  </a:moveTo>
                  <a:lnTo>
                    <a:pt x="25" y="44"/>
                  </a:lnTo>
                  <a:lnTo>
                    <a:pt x="23" y="44"/>
                  </a:lnTo>
                  <a:close/>
                  <a:moveTo>
                    <a:pt x="29" y="55"/>
                  </a:moveTo>
                  <a:lnTo>
                    <a:pt x="31" y="55"/>
                  </a:lnTo>
                  <a:lnTo>
                    <a:pt x="29" y="5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Rectangle 374">
              <a:extLst>
                <a:ext uri="{FF2B5EF4-FFF2-40B4-BE49-F238E27FC236}">
                  <a16:creationId xmlns:a16="http://schemas.microsoft.com/office/drawing/2014/main" id="{31ADF6A9-69C4-4A64-8D2D-F0561B6A1D23}"/>
                </a:ext>
              </a:extLst>
            </p:cNvPr>
            <p:cNvSpPr>
              <a:spLocks noChangeArrowheads="1"/>
            </p:cNvSpPr>
            <p:nvPr/>
          </p:nvSpPr>
          <p:spPr bwMode="gray">
            <a:xfrm>
              <a:off x="3431462" y="3484776"/>
              <a:ext cx="2453" cy="2453"/>
            </a:xfrm>
            <a:prstGeom prst="rect">
              <a:avLst/>
            </a:prstGeom>
            <a:solidFill>
              <a:srgbClr val="D0D0D0"/>
            </a:solidFill>
            <a:ln w="6350">
              <a:solidFill>
                <a:schemeClr val="tx1">
                  <a:alpha val="38000"/>
                </a:schemeClr>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375">
              <a:extLst>
                <a:ext uri="{FF2B5EF4-FFF2-40B4-BE49-F238E27FC236}">
                  <a16:creationId xmlns:a16="http://schemas.microsoft.com/office/drawing/2014/main" id="{5437690A-86E9-474C-9844-6B172C7055C1}"/>
                </a:ext>
              </a:extLst>
            </p:cNvPr>
            <p:cNvSpPr>
              <a:spLocks/>
            </p:cNvSpPr>
            <p:nvPr/>
          </p:nvSpPr>
          <p:spPr bwMode="gray">
            <a:xfrm>
              <a:off x="3234016" y="3517888"/>
              <a:ext cx="7358" cy="7358"/>
            </a:xfrm>
            <a:custGeom>
              <a:avLst/>
              <a:gdLst>
                <a:gd name="T0" fmla="*/ 6 w 6"/>
                <a:gd name="T1" fmla="*/ 4 h 6"/>
                <a:gd name="T2" fmla="*/ 4 w 6"/>
                <a:gd name="T3" fmla="*/ 4 h 6"/>
                <a:gd name="T4" fmla="*/ 2 w 6"/>
                <a:gd name="T5" fmla="*/ 4 h 6"/>
                <a:gd name="T6" fmla="*/ 2 w 6"/>
                <a:gd name="T7" fmla="*/ 6 h 6"/>
                <a:gd name="T8" fmla="*/ 0 w 6"/>
                <a:gd name="T9" fmla="*/ 6 h 6"/>
                <a:gd name="T10" fmla="*/ 0 w 6"/>
                <a:gd name="T11" fmla="*/ 4 h 6"/>
                <a:gd name="T12" fmla="*/ 2 w 6"/>
                <a:gd name="T13" fmla="*/ 4 h 6"/>
                <a:gd name="T14" fmla="*/ 0 w 6"/>
                <a:gd name="T15" fmla="*/ 4 h 6"/>
                <a:gd name="T16" fmla="*/ 0 w 6"/>
                <a:gd name="T17" fmla="*/ 2 h 6"/>
                <a:gd name="T18" fmla="*/ 2 w 6"/>
                <a:gd name="T19" fmla="*/ 2 h 6"/>
                <a:gd name="T20" fmla="*/ 2 w 6"/>
                <a:gd name="T21" fmla="*/ 0 h 6"/>
                <a:gd name="T22" fmla="*/ 4 w 6"/>
                <a:gd name="T23" fmla="*/ 0 h 6"/>
                <a:gd name="T24" fmla="*/ 4 w 6"/>
                <a:gd name="T25" fmla="*/ 2 h 6"/>
                <a:gd name="T26" fmla="*/ 6 w 6"/>
                <a:gd name="T27" fmla="*/ 2 h 6"/>
                <a:gd name="T28" fmla="*/ 6 w 6"/>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6">
                  <a:moveTo>
                    <a:pt x="6" y="4"/>
                  </a:moveTo>
                  <a:lnTo>
                    <a:pt x="4" y="4"/>
                  </a:lnTo>
                  <a:lnTo>
                    <a:pt x="2" y="4"/>
                  </a:lnTo>
                  <a:lnTo>
                    <a:pt x="2" y="6"/>
                  </a:lnTo>
                  <a:lnTo>
                    <a:pt x="0" y="6"/>
                  </a:lnTo>
                  <a:lnTo>
                    <a:pt x="0" y="4"/>
                  </a:lnTo>
                  <a:lnTo>
                    <a:pt x="2" y="4"/>
                  </a:lnTo>
                  <a:lnTo>
                    <a:pt x="0" y="4"/>
                  </a:lnTo>
                  <a:lnTo>
                    <a:pt x="0" y="2"/>
                  </a:lnTo>
                  <a:lnTo>
                    <a:pt x="2" y="2"/>
                  </a:lnTo>
                  <a:lnTo>
                    <a:pt x="2" y="0"/>
                  </a:lnTo>
                  <a:lnTo>
                    <a:pt x="4" y="0"/>
                  </a:lnTo>
                  <a:lnTo>
                    <a:pt x="4" y="2"/>
                  </a:lnTo>
                  <a:lnTo>
                    <a:pt x="6" y="2"/>
                  </a:lnTo>
                  <a:lnTo>
                    <a:pt x="6" y="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376">
              <a:extLst>
                <a:ext uri="{FF2B5EF4-FFF2-40B4-BE49-F238E27FC236}">
                  <a16:creationId xmlns:a16="http://schemas.microsoft.com/office/drawing/2014/main" id="{3098CC9B-62B1-4A4D-B952-61BB1654BFD7}"/>
                </a:ext>
              </a:extLst>
            </p:cNvPr>
            <p:cNvSpPr>
              <a:spLocks noEditPoints="1"/>
            </p:cNvSpPr>
            <p:nvPr/>
          </p:nvSpPr>
          <p:spPr bwMode="gray">
            <a:xfrm>
              <a:off x="3116284" y="3297140"/>
              <a:ext cx="263671" cy="253860"/>
            </a:xfrm>
            <a:custGeom>
              <a:avLst/>
              <a:gdLst>
                <a:gd name="T0" fmla="*/ 177 w 215"/>
                <a:gd name="T1" fmla="*/ 42 h 207"/>
                <a:gd name="T2" fmla="*/ 196 w 215"/>
                <a:gd name="T3" fmla="*/ 48 h 207"/>
                <a:gd name="T4" fmla="*/ 186 w 215"/>
                <a:gd name="T5" fmla="*/ 75 h 207"/>
                <a:gd name="T6" fmla="*/ 177 w 215"/>
                <a:gd name="T7" fmla="*/ 84 h 207"/>
                <a:gd name="T8" fmla="*/ 165 w 215"/>
                <a:gd name="T9" fmla="*/ 100 h 207"/>
                <a:gd name="T10" fmla="*/ 175 w 215"/>
                <a:gd name="T11" fmla="*/ 107 h 207"/>
                <a:gd name="T12" fmla="*/ 179 w 215"/>
                <a:gd name="T13" fmla="*/ 129 h 207"/>
                <a:gd name="T14" fmla="*/ 183 w 215"/>
                <a:gd name="T15" fmla="*/ 150 h 207"/>
                <a:gd name="T16" fmla="*/ 181 w 215"/>
                <a:gd name="T17" fmla="*/ 161 h 207"/>
                <a:gd name="T18" fmla="*/ 163 w 215"/>
                <a:gd name="T19" fmla="*/ 173 h 207"/>
                <a:gd name="T20" fmla="*/ 158 w 215"/>
                <a:gd name="T21" fmla="*/ 169 h 207"/>
                <a:gd name="T22" fmla="*/ 148 w 215"/>
                <a:gd name="T23" fmla="*/ 165 h 207"/>
                <a:gd name="T24" fmla="*/ 131 w 215"/>
                <a:gd name="T25" fmla="*/ 165 h 207"/>
                <a:gd name="T26" fmla="*/ 121 w 215"/>
                <a:gd name="T27" fmla="*/ 173 h 207"/>
                <a:gd name="T28" fmla="*/ 123 w 215"/>
                <a:gd name="T29" fmla="*/ 184 h 207"/>
                <a:gd name="T30" fmla="*/ 106 w 215"/>
                <a:gd name="T31" fmla="*/ 186 h 207"/>
                <a:gd name="T32" fmla="*/ 85 w 215"/>
                <a:gd name="T33" fmla="*/ 178 h 207"/>
                <a:gd name="T34" fmla="*/ 67 w 215"/>
                <a:gd name="T35" fmla="*/ 177 h 207"/>
                <a:gd name="T36" fmla="*/ 54 w 215"/>
                <a:gd name="T37" fmla="*/ 169 h 207"/>
                <a:gd name="T38" fmla="*/ 56 w 215"/>
                <a:gd name="T39" fmla="*/ 150 h 207"/>
                <a:gd name="T40" fmla="*/ 58 w 215"/>
                <a:gd name="T41" fmla="*/ 129 h 207"/>
                <a:gd name="T42" fmla="*/ 69 w 215"/>
                <a:gd name="T43" fmla="*/ 132 h 207"/>
                <a:gd name="T44" fmla="*/ 58 w 215"/>
                <a:gd name="T45" fmla="*/ 115 h 207"/>
                <a:gd name="T46" fmla="*/ 58 w 215"/>
                <a:gd name="T47" fmla="*/ 105 h 207"/>
                <a:gd name="T48" fmla="*/ 46 w 215"/>
                <a:gd name="T49" fmla="*/ 88 h 207"/>
                <a:gd name="T50" fmla="*/ 41 w 215"/>
                <a:gd name="T51" fmla="*/ 84 h 207"/>
                <a:gd name="T52" fmla="*/ 39 w 215"/>
                <a:gd name="T53" fmla="*/ 80 h 207"/>
                <a:gd name="T54" fmla="*/ 35 w 215"/>
                <a:gd name="T55" fmla="*/ 79 h 207"/>
                <a:gd name="T56" fmla="*/ 25 w 215"/>
                <a:gd name="T57" fmla="*/ 75 h 207"/>
                <a:gd name="T58" fmla="*/ 12 w 215"/>
                <a:gd name="T59" fmla="*/ 71 h 207"/>
                <a:gd name="T60" fmla="*/ 10 w 215"/>
                <a:gd name="T61" fmla="*/ 63 h 207"/>
                <a:gd name="T62" fmla="*/ 12 w 215"/>
                <a:gd name="T63" fmla="*/ 61 h 207"/>
                <a:gd name="T64" fmla="*/ 12 w 215"/>
                <a:gd name="T65" fmla="*/ 56 h 207"/>
                <a:gd name="T66" fmla="*/ 29 w 215"/>
                <a:gd name="T67" fmla="*/ 52 h 207"/>
                <a:gd name="T68" fmla="*/ 37 w 215"/>
                <a:gd name="T69" fmla="*/ 57 h 207"/>
                <a:gd name="T70" fmla="*/ 46 w 215"/>
                <a:gd name="T71" fmla="*/ 54 h 207"/>
                <a:gd name="T72" fmla="*/ 54 w 215"/>
                <a:gd name="T73" fmla="*/ 48 h 207"/>
                <a:gd name="T74" fmla="*/ 48 w 215"/>
                <a:gd name="T75" fmla="*/ 32 h 207"/>
                <a:gd name="T76" fmla="*/ 62 w 215"/>
                <a:gd name="T77" fmla="*/ 38 h 207"/>
                <a:gd name="T78" fmla="*/ 77 w 215"/>
                <a:gd name="T79" fmla="*/ 40 h 207"/>
                <a:gd name="T80" fmla="*/ 81 w 215"/>
                <a:gd name="T81" fmla="*/ 31 h 207"/>
                <a:gd name="T82" fmla="*/ 98 w 215"/>
                <a:gd name="T83" fmla="*/ 17 h 207"/>
                <a:gd name="T84" fmla="*/ 102 w 215"/>
                <a:gd name="T85" fmla="*/ 4 h 207"/>
                <a:gd name="T86" fmla="*/ 110 w 215"/>
                <a:gd name="T87" fmla="*/ 2 h 207"/>
                <a:gd name="T88" fmla="*/ 123 w 215"/>
                <a:gd name="T89" fmla="*/ 7 h 207"/>
                <a:gd name="T90" fmla="*/ 137 w 215"/>
                <a:gd name="T91" fmla="*/ 23 h 207"/>
                <a:gd name="T92" fmla="*/ 146 w 215"/>
                <a:gd name="T93" fmla="*/ 23 h 207"/>
                <a:gd name="T94" fmla="*/ 154 w 215"/>
                <a:gd name="T95" fmla="*/ 32 h 207"/>
                <a:gd name="T96" fmla="*/ 213 w 215"/>
                <a:gd name="T97" fmla="*/ 178 h 207"/>
                <a:gd name="T98" fmla="*/ 211 w 215"/>
                <a:gd name="T99" fmla="*/ 205 h 207"/>
                <a:gd name="T100" fmla="*/ 204 w 215"/>
                <a:gd name="T101" fmla="*/ 196 h 207"/>
                <a:gd name="T102" fmla="*/ 202 w 215"/>
                <a:gd name="T103" fmla="*/ 188 h 207"/>
                <a:gd name="T104" fmla="*/ 208 w 215"/>
                <a:gd name="T105" fmla="*/ 180 h 207"/>
                <a:gd name="T106" fmla="*/ 31 w 215"/>
                <a:gd name="T107" fmla="*/ 82 h 207"/>
                <a:gd name="T108" fmla="*/ 43 w 215"/>
                <a:gd name="T109" fmla="*/ 98 h 207"/>
                <a:gd name="T110" fmla="*/ 66 w 215"/>
                <a:gd name="T111" fmla="*/ 132 h 207"/>
                <a:gd name="T112" fmla="*/ 33 w 215"/>
                <a:gd name="T113" fmla="*/ 84 h 207"/>
                <a:gd name="T114" fmla="*/ 156 w 215"/>
                <a:gd name="T115" fmla="*/ 171 h 207"/>
                <a:gd name="T116" fmla="*/ 154 w 215"/>
                <a:gd name="T117" fmla="*/ 171 h 207"/>
                <a:gd name="T118" fmla="*/ 8 w 215"/>
                <a:gd name="T119" fmla="*/ 57 h 207"/>
                <a:gd name="T120" fmla="*/ 10 w 215"/>
                <a:gd name="T121" fmla="*/ 5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5" h="207">
                  <a:moveTo>
                    <a:pt x="162" y="34"/>
                  </a:moveTo>
                  <a:lnTo>
                    <a:pt x="162" y="36"/>
                  </a:lnTo>
                  <a:lnTo>
                    <a:pt x="163" y="36"/>
                  </a:lnTo>
                  <a:lnTo>
                    <a:pt x="163" y="38"/>
                  </a:lnTo>
                  <a:lnTo>
                    <a:pt x="163" y="36"/>
                  </a:lnTo>
                  <a:lnTo>
                    <a:pt x="165" y="36"/>
                  </a:lnTo>
                  <a:lnTo>
                    <a:pt x="167" y="36"/>
                  </a:lnTo>
                  <a:lnTo>
                    <a:pt x="169" y="36"/>
                  </a:lnTo>
                  <a:lnTo>
                    <a:pt x="171" y="36"/>
                  </a:lnTo>
                  <a:lnTo>
                    <a:pt x="171" y="38"/>
                  </a:lnTo>
                  <a:lnTo>
                    <a:pt x="171" y="36"/>
                  </a:lnTo>
                  <a:lnTo>
                    <a:pt x="171" y="38"/>
                  </a:lnTo>
                  <a:lnTo>
                    <a:pt x="173" y="38"/>
                  </a:lnTo>
                  <a:lnTo>
                    <a:pt x="173" y="40"/>
                  </a:lnTo>
                  <a:lnTo>
                    <a:pt x="171" y="40"/>
                  </a:lnTo>
                  <a:lnTo>
                    <a:pt x="173" y="40"/>
                  </a:lnTo>
                  <a:lnTo>
                    <a:pt x="173" y="42"/>
                  </a:lnTo>
                  <a:lnTo>
                    <a:pt x="175" y="42"/>
                  </a:lnTo>
                  <a:lnTo>
                    <a:pt x="175" y="44"/>
                  </a:lnTo>
                  <a:lnTo>
                    <a:pt x="177" y="44"/>
                  </a:lnTo>
                  <a:lnTo>
                    <a:pt x="177" y="42"/>
                  </a:lnTo>
                  <a:lnTo>
                    <a:pt x="175" y="42"/>
                  </a:lnTo>
                  <a:lnTo>
                    <a:pt x="177" y="42"/>
                  </a:lnTo>
                  <a:lnTo>
                    <a:pt x="179" y="42"/>
                  </a:lnTo>
                  <a:lnTo>
                    <a:pt x="179" y="44"/>
                  </a:lnTo>
                  <a:lnTo>
                    <a:pt x="181" y="44"/>
                  </a:lnTo>
                  <a:lnTo>
                    <a:pt x="183" y="44"/>
                  </a:lnTo>
                  <a:lnTo>
                    <a:pt x="185" y="44"/>
                  </a:lnTo>
                  <a:lnTo>
                    <a:pt x="183" y="44"/>
                  </a:lnTo>
                  <a:lnTo>
                    <a:pt x="185" y="44"/>
                  </a:lnTo>
                  <a:lnTo>
                    <a:pt x="186" y="44"/>
                  </a:lnTo>
                  <a:lnTo>
                    <a:pt x="185" y="44"/>
                  </a:lnTo>
                  <a:lnTo>
                    <a:pt x="186" y="44"/>
                  </a:lnTo>
                  <a:lnTo>
                    <a:pt x="185" y="44"/>
                  </a:lnTo>
                  <a:lnTo>
                    <a:pt x="186" y="44"/>
                  </a:lnTo>
                  <a:lnTo>
                    <a:pt x="186" y="46"/>
                  </a:lnTo>
                  <a:lnTo>
                    <a:pt x="188" y="46"/>
                  </a:lnTo>
                  <a:lnTo>
                    <a:pt x="190" y="46"/>
                  </a:lnTo>
                  <a:lnTo>
                    <a:pt x="192" y="46"/>
                  </a:lnTo>
                  <a:lnTo>
                    <a:pt x="192" y="48"/>
                  </a:lnTo>
                  <a:lnTo>
                    <a:pt x="194" y="48"/>
                  </a:lnTo>
                  <a:lnTo>
                    <a:pt x="196" y="48"/>
                  </a:lnTo>
                  <a:lnTo>
                    <a:pt x="194" y="48"/>
                  </a:lnTo>
                  <a:lnTo>
                    <a:pt x="196" y="48"/>
                  </a:lnTo>
                  <a:lnTo>
                    <a:pt x="196" y="50"/>
                  </a:lnTo>
                  <a:lnTo>
                    <a:pt x="194" y="50"/>
                  </a:lnTo>
                  <a:lnTo>
                    <a:pt x="194" y="52"/>
                  </a:lnTo>
                  <a:lnTo>
                    <a:pt x="192" y="52"/>
                  </a:lnTo>
                  <a:lnTo>
                    <a:pt x="192" y="54"/>
                  </a:lnTo>
                  <a:lnTo>
                    <a:pt x="192" y="56"/>
                  </a:lnTo>
                  <a:lnTo>
                    <a:pt x="190" y="56"/>
                  </a:lnTo>
                  <a:lnTo>
                    <a:pt x="190" y="57"/>
                  </a:lnTo>
                  <a:lnTo>
                    <a:pt x="190" y="59"/>
                  </a:lnTo>
                  <a:lnTo>
                    <a:pt x="188" y="59"/>
                  </a:lnTo>
                  <a:lnTo>
                    <a:pt x="188" y="61"/>
                  </a:lnTo>
                  <a:lnTo>
                    <a:pt x="188" y="63"/>
                  </a:lnTo>
                  <a:lnTo>
                    <a:pt x="188" y="65"/>
                  </a:lnTo>
                  <a:lnTo>
                    <a:pt x="186" y="65"/>
                  </a:lnTo>
                  <a:lnTo>
                    <a:pt x="186" y="67"/>
                  </a:lnTo>
                  <a:lnTo>
                    <a:pt x="186" y="69"/>
                  </a:lnTo>
                  <a:lnTo>
                    <a:pt x="186" y="71"/>
                  </a:lnTo>
                  <a:lnTo>
                    <a:pt x="186" y="73"/>
                  </a:lnTo>
                  <a:lnTo>
                    <a:pt x="186" y="75"/>
                  </a:lnTo>
                  <a:lnTo>
                    <a:pt x="186" y="77"/>
                  </a:lnTo>
                  <a:lnTo>
                    <a:pt x="186" y="79"/>
                  </a:lnTo>
                  <a:lnTo>
                    <a:pt x="186" y="80"/>
                  </a:lnTo>
                  <a:lnTo>
                    <a:pt x="185" y="80"/>
                  </a:lnTo>
                  <a:lnTo>
                    <a:pt x="185" y="82"/>
                  </a:lnTo>
                  <a:lnTo>
                    <a:pt x="183" y="82"/>
                  </a:lnTo>
                  <a:lnTo>
                    <a:pt x="181" y="82"/>
                  </a:lnTo>
                  <a:lnTo>
                    <a:pt x="181" y="80"/>
                  </a:lnTo>
                  <a:lnTo>
                    <a:pt x="179" y="80"/>
                  </a:lnTo>
                  <a:lnTo>
                    <a:pt x="179" y="82"/>
                  </a:lnTo>
                  <a:lnTo>
                    <a:pt x="179" y="80"/>
                  </a:lnTo>
                  <a:lnTo>
                    <a:pt x="179" y="82"/>
                  </a:lnTo>
                  <a:lnTo>
                    <a:pt x="177" y="82"/>
                  </a:lnTo>
                  <a:lnTo>
                    <a:pt x="177" y="84"/>
                  </a:lnTo>
                  <a:lnTo>
                    <a:pt x="177" y="82"/>
                  </a:lnTo>
                  <a:lnTo>
                    <a:pt x="177" y="84"/>
                  </a:lnTo>
                  <a:lnTo>
                    <a:pt x="179" y="82"/>
                  </a:lnTo>
                  <a:lnTo>
                    <a:pt x="179" y="84"/>
                  </a:lnTo>
                  <a:lnTo>
                    <a:pt x="179" y="82"/>
                  </a:lnTo>
                  <a:lnTo>
                    <a:pt x="179" y="84"/>
                  </a:lnTo>
                  <a:lnTo>
                    <a:pt x="177" y="84"/>
                  </a:lnTo>
                  <a:lnTo>
                    <a:pt x="177" y="86"/>
                  </a:lnTo>
                  <a:lnTo>
                    <a:pt x="177" y="88"/>
                  </a:lnTo>
                  <a:lnTo>
                    <a:pt x="175" y="88"/>
                  </a:lnTo>
                  <a:lnTo>
                    <a:pt x="175" y="90"/>
                  </a:lnTo>
                  <a:lnTo>
                    <a:pt x="173" y="90"/>
                  </a:lnTo>
                  <a:lnTo>
                    <a:pt x="175" y="90"/>
                  </a:lnTo>
                  <a:lnTo>
                    <a:pt x="173" y="90"/>
                  </a:lnTo>
                  <a:lnTo>
                    <a:pt x="175" y="90"/>
                  </a:lnTo>
                  <a:lnTo>
                    <a:pt x="173" y="90"/>
                  </a:lnTo>
                  <a:lnTo>
                    <a:pt x="173" y="92"/>
                  </a:lnTo>
                  <a:lnTo>
                    <a:pt x="171" y="92"/>
                  </a:lnTo>
                  <a:lnTo>
                    <a:pt x="169" y="92"/>
                  </a:lnTo>
                  <a:lnTo>
                    <a:pt x="171" y="94"/>
                  </a:lnTo>
                  <a:lnTo>
                    <a:pt x="169" y="94"/>
                  </a:lnTo>
                  <a:lnTo>
                    <a:pt x="169" y="96"/>
                  </a:lnTo>
                  <a:lnTo>
                    <a:pt x="171" y="96"/>
                  </a:lnTo>
                  <a:lnTo>
                    <a:pt x="169" y="96"/>
                  </a:lnTo>
                  <a:lnTo>
                    <a:pt x="169" y="98"/>
                  </a:lnTo>
                  <a:lnTo>
                    <a:pt x="167" y="98"/>
                  </a:lnTo>
                  <a:lnTo>
                    <a:pt x="167" y="100"/>
                  </a:lnTo>
                  <a:lnTo>
                    <a:pt x="165" y="100"/>
                  </a:lnTo>
                  <a:lnTo>
                    <a:pt x="165" y="102"/>
                  </a:lnTo>
                  <a:lnTo>
                    <a:pt x="165" y="104"/>
                  </a:lnTo>
                  <a:lnTo>
                    <a:pt x="165" y="105"/>
                  </a:lnTo>
                  <a:lnTo>
                    <a:pt x="165" y="107"/>
                  </a:lnTo>
                  <a:lnTo>
                    <a:pt x="163" y="107"/>
                  </a:lnTo>
                  <a:lnTo>
                    <a:pt x="163" y="109"/>
                  </a:lnTo>
                  <a:lnTo>
                    <a:pt x="165" y="109"/>
                  </a:lnTo>
                  <a:lnTo>
                    <a:pt x="167" y="109"/>
                  </a:lnTo>
                  <a:lnTo>
                    <a:pt x="167" y="107"/>
                  </a:lnTo>
                  <a:lnTo>
                    <a:pt x="167" y="105"/>
                  </a:lnTo>
                  <a:lnTo>
                    <a:pt x="169" y="105"/>
                  </a:lnTo>
                  <a:lnTo>
                    <a:pt x="171" y="105"/>
                  </a:lnTo>
                  <a:lnTo>
                    <a:pt x="171" y="104"/>
                  </a:lnTo>
                  <a:lnTo>
                    <a:pt x="173" y="104"/>
                  </a:lnTo>
                  <a:lnTo>
                    <a:pt x="175" y="104"/>
                  </a:lnTo>
                  <a:lnTo>
                    <a:pt x="175" y="105"/>
                  </a:lnTo>
                  <a:lnTo>
                    <a:pt x="177" y="105"/>
                  </a:lnTo>
                  <a:lnTo>
                    <a:pt x="177" y="107"/>
                  </a:lnTo>
                  <a:lnTo>
                    <a:pt x="175" y="107"/>
                  </a:lnTo>
                  <a:lnTo>
                    <a:pt x="177" y="107"/>
                  </a:lnTo>
                  <a:lnTo>
                    <a:pt x="175" y="107"/>
                  </a:lnTo>
                  <a:lnTo>
                    <a:pt x="175" y="109"/>
                  </a:lnTo>
                  <a:lnTo>
                    <a:pt x="177" y="109"/>
                  </a:lnTo>
                  <a:lnTo>
                    <a:pt x="177" y="111"/>
                  </a:lnTo>
                  <a:lnTo>
                    <a:pt x="179" y="111"/>
                  </a:lnTo>
                  <a:lnTo>
                    <a:pt x="179" y="113"/>
                  </a:lnTo>
                  <a:lnTo>
                    <a:pt x="179" y="115"/>
                  </a:lnTo>
                  <a:lnTo>
                    <a:pt x="177" y="115"/>
                  </a:lnTo>
                  <a:lnTo>
                    <a:pt x="175" y="115"/>
                  </a:lnTo>
                  <a:lnTo>
                    <a:pt x="175" y="117"/>
                  </a:lnTo>
                  <a:lnTo>
                    <a:pt x="175" y="119"/>
                  </a:lnTo>
                  <a:lnTo>
                    <a:pt x="177" y="119"/>
                  </a:lnTo>
                  <a:lnTo>
                    <a:pt x="179" y="119"/>
                  </a:lnTo>
                  <a:lnTo>
                    <a:pt x="179" y="121"/>
                  </a:lnTo>
                  <a:lnTo>
                    <a:pt x="179" y="123"/>
                  </a:lnTo>
                  <a:lnTo>
                    <a:pt x="181" y="123"/>
                  </a:lnTo>
                  <a:lnTo>
                    <a:pt x="179" y="123"/>
                  </a:lnTo>
                  <a:lnTo>
                    <a:pt x="179" y="125"/>
                  </a:lnTo>
                  <a:lnTo>
                    <a:pt x="181" y="125"/>
                  </a:lnTo>
                  <a:lnTo>
                    <a:pt x="181" y="127"/>
                  </a:lnTo>
                  <a:lnTo>
                    <a:pt x="181" y="129"/>
                  </a:lnTo>
                  <a:lnTo>
                    <a:pt x="179" y="129"/>
                  </a:lnTo>
                  <a:lnTo>
                    <a:pt x="177" y="129"/>
                  </a:lnTo>
                  <a:lnTo>
                    <a:pt x="177" y="130"/>
                  </a:lnTo>
                  <a:lnTo>
                    <a:pt x="175" y="130"/>
                  </a:lnTo>
                  <a:lnTo>
                    <a:pt x="173" y="130"/>
                  </a:lnTo>
                  <a:lnTo>
                    <a:pt x="173" y="132"/>
                  </a:lnTo>
                  <a:lnTo>
                    <a:pt x="175" y="132"/>
                  </a:lnTo>
                  <a:lnTo>
                    <a:pt x="175" y="134"/>
                  </a:lnTo>
                  <a:lnTo>
                    <a:pt x="175" y="136"/>
                  </a:lnTo>
                  <a:lnTo>
                    <a:pt x="177" y="136"/>
                  </a:lnTo>
                  <a:lnTo>
                    <a:pt x="179" y="136"/>
                  </a:lnTo>
                  <a:lnTo>
                    <a:pt x="179" y="138"/>
                  </a:lnTo>
                  <a:lnTo>
                    <a:pt x="179" y="140"/>
                  </a:lnTo>
                  <a:lnTo>
                    <a:pt x="177" y="140"/>
                  </a:lnTo>
                  <a:lnTo>
                    <a:pt x="177" y="142"/>
                  </a:lnTo>
                  <a:lnTo>
                    <a:pt x="177" y="144"/>
                  </a:lnTo>
                  <a:lnTo>
                    <a:pt x="177" y="146"/>
                  </a:lnTo>
                  <a:lnTo>
                    <a:pt x="177" y="148"/>
                  </a:lnTo>
                  <a:lnTo>
                    <a:pt x="179" y="148"/>
                  </a:lnTo>
                  <a:lnTo>
                    <a:pt x="179" y="150"/>
                  </a:lnTo>
                  <a:lnTo>
                    <a:pt x="181" y="150"/>
                  </a:lnTo>
                  <a:lnTo>
                    <a:pt x="183" y="150"/>
                  </a:lnTo>
                  <a:lnTo>
                    <a:pt x="183" y="152"/>
                  </a:lnTo>
                  <a:lnTo>
                    <a:pt x="185" y="152"/>
                  </a:lnTo>
                  <a:lnTo>
                    <a:pt x="186" y="152"/>
                  </a:lnTo>
                  <a:lnTo>
                    <a:pt x="188" y="152"/>
                  </a:lnTo>
                  <a:lnTo>
                    <a:pt x="188" y="150"/>
                  </a:lnTo>
                  <a:lnTo>
                    <a:pt x="188" y="152"/>
                  </a:lnTo>
                  <a:lnTo>
                    <a:pt x="188" y="153"/>
                  </a:lnTo>
                  <a:lnTo>
                    <a:pt x="188" y="155"/>
                  </a:lnTo>
                  <a:lnTo>
                    <a:pt x="186" y="155"/>
                  </a:lnTo>
                  <a:lnTo>
                    <a:pt x="186" y="157"/>
                  </a:lnTo>
                  <a:lnTo>
                    <a:pt x="186" y="159"/>
                  </a:lnTo>
                  <a:lnTo>
                    <a:pt x="185" y="159"/>
                  </a:lnTo>
                  <a:lnTo>
                    <a:pt x="183" y="159"/>
                  </a:lnTo>
                  <a:lnTo>
                    <a:pt x="183" y="161"/>
                  </a:lnTo>
                  <a:lnTo>
                    <a:pt x="183" y="159"/>
                  </a:lnTo>
                  <a:lnTo>
                    <a:pt x="183" y="161"/>
                  </a:lnTo>
                  <a:lnTo>
                    <a:pt x="183" y="159"/>
                  </a:lnTo>
                  <a:lnTo>
                    <a:pt x="183" y="161"/>
                  </a:lnTo>
                  <a:lnTo>
                    <a:pt x="183" y="159"/>
                  </a:lnTo>
                  <a:lnTo>
                    <a:pt x="183" y="161"/>
                  </a:lnTo>
                  <a:lnTo>
                    <a:pt x="181" y="161"/>
                  </a:lnTo>
                  <a:lnTo>
                    <a:pt x="181" y="163"/>
                  </a:lnTo>
                  <a:lnTo>
                    <a:pt x="181" y="161"/>
                  </a:lnTo>
                  <a:lnTo>
                    <a:pt x="181" y="163"/>
                  </a:lnTo>
                  <a:lnTo>
                    <a:pt x="179" y="163"/>
                  </a:lnTo>
                  <a:lnTo>
                    <a:pt x="177" y="163"/>
                  </a:lnTo>
                  <a:lnTo>
                    <a:pt x="177" y="165"/>
                  </a:lnTo>
                  <a:lnTo>
                    <a:pt x="175" y="165"/>
                  </a:lnTo>
                  <a:lnTo>
                    <a:pt x="175" y="167"/>
                  </a:lnTo>
                  <a:lnTo>
                    <a:pt x="173" y="167"/>
                  </a:lnTo>
                  <a:lnTo>
                    <a:pt x="173" y="169"/>
                  </a:lnTo>
                  <a:lnTo>
                    <a:pt x="173" y="171"/>
                  </a:lnTo>
                  <a:lnTo>
                    <a:pt x="171" y="171"/>
                  </a:lnTo>
                  <a:lnTo>
                    <a:pt x="169" y="171"/>
                  </a:lnTo>
                  <a:lnTo>
                    <a:pt x="169" y="173"/>
                  </a:lnTo>
                  <a:lnTo>
                    <a:pt x="167" y="173"/>
                  </a:lnTo>
                  <a:lnTo>
                    <a:pt x="167" y="171"/>
                  </a:lnTo>
                  <a:lnTo>
                    <a:pt x="167" y="173"/>
                  </a:lnTo>
                  <a:lnTo>
                    <a:pt x="167" y="171"/>
                  </a:lnTo>
                  <a:lnTo>
                    <a:pt x="167" y="173"/>
                  </a:lnTo>
                  <a:lnTo>
                    <a:pt x="165" y="173"/>
                  </a:lnTo>
                  <a:lnTo>
                    <a:pt x="163" y="173"/>
                  </a:lnTo>
                  <a:lnTo>
                    <a:pt x="163" y="171"/>
                  </a:lnTo>
                  <a:lnTo>
                    <a:pt x="162" y="171"/>
                  </a:lnTo>
                  <a:lnTo>
                    <a:pt x="163" y="171"/>
                  </a:lnTo>
                  <a:lnTo>
                    <a:pt x="162" y="171"/>
                  </a:lnTo>
                  <a:lnTo>
                    <a:pt x="162" y="173"/>
                  </a:lnTo>
                  <a:lnTo>
                    <a:pt x="162" y="171"/>
                  </a:lnTo>
                  <a:lnTo>
                    <a:pt x="162" y="173"/>
                  </a:lnTo>
                  <a:lnTo>
                    <a:pt x="163" y="173"/>
                  </a:lnTo>
                  <a:lnTo>
                    <a:pt x="162" y="173"/>
                  </a:lnTo>
                  <a:lnTo>
                    <a:pt x="160" y="173"/>
                  </a:lnTo>
                  <a:lnTo>
                    <a:pt x="162" y="173"/>
                  </a:lnTo>
                  <a:lnTo>
                    <a:pt x="162" y="171"/>
                  </a:lnTo>
                  <a:lnTo>
                    <a:pt x="162" y="173"/>
                  </a:lnTo>
                  <a:lnTo>
                    <a:pt x="162" y="171"/>
                  </a:lnTo>
                  <a:lnTo>
                    <a:pt x="160" y="171"/>
                  </a:lnTo>
                  <a:lnTo>
                    <a:pt x="162" y="171"/>
                  </a:lnTo>
                  <a:lnTo>
                    <a:pt x="160" y="171"/>
                  </a:lnTo>
                  <a:lnTo>
                    <a:pt x="158" y="171"/>
                  </a:lnTo>
                  <a:lnTo>
                    <a:pt x="158" y="169"/>
                  </a:lnTo>
                  <a:lnTo>
                    <a:pt x="158" y="171"/>
                  </a:lnTo>
                  <a:lnTo>
                    <a:pt x="158" y="169"/>
                  </a:lnTo>
                  <a:lnTo>
                    <a:pt x="156" y="171"/>
                  </a:lnTo>
                  <a:lnTo>
                    <a:pt x="156" y="169"/>
                  </a:lnTo>
                  <a:lnTo>
                    <a:pt x="156" y="171"/>
                  </a:lnTo>
                  <a:lnTo>
                    <a:pt x="156" y="169"/>
                  </a:lnTo>
                  <a:lnTo>
                    <a:pt x="156" y="171"/>
                  </a:lnTo>
                  <a:lnTo>
                    <a:pt x="156" y="169"/>
                  </a:lnTo>
                  <a:lnTo>
                    <a:pt x="154" y="169"/>
                  </a:lnTo>
                  <a:lnTo>
                    <a:pt x="154" y="171"/>
                  </a:lnTo>
                  <a:lnTo>
                    <a:pt x="154" y="169"/>
                  </a:lnTo>
                  <a:lnTo>
                    <a:pt x="154" y="167"/>
                  </a:lnTo>
                  <a:lnTo>
                    <a:pt x="152" y="167"/>
                  </a:lnTo>
                  <a:lnTo>
                    <a:pt x="150" y="167"/>
                  </a:lnTo>
                  <a:lnTo>
                    <a:pt x="148" y="167"/>
                  </a:lnTo>
                  <a:lnTo>
                    <a:pt x="148" y="165"/>
                  </a:lnTo>
                  <a:lnTo>
                    <a:pt x="148" y="167"/>
                  </a:lnTo>
                  <a:lnTo>
                    <a:pt x="150" y="167"/>
                  </a:lnTo>
                  <a:lnTo>
                    <a:pt x="148" y="165"/>
                  </a:lnTo>
                  <a:lnTo>
                    <a:pt x="148" y="167"/>
                  </a:lnTo>
                  <a:lnTo>
                    <a:pt x="148" y="165"/>
                  </a:lnTo>
                  <a:lnTo>
                    <a:pt x="146" y="165"/>
                  </a:lnTo>
                  <a:lnTo>
                    <a:pt x="148" y="165"/>
                  </a:lnTo>
                  <a:lnTo>
                    <a:pt x="146" y="165"/>
                  </a:lnTo>
                  <a:lnTo>
                    <a:pt x="146" y="167"/>
                  </a:lnTo>
                  <a:lnTo>
                    <a:pt x="146" y="165"/>
                  </a:lnTo>
                  <a:lnTo>
                    <a:pt x="146" y="167"/>
                  </a:lnTo>
                  <a:lnTo>
                    <a:pt x="148" y="167"/>
                  </a:lnTo>
                  <a:lnTo>
                    <a:pt x="146" y="167"/>
                  </a:lnTo>
                  <a:lnTo>
                    <a:pt x="144" y="167"/>
                  </a:lnTo>
                  <a:lnTo>
                    <a:pt x="142" y="167"/>
                  </a:lnTo>
                  <a:lnTo>
                    <a:pt x="142" y="165"/>
                  </a:lnTo>
                  <a:lnTo>
                    <a:pt x="140" y="165"/>
                  </a:lnTo>
                  <a:lnTo>
                    <a:pt x="138" y="165"/>
                  </a:lnTo>
                  <a:lnTo>
                    <a:pt x="137" y="165"/>
                  </a:lnTo>
                  <a:lnTo>
                    <a:pt x="137" y="163"/>
                  </a:lnTo>
                  <a:lnTo>
                    <a:pt x="135" y="163"/>
                  </a:lnTo>
                  <a:lnTo>
                    <a:pt x="137" y="163"/>
                  </a:lnTo>
                  <a:lnTo>
                    <a:pt x="135" y="163"/>
                  </a:lnTo>
                  <a:lnTo>
                    <a:pt x="137" y="163"/>
                  </a:lnTo>
                  <a:lnTo>
                    <a:pt x="135" y="163"/>
                  </a:lnTo>
                  <a:lnTo>
                    <a:pt x="133" y="163"/>
                  </a:lnTo>
                  <a:lnTo>
                    <a:pt x="133" y="165"/>
                  </a:lnTo>
                  <a:lnTo>
                    <a:pt x="131" y="165"/>
                  </a:lnTo>
                  <a:lnTo>
                    <a:pt x="131" y="167"/>
                  </a:lnTo>
                  <a:lnTo>
                    <a:pt x="131" y="165"/>
                  </a:lnTo>
                  <a:lnTo>
                    <a:pt x="131" y="167"/>
                  </a:lnTo>
                  <a:lnTo>
                    <a:pt x="131" y="165"/>
                  </a:lnTo>
                  <a:lnTo>
                    <a:pt x="131" y="167"/>
                  </a:lnTo>
                  <a:lnTo>
                    <a:pt x="131" y="165"/>
                  </a:lnTo>
                  <a:lnTo>
                    <a:pt x="131" y="167"/>
                  </a:lnTo>
                  <a:lnTo>
                    <a:pt x="131" y="165"/>
                  </a:lnTo>
                  <a:lnTo>
                    <a:pt x="131" y="167"/>
                  </a:lnTo>
                  <a:lnTo>
                    <a:pt x="129" y="167"/>
                  </a:lnTo>
                  <a:lnTo>
                    <a:pt x="127" y="167"/>
                  </a:lnTo>
                  <a:lnTo>
                    <a:pt x="129" y="167"/>
                  </a:lnTo>
                  <a:lnTo>
                    <a:pt x="127" y="167"/>
                  </a:lnTo>
                  <a:lnTo>
                    <a:pt x="127" y="169"/>
                  </a:lnTo>
                  <a:lnTo>
                    <a:pt x="125" y="169"/>
                  </a:lnTo>
                  <a:lnTo>
                    <a:pt x="123" y="169"/>
                  </a:lnTo>
                  <a:lnTo>
                    <a:pt x="123" y="171"/>
                  </a:lnTo>
                  <a:lnTo>
                    <a:pt x="121" y="171"/>
                  </a:lnTo>
                  <a:lnTo>
                    <a:pt x="121" y="173"/>
                  </a:lnTo>
                  <a:lnTo>
                    <a:pt x="121" y="171"/>
                  </a:lnTo>
                  <a:lnTo>
                    <a:pt x="121" y="173"/>
                  </a:lnTo>
                  <a:lnTo>
                    <a:pt x="121" y="175"/>
                  </a:lnTo>
                  <a:lnTo>
                    <a:pt x="121" y="177"/>
                  </a:lnTo>
                  <a:lnTo>
                    <a:pt x="121" y="178"/>
                  </a:lnTo>
                  <a:lnTo>
                    <a:pt x="121" y="180"/>
                  </a:lnTo>
                  <a:lnTo>
                    <a:pt x="119" y="180"/>
                  </a:lnTo>
                  <a:lnTo>
                    <a:pt x="121" y="180"/>
                  </a:lnTo>
                  <a:lnTo>
                    <a:pt x="119" y="180"/>
                  </a:lnTo>
                  <a:lnTo>
                    <a:pt x="121" y="180"/>
                  </a:lnTo>
                  <a:lnTo>
                    <a:pt x="119" y="180"/>
                  </a:lnTo>
                  <a:lnTo>
                    <a:pt x="121" y="180"/>
                  </a:lnTo>
                  <a:lnTo>
                    <a:pt x="119" y="180"/>
                  </a:lnTo>
                  <a:lnTo>
                    <a:pt x="121" y="180"/>
                  </a:lnTo>
                  <a:lnTo>
                    <a:pt x="121" y="182"/>
                  </a:lnTo>
                  <a:lnTo>
                    <a:pt x="119" y="182"/>
                  </a:lnTo>
                  <a:lnTo>
                    <a:pt x="121" y="182"/>
                  </a:lnTo>
                  <a:lnTo>
                    <a:pt x="119" y="182"/>
                  </a:lnTo>
                  <a:lnTo>
                    <a:pt x="121" y="182"/>
                  </a:lnTo>
                  <a:lnTo>
                    <a:pt x="121" y="184"/>
                  </a:lnTo>
                  <a:lnTo>
                    <a:pt x="123" y="184"/>
                  </a:lnTo>
                  <a:lnTo>
                    <a:pt x="121" y="184"/>
                  </a:lnTo>
                  <a:lnTo>
                    <a:pt x="123" y="184"/>
                  </a:lnTo>
                  <a:lnTo>
                    <a:pt x="123" y="186"/>
                  </a:lnTo>
                  <a:lnTo>
                    <a:pt x="121" y="186"/>
                  </a:lnTo>
                  <a:lnTo>
                    <a:pt x="121" y="184"/>
                  </a:lnTo>
                  <a:lnTo>
                    <a:pt x="119" y="184"/>
                  </a:lnTo>
                  <a:lnTo>
                    <a:pt x="117" y="184"/>
                  </a:lnTo>
                  <a:lnTo>
                    <a:pt x="117" y="186"/>
                  </a:lnTo>
                  <a:lnTo>
                    <a:pt x="115" y="186"/>
                  </a:lnTo>
                  <a:lnTo>
                    <a:pt x="115" y="188"/>
                  </a:lnTo>
                  <a:lnTo>
                    <a:pt x="115" y="186"/>
                  </a:lnTo>
                  <a:lnTo>
                    <a:pt x="115" y="188"/>
                  </a:lnTo>
                  <a:lnTo>
                    <a:pt x="115" y="186"/>
                  </a:lnTo>
                  <a:lnTo>
                    <a:pt x="114" y="186"/>
                  </a:lnTo>
                  <a:lnTo>
                    <a:pt x="114" y="188"/>
                  </a:lnTo>
                  <a:lnTo>
                    <a:pt x="112" y="186"/>
                  </a:lnTo>
                  <a:lnTo>
                    <a:pt x="112" y="188"/>
                  </a:lnTo>
                  <a:lnTo>
                    <a:pt x="112" y="186"/>
                  </a:lnTo>
                  <a:lnTo>
                    <a:pt x="110" y="186"/>
                  </a:lnTo>
                  <a:lnTo>
                    <a:pt x="110" y="184"/>
                  </a:lnTo>
                  <a:lnTo>
                    <a:pt x="110" y="186"/>
                  </a:lnTo>
                  <a:lnTo>
                    <a:pt x="108" y="186"/>
                  </a:lnTo>
                  <a:lnTo>
                    <a:pt x="106" y="186"/>
                  </a:lnTo>
                  <a:lnTo>
                    <a:pt x="104" y="186"/>
                  </a:lnTo>
                  <a:lnTo>
                    <a:pt x="104" y="184"/>
                  </a:lnTo>
                  <a:lnTo>
                    <a:pt x="102" y="184"/>
                  </a:lnTo>
                  <a:lnTo>
                    <a:pt x="102" y="182"/>
                  </a:lnTo>
                  <a:lnTo>
                    <a:pt x="100" y="182"/>
                  </a:lnTo>
                  <a:lnTo>
                    <a:pt x="100" y="180"/>
                  </a:lnTo>
                  <a:lnTo>
                    <a:pt x="98" y="180"/>
                  </a:lnTo>
                  <a:lnTo>
                    <a:pt x="98" y="182"/>
                  </a:lnTo>
                  <a:lnTo>
                    <a:pt x="96" y="182"/>
                  </a:lnTo>
                  <a:lnTo>
                    <a:pt x="96" y="180"/>
                  </a:lnTo>
                  <a:lnTo>
                    <a:pt x="94" y="180"/>
                  </a:lnTo>
                  <a:lnTo>
                    <a:pt x="92" y="180"/>
                  </a:lnTo>
                  <a:lnTo>
                    <a:pt x="92" y="178"/>
                  </a:lnTo>
                  <a:lnTo>
                    <a:pt x="91" y="178"/>
                  </a:lnTo>
                  <a:lnTo>
                    <a:pt x="89" y="178"/>
                  </a:lnTo>
                  <a:lnTo>
                    <a:pt x="89" y="177"/>
                  </a:lnTo>
                  <a:lnTo>
                    <a:pt x="87" y="177"/>
                  </a:lnTo>
                  <a:lnTo>
                    <a:pt x="85" y="177"/>
                  </a:lnTo>
                  <a:lnTo>
                    <a:pt x="85" y="178"/>
                  </a:lnTo>
                  <a:lnTo>
                    <a:pt x="87" y="178"/>
                  </a:lnTo>
                  <a:lnTo>
                    <a:pt x="85" y="178"/>
                  </a:lnTo>
                  <a:lnTo>
                    <a:pt x="87" y="178"/>
                  </a:lnTo>
                  <a:lnTo>
                    <a:pt x="87" y="180"/>
                  </a:lnTo>
                  <a:lnTo>
                    <a:pt x="85" y="180"/>
                  </a:lnTo>
                  <a:lnTo>
                    <a:pt x="83" y="180"/>
                  </a:lnTo>
                  <a:lnTo>
                    <a:pt x="81" y="180"/>
                  </a:lnTo>
                  <a:lnTo>
                    <a:pt x="79" y="180"/>
                  </a:lnTo>
                  <a:lnTo>
                    <a:pt x="79" y="178"/>
                  </a:lnTo>
                  <a:lnTo>
                    <a:pt x="79" y="180"/>
                  </a:lnTo>
                  <a:lnTo>
                    <a:pt x="77" y="180"/>
                  </a:lnTo>
                  <a:lnTo>
                    <a:pt x="75" y="180"/>
                  </a:lnTo>
                  <a:lnTo>
                    <a:pt x="77" y="180"/>
                  </a:lnTo>
                  <a:lnTo>
                    <a:pt x="75" y="180"/>
                  </a:lnTo>
                  <a:lnTo>
                    <a:pt x="75" y="178"/>
                  </a:lnTo>
                  <a:lnTo>
                    <a:pt x="73" y="178"/>
                  </a:lnTo>
                  <a:lnTo>
                    <a:pt x="71" y="178"/>
                  </a:lnTo>
                  <a:lnTo>
                    <a:pt x="71" y="177"/>
                  </a:lnTo>
                  <a:lnTo>
                    <a:pt x="71" y="178"/>
                  </a:lnTo>
                  <a:lnTo>
                    <a:pt x="69" y="178"/>
                  </a:lnTo>
                  <a:lnTo>
                    <a:pt x="69" y="177"/>
                  </a:lnTo>
                  <a:lnTo>
                    <a:pt x="67" y="178"/>
                  </a:lnTo>
                  <a:lnTo>
                    <a:pt x="67" y="177"/>
                  </a:lnTo>
                  <a:lnTo>
                    <a:pt x="66" y="177"/>
                  </a:lnTo>
                  <a:lnTo>
                    <a:pt x="66" y="175"/>
                  </a:lnTo>
                  <a:lnTo>
                    <a:pt x="64" y="175"/>
                  </a:lnTo>
                  <a:lnTo>
                    <a:pt x="62" y="175"/>
                  </a:lnTo>
                  <a:lnTo>
                    <a:pt x="60" y="175"/>
                  </a:lnTo>
                  <a:lnTo>
                    <a:pt x="60" y="173"/>
                  </a:lnTo>
                  <a:lnTo>
                    <a:pt x="60" y="175"/>
                  </a:lnTo>
                  <a:lnTo>
                    <a:pt x="60" y="173"/>
                  </a:lnTo>
                  <a:lnTo>
                    <a:pt x="58" y="173"/>
                  </a:lnTo>
                  <a:lnTo>
                    <a:pt x="56" y="173"/>
                  </a:lnTo>
                  <a:lnTo>
                    <a:pt x="58" y="173"/>
                  </a:lnTo>
                  <a:lnTo>
                    <a:pt x="58" y="171"/>
                  </a:lnTo>
                  <a:lnTo>
                    <a:pt x="56" y="171"/>
                  </a:lnTo>
                  <a:lnTo>
                    <a:pt x="56" y="173"/>
                  </a:lnTo>
                  <a:lnTo>
                    <a:pt x="54" y="173"/>
                  </a:lnTo>
                  <a:lnTo>
                    <a:pt x="54" y="171"/>
                  </a:lnTo>
                  <a:lnTo>
                    <a:pt x="56" y="171"/>
                  </a:lnTo>
                  <a:lnTo>
                    <a:pt x="56" y="169"/>
                  </a:lnTo>
                  <a:lnTo>
                    <a:pt x="54" y="169"/>
                  </a:lnTo>
                  <a:lnTo>
                    <a:pt x="52" y="169"/>
                  </a:lnTo>
                  <a:lnTo>
                    <a:pt x="54" y="169"/>
                  </a:lnTo>
                  <a:lnTo>
                    <a:pt x="52" y="169"/>
                  </a:lnTo>
                  <a:lnTo>
                    <a:pt x="52" y="167"/>
                  </a:lnTo>
                  <a:lnTo>
                    <a:pt x="50" y="167"/>
                  </a:lnTo>
                  <a:lnTo>
                    <a:pt x="50" y="169"/>
                  </a:lnTo>
                  <a:lnTo>
                    <a:pt x="50" y="167"/>
                  </a:lnTo>
                  <a:lnTo>
                    <a:pt x="52" y="167"/>
                  </a:lnTo>
                  <a:lnTo>
                    <a:pt x="52" y="165"/>
                  </a:lnTo>
                  <a:lnTo>
                    <a:pt x="52" y="167"/>
                  </a:lnTo>
                  <a:lnTo>
                    <a:pt x="52" y="165"/>
                  </a:lnTo>
                  <a:lnTo>
                    <a:pt x="54" y="165"/>
                  </a:lnTo>
                  <a:lnTo>
                    <a:pt x="54" y="163"/>
                  </a:lnTo>
                  <a:lnTo>
                    <a:pt x="54" y="165"/>
                  </a:lnTo>
                  <a:lnTo>
                    <a:pt x="54" y="163"/>
                  </a:lnTo>
                  <a:lnTo>
                    <a:pt x="54" y="161"/>
                  </a:lnTo>
                  <a:lnTo>
                    <a:pt x="54" y="159"/>
                  </a:lnTo>
                  <a:lnTo>
                    <a:pt x="56" y="159"/>
                  </a:lnTo>
                  <a:lnTo>
                    <a:pt x="56" y="157"/>
                  </a:lnTo>
                  <a:lnTo>
                    <a:pt x="56" y="155"/>
                  </a:lnTo>
                  <a:lnTo>
                    <a:pt x="56" y="153"/>
                  </a:lnTo>
                  <a:lnTo>
                    <a:pt x="56" y="152"/>
                  </a:lnTo>
                  <a:lnTo>
                    <a:pt x="56" y="150"/>
                  </a:lnTo>
                  <a:lnTo>
                    <a:pt x="58" y="148"/>
                  </a:lnTo>
                  <a:lnTo>
                    <a:pt x="58" y="146"/>
                  </a:lnTo>
                  <a:lnTo>
                    <a:pt x="58" y="144"/>
                  </a:lnTo>
                  <a:lnTo>
                    <a:pt x="58" y="142"/>
                  </a:lnTo>
                  <a:lnTo>
                    <a:pt x="58" y="140"/>
                  </a:lnTo>
                  <a:lnTo>
                    <a:pt x="60" y="140"/>
                  </a:lnTo>
                  <a:lnTo>
                    <a:pt x="62" y="140"/>
                  </a:lnTo>
                  <a:lnTo>
                    <a:pt x="60" y="140"/>
                  </a:lnTo>
                  <a:lnTo>
                    <a:pt x="62" y="140"/>
                  </a:lnTo>
                  <a:lnTo>
                    <a:pt x="60" y="140"/>
                  </a:lnTo>
                  <a:lnTo>
                    <a:pt x="60" y="138"/>
                  </a:lnTo>
                  <a:lnTo>
                    <a:pt x="58" y="138"/>
                  </a:lnTo>
                  <a:lnTo>
                    <a:pt x="58" y="140"/>
                  </a:lnTo>
                  <a:lnTo>
                    <a:pt x="58" y="142"/>
                  </a:lnTo>
                  <a:lnTo>
                    <a:pt x="58" y="140"/>
                  </a:lnTo>
                  <a:lnTo>
                    <a:pt x="58" y="138"/>
                  </a:lnTo>
                  <a:lnTo>
                    <a:pt x="58" y="136"/>
                  </a:lnTo>
                  <a:lnTo>
                    <a:pt x="58" y="134"/>
                  </a:lnTo>
                  <a:lnTo>
                    <a:pt x="58" y="132"/>
                  </a:lnTo>
                  <a:lnTo>
                    <a:pt x="58" y="130"/>
                  </a:lnTo>
                  <a:lnTo>
                    <a:pt x="58" y="129"/>
                  </a:lnTo>
                  <a:lnTo>
                    <a:pt x="60" y="127"/>
                  </a:lnTo>
                  <a:lnTo>
                    <a:pt x="60" y="125"/>
                  </a:lnTo>
                  <a:lnTo>
                    <a:pt x="60" y="123"/>
                  </a:lnTo>
                  <a:lnTo>
                    <a:pt x="60" y="121"/>
                  </a:lnTo>
                  <a:lnTo>
                    <a:pt x="60" y="123"/>
                  </a:lnTo>
                  <a:lnTo>
                    <a:pt x="62" y="123"/>
                  </a:lnTo>
                  <a:lnTo>
                    <a:pt x="62" y="125"/>
                  </a:lnTo>
                  <a:lnTo>
                    <a:pt x="64" y="125"/>
                  </a:lnTo>
                  <a:lnTo>
                    <a:pt x="64" y="127"/>
                  </a:lnTo>
                  <a:lnTo>
                    <a:pt x="66" y="127"/>
                  </a:lnTo>
                  <a:lnTo>
                    <a:pt x="66" y="129"/>
                  </a:lnTo>
                  <a:lnTo>
                    <a:pt x="66" y="130"/>
                  </a:lnTo>
                  <a:lnTo>
                    <a:pt x="66" y="132"/>
                  </a:lnTo>
                  <a:lnTo>
                    <a:pt x="67" y="132"/>
                  </a:lnTo>
                  <a:lnTo>
                    <a:pt x="67" y="134"/>
                  </a:lnTo>
                  <a:lnTo>
                    <a:pt x="67" y="136"/>
                  </a:lnTo>
                  <a:lnTo>
                    <a:pt x="67" y="134"/>
                  </a:lnTo>
                  <a:lnTo>
                    <a:pt x="67" y="132"/>
                  </a:lnTo>
                  <a:lnTo>
                    <a:pt x="69" y="132"/>
                  </a:lnTo>
                  <a:lnTo>
                    <a:pt x="69" y="134"/>
                  </a:lnTo>
                  <a:lnTo>
                    <a:pt x="69" y="132"/>
                  </a:lnTo>
                  <a:lnTo>
                    <a:pt x="67" y="132"/>
                  </a:lnTo>
                  <a:lnTo>
                    <a:pt x="66" y="132"/>
                  </a:lnTo>
                  <a:lnTo>
                    <a:pt x="66" y="130"/>
                  </a:lnTo>
                  <a:lnTo>
                    <a:pt x="66" y="129"/>
                  </a:lnTo>
                  <a:lnTo>
                    <a:pt x="66" y="127"/>
                  </a:lnTo>
                  <a:lnTo>
                    <a:pt x="66" y="125"/>
                  </a:lnTo>
                  <a:lnTo>
                    <a:pt x="64" y="125"/>
                  </a:lnTo>
                  <a:lnTo>
                    <a:pt x="64" y="123"/>
                  </a:lnTo>
                  <a:lnTo>
                    <a:pt x="62" y="123"/>
                  </a:lnTo>
                  <a:lnTo>
                    <a:pt x="62" y="121"/>
                  </a:lnTo>
                  <a:lnTo>
                    <a:pt x="62" y="123"/>
                  </a:lnTo>
                  <a:lnTo>
                    <a:pt x="62" y="121"/>
                  </a:lnTo>
                  <a:lnTo>
                    <a:pt x="60" y="121"/>
                  </a:lnTo>
                  <a:lnTo>
                    <a:pt x="60" y="119"/>
                  </a:lnTo>
                  <a:lnTo>
                    <a:pt x="58" y="119"/>
                  </a:lnTo>
                  <a:lnTo>
                    <a:pt x="58" y="117"/>
                  </a:lnTo>
                  <a:lnTo>
                    <a:pt x="60" y="117"/>
                  </a:lnTo>
                  <a:lnTo>
                    <a:pt x="60" y="115"/>
                  </a:lnTo>
                  <a:lnTo>
                    <a:pt x="58" y="115"/>
                  </a:lnTo>
                  <a:lnTo>
                    <a:pt x="60" y="115"/>
                  </a:lnTo>
                  <a:lnTo>
                    <a:pt x="58" y="115"/>
                  </a:lnTo>
                  <a:lnTo>
                    <a:pt x="60" y="115"/>
                  </a:lnTo>
                  <a:lnTo>
                    <a:pt x="58" y="115"/>
                  </a:lnTo>
                  <a:lnTo>
                    <a:pt x="60" y="115"/>
                  </a:lnTo>
                  <a:lnTo>
                    <a:pt x="60" y="113"/>
                  </a:lnTo>
                  <a:lnTo>
                    <a:pt x="62" y="113"/>
                  </a:lnTo>
                  <a:lnTo>
                    <a:pt x="62" y="115"/>
                  </a:lnTo>
                  <a:lnTo>
                    <a:pt x="62" y="113"/>
                  </a:lnTo>
                  <a:lnTo>
                    <a:pt x="60" y="113"/>
                  </a:lnTo>
                  <a:lnTo>
                    <a:pt x="60" y="111"/>
                  </a:lnTo>
                  <a:lnTo>
                    <a:pt x="60" y="109"/>
                  </a:lnTo>
                  <a:lnTo>
                    <a:pt x="58" y="109"/>
                  </a:lnTo>
                  <a:lnTo>
                    <a:pt x="60" y="109"/>
                  </a:lnTo>
                  <a:lnTo>
                    <a:pt x="58" y="109"/>
                  </a:lnTo>
                  <a:lnTo>
                    <a:pt x="60" y="109"/>
                  </a:lnTo>
                  <a:lnTo>
                    <a:pt x="58" y="109"/>
                  </a:lnTo>
                  <a:lnTo>
                    <a:pt x="60" y="109"/>
                  </a:lnTo>
                  <a:lnTo>
                    <a:pt x="58" y="109"/>
                  </a:lnTo>
                  <a:lnTo>
                    <a:pt x="58" y="107"/>
                  </a:lnTo>
                  <a:lnTo>
                    <a:pt x="60" y="107"/>
                  </a:lnTo>
                  <a:lnTo>
                    <a:pt x="60" y="105"/>
                  </a:lnTo>
                  <a:lnTo>
                    <a:pt x="58" y="105"/>
                  </a:lnTo>
                  <a:lnTo>
                    <a:pt x="58" y="107"/>
                  </a:lnTo>
                  <a:lnTo>
                    <a:pt x="58" y="105"/>
                  </a:lnTo>
                  <a:lnTo>
                    <a:pt x="56" y="105"/>
                  </a:lnTo>
                  <a:lnTo>
                    <a:pt x="58" y="105"/>
                  </a:lnTo>
                  <a:lnTo>
                    <a:pt x="56" y="105"/>
                  </a:lnTo>
                  <a:lnTo>
                    <a:pt x="54" y="105"/>
                  </a:lnTo>
                  <a:lnTo>
                    <a:pt x="54" y="104"/>
                  </a:lnTo>
                  <a:lnTo>
                    <a:pt x="52" y="104"/>
                  </a:lnTo>
                  <a:lnTo>
                    <a:pt x="50" y="104"/>
                  </a:lnTo>
                  <a:lnTo>
                    <a:pt x="50" y="102"/>
                  </a:lnTo>
                  <a:lnTo>
                    <a:pt x="48" y="102"/>
                  </a:lnTo>
                  <a:lnTo>
                    <a:pt x="48" y="100"/>
                  </a:lnTo>
                  <a:lnTo>
                    <a:pt x="48" y="98"/>
                  </a:lnTo>
                  <a:lnTo>
                    <a:pt x="46" y="98"/>
                  </a:lnTo>
                  <a:lnTo>
                    <a:pt x="46" y="96"/>
                  </a:lnTo>
                  <a:lnTo>
                    <a:pt x="44" y="96"/>
                  </a:lnTo>
                  <a:lnTo>
                    <a:pt x="44" y="94"/>
                  </a:lnTo>
                  <a:lnTo>
                    <a:pt x="44" y="92"/>
                  </a:lnTo>
                  <a:lnTo>
                    <a:pt x="46" y="92"/>
                  </a:lnTo>
                  <a:lnTo>
                    <a:pt x="46" y="90"/>
                  </a:lnTo>
                  <a:lnTo>
                    <a:pt x="46" y="88"/>
                  </a:lnTo>
                  <a:lnTo>
                    <a:pt x="44" y="88"/>
                  </a:lnTo>
                  <a:lnTo>
                    <a:pt x="43" y="88"/>
                  </a:lnTo>
                  <a:lnTo>
                    <a:pt x="44" y="88"/>
                  </a:lnTo>
                  <a:lnTo>
                    <a:pt x="44" y="86"/>
                  </a:lnTo>
                  <a:lnTo>
                    <a:pt x="44" y="84"/>
                  </a:lnTo>
                  <a:lnTo>
                    <a:pt x="46" y="84"/>
                  </a:lnTo>
                  <a:lnTo>
                    <a:pt x="44" y="84"/>
                  </a:lnTo>
                  <a:lnTo>
                    <a:pt x="44" y="86"/>
                  </a:lnTo>
                  <a:lnTo>
                    <a:pt x="43" y="86"/>
                  </a:lnTo>
                  <a:lnTo>
                    <a:pt x="41" y="86"/>
                  </a:lnTo>
                  <a:lnTo>
                    <a:pt x="43" y="86"/>
                  </a:lnTo>
                  <a:lnTo>
                    <a:pt x="41" y="86"/>
                  </a:lnTo>
                  <a:lnTo>
                    <a:pt x="43" y="86"/>
                  </a:lnTo>
                  <a:lnTo>
                    <a:pt x="41" y="86"/>
                  </a:lnTo>
                  <a:lnTo>
                    <a:pt x="41" y="84"/>
                  </a:lnTo>
                  <a:lnTo>
                    <a:pt x="41" y="86"/>
                  </a:lnTo>
                  <a:lnTo>
                    <a:pt x="41" y="84"/>
                  </a:lnTo>
                  <a:lnTo>
                    <a:pt x="39" y="84"/>
                  </a:lnTo>
                  <a:lnTo>
                    <a:pt x="41" y="84"/>
                  </a:lnTo>
                  <a:lnTo>
                    <a:pt x="39" y="84"/>
                  </a:lnTo>
                  <a:lnTo>
                    <a:pt x="41" y="84"/>
                  </a:lnTo>
                  <a:lnTo>
                    <a:pt x="39" y="84"/>
                  </a:lnTo>
                  <a:lnTo>
                    <a:pt x="41" y="84"/>
                  </a:lnTo>
                  <a:lnTo>
                    <a:pt x="39" y="84"/>
                  </a:lnTo>
                  <a:lnTo>
                    <a:pt x="39" y="82"/>
                  </a:lnTo>
                  <a:lnTo>
                    <a:pt x="39" y="84"/>
                  </a:lnTo>
                  <a:lnTo>
                    <a:pt x="39" y="82"/>
                  </a:lnTo>
                  <a:lnTo>
                    <a:pt x="41" y="82"/>
                  </a:lnTo>
                  <a:lnTo>
                    <a:pt x="41" y="80"/>
                  </a:lnTo>
                  <a:lnTo>
                    <a:pt x="41" y="82"/>
                  </a:lnTo>
                  <a:lnTo>
                    <a:pt x="39" y="82"/>
                  </a:lnTo>
                  <a:lnTo>
                    <a:pt x="39" y="80"/>
                  </a:lnTo>
                  <a:lnTo>
                    <a:pt x="39" y="82"/>
                  </a:lnTo>
                  <a:lnTo>
                    <a:pt x="39" y="80"/>
                  </a:lnTo>
                  <a:lnTo>
                    <a:pt x="41" y="80"/>
                  </a:lnTo>
                  <a:lnTo>
                    <a:pt x="39" y="80"/>
                  </a:lnTo>
                  <a:lnTo>
                    <a:pt x="37" y="80"/>
                  </a:lnTo>
                  <a:lnTo>
                    <a:pt x="39" y="80"/>
                  </a:lnTo>
                  <a:lnTo>
                    <a:pt x="37" y="80"/>
                  </a:lnTo>
                  <a:lnTo>
                    <a:pt x="39" y="80"/>
                  </a:lnTo>
                  <a:lnTo>
                    <a:pt x="39" y="79"/>
                  </a:lnTo>
                  <a:lnTo>
                    <a:pt x="39" y="80"/>
                  </a:lnTo>
                  <a:lnTo>
                    <a:pt x="37" y="80"/>
                  </a:lnTo>
                  <a:lnTo>
                    <a:pt x="37" y="79"/>
                  </a:lnTo>
                  <a:lnTo>
                    <a:pt x="37" y="80"/>
                  </a:lnTo>
                  <a:lnTo>
                    <a:pt x="35" y="80"/>
                  </a:lnTo>
                  <a:lnTo>
                    <a:pt x="33" y="80"/>
                  </a:lnTo>
                  <a:lnTo>
                    <a:pt x="33" y="79"/>
                  </a:lnTo>
                  <a:lnTo>
                    <a:pt x="35" y="79"/>
                  </a:lnTo>
                  <a:lnTo>
                    <a:pt x="35" y="80"/>
                  </a:lnTo>
                  <a:lnTo>
                    <a:pt x="35" y="79"/>
                  </a:lnTo>
                  <a:lnTo>
                    <a:pt x="35" y="80"/>
                  </a:lnTo>
                  <a:lnTo>
                    <a:pt x="35" y="79"/>
                  </a:lnTo>
                  <a:lnTo>
                    <a:pt x="35" y="80"/>
                  </a:lnTo>
                  <a:lnTo>
                    <a:pt x="35" y="79"/>
                  </a:lnTo>
                  <a:lnTo>
                    <a:pt x="37" y="79"/>
                  </a:lnTo>
                  <a:lnTo>
                    <a:pt x="37" y="77"/>
                  </a:lnTo>
                  <a:lnTo>
                    <a:pt x="37" y="79"/>
                  </a:lnTo>
                  <a:lnTo>
                    <a:pt x="35" y="79"/>
                  </a:lnTo>
                  <a:lnTo>
                    <a:pt x="37" y="79"/>
                  </a:lnTo>
                  <a:lnTo>
                    <a:pt x="35" y="79"/>
                  </a:lnTo>
                  <a:lnTo>
                    <a:pt x="35" y="77"/>
                  </a:lnTo>
                  <a:lnTo>
                    <a:pt x="35" y="79"/>
                  </a:lnTo>
                  <a:lnTo>
                    <a:pt x="35" y="77"/>
                  </a:lnTo>
                  <a:lnTo>
                    <a:pt x="35" y="79"/>
                  </a:lnTo>
                  <a:lnTo>
                    <a:pt x="33" y="79"/>
                  </a:lnTo>
                  <a:lnTo>
                    <a:pt x="33" y="77"/>
                  </a:lnTo>
                  <a:lnTo>
                    <a:pt x="33" y="79"/>
                  </a:lnTo>
                  <a:lnTo>
                    <a:pt x="31" y="79"/>
                  </a:lnTo>
                  <a:lnTo>
                    <a:pt x="31" y="80"/>
                  </a:lnTo>
                  <a:lnTo>
                    <a:pt x="29" y="80"/>
                  </a:lnTo>
                  <a:lnTo>
                    <a:pt x="31" y="80"/>
                  </a:lnTo>
                  <a:lnTo>
                    <a:pt x="29" y="80"/>
                  </a:lnTo>
                  <a:lnTo>
                    <a:pt x="29" y="79"/>
                  </a:lnTo>
                  <a:lnTo>
                    <a:pt x="31" y="79"/>
                  </a:lnTo>
                  <a:lnTo>
                    <a:pt x="29" y="79"/>
                  </a:lnTo>
                  <a:lnTo>
                    <a:pt x="29" y="77"/>
                  </a:lnTo>
                  <a:lnTo>
                    <a:pt x="27" y="77"/>
                  </a:lnTo>
                  <a:lnTo>
                    <a:pt x="27" y="75"/>
                  </a:lnTo>
                  <a:lnTo>
                    <a:pt x="27" y="77"/>
                  </a:lnTo>
                  <a:lnTo>
                    <a:pt x="27" y="75"/>
                  </a:lnTo>
                  <a:lnTo>
                    <a:pt x="27" y="77"/>
                  </a:lnTo>
                  <a:lnTo>
                    <a:pt x="25" y="77"/>
                  </a:lnTo>
                  <a:lnTo>
                    <a:pt x="25" y="75"/>
                  </a:lnTo>
                  <a:lnTo>
                    <a:pt x="25" y="77"/>
                  </a:lnTo>
                  <a:lnTo>
                    <a:pt x="25" y="75"/>
                  </a:lnTo>
                  <a:lnTo>
                    <a:pt x="23" y="75"/>
                  </a:lnTo>
                  <a:lnTo>
                    <a:pt x="21" y="75"/>
                  </a:lnTo>
                  <a:lnTo>
                    <a:pt x="21" y="73"/>
                  </a:lnTo>
                  <a:lnTo>
                    <a:pt x="21" y="75"/>
                  </a:lnTo>
                  <a:lnTo>
                    <a:pt x="20" y="75"/>
                  </a:lnTo>
                  <a:lnTo>
                    <a:pt x="20" y="73"/>
                  </a:lnTo>
                  <a:lnTo>
                    <a:pt x="18" y="73"/>
                  </a:lnTo>
                  <a:lnTo>
                    <a:pt x="18" y="71"/>
                  </a:lnTo>
                  <a:lnTo>
                    <a:pt x="18" y="73"/>
                  </a:lnTo>
                  <a:lnTo>
                    <a:pt x="16" y="73"/>
                  </a:lnTo>
                  <a:lnTo>
                    <a:pt x="14" y="73"/>
                  </a:lnTo>
                  <a:lnTo>
                    <a:pt x="16" y="73"/>
                  </a:lnTo>
                  <a:lnTo>
                    <a:pt x="14" y="73"/>
                  </a:lnTo>
                  <a:lnTo>
                    <a:pt x="16" y="73"/>
                  </a:lnTo>
                  <a:lnTo>
                    <a:pt x="16" y="75"/>
                  </a:lnTo>
                  <a:lnTo>
                    <a:pt x="14" y="75"/>
                  </a:lnTo>
                  <a:lnTo>
                    <a:pt x="12" y="75"/>
                  </a:lnTo>
                  <a:lnTo>
                    <a:pt x="12" y="73"/>
                  </a:lnTo>
                  <a:lnTo>
                    <a:pt x="12" y="71"/>
                  </a:lnTo>
                  <a:lnTo>
                    <a:pt x="10" y="71"/>
                  </a:lnTo>
                  <a:lnTo>
                    <a:pt x="10" y="69"/>
                  </a:lnTo>
                  <a:lnTo>
                    <a:pt x="8" y="69"/>
                  </a:lnTo>
                  <a:lnTo>
                    <a:pt x="6" y="69"/>
                  </a:lnTo>
                  <a:lnTo>
                    <a:pt x="8" y="69"/>
                  </a:lnTo>
                  <a:lnTo>
                    <a:pt x="6" y="69"/>
                  </a:lnTo>
                  <a:lnTo>
                    <a:pt x="8" y="69"/>
                  </a:lnTo>
                  <a:lnTo>
                    <a:pt x="8" y="67"/>
                  </a:lnTo>
                  <a:lnTo>
                    <a:pt x="10" y="67"/>
                  </a:lnTo>
                  <a:lnTo>
                    <a:pt x="12" y="67"/>
                  </a:lnTo>
                  <a:lnTo>
                    <a:pt x="14" y="67"/>
                  </a:lnTo>
                  <a:lnTo>
                    <a:pt x="14" y="65"/>
                  </a:lnTo>
                  <a:lnTo>
                    <a:pt x="12" y="65"/>
                  </a:lnTo>
                  <a:lnTo>
                    <a:pt x="10" y="65"/>
                  </a:lnTo>
                  <a:lnTo>
                    <a:pt x="10" y="63"/>
                  </a:lnTo>
                  <a:lnTo>
                    <a:pt x="8" y="63"/>
                  </a:lnTo>
                  <a:lnTo>
                    <a:pt x="10" y="63"/>
                  </a:lnTo>
                  <a:lnTo>
                    <a:pt x="8" y="63"/>
                  </a:lnTo>
                  <a:lnTo>
                    <a:pt x="10" y="63"/>
                  </a:lnTo>
                  <a:lnTo>
                    <a:pt x="8" y="63"/>
                  </a:lnTo>
                  <a:lnTo>
                    <a:pt x="10" y="63"/>
                  </a:lnTo>
                  <a:lnTo>
                    <a:pt x="10" y="61"/>
                  </a:lnTo>
                  <a:lnTo>
                    <a:pt x="10" y="63"/>
                  </a:lnTo>
                  <a:lnTo>
                    <a:pt x="12" y="63"/>
                  </a:lnTo>
                  <a:lnTo>
                    <a:pt x="14" y="63"/>
                  </a:lnTo>
                  <a:lnTo>
                    <a:pt x="16" y="63"/>
                  </a:lnTo>
                  <a:lnTo>
                    <a:pt x="14" y="63"/>
                  </a:lnTo>
                  <a:lnTo>
                    <a:pt x="12" y="63"/>
                  </a:lnTo>
                  <a:lnTo>
                    <a:pt x="12" y="61"/>
                  </a:lnTo>
                  <a:lnTo>
                    <a:pt x="12" y="63"/>
                  </a:lnTo>
                  <a:lnTo>
                    <a:pt x="14" y="61"/>
                  </a:lnTo>
                  <a:lnTo>
                    <a:pt x="14" y="63"/>
                  </a:lnTo>
                  <a:lnTo>
                    <a:pt x="14" y="61"/>
                  </a:lnTo>
                  <a:lnTo>
                    <a:pt x="12" y="61"/>
                  </a:lnTo>
                  <a:lnTo>
                    <a:pt x="14" y="61"/>
                  </a:lnTo>
                  <a:lnTo>
                    <a:pt x="12" y="61"/>
                  </a:lnTo>
                  <a:lnTo>
                    <a:pt x="12" y="63"/>
                  </a:lnTo>
                  <a:lnTo>
                    <a:pt x="12" y="61"/>
                  </a:lnTo>
                  <a:lnTo>
                    <a:pt x="12" y="63"/>
                  </a:lnTo>
                  <a:lnTo>
                    <a:pt x="10" y="63"/>
                  </a:lnTo>
                  <a:lnTo>
                    <a:pt x="10" y="61"/>
                  </a:lnTo>
                  <a:lnTo>
                    <a:pt x="12" y="61"/>
                  </a:lnTo>
                  <a:lnTo>
                    <a:pt x="14" y="61"/>
                  </a:lnTo>
                  <a:lnTo>
                    <a:pt x="14" y="59"/>
                  </a:lnTo>
                  <a:lnTo>
                    <a:pt x="12" y="59"/>
                  </a:lnTo>
                  <a:lnTo>
                    <a:pt x="12" y="61"/>
                  </a:lnTo>
                  <a:lnTo>
                    <a:pt x="10" y="61"/>
                  </a:lnTo>
                  <a:lnTo>
                    <a:pt x="8" y="61"/>
                  </a:lnTo>
                  <a:lnTo>
                    <a:pt x="6" y="61"/>
                  </a:lnTo>
                  <a:lnTo>
                    <a:pt x="6" y="63"/>
                  </a:lnTo>
                  <a:lnTo>
                    <a:pt x="6" y="61"/>
                  </a:lnTo>
                  <a:lnTo>
                    <a:pt x="6" y="63"/>
                  </a:lnTo>
                  <a:lnTo>
                    <a:pt x="6" y="61"/>
                  </a:lnTo>
                  <a:lnTo>
                    <a:pt x="6" y="59"/>
                  </a:lnTo>
                  <a:lnTo>
                    <a:pt x="6" y="57"/>
                  </a:lnTo>
                  <a:lnTo>
                    <a:pt x="8" y="57"/>
                  </a:lnTo>
                  <a:lnTo>
                    <a:pt x="8" y="56"/>
                  </a:lnTo>
                  <a:lnTo>
                    <a:pt x="10" y="56"/>
                  </a:lnTo>
                  <a:lnTo>
                    <a:pt x="12" y="56"/>
                  </a:lnTo>
                  <a:lnTo>
                    <a:pt x="10" y="56"/>
                  </a:lnTo>
                  <a:lnTo>
                    <a:pt x="12" y="56"/>
                  </a:lnTo>
                  <a:lnTo>
                    <a:pt x="12" y="54"/>
                  </a:lnTo>
                  <a:lnTo>
                    <a:pt x="12" y="56"/>
                  </a:lnTo>
                  <a:lnTo>
                    <a:pt x="12" y="54"/>
                  </a:lnTo>
                  <a:lnTo>
                    <a:pt x="12" y="56"/>
                  </a:lnTo>
                  <a:lnTo>
                    <a:pt x="14" y="56"/>
                  </a:lnTo>
                  <a:lnTo>
                    <a:pt x="14" y="54"/>
                  </a:lnTo>
                  <a:lnTo>
                    <a:pt x="16" y="54"/>
                  </a:lnTo>
                  <a:lnTo>
                    <a:pt x="18" y="54"/>
                  </a:lnTo>
                  <a:lnTo>
                    <a:pt x="18" y="56"/>
                  </a:lnTo>
                  <a:lnTo>
                    <a:pt x="20" y="56"/>
                  </a:lnTo>
                  <a:lnTo>
                    <a:pt x="20" y="54"/>
                  </a:lnTo>
                  <a:lnTo>
                    <a:pt x="20" y="56"/>
                  </a:lnTo>
                  <a:lnTo>
                    <a:pt x="20" y="54"/>
                  </a:lnTo>
                  <a:lnTo>
                    <a:pt x="21" y="54"/>
                  </a:lnTo>
                  <a:lnTo>
                    <a:pt x="23" y="54"/>
                  </a:lnTo>
                  <a:lnTo>
                    <a:pt x="23" y="56"/>
                  </a:lnTo>
                  <a:lnTo>
                    <a:pt x="23" y="54"/>
                  </a:lnTo>
                  <a:lnTo>
                    <a:pt x="23" y="56"/>
                  </a:lnTo>
                  <a:lnTo>
                    <a:pt x="23" y="54"/>
                  </a:lnTo>
                  <a:lnTo>
                    <a:pt x="23" y="52"/>
                  </a:lnTo>
                  <a:lnTo>
                    <a:pt x="25" y="52"/>
                  </a:lnTo>
                  <a:lnTo>
                    <a:pt x="27" y="52"/>
                  </a:lnTo>
                  <a:lnTo>
                    <a:pt x="29" y="52"/>
                  </a:lnTo>
                  <a:lnTo>
                    <a:pt x="29" y="50"/>
                  </a:lnTo>
                  <a:lnTo>
                    <a:pt x="29" y="52"/>
                  </a:lnTo>
                  <a:lnTo>
                    <a:pt x="29" y="50"/>
                  </a:lnTo>
                  <a:lnTo>
                    <a:pt x="31" y="50"/>
                  </a:lnTo>
                  <a:lnTo>
                    <a:pt x="31" y="52"/>
                  </a:lnTo>
                  <a:lnTo>
                    <a:pt x="31" y="54"/>
                  </a:lnTo>
                  <a:lnTo>
                    <a:pt x="31" y="52"/>
                  </a:lnTo>
                  <a:lnTo>
                    <a:pt x="33" y="52"/>
                  </a:lnTo>
                  <a:lnTo>
                    <a:pt x="31" y="52"/>
                  </a:lnTo>
                  <a:lnTo>
                    <a:pt x="33" y="52"/>
                  </a:lnTo>
                  <a:lnTo>
                    <a:pt x="33" y="54"/>
                  </a:lnTo>
                  <a:lnTo>
                    <a:pt x="33" y="52"/>
                  </a:lnTo>
                  <a:lnTo>
                    <a:pt x="33" y="54"/>
                  </a:lnTo>
                  <a:lnTo>
                    <a:pt x="33" y="56"/>
                  </a:lnTo>
                  <a:lnTo>
                    <a:pt x="35" y="56"/>
                  </a:lnTo>
                  <a:lnTo>
                    <a:pt x="35" y="57"/>
                  </a:lnTo>
                  <a:lnTo>
                    <a:pt x="37" y="57"/>
                  </a:lnTo>
                  <a:lnTo>
                    <a:pt x="35" y="57"/>
                  </a:lnTo>
                  <a:lnTo>
                    <a:pt x="37" y="57"/>
                  </a:lnTo>
                  <a:lnTo>
                    <a:pt x="37" y="59"/>
                  </a:lnTo>
                  <a:lnTo>
                    <a:pt x="37" y="57"/>
                  </a:lnTo>
                  <a:lnTo>
                    <a:pt x="39" y="57"/>
                  </a:lnTo>
                  <a:lnTo>
                    <a:pt x="39" y="56"/>
                  </a:lnTo>
                  <a:lnTo>
                    <a:pt x="41" y="56"/>
                  </a:lnTo>
                  <a:lnTo>
                    <a:pt x="39" y="56"/>
                  </a:lnTo>
                  <a:lnTo>
                    <a:pt x="41" y="56"/>
                  </a:lnTo>
                  <a:lnTo>
                    <a:pt x="43" y="56"/>
                  </a:lnTo>
                  <a:lnTo>
                    <a:pt x="43" y="54"/>
                  </a:lnTo>
                  <a:lnTo>
                    <a:pt x="43" y="56"/>
                  </a:lnTo>
                  <a:lnTo>
                    <a:pt x="44" y="56"/>
                  </a:lnTo>
                  <a:lnTo>
                    <a:pt x="44" y="57"/>
                  </a:lnTo>
                  <a:lnTo>
                    <a:pt x="44" y="56"/>
                  </a:lnTo>
                  <a:lnTo>
                    <a:pt x="44" y="57"/>
                  </a:lnTo>
                  <a:lnTo>
                    <a:pt x="44" y="56"/>
                  </a:lnTo>
                  <a:lnTo>
                    <a:pt x="46" y="56"/>
                  </a:lnTo>
                  <a:lnTo>
                    <a:pt x="46" y="57"/>
                  </a:lnTo>
                  <a:lnTo>
                    <a:pt x="48" y="57"/>
                  </a:lnTo>
                  <a:lnTo>
                    <a:pt x="46" y="57"/>
                  </a:lnTo>
                  <a:lnTo>
                    <a:pt x="46" y="56"/>
                  </a:lnTo>
                  <a:lnTo>
                    <a:pt x="46" y="57"/>
                  </a:lnTo>
                  <a:lnTo>
                    <a:pt x="46" y="56"/>
                  </a:lnTo>
                  <a:lnTo>
                    <a:pt x="46" y="54"/>
                  </a:lnTo>
                  <a:lnTo>
                    <a:pt x="46" y="56"/>
                  </a:lnTo>
                  <a:lnTo>
                    <a:pt x="46" y="54"/>
                  </a:lnTo>
                  <a:lnTo>
                    <a:pt x="48" y="54"/>
                  </a:lnTo>
                  <a:lnTo>
                    <a:pt x="46" y="54"/>
                  </a:lnTo>
                  <a:lnTo>
                    <a:pt x="48" y="54"/>
                  </a:lnTo>
                  <a:lnTo>
                    <a:pt x="48" y="56"/>
                  </a:lnTo>
                  <a:lnTo>
                    <a:pt x="50" y="56"/>
                  </a:lnTo>
                  <a:lnTo>
                    <a:pt x="52" y="56"/>
                  </a:lnTo>
                  <a:lnTo>
                    <a:pt x="54" y="56"/>
                  </a:lnTo>
                  <a:lnTo>
                    <a:pt x="56" y="56"/>
                  </a:lnTo>
                  <a:lnTo>
                    <a:pt x="56" y="54"/>
                  </a:lnTo>
                  <a:lnTo>
                    <a:pt x="56" y="56"/>
                  </a:lnTo>
                  <a:lnTo>
                    <a:pt x="56" y="54"/>
                  </a:lnTo>
                  <a:lnTo>
                    <a:pt x="56" y="56"/>
                  </a:lnTo>
                  <a:lnTo>
                    <a:pt x="54" y="56"/>
                  </a:lnTo>
                  <a:lnTo>
                    <a:pt x="54" y="54"/>
                  </a:lnTo>
                  <a:lnTo>
                    <a:pt x="52" y="54"/>
                  </a:lnTo>
                  <a:lnTo>
                    <a:pt x="52" y="52"/>
                  </a:lnTo>
                  <a:lnTo>
                    <a:pt x="52" y="50"/>
                  </a:lnTo>
                  <a:lnTo>
                    <a:pt x="54" y="50"/>
                  </a:lnTo>
                  <a:lnTo>
                    <a:pt x="54" y="48"/>
                  </a:lnTo>
                  <a:lnTo>
                    <a:pt x="52" y="48"/>
                  </a:lnTo>
                  <a:lnTo>
                    <a:pt x="54" y="48"/>
                  </a:lnTo>
                  <a:lnTo>
                    <a:pt x="52" y="48"/>
                  </a:lnTo>
                  <a:lnTo>
                    <a:pt x="54" y="48"/>
                  </a:lnTo>
                  <a:lnTo>
                    <a:pt x="52" y="48"/>
                  </a:lnTo>
                  <a:lnTo>
                    <a:pt x="54" y="48"/>
                  </a:lnTo>
                  <a:lnTo>
                    <a:pt x="54" y="46"/>
                  </a:lnTo>
                  <a:lnTo>
                    <a:pt x="52" y="46"/>
                  </a:lnTo>
                  <a:lnTo>
                    <a:pt x="52" y="48"/>
                  </a:lnTo>
                  <a:lnTo>
                    <a:pt x="52" y="46"/>
                  </a:lnTo>
                  <a:lnTo>
                    <a:pt x="52" y="44"/>
                  </a:lnTo>
                  <a:lnTo>
                    <a:pt x="52" y="42"/>
                  </a:lnTo>
                  <a:lnTo>
                    <a:pt x="52" y="40"/>
                  </a:lnTo>
                  <a:lnTo>
                    <a:pt x="50" y="40"/>
                  </a:lnTo>
                  <a:lnTo>
                    <a:pt x="50" y="38"/>
                  </a:lnTo>
                  <a:lnTo>
                    <a:pt x="48" y="38"/>
                  </a:lnTo>
                  <a:lnTo>
                    <a:pt x="48" y="36"/>
                  </a:lnTo>
                  <a:lnTo>
                    <a:pt x="48" y="34"/>
                  </a:lnTo>
                  <a:lnTo>
                    <a:pt x="48" y="36"/>
                  </a:lnTo>
                  <a:lnTo>
                    <a:pt x="48" y="34"/>
                  </a:lnTo>
                  <a:lnTo>
                    <a:pt x="48" y="32"/>
                  </a:lnTo>
                  <a:lnTo>
                    <a:pt x="48" y="31"/>
                  </a:lnTo>
                  <a:lnTo>
                    <a:pt x="48" y="32"/>
                  </a:lnTo>
                  <a:lnTo>
                    <a:pt x="50" y="32"/>
                  </a:lnTo>
                  <a:lnTo>
                    <a:pt x="52" y="32"/>
                  </a:lnTo>
                  <a:lnTo>
                    <a:pt x="54" y="32"/>
                  </a:lnTo>
                  <a:lnTo>
                    <a:pt x="56" y="32"/>
                  </a:lnTo>
                  <a:lnTo>
                    <a:pt x="56" y="31"/>
                  </a:lnTo>
                  <a:lnTo>
                    <a:pt x="56" y="32"/>
                  </a:lnTo>
                  <a:lnTo>
                    <a:pt x="58" y="32"/>
                  </a:lnTo>
                  <a:lnTo>
                    <a:pt x="58" y="34"/>
                  </a:lnTo>
                  <a:lnTo>
                    <a:pt x="56" y="34"/>
                  </a:lnTo>
                  <a:lnTo>
                    <a:pt x="58" y="36"/>
                  </a:lnTo>
                  <a:lnTo>
                    <a:pt x="58" y="38"/>
                  </a:lnTo>
                  <a:lnTo>
                    <a:pt x="60" y="38"/>
                  </a:lnTo>
                  <a:lnTo>
                    <a:pt x="58" y="38"/>
                  </a:lnTo>
                  <a:lnTo>
                    <a:pt x="58" y="40"/>
                  </a:lnTo>
                  <a:lnTo>
                    <a:pt x="60" y="40"/>
                  </a:lnTo>
                  <a:lnTo>
                    <a:pt x="60" y="38"/>
                  </a:lnTo>
                  <a:lnTo>
                    <a:pt x="60" y="40"/>
                  </a:lnTo>
                  <a:lnTo>
                    <a:pt x="60" y="38"/>
                  </a:lnTo>
                  <a:lnTo>
                    <a:pt x="62" y="38"/>
                  </a:lnTo>
                  <a:lnTo>
                    <a:pt x="64" y="38"/>
                  </a:lnTo>
                  <a:lnTo>
                    <a:pt x="64" y="40"/>
                  </a:lnTo>
                  <a:lnTo>
                    <a:pt x="66" y="40"/>
                  </a:lnTo>
                  <a:lnTo>
                    <a:pt x="67" y="40"/>
                  </a:lnTo>
                  <a:lnTo>
                    <a:pt x="69" y="40"/>
                  </a:lnTo>
                  <a:lnTo>
                    <a:pt x="71" y="40"/>
                  </a:lnTo>
                  <a:lnTo>
                    <a:pt x="73" y="40"/>
                  </a:lnTo>
                  <a:lnTo>
                    <a:pt x="71" y="40"/>
                  </a:lnTo>
                  <a:lnTo>
                    <a:pt x="73" y="40"/>
                  </a:lnTo>
                  <a:lnTo>
                    <a:pt x="73" y="42"/>
                  </a:lnTo>
                  <a:lnTo>
                    <a:pt x="73" y="40"/>
                  </a:lnTo>
                  <a:lnTo>
                    <a:pt x="75" y="40"/>
                  </a:lnTo>
                  <a:lnTo>
                    <a:pt x="77" y="40"/>
                  </a:lnTo>
                  <a:lnTo>
                    <a:pt x="77" y="38"/>
                  </a:lnTo>
                  <a:lnTo>
                    <a:pt x="77" y="40"/>
                  </a:lnTo>
                  <a:lnTo>
                    <a:pt x="77" y="38"/>
                  </a:lnTo>
                  <a:lnTo>
                    <a:pt x="77" y="40"/>
                  </a:lnTo>
                  <a:lnTo>
                    <a:pt x="77" y="38"/>
                  </a:lnTo>
                  <a:lnTo>
                    <a:pt x="77" y="40"/>
                  </a:lnTo>
                  <a:lnTo>
                    <a:pt x="77" y="38"/>
                  </a:lnTo>
                  <a:lnTo>
                    <a:pt x="77" y="40"/>
                  </a:lnTo>
                  <a:lnTo>
                    <a:pt x="77" y="38"/>
                  </a:lnTo>
                  <a:lnTo>
                    <a:pt x="77" y="40"/>
                  </a:lnTo>
                  <a:lnTo>
                    <a:pt x="77" y="38"/>
                  </a:lnTo>
                  <a:lnTo>
                    <a:pt x="79" y="38"/>
                  </a:lnTo>
                  <a:lnTo>
                    <a:pt x="81" y="38"/>
                  </a:lnTo>
                  <a:lnTo>
                    <a:pt x="79" y="38"/>
                  </a:lnTo>
                  <a:lnTo>
                    <a:pt x="79" y="36"/>
                  </a:lnTo>
                  <a:lnTo>
                    <a:pt x="77" y="36"/>
                  </a:lnTo>
                  <a:lnTo>
                    <a:pt x="79" y="36"/>
                  </a:lnTo>
                  <a:lnTo>
                    <a:pt x="77" y="36"/>
                  </a:lnTo>
                  <a:lnTo>
                    <a:pt x="79" y="36"/>
                  </a:lnTo>
                  <a:lnTo>
                    <a:pt x="81" y="36"/>
                  </a:lnTo>
                  <a:lnTo>
                    <a:pt x="79" y="36"/>
                  </a:lnTo>
                  <a:lnTo>
                    <a:pt x="77" y="36"/>
                  </a:lnTo>
                  <a:lnTo>
                    <a:pt x="77" y="34"/>
                  </a:lnTo>
                  <a:lnTo>
                    <a:pt x="77" y="32"/>
                  </a:lnTo>
                  <a:lnTo>
                    <a:pt x="79" y="32"/>
                  </a:lnTo>
                  <a:lnTo>
                    <a:pt x="77" y="32"/>
                  </a:lnTo>
                  <a:lnTo>
                    <a:pt x="79" y="32"/>
                  </a:lnTo>
                  <a:lnTo>
                    <a:pt x="79" y="31"/>
                  </a:lnTo>
                  <a:lnTo>
                    <a:pt x="81" y="31"/>
                  </a:lnTo>
                  <a:lnTo>
                    <a:pt x="83" y="31"/>
                  </a:lnTo>
                  <a:lnTo>
                    <a:pt x="83" y="29"/>
                  </a:lnTo>
                  <a:lnTo>
                    <a:pt x="85" y="29"/>
                  </a:lnTo>
                  <a:lnTo>
                    <a:pt x="87" y="29"/>
                  </a:lnTo>
                  <a:lnTo>
                    <a:pt x="87" y="27"/>
                  </a:lnTo>
                  <a:lnTo>
                    <a:pt x="89" y="27"/>
                  </a:lnTo>
                  <a:lnTo>
                    <a:pt x="91" y="27"/>
                  </a:lnTo>
                  <a:lnTo>
                    <a:pt x="92" y="27"/>
                  </a:lnTo>
                  <a:lnTo>
                    <a:pt x="92" y="25"/>
                  </a:lnTo>
                  <a:lnTo>
                    <a:pt x="94" y="25"/>
                  </a:lnTo>
                  <a:lnTo>
                    <a:pt x="96" y="23"/>
                  </a:lnTo>
                  <a:lnTo>
                    <a:pt x="98" y="23"/>
                  </a:lnTo>
                  <a:lnTo>
                    <a:pt x="98" y="21"/>
                  </a:lnTo>
                  <a:lnTo>
                    <a:pt x="98" y="19"/>
                  </a:lnTo>
                  <a:lnTo>
                    <a:pt x="98" y="21"/>
                  </a:lnTo>
                  <a:lnTo>
                    <a:pt x="100" y="21"/>
                  </a:lnTo>
                  <a:lnTo>
                    <a:pt x="100" y="19"/>
                  </a:lnTo>
                  <a:lnTo>
                    <a:pt x="98" y="19"/>
                  </a:lnTo>
                  <a:lnTo>
                    <a:pt x="98" y="17"/>
                  </a:lnTo>
                  <a:lnTo>
                    <a:pt x="100" y="17"/>
                  </a:lnTo>
                  <a:lnTo>
                    <a:pt x="98" y="17"/>
                  </a:lnTo>
                  <a:lnTo>
                    <a:pt x="98" y="15"/>
                  </a:lnTo>
                  <a:lnTo>
                    <a:pt x="98" y="13"/>
                  </a:lnTo>
                  <a:lnTo>
                    <a:pt x="100" y="13"/>
                  </a:lnTo>
                  <a:lnTo>
                    <a:pt x="100" y="11"/>
                  </a:lnTo>
                  <a:lnTo>
                    <a:pt x="98" y="11"/>
                  </a:lnTo>
                  <a:lnTo>
                    <a:pt x="98" y="9"/>
                  </a:lnTo>
                  <a:lnTo>
                    <a:pt x="98" y="7"/>
                  </a:lnTo>
                  <a:lnTo>
                    <a:pt x="100" y="7"/>
                  </a:lnTo>
                  <a:lnTo>
                    <a:pt x="98" y="7"/>
                  </a:lnTo>
                  <a:lnTo>
                    <a:pt x="100" y="7"/>
                  </a:lnTo>
                  <a:lnTo>
                    <a:pt x="100" y="9"/>
                  </a:lnTo>
                  <a:lnTo>
                    <a:pt x="100" y="7"/>
                  </a:lnTo>
                  <a:lnTo>
                    <a:pt x="100" y="6"/>
                  </a:lnTo>
                  <a:lnTo>
                    <a:pt x="98" y="6"/>
                  </a:lnTo>
                  <a:lnTo>
                    <a:pt x="100" y="6"/>
                  </a:lnTo>
                  <a:lnTo>
                    <a:pt x="100" y="4"/>
                  </a:lnTo>
                  <a:lnTo>
                    <a:pt x="102" y="4"/>
                  </a:lnTo>
                  <a:lnTo>
                    <a:pt x="102" y="2"/>
                  </a:lnTo>
                  <a:lnTo>
                    <a:pt x="102" y="4"/>
                  </a:lnTo>
                  <a:lnTo>
                    <a:pt x="102" y="2"/>
                  </a:lnTo>
                  <a:lnTo>
                    <a:pt x="102" y="4"/>
                  </a:lnTo>
                  <a:lnTo>
                    <a:pt x="102" y="2"/>
                  </a:lnTo>
                  <a:lnTo>
                    <a:pt x="104" y="2"/>
                  </a:lnTo>
                  <a:lnTo>
                    <a:pt x="104" y="4"/>
                  </a:lnTo>
                  <a:lnTo>
                    <a:pt x="104" y="2"/>
                  </a:lnTo>
                  <a:lnTo>
                    <a:pt x="102" y="2"/>
                  </a:lnTo>
                  <a:lnTo>
                    <a:pt x="104" y="2"/>
                  </a:lnTo>
                  <a:lnTo>
                    <a:pt x="102" y="2"/>
                  </a:lnTo>
                  <a:lnTo>
                    <a:pt x="104" y="2"/>
                  </a:lnTo>
                  <a:lnTo>
                    <a:pt x="106" y="2"/>
                  </a:lnTo>
                  <a:lnTo>
                    <a:pt x="108" y="2"/>
                  </a:lnTo>
                  <a:lnTo>
                    <a:pt x="106" y="2"/>
                  </a:lnTo>
                  <a:lnTo>
                    <a:pt x="108" y="2"/>
                  </a:lnTo>
                  <a:lnTo>
                    <a:pt x="110" y="2"/>
                  </a:lnTo>
                  <a:lnTo>
                    <a:pt x="110" y="0"/>
                  </a:lnTo>
                  <a:lnTo>
                    <a:pt x="110" y="2"/>
                  </a:lnTo>
                  <a:lnTo>
                    <a:pt x="110" y="0"/>
                  </a:lnTo>
                  <a:lnTo>
                    <a:pt x="110" y="2"/>
                  </a:lnTo>
                  <a:lnTo>
                    <a:pt x="110" y="0"/>
                  </a:lnTo>
                  <a:lnTo>
                    <a:pt x="110" y="2"/>
                  </a:lnTo>
                  <a:lnTo>
                    <a:pt x="110" y="0"/>
                  </a:lnTo>
                  <a:lnTo>
                    <a:pt x="110" y="2"/>
                  </a:lnTo>
                  <a:lnTo>
                    <a:pt x="112" y="2"/>
                  </a:lnTo>
                  <a:lnTo>
                    <a:pt x="110" y="2"/>
                  </a:lnTo>
                  <a:lnTo>
                    <a:pt x="110" y="0"/>
                  </a:lnTo>
                  <a:lnTo>
                    <a:pt x="110" y="2"/>
                  </a:lnTo>
                  <a:lnTo>
                    <a:pt x="112" y="2"/>
                  </a:lnTo>
                  <a:lnTo>
                    <a:pt x="110" y="2"/>
                  </a:lnTo>
                  <a:lnTo>
                    <a:pt x="112" y="2"/>
                  </a:lnTo>
                  <a:lnTo>
                    <a:pt x="110" y="0"/>
                  </a:lnTo>
                  <a:lnTo>
                    <a:pt x="112" y="0"/>
                  </a:lnTo>
                  <a:lnTo>
                    <a:pt x="114" y="0"/>
                  </a:lnTo>
                  <a:lnTo>
                    <a:pt x="114" y="2"/>
                  </a:lnTo>
                  <a:lnTo>
                    <a:pt x="114" y="4"/>
                  </a:lnTo>
                  <a:lnTo>
                    <a:pt x="114" y="6"/>
                  </a:lnTo>
                  <a:lnTo>
                    <a:pt x="115" y="6"/>
                  </a:lnTo>
                  <a:lnTo>
                    <a:pt x="115" y="7"/>
                  </a:lnTo>
                  <a:lnTo>
                    <a:pt x="117" y="7"/>
                  </a:lnTo>
                  <a:lnTo>
                    <a:pt x="117" y="9"/>
                  </a:lnTo>
                  <a:lnTo>
                    <a:pt x="119" y="9"/>
                  </a:lnTo>
                  <a:lnTo>
                    <a:pt x="119" y="7"/>
                  </a:lnTo>
                  <a:lnTo>
                    <a:pt x="121" y="7"/>
                  </a:lnTo>
                  <a:lnTo>
                    <a:pt x="123" y="7"/>
                  </a:lnTo>
                  <a:lnTo>
                    <a:pt x="123" y="9"/>
                  </a:lnTo>
                  <a:lnTo>
                    <a:pt x="123" y="11"/>
                  </a:lnTo>
                  <a:lnTo>
                    <a:pt x="123" y="13"/>
                  </a:lnTo>
                  <a:lnTo>
                    <a:pt x="125" y="13"/>
                  </a:lnTo>
                  <a:lnTo>
                    <a:pt x="127" y="13"/>
                  </a:lnTo>
                  <a:lnTo>
                    <a:pt x="129" y="13"/>
                  </a:lnTo>
                  <a:lnTo>
                    <a:pt x="129" y="15"/>
                  </a:lnTo>
                  <a:lnTo>
                    <a:pt x="129" y="13"/>
                  </a:lnTo>
                  <a:lnTo>
                    <a:pt x="129" y="15"/>
                  </a:lnTo>
                  <a:lnTo>
                    <a:pt x="129" y="17"/>
                  </a:lnTo>
                  <a:lnTo>
                    <a:pt x="131" y="17"/>
                  </a:lnTo>
                  <a:lnTo>
                    <a:pt x="129" y="17"/>
                  </a:lnTo>
                  <a:lnTo>
                    <a:pt x="131" y="17"/>
                  </a:lnTo>
                  <a:lnTo>
                    <a:pt x="133" y="17"/>
                  </a:lnTo>
                  <a:lnTo>
                    <a:pt x="135" y="17"/>
                  </a:lnTo>
                  <a:lnTo>
                    <a:pt x="137" y="17"/>
                  </a:lnTo>
                  <a:lnTo>
                    <a:pt x="137" y="19"/>
                  </a:lnTo>
                  <a:lnTo>
                    <a:pt x="138" y="19"/>
                  </a:lnTo>
                  <a:lnTo>
                    <a:pt x="137" y="19"/>
                  </a:lnTo>
                  <a:lnTo>
                    <a:pt x="137" y="21"/>
                  </a:lnTo>
                  <a:lnTo>
                    <a:pt x="137" y="23"/>
                  </a:lnTo>
                  <a:lnTo>
                    <a:pt x="137" y="21"/>
                  </a:lnTo>
                  <a:lnTo>
                    <a:pt x="137" y="23"/>
                  </a:lnTo>
                  <a:lnTo>
                    <a:pt x="138" y="23"/>
                  </a:lnTo>
                  <a:lnTo>
                    <a:pt x="137" y="23"/>
                  </a:lnTo>
                  <a:lnTo>
                    <a:pt x="137" y="25"/>
                  </a:lnTo>
                  <a:lnTo>
                    <a:pt x="137" y="27"/>
                  </a:lnTo>
                  <a:lnTo>
                    <a:pt x="138" y="27"/>
                  </a:lnTo>
                  <a:lnTo>
                    <a:pt x="138" y="25"/>
                  </a:lnTo>
                  <a:lnTo>
                    <a:pt x="138" y="27"/>
                  </a:lnTo>
                  <a:lnTo>
                    <a:pt x="140" y="27"/>
                  </a:lnTo>
                  <a:lnTo>
                    <a:pt x="142" y="27"/>
                  </a:lnTo>
                  <a:lnTo>
                    <a:pt x="142" y="25"/>
                  </a:lnTo>
                  <a:lnTo>
                    <a:pt x="144" y="25"/>
                  </a:lnTo>
                  <a:lnTo>
                    <a:pt x="144" y="23"/>
                  </a:lnTo>
                  <a:lnTo>
                    <a:pt x="146" y="23"/>
                  </a:lnTo>
                  <a:lnTo>
                    <a:pt x="146" y="21"/>
                  </a:lnTo>
                  <a:lnTo>
                    <a:pt x="148" y="21"/>
                  </a:lnTo>
                  <a:lnTo>
                    <a:pt x="148" y="23"/>
                  </a:lnTo>
                  <a:lnTo>
                    <a:pt x="146" y="23"/>
                  </a:lnTo>
                  <a:lnTo>
                    <a:pt x="148" y="23"/>
                  </a:lnTo>
                  <a:lnTo>
                    <a:pt x="146" y="23"/>
                  </a:lnTo>
                  <a:lnTo>
                    <a:pt x="148" y="23"/>
                  </a:lnTo>
                  <a:lnTo>
                    <a:pt x="146" y="23"/>
                  </a:lnTo>
                  <a:lnTo>
                    <a:pt x="146" y="25"/>
                  </a:lnTo>
                  <a:lnTo>
                    <a:pt x="146" y="27"/>
                  </a:lnTo>
                  <a:lnTo>
                    <a:pt x="148" y="27"/>
                  </a:lnTo>
                  <a:lnTo>
                    <a:pt x="146" y="27"/>
                  </a:lnTo>
                  <a:lnTo>
                    <a:pt x="148" y="27"/>
                  </a:lnTo>
                  <a:lnTo>
                    <a:pt x="146" y="27"/>
                  </a:lnTo>
                  <a:lnTo>
                    <a:pt x="146" y="29"/>
                  </a:lnTo>
                  <a:lnTo>
                    <a:pt x="148" y="29"/>
                  </a:lnTo>
                  <a:lnTo>
                    <a:pt x="146" y="29"/>
                  </a:lnTo>
                  <a:lnTo>
                    <a:pt x="146" y="31"/>
                  </a:lnTo>
                  <a:lnTo>
                    <a:pt x="148" y="31"/>
                  </a:lnTo>
                  <a:lnTo>
                    <a:pt x="148" y="29"/>
                  </a:lnTo>
                  <a:lnTo>
                    <a:pt x="148" y="31"/>
                  </a:lnTo>
                  <a:lnTo>
                    <a:pt x="148" y="29"/>
                  </a:lnTo>
                  <a:lnTo>
                    <a:pt x="150" y="29"/>
                  </a:lnTo>
                  <a:lnTo>
                    <a:pt x="150" y="31"/>
                  </a:lnTo>
                  <a:lnTo>
                    <a:pt x="152" y="31"/>
                  </a:lnTo>
                  <a:lnTo>
                    <a:pt x="152" y="32"/>
                  </a:lnTo>
                  <a:lnTo>
                    <a:pt x="154" y="32"/>
                  </a:lnTo>
                  <a:lnTo>
                    <a:pt x="154" y="34"/>
                  </a:lnTo>
                  <a:lnTo>
                    <a:pt x="154" y="32"/>
                  </a:lnTo>
                  <a:lnTo>
                    <a:pt x="154" y="34"/>
                  </a:lnTo>
                  <a:lnTo>
                    <a:pt x="156" y="34"/>
                  </a:lnTo>
                  <a:lnTo>
                    <a:pt x="156" y="36"/>
                  </a:lnTo>
                  <a:lnTo>
                    <a:pt x="158" y="36"/>
                  </a:lnTo>
                  <a:lnTo>
                    <a:pt x="158" y="34"/>
                  </a:lnTo>
                  <a:lnTo>
                    <a:pt x="160" y="34"/>
                  </a:lnTo>
                  <a:lnTo>
                    <a:pt x="162" y="34"/>
                  </a:lnTo>
                  <a:close/>
                  <a:moveTo>
                    <a:pt x="104" y="184"/>
                  </a:moveTo>
                  <a:lnTo>
                    <a:pt x="106" y="184"/>
                  </a:lnTo>
                  <a:lnTo>
                    <a:pt x="104" y="184"/>
                  </a:lnTo>
                  <a:close/>
                  <a:moveTo>
                    <a:pt x="213" y="175"/>
                  </a:moveTo>
                  <a:lnTo>
                    <a:pt x="215" y="175"/>
                  </a:lnTo>
                  <a:lnTo>
                    <a:pt x="213" y="175"/>
                  </a:lnTo>
                  <a:lnTo>
                    <a:pt x="215" y="175"/>
                  </a:lnTo>
                  <a:lnTo>
                    <a:pt x="215" y="177"/>
                  </a:lnTo>
                  <a:lnTo>
                    <a:pt x="215" y="178"/>
                  </a:lnTo>
                  <a:lnTo>
                    <a:pt x="213" y="178"/>
                  </a:lnTo>
                  <a:lnTo>
                    <a:pt x="215" y="178"/>
                  </a:lnTo>
                  <a:lnTo>
                    <a:pt x="213" y="178"/>
                  </a:lnTo>
                  <a:lnTo>
                    <a:pt x="213" y="180"/>
                  </a:lnTo>
                  <a:lnTo>
                    <a:pt x="215" y="180"/>
                  </a:lnTo>
                  <a:lnTo>
                    <a:pt x="215" y="182"/>
                  </a:lnTo>
                  <a:lnTo>
                    <a:pt x="215" y="184"/>
                  </a:lnTo>
                  <a:lnTo>
                    <a:pt x="215" y="186"/>
                  </a:lnTo>
                  <a:lnTo>
                    <a:pt x="215" y="188"/>
                  </a:lnTo>
                  <a:lnTo>
                    <a:pt x="215" y="190"/>
                  </a:lnTo>
                  <a:lnTo>
                    <a:pt x="215" y="192"/>
                  </a:lnTo>
                  <a:lnTo>
                    <a:pt x="215" y="194"/>
                  </a:lnTo>
                  <a:lnTo>
                    <a:pt x="213" y="194"/>
                  </a:lnTo>
                  <a:lnTo>
                    <a:pt x="213" y="196"/>
                  </a:lnTo>
                  <a:lnTo>
                    <a:pt x="213" y="198"/>
                  </a:lnTo>
                  <a:lnTo>
                    <a:pt x="213" y="200"/>
                  </a:lnTo>
                  <a:lnTo>
                    <a:pt x="213" y="201"/>
                  </a:lnTo>
                  <a:lnTo>
                    <a:pt x="211" y="201"/>
                  </a:lnTo>
                  <a:lnTo>
                    <a:pt x="213" y="201"/>
                  </a:lnTo>
                  <a:lnTo>
                    <a:pt x="213" y="203"/>
                  </a:lnTo>
                  <a:lnTo>
                    <a:pt x="211" y="203"/>
                  </a:lnTo>
                  <a:lnTo>
                    <a:pt x="211" y="205"/>
                  </a:lnTo>
                  <a:lnTo>
                    <a:pt x="211" y="203"/>
                  </a:lnTo>
                  <a:lnTo>
                    <a:pt x="211" y="205"/>
                  </a:lnTo>
                  <a:lnTo>
                    <a:pt x="210" y="205"/>
                  </a:lnTo>
                  <a:lnTo>
                    <a:pt x="208" y="205"/>
                  </a:lnTo>
                  <a:lnTo>
                    <a:pt x="210" y="205"/>
                  </a:lnTo>
                  <a:lnTo>
                    <a:pt x="208" y="205"/>
                  </a:lnTo>
                  <a:lnTo>
                    <a:pt x="208" y="203"/>
                  </a:lnTo>
                  <a:lnTo>
                    <a:pt x="210" y="203"/>
                  </a:lnTo>
                  <a:lnTo>
                    <a:pt x="208" y="203"/>
                  </a:lnTo>
                  <a:lnTo>
                    <a:pt x="208" y="205"/>
                  </a:lnTo>
                  <a:lnTo>
                    <a:pt x="208" y="203"/>
                  </a:lnTo>
                  <a:lnTo>
                    <a:pt x="208" y="205"/>
                  </a:lnTo>
                  <a:lnTo>
                    <a:pt x="208" y="203"/>
                  </a:lnTo>
                  <a:lnTo>
                    <a:pt x="206" y="203"/>
                  </a:lnTo>
                  <a:lnTo>
                    <a:pt x="204" y="203"/>
                  </a:lnTo>
                  <a:lnTo>
                    <a:pt x="204" y="201"/>
                  </a:lnTo>
                  <a:lnTo>
                    <a:pt x="206" y="201"/>
                  </a:lnTo>
                  <a:lnTo>
                    <a:pt x="206" y="200"/>
                  </a:lnTo>
                  <a:lnTo>
                    <a:pt x="204" y="200"/>
                  </a:lnTo>
                  <a:lnTo>
                    <a:pt x="202" y="200"/>
                  </a:lnTo>
                  <a:lnTo>
                    <a:pt x="204" y="200"/>
                  </a:lnTo>
                  <a:lnTo>
                    <a:pt x="204" y="198"/>
                  </a:lnTo>
                  <a:lnTo>
                    <a:pt x="204" y="196"/>
                  </a:lnTo>
                  <a:lnTo>
                    <a:pt x="202" y="196"/>
                  </a:lnTo>
                  <a:lnTo>
                    <a:pt x="202" y="194"/>
                  </a:lnTo>
                  <a:lnTo>
                    <a:pt x="202" y="196"/>
                  </a:lnTo>
                  <a:lnTo>
                    <a:pt x="202" y="194"/>
                  </a:lnTo>
                  <a:lnTo>
                    <a:pt x="204" y="194"/>
                  </a:lnTo>
                  <a:lnTo>
                    <a:pt x="204" y="192"/>
                  </a:lnTo>
                  <a:lnTo>
                    <a:pt x="202" y="192"/>
                  </a:lnTo>
                  <a:lnTo>
                    <a:pt x="202" y="190"/>
                  </a:lnTo>
                  <a:lnTo>
                    <a:pt x="202" y="192"/>
                  </a:lnTo>
                  <a:lnTo>
                    <a:pt x="202" y="190"/>
                  </a:lnTo>
                  <a:lnTo>
                    <a:pt x="200" y="190"/>
                  </a:lnTo>
                  <a:lnTo>
                    <a:pt x="202" y="190"/>
                  </a:lnTo>
                  <a:lnTo>
                    <a:pt x="200" y="190"/>
                  </a:lnTo>
                  <a:lnTo>
                    <a:pt x="202" y="190"/>
                  </a:lnTo>
                  <a:lnTo>
                    <a:pt x="202" y="188"/>
                  </a:lnTo>
                  <a:lnTo>
                    <a:pt x="202" y="190"/>
                  </a:lnTo>
                  <a:lnTo>
                    <a:pt x="202" y="188"/>
                  </a:lnTo>
                  <a:lnTo>
                    <a:pt x="202" y="190"/>
                  </a:lnTo>
                  <a:lnTo>
                    <a:pt x="202" y="188"/>
                  </a:lnTo>
                  <a:lnTo>
                    <a:pt x="204" y="188"/>
                  </a:lnTo>
                  <a:lnTo>
                    <a:pt x="202" y="188"/>
                  </a:lnTo>
                  <a:lnTo>
                    <a:pt x="204" y="188"/>
                  </a:lnTo>
                  <a:lnTo>
                    <a:pt x="202" y="188"/>
                  </a:lnTo>
                  <a:lnTo>
                    <a:pt x="204" y="188"/>
                  </a:lnTo>
                  <a:lnTo>
                    <a:pt x="202" y="188"/>
                  </a:lnTo>
                  <a:lnTo>
                    <a:pt x="202" y="186"/>
                  </a:lnTo>
                  <a:lnTo>
                    <a:pt x="202" y="188"/>
                  </a:lnTo>
                  <a:lnTo>
                    <a:pt x="202" y="186"/>
                  </a:lnTo>
                  <a:lnTo>
                    <a:pt x="200" y="186"/>
                  </a:lnTo>
                  <a:lnTo>
                    <a:pt x="202" y="186"/>
                  </a:lnTo>
                  <a:lnTo>
                    <a:pt x="202" y="184"/>
                  </a:lnTo>
                  <a:lnTo>
                    <a:pt x="204" y="184"/>
                  </a:lnTo>
                  <a:lnTo>
                    <a:pt x="202" y="184"/>
                  </a:lnTo>
                  <a:lnTo>
                    <a:pt x="204" y="184"/>
                  </a:lnTo>
                  <a:lnTo>
                    <a:pt x="204" y="182"/>
                  </a:lnTo>
                  <a:lnTo>
                    <a:pt x="206" y="182"/>
                  </a:lnTo>
                  <a:lnTo>
                    <a:pt x="204" y="182"/>
                  </a:lnTo>
                  <a:lnTo>
                    <a:pt x="206" y="182"/>
                  </a:lnTo>
                  <a:lnTo>
                    <a:pt x="206" y="180"/>
                  </a:lnTo>
                  <a:lnTo>
                    <a:pt x="208" y="180"/>
                  </a:lnTo>
                  <a:lnTo>
                    <a:pt x="206" y="180"/>
                  </a:lnTo>
                  <a:lnTo>
                    <a:pt x="208" y="180"/>
                  </a:lnTo>
                  <a:lnTo>
                    <a:pt x="210" y="180"/>
                  </a:lnTo>
                  <a:lnTo>
                    <a:pt x="210" y="178"/>
                  </a:lnTo>
                  <a:lnTo>
                    <a:pt x="210" y="180"/>
                  </a:lnTo>
                  <a:lnTo>
                    <a:pt x="211" y="180"/>
                  </a:lnTo>
                  <a:lnTo>
                    <a:pt x="211" y="178"/>
                  </a:lnTo>
                  <a:lnTo>
                    <a:pt x="211" y="180"/>
                  </a:lnTo>
                  <a:lnTo>
                    <a:pt x="213" y="180"/>
                  </a:lnTo>
                  <a:lnTo>
                    <a:pt x="213" y="178"/>
                  </a:lnTo>
                  <a:lnTo>
                    <a:pt x="211" y="178"/>
                  </a:lnTo>
                  <a:lnTo>
                    <a:pt x="211" y="177"/>
                  </a:lnTo>
                  <a:lnTo>
                    <a:pt x="213" y="177"/>
                  </a:lnTo>
                  <a:lnTo>
                    <a:pt x="211" y="177"/>
                  </a:lnTo>
                  <a:lnTo>
                    <a:pt x="213" y="177"/>
                  </a:lnTo>
                  <a:lnTo>
                    <a:pt x="213" y="175"/>
                  </a:lnTo>
                  <a:close/>
                  <a:moveTo>
                    <a:pt x="56" y="111"/>
                  </a:moveTo>
                  <a:lnTo>
                    <a:pt x="58" y="111"/>
                  </a:lnTo>
                  <a:lnTo>
                    <a:pt x="58" y="117"/>
                  </a:lnTo>
                  <a:lnTo>
                    <a:pt x="56" y="117"/>
                  </a:lnTo>
                  <a:lnTo>
                    <a:pt x="56" y="111"/>
                  </a:lnTo>
                  <a:close/>
                  <a:moveTo>
                    <a:pt x="29" y="82"/>
                  </a:moveTo>
                  <a:lnTo>
                    <a:pt x="31" y="82"/>
                  </a:lnTo>
                  <a:lnTo>
                    <a:pt x="31" y="84"/>
                  </a:lnTo>
                  <a:lnTo>
                    <a:pt x="29" y="84"/>
                  </a:lnTo>
                  <a:lnTo>
                    <a:pt x="29" y="82"/>
                  </a:lnTo>
                  <a:close/>
                  <a:moveTo>
                    <a:pt x="54" y="107"/>
                  </a:moveTo>
                  <a:lnTo>
                    <a:pt x="56" y="107"/>
                  </a:lnTo>
                  <a:lnTo>
                    <a:pt x="54" y="107"/>
                  </a:lnTo>
                  <a:lnTo>
                    <a:pt x="56" y="107"/>
                  </a:lnTo>
                  <a:lnTo>
                    <a:pt x="56" y="109"/>
                  </a:lnTo>
                  <a:lnTo>
                    <a:pt x="58" y="109"/>
                  </a:lnTo>
                  <a:lnTo>
                    <a:pt x="56" y="109"/>
                  </a:lnTo>
                  <a:lnTo>
                    <a:pt x="54" y="109"/>
                  </a:lnTo>
                  <a:lnTo>
                    <a:pt x="54" y="107"/>
                  </a:lnTo>
                  <a:lnTo>
                    <a:pt x="52" y="107"/>
                  </a:lnTo>
                  <a:lnTo>
                    <a:pt x="54" y="107"/>
                  </a:lnTo>
                  <a:close/>
                  <a:moveTo>
                    <a:pt x="43" y="90"/>
                  </a:moveTo>
                  <a:lnTo>
                    <a:pt x="44" y="90"/>
                  </a:lnTo>
                  <a:lnTo>
                    <a:pt x="44" y="94"/>
                  </a:lnTo>
                  <a:lnTo>
                    <a:pt x="43" y="94"/>
                  </a:lnTo>
                  <a:lnTo>
                    <a:pt x="43" y="90"/>
                  </a:lnTo>
                  <a:close/>
                  <a:moveTo>
                    <a:pt x="41" y="98"/>
                  </a:moveTo>
                  <a:lnTo>
                    <a:pt x="43" y="98"/>
                  </a:lnTo>
                  <a:lnTo>
                    <a:pt x="41" y="98"/>
                  </a:lnTo>
                  <a:close/>
                  <a:moveTo>
                    <a:pt x="0" y="59"/>
                  </a:moveTo>
                  <a:lnTo>
                    <a:pt x="2" y="59"/>
                  </a:lnTo>
                  <a:lnTo>
                    <a:pt x="0" y="59"/>
                  </a:lnTo>
                  <a:close/>
                  <a:moveTo>
                    <a:pt x="25" y="77"/>
                  </a:moveTo>
                  <a:lnTo>
                    <a:pt x="25" y="79"/>
                  </a:lnTo>
                  <a:lnTo>
                    <a:pt x="25" y="77"/>
                  </a:lnTo>
                  <a:close/>
                  <a:moveTo>
                    <a:pt x="165" y="173"/>
                  </a:moveTo>
                  <a:lnTo>
                    <a:pt x="167" y="173"/>
                  </a:lnTo>
                  <a:lnTo>
                    <a:pt x="167" y="175"/>
                  </a:lnTo>
                  <a:lnTo>
                    <a:pt x="165" y="175"/>
                  </a:lnTo>
                  <a:lnTo>
                    <a:pt x="165" y="173"/>
                  </a:lnTo>
                  <a:close/>
                  <a:moveTo>
                    <a:pt x="169" y="173"/>
                  </a:moveTo>
                  <a:lnTo>
                    <a:pt x="171" y="173"/>
                  </a:lnTo>
                  <a:lnTo>
                    <a:pt x="171" y="175"/>
                  </a:lnTo>
                  <a:lnTo>
                    <a:pt x="169" y="175"/>
                  </a:lnTo>
                  <a:lnTo>
                    <a:pt x="169" y="173"/>
                  </a:lnTo>
                  <a:close/>
                  <a:moveTo>
                    <a:pt x="66" y="130"/>
                  </a:moveTo>
                  <a:lnTo>
                    <a:pt x="67" y="130"/>
                  </a:lnTo>
                  <a:lnTo>
                    <a:pt x="67" y="132"/>
                  </a:lnTo>
                  <a:lnTo>
                    <a:pt x="66" y="132"/>
                  </a:lnTo>
                  <a:lnTo>
                    <a:pt x="66" y="130"/>
                  </a:lnTo>
                  <a:close/>
                  <a:moveTo>
                    <a:pt x="108" y="0"/>
                  </a:moveTo>
                  <a:lnTo>
                    <a:pt x="110" y="0"/>
                  </a:lnTo>
                  <a:lnTo>
                    <a:pt x="110" y="2"/>
                  </a:lnTo>
                  <a:lnTo>
                    <a:pt x="108" y="2"/>
                  </a:lnTo>
                  <a:lnTo>
                    <a:pt x="108" y="0"/>
                  </a:lnTo>
                  <a:close/>
                  <a:moveTo>
                    <a:pt x="169" y="173"/>
                  </a:moveTo>
                  <a:lnTo>
                    <a:pt x="169" y="175"/>
                  </a:lnTo>
                  <a:lnTo>
                    <a:pt x="169" y="173"/>
                  </a:lnTo>
                  <a:close/>
                  <a:moveTo>
                    <a:pt x="77" y="36"/>
                  </a:moveTo>
                  <a:lnTo>
                    <a:pt x="79" y="36"/>
                  </a:lnTo>
                  <a:lnTo>
                    <a:pt x="77" y="36"/>
                  </a:lnTo>
                  <a:close/>
                  <a:moveTo>
                    <a:pt x="66" y="129"/>
                  </a:moveTo>
                  <a:lnTo>
                    <a:pt x="66" y="130"/>
                  </a:lnTo>
                  <a:lnTo>
                    <a:pt x="66" y="129"/>
                  </a:lnTo>
                  <a:close/>
                  <a:moveTo>
                    <a:pt x="31" y="50"/>
                  </a:moveTo>
                  <a:lnTo>
                    <a:pt x="33" y="50"/>
                  </a:lnTo>
                  <a:lnTo>
                    <a:pt x="33" y="52"/>
                  </a:lnTo>
                  <a:lnTo>
                    <a:pt x="31" y="52"/>
                  </a:lnTo>
                  <a:lnTo>
                    <a:pt x="31" y="50"/>
                  </a:lnTo>
                  <a:close/>
                  <a:moveTo>
                    <a:pt x="33" y="84"/>
                  </a:moveTo>
                  <a:lnTo>
                    <a:pt x="35" y="84"/>
                  </a:lnTo>
                  <a:lnTo>
                    <a:pt x="33" y="84"/>
                  </a:lnTo>
                  <a:close/>
                  <a:moveTo>
                    <a:pt x="58" y="111"/>
                  </a:moveTo>
                  <a:lnTo>
                    <a:pt x="60" y="111"/>
                  </a:lnTo>
                  <a:lnTo>
                    <a:pt x="60" y="113"/>
                  </a:lnTo>
                  <a:lnTo>
                    <a:pt x="58" y="113"/>
                  </a:lnTo>
                  <a:lnTo>
                    <a:pt x="58" y="111"/>
                  </a:lnTo>
                  <a:close/>
                  <a:moveTo>
                    <a:pt x="14" y="73"/>
                  </a:moveTo>
                  <a:lnTo>
                    <a:pt x="16" y="73"/>
                  </a:lnTo>
                  <a:lnTo>
                    <a:pt x="14" y="73"/>
                  </a:lnTo>
                  <a:close/>
                  <a:moveTo>
                    <a:pt x="4" y="69"/>
                  </a:moveTo>
                  <a:lnTo>
                    <a:pt x="6" y="69"/>
                  </a:lnTo>
                  <a:lnTo>
                    <a:pt x="4" y="69"/>
                  </a:lnTo>
                  <a:close/>
                  <a:moveTo>
                    <a:pt x="211" y="205"/>
                  </a:moveTo>
                  <a:lnTo>
                    <a:pt x="211" y="207"/>
                  </a:lnTo>
                  <a:lnTo>
                    <a:pt x="211" y="205"/>
                  </a:lnTo>
                  <a:close/>
                  <a:moveTo>
                    <a:pt x="4" y="61"/>
                  </a:moveTo>
                  <a:lnTo>
                    <a:pt x="6" y="61"/>
                  </a:lnTo>
                  <a:lnTo>
                    <a:pt x="4" y="61"/>
                  </a:lnTo>
                  <a:close/>
                  <a:moveTo>
                    <a:pt x="154" y="171"/>
                  </a:moveTo>
                  <a:lnTo>
                    <a:pt x="156" y="171"/>
                  </a:lnTo>
                  <a:lnTo>
                    <a:pt x="154" y="171"/>
                  </a:lnTo>
                  <a:close/>
                  <a:moveTo>
                    <a:pt x="160" y="173"/>
                  </a:moveTo>
                  <a:lnTo>
                    <a:pt x="162" y="173"/>
                  </a:lnTo>
                  <a:lnTo>
                    <a:pt x="160" y="173"/>
                  </a:lnTo>
                  <a:close/>
                  <a:moveTo>
                    <a:pt x="169" y="173"/>
                  </a:moveTo>
                  <a:lnTo>
                    <a:pt x="169" y="175"/>
                  </a:lnTo>
                  <a:lnTo>
                    <a:pt x="169" y="173"/>
                  </a:lnTo>
                  <a:close/>
                  <a:moveTo>
                    <a:pt x="48" y="50"/>
                  </a:moveTo>
                  <a:lnTo>
                    <a:pt x="50" y="50"/>
                  </a:lnTo>
                  <a:lnTo>
                    <a:pt x="48" y="50"/>
                  </a:lnTo>
                  <a:close/>
                  <a:moveTo>
                    <a:pt x="18" y="54"/>
                  </a:moveTo>
                  <a:lnTo>
                    <a:pt x="20" y="54"/>
                  </a:lnTo>
                  <a:lnTo>
                    <a:pt x="18" y="54"/>
                  </a:lnTo>
                  <a:close/>
                  <a:moveTo>
                    <a:pt x="0" y="59"/>
                  </a:moveTo>
                  <a:lnTo>
                    <a:pt x="2" y="59"/>
                  </a:lnTo>
                  <a:lnTo>
                    <a:pt x="0" y="59"/>
                  </a:lnTo>
                  <a:close/>
                  <a:moveTo>
                    <a:pt x="154" y="167"/>
                  </a:moveTo>
                  <a:lnTo>
                    <a:pt x="154" y="169"/>
                  </a:lnTo>
                  <a:lnTo>
                    <a:pt x="154" y="167"/>
                  </a:lnTo>
                  <a:close/>
                  <a:moveTo>
                    <a:pt x="154" y="169"/>
                  </a:moveTo>
                  <a:lnTo>
                    <a:pt x="154" y="171"/>
                  </a:lnTo>
                  <a:lnTo>
                    <a:pt x="154" y="169"/>
                  </a:lnTo>
                  <a:close/>
                  <a:moveTo>
                    <a:pt x="165" y="173"/>
                  </a:moveTo>
                  <a:lnTo>
                    <a:pt x="165" y="175"/>
                  </a:lnTo>
                  <a:lnTo>
                    <a:pt x="165" y="173"/>
                  </a:lnTo>
                  <a:close/>
                  <a:moveTo>
                    <a:pt x="162" y="171"/>
                  </a:moveTo>
                  <a:lnTo>
                    <a:pt x="163" y="171"/>
                  </a:lnTo>
                  <a:lnTo>
                    <a:pt x="162" y="171"/>
                  </a:lnTo>
                  <a:close/>
                  <a:moveTo>
                    <a:pt x="213" y="201"/>
                  </a:moveTo>
                  <a:lnTo>
                    <a:pt x="213" y="203"/>
                  </a:lnTo>
                  <a:lnTo>
                    <a:pt x="213" y="201"/>
                  </a:lnTo>
                  <a:close/>
                  <a:moveTo>
                    <a:pt x="46" y="54"/>
                  </a:moveTo>
                  <a:lnTo>
                    <a:pt x="46" y="56"/>
                  </a:lnTo>
                  <a:lnTo>
                    <a:pt x="46" y="54"/>
                  </a:lnTo>
                  <a:close/>
                  <a:moveTo>
                    <a:pt x="29" y="50"/>
                  </a:moveTo>
                  <a:lnTo>
                    <a:pt x="29" y="52"/>
                  </a:lnTo>
                  <a:lnTo>
                    <a:pt x="29" y="50"/>
                  </a:lnTo>
                  <a:close/>
                  <a:moveTo>
                    <a:pt x="2" y="59"/>
                  </a:moveTo>
                  <a:lnTo>
                    <a:pt x="2" y="61"/>
                  </a:lnTo>
                  <a:lnTo>
                    <a:pt x="2" y="59"/>
                  </a:lnTo>
                  <a:close/>
                  <a:moveTo>
                    <a:pt x="8" y="56"/>
                  </a:moveTo>
                  <a:lnTo>
                    <a:pt x="8" y="57"/>
                  </a:lnTo>
                  <a:lnTo>
                    <a:pt x="8" y="56"/>
                  </a:lnTo>
                  <a:close/>
                  <a:moveTo>
                    <a:pt x="14" y="73"/>
                  </a:moveTo>
                  <a:lnTo>
                    <a:pt x="16" y="73"/>
                  </a:lnTo>
                  <a:lnTo>
                    <a:pt x="14" y="73"/>
                  </a:lnTo>
                  <a:close/>
                  <a:moveTo>
                    <a:pt x="27" y="50"/>
                  </a:moveTo>
                  <a:lnTo>
                    <a:pt x="27" y="52"/>
                  </a:lnTo>
                  <a:lnTo>
                    <a:pt x="27" y="50"/>
                  </a:lnTo>
                  <a:close/>
                  <a:moveTo>
                    <a:pt x="20" y="54"/>
                  </a:moveTo>
                  <a:lnTo>
                    <a:pt x="20" y="56"/>
                  </a:lnTo>
                  <a:lnTo>
                    <a:pt x="20" y="54"/>
                  </a:lnTo>
                  <a:close/>
                  <a:moveTo>
                    <a:pt x="48" y="50"/>
                  </a:moveTo>
                  <a:lnTo>
                    <a:pt x="50" y="50"/>
                  </a:lnTo>
                  <a:lnTo>
                    <a:pt x="48" y="50"/>
                  </a:lnTo>
                  <a:close/>
                  <a:moveTo>
                    <a:pt x="18" y="54"/>
                  </a:moveTo>
                  <a:lnTo>
                    <a:pt x="18" y="56"/>
                  </a:lnTo>
                  <a:lnTo>
                    <a:pt x="18" y="54"/>
                  </a:lnTo>
                  <a:close/>
                  <a:moveTo>
                    <a:pt x="27" y="50"/>
                  </a:moveTo>
                  <a:lnTo>
                    <a:pt x="27" y="52"/>
                  </a:lnTo>
                  <a:lnTo>
                    <a:pt x="27" y="50"/>
                  </a:lnTo>
                  <a:close/>
                  <a:moveTo>
                    <a:pt x="8" y="56"/>
                  </a:moveTo>
                  <a:lnTo>
                    <a:pt x="10" y="56"/>
                  </a:lnTo>
                  <a:lnTo>
                    <a:pt x="8" y="56"/>
                  </a:lnTo>
                  <a:close/>
                  <a:moveTo>
                    <a:pt x="29" y="50"/>
                  </a:moveTo>
                  <a:lnTo>
                    <a:pt x="29" y="52"/>
                  </a:lnTo>
                  <a:lnTo>
                    <a:pt x="29" y="50"/>
                  </a:lnTo>
                  <a:close/>
                  <a:moveTo>
                    <a:pt x="46" y="54"/>
                  </a:moveTo>
                  <a:lnTo>
                    <a:pt x="48" y="54"/>
                  </a:lnTo>
                  <a:lnTo>
                    <a:pt x="46" y="54"/>
                  </a:lnTo>
                  <a:close/>
                  <a:moveTo>
                    <a:pt x="46" y="54"/>
                  </a:moveTo>
                  <a:lnTo>
                    <a:pt x="48" y="54"/>
                  </a:lnTo>
                  <a:lnTo>
                    <a:pt x="46" y="54"/>
                  </a:lnTo>
                  <a:close/>
                  <a:moveTo>
                    <a:pt x="31" y="82"/>
                  </a:moveTo>
                  <a:lnTo>
                    <a:pt x="33" y="82"/>
                  </a:lnTo>
                  <a:lnTo>
                    <a:pt x="31" y="8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Rectangle 377">
              <a:extLst>
                <a:ext uri="{FF2B5EF4-FFF2-40B4-BE49-F238E27FC236}">
                  <a16:creationId xmlns:a16="http://schemas.microsoft.com/office/drawing/2014/main" id="{F0C078A8-1CEE-42E9-AD23-4416F9B0C6BA}"/>
                </a:ext>
              </a:extLst>
            </p:cNvPr>
            <p:cNvSpPr>
              <a:spLocks noChangeArrowheads="1"/>
            </p:cNvSpPr>
            <p:nvPr/>
          </p:nvSpPr>
          <p:spPr bwMode="gray">
            <a:xfrm>
              <a:off x="3379955" y="3402608"/>
              <a:ext cx="2453" cy="4906"/>
            </a:xfrm>
            <a:prstGeom prst="rect">
              <a:avLst/>
            </a:prstGeom>
            <a:solidFill>
              <a:srgbClr val="D0D0D0"/>
            </a:solidFill>
            <a:ln w="6350">
              <a:solidFill>
                <a:schemeClr val="tx1">
                  <a:alpha val="38000"/>
                </a:schemeClr>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Freeform 378">
              <a:extLst>
                <a:ext uri="{FF2B5EF4-FFF2-40B4-BE49-F238E27FC236}">
                  <a16:creationId xmlns:a16="http://schemas.microsoft.com/office/drawing/2014/main" id="{8FB238DF-EF79-41FB-88C5-180231D602C3}"/>
                </a:ext>
              </a:extLst>
            </p:cNvPr>
            <p:cNvSpPr>
              <a:spLocks noEditPoints="1"/>
            </p:cNvSpPr>
            <p:nvPr/>
          </p:nvSpPr>
          <p:spPr bwMode="gray">
            <a:xfrm>
              <a:off x="3316183" y="3386666"/>
              <a:ext cx="80941" cy="53961"/>
            </a:xfrm>
            <a:custGeom>
              <a:avLst/>
              <a:gdLst>
                <a:gd name="T0" fmla="*/ 48 w 66"/>
                <a:gd name="T1" fmla="*/ 6 h 44"/>
                <a:gd name="T2" fmla="*/ 54 w 66"/>
                <a:gd name="T3" fmla="*/ 9 h 44"/>
                <a:gd name="T4" fmla="*/ 52 w 66"/>
                <a:gd name="T5" fmla="*/ 17 h 44"/>
                <a:gd name="T6" fmla="*/ 58 w 66"/>
                <a:gd name="T7" fmla="*/ 21 h 44"/>
                <a:gd name="T8" fmla="*/ 60 w 66"/>
                <a:gd name="T9" fmla="*/ 21 h 44"/>
                <a:gd name="T10" fmla="*/ 66 w 66"/>
                <a:gd name="T11" fmla="*/ 21 h 44"/>
                <a:gd name="T12" fmla="*/ 64 w 66"/>
                <a:gd name="T13" fmla="*/ 29 h 44"/>
                <a:gd name="T14" fmla="*/ 64 w 66"/>
                <a:gd name="T15" fmla="*/ 27 h 44"/>
                <a:gd name="T16" fmla="*/ 60 w 66"/>
                <a:gd name="T17" fmla="*/ 29 h 44"/>
                <a:gd name="T18" fmla="*/ 62 w 66"/>
                <a:gd name="T19" fmla="*/ 32 h 44"/>
                <a:gd name="T20" fmla="*/ 60 w 66"/>
                <a:gd name="T21" fmla="*/ 32 h 44"/>
                <a:gd name="T22" fmla="*/ 58 w 66"/>
                <a:gd name="T23" fmla="*/ 32 h 44"/>
                <a:gd name="T24" fmla="*/ 56 w 66"/>
                <a:gd name="T25" fmla="*/ 32 h 44"/>
                <a:gd name="T26" fmla="*/ 52 w 66"/>
                <a:gd name="T27" fmla="*/ 31 h 44"/>
                <a:gd name="T28" fmla="*/ 50 w 66"/>
                <a:gd name="T29" fmla="*/ 31 h 44"/>
                <a:gd name="T30" fmla="*/ 50 w 66"/>
                <a:gd name="T31" fmla="*/ 29 h 44"/>
                <a:gd name="T32" fmla="*/ 48 w 66"/>
                <a:gd name="T33" fmla="*/ 32 h 44"/>
                <a:gd name="T34" fmla="*/ 45 w 66"/>
                <a:gd name="T35" fmla="*/ 38 h 44"/>
                <a:gd name="T36" fmla="*/ 45 w 66"/>
                <a:gd name="T37" fmla="*/ 44 h 44"/>
                <a:gd name="T38" fmla="*/ 43 w 66"/>
                <a:gd name="T39" fmla="*/ 40 h 44"/>
                <a:gd name="T40" fmla="*/ 41 w 66"/>
                <a:gd name="T41" fmla="*/ 38 h 44"/>
                <a:gd name="T42" fmla="*/ 39 w 66"/>
                <a:gd name="T43" fmla="*/ 34 h 44"/>
                <a:gd name="T44" fmla="*/ 37 w 66"/>
                <a:gd name="T45" fmla="*/ 31 h 44"/>
                <a:gd name="T46" fmla="*/ 33 w 66"/>
                <a:gd name="T47" fmla="*/ 32 h 44"/>
                <a:gd name="T48" fmla="*/ 31 w 66"/>
                <a:gd name="T49" fmla="*/ 36 h 44"/>
                <a:gd name="T50" fmla="*/ 29 w 66"/>
                <a:gd name="T51" fmla="*/ 40 h 44"/>
                <a:gd name="T52" fmla="*/ 27 w 66"/>
                <a:gd name="T53" fmla="*/ 40 h 44"/>
                <a:gd name="T54" fmla="*/ 20 w 66"/>
                <a:gd name="T55" fmla="*/ 42 h 44"/>
                <a:gd name="T56" fmla="*/ 16 w 66"/>
                <a:gd name="T57" fmla="*/ 40 h 44"/>
                <a:gd name="T58" fmla="*/ 12 w 66"/>
                <a:gd name="T59" fmla="*/ 34 h 44"/>
                <a:gd name="T60" fmla="*/ 12 w 66"/>
                <a:gd name="T61" fmla="*/ 32 h 44"/>
                <a:gd name="T62" fmla="*/ 10 w 66"/>
                <a:gd name="T63" fmla="*/ 29 h 44"/>
                <a:gd name="T64" fmla="*/ 6 w 66"/>
                <a:gd name="T65" fmla="*/ 31 h 44"/>
                <a:gd name="T66" fmla="*/ 4 w 66"/>
                <a:gd name="T67" fmla="*/ 34 h 44"/>
                <a:gd name="T68" fmla="*/ 4 w 66"/>
                <a:gd name="T69" fmla="*/ 32 h 44"/>
                <a:gd name="T70" fmla="*/ 0 w 66"/>
                <a:gd name="T71" fmla="*/ 34 h 44"/>
                <a:gd name="T72" fmla="*/ 2 w 66"/>
                <a:gd name="T73" fmla="*/ 27 h 44"/>
                <a:gd name="T74" fmla="*/ 8 w 66"/>
                <a:gd name="T75" fmla="*/ 23 h 44"/>
                <a:gd name="T76" fmla="*/ 8 w 66"/>
                <a:gd name="T77" fmla="*/ 19 h 44"/>
                <a:gd name="T78" fmla="*/ 12 w 66"/>
                <a:gd name="T79" fmla="*/ 17 h 44"/>
                <a:gd name="T80" fmla="*/ 14 w 66"/>
                <a:gd name="T81" fmla="*/ 13 h 44"/>
                <a:gd name="T82" fmla="*/ 16 w 66"/>
                <a:gd name="T83" fmla="*/ 9 h 44"/>
                <a:gd name="T84" fmla="*/ 16 w 66"/>
                <a:gd name="T85" fmla="*/ 9 h 44"/>
                <a:gd name="T86" fmla="*/ 18 w 66"/>
                <a:gd name="T87" fmla="*/ 9 h 44"/>
                <a:gd name="T88" fmla="*/ 23 w 66"/>
                <a:gd name="T89" fmla="*/ 6 h 44"/>
                <a:gd name="T90" fmla="*/ 29 w 66"/>
                <a:gd name="T91" fmla="*/ 6 h 44"/>
                <a:gd name="T92" fmla="*/ 37 w 66"/>
                <a:gd name="T93" fmla="*/ 4 h 44"/>
                <a:gd name="T94" fmla="*/ 37 w 66"/>
                <a:gd name="T95" fmla="*/ 4 h 44"/>
                <a:gd name="T96" fmla="*/ 39 w 66"/>
                <a:gd name="T97" fmla="*/ 0 h 44"/>
                <a:gd name="T98" fmla="*/ 41 w 66"/>
                <a:gd name="T99" fmla="*/ 4 h 44"/>
                <a:gd name="T100" fmla="*/ 41 w 66"/>
                <a:gd name="T101" fmla="*/ 2 h 44"/>
                <a:gd name="T102" fmla="*/ 39 w 66"/>
                <a:gd name="T103"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6" h="44">
                  <a:moveTo>
                    <a:pt x="43" y="4"/>
                  </a:moveTo>
                  <a:lnTo>
                    <a:pt x="45" y="4"/>
                  </a:lnTo>
                  <a:lnTo>
                    <a:pt x="47" y="4"/>
                  </a:lnTo>
                  <a:lnTo>
                    <a:pt x="48" y="4"/>
                  </a:lnTo>
                  <a:lnTo>
                    <a:pt x="48" y="6"/>
                  </a:lnTo>
                  <a:lnTo>
                    <a:pt x="50" y="6"/>
                  </a:lnTo>
                  <a:lnTo>
                    <a:pt x="50" y="7"/>
                  </a:lnTo>
                  <a:lnTo>
                    <a:pt x="52" y="7"/>
                  </a:lnTo>
                  <a:lnTo>
                    <a:pt x="54" y="7"/>
                  </a:lnTo>
                  <a:lnTo>
                    <a:pt x="54" y="9"/>
                  </a:lnTo>
                  <a:lnTo>
                    <a:pt x="54" y="11"/>
                  </a:lnTo>
                  <a:lnTo>
                    <a:pt x="52" y="11"/>
                  </a:lnTo>
                  <a:lnTo>
                    <a:pt x="52" y="13"/>
                  </a:lnTo>
                  <a:lnTo>
                    <a:pt x="52" y="15"/>
                  </a:lnTo>
                  <a:lnTo>
                    <a:pt x="52" y="17"/>
                  </a:lnTo>
                  <a:lnTo>
                    <a:pt x="54" y="17"/>
                  </a:lnTo>
                  <a:lnTo>
                    <a:pt x="56" y="17"/>
                  </a:lnTo>
                  <a:lnTo>
                    <a:pt x="58" y="17"/>
                  </a:lnTo>
                  <a:lnTo>
                    <a:pt x="58" y="19"/>
                  </a:lnTo>
                  <a:lnTo>
                    <a:pt x="58" y="21"/>
                  </a:lnTo>
                  <a:lnTo>
                    <a:pt x="58" y="19"/>
                  </a:lnTo>
                  <a:lnTo>
                    <a:pt x="58" y="21"/>
                  </a:lnTo>
                  <a:lnTo>
                    <a:pt x="58" y="19"/>
                  </a:lnTo>
                  <a:lnTo>
                    <a:pt x="58" y="21"/>
                  </a:lnTo>
                  <a:lnTo>
                    <a:pt x="60" y="21"/>
                  </a:lnTo>
                  <a:lnTo>
                    <a:pt x="62" y="21"/>
                  </a:lnTo>
                  <a:lnTo>
                    <a:pt x="62" y="19"/>
                  </a:lnTo>
                  <a:lnTo>
                    <a:pt x="64" y="19"/>
                  </a:lnTo>
                  <a:lnTo>
                    <a:pt x="66" y="19"/>
                  </a:lnTo>
                  <a:lnTo>
                    <a:pt x="66" y="21"/>
                  </a:lnTo>
                  <a:lnTo>
                    <a:pt x="66" y="23"/>
                  </a:lnTo>
                  <a:lnTo>
                    <a:pt x="66" y="25"/>
                  </a:lnTo>
                  <a:lnTo>
                    <a:pt x="66" y="27"/>
                  </a:lnTo>
                  <a:lnTo>
                    <a:pt x="66" y="29"/>
                  </a:lnTo>
                  <a:lnTo>
                    <a:pt x="64" y="29"/>
                  </a:lnTo>
                  <a:lnTo>
                    <a:pt x="64" y="27"/>
                  </a:lnTo>
                  <a:lnTo>
                    <a:pt x="64" y="29"/>
                  </a:lnTo>
                  <a:lnTo>
                    <a:pt x="64" y="27"/>
                  </a:lnTo>
                  <a:lnTo>
                    <a:pt x="64" y="29"/>
                  </a:lnTo>
                  <a:lnTo>
                    <a:pt x="64" y="27"/>
                  </a:lnTo>
                  <a:lnTo>
                    <a:pt x="62" y="27"/>
                  </a:lnTo>
                  <a:lnTo>
                    <a:pt x="64" y="27"/>
                  </a:lnTo>
                  <a:lnTo>
                    <a:pt x="62" y="27"/>
                  </a:lnTo>
                  <a:lnTo>
                    <a:pt x="60" y="27"/>
                  </a:lnTo>
                  <a:lnTo>
                    <a:pt x="60" y="29"/>
                  </a:lnTo>
                  <a:lnTo>
                    <a:pt x="60" y="31"/>
                  </a:lnTo>
                  <a:lnTo>
                    <a:pt x="62" y="31"/>
                  </a:lnTo>
                  <a:lnTo>
                    <a:pt x="62" y="32"/>
                  </a:lnTo>
                  <a:lnTo>
                    <a:pt x="60" y="32"/>
                  </a:lnTo>
                  <a:lnTo>
                    <a:pt x="62" y="32"/>
                  </a:lnTo>
                  <a:lnTo>
                    <a:pt x="62" y="34"/>
                  </a:lnTo>
                  <a:lnTo>
                    <a:pt x="60" y="34"/>
                  </a:lnTo>
                  <a:lnTo>
                    <a:pt x="60" y="32"/>
                  </a:lnTo>
                  <a:lnTo>
                    <a:pt x="58" y="32"/>
                  </a:lnTo>
                  <a:lnTo>
                    <a:pt x="60" y="32"/>
                  </a:lnTo>
                  <a:lnTo>
                    <a:pt x="58" y="32"/>
                  </a:lnTo>
                  <a:lnTo>
                    <a:pt x="58" y="31"/>
                  </a:lnTo>
                  <a:lnTo>
                    <a:pt x="58" y="32"/>
                  </a:lnTo>
                  <a:lnTo>
                    <a:pt x="58" y="31"/>
                  </a:lnTo>
                  <a:lnTo>
                    <a:pt x="58" y="32"/>
                  </a:lnTo>
                  <a:lnTo>
                    <a:pt x="58" y="31"/>
                  </a:lnTo>
                  <a:lnTo>
                    <a:pt x="58" y="32"/>
                  </a:lnTo>
                  <a:lnTo>
                    <a:pt x="56" y="32"/>
                  </a:lnTo>
                  <a:lnTo>
                    <a:pt x="54" y="32"/>
                  </a:lnTo>
                  <a:lnTo>
                    <a:pt x="56" y="32"/>
                  </a:lnTo>
                  <a:lnTo>
                    <a:pt x="54" y="32"/>
                  </a:lnTo>
                  <a:lnTo>
                    <a:pt x="56" y="32"/>
                  </a:lnTo>
                  <a:lnTo>
                    <a:pt x="54" y="32"/>
                  </a:lnTo>
                  <a:lnTo>
                    <a:pt x="52" y="32"/>
                  </a:lnTo>
                  <a:lnTo>
                    <a:pt x="52" y="31"/>
                  </a:lnTo>
                  <a:lnTo>
                    <a:pt x="50" y="31"/>
                  </a:lnTo>
                  <a:lnTo>
                    <a:pt x="52" y="31"/>
                  </a:lnTo>
                  <a:lnTo>
                    <a:pt x="50" y="31"/>
                  </a:lnTo>
                  <a:lnTo>
                    <a:pt x="52" y="31"/>
                  </a:lnTo>
                  <a:lnTo>
                    <a:pt x="50" y="31"/>
                  </a:lnTo>
                  <a:lnTo>
                    <a:pt x="50" y="29"/>
                  </a:lnTo>
                  <a:lnTo>
                    <a:pt x="52" y="29"/>
                  </a:lnTo>
                  <a:lnTo>
                    <a:pt x="50" y="29"/>
                  </a:lnTo>
                  <a:lnTo>
                    <a:pt x="52" y="29"/>
                  </a:lnTo>
                  <a:lnTo>
                    <a:pt x="50" y="29"/>
                  </a:lnTo>
                  <a:lnTo>
                    <a:pt x="52" y="29"/>
                  </a:lnTo>
                  <a:lnTo>
                    <a:pt x="50" y="29"/>
                  </a:lnTo>
                  <a:lnTo>
                    <a:pt x="48" y="29"/>
                  </a:lnTo>
                  <a:lnTo>
                    <a:pt x="48" y="31"/>
                  </a:lnTo>
                  <a:lnTo>
                    <a:pt x="48" y="32"/>
                  </a:lnTo>
                  <a:lnTo>
                    <a:pt x="48" y="34"/>
                  </a:lnTo>
                  <a:lnTo>
                    <a:pt x="47" y="34"/>
                  </a:lnTo>
                  <a:lnTo>
                    <a:pt x="47" y="36"/>
                  </a:lnTo>
                  <a:lnTo>
                    <a:pt x="47" y="38"/>
                  </a:lnTo>
                  <a:lnTo>
                    <a:pt x="45" y="38"/>
                  </a:lnTo>
                  <a:lnTo>
                    <a:pt x="45" y="40"/>
                  </a:lnTo>
                  <a:lnTo>
                    <a:pt x="45" y="42"/>
                  </a:lnTo>
                  <a:lnTo>
                    <a:pt x="47" y="42"/>
                  </a:lnTo>
                  <a:lnTo>
                    <a:pt x="45" y="42"/>
                  </a:lnTo>
                  <a:lnTo>
                    <a:pt x="45" y="44"/>
                  </a:lnTo>
                  <a:lnTo>
                    <a:pt x="45" y="42"/>
                  </a:lnTo>
                  <a:lnTo>
                    <a:pt x="43" y="42"/>
                  </a:lnTo>
                  <a:lnTo>
                    <a:pt x="45" y="42"/>
                  </a:lnTo>
                  <a:lnTo>
                    <a:pt x="43" y="42"/>
                  </a:lnTo>
                  <a:lnTo>
                    <a:pt x="43" y="40"/>
                  </a:lnTo>
                  <a:lnTo>
                    <a:pt x="41" y="40"/>
                  </a:lnTo>
                  <a:lnTo>
                    <a:pt x="41" y="38"/>
                  </a:lnTo>
                  <a:lnTo>
                    <a:pt x="43" y="38"/>
                  </a:lnTo>
                  <a:lnTo>
                    <a:pt x="41" y="36"/>
                  </a:lnTo>
                  <a:lnTo>
                    <a:pt x="41" y="38"/>
                  </a:lnTo>
                  <a:lnTo>
                    <a:pt x="41" y="36"/>
                  </a:lnTo>
                  <a:lnTo>
                    <a:pt x="41" y="38"/>
                  </a:lnTo>
                  <a:lnTo>
                    <a:pt x="41" y="36"/>
                  </a:lnTo>
                  <a:lnTo>
                    <a:pt x="39" y="36"/>
                  </a:lnTo>
                  <a:lnTo>
                    <a:pt x="39" y="34"/>
                  </a:lnTo>
                  <a:lnTo>
                    <a:pt x="37" y="34"/>
                  </a:lnTo>
                  <a:lnTo>
                    <a:pt x="37" y="32"/>
                  </a:lnTo>
                  <a:lnTo>
                    <a:pt x="37" y="31"/>
                  </a:lnTo>
                  <a:lnTo>
                    <a:pt x="37" y="29"/>
                  </a:lnTo>
                  <a:lnTo>
                    <a:pt x="37" y="31"/>
                  </a:lnTo>
                  <a:lnTo>
                    <a:pt x="37" y="29"/>
                  </a:lnTo>
                  <a:lnTo>
                    <a:pt x="37" y="31"/>
                  </a:lnTo>
                  <a:lnTo>
                    <a:pt x="35" y="31"/>
                  </a:lnTo>
                  <a:lnTo>
                    <a:pt x="35" y="32"/>
                  </a:lnTo>
                  <a:lnTo>
                    <a:pt x="33" y="32"/>
                  </a:lnTo>
                  <a:lnTo>
                    <a:pt x="31" y="32"/>
                  </a:lnTo>
                  <a:lnTo>
                    <a:pt x="31" y="34"/>
                  </a:lnTo>
                  <a:lnTo>
                    <a:pt x="33" y="34"/>
                  </a:lnTo>
                  <a:lnTo>
                    <a:pt x="33" y="36"/>
                  </a:lnTo>
                  <a:lnTo>
                    <a:pt x="31" y="36"/>
                  </a:lnTo>
                  <a:lnTo>
                    <a:pt x="33" y="36"/>
                  </a:lnTo>
                  <a:lnTo>
                    <a:pt x="31" y="36"/>
                  </a:lnTo>
                  <a:lnTo>
                    <a:pt x="31" y="38"/>
                  </a:lnTo>
                  <a:lnTo>
                    <a:pt x="29" y="38"/>
                  </a:lnTo>
                  <a:lnTo>
                    <a:pt x="29" y="40"/>
                  </a:lnTo>
                  <a:lnTo>
                    <a:pt x="27" y="40"/>
                  </a:lnTo>
                  <a:lnTo>
                    <a:pt x="27" y="42"/>
                  </a:lnTo>
                  <a:lnTo>
                    <a:pt x="27" y="40"/>
                  </a:lnTo>
                  <a:lnTo>
                    <a:pt x="27" y="42"/>
                  </a:lnTo>
                  <a:lnTo>
                    <a:pt x="27" y="40"/>
                  </a:lnTo>
                  <a:lnTo>
                    <a:pt x="25" y="40"/>
                  </a:lnTo>
                  <a:lnTo>
                    <a:pt x="23" y="40"/>
                  </a:lnTo>
                  <a:lnTo>
                    <a:pt x="22" y="40"/>
                  </a:lnTo>
                  <a:lnTo>
                    <a:pt x="22" y="42"/>
                  </a:lnTo>
                  <a:lnTo>
                    <a:pt x="20" y="42"/>
                  </a:lnTo>
                  <a:lnTo>
                    <a:pt x="20" y="40"/>
                  </a:lnTo>
                  <a:lnTo>
                    <a:pt x="20" y="42"/>
                  </a:lnTo>
                  <a:lnTo>
                    <a:pt x="18" y="42"/>
                  </a:lnTo>
                  <a:lnTo>
                    <a:pt x="16" y="42"/>
                  </a:lnTo>
                  <a:lnTo>
                    <a:pt x="16" y="40"/>
                  </a:lnTo>
                  <a:lnTo>
                    <a:pt x="16" y="38"/>
                  </a:lnTo>
                  <a:lnTo>
                    <a:pt x="14" y="38"/>
                  </a:lnTo>
                  <a:lnTo>
                    <a:pt x="14" y="36"/>
                  </a:lnTo>
                  <a:lnTo>
                    <a:pt x="12" y="36"/>
                  </a:lnTo>
                  <a:lnTo>
                    <a:pt x="12" y="34"/>
                  </a:lnTo>
                  <a:lnTo>
                    <a:pt x="14" y="34"/>
                  </a:lnTo>
                  <a:lnTo>
                    <a:pt x="12" y="34"/>
                  </a:lnTo>
                  <a:lnTo>
                    <a:pt x="14" y="34"/>
                  </a:lnTo>
                  <a:lnTo>
                    <a:pt x="14" y="32"/>
                  </a:lnTo>
                  <a:lnTo>
                    <a:pt x="12" y="32"/>
                  </a:lnTo>
                  <a:lnTo>
                    <a:pt x="12" y="31"/>
                  </a:lnTo>
                  <a:lnTo>
                    <a:pt x="14" y="31"/>
                  </a:lnTo>
                  <a:lnTo>
                    <a:pt x="12" y="31"/>
                  </a:lnTo>
                  <a:lnTo>
                    <a:pt x="12" y="29"/>
                  </a:lnTo>
                  <a:lnTo>
                    <a:pt x="10" y="29"/>
                  </a:lnTo>
                  <a:lnTo>
                    <a:pt x="8" y="29"/>
                  </a:lnTo>
                  <a:lnTo>
                    <a:pt x="6" y="29"/>
                  </a:lnTo>
                  <a:lnTo>
                    <a:pt x="6" y="31"/>
                  </a:lnTo>
                  <a:lnTo>
                    <a:pt x="6" y="29"/>
                  </a:lnTo>
                  <a:lnTo>
                    <a:pt x="6" y="31"/>
                  </a:lnTo>
                  <a:lnTo>
                    <a:pt x="4" y="31"/>
                  </a:lnTo>
                  <a:lnTo>
                    <a:pt x="4" y="32"/>
                  </a:lnTo>
                  <a:lnTo>
                    <a:pt x="2" y="32"/>
                  </a:lnTo>
                  <a:lnTo>
                    <a:pt x="2" y="34"/>
                  </a:lnTo>
                  <a:lnTo>
                    <a:pt x="4" y="34"/>
                  </a:lnTo>
                  <a:lnTo>
                    <a:pt x="2" y="34"/>
                  </a:lnTo>
                  <a:lnTo>
                    <a:pt x="4" y="34"/>
                  </a:lnTo>
                  <a:lnTo>
                    <a:pt x="4" y="32"/>
                  </a:lnTo>
                  <a:lnTo>
                    <a:pt x="4" y="34"/>
                  </a:lnTo>
                  <a:lnTo>
                    <a:pt x="4" y="32"/>
                  </a:lnTo>
                  <a:lnTo>
                    <a:pt x="4" y="34"/>
                  </a:lnTo>
                  <a:lnTo>
                    <a:pt x="4" y="36"/>
                  </a:lnTo>
                  <a:lnTo>
                    <a:pt x="2" y="36"/>
                  </a:lnTo>
                  <a:lnTo>
                    <a:pt x="0" y="36"/>
                  </a:lnTo>
                  <a:lnTo>
                    <a:pt x="0" y="34"/>
                  </a:lnTo>
                  <a:lnTo>
                    <a:pt x="2" y="34"/>
                  </a:lnTo>
                  <a:lnTo>
                    <a:pt x="2" y="32"/>
                  </a:lnTo>
                  <a:lnTo>
                    <a:pt x="2" y="31"/>
                  </a:lnTo>
                  <a:lnTo>
                    <a:pt x="2" y="29"/>
                  </a:lnTo>
                  <a:lnTo>
                    <a:pt x="2" y="27"/>
                  </a:lnTo>
                  <a:lnTo>
                    <a:pt x="4" y="27"/>
                  </a:lnTo>
                  <a:lnTo>
                    <a:pt x="4" y="25"/>
                  </a:lnTo>
                  <a:lnTo>
                    <a:pt x="6" y="25"/>
                  </a:lnTo>
                  <a:lnTo>
                    <a:pt x="6" y="23"/>
                  </a:lnTo>
                  <a:lnTo>
                    <a:pt x="8" y="23"/>
                  </a:lnTo>
                  <a:lnTo>
                    <a:pt x="6" y="23"/>
                  </a:lnTo>
                  <a:lnTo>
                    <a:pt x="6" y="21"/>
                  </a:lnTo>
                  <a:lnTo>
                    <a:pt x="8" y="21"/>
                  </a:lnTo>
                  <a:lnTo>
                    <a:pt x="6" y="19"/>
                  </a:lnTo>
                  <a:lnTo>
                    <a:pt x="8" y="19"/>
                  </a:lnTo>
                  <a:lnTo>
                    <a:pt x="10" y="19"/>
                  </a:lnTo>
                  <a:lnTo>
                    <a:pt x="10" y="17"/>
                  </a:lnTo>
                  <a:lnTo>
                    <a:pt x="12" y="17"/>
                  </a:lnTo>
                  <a:lnTo>
                    <a:pt x="10" y="17"/>
                  </a:lnTo>
                  <a:lnTo>
                    <a:pt x="12" y="17"/>
                  </a:lnTo>
                  <a:lnTo>
                    <a:pt x="10" y="17"/>
                  </a:lnTo>
                  <a:lnTo>
                    <a:pt x="12" y="17"/>
                  </a:lnTo>
                  <a:lnTo>
                    <a:pt x="12" y="15"/>
                  </a:lnTo>
                  <a:lnTo>
                    <a:pt x="14" y="15"/>
                  </a:lnTo>
                  <a:lnTo>
                    <a:pt x="14" y="13"/>
                  </a:lnTo>
                  <a:lnTo>
                    <a:pt x="14" y="11"/>
                  </a:lnTo>
                  <a:lnTo>
                    <a:pt x="16" y="11"/>
                  </a:lnTo>
                  <a:lnTo>
                    <a:pt x="16" y="9"/>
                  </a:lnTo>
                  <a:lnTo>
                    <a:pt x="16" y="11"/>
                  </a:lnTo>
                  <a:lnTo>
                    <a:pt x="16" y="9"/>
                  </a:lnTo>
                  <a:lnTo>
                    <a:pt x="14" y="11"/>
                  </a:lnTo>
                  <a:lnTo>
                    <a:pt x="14" y="9"/>
                  </a:lnTo>
                  <a:lnTo>
                    <a:pt x="14" y="11"/>
                  </a:lnTo>
                  <a:lnTo>
                    <a:pt x="14" y="9"/>
                  </a:lnTo>
                  <a:lnTo>
                    <a:pt x="16" y="9"/>
                  </a:lnTo>
                  <a:lnTo>
                    <a:pt x="16" y="7"/>
                  </a:lnTo>
                  <a:lnTo>
                    <a:pt x="16" y="9"/>
                  </a:lnTo>
                  <a:lnTo>
                    <a:pt x="16" y="7"/>
                  </a:lnTo>
                  <a:lnTo>
                    <a:pt x="18" y="7"/>
                  </a:lnTo>
                  <a:lnTo>
                    <a:pt x="18" y="9"/>
                  </a:lnTo>
                  <a:lnTo>
                    <a:pt x="20" y="9"/>
                  </a:lnTo>
                  <a:lnTo>
                    <a:pt x="22" y="9"/>
                  </a:lnTo>
                  <a:lnTo>
                    <a:pt x="22" y="7"/>
                  </a:lnTo>
                  <a:lnTo>
                    <a:pt x="23" y="7"/>
                  </a:lnTo>
                  <a:lnTo>
                    <a:pt x="23" y="6"/>
                  </a:lnTo>
                  <a:lnTo>
                    <a:pt x="25" y="6"/>
                  </a:lnTo>
                  <a:lnTo>
                    <a:pt x="25" y="7"/>
                  </a:lnTo>
                  <a:lnTo>
                    <a:pt x="25" y="6"/>
                  </a:lnTo>
                  <a:lnTo>
                    <a:pt x="27" y="6"/>
                  </a:lnTo>
                  <a:lnTo>
                    <a:pt x="29" y="6"/>
                  </a:lnTo>
                  <a:lnTo>
                    <a:pt x="31" y="6"/>
                  </a:lnTo>
                  <a:lnTo>
                    <a:pt x="33" y="6"/>
                  </a:lnTo>
                  <a:lnTo>
                    <a:pt x="35" y="6"/>
                  </a:lnTo>
                  <a:lnTo>
                    <a:pt x="37" y="6"/>
                  </a:lnTo>
                  <a:lnTo>
                    <a:pt x="37" y="4"/>
                  </a:lnTo>
                  <a:lnTo>
                    <a:pt x="39" y="6"/>
                  </a:lnTo>
                  <a:lnTo>
                    <a:pt x="39" y="4"/>
                  </a:lnTo>
                  <a:lnTo>
                    <a:pt x="37" y="4"/>
                  </a:lnTo>
                  <a:lnTo>
                    <a:pt x="35" y="4"/>
                  </a:lnTo>
                  <a:lnTo>
                    <a:pt x="37" y="4"/>
                  </a:lnTo>
                  <a:lnTo>
                    <a:pt x="35" y="4"/>
                  </a:lnTo>
                  <a:lnTo>
                    <a:pt x="37" y="4"/>
                  </a:lnTo>
                  <a:lnTo>
                    <a:pt x="37" y="2"/>
                  </a:lnTo>
                  <a:lnTo>
                    <a:pt x="39" y="2"/>
                  </a:lnTo>
                  <a:lnTo>
                    <a:pt x="39" y="0"/>
                  </a:lnTo>
                  <a:lnTo>
                    <a:pt x="39" y="2"/>
                  </a:lnTo>
                  <a:lnTo>
                    <a:pt x="39" y="0"/>
                  </a:lnTo>
                  <a:lnTo>
                    <a:pt x="39" y="2"/>
                  </a:lnTo>
                  <a:lnTo>
                    <a:pt x="41" y="2"/>
                  </a:lnTo>
                  <a:lnTo>
                    <a:pt x="41" y="4"/>
                  </a:lnTo>
                  <a:lnTo>
                    <a:pt x="43" y="4"/>
                  </a:lnTo>
                  <a:lnTo>
                    <a:pt x="41" y="4"/>
                  </a:lnTo>
                  <a:lnTo>
                    <a:pt x="41" y="2"/>
                  </a:lnTo>
                  <a:lnTo>
                    <a:pt x="43" y="2"/>
                  </a:lnTo>
                  <a:lnTo>
                    <a:pt x="41" y="2"/>
                  </a:lnTo>
                  <a:lnTo>
                    <a:pt x="43" y="2"/>
                  </a:lnTo>
                  <a:lnTo>
                    <a:pt x="43" y="4"/>
                  </a:lnTo>
                  <a:lnTo>
                    <a:pt x="43" y="2"/>
                  </a:lnTo>
                  <a:lnTo>
                    <a:pt x="43" y="4"/>
                  </a:lnTo>
                  <a:close/>
                  <a:moveTo>
                    <a:pt x="39" y="2"/>
                  </a:moveTo>
                  <a:lnTo>
                    <a:pt x="41" y="2"/>
                  </a:lnTo>
                  <a:lnTo>
                    <a:pt x="41" y="4"/>
                  </a:lnTo>
                  <a:lnTo>
                    <a:pt x="39" y="4"/>
                  </a:lnTo>
                  <a:lnTo>
                    <a:pt x="39" y="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379">
              <a:extLst>
                <a:ext uri="{FF2B5EF4-FFF2-40B4-BE49-F238E27FC236}">
                  <a16:creationId xmlns:a16="http://schemas.microsoft.com/office/drawing/2014/main" id="{2C2772BA-2D5B-4BFE-BCA0-FDF0C6BFB1AF}"/>
                </a:ext>
              </a:extLst>
            </p:cNvPr>
            <p:cNvSpPr>
              <a:spLocks/>
            </p:cNvSpPr>
            <p:nvPr/>
          </p:nvSpPr>
          <p:spPr bwMode="gray">
            <a:xfrm>
              <a:off x="3312504" y="3322894"/>
              <a:ext cx="13491" cy="20849"/>
            </a:xfrm>
            <a:custGeom>
              <a:avLst/>
              <a:gdLst>
                <a:gd name="T0" fmla="*/ 5 w 11"/>
                <a:gd name="T1" fmla="*/ 0 h 17"/>
                <a:gd name="T2" fmla="*/ 5 w 11"/>
                <a:gd name="T3" fmla="*/ 2 h 17"/>
                <a:gd name="T4" fmla="*/ 5 w 11"/>
                <a:gd name="T5" fmla="*/ 4 h 17"/>
                <a:gd name="T6" fmla="*/ 5 w 11"/>
                <a:gd name="T7" fmla="*/ 6 h 17"/>
                <a:gd name="T8" fmla="*/ 7 w 11"/>
                <a:gd name="T9" fmla="*/ 6 h 17"/>
                <a:gd name="T10" fmla="*/ 7 w 11"/>
                <a:gd name="T11" fmla="*/ 4 h 17"/>
                <a:gd name="T12" fmla="*/ 5 w 11"/>
                <a:gd name="T13" fmla="*/ 4 h 17"/>
                <a:gd name="T14" fmla="*/ 7 w 11"/>
                <a:gd name="T15" fmla="*/ 4 h 17"/>
                <a:gd name="T16" fmla="*/ 7 w 11"/>
                <a:gd name="T17" fmla="*/ 6 h 17"/>
                <a:gd name="T18" fmla="*/ 7 w 11"/>
                <a:gd name="T19" fmla="*/ 8 h 17"/>
                <a:gd name="T20" fmla="*/ 7 w 11"/>
                <a:gd name="T21" fmla="*/ 6 h 17"/>
                <a:gd name="T22" fmla="*/ 7 w 11"/>
                <a:gd name="T23" fmla="*/ 8 h 17"/>
                <a:gd name="T24" fmla="*/ 9 w 11"/>
                <a:gd name="T25" fmla="*/ 8 h 17"/>
                <a:gd name="T26" fmla="*/ 11 w 11"/>
                <a:gd name="T27" fmla="*/ 8 h 17"/>
                <a:gd name="T28" fmla="*/ 11 w 11"/>
                <a:gd name="T29" fmla="*/ 10 h 17"/>
                <a:gd name="T30" fmla="*/ 11 w 11"/>
                <a:gd name="T31" fmla="*/ 11 h 17"/>
                <a:gd name="T32" fmla="*/ 9 w 11"/>
                <a:gd name="T33" fmla="*/ 11 h 17"/>
                <a:gd name="T34" fmla="*/ 9 w 11"/>
                <a:gd name="T35" fmla="*/ 13 h 17"/>
                <a:gd name="T36" fmla="*/ 9 w 11"/>
                <a:gd name="T37" fmla="*/ 15 h 17"/>
                <a:gd name="T38" fmla="*/ 7 w 11"/>
                <a:gd name="T39" fmla="*/ 15 h 17"/>
                <a:gd name="T40" fmla="*/ 5 w 11"/>
                <a:gd name="T41" fmla="*/ 15 h 17"/>
                <a:gd name="T42" fmla="*/ 3 w 11"/>
                <a:gd name="T43" fmla="*/ 15 h 17"/>
                <a:gd name="T44" fmla="*/ 3 w 11"/>
                <a:gd name="T45" fmla="*/ 17 h 17"/>
                <a:gd name="T46" fmla="*/ 3 w 11"/>
                <a:gd name="T47" fmla="*/ 15 h 17"/>
                <a:gd name="T48" fmla="*/ 2 w 11"/>
                <a:gd name="T49" fmla="*/ 15 h 17"/>
                <a:gd name="T50" fmla="*/ 2 w 11"/>
                <a:gd name="T51" fmla="*/ 13 h 17"/>
                <a:gd name="T52" fmla="*/ 2 w 11"/>
                <a:gd name="T53" fmla="*/ 11 h 17"/>
                <a:gd name="T54" fmla="*/ 2 w 11"/>
                <a:gd name="T55" fmla="*/ 10 h 17"/>
                <a:gd name="T56" fmla="*/ 2 w 11"/>
                <a:gd name="T57" fmla="*/ 8 h 17"/>
                <a:gd name="T58" fmla="*/ 0 w 11"/>
                <a:gd name="T59" fmla="*/ 8 h 17"/>
                <a:gd name="T60" fmla="*/ 0 w 11"/>
                <a:gd name="T61" fmla="*/ 6 h 17"/>
                <a:gd name="T62" fmla="*/ 0 w 11"/>
                <a:gd name="T63" fmla="*/ 4 h 17"/>
                <a:gd name="T64" fmla="*/ 2 w 11"/>
                <a:gd name="T65" fmla="*/ 4 h 17"/>
                <a:gd name="T66" fmla="*/ 2 w 11"/>
                <a:gd name="T67" fmla="*/ 2 h 17"/>
                <a:gd name="T68" fmla="*/ 3 w 11"/>
                <a:gd name="T69" fmla="*/ 2 h 17"/>
                <a:gd name="T70" fmla="*/ 3 w 11"/>
                <a:gd name="T71" fmla="*/ 0 h 17"/>
                <a:gd name="T72" fmla="*/ 5 w 11"/>
                <a:gd name="T7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17">
                  <a:moveTo>
                    <a:pt x="5" y="0"/>
                  </a:moveTo>
                  <a:lnTo>
                    <a:pt x="5" y="2"/>
                  </a:lnTo>
                  <a:lnTo>
                    <a:pt x="5" y="4"/>
                  </a:lnTo>
                  <a:lnTo>
                    <a:pt x="5" y="6"/>
                  </a:lnTo>
                  <a:lnTo>
                    <a:pt x="7" y="6"/>
                  </a:lnTo>
                  <a:lnTo>
                    <a:pt x="7" y="4"/>
                  </a:lnTo>
                  <a:lnTo>
                    <a:pt x="5" y="4"/>
                  </a:lnTo>
                  <a:lnTo>
                    <a:pt x="7" y="4"/>
                  </a:lnTo>
                  <a:lnTo>
                    <a:pt x="7" y="6"/>
                  </a:lnTo>
                  <a:lnTo>
                    <a:pt x="7" y="8"/>
                  </a:lnTo>
                  <a:lnTo>
                    <a:pt x="7" y="6"/>
                  </a:lnTo>
                  <a:lnTo>
                    <a:pt x="7" y="8"/>
                  </a:lnTo>
                  <a:lnTo>
                    <a:pt x="9" y="8"/>
                  </a:lnTo>
                  <a:lnTo>
                    <a:pt x="11" y="8"/>
                  </a:lnTo>
                  <a:lnTo>
                    <a:pt x="11" y="10"/>
                  </a:lnTo>
                  <a:lnTo>
                    <a:pt x="11" y="11"/>
                  </a:lnTo>
                  <a:lnTo>
                    <a:pt x="9" y="11"/>
                  </a:lnTo>
                  <a:lnTo>
                    <a:pt x="9" y="13"/>
                  </a:lnTo>
                  <a:lnTo>
                    <a:pt x="9" y="15"/>
                  </a:lnTo>
                  <a:lnTo>
                    <a:pt x="7" y="15"/>
                  </a:lnTo>
                  <a:lnTo>
                    <a:pt x="5" y="15"/>
                  </a:lnTo>
                  <a:lnTo>
                    <a:pt x="3" y="15"/>
                  </a:lnTo>
                  <a:lnTo>
                    <a:pt x="3" y="17"/>
                  </a:lnTo>
                  <a:lnTo>
                    <a:pt x="3" y="15"/>
                  </a:lnTo>
                  <a:lnTo>
                    <a:pt x="2" y="15"/>
                  </a:lnTo>
                  <a:lnTo>
                    <a:pt x="2" y="13"/>
                  </a:lnTo>
                  <a:lnTo>
                    <a:pt x="2" y="11"/>
                  </a:lnTo>
                  <a:lnTo>
                    <a:pt x="2" y="10"/>
                  </a:lnTo>
                  <a:lnTo>
                    <a:pt x="2" y="8"/>
                  </a:lnTo>
                  <a:lnTo>
                    <a:pt x="0" y="8"/>
                  </a:lnTo>
                  <a:lnTo>
                    <a:pt x="0" y="6"/>
                  </a:lnTo>
                  <a:lnTo>
                    <a:pt x="0" y="4"/>
                  </a:lnTo>
                  <a:lnTo>
                    <a:pt x="2" y="4"/>
                  </a:lnTo>
                  <a:lnTo>
                    <a:pt x="2" y="2"/>
                  </a:lnTo>
                  <a:lnTo>
                    <a:pt x="3" y="2"/>
                  </a:lnTo>
                  <a:lnTo>
                    <a:pt x="3" y="0"/>
                  </a:lnTo>
                  <a:lnTo>
                    <a:pt x="5"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380">
              <a:extLst>
                <a:ext uri="{FF2B5EF4-FFF2-40B4-BE49-F238E27FC236}">
                  <a16:creationId xmlns:a16="http://schemas.microsoft.com/office/drawing/2014/main" id="{71D07CB0-A27A-48D0-AADC-F129A5DE105B}"/>
                </a:ext>
              </a:extLst>
            </p:cNvPr>
            <p:cNvSpPr>
              <a:spLocks noEditPoints="1"/>
            </p:cNvSpPr>
            <p:nvPr/>
          </p:nvSpPr>
          <p:spPr bwMode="gray">
            <a:xfrm>
              <a:off x="3256091" y="3284876"/>
              <a:ext cx="67451" cy="56413"/>
            </a:xfrm>
            <a:custGeom>
              <a:avLst/>
              <a:gdLst>
                <a:gd name="T0" fmla="*/ 51 w 55"/>
                <a:gd name="T1" fmla="*/ 19 h 46"/>
                <a:gd name="T2" fmla="*/ 53 w 55"/>
                <a:gd name="T3" fmla="*/ 19 h 46"/>
                <a:gd name="T4" fmla="*/ 51 w 55"/>
                <a:gd name="T5" fmla="*/ 21 h 46"/>
                <a:gd name="T6" fmla="*/ 53 w 55"/>
                <a:gd name="T7" fmla="*/ 21 h 46"/>
                <a:gd name="T8" fmla="*/ 53 w 55"/>
                <a:gd name="T9" fmla="*/ 23 h 46"/>
                <a:gd name="T10" fmla="*/ 55 w 55"/>
                <a:gd name="T11" fmla="*/ 27 h 46"/>
                <a:gd name="T12" fmla="*/ 51 w 55"/>
                <a:gd name="T13" fmla="*/ 29 h 46"/>
                <a:gd name="T14" fmla="*/ 49 w 55"/>
                <a:gd name="T15" fmla="*/ 31 h 46"/>
                <a:gd name="T16" fmla="*/ 48 w 55"/>
                <a:gd name="T17" fmla="*/ 35 h 46"/>
                <a:gd name="T18" fmla="*/ 46 w 55"/>
                <a:gd name="T19" fmla="*/ 39 h 46"/>
                <a:gd name="T20" fmla="*/ 48 w 55"/>
                <a:gd name="T21" fmla="*/ 42 h 46"/>
                <a:gd name="T22" fmla="*/ 44 w 55"/>
                <a:gd name="T23" fmla="*/ 44 h 46"/>
                <a:gd name="T24" fmla="*/ 42 w 55"/>
                <a:gd name="T25" fmla="*/ 44 h 46"/>
                <a:gd name="T26" fmla="*/ 40 w 55"/>
                <a:gd name="T27" fmla="*/ 44 h 46"/>
                <a:gd name="T28" fmla="*/ 38 w 55"/>
                <a:gd name="T29" fmla="*/ 41 h 46"/>
                <a:gd name="T30" fmla="*/ 34 w 55"/>
                <a:gd name="T31" fmla="*/ 39 h 46"/>
                <a:gd name="T32" fmla="*/ 34 w 55"/>
                <a:gd name="T33" fmla="*/ 41 h 46"/>
                <a:gd name="T34" fmla="*/ 34 w 55"/>
                <a:gd name="T35" fmla="*/ 39 h 46"/>
                <a:gd name="T36" fmla="*/ 34 w 55"/>
                <a:gd name="T37" fmla="*/ 37 h 46"/>
                <a:gd name="T38" fmla="*/ 32 w 55"/>
                <a:gd name="T39" fmla="*/ 37 h 46"/>
                <a:gd name="T40" fmla="*/ 34 w 55"/>
                <a:gd name="T41" fmla="*/ 33 h 46"/>
                <a:gd name="T42" fmla="*/ 32 w 55"/>
                <a:gd name="T43" fmla="*/ 33 h 46"/>
                <a:gd name="T44" fmla="*/ 32 w 55"/>
                <a:gd name="T45" fmla="*/ 31 h 46"/>
                <a:gd name="T46" fmla="*/ 30 w 55"/>
                <a:gd name="T47" fmla="*/ 35 h 46"/>
                <a:gd name="T48" fmla="*/ 26 w 55"/>
                <a:gd name="T49" fmla="*/ 37 h 46"/>
                <a:gd name="T50" fmla="*/ 24 w 55"/>
                <a:gd name="T51" fmla="*/ 37 h 46"/>
                <a:gd name="T52" fmla="*/ 23 w 55"/>
                <a:gd name="T53" fmla="*/ 33 h 46"/>
                <a:gd name="T54" fmla="*/ 23 w 55"/>
                <a:gd name="T55" fmla="*/ 31 h 46"/>
                <a:gd name="T56" fmla="*/ 23 w 55"/>
                <a:gd name="T57" fmla="*/ 29 h 46"/>
                <a:gd name="T58" fmla="*/ 23 w 55"/>
                <a:gd name="T59" fmla="*/ 27 h 46"/>
                <a:gd name="T60" fmla="*/ 17 w 55"/>
                <a:gd name="T61" fmla="*/ 27 h 46"/>
                <a:gd name="T62" fmla="*/ 15 w 55"/>
                <a:gd name="T63" fmla="*/ 27 h 46"/>
                <a:gd name="T64" fmla="*/ 15 w 55"/>
                <a:gd name="T65" fmla="*/ 25 h 46"/>
                <a:gd name="T66" fmla="*/ 11 w 55"/>
                <a:gd name="T67" fmla="*/ 23 h 46"/>
                <a:gd name="T68" fmla="*/ 9 w 55"/>
                <a:gd name="T69" fmla="*/ 19 h 46"/>
                <a:gd name="T70" fmla="*/ 5 w 55"/>
                <a:gd name="T71" fmla="*/ 17 h 46"/>
                <a:gd name="T72" fmla="*/ 3 w 55"/>
                <a:gd name="T73" fmla="*/ 17 h 46"/>
                <a:gd name="T74" fmla="*/ 0 w 55"/>
                <a:gd name="T75" fmla="*/ 16 h 46"/>
                <a:gd name="T76" fmla="*/ 0 w 55"/>
                <a:gd name="T77" fmla="*/ 10 h 46"/>
                <a:gd name="T78" fmla="*/ 3 w 55"/>
                <a:gd name="T79" fmla="*/ 8 h 46"/>
                <a:gd name="T80" fmla="*/ 7 w 55"/>
                <a:gd name="T81" fmla="*/ 6 h 46"/>
                <a:gd name="T82" fmla="*/ 11 w 55"/>
                <a:gd name="T83" fmla="*/ 4 h 46"/>
                <a:gd name="T84" fmla="*/ 15 w 55"/>
                <a:gd name="T85" fmla="*/ 6 h 46"/>
                <a:gd name="T86" fmla="*/ 15 w 55"/>
                <a:gd name="T87" fmla="*/ 4 h 46"/>
                <a:gd name="T88" fmla="*/ 19 w 55"/>
                <a:gd name="T89" fmla="*/ 8 h 46"/>
                <a:gd name="T90" fmla="*/ 19 w 55"/>
                <a:gd name="T91" fmla="*/ 6 h 46"/>
                <a:gd name="T92" fmla="*/ 23 w 55"/>
                <a:gd name="T93" fmla="*/ 4 h 46"/>
                <a:gd name="T94" fmla="*/ 24 w 55"/>
                <a:gd name="T95" fmla="*/ 4 h 46"/>
                <a:gd name="T96" fmla="*/ 26 w 55"/>
                <a:gd name="T97" fmla="*/ 0 h 46"/>
                <a:gd name="T98" fmla="*/ 30 w 55"/>
                <a:gd name="T99" fmla="*/ 2 h 46"/>
                <a:gd name="T100" fmla="*/ 32 w 55"/>
                <a:gd name="T101" fmla="*/ 2 h 46"/>
                <a:gd name="T102" fmla="*/ 36 w 55"/>
                <a:gd name="T103" fmla="*/ 0 h 46"/>
                <a:gd name="T104" fmla="*/ 38 w 55"/>
                <a:gd name="T105" fmla="*/ 4 h 46"/>
                <a:gd name="T106" fmla="*/ 42 w 55"/>
                <a:gd name="T107" fmla="*/ 6 h 46"/>
                <a:gd name="T108" fmla="*/ 44 w 55"/>
                <a:gd name="T109" fmla="*/ 6 h 46"/>
                <a:gd name="T110" fmla="*/ 48 w 55"/>
                <a:gd name="T111" fmla="*/ 8 h 46"/>
                <a:gd name="T112" fmla="*/ 46 w 55"/>
                <a:gd name="T113" fmla="*/ 12 h 46"/>
                <a:gd name="T114" fmla="*/ 44 w 55"/>
                <a:gd name="T115" fmla="*/ 16 h 46"/>
                <a:gd name="T116" fmla="*/ 48 w 55"/>
                <a:gd name="T117" fmla="*/ 17 h 46"/>
                <a:gd name="T118" fmla="*/ 34 w 55"/>
                <a:gd name="T119"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 h="46">
                  <a:moveTo>
                    <a:pt x="49" y="17"/>
                  </a:moveTo>
                  <a:lnTo>
                    <a:pt x="51" y="17"/>
                  </a:lnTo>
                  <a:lnTo>
                    <a:pt x="51" y="19"/>
                  </a:lnTo>
                  <a:lnTo>
                    <a:pt x="53" y="19"/>
                  </a:lnTo>
                  <a:lnTo>
                    <a:pt x="51" y="19"/>
                  </a:lnTo>
                  <a:lnTo>
                    <a:pt x="53" y="19"/>
                  </a:lnTo>
                  <a:lnTo>
                    <a:pt x="51" y="19"/>
                  </a:lnTo>
                  <a:lnTo>
                    <a:pt x="53" y="19"/>
                  </a:lnTo>
                  <a:lnTo>
                    <a:pt x="51" y="21"/>
                  </a:lnTo>
                  <a:lnTo>
                    <a:pt x="53" y="21"/>
                  </a:lnTo>
                  <a:lnTo>
                    <a:pt x="53" y="19"/>
                  </a:lnTo>
                  <a:lnTo>
                    <a:pt x="53" y="21"/>
                  </a:lnTo>
                  <a:lnTo>
                    <a:pt x="51" y="21"/>
                  </a:lnTo>
                  <a:lnTo>
                    <a:pt x="51" y="23"/>
                  </a:lnTo>
                  <a:lnTo>
                    <a:pt x="53" y="23"/>
                  </a:lnTo>
                  <a:lnTo>
                    <a:pt x="55" y="23"/>
                  </a:lnTo>
                  <a:lnTo>
                    <a:pt x="55" y="25"/>
                  </a:lnTo>
                  <a:lnTo>
                    <a:pt x="55" y="27"/>
                  </a:lnTo>
                  <a:lnTo>
                    <a:pt x="53" y="27"/>
                  </a:lnTo>
                  <a:lnTo>
                    <a:pt x="53" y="29"/>
                  </a:lnTo>
                  <a:lnTo>
                    <a:pt x="51" y="29"/>
                  </a:lnTo>
                  <a:lnTo>
                    <a:pt x="53" y="31"/>
                  </a:lnTo>
                  <a:lnTo>
                    <a:pt x="51" y="31"/>
                  </a:lnTo>
                  <a:lnTo>
                    <a:pt x="49" y="31"/>
                  </a:lnTo>
                  <a:lnTo>
                    <a:pt x="49" y="33"/>
                  </a:lnTo>
                  <a:lnTo>
                    <a:pt x="48" y="33"/>
                  </a:lnTo>
                  <a:lnTo>
                    <a:pt x="48" y="35"/>
                  </a:lnTo>
                  <a:lnTo>
                    <a:pt x="46" y="35"/>
                  </a:lnTo>
                  <a:lnTo>
                    <a:pt x="46" y="37"/>
                  </a:lnTo>
                  <a:lnTo>
                    <a:pt x="46" y="39"/>
                  </a:lnTo>
                  <a:lnTo>
                    <a:pt x="48" y="39"/>
                  </a:lnTo>
                  <a:lnTo>
                    <a:pt x="48" y="41"/>
                  </a:lnTo>
                  <a:lnTo>
                    <a:pt x="48" y="42"/>
                  </a:lnTo>
                  <a:lnTo>
                    <a:pt x="48" y="44"/>
                  </a:lnTo>
                  <a:lnTo>
                    <a:pt x="46" y="44"/>
                  </a:lnTo>
                  <a:lnTo>
                    <a:pt x="44" y="44"/>
                  </a:lnTo>
                  <a:lnTo>
                    <a:pt x="44" y="46"/>
                  </a:lnTo>
                  <a:lnTo>
                    <a:pt x="42" y="46"/>
                  </a:lnTo>
                  <a:lnTo>
                    <a:pt x="42" y="44"/>
                  </a:lnTo>
                  <a:lnTo>
                    <a:pt x="40" y="44"/>
                  </a:lnTo>
                  <a:lnTo>
                    <a:pt x="40" y="42"/>
                  </a:lnTo>
                  <a:lnTo>
                    <a:pt x="40" y="44"/>
                  </a:lnTo>
                  <a:lnTo>
                    <a:pt x="40" y="42"/>
                  </a:lnTo>
                  <a:lnTo>
                    <a:pt x="38" y="42"/>
                  </a:lnTo>
                  <a:lnTo>
                    <a:pt x="38" y="41"/>
                  </a:lnTo>
                  <a:lnTo>
                    <a:pt x="36" y="41"/>
                  </a:lnTo>
                  <a:lnTo>
                    <a:pt x="36" y="39"/>
                  </a:lnTo>
                  <a:lnTo>
                    <a:pt x="34" y="39"/>
                  </a:lnTo>
                  <a:lnTo>
                    <a:pt x="34" y="41"/>
                  </a:lnTo>
                  <a:lnTo>
                    <a:pt x="34" y="39"/>
                  </a:lnTo>
                  <a:lnTo>
                    <a:pt x="34" y="41"/>
                  </a:lnTo>
                  <a:lnTo>
                    <a:pt x="32" y="41"/>
                  </a:lnTo>
                  <a:lnTo>
                    <a:pt x="32" y="39"/>
                  </a:lnTo>
                  <a:lnTo>
                    <a:pt x="34" y="39"/>
                  </a:lnTo>
                  <a:lnTo>
                    <a:pt x="32" y="39"/>
                  </a:lnTo>
                  <a:lnTo>
                    <a:pt x="32" y="37"/>
                  </a:lnTo>
                  <a:lnTo>
                    <a:pt x="34" y="37"/>
                  </a:lnTo>
                  <a:lnTo>
                    <a:pt x="32" y="37"/>
                  </a:lnTo>
                  <a:lnTo>
                    <a:pt x="34" y="37"/>
                  </a:lnTo>
                  <a:lnTo>
                    <a:pt x="32" y="37"/>
                  </a:lnTo>
                  <a:lnTo>
                    <a:pt x="32" y="35"/>
                  </a:lnTo>
                  <a:lnTo>
                    <a:pt x="32" y="33"/>
                  </a:lnTo>
                  <a:lnTo>
                    <a:pt x="34" y="33"/>
                  </a:lnTo>
                  <a:lnTo>
                    <a:pt x="32" y="33"/>
                  </a:lnTo>
                  <a:lnTo>
                    <a:pt x="34" y="33"/>
                  </a:lnTo>
                  <a:lnTo>
                    <a:pt x="32" y="33"/>
                  </a:lnTo>
                  <a:lnTo>
                    <a:pt x="34" y="33"/>
                  </a:lnTo>
                  <a:lnTo>
                    <a:pt x="34" y="31"/>
                  </a:lnTo>
                  <a:lnTo>
                    <a:pt x="32" y="31"/>
                  </a:lnTo>
                  <a:lnTo>
                    <a:pt x="32" y="33"/>
                  </a:lnTo>
                  <a:lnTo>
                    <a:pt x="30" y="33"/>
                  </a:lnTo>
                  <a:lnTo>
                    <a:pt x="30" y="35"/>
                  </a:lnTo>
                  <a:lnTo>
                    <a:pt x="28" y="35"/>
                  </a:lnTo>
                  <a:lnTo>
                    <a:pt x="28" y="37"/>
                  </a:lnTo>
                  <a:lnTo>
                    <a:pt x="26" y="37"/>
                  </a:lnTo>
                  <a:lnTo>
                    <a:pt x="24" y="37"/>
                  </a:lnTo>
                  <a:lnTo>
                    <a:pt x="24" y="35"/>
                  </a:lnTo>
                  <a:lnTo>
                    <a:pt x="24" y="37"/>
                  </a:lnTo>
                  <a:lnTo>
                    <a:pt x="23" y="37"/>
                  </a:lnTo>
                  <a:lnTo>
                    <a:pt x="23" y="35"/>
                  </a:lnTo>
                  <a:lnTo>
                    <a:pt x="23" y="33"/>
                  </a:lnTo>
                  <a:lnTo>
                    <a:pt x="24" y="33"/>
                  </a:lnTo>
                  <a:lnTo>
                    <a:pt x="23" y="33"/>
                  </a:lnTo>
                  <a:lnTo>
                    <a:pt x="23" y="31"/>
                  </a:lnTo>
                  <a:lnTo>
                    <a:pt x="23" y="33"/>
                  </a:lnTo>
                  <a:lnTo>
                    <a:pt x="23" y="31"/>
                  </a:lnTo>
                  <a:lnTo>
                    <a:pt x="23" y="29"/>
                  </a:lnTo>
                  <a:lnTo>
                    <a:pt x="24" y="29"/>
                  </a:lnTo>
                  <a:lnTo>
                    <a:pt x="23" y="29"/>
                  </a:lnTo>
                  <a:lnTo>
                    <a:pt x="23" y="27"/>
                  </a:lnTo>
                  <a:lnTo>
                    <a:pt x="21" y="27"/>
                  </a:lnTo>
                  <a:lnTo>
                    <a:pt x="19" y="27"/>
                  </a:lnTo>
                  <a:lnTo>
                    <a:pt x="17" y="27"/>
                  </a:lnTo>
                  <a:lnTo>
                    <a:pt x="15" y="27"/>
                  </a:lnTo>
                  <a:lnTo>
                    <a:pt x="17" y="27"/>
                  </a:lnTo>
                  <a:lnTo>
                    <a:pt x="15" y="27"/>
                  </a:lnTo>
                  <a:lnTo>
                    <a:pt x="15" y="25"/>
                  </a:lnTo>
                  <a:lnTo>
                    <a:pt x="15" y="23"/>
                  </a:lnTo>
                  <a:lnTo>
                    <a:pt x="15" y="25"/>
                  </a:lnTo>
                  <a:lnTo>
                    <a:pt x="15" y="23"/>
                  </a:lnTo>
                  <a:lnTo>
                    <a:pt x="13" y="23"/>
                  </a:lnTo>
                  <a:lnTo>
                    <a:pt x="11" y="23"/>
                  </a:lnTo>
                  <a:lnTo>
                    <a:pt x="9" y="23"/>
                  </a:lnTo>
                  <a:lnTo>
                    <a:pt x="9" y="21"/>
                  </a:lnTo>
                  <a:lnTo>
                    <a:pt x="9" y="19"/>
                  </a:lnTo>
                  <a:lnTo>
                    <a:pt x="9" y="17"/>
                  </a:lnTo>
                  <a:lnTo>
                    <a:pt x="7" y="17"/>
                  </a:lnTo>
                  <a:lnTo>
                    <a:pt x="5" y="17"/>
                  </a:lnTo>
                  <a:lnTo>
                    <a:pt x="5" y="19"/>
                  </a:lnTo>
                  <a:lnTo>
                    <a:pt x="3" y="19"/>
                  </a:lnTo>
                  <a:lnTo>
                    <a:pt x="3" y="17"/>
                  </a:lnTo>
                  <a:lnTo>
                    <a:pt x="1" y="17"/>
                  </a:lnTo>
                  <a:lnTo>
                    <a:pt x="1" y="16"/>
                  </a:lnTo>
                  <a:lnTo>
                    <a:pt x="0" y="16"/>
                  </a:lnTo>
                  <a:lnTo>
                    <a:pt x="0" y="14"/>
                  </a:lnTo>
                  <a:lnTo>
                    <a:pt x="0" y="12"/>
                  </a:lnTo>
                  <a:lnTo>
                    <a:pt x="0" y="10"/>
                  </a:lnTo>
                  <a:lnTo>
                    <a:pt x="1" y="10"/>
                  </a:lnTo>
                  <a:lnTo>
                    <a:pt x="1" y="8"/>
                  </a:lnTo>
                  <a:lnTo>
                    <a:pt x="3" y="8"/>
                  </a:lnTo>
                  <a:lnTo>
                    <a:pt x="3" y="6"/>
                  </a:lnTo>
                  <a:lnTo>
                    <a:pt x="5" y="6"/>
                  </a:lnTo>
                  <a:lnTo>
                    <a:pt x="7" y="6"/>
                  </a:lnTo>
                  <a:lnTo>
                    <a:pt x="7" y="4"/>
                  </a:lnTo>
                  <a:lnTo>
                    <a:pt x="9" y="4"/>
                  </a:lnTo>
                  <a:lnTo>
                    <a:pt x="11" y="4"/>
                  </a:lnTo>
                  <a:lnTo>
                    <a:pt x="11" y="6"/>
                  </a:lnTo>
                  <a:lnTo>
                    <a:pt x="13" y="6"/>
                  </a:lnTo>
                  <a:lnTo>
                    <a:pt x="15" y="6"/>
                  </a:lnTo>
                  <a:lnTo>
                    <a:pt x="15" y="4"/>
                  </a:lnTo>
                  <a:lnTo>
                    <a:pt x="15" y="6"/>
                  </a:lnTo>
                  <a:lnTo>
                    <a:pt x="15" y="4"/>
                  </a:lnTo>
                  <a:lnTo>
                    <a:pt x="15" y="6"/>
                  </a:lnTo>
                  <a:lnTo>
                    <a:pt x="17" y="6"/>
                  </a:lnTo>
                  <a:lnTo>
                    <a:pt x="19" y="8"/>
                  </a:lnTo>
                  <a:lnTo>
                    <a:pt x="19" y="6"/>
                  </a:lnTo>
                  <a:lnTo>
                    <a:pt x="19" y="8"/>
                  </a:lnTo>
                  <a:lnTo>
                    <a:pt x="19" y="6"/>
                  </a:lnTo>
                  <a:lnTo>
                    <a:pt x="21" y="6"/>
                  </a:lnTo>
                  <a:lnTo>
                    <a:pt x="23" y="6"/>
                  </a:lnTo>
                  <a:lnTo>
                    <a:pt x="23" y="4"/>
                  </a:lnTo>
                  <a:lnTo>
                    <a:pt x="24" y="4"/>
                  </a:lnTo>
                  <a:lnTo>
                    <a:pt x="24" y="2"/>
                  </a:lnTo>
                  <a:lnTo>
                    <a:pt x="24" y="4"/>
                  </a:lnTo>
                  <a:lnTo>
                    <a:pt x="26" y="4"/>
                  </a:lnTo>
                  <a:lnTo>
                    <a:pt x="26" y="2"/>
                  </a:lnTo>
                  <a:lnTo>
                    <a:pt x="26" y="0"/>
                  </a:lnTo>
                  <a:lnTo>
                    <a:pt x="28" y="0"/>
                  </a:lnTo>
                  <a:lnTo>
                    <a:pt x="28" y="2"/>
                  </a:lnTo>
                  <a:lnTo>
                    <a:pt x="30" y="2"/>
                  </a:lnTo>
                  <a:lnTo>
                    <a:pt x="30" y="0"/>
                  </a:lnTo>
                  <a:lnTo>
                    <a:pt x="32" y="0"/>
                  </a:lnTo>
                  <a:lnTo>
                    <a:pt x="32" y="2"/>
                  </a:lnTo>
                  <a:lnTo>
                    <a:pt x="34" y="2"/>
                  </a:lnTo>
                  <a:lnTo>
                    <a:pt x="36" y="2"/>
                  </a:lnTo>
                  <a:lnTo>
                    <a:pt x="36" y="0"/>
                  </a:lnTo>
                  <a:lnTo>
                    <a:pt x="36" y="2"/>
                  </a:lnTo>
                  <a:lnTo>
                    <a:pt x="36" y="4"/>
                  </a:lnTo>
                  <a:lnTo>
                    <a:pt x="38" y="4"/>
                  </a:lnTo>
                  <a:lnTo>
                    <a:pt x="38" y="6"/>
                  </a:lnTo>
                  <a:lnTo>
                    <a:pt x="40" y="6"/>
                  </a:lnTo>
                  <a:lnTo>
                    <a:pt x="42" y="6"/>
                  </a:lnTo>
                  <a:lnTo>
                    <a:pt x="42" y="4"/>
                  </a:lnTo>
                  <a:lnTo>
                    <a:pt x="42" y="6"/>
                  </a:lnTo>
                  <a:lnTo>
                    <a:pt x="44" y="6"/>
                  </a:lnTo>
                  <a:lnTo>
                    <a:pt x="44" y="8"/>
                  </a:lnTo>
                  <a:lnTo>
                    <a:pt x="46" y="8"/>
                  </a:lnTo>
                  <a:lnTo>
                    <a:pt x="48" y="8"/>
                  </a:lnTo>
                  <a:lnTo>
                    <a:pt x="48" y="10"/>
                  </a:lnTo>
                  <a:lnTo>
                    <a:pt x="46" y="10"/>
                  </a:lnTo>
                  <a:lnTo>
                    <a:pt x="46" y="12"/>
                  </a:lnTo>
                  <a:lnTo>
                    <a:pt x="46" y="14"/>
                  </a:lnTo>
                  <a:lnTo>
                    <a:pt x="46" y="16"/>
                  </a:lnTo>
                  <a:lnTo>
                    <a:pt x="44" y="16"/>
                  </a:lnTo>
                  <a:lnTo>
                    <a:pt x="46" y="16"/>
                  </a:lnTo>
                  <a:lnTo>
                    <a:pt x="46" y="17"/>
                  </a:lnTo>
                  <a:lnTo>
                    <a:pt x="48" y="17"/>
                  </a:lnTo>
                  <a:lnTo>
                    <a:pt x="49" y="17"/>
                  </a:lnTo>
                  <a:close/>
                  <a:moveTo>
                    <a:pt x="34" y="0"/>
                  </a:moveTo>
                  <a:lnTo>
                    <a:pt x="34" y="2"/>
                  </a:lnTo>
                  <a:lnTo>
                    <a:pt x="34"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381">
              <a:extLst>
                <a:ext uri="{FF2B5EF4-FFF2-40B4-BE49-F238E27FC236}">
                  <a16:creationId xmlns:a16="http://schemas.microsoft.com/office/drawing/2014/main" id="{C06D5FE0-0959-4208-A543-8740BB52AB4E}"/>
                </a:ext>
              </a:extLst>
            </p:cNvPr>
            <p:cNvSpPr>
              <a:spLocks noEditPoints="1"/>
            </p:cNvSpPr>
            <p:nvPr/>
          </p:nvSpPr>
          <p:spPr bwMode="gray">
            <a:xfrm>
              <a:off x="3269581" y="3223557"/>
              <a:ext cx="68677" cy="82168"/>
            </a:xfrm>
            <a:custGeom>
              <a:avLst/>
              <a:gdLst>
                <a:gd name="T0" fmla="*/ 27 w 56"/>
                <a:gd name="T1" fmla="*/ 31 h 67"/>
                <a:gd name="T2" fmla="*/ 33 w 56"/>
                <a:gd name="T3" fmla="*/ 33 h 67"/>
                <a:gd name="T4" fmla="*/ 27 w 56"/>
                <a:gd name="T5" fmla="*/ 31 h 67"/>
                <a:gd name="T6" fmla="*/ 27 w 56"/>
                <a:gd name="T7" fmla="*/ 27 h 67"/>
                <a:gd name="T8" fmla="*/ 35 w 56"/>
                <a:gd name="T9" fmla="*/ 27 h 67"/>
                <a:gd name="T10" fmla="*/ 37 w 56"/>
                <a:gd name="T11" fmla="*/ 25 h 67"/>
                <a:gd name="T12" fmla="*/ 35 w 56"/>
                <a:gd name="T13" fmla="*/ 23 h 67"/>
                <a:gd name="T14" fmla="*/ 29 w 56"/>
                <a:gd name="T15" fmla="*/ 16 h 67"/>
                <a:gd name="T16" fmla="*/ 33 w 56"/>
                <a:gd name="T17" fmla="*/ 6 h 67"/>
                <a:gd name="T18" fmla="*/ 40 w 56"/>
                <a:gd name="T19" fmla="*/ 6 h 67"/>
                <a:gd name="T20" fmla="*/ 42 w 56"/>
                <a:gd name="T21" fmla="*/ 4 h 67"/>
                <a:gd name="T22" fmla="*/ 42 w 56"/>
                <a:gd name="T23" fmla="*/ 4 h 67"/>
                <a:gd name="T24" fmla="*/ 52 w 56"/>
                <a:gd name="T25" fmla="*/ 2 h 67"/>
                <a:gd name="T26" fmla="*/ 54 w 56"/>
                <a:gd name="T27" fmla="*/ 8 h 67"/>
                <a:gd name="T28" fmla="*/ 50 w 56"/>
                <a:gd name="T29" fmla="*/ 23 h 67"/>
                <a:gd name="T30" fmla="*/ 50 w 56"/>
                <a:gd name="T31" fmla="*/ 35 h 67"/>
                <a:gd name="T32" fmla="*/ 44 w 56"/>
                <a:gd name="T33" fmla="*/ 41 h 67"/>
                <a:gd name="T34" fmla="*/ 40 w 56"/>
                <a:gd name="T35" fmla="*/ 48 h 67"/>
                <a:gd name="T36" fmla="*/ 37 w 56"/>
                <a:gd name="T37" fmla="*/ 62 h 67"/>
                <a:gd name="T38" fmla="*/ 35 w 56"/>
                <a:gd name="T39" fmla="*/ 64 h 67"/>
                <a:gd name="T40" fmla="*/ 27 w 56"/>
                <a:gd name="T41" fmla="*/ 56 h 67"/>
                <a:gd name="T42" fmla="*/ 17 w 56"/>
                <a:gd name="T43" fmla="*/ 50 h 67"/>
                <a:gd name="T44" fmla="*/ 4 w 56"/>
                <a:gd name="T45" fmla="*/ 52 h 67"/>
                <a:gd name="T46" fmla="*/ 4 w 56"/>
                <a:gd name="T47" fmla="*/ 52 h 67"/>
                <a:gd name="T48" fmla="*/ 4 w 56"/>
                <a:gd name="T49" fmla="*/ 44 h 67"/>
                <a:gd name="T50" fmla="*/ 15 w 56"/>
                <a:gd name="T51" fmla="*/ 44 h 67"/>
                <a:gd name="T52" fmla="*/ 10 w 56"/>
                <a:gd name="T53" fmla="*/ 43 h 67"/>
                <a:gd name="T54" fmla="*/ 6 w 56"/>
                <a:gd name="T55" fmla="*/ 46 h 67"/>
                <a:gd name="T56" fmla="*/ 6 w 56"/>
                <a:gd name="T57" fmla="*/ 50 h 67"/>
                <a:gd name="T58" fmla="*/ 10 w 56"/>
                <a:gd name="T59" fmla="*/ 50 h 67"/>
                <a:gd name="T60" fmla="*/ 15 w 56"/>
                <a:gd name="T61" fmla="*/ 44 h 67"/>
                <a:gd name="T62" fmla="*/ 21 w 56"/>
                <a:gd name="T63" fmla="*/ 43 h 67"/>
                <a:gd name="T64" fmla="*/ 13 w 56"/>
                <a:gd name="T65" fmla="*/ 43 h 67"/>
                <a:gd name="T66" fmla="*/ 10 w 56"/>
                <a:gd name="T67" fmla="*/ 39 h 67"/>
                <a:gd name="T68" fmla="*/ 15 w 56"/>
                <a:gd name="T69" fmla="*/ 41 h 67"/>
                <a:gd name="T70" fmla="*/ 13 w 56"/>
                <a:gd name="T71" fmla="*/ 35 h 67"/>
                <a:gd name="T72" fmla="*/ 23 w 56"/>
                <a:gd name="T73" fmla="*/ 29 h 67"/>
                <a:gd name="T74" fmla="*/ 25 w 56"/>
                <a:gd name="T75" fmla="*/ 16 h 67"/>
                <a:gd name="T76" fmla="*/ 29 w 56"/>
                <a:gd name="T77" fmla="*/ 23 h 67"/>
                <a:gd name="T78" fmla="*/ 27 w 56"/>
                <a:gd name="T79" fmla="*/ 27 h 67"/>
                <a:gd name="T80" fmla="*/ 19 w 56"/>
                <a:gd name="T81" fmla="*/ 27 h 67"/>
                <a:gd name="T82" fmla="*/ 19 w 56"/>
                <a:gd name="T83" fmla="*/ 16 h 67"/>
                <a:gd name="T84" fmla="*/ 4 w 56"/>
                <a:gd name="T85" fmla="*/ 54 h 67"/>
                <a:gd name="T86" fmla="*/ 8 w 56"/>
                <a:gd name="T87" fmla="*/ 54 h 67"/>
                <a:gd name="T88" fmla="*/ 12 w 56"/>
                <a:gd name="T89" fmla="*/ 54 h 67"/>
                <a:gd name="T90" fmla="*/ 12 w 56"/>
                <a:gd name="T91" fmla="*/ 54 h 67"/>
                <a:gd name="T92" fmla="*/ 19 w 56"/>
                <a:gd name="T93" fmla="*/ 10 h 67"/>
                <a:gd name="T94" fmla="*/ 35 w 56"/>
                <a:gd name="T95" fmla="*/ 2 h 67"/>
                <a:gd name="T96" fmla="*/ 35 w 56"/>
                <a:gd name="T97" fmla="*/ 2 h 67"/>
                <a:gd name="T98" fmla="*/ 21 w 56"/>
                <a:gd name="T99" fmla="*/ 10 h 67"/>
                <a:gd name="T100" fmla="*/ 46 w 56"/>
                <a:gd name="T101" fmla="*/ 0 h 67"/>
                <a:gd name="T102" fmla="*/ 25 w 56"/>
                <a:gd name="T103" fmla="*/ 8 h 67"/>
                <a:gd name="T104" fmla="*/ 29 w 56"/>
                <a:gd name="T105" fmla="*/ 12 h 67"/>
                <a:gd name="T106" fmla="*/ 42 w 56"/>
                <a:gd name="T107" fmla="*/ 6 h 67"/>
                <a:gd name="T108" fmla="*/ 6 w 56"/>
                <a:gd name="T109" fmla="*/ 48 h 67"/>
                <a:gd name="T110" fmla="*/ 12 w 56"/>
                <a:gd name="T111" fmla="*/ 46 h 67"/>
                <a:gd name="T112" fmla="*/ 35 w 56"/>
                <a:gd name="T113" fmla="*/ 23 h 67"/>
                <a:gd name="T114" fmla="*/ 25 w 56"/>
                <a:gd name="T115" fmla="*/ 31 h 67"/>
                <a:gd name="T116" fmla="*/ 15 w 56"/>
                <a:gd name="T117" fmla="*/ 44 h 67"/>
                <a:gd name="T118" fmla="*/ 13 w 56"/>
                <a:gd name="T119" fmla="*/ 46 h 67"/>
                <a:gd name="T120" fmla="*/ 12 w 56"/>
                <a:gd name="T121" fmla="*/ 43 h 67"/>
                <a:gd name="T122" fmla="*/ 13 w 56"/>
                <a:gd name="T123" fmla="*/ 54 h 67"/>
                <a:gd name="T124" fmla="*/ 12 w 56"/>
                <a:gd name="T125" fmla="*/ 5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 h="67">
                  <a:moveTo>
                    <a:pt x="23" y="29"/>
                  </a:moveTo>
                  <a:lnTo>
                    <a:pt x="23" y="31"/>
                  </a:lnTo>
                  <a:lnTo>
                    <a:pt x="25" y="31"/>
                  </a:lnTo>
                  <a:lnTo>
                    <a:pt x="23" y="31"/>
                  </a:lnTo>
                  <a:lnTo>
                    <a:pt x="23" y="29"/>
                  </a:lnTo>
                  <a:lnTo>
                    <a:pt x="23" y="31"/>
                  </a:lnTo>
                  <a:lnTo>
                    <a:pt x="25" y="31"/>
                  </a:lnTo>
                  <a:lnTo>
                    <a:pt x="25" y="29"/>
                  </a:lnTo>
                  <a:lnTo>
                    <a:pt x="25" y="31"/>
                  </a:lnTo>
                  <a:lnTo>
                    <a:pt x="25" y="29"/>
                  </a:lnTo>
                  <a:lnTo>
                    <a:pt x="25" y="31"/>
                  </a:lnTo>
                  <a:lnTo>
                    <a:pt x="27" y="31"/>
                  </a:lnTo>
                  <a:lnTo>
                    <a:pt x="29" y="31"/>
                  </a:lnTo>
                  <a:lnTo>
                    <a:pt x="29" y="33"/>
                  </a:lnTo>
                  <a:lnTo>
                    <a:pt x="31" y="33"/>
                  </a:lnTo>
                  <a:lnTo>
                    <a:pt x="33" y="33"/>
                  </a:lnTo>
                  <a:lnTo>
                    <a:pt x="31" y="33"/>
                  </a:lnTo>
                  <a:lnTo>
                    <a:pt x="31" y="31"/>
                  </a:lnTo>
                  <a:lnTo>
                    <a:pt x="31" y="33"/>
                  </a:lnTo>
                  <a:lnTo>
                    <a:pt x="31" y="31"/>
                  </a:lnTo>
                  <a:lnTo>
                    <a:pt x="31" y="33"/>
                  </a:lnTo>
                  <a:lnTo>
                    <a:pt x="31" y="31"/>
                  </a:lnTo>
                  <a:lnTo>
                    <a:pt x="31" y="33"/>
                  </a:lnTo>
                  <a:lnTo>
                    <a:pt x="33" y="33"/>
                  </a:lnTo>
                  <a:lnTo>
                    <a:pt x="33" y="31"/>
                  </a:lnTo>
                  <a:lnTo>
                    <a:pt x="33" y="29"/>
                  </a:lnTo>
                  <a:lnTo>
                    <a:pt x="33" y="31"/>
                  </a:lnTo>
                  <a:lnTo>
                    <a:pt x="31" y="31"/>
                  </a:lnTo>
                  <a:lnTo>
                    <a:pt x="31" y="33"/>
                  </a:lnTo>
                  <a:lnTo>
                    <a:pt x="29" y="33"/>
                  </a:lnTo>
                  <a:lnTo>
                    <a:pt x="31" y="33"/>
                  </a:lnTo>
                  <a:lnTo>
                    <a:pt x="29" y="33"/>
                  </a:lnTo>
                  <a:lnTo>
                    <a:pt x="29" y="31"/>
                  </a:lnTo>
                  <a:lnTo>
                    <a:pt x="27" y="31"/>
                  </a:lnTo>
                  <a:lnTo>
                    <a:pt x="25" y="31"/>
                  </a:lnTo>
                  <a:lnTo>
                    <a:pt x="27" y="31"/>
                  </a:lnTo>
                  <a:lnTo>
                    <a:pt x="25" y="31"/>
                  </a:lnTo>
                  <a:lnTo>
                    <a:pt x="27" y="31"/>
                  </a:lnTo>
                  <a:lnTo>
                    <a:pt x="25" y="31"/>
                  </a:lnTo>
                  <a:lnTo>
                    <a:pt x="27" y="31"/>
                  </a:lnTo>
                  <a:lnTo>
                    <a:pt x="25" y="31"/>
                  </a:lnTo>
                  <a:lnTo>
                    <a:pt x="27" y="31"/>
                  </a:lnTo>
                  <a:lnTo>
                    <a:pt x="27" y="29"/>
                  </a:lnTo>
                  <a:lnTo>
                    <a:pt x="25" y="29"/>
                  </a:lnTo>
                  <a:lnTo>
                    <a:pt x="27" y="29"/>
                  </a:lnTo>
                  <a:lnTo>
                    <a:pt x="25" y="29"/>
                  </a:lnTo>
                  <a:lnTo>
                    <a:pt x="27" y="29"/>
                  </a:lnTo>
                  <a:lnTo>
                    <a:pt x="27" y="27"/>
                  </a:lnTo>
                  <a:lnTo>
                    <a:pt x="29" y="27"/>
                  </a:lnTo>
                  <a:lnTo>
                    <a:pt x="31" y="27"/>
                  </a:lnTo>
                  <a:lnTo>
                    <a:pt x="31" y="25"/>
                  </a:lnTo>
                  <a:lnTo>
                    <a:pt x="33" y="25"/>
                  </a:lnTo>
                  <a:lnTo>
                    <a:pt x="33" y="23"/>
                  </a:lnTo>
                  <a:lnTo>
                    <a:pt x="35" y="23"/>
                  </a:lnTo>
                  <a:lnTo>
                    <a:pt x="35" y="25"/>
                  </a:lnTo>
                  <a:lnTo>
                    <a:pt x="37" y="25"/>
                  </a:lnTo>
                  <a:lnTo>
                    <a:pt x="37" y="27"/>
                  </a:lnTo>
                  <a:lnTo>
                    <a:pt x="35" y="27"/>
                  </a:lnTo>
                  <a:lnTo>
                    <a:pt x="37" y="27"/>
                  </a:lnTo>
                  <a:lnTo>
                    <a:pt x="35" y="27"/>
                  </a:lnTo>
                  <a:lnTo>
                    <a:pt x="37" y="27"/>
                  </a:lnTo>
                  <a:lnTo>
                    <a:pt x="35" y="27"/>
                  </a:lnTo>
                  <a:lnTo>
                    <a:pt x="35" y="29"/>
                  </a:lnTo>
                  <a:lnTo>
                    <a:pt x="35" y="27"/>
                  </a:lnTo>
                  <a:lnTo>
                    <a:pt x="35" y="29"/>
                  </a:lnTo>
                  <a:lnTo>
                    <a:pt x="33" y="29"/>
                  </a:lnTo>
                  <a:lnTo>
                    <a:pt x="35" y="29"/>
                  </a:lnTo>
                  <a:lnTo>
                    <a:pt x="37" y="29"/>
                  </a:lnTo>
                  <a:lnTo>
                    <a:pt x="37" y="27"/>
                  </a:lnTo>
                  <a:lnTo>
                    <a:pt x="37" y="25"/>
                  </a:lnTo>
                  <a:lnTo>
                    <a:pt x="35" y="25"/>
                  </a:lnTo>
                  <a:lnTo>
                    <a:pt x="37" y="25"/>
                  </a:lnTo>
                  <a:lnTo>
                    <a:pt x="35" y="25"/>
                  </a:lnTo>
                  <a:lnTo>
                    <a:pt x="35" y="23"/>
                  </a:lnTo>
                  <a:lnTo>
                    <a:pt x="35" y="25"/>
                  </a:lnTo>
                  <a:lnTo>
                    <a:pt x="37" y="25"/>
                  </a:lnTo>
                  <a:lnTo>
                    <a:pt x="37" y="23"/>
                  </a:lnTo>
                  <a:lnTo>
                    <a:pt x="37" y="25"/>
                  </a:lnTo>
                  <a:lnTo>
                    <a:pt x="37" y="23"/>
                  </a:lnTo>
                  <a:lnTo>
                    <a:pt x="37" y="25"/>
                  </a:lnTo>
                  <a:lnTo>
                    <a:pt x="37" y="23"/>
                  </a:lnTo>
                  <a:lnTo>
                    <a:pt x="38" y="23"/>
                  </a:lnTo>
                  <a:lnTo>
                    <a:pt x="37" y="23"/>
                  </a:lnTo>
                  <a:lnTo>
                    <a:pt x="35" y="23"/>
                  </a:lnTo>
                  <a:lnTo>
                    <a:pt x="37" y="23"/>
                  </a:lnTo>
                  <a:lnTo>
                    <a:pt x="35" y="23"/>
                  </a:lnTo>
                  <a:lnTo>
                    <a:pt x="33" y="23"/>
                  </a:lnTo>
                  <a:lnTo>
                    <a:pt x="33" y="21"/>
                  </a:lnTo>
                  <a:lnTo>
                    <a:pt x="33" y="19"/>
                  </a:lnTo>
                  <a:lnTo>
                    <a:pt x="35" y="18"/>
                  </a:lnTo>
                  <a:lnTo>
                    <a:pt x="33" y="18"/>
                  </a:lnTo>
                  <a:lnTo>
                    <a:pt x="31" y="18"/>
                  </a:lnTo>
                  <a:lnTo>
                    <a:pt x="29" y="18"/>
                  </a:lnTo>
                  <a:lnTo>
                    <a:pt x="29" y="16"/>
                  </a:lnTo>
                  <a:lnTo>
                    <a:pt x="29" y="18"/>
                  </a:lnTo>
                  <a:lnTo>
                    <a:pt x="29" y="16"/>
                  </a:lnTo>
                  <a:lnTo>
                    <a:pt x="31" y="16"/>
                  </a:lnTo>
                  <a:lnTo>
                    <a:pt x="31" y="14"/>
                  </a:lnTo>
                  <a:lnTo>
                    <a:pt x="29" y="14"/>
                  </a:lnTo>
                  <a:lnTo>
                    <a:pt x="31" y="14"/>
                  </a:lnTo>
                  <a:lnTo>
                    <a:pt x="29" y="14"/>
                  </a:lnTo>
                  <a:lnTo>
                    <a:pt x="31" y="14"/>
                  </a:lnTo>
                  <a:lnTo>
                    <a:pt x="29" y="12"/>
                  </a:lnTo>
                  <a:lnTo>
                    <a:pt x="31" y="12"/>
                  </a:lnTo>
                  <a:lnTo>
                    <a:pt x="31" y="10"/>
                  </a:lnTo>
                  <a:lnTo>
                    <a:pt x="31" y="8"/>
                  </a:lnTo>
                  <a:lnTo>
                    <a:pt x="33" y="8"/>
                  </a:lnTo>
                  <a:lnTo>
                    <a:pt x="33" y="6"/>
                  </a:lnTo>
                  <a:lnTo>
                    <a:pt x="35" y="6"/>
                  </a:lnTo>
                  <a:lnTo>
                    <a:pt x="37" y="6"/>
                  </a:lnTo>
                  <a:lnTo>
                    <a:pt x="37" y="4"/>
                  </a:lnTo>
                  <a:lnTo>
                    <a:pt x="38" y="4"/>
                  </a:lnTo>
                  <a:lnTo>
                    <a:pt x="40" y="4"/>
                  </a:lnTo>
                  <a:lnTo>
                    <a:pt x="42" y="4"/>
                  </a:lnTo>
                  <a:lnTo>
                    <a:pt x="40" y="4"/>
                  </a:lnTo>
                  <a:lnTo>
                    <a:pt x="40" y="6"/>
                  </a:lnTo>
                  <a:lnTo>
                    <a:pt x="40" y="4"/>
                  </a:lnTo>
                  <a:lnTo>
                    <a:pt x="40" y="6"/>
                  </a:lnTo>
                  <a:lnTo>
                    <a:pt x="40" y="4"/>
                  </a:lnTo>
                  <a:lnTo>
                    <a:pt x="40" y="6"/>
                  </a:lnTo>
                  <a:lnTo>
                    <a:pt x="40" y="4"/>
                  </a:lnTo>
                  <a:lnTo>
                    <a:pt x="40" y="6"/>
                  </a:lnTo>
                  <a:lnTo>
                    <a:pt x="42" y="6"/>
                  </a:lnTo>
                  <a:lnTo>
                    <a:pt x="40" y="6"/>
                  </a:lnTo>
                  <a:lnTo>
                    <a:pt x="42" y="6"/>
                  </a:lnTo>
                  <a:lnTo>
                    <a:pt x="40" y="6"/>
                  </a:lnTo>
                  <a:lnTo>
                    <a:pt x="42" y="6"/>
                  </a:lnTo>
                  <a:lnTo>
                    <a:pt x="40" y="6"/>
                  </a:lnTo>
                  <a:lnTo>
                    <a:pt x="42" y="6"/>
                  </a:lnTo>
                  <a:lnTo>
                    <a:pt x="42" y="4"/>
                  </a:lnTo>
                  <a:lnTo>
                    <a:pt x="42" y="6"/>
                  </a:lnTo>
                  <a:lnTo>
                    <a:pt x="42" y="4"/>
                  </a:lnTo>
                  <a:lnTo>
                    <a:pt x="42" y="6"/>
                  </a:lnTo>
                  <a:lnTo>
                    <a:pt x="42" y="4"/>
                  </a:lnTo>
                  <a:lnTo>
                    <a:pt x="42" y="6"/>
                  </a:lnTo>
                  <a:lnTo>
                    <a:pt x="42" y="4"/>
                  </a:lnTo>
                  <a:lnTo>
                    <a:pt x="42" y="6"/>
                  </a:lnTo>
                  <a:lnTo>
                    <a:pt x="42" y="4"/>
                  </a:lnTo>
                  <a:lnTo>
                    <a:pt x="42" y="6"/>
                  </a:lnTo>
                  <a:lnTo>
                    <a:pt x="42" y="4"/>
                  </a:lnTo>
                  <a:lnTo>
                    <a:pt x="42" y="6"/>
                  </a:lnTo>
                  <a:lnTo>
                    <a:pt x="42" y="4"/>
                  </a:lnTo>
                  <a:lnTo>
                    <a:pt x="40" y="4"/>
                  </a:lnTo>
                  <a:lnTo>
                    <a:pt x="42" y="4"/>
                  </a:lnTo>
                  <a:lnTo>
                    <a:pt x="40" y="4"/>
                  </a:lnTo>
                  <a:lnTo>
                    <a:pt x="42" y="4"/>
                  </a:lnTo>
                  <a:lnTo>
                    <a:pt x="44" y="4"/>
                  </a:lnTo>
                  <a:lnTo>
                    <a:pt x="46" y="4"/>
                  </a:lnTo>
                  <a:lnTo>
                    <a:pt x="48" y="4"/>
                  </a:lnTo>
                  <a:lnTo>
                    <a:pt x="48" y="2"/>
                  </a:lnTo>
                  <a:lnTo>
                    <a:pt x="48" y="4"/>
                  </a:lnTo>
                  <a:lnTo>
                    <a:pt x="48" y="2"/>
                  </a:lnTo>
                  <a:lnTo>
                    <a:pt x="50" y="2"/>
                  </a:lnTo>
                  <a:lnTo>
                    <a:pt x="50" y="4"/>
                  </a:lnTo>
                  <a:lnTo>
                    <a:pt x="52" y="4"/>
                  </a:lnTo>
                  <a:lnTo>
                    <a:pt x="52" y="2"/>
                  </a:lnTo>
                  <a:lnTo>
                    <a:pt x="52" y="4"/>
                  </a:lnTo>
                  <a:lnTo>
                    <a:pt x="52" y="6"/>
                  </a:lnTo>
                  <a:lnTo>
                    <a:pt x="54" y="6"/>
                  </a:lnTo>
                  <a:lnTo>
                    <a:pt x="52" y="6"/>
                  </a:lnTo>
                  <a:lnTo>
                    <a:pt x="54" y="6"/>
                  </a:lnTo>
                  <a:lnTo>
                    <a:pt x="52" y="6"/>
                  </a:lnTo>
                  <a:lnTo>
                    <a:pt x="54" y="6"/>
                  </a:lnTo>
                  <a:lnTo>
                    <a:pt x="56" y="6"/>
                  </a:lnTo>
                  <a:lnTo>
                    <a:pt x="54" y="6"/>
                  </a:lnTo>
                  <a:lnTo>
                    <a:pt x="54" y="8"/>
                  </a:lnTo>
                  <a:lnTo>
                    <a:pt x="56" y="8"/>
                  </a:lnTo>
                  <a:lnTo>
                    <a:pt x="54" y="8"/>
                  </a:lnTo>
                  <a:lnTo>
                    <a:pt x="56" y="8"/>
                  </a:lnTo>
                  <a:lnTo>
                    <a:pt x="56" y="10"/>
                  </a:lnTo>
                  <a:lnTo>
                    <a:pt x="56" y="12"/>
                  </a:lnTo>
                  <a:lnTo>
                    <a:pt x="56" y="14"/>
                  </a:lnTo>
                  <a:lnTo>
                    <a:pt x="56" y="16"/>
                  </a:lnTo>
                  <a:lnTo>
                    <a:pt x="56" y="18"/>
                  </a:lnTo>
                  <a:lnTo>
                    <a:pt x="54" y="18"/>
                  </a:lnTo>
                  <a:lnTo>
                    <a:pt x="54" y="19"/>
                  </a:lnTo>
                  <a:lnTo>
                    <a:pt x="54" y="21"/>
                  </a:lnTo>
                  <a:lnTo>
                    <a:pt x="54" y="23"/>
                  </a:lnTo>
                  <a:lnTo>
                    <a:pt x="52" y="23"/>
                  </a:lnTo>
                  <a:lnTo>
                    <a:pt x="50" y="23"/>
                  </a:lnTo>
                  <a:lnTo>
                    <a:pt x="50" y="25"/>
                  </a:lnTo>
                  <a:lnTo>
                    <a:pt x="48" y="25"/>
                  </a:lnTo>
                  <a:lnTo>
                    <a:pt x="48" y="27"/>
                  </a:lnTo>
                  <a:lnTo>
                    <a:pt x="50" y="27"/>
                  </a:lnTo>
                  <a:lnTo>
                    <a:pt x="52" y="27"/>
                  </a:lnTo>
                  <a:lnTo>
                    <a:pt x="54" y="27"/>
                  </a:lnTo>
                  <a:lnTo>
                    <a:pt x="54" y="29"/>
                  </a:lnTo>
                  <a:lnTo>
                    <a:pt x="54" y="31"/>
                  </a:lnTo>
                  <a:lnTo>
                    <a:pt x="54" y="33"/>
                  </a:lnTo>
                  <a:lnTo>
                    <a:pt x="52" y="33"/>
                  </a:lnTo>
                  <a:lnTo>
                    <a:pt x="52" y="35"/>
                  </a:lnTo>
                  <a:lnTo>
                    <a:pt x="50" y="35"/>
                  </a:lnTo>
                  <a:lnTo>
                    <a:pt x="50" y="37"/>
                  </a:lnTo>
                  <a:lnTo>
                    <a:pt x="48" y="37"/>
                  </a:lnTo>
                  <a:lnTo>
                    <a:pt x="50" y="37"/>
                  </a:lnTo>
                  <a:lnTo>
                    <a:pt x="50" y="39"/>
                  </a:lnTo>
                  <a:lnTo>
                    <a:pt x="50" y="41"/>
                  </a:lnTo>
                  <a:lnTo>
                    <a:pt x="48" y="41"/>
                  </a:lnTo>
                  <a:lnTo>
                    <a:pt x="46" y="41"/>
                  </a:lnTo>
                  <a:lnTo>
                    <a:pt x="46" y="43"/>
                  </a:lnTo>
                  <a:lnTo>
                    <a:pt x="46" y="41"/>
                  </a:lnTo>
                  <a:lnTo>
                    <a:pt x="44" y="41"/>
                  </a:lnTo>
                  <a:lnTo>
                    <a:pt x="44" y="43"/>
                  </a:lnTo>
                  <a:lnTo>
                    <a:pt x="44" y="41"/>
                  </a:lnTo>
                  <a:lnTo>
                    <a:pt x="44" y="43"/>
                  </a:lnTo>
                  <a:lnTo>
                    <a:pt x="42" y="43"/>
                  </a:lnTo>
                  <a:lnTo>
                    <a:pt x="42" y="41"/>
                  </a:lnTo>
                  <a:lnTo>
                    <a:pt x="40" y="41"/>
                  </a:lnTo>
                  <a:lnTo>
                    <a:pt x="40" y="43"/>
                  </a:lnTo>
                  <a:lnTo>
                    <a:pt x="40" y="41"/>
                  </a:lnTo>
                  <a:lnTo>
                    <a:pt x="40" y="43"/>
                  </a:lnTo>
                  <a:lnTo>
                    <a:pt x="38" y="43"/>
                  </a:lnTo>
                  <a:lnTo>
                    <a:pt x="38" y="44"/>
                  </a:lnTo>
                  <a:lnTo>
                    <a:pt x="38" y="46"/>
                  </a:lnTo>
                  <a:lnTo>
                    <a:pt x="40" y="46"/>
                  </a:lnTo>
                  <a:lnTo>
                    <a:pt x="40" y="48"/>
                  </a:lnTo>
                  <a:lnTo>
                    <a:pt x="42" y="50"/>
                  </a:lnTo>
                  <a:lnTo>
                    <a:pt x="42" y="52"/>
                  </a:lnTo>
                  <a:lnTo>
                    <a:pt x="42" y="54"/>
                  </a:lnTo>
                  <a:lnTo>
                    <a:pt x="40" y="54"/>
                  </a:lnTo>
                  <a:lnTo>
                    <a:pt x="40" y="56"/>
                  </a:lnTo>
                  <a:lnTo>
                    <a:pt x="40" y="58"/>
                  </a:lnTo>
                  <a:lnTo>
                    <a:pt x="40" y="60"/>
                  </a:lnTo>
                  <a:lnTo>
                    <a:pt x="38" y="60"/>
                  </a:lnTo>
                  <a:lnTo>
                    <a:pt x="38" y="62"/>
                  </a:lnTo>
                  <a:lnTo>
                    <a:pt x="38" y="60"/>
                  </a:lnTo>
                  <a:lnTo>
                    <a:pt x="37" y="60"/>
                  </a:lnTo>
                  <a:lnTo>
                    <a:pt x="37" y="62"/>
                  </a:lnTo>
                  <a:lnTo>
                    <a:pt x="38" y="62"/>
                  </a:lnTo>
                  <a:lnTo>
                    <a:pt x="38" y="64"/>
                  </a:lnTo>
                  <a:lnTo>
                    <a:pt x="40" y="64"/>
                  </a:lnTo>
                  <a:lnTo>
                    <a:pt x="40" y="66"/>
                  </a:lnTo>
                  <a:lnTo>
                    <a:pt x="38" y="66"/>
                  </a:lnTo>
                  <a:lnTo>
                    <a:pt x="38" y="67"/>
                  </a:lnTo>
                  <a:lnTo>
                    <a:pt x="37" y="67"/>
                  </a:lnTo>
                  <a:lnTo>
                    <a:pt x="35" y="67"/>
                  </a:lnTo>
                  <a:lnTo>
                    <a:pt x="35" y="66"/>
                  </a:lnTo>
                  <a:lnTo>
                    <a:pt x="33" y="66"/>
                  </a:lnTo>
                  <a:lnTo>
                    <a:pt x="35" y="66"/>
                  </a:lnTo>
                  <a:lnTo>
                    <a:pt x="35" y="64"/>
                  </a:lnTo>
                  <a:lnTo>
                    <a:pt x="35" y="62"/>
                  </a:lnTo>
                  <a:lnTo>
                    <a:pt x="35" y="60"/>
                  </a:lnTo>
                  <a:lnTo>
                    <a:pt x="37" y="60"/>
                  </a:lnTo>
                  <a:lnTo>
                    <a:pt x="37" y="58"/>
                  </a:lnTo>
                  <a:lnTo>
                    <a:pt x="35" y="58"/>
                  </a:lnTo>
                  <a:lnTo>
                    <a:pt x="33" y="58"/>
                  </a:lnTo>
                  <a:lnTo>
                    <a:pt x="33" y="56"/>
                  </a:lnTo>
                  <a:lnTo>
                    <a:pt x="31" y="56"/>
                  </a:lnTo>
                  <a:lnTo>
                    <a:pt x="31" y="54"/>
                  </a:lnTo>
                  <a:lnTo>
                    <a:pt x="31" y="56"/>
                  </a:lnTo>
                  <a:lnTo>
                    <a:pt x="29" y="56"/>
                  </a:lnTo>
                  <a:lnTo>
                    <a:pt x="27" y="56"/>
                  </a:lnTo>
                  <a:lnTo>
                    <a:pt x="27" y="54"/>
                  </a:lnTo>
                  <a:lnTo>
                    <a:pt x="25" y="54"/>
                  </a:lnTo>
                  <a:lnTo>
                    <a:pt x="25" y="52"/>
                  </a:lnTo>
                  <a:lnTo>
                    <a:pt x="25" y="50"/>
                  </a:lnTo>
                  <a:lnTo>
                    <a:pt x="25" y="52"/>
                  </a:lnTo>
                  <a:lnTo>
                    <a:pt x="23" y="52"/>
                  </a:lnTo>
                  <a:lnTo>
                    <a:pt x="21" y="52"/>
                  </a:lnTo>
                  <a:lnTo>
                    <a:pt x="21" y="50"/>
                  </a:lnTo>
                  <a:lnTo>
                    <a:pt x="19" y="50"/>
                  </a:lnTo>
                  <a:lnTo>
                    <a:pt x="19" y="52"/>
                  </a:lnTo>
                  <a:lnTo>
                    <a:pt x="17" y="52"/>
                  </a:lnTo>
                  <a:lnTo>
                    <a:pt x="17" y="50"/>
                  </a:lnTo>
                  <a:lnTo>
                    <a:pt x="15" y="50"/>
                  </a:lnTo>
                  <a:lnTo>
                    <a:pt x="15" y="52"/>
                  </a:lnTo>
                  <a:lnTo>
                    <a:pt x="15" y="54"/>
                  </a:lnTo>
                  <a:lnTo>
                    <a:pt x="13" y="54"/>
                  </a:lnTo>
                  <a:lnTo>
                    <a:pt x="13" y="52"/>
                  </a:lnTo>
                  <a:lnTo>
                    <a:pt x="12" y="52"/>
                  </a:lnTo>
                  <a:lnTo>
                    <a:pt x="10" y="52"/>
                  </a:lnTo>
                  <a:lnTo>
                    <a:pt x="10" y="50"/>
                  </a:lnTo>
                  <a:lnTo>
                    <a:pt x="8" y="50"/>
                  </a:lnTo>
                  <a:lnTo>
                    <a:pt x="8" y="52"/>
                  </a:lnTo>
                  <a:lnTo>
                    <a:pt x="6" y="52"/>
                  </a:lnTo>
                  <a:lnTo>
                    <a:pt x="4" y="52"/>
                  </a:lnTo>
                  <a:lnTo>
                    <a:pt x="4" y="50"/>
                  </a:lnTo>
                  <a:lnTo>
                    <a:pt x="4" y="52"/>
                  </a:lnTo>
                  <a:lnTo>
                    <a:pt x="4" y="50"/>
                  </a:lnTo>
                  <a:lnTo>
                    <a:pt x="4" y="52"/>
                  </a:lnTo>
                  <a:lnTo>
                    <a:pt x="4" y="50"/>
                  </a:lnTo>
                  <a:lnTo>
                    <a:pt x="6" y="50"/>
                  </a:lnTo>
                  <a:lnTo>
                    <a:pt x="6" y="52"/>
                  </a:lnTo>
                  <a:lnTo>
                    <a:pt x="6" y="50"/>
                  </a:lnTo>
                  <a:lnTo>
                    <a:pt x="6" y="52"/>
                  </a:lnTo>
                  <a:lnTo>
                    <a:pt x="6" y="50"/>
                  </a:lnTo>
                  <a:lnTo>
                    <a:pt x="4" y="50"/>
                  </a:lnTo>
                  <a:lnTo>
                    <a:pt x="4" y="52"/>
                  </a:lnTo>
                  <a:lnTo>
                    <a:pt x="2" y="52"/>
                  </a:lnTo>
                  <a:lnTo>
                    <a:pt x="2" y="50"/>
                  </a:lnTo>
                  <a:lnTo>
                    <a:pt x="2" y="48"/>
                  </a:lnTo>
                  <a:lnTo>
                    <a:pt x="4" y="48"/>
                  </a:lnTo>
                  <a:lnTo>
                    <a:pt x="4" y="46"/>
                  </a:lnTo>
                  <a:lnTo>
                    <a:pt x="4" y="48"/>
                  </a:lnTo>
                  <a:lnTo>
                    <a:pt x="4" y="46"/>
                  </a:lnTo>
                  <a:lnTo>
                    <a:pt x="6" y="46"/>
                  </a:lnTo>
                  <a:lnTo>
                    <a:pt x="4" y="46"/>
                  </a:lnTo>
                  <a:lnTo>
                    <a:pt x="6" y="46"/>
                  </a:lnTo>
                  <a:lnTo>
                    <a:pt x="4" y="46"/>
                  </a:lnTo>
                  <a:lnTo>
                    <a:pt x="4" y="44"/>
                  </a:lnTo>
                  <a:lnTo>
                    <a:pt x="6" y="44"/>
                  </a:lnTo>
                  <a:lnTo>
                    <a:pt x="8" y="44"/>
                  </a:lnTo>
                  <a:lnTo>
                    <a:pt x="8" y="43"/>
                  </a:lnTo>
                  <a:lnTo>
                    <a:pt x="10" y="43"/>
                  </a:lnTo>
                  <a:lnTo>
                    <a:pt x="12" y="43"/>
                  </a:lnTo>
                  <a:lnTo>
                    <a:pt x="12" y="44"/>
                  </a:lnTo>
                  <a:lnTo>
                    <a:pt x="13" y="44"/>
                  </a:lnTo>
                  <a:lnTo>
                    <a:pt x="15" y="44"/>
                  </a:lnTo>
                  <a:lnTo>
                    <a:pt x="15" y="46"/>
                  </a:lnTo>
                  <a:lnTo>
                    <a:pt x="15" y="44"/>
                  </a:lnTo>
                  <a:lnTo>
                    <a:pt x="15" y="46"/>
                  </a:lnTo>
                  <a:lnTo>
                    <a:pt x="15" y="44"/>
                  </a:lnTo>
                  <a:lnTo>
                    <a:pt x="15" y="46"/>
                  </a:lnTo>
                  <a:lnTo>
                    <a:pt x="15" y="44"/>
                  </a:lnTo>
                  <a:lnTo>
                    <a:pt x="15" y="46"/>
                  </a:lnTo>
                  <a:lnTo>
                    <a:pt x="15" y="44"/>
                  </a:lnTo>
                  <a:lnTo>
                    <a:pt x="15" y="46"/>
                  </a:lnTo>
                  <a:lnTo>
                    <a:pt x="13" y="46"/>
                  </a:lnTo>
                  <a:lnTo>
                    <a:pt x="12" y="46"/>
                  </a:lnTo>
                  <a:lnTo>
                    <a:pt x="12" y="44"/>
                  </a:lnTo>
                  <a:lnTo>
                    <a:pt x="12" y="46"/>
                  </a:lnTo>
                  <a:lnTo>
                    <a:pt x="12" y="44"/>
                  </a:lnTo>
                  <a:lnTo>
                    <a:pt x="10" y="44"/>
                  </a:lnTo>
                  <a:lnTo>
                    <a:pt x="10" y="43"/>
                  </a:lnTo>
                  <a:lnTo>
                    <a:pt x="8" y="43"/>
                  </a:lnTo>
                  <a:lnTo>
                    <a:pt x="8" y="44"/>
                  </a:lnTo>
                  <a:lnTo>
                    <a:pt x="8" y="43"/>
                  </a:lnTo>
                  <a:lnTo>
                    <a:pt x="8" y="44"/>
                  </a:lnTo>
                  <a:lnTo>
                    <a:pt x="10" y="44"/>
                  </a:lnTo>
                  <a:lnTo>
                    <a:pt x="10" y="46"/>
                  </a:lnTo>
                  <a:lnTo>
                    <a:pt x="12" y="46"/>
                  </a:lnTo>
                  <a:lnTo>
                    <a:pt x="10" y="46"/>
                  </a:lnTo>
                  <a:lnTo>
                    <a:pt x="10" y="48"/>
                  </a:lnTo>
                  <a:lnTo>
                    <a:pt x="10" y="46"/>
                  </a:lnTo>
                  <a:lnTo>
                    <a:pt x="8" y="46"/>
                  </a:lnTo>
                  <a:lnTo>
                    <a:pt x="6" y="46"/>
                  </a:lnTo>
                  <a:lnTo>
                    <a:pt x="8" y="46"/>
                  </a:lnTo>
                  <a:lnTo>
                    <a:pt x="6" y="46"/>
                  </a:lnTo>
                  <a:lnTo>
                    <a:pt x="4" y="46"/>
                  </a:lnTo>
                  <a:lnTo>
                    <a:pt x="4" y="48"/>
                  </a:lnTo>
                  <a:lnTo>
                    <a:pt x="6" y="48"/>
                  </a:lnTo>
                  <a:lnTo>
                    <a:pt x="4" y="48"/>
                  </a:lnTo>
                  <a:lnTo>
                    <a:pt x="6" y="48"/>
                  </a:lnTo>
                  <a:lnTo>
                    <a:pt x="8" y="48"/>
                  </a:lnTo>
                  <a:lnTo>
                    <a:pt x="6" y="48"/>
                  </a:lnTo>
                  <a:lnTo>
                    <a:pt x="6" y="50"/>
                  </a:lnTo>
                  <a:lnTo>
                    <a:pt x="6" y="48"/>
                  </a:lnTo>
                  <a:lnTo>
                    <a:pt x="6" y="50"/>
                  </a:lnTo>
                  <a:lnTo>
                    <a:pt x="6" y="48"/>
                  </a:lnTo>
                  <a:lnTo>
                    <a:pt x="4" y="48"/>
                  </a:lnTo>
                  <a:lnTo>
                    <a:pt x="6" y="48"/>
                  </a:lnTo>
                  <a:lnTo>
                    <a:pt x="4" y="48"/>
                  </a:lnTo>
                  <a:lnTo>
                    <a:pt x="4" y="50"/>
                  </a:lnTo>
                  <a:lnTo>
                    <a:pt x="6" y="50"/>
                  </a:lnTo>
                  <a:lnTo>
                    <a:pt x="6" y="48"/>
                  </a:lnTo>
                  <a:lnTo>
                    <a:pt x="8" y="48"/>
                  </a:lnTo>
                  <a:lnTo>
                    <a:pt x="8" y="50"/>
                  </a:lnTo>
                  <a:lnTo>
                    <a:pt x="8" y="48"/>
                  </a:lnTo>
                  <a:lnTo>
                    <a:pt x="8" y="50"/>
                  </a:lnTo>
                  <a:lnTo>
                    <a:pt x="10" y="50"/>
                  </a:lnTo>
                  <a:lnTo>
                    <a:pt x="12" y="50"/>
                  </a:lnTo>
                  <a:lnTo>
                    <a:pt x="12" y="52"/>
                  </a:lnTo>
                  <a:lnTo>
                    <a:pt x="13" y="52"/>
                  </a:lnTo>
                  <a:lnTo>
                    <a:pt x="13" y="50"/>
                  </a:lnTo>
                  <a:lnTo>
                    <a:pt x="12" y="50"/>
                  </a:lnTo>
                  <a:lnTo>
                    <a:pt x="10" y="50"/>
                  </a:lnTo>
                  <a:lnTo>
                    <a:pt x="10" y="48"/>
                  </a:lnTo>
                  <a:lnTo>
                    <a:pt x="12" y="48"/>
                  </a:lnTo>
                  <a:lnTo>
                    <a:pt x="12" y="46"/>
                  </a:lnTo>
                  <a:lnTo>
                    <a:pt x="13" y="46"/>
                  </a:lnTo>
                  <a:lnTo>
                    <a:pt x="15" y="46"/>
                  </a:lnTo>
                  <a:lnTo>
                    <a:pt x="15" y="44"/>
                  </a:lnTo>
                  <a:lnTo>
                    <a:pt x="15" y="46"/>
                  </a:lnTo>
                  <a:lnTo>
                    <a:pt x="17" y="46"/>
                  </a:lnTo>
                  <a:lnTo>
                    <a:pt x="19" y="46"/>
                  </a:lnTo>
                  <a:lnTo>
                    <a:pt x="19" y="44"/>
                  </a:lnTo>
                  <a:lnTo>
                    <a:pt x="21" y="44"/>
                  </a:lnTo>
                  <a:lnTo>
                    <a:pt x="23" y="44"/>
                  </a:lnTo>
                  <a:lnTo>
                    <a:pt x="21" y="44"/>
                  </a:lnTo>
                  <a:lnTo>
                    <a:pt x="19" y="44"/>
                  </a:lnTo>
                  <a:lnTo>
                    <a:pt x="21" y="44"/>
                  </a:lnTo>
                  <a:lnTo>
                    <a:pt x="19" y="44"/>
                  </a:lnTo>
                  <a:lnTo>
                    <a:pt x="21" y="44"/>
                  </a:lnTo>
                  <a:lnTo>
                    <a:pt x="21" y="43"/>
                  </a:lnTo>
                  <a:lnTo>
                    <a:pt x="23" y="43"/>
                  </a:lnTo>
                  <a:lnTo>
                    <a:pt x="21" y="43"/>
                  </a:lnTo>
                  <a:lnTo>
                    <a:pt x="21" y="44"/>
                  </a:lnTo>
                  <a:lnTo>
                    <a:pt x="19" y="44"/>
                  </a:lnTo>
                  <a:lnTo>
                    <a:pt x="17" y="44"/>
                  </a:lnTo>
                  <a:lnTo>
                    <a:pt x="15" y="44"/>
                  </a:lnTo>
                  <a:lnTo>
                    <a:pt x="13" y="44"/>
                  </a:lnTo>
                  <a:lnTo>
                    <a:pt x="13" y="43"/>
                  </a:lnTo>
                  <a:lnTo>
                    <a:pt x="13" y="44"/>
                  </a:lnTo>
                  <a:lnTo>
                    <a:pt x="13" y="43"/>
                  </a:lnTo>
                  <a:lnTo>
                    <a:pt x="13" y="44"/>
                  </a:lnTo>
                  <a:lnTo>
                    <a:pt x="13" y="43"/>
                  </a:lnTo>
                  <a:lnTo>
                    <a:pt x="13" y="44"/>
                  </a:lnTo>
                  <a:lnTo>
                    <a:pt x="13" y="43"/>
                  </a:lnTo>
                  <a:lnTo>
                    <a:pt x="12" y="43"/>
                  </a:lnTo>
                  <a:lnTo>
                    <a:pt x="10" y="43"/>
                  </a:lnTo>
                  <a:lnTo>
                    <a:pt x="10" y="41"/>
                  </a:lnTo>
                  <a:lnTo>
                    <a:pt x="10" y="39"/>
                  </a:lnTo>
                  <a:lnTo>
                    <a:pt x="12" y="39"/>
                  </a:lnTo>
                  <a:lnTo>
                    <a:pt x="10" y="39"/>
                  </a:lnTo>
                  <a:lnTo>
                    <a:pt x="10" y="41"/>
                  </a:lnTo>
                  <a:lnTo>
                    <a:pt x="10" y="39"/>
                  </a:lnTo>
                  <a:lnTo>
                    <a:pt x="10" y="41"/>
                  </a:lnTo>
                  <a:lnTo>
                    <a:pt x="10" y="39"/>
                  </a:lnTo>
                  <a:lnTo>
                    <a:pt x="10" y="41"/>
                  </a:lnTo>
                  <a:lnTo>
                    <a:pt x="12" y="41"/>
                  </a:lnTo>
                  <a:lnTo>
                    <a:pt x="12" y="39"/>
                  </a:lnTo>
                  <a:lnTo>
                    <a:pt x="12" y="41"/>
                  </a:lnTo>
                  <a:lnTo>
                    <a:pt x="12" y="39"/>
                  </a:lnTo>
                  <a:lnTo>
                    <a:pt x="12" y="41"/>
                  </a:lnTo>
                  <a:lnTo>
                    <a:pt x="13" y="41"/>
                  </a:lnTo>
                  <a:lnTo>
                    <a:pt x="12" y="41"/>
                  </a:lnTo>
                  <a:lnTo>
                    <a:pt x="12" y="39"/>
                  </a:lnTo>
                  <a:lnTo>
                    <a:pt x="12" y="41"/>
                  </a:lnTo>
                  <a:lnTo>
                    <a:pt x="13" y="41"/>
                  </a:lnTo>
                  <a:lnTo>
                    <a:pt x="15" y="41"/>
                  </a:lnTo>
                  <a:lnTo>
                    <a:pt x="13" y="41"/>
                  </a:lnTo>
                  <a:lnTo>
                    <a:pt x="15" y="41"/>
                  </a:lnTo>
                  <a:lnTo>
                    <a:pt x="17" y="41"/>
                  </a:lnTo>
                  <a:lnTo>
                    <a:pt x="15" y="41"/>
                  </a:lnTo>
                  <a:lnTo>
                    <a:pt x="17" y="41"/>
                  </a:lnTo>
                  <a:lnTo>
                    <a:pt x="15" y="41"/>
                  </a:lnTo>
                  <a:lnTo>
                    <a:pt x="13" y="41"/>
                  </a:lnTo>
                  <a:lnTo>
                    <a:pt x="12" y="41"/>
                  </a:lnTo>
                  <a:lnTo>
                    <a:pt x="12" y="39"/>
                  </a:lnTo>
                  <a:lnTo>
                    <a:pt x="12" y="37"/>
                  </a:lnTo>
                  <a:lnTo>
                    <a:pt x="13" y="37"/>
                  </a:lnTo>
                  <a:lnTo>
                    <a:pt x="13" y="35"/>
                  </a:lnTo>
                  <a:lnTo>
                    <a:pt x="15" y="35"/>
                  </a:lnTo>
                  <a:lnTo>
                    <a:pt x="15" y="33"/>
                  </a:lnTo>
                  <a:lnTo>
                    <a:pt x="15" y="31"/>
                  </a:lnTo>
                  <a:lnTo>
                    <a:pt x="17" y="31"/>
                  </a:lnTo>
                  <a:lnTo>
                    <a:pt x="17" y="29"/>
                  </a:lnTo>
                  <a:lnTo>
                    <a:pt x="17" y="27"/>
                  </a:lnTo>
                  <a:lnTo>
                    <a:pt x="19" y="27"/>
                  </a:lnTo>
                  <a:lnTo>
                    <a:pt x="21" y="27"/>
                  </a:lnTo>
                  <a:lnTo>
                    <a:pt x="21" y="29"/>
                  </a:lnTo>
                  <a:lnTo>
                    <a:pt x="23" y="29"/>
                  </a:lnTo>
                  <a:lnTo>
                    <a:pt x="21" y="29"/>
                  </a:lnTo>
                  <a:lnTo>
                    <a:pt x="23" y="29"/>
                  </a:lnTo>
                  <a:lnTo>
                    <a:pt x="21" y="29"/>
                  </a:lnTo>
                  <a:lnTo>
                    <a:pt x="23" y="29"/>
                  </a:lnTo>
                  <a:lnTo>
                    <a:pt x="21" y="29"/>
                  </a:lnTo>
                  <a:lnTo>
                    <a:pt x="23" y="29"/>
                  </a:lnTo>
                  <a:close/>
                  <a:moveTo>
                    <a:pt x="23" y="50"/>
                  </a:moveTo>
                  <a:lnTo>
                    <a:pt x="23" y="52"/>
                  </a:lnTo>
                  <a:lnTo>
                    <a:pt x="23" y="50"/>
                  </a:lnTo>
                  <a:close/>
                  <a:moveTo>
                    <a:pt x="21" y="16"/>
                  </a:moveTo>
                  <a:lnTo>
                    <a:pt x="21" y="18"/>
                  </a:lnTo>
                  <a:lnTo>
                    <a:pt x="23" y="18"/>
                  </a:lnTo>
                  <a:lnTo>
                    <a:pt x="23" y="16"/>
                  </a:lnTo>
                  <a:lnTo>
                    <a:pt x="25" y="16"/>
                  </a:lnTo>
                  <a:lnTo>
                    <a:pt x="25" y="18"/>
                  </a:lnTo>
                  <a:lnTo>
                    <a:pt x="25" y="19"/>
                  </a:lnTo>
                  <a:lnTo>
                    <a:pt x="27" y="19"/>
                  </a:lnTo>
                  <a:lnTo>
                    <a:pt x="27" y="21"/>
                  </a:lnTo>
                  <a:lnTo>
                    <a:pt x="27" y="19"/>
                  </a:lnTo>
                  <a:lnTo>
                    <a:pt x="27" y="21"/>
                  </a:lnTo>
                  <a:lnTo>
                    <a:pt x="27" y="19"/>
                  </a:lnTo>
                  <a:lnTo>
                    <a:pt x="29" y="19"/>
                  </a:lnTo>
                  <a:lnTo>
                    <a:pt x="27" y="19"/>
                  </a:lnTo>
                  <a:lnTo>
                    <a:pt x="29" y="19"/>
                  </a:lnTo>
                  <a:lnTo>
                    <a:pt x="29" y="21"/>
                  </a:lnTo>
                  <a:lnTo>
                    <a:pt x="29" y="23"/>
                  </a:lnTo>
                  <a:lnTo>
                    <a:pt x="31" y="23"/>
                  </a:lnTo>
                  <a:lnTo>
                    <a:pt x="31" y="25"/>
                  </a:lnTo>
                  <a:lnTo>
                    <a:pt x="31" y="23"/>
                  </a:lnTo>
                  <a:lnTo>
                    <a:pt x="29" y="21"/>
                  </a:lnTo>
                  <a:lnTo>
                    <a:pt x="27" y="21"/>
                  </a:lnTo>
                  <a:lnTo>
                    <a:pt x="29" y="21"/>
                  </a:lnTo>
                  <a:lnTo>
                    <a:pt x="27" y="21"/>
                  </a:lnTo>
                  <a:lnTo>
                    <a:pt x="27" y="23"/>
                  </a:lnTo>
                  <a:lnTo>
                    <a:pt x="25" y="23"/>
                  </a:lnTo>
                  <a:lnTo>
                    <a:pt x="25" y="25"/>
                  </a:lnTo>
                  <a:lnTo>
                    <a:pt x="25" y="27"/>
                  </a:lnTo>
                  <a:lnTo>
                    <a:pt x="27" y="27"/>
                  </a:lnTo>
                  <a:lnTo>
                    <a:pt x="25" y="27"/>
                  </a:lnTo>
                  <a:lnTo>
                    <a:pt x="25" y="29"/>
                  </a:lnTo>
                  <a:lnTo>
                    <a:pt x="23" y="29"/>
                  </a:lnTo>
                  <a:lnTo>
                    <a:pt x="21" y="29"/>
                  </a:lnTo>
                  <a:lnTo>
                    <a:pt x="21" y="27"/>
                  </a:lnTo>
                  <a:lnTo>
                    <a:pt x="21" y="29"/>
                  </a:lnTo>
                  <a:lnTo>
                    <a:pt x="21" y="27"/>
                  </a:lnTo>
                  <a:lnTo>
                    <a:pt x="21" y="29"/>
                  </a:lnTo>
                  <a:lnTo>
                    <a:pt x="21" y="27"/>
                  </a:lnTo>
                  <a:lnTo>
                    <a:pt x="21" y="29"/>
                  </a:lnTo>
                  <a:lnTo>
                    <a:pt x="21" y="27"/>
                  </a:lnTo>
                  <a:lnTo>
                    <a:pt x="19" y="27"/>
                  </a:lnTo>
                  <a:lnTo>
                    <a:pt x="17" y="27"/>
                  </a:lnTo>
                  <a:lnTo>
                    <a:pt x="19" y="27"/>
                  </a:lnTo>
                  <a:lnTo>
                    <a:pt x="17" y="27"/>
                  </a:lnTo>
                  <a:lnTo>
                    <a:pt x="19" y="27"/>
                  </a:lnTo>
                  <a:lnTo>
                    <a:pt x="17" y="27"/>
                  </a:lnTo>
                  <a:lnTo>
                    <a:pt x="17" y="25"/>
                  </a:lnTo>
                  <a:lnTo>
                    <a:pt x="19" y="25"/>
                  </a:lnTo>
                  <a:lnTo>
                    <a:pt x="19" y="23"/>
                  </a:lnTo>
                  <a:lnTo>
                    <a:pt x="19" y="21"/>
                  </a:lnTo>
                  <a:lnTo>
                    <a:pt x="19" y="19"/>
                  </a:lnTo>
                  <a:lnTo>
                    <a:pt x="19" y="18"/>
                  </a:lnTo>
                  <a:lnTo>
                    <a:pt x="19" y="16"/>
                  </a:lnTo>
                  <a:lnTo>
                    <a:pt x="21" y="16"/>
                  </a:lnTo>
                  <a:close/>
                  <a:moveTo>
                    <a:pt x="13" y="54"/>
                  </a:moveTo>
                  <a:lnTo>
                    <a:pt x="12" y="54"/>
                  </a:lnTo>
                  <a:lnTo>
                    <a:pt x="12" y="56"/>
                  </a:lnTo>
                  <a:lnTo>
                    <a:pt x="10" y="56"/>
                  </a:lnTo>
                  <a:lnTo>
                    <a:pt x="8" y="56"/>
                  </a:lnTo>
                  <a:lnTo>
                    <a:pt x="8" y="58"/>
                  </a:lnTo>
                  <a:lnTo>
                    <a:pt x="8" y="56"/>
                  </a:lnTo>
                  <a:lnTo>
                    <a:pt x="8" y="58"/>
                  </a:lnTo>
                  <a:lnTo>
                    <a:pt x="6" y="56"/>
                  </a:lnTo>
                  <a:lnTo>
                    <a:pt x="4" y="56"/>
                  </a:lnTo>
                  <a:lnTo>
                    <a:pt x="4" y="54"/>
                  </a:lnTo>
                  <a:lnTo>
                    <a:pt x="4" y="56"/>
                  </a:lnTo>
                  <a:lnTo>
                    <a:pt x="4" y="54"/>
                  </a:lnTo>
                  <a:lnTo>
                    <a:pt x="4" y="56"/>
                  </a:lnTo>
                  <a:lnTo>
                    <a:pt x="2" y="56"/>
                  </a:lnTo>
                  <a:lnTo>
                    <a:pt x="0" y="56"/>
                  </a:lnTo>
                  <a:lnTo>
                    <a:pt x="0" y="54"/>
                  </a:lnTo>
                  <a:lnTo>
                    <a:pt x="0" y="52"/>
                  </a:lnTo>
                  <a:lnTo>
                    <a:pt x="2" y="52"/>
                  </a:lnTo>
                  <a:lnTo>
                    <a:pt x="4" y="52"/>
                  </a:lnTo>
                  <a:lnTo>
                    <a:pt x="4" y="54"/>
                  </a:lnTo>
                  <a:lnTo>
                    <a:pt x="6" y="54"/>
                  </a:lnTo>
                  <a:lnTo>
                    <a:pt x="8" y="54"/>
                  </a:lnTo>
                  <a:lnTo>
                    <a:pt x="6" y="54"/>
                  </a:lnTo>
                  <a:lnTo>
                    <a:pt x="8" y="54"/>
                  </a:lnTo>
                  <a:lnTo>
                    <a:pt x="6" y="54"/>
                  </a:lnTo>
                  <a:lnTo>
                    <a:pt x="8" y="54"/>
                  </a:lnTo>
                  <a:lnTo>
                    <a:pt x="10" y="54"/>
                  </a:lnTo>
                  <a:lnTo>
                    <a:pt x="10" y="52"/>
                  </a:lnTo>
                  <a:lnTo>
                    <a:pt x="10" y="54"/>
                  </a:lnTo>
                  <a:lnTo>
                    <a:pt x="12" y="54"/>
                  </a:lnTo>
                  <a:lnTo>
                    <a:pt x="12" y="52"/>
                  </a:lnTo>
                  <a:lnTo>
                    <a:pt x="12" y="54"/>
                  </a:lnTo>
                  <a:lnTo>
                    <a:pt x="12" y="52"/>
                  </a:lnTo>
                  <a:lnTo>
                    <a:pt x="12" y="54"/>
                  </a:lnTo>
                  <a:lnTo>
                    <a:pt x="12" y="52"/>
                  </a:lnTo>
                  <a:lnTo>
                    <a:pt x="12" y="54"/>
                  </a:lnTo>
                  <a:lnTo>
                    <a:pt x="12" y="52"/>
                  </a:lnTo>
                  <a:lnTo>
                    <a:pt x="12" y="54"/>
                  </a:lnTo>
                  <a:lnTo>
                    <a:pt x="12" y="52"/>
                  </a:lnTo>
                  <a:lnTo>
                    <a:pt x="12" y="54"/>
                  </a:lnTo>
                  <a:lnTo>
                    <a:pt x="13" y="54"/>
                  </a:lnTo>
                  <a:lnTo>
                    <a:pt x="12" y="54"/>
                  </a:lnTo>
                  <a:lnTo>
                    <a:pt x="13" y="54"/>
                  </a:lnTo>
                  <a:lnTo>
                    <a:pt x="12" y="54"/>
                  </a:lnTo>
                  <a:lnTo>
                    <a:pt x="13" y="54"/>
                  </a:lnTo>
                  <a:lnTo>
                    <a:pt x="12" y="54"/>
                  </a:lnTo>
                  <a:lnTo>
                    <a:pt x="13" y="54"/>
                  </a:lnTo>
                  <a:lnTo>
                    <a:pt x="12" y="54"/>
                  </a:lnTo>
                  <a:lnTo>
                    <a:pt x="13" y="54"/>
                  </a:lnTo>
                  <a:lnTo>
                    <a:pt x="12" y="54"/>
                  </a:lnTo>
                  <a:lnTo>
                    <a:pt x="13" y="54"/>
                  </a:lnTo>
                  <a:lnTo>
                    <a:pt x="12" y="54"/>
                  </a:lnTo>
                  <a:lnTo>
                    <a:pt x="13" y="54"/>
                  </a:lnTo>
                  <a:close/>
                  <a:moveTo>
                    <a:pt x="19" y="10"/>
                  </a:moveTo>
                  <a:lnTo>
                    <a:pt x="23" y="10"/>
                  </a:lnTo>
                  <a:lnTo>
                    <a:pt x="23" y="14"/>
                  </a:lnTo>
                  <a:lnTo>
                    <a:pt x="19" y="14"/>
                  </a:lnTo>
                  <a:lnTo>
                    <a:pt x="19" y="10"/>
                  </a:lnTo>
                  <a:close/>
                  <a:moveTo>
                    <a:pt x="33" y="4"/>
                  </a:moveTo>
                  <a:lnTo>
                    <a:pt x="31" y="4"/>
                  </a:lnTo>
                  <a:lnTo>
                    <a:pt x="33" y="4"/>
                  </a:lnTo>
                  <a:lnTo>
                    <a:pt x="31" y="4"/>
                  </a:lnTo>
                  <a:lnTo>
                    <a:pt x="29" y="4"/>
                  </a:lnTo>
                  <a:lnTo>
                    <a:pt x="29" y="6"/>
                  </a:lnTo>
                  <a:lnTo>
                    <a:pt x="27" y="6"/>
                  </a:lnTo>
                  <a:lnTo>
                    <a:pt x="27" y="4"/>
                  </a:lnTo>
                  <a:lnTo>
                    <a:pt x="29" y="4"/>
                  </a:lnTo>
                  <a:lnTo>
                    <a:pt x="31" y="4"/>
                  </a:lnTo>
                  <a:lnTo>
                    <a:pt x="33" y="4"/>
                  </a:lnTo>
                  <a:close/>
                  <a:moveTo>
                    <a:pt x="35" y="2"/>
                  </a:moveTo>
                  <a:lnTo>
                    <a:pt x="37" y="2"/>
                  </a:lnTo>
                  <a:lnTo>
                    <a:pt x="38" y="2"/>
                  </a:lnTo>
                  <a:lnTo>
                    <a:pt x="37" y="2"/>
                  </a:lnTo>
                  <a:lnTo>
                    <a:pt x="37" y="4"/>
                  </a:lnTo>
                  <a:lnTo>
                    <a:pt x="37" y="2"/>
                  </a:lnTo>
                  <a:lnTo>
                    <a:pt x="37" y="4"/>
                  </a:lnTo>
                  <a:lnTo>
                    <a:pt x="35" y="4"/>
                  </a:lnTo>
                  <a:lnTo>
                    <a:pt x="33" y="4"/>
                  </a:lnTo>
                  <a:lnTo>
                    <a:pt x="33" y="2"/>
                  </a:lnTo>
                  <a:lnTo>
                    <a:pt x="33" y="4"/>
                  </a:lnTo>
                  <a:lnTo>
                    <a:pt x="33" y="2"/>
                  </a:lnTo>
                  <a:lnTo>
                    <a:pt x="35" y="2"/>
                  </a:lnTo>
                  <a:close/>
                  <a:moveTo>
                    <a:pt x="44" y="2"/>
                  </a:moveTo>
                  <a:lnTo>
                    <a:pt x="42" y="2"/>
                  </a:lnTo>
                  <a:lnTo>
                    <a:pt x="40" y="2"/>
                  </a:lnTo>
                  <a:lnTo>
                    <a:pt x="42" y="2"/>
                  </a:lnTo>
                  <a:lnTo>
                    <a:pt x="44" y="2"/>
                  </a:lnTo>
                  <a:close/>
                  <a:moveTo>
                    <a:pt x="25" y="6"/>
                  </a:moveTo>
                  <a:lnTo>
                    <a:pt x="25" y="8"/>
                  </a:lnTo>
                  <a:lnTo>
                    <a:pt x="25" y="6"/>
                  </a:lnTo>
                  <a:lnTo>
                    <a:pt x="25" y="8"/>
                  </a:lnTo>
                  <a:lnTo>
                    <a:pt x="23" y="8"/>
                  </a:lnTo>
                  <a:lnTo>
                    <a:pt x="23" y="10"/>
                  </a:lnTo>
                  <a:lnTo>
                    <a:pt x="21" y="10"/>
                  </a:lnTo>
                  <a:lnTo>
                    <a:pt x="21" y="8"/>
                  </a:lnTo>
                  <a:lnTo>
                    <a:pt x="23" y="8"/>
                  </a:lnTo>
                  <a:lnTo>
                    <a:pt x="25" y="8"/>
                  </a:lnTo>
                  <a:lnTo>
                    <a:pt x="23" y="8"/>
                  </a:lnTo>
                  <a:lnTo>
                    <a:pt x="25" y="8"/>
                  </a:lnTo>
                  <a:lnTo>
                    <a:pt x="25" y="6"/>
                  </a:lnTo>
                  <a:close/>
                  <a:moveTo>
                    <a:pt x="13" y="44"/>
                  </a:moveTo>
                  <a:lnTo>
                    <a:pt x="15" y="44"/>
                  </a:lnTo>
                  <a:lnTo>
                    <a:pt x="13" y="44"/>
                  </a:lnTo>
                  <a:close/>
                  <a:moveTo>
                    <a:pt x="46" y="0"/>
                  </a:moveTo>
                  <a:lnTo>
                    <a:pt x="46" y="2"/>
                  </a:lnTo>
                  <a:lnTo>
                    <a:pt x="46" y="0"/>
                  </a:lnTo>
                  <a:close/>
                  <a:moveTo>
                    <a:pt x="19" y="14"/>
                  </a:moveTo>
                  <a:lnTo>
                    <a:pt x="19" y="16"/>
                  </a:lnTo>
                  <a:lnTo>
                    <a:pt x="19" y="14"/>
                  </a:lnTo>
                  <a:close/>
                  <a:moveTo>
                    <a:pt x="8" y="43"/>
                  </a:moveTo>
                  <a:lnTo>
                    <a:pt x="10" y="43"/>
                  </a:lnTo>
                  <a:lnTo>
                    <a:pt x="10" y="44"/>
                  </a:lnTo>
                  <a:lnTo>
                    <a:pt x="8" y="44"/>
                  </a:lnTo>
                  <a:lnTo>
                    <a:pt x="8" y="43"/>
                  </a:lnTo>
                  <a:close/>
                  <a:moveTo>
                    <a:pt x="25" y="6"/>
                  </a:moveTo>
                  <a:lnTo>
                    <a:pt x="27" y="6"/>
                  </a:lnTo>
                  <a:lnTo>
                    <a:pt x="27" y="8"/>
                  </a:lnTo>
                  <a:lnTo>
                    <a:pt x="25" y="8"/>
                  </a:lnTo>
                  <a:lnTo>
                    <a:pt x="25" y="6"/>
                  </a:lnTo>
                  <a:close/>
                  <a:moveTo>
                    <a:pt x="46" y="0"/>
                  </a:moveTo>
                  <a:lnTo>
                    <a:pt x="48" y="0"/>
                  </a:lnTo>
                  <a:lnTo>
                    <a:pt x="48" y="2"/>
                  </a:lnTo>
                  <a:lnTo>
                    <a:pt x="46" y="2"/>
                  </a:lnTo>
                  <a:lnTo>
                    <a:pt x="46" y="0"/>
                  </a:lnTo>
                  <a:close/>
                  <a:moveTo>
                    <a:pt x="29" y="12"/>
                  </a:moveTo>
                  <a:lnTo>
                    <a:pt x="29" y="14"/>
                  </a:lnTo>
                  <a:lnTo>
                    <a:pt x="27" y="14"/>
                  </a:lnTo>
                  <a:lnTo>
                    <a:pt x="25" y="16"/>
                  </a:lnTo>
                  <a:lnTo>
                    <a:pt x="27" y="14"/>
                  </a:lnTo>
                  <a:lnTo>
                    <a:pt x="29" y="12"/>
                  </a:lnTo>
                  <a:close/>
                  <a:moveTo>
                    <a:pt x="29" y="12"/>
                  </a:moveTo>
                  <a:lnTo>
                    <a:pt x="31" y="12"/>
                  </a:lnTo>
                  <a:lnTo>
                    <a:pt x="31" y="14"/>
                  </a:lnTo>
                  <a:lnTo>
                    <a:pt x="29" y="14"/>
                  </a:lnTo>
                  <a:lnTo>
                    <a:pt x="29" y="12"/>
                  </a:lnTo>
                  <a:close/>
                  <a:moveTo>
                    <a:pt x="23" y="29"/>
                  </a:moveTo>
                  <a:lnTo>
                    <a:pt x="25" y="29"/>
                  </a:lnTo>
                  <a:lnTo>
                    <a:pt x="25" y="31"/>
                  </a:lnTo>
                  <a:lnTo>
                    <a:pt x="23" y="31"/>
                  </a:lnTo>
                  <a:lnTo>
                    <a:pt x="23" y="29"/>
                  </a:lnTo>
                  <a:close/>
                  <a:moveTo>
                    <a:pt x="40" y="6"/>
                  </a:moveTo>
                  <a:lnTo>
                    <a:pt x="42" y="6"/>
                  </a:lnTo>
                  <a:lnTo>
                    <a:pt x="40" y="6"/>
                  </a:lnTo>
                  <a:close/>
                  <a:moveTo>
                    <a:pt x="17" y="44"/>
                  </a:moveTo>
                  <a:lnTo>
                    <a:pt x="17" y="46"/>
                  </a:lnTo>
                  <a:lnTo>
                    <a:pt x="17" y="44"/>
                  </a:lnTo>
                  <a:close/>
                  <a:moveTo>
                    <a:pt x="38" y="2"/>
                  </a:moveTo>
                  <a:lnTo>
                    <a:pt x="40" y="2"/>
                  </a:lnTo>
                  <a:lnTo>
                    <a:pt x="38" y="2"/>
                  </a:lnTo>
                  <a:close/>
                  <a:moveTo>
                    <a:pt x="8" y="44"/>
                  </a:moveTo>
                  <a:lnTo>
                    <a:pt x="10" y="44"/>
                  </a:lnTo>
                  <a:lnTo>
                    <a:pt x="8" y="44"/>
                  </a:lnTo>
                  <a:close/>
                  <a:moveTo>
                    <a:pt x="4" y="48"/>
                  </a:moveTo>
                  <a:lnTo>
                    <a:pt x="6" y="48"/>
                  </a:lnTo>
                  <a:lnTo>
                    <a:pt x="6" y="50"/>
                  </a:lnTo>
                  <a:lnTo>
                    <a:pt x="4" y="50"/>
                  </a:lnTo>
                  <a:lnTo>
                    <a:pt x="4" y="48"/>
                  </a:lnTo>
                  <a:close/>
                  <a:moveTo>
                    <a:pt x="19" y="44"/>
                  </a:moveTo>
                  <a:lnTo>
                    <a:pt x="21" y="44"/>
                  </a:lnTo>
                  <a:lnTo>
                    <a:pt x="19" y="44"/>
                  </a:lnTo>
                  <a:close/>
                  <a:moveTo>
                    <a:pt x="27" y="8"/>
                  </a:moveTo>
                  <a:lnTo>
                    <a:pt x="29" y="8"/>
                  </a:lnTo>
                  <a:lnTo>
                    <a:pt x="27" y="8"/>
                  </a:lnTo>
                  <a:close/>
                  <a:moveTo>
                    <a:pt x="12" y="46"/>
                  </a:moveTo>
                  <a:lnTo>
                    <a:pt x="13" y="46"/>
                  </a:lnTo>
                  <a:lnTo>
                    <a:pt x="12" y="46"/>
                  </a:lnTo>
                  <a:close/>
                  <a:moveTo>
                    <a:pt x="10" y="52"/>
                  </a:moveTo>
                  <a:lnTo>
                    <a:pt x="12" y="52"/>
                  </a:lnTo>
                  <a:lnTo>
                    <a:pt x="10" y="52"/>
                  </a:lnTo>
                  <a:close/>
                  <a:moveTo>
                    <a:pt x="40" y="2"/>
                  </a:moveTo>
                  <a:lnTo>
                    <a:pt x="40" y="4"/>
                  </a:lnTo>
                  <a:lnTo>
                    <a:pt x="40" y="2"/>
                  </a:lnTo>
                  <a:close/>
                  <a:moveTo>
                    <a:pt x="19" y="44"/>
                  </a:moveTo>
                  <a:lnTo>
                    <a:pt x="21" y="44"/>
                  </a:lnTo>
                  <a:lnTo>
                    <a:pt x="19" y="44"/>
                  </a:lnTo>
                  <a:close/>
                  <a:moveTo>
                    <a:pt x="35" y="23"/>
                  </a:moveTo>
                  <a:lnTo>
                    <a:pt x="37" y="23"/>
                  </a:lnTo>
                  <a:lnTo>
                    <a:pt x="35" y="23"/>
                  </a:lnTo>
                  <a:close/>
                  <a:moveTo>
                    <a:pt x="31" y="25"/>
                  </a:moveTo>
                  <a:lnTo>
                    <a:pt x="33" y="25"/>
                  </a:lnTo>
                  <a:lnTo>
                    <a:pt x="31" y="25"/>
                  </a:lnTo>
                  <a:close/>
                  <a:moveTo>
                    <a:pt x="17" y="27"/>
                  </a:moveTo>
                  <a:lnTo>
                    <a:pt x="19" y="27"/>
                  </a:lnTo>
                  <a:lnTo>
                    <a:pt x="17" y="27"/>
                  </a:lnTo>
                  <a:close/>
                  <a:moveTo>
                    <a:pt x="13" y="44"/>
                  </a:moveTo>
                  <a:lnTo>
                    <a:pt x="15" y="44"/>
                  </a:lnTo>
                  <a:lnTo>
                    <a:pt x="13" y="44"/>
                  </a:lnTo>
                  <a:close/>
                  <a:moveTo>
                    <a:pt x="23" y="29"/>
                  </a:moveTo>
                  <a:lnTo>
                    <a:pt x="25" y="29"/>
                  </a:lnTo>
                  <a:lnTo>
                    <a:pt x="25" y="31"/>
                  </a:lnTo>
                  <a:lnTo>
                    <a:pt x="23" y="31"/>
                  </a:lnTo>
                  <a:lnTo>
                    <a:pt x="23" y="29"/>
                  </a:lnTo>
                  <a:close/>
                  <a:moveTo>
                    <a:pt x="38" y="2"/>
                  </a:moveTo>
                  <a:lnTo>
                    <a:pt x="38" y="4"/>
                  </a:lnTo>
                  <a:lnTo>
                    <a:pt x="38" y="2"/>
                  </a:lnTo>
                  <a:close/>
                  <a:moveTo>
                    <a:pt x="29" y="25"/>
                  </a:moveTo>
                  <a:lnTo>
                    <a:pt x="31" y="25"/>
                  </a:lnTo>
                  <a:lnTo>
                    <a:pt x="31" y="27"/>
                  </a:lnTo>
                  <a:lnTo>
                    <a:pt x="29" y="27"/>
                  </a:lnTo>
                  <a:lnTo>
                    <a:pt x="29" y="25"/>
                  </a:lnTo>
                  <a:close/>
                  <a:moveTo>
                    <a:pt x="13" y="44"/>
                  </a:moveTo>
                  <a:lnTo>
                    <a:pt x="15" y="44"/>
                  </a:lnTo>
                  <a:lnTo>
                    <a:pt x="13" y="44"/>
                  </a:lnTo>
                  <a:close/>
                  <a:moveTo>
                    <a:pt x="27" y="19"/>
                  </a:moveTo>
                  <a:lnTo>
                    <a:pt x="27" y="21"/>
                  </a:lnTo>
                  <a:lnTo>
                    <a:pt x="27" y="19"/>
                  </a:lnTo>
                  <a:close/>
                  <a:moveTo>
                    <a:pt x="23" y="29"/>
                  </a:moveTo>
                  <a:lnTo>
                    <a:pt x="25" y="29"/>
                  </a:lnTo>
                  <a:lnTo>
                    <a:pt x="23" y="29"/>
                  </a:lnTo>
                  <a:close/>
                  <a:moveTo>
                    <a:pt x="25" y="29"/>
                  </a:moveTo>
                  <a:lnTo>
                    <a:pt x="25" y="31"/>
                  </a:lnTo>
                  <a:lnTo>
                    <a:pt x="25" y="29"/>
                  </a:lnTo>
                  <a:close/>
                  <a:moveTo>
                    <a:pt x="12" y="46"/>
                  </a:moveTo>
                  <a:lnTo>
                    <a:pt x="13" y="46"/>
                  </a:lnTo>
                  <a:lnTo>
                    <a:pt x="12" y="46"/>
                  </a:lnTo>
                  <a:close/>
                  <a:moveTo>
                    <a:pt x="6" y="48"/>
                  </a:moveTo>
                  <a:lnTo>
                    <a:pt x="6" y="50"/>
                  </a:lnTo>
                  <a:lnTo>
                    <a:pt x="6" y="48"/>
                  </a:lnTo>
                  <a:close/>
                  <a:moveTo>
                    <a:pt x="25" y="6"/>
                  </a:moveTo>
                  <a:lnTo>
                    <a:pt x="27" y="6"/>
                  </a:lnTo>
                  <a:lnTo>
                    <a:pt x="25" y="6"/>
                  </a:lnTo>
                  <a:close/>
                  <a:moveTo>
                    <a:pt x="29" y="23"/>
                  </a:moveTo>
                  <a:lnTo>
                    <a:pt x="31" y="23"/>
                  </a:lnTo>
                  <a:lnTo>
                    <a:pt x="29" y="23"/>
                  </a:lnTo>
                  <a:close/>
                  <a:moveTo>
                    <a:pt x="10" y="43"/>
                  </a:moveTo>
                  <a:lnTo>
                    <a:pt x="12" y="43"/>
                  </a:lnTo>
                  <a:lnTo>
                    <a:pt x="10" y="43"/>
                  </a:lnTo>
                  <a:close/>
                  <a:moveTo>
                    <a:pt x="40" y="4"/>
                  </a:moveTo>
                  <a:lnTo>
                    <a:pt x="42" y="4"/>
                  </a:lnTo>
                  <a:lnTo>
                    <a:pt x="40" y="4"/>
                  </a:lnTo>
                  <a:close/>
                  <a:moveTo>
                    <a:pt x="40" y="4"/>
                  </a:moveTo>
                  <a:lnTo>
                    <a:pt x="42" y="4"/>
                  </a:lnTo>
                  <a:lnTo>
                    <a:pt x="40" y="4"/>
                  </a:lnTo>
                  <a:close/>
                  <a:moveTo>
                    <a:pt x="13" y="44"/>
                  </a:moveTo>
                  <a:lnTo>
                    <a:pt x="15" y="44"/>
                  </a:lnTo>
                  <a:lnTo>
                    <a:pt x="13" y="44"/>
                  </a:lnTo>
                  <a:close/>
                  <a:moveTo>
                    <a:pt x="12" y="54"/>
                  </a:moveTo>
                  <a:lnTo>
                    <a:pt x="13" y="54"/>
                  </a:lnTo>
                  <a:lnTo>
                    <a:pt x="12" y="54"/>
                  </a:lnTo>
                  <a:close/>
                  <a:moveTo>
                    <a:pt x="10" y="46"/>
                  </a:moveTo>
                  <a:lnTo>
                    <a:pt x="12" y="46"/>
                  </a:lnTo>
                  <a:lnTo>
                    <a:pt x="10" y="46"/>
                  </a:lnTo>
                  <a:close/>
                  <a:moveTo>
                    <a:pt x="12" y="46"/>
                  </a:moveTo>
                  <a:lnTo>
                    <a:pt x="13" y="46"/>
                  </a:lnTo>
                  <a:lnTo>
                    <a:pt x="12" y="46"/>
                  </a:lnTo>
                  <a:close/>
                  <a:moveTo>
                    <a:pt x="12" y="52"/>
                  </a:moveTo>
                  <a:lnTo>
                    <a:pt x="13" y="52"/>
                  </a:lnTo>
                  <a:lnTo>
                    <a:pt x="13" y="54"/>
                  </a:lnTo>
                  <a:lnTo>
                    <a:pt x="12" y="54"/>
                  </a:lnTo>
                  <a:lnTo>
                    <a:pt x="12" y="52"/>
                  </a:lnTo>
                  <a:close/>
                  <a:moveTo>
                    <a:pt x="25" y="29"/>
                  </a:moveTo>
                  <a:lnTo>
                    <a:pt x="25" y="31"/>
                  </a:lnTo>
                  <a:lnTo>
                    <a:pt x="25" y="2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382">
              <a:extLst>
                <a:ext uri="{FF2B5EF4-FFF2-40B4-BE49-F238E27FC236}">
                  <a16:creationId xmlns:a16="http://schemas.microsoft.com/office/drawing/2014/main" id="{56FDF416-61F5-4F4C-BAD4-86D04FB9013E}"/>
                </a:ext>
              </a:extLst>
            </p:cNvPr>
            <p:cNvSpPr>
              <a:spLocks noEditPoints="1"/>
            </p:cNvSpPr>
            <p:nvPr/>
          </p:nvSpPr>
          <p:spPr bwMode="gray">
            <a:xfrm>
              <a:off x="3314957" y="3179408"/>
              <a:ext cx="164335" cy="223201"/>
            </a:xfrm>
            <a:custGeom>
              <a:avLst/>
              <a:gdLst>
                <a:gd name="T0" fmla="*/ 124 w 134"/>
                <a:gd name="T1" fmla="*/ 96 h 182"/>
                <a:gd name="T2" fmla="*/ 113 w 134"/>
                <a:gd name="T3" fmla="*/ 103 h 182"/>
                <a:gd name="T4" fmla="*/ 97 w 134"/>
                <a:gd name="T5" fmla="*/ 111 h 182"/>
                <a:gd name="T6" fmla="*/ 95 w 134"/>
                <a:gd name="T7" fmla="*/ 121 h 182"/>
                <a:gd name="T8" fmla="*/ 101 w 134"/>
                <a:gd name="T9" fmla="*/ 134 h 182"/>
                <a:gd name="T10" fmla="*/ 117 w 134"/>
                <a:gd name="T11" fmla="*/ 150 h 182"/>
                <a:gd name="T12" fmla="*/ 101 w 134"/>
                <a:gd name="T13" fmla="*/ 167 h 182"/>
                <a:gd name="T14" fmla="*/ 97 w 134"/>
                <a:gd name="T15" fmla="*/ 175 h 182"/>
                <a:gd name="T16" fmla="*/ 80 w 134"/>
                <a:gd name="T17" fmla="*/ 178 h 182"/>
                <a:gd name="T18" fmla="*/ 67 w 134"/>
                <a:gd name="T19" fmla="*/ 180 h 182"/>
                <a:gd name="T20" fmla="*/ 59 w 134"/>
                <a:gd name="T21" fmla="*/ 176 h 182"/>
                <a:gd name="T22" fmla="*/ 48 w 134"/>
                <a:gd name="T23" fmla="*/ 173 h 182"/>
                <a:gd name="T24" fmla="*/ 40 w 134"/>
                <a:gd name="T25" fmla="*/ 169 h 182"/>
                <a:gd name="T26" fmla="*/ 28 w 134"/>
                <a:gd name="T27" fmla="*/ 175 h 182"/>
                <a:gd name="T28" fmla="*/ 28 w 134"/>
                <a:gd name="T29" fmla="*/ 152 h 182"/>
                <a:gd name="T30" fmla="*/ 24 w 134"/>
                <a:gd name="T31" fmla="*/ 140 h 182"/>
                <a:gd name="T32" fmla="*/ 9 w 134"/>
                <a:gd name="T33" fmla="*/ 136 h 182"/>
                <a:gd name="T34" fmla="*/ 5 w 134"/>
                <a:gd name="T35" fmla="*/ 121 h 182"/>
                <a:gd name="T36" fmla="*/ 5 w 134"/>
                <a:gd name="T37" fmla="*/ 107 h 182"/>
                <a:gd name="T38" fmla="*/ 0 w 134"/>
                <a:gd name="T39" fmla="*/ 96 h 182"/>
                <a:gd name="T40" fmla="*/ 3 w 134"/>
                <a:gd name="T41" fmla="*/ 79 h 182"/>
                <a:gd name="T42" fmla="*/ 15 w 134"/>
                <a:gd name="T43" fmla="*/ 71 h 182"/>
                <a:gd name="T44" fmla="*/ 19 w 134"/>
                <a:gd name="T45" fmla="*/ 52 h 182"/>
                <a:gd name="T46" fmla="*/ 17 w 134"/>
                <a:gd name="T47" fmla="*/ 38 h 182"/>
                <a:gd name="T48" fmla="*/ 34 w 134"/>
                <a:gd name="T49" fmla="*/ 36 h 182"/>
                <a:gd name="T50" fmla="*/ 38 w 134"/>
                <a:gd name="T51" fmla="*/ 40 h 182"/>
                <a:gd name="T52" fmla="*/ 42 w 134"/>
                <a:gd name="T53" fmla="*/ 29 h 182"/>
                <a:gd name="T54" fmla="*/ 57 w 134"/>
                <a:gd name="T55" fmla="*/ 36 h 182"/>
                <a:gd name="T56" fmla="*/ 44 w 134"/>
                <a:gd name="T57" fmla="*/ 23 h 182"/>
                <a:gd name="T58" fmla="*/ 44 w 134"/>
                <a:gd name="T59" fmla="*/ 15 h 182"/>
                <a:gd name="T60" fmla="*/ 38 w 134"/>
                <a:gd name="T61" fmla="*/ 9 h 182"/>
                <a:gd name="T62" fmla="*/ 36 w 134"/>
                <a:gd name="T63" fmla="*/ 0 h 182"/>
                <a:gd name="T64" fmla="*/ 53 w 134"/>
                <a:gd name="T65" fmla="*/ 6 h 182"/>
                <a:gd name="T66" fmla="*/ 59 w 134"/>
                <a:gd name="T67" fmla="*/ 7 h 182"/>
                <a:gd name="T68" fmla="*/ 61 w 134"/>
                <a:gd name="T69" fmla="*/ 9 h 182"/>
                <a:gd name="T70" fmla="*/ 69 w 134"/>
                <a:gd name="T71" fmla="*/ 17 h 182"/>
                <a:gd name="T72" fmla="*/ 72 w 134"/>
                <a:gd name="T73" fmla="*/ 25 h 182"/>
                <a:gd name="T74" fmla="*/ 78 w 134"/>
                <a:gd name="T75" fmla="*/ 27 h 182"/>
                <a:gd name="T76" fmla="*/ 86 w 134"/>
                <a:gd name="T77" fmla="*/ 23 h 182"/>
                <a:gd name="T78" fmla="*/ 92 w 134"/>
                <a:gd name="T79" fmla="*/ 21 h 182"/>
                <a:gd name="T80" fmla="*/ 97 w 134"/>
                <a:gd name="T81" fmla="*/ 15 h 182"/>
                <a:gd name="T82" fmla="*/ 103 w 134"/>
                <a:gd name="T83" fmla="*/ 17 h 182"/>
                <a:gd name="T84" fmla="*/ 113 w 134"/>
                <a:gd name="T85" fmla="*/ 23 h 182"/>
                <a:gd name="T86" fmla="*/ 122 w 134"/>
                <a:gd name="T87" fmla="*/ 34 h 182"/>
                <a:gd name="T88" fmla="*/ 120 w 134"/>
                <a:gd name="T89" fmla="*/ 55 h 182"/>
                <a:gd name="T90" fmla="*/ 130 w 134"/>
                <a:gd name="T91" fmla="*/ 69 h 182"/>
                <a:gd name="T92" fmla="*/ 132 w 134"/>
                <a:gd name="T93" fmla="*/ 88 h 182"/>
                <a:gd name="T94" fmla="*/ 115 w 134"/>
                <a:gd name="T95" fmla="*/ 17 h 182"/>
                <a:gd name="T96" fmla="*/ 107 w 134"/>
                <a:gd name="T97" fmla="*/ 13 h 182"/>
                <a:gd name="T98" fmla="*/ 113 w 134"/>
                <a:gd name="T99" fmla="*/ 13 h 182"/>
                <a:gd name="T100" fmla="*/ 115 w 134"/>
                <a:gd name="T101" fmla="*/ 11 h 182"/>
                <a:gd name="T102" fmla="*/ 117 w 134"/>
                <a:gd name="T103" fmla="*/ 27 h 182"/>
                <a:gd name="T104" fmla="*/ 117 w 134"/>
                <a:gd name="T105" fmla="*/ 23 h 182"/>
                <a:gd name="T106" fmla="*/ 76 w 134"/>
                <a:gd name="T107" fmla="*/ 13 h 182"/>
                <a:gd name="T108" fmla="*/ 82 w 134"/>
                <a:gd name="T109" fmla="*/ 27 h 182"/>
                <a:gd name="T110" fmla="*/ 107 w 134"/>
                <a:gd name="T111" fmla="*/ 13 h 182"/>
                <a:gd name="T112" fmla="*/ 17 w 134"/>
                <a:gd name="T113" fmla="*/ 34 h 182"/>
                <a:gd name="T114" fmla="*/ 40 w 134"/>
                <a:gd name="T115" fmla="*/ 171 h 182"/>
                <a:gd name="T116" fmla="*/ 55 w 134"/>
                <a:gd name="T117" fmla="*/ 36 h 182"/>
                <a:gd name="T118" fmla="*/ 53 w 134"/>
                <a:gd name="T119" fmla="*/ 36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82">
                  <a:moveTo>
                    <a:pt x="134" y="96"/>
                  </a:moveTo>
                  <a:lnTo>
                    <a:pt x="132" y="96"/>
                  </a:lnTo>
                  <a:lnTo>
                    <a:pt x="132" y="98"/>
                  </a:lnTo>
                  <a:lnTo>
                    <a:pt x="132" y="100"/>
                  </a:lnTo>
                  <a:lnTo>
                    <a:pt x="130" y="100"/>
                  </a:lnTo>
                  <a:lnTo>
                    <a:pt x="130" y="102"/>
                  </a:lnTo>
                  <a:lnTo>
                    <a:pt x="128" y="102"/>
                  </a:lnTo>
                  <a:lnTo>
                    <a:pt x="128" y="100"/>
                  </a:lnTo>
                  <a:lnTo>
                    <a:pt x="126" y="100"/>
                  </a:lnTo>
                  <a:lnTo>
                    <a:pt x="128" y="100"/>
                  </a:lnTo>
                  <a:lnTo>
                    <a:pt x="128" y="98"/>
                  </a:lnTo>
                  <a:lnTo>
                    <a:pt x="126" y="98"/>
                  </a:lnTo>
                  <a:lnTo>
                    <a:pt x="126" y="96"/>
                  </a:lnTo>
                  <a:lnTo>
                    <a:pt x="126" y="98"/>
                  </a:lnTo>
                  <a:lnTo>
                    <a:pt x="124" y="98"/>
                  </a:lnTo>
                  <a:lnTo>
                    <a:pt x="124" y="96"/>
                  </a:lnTo>
                  <a:lnTo>
                    <a:pt x="124" y="98"/>
                  </a:lnTo>
                  <a:lnTo>
                    <a:pt x="124" y="96"/>
                  </a:lnTo>
                  <a:lnTo>
                    <a:pt x="122" y="96"/>
                  </a:lnTo>
                  <a:lnTo>
                    <a:pt x="122" y="98"/>
                  </a:lnTo>
                  <a:lnTo>
                    <a:pt x="124" y="98"/>
                  </a:lnTo>
                  <a:lnTo>
                    <a:pt x="122" y="98"/>
                  </a:lnTo>
                  <a:lnTo>
                    <a:pt x="122" y="100"/>
                  </a:lnTo>
                  <a:lnTo>
                    <a:pt x="124" y="100"/>
                  </a:lnTo>
                  <a:lnTo>
                    <a:pt x="122" y="100"/>
                  </a:lnTo>
                  <a:lnTo>
                    <a:pt x="124" y="100"/>
                  </a:lnTo>
                  <a:lnTo>
                    <a:pt x="122" y="100"/>
                  </a:lnTo>
                  <a:lnTo>
                    <a:pt x="122" y="102"/>
                  </a:lnTo>
                  <a:lnTo>
                    <a:pt x="120" y="102"/>
                  </a:lnTo>
                  <a:lnTo>
                    <a:pt x="119" y="102"/>
                  </a:lnTo>
                  <a:lnTo>
                    <a:pt x="119" y="103"/>
                  </a:lnTo>
                  <a:lnTo>
                    <a:pt x="117" y="103"/>
                  </a:lnTo>
                  <a:lnTo>
                    <a:pt x="115" y="103"/>
                  </a:lnTo>
                  <a:lnTo>
                    <a:pt x="113" y="103"/>
                  </a:lnTo>
                  <a:lnTo>
                    <a:pt x="113" y="105"/>
                  </a:lnTo>
                  <a:lnTo>
                    <a:pt x="113" y="103"/>
                  </a:lnTo>
                  <a:lnTo>
                    <a:pt x="113" y="105"/>
                  </a:lnTo>
                  <a:lnTo>
                    <a:pt x="113" y="103"/>
                  </a:lnTo>
                  <a:lnTo>
                    <a:pt x="113" y="105"/>
                  </a:lnTo>
                  <a:lnTo>
                    <a:pt x="111" y="105"/>
                  </a:lnTo>
                  <a:lnTo>
                    <a:pt x="113" y="105"/>
                  </a:lnTo>
                  <a:lnTo>
                    <a:pt x="111" y="105"/>
                  </a:lnTo>
                  <a:lnTo>
                    <a:pt x="111" y="107"/>
                  </a:lnTo>
                  <a:lnTo>
                    <a:pt x="111" y="105"/>
                  </a:lnTo>
                  <a:lnTo>
                    <a:pt x="109" y="105"/>
                  </a:lnTo>
                  <a:lnTo>
                    <a:pt x="109" y="107"/>
                  </a:lnTo>
                  <a:lnTo>
                    <a:pt x="107" y="107"/>
                  </a:lnTo>
                  <a:lnTo>
                    <a:pt x="107" y="109"/>
                  </a:lnTo>
                  <a:lnTo>
                    <a:pt x="105" y="109"/>
                  </a:lnTo>
                  <a:lnTo>
                    <a:pt x="105" y="111"/>
                  </a:lnTo>
                  <a:lnTo>
                    <a:pt x="103" y="111"/>
                  </a:lnTo>
                  <a:lnTo>
                    <a:pt x="101" y="111"/>
                  </a:lnTo>
                  <a:lnTo>
                    <a:pt x="99" y="111"/>
                  </a:lnTo>
                  <a:lnTo>
                    <a:pt x="97" y="111"/>
                  </a:lnTo>
                  <a:lnTo>
                    <a:pt x="97" y="113"/>
                  </a:lnTo>
                  <a:lnTo>
                    <a:pt x="95" y="113"/>
                  </a:lnTo>
                  <a:lnTo>
                    <a:pt x="95" y="115"/>
                  </a:lnTo>
                  <a:lnTo>
                    <a:pt x="94" y="115"/>
                  </a:lnTo>
                  <a:lnTo>
                    <a:pt x="94" y="117"/>
                  </a:lnTo>
                  <a:lnTo>
                    <a:pt x="94" y="115"/>
                  </a:lnTo>
                  <a:lnTo>
                    <a:pt x="92" y="115"/>
                  </a:lnTo>
                  <a:lnTo>
                    <a:pt x="92" y="113"/>
                  </a:lnTo>
                  <a:lnTo>
                    <a:pt x="92" y="115"/>
                  </a:lnTo>
                  <a:lnTo>
                    <a:pt x="92" y="117"/>
                  </a:lnTo>
                  <a:lnTo>
                    <a:pt x="92" y="115"/>
                  </a:lnTo>
                  <a:lnTo>
                    <a:pt x="92" y="117"/>
                  </a:lnTo>
                  <a:lnTo>
                    <a:pt x="92" y="115"/>
                  </a:lnTo>
                  <a:lnTo>
                    <a:pt x="92" y="117"/>
                  </a:lnTo>
                  <a:lnTo>
                    <a:pt x="92" y="119"/>
                  </a:lnTo>
                  <a:lnTo>
                    <a:pt x="94" y="119"/>
                  </a:lnTo>
                  <a:lnTo>
                    <a:pt x="94" y="121"/>
                  </a:lnTo>
                  <a:lnTo>
                    <a:pt x="95" y="121"/>
                  </a:lnTo>
                  <a:lnTo>
                    <a:pt x="94" y="121"/>
                  </a:lnTo>
                  <a:lnTo>
                    <a:pt x="95" y="121"/>
                  </a:lnTo>
                  <a:lnTo>
                    <a:pt x="97" y="121"/>
                  </a:lnTo>
                  <a:lnTo>
                    <a:pt x="97" y="123"/>
                  </a:lnTo>
                  <a:lnTo>
                    <a:pt x="95" y="123"/>
                  </a:lnTo>
                  <a:lnTo>
                    <a:pt x="97" y="123"/>
                  </a:lnTo>
                  <a:lnTo>
                    <a:pt x="97" y="125"/>
                  </a:lnTo>
                  <a:lnTo>
                    <a:pt x="95" y="125"/>
                  </a:lnTo>
                  <a:lnTo>
                    <a:pt x="95" y="127"/>
                  </a:lnTo>
                  <a:lnTo>
                    <a:pt x="95" y="128"/>
                  </a:lnTo>
                  <a:lnTo>
                    <a:pt x="97" y="128"/>
                  </a:lnTo>
                  <a:lnTo>
                    <a:pt x="97" y="130"/>
                  </a:lnTo>
                  <a:lnTo>
                    <a:pt x="97" y="128"/>
                  </a:lnTo>
                  <a:lnTo>
                    <a:pt x="97" y="130"/>
                  </a:lnTo>
                  <a:lnTo>
                    <a:pt x="97" y="132"/>
                  </a:lnTo>
                  <a:lnTo>
                    <a:pt x="99" y="132"/>
                  </a:lnTo>
                  <a:lnTo>
                    <a:pt x="99" y="134"/>
                  </a:lnTo>
                  <a:lnTo>
                    <a:pt x="101" y="134"/>
                  </a:lnTo>
                  <a:lnTo>
                    <a:pt x="101" y="136"/>
                  </a:lnTo>
                  <a:lnTo>
                    <a:pt x="103" y="136"/>
                  </a:lnTo>
                  <a:lnTo>
                    <a:pt x="105" y="136"/>
                  </a:lnTo>
                  <a:lnTo>
                    <a:pt x="105" y="138"/>
                  </a:lnTo>
                  <a:lnTo>
                    <a:pt x="105" y="140"/>
                  </a:lnTo>
                  <a:lnTo>
                    <a:pt x="107" y="140"/>
                  </a:lnTo>
                  <a:lnTo>
                    <a:pt x="109" y="140"/>
                  </a:lnTo>
                  <a:lnTo>
                    <a:pt x="109" y="142"/>
                  </a:lnTo>
                  <a:lnTo>
                    <a:pt x="111" y="142"/>
                  </a:lnTo>
                  <a:lnTo>
                    <a:pt x="111" y="144"/>
                  </a:lnTo>
                  <a:lnTo>
                    <a:pt x="113" y="144"/>
                  </a:lnTo>
                  <a:lnTo>
                    <a:pt x="113" y="146"/>
                  </a:lnTo>
                  <a:lnTo>
                    <a:pt x="115" y="146"/>
                  </a:lnTo>
                  <a:lnTo>
                    <a:pt x="115" y="148"/>
                  </a:lnTo>
                  <a:lnTo>
                    <a:pt x="117" y="148"/>
                  </a:lnTo>
                  <a:lnTo>
                    <a:pt x="115" y="148"/>
                  </a:lnTo>
                  <a:lnTo>
                    <a:pt x="117" y="148"/>
                  </a:lnTo>
                  <a:lnTo>
                    <a:pt x="117" y="150"/>
                  </a:lnTo>
                  <a:lnTo>
                    <a:pt x="117" y="152"/>
                  </a:lnTo>
                  <a:lnTo>
                    <a:pt x="117" y="153"/>
                  </a:lnTo>
                  <a:lnTo>
                    <a:pt x="115" y="153"/>
                  </a:lnTo>
                  <a:lnTo>
                    <a:pt x="113" y="153"/>
                  </a:lnTo>
                  <a:lnTo>
                    <a:pt x="111" y="153"/>
                  </a:lnTo>
                  <a:lnTo>
                    <a:pt x="111" y="152"/>
                  </a:lnTo>
                  <a:lnTo>
                    <a:pt x="111" y="153"/>
                  </a:lnTo>
                  <a:lnTo>
                    <a:pt x="111" y="155"/>
                  </a:lnTo>
                  <a:lnTo>
                    <a:pt x="111" y="157"/>
                  </a:lnTo>
                  <a:lnTo>
                    <a:pt x="109" y="157"/>
                  </a:lnTo>
                  <a:lnTo>
                    <a:pt x="109" y="159"/>
                  </a:lnTo>
                  <a:lnTo>
                    <a:pt x="107" y="159"/>
                  </a:lnTo>
                  <a:lnTo>
                    <a:pt x="105" y="159"/>
                  </a:lnTo>
                  <a:lnTo>
                    <a:pt x="103" y="161"/>
                  </a:lnTo>
                  <a:lnTo>
                    <a:pt x="101" y="161"/>
                  </a:lnTo>
                  <a:lnTo>
                    <a:pt x="101" y="163"/>
                  </a:lnTo>
                  <a:lnTo>
                    <a:pt x="101" y="165"/>
                  </a:lnTo>
                  <a:lnTo>
                    <a:pt x="101" y="167"/>
                  </a:lnTo>
                  <a:lnTo>
                    <a:pt x="103" y="167"/>
                  </a:lnTo>
                  <a:lnTo>
                    <a:pt x="103" y="169"/>
                  </a:lnTo>
                  <a:lnTo>
                    <a:pt x="103" y="171"/>
                  </a:lnTo>
                  <a:lnTo>
                    <a:pt x="103" y="173"/>
                  </a:lnTo>
                  <a:lnTo>
                    <a:pt x="103" y="171"/>
                  </a:lnTo>
                  <a:lnTo>
                    <a:pt x="105" y="171"/>
                  </a:lnTo>
                  <a:lnTo>
                    <a:pt x="103" y="171"/>
                  </a:lnTo>
                  <a:lnTo>
                    <a:pt x="105" y="171"/>
                  </a:lnTo>
                  <a:lnTo>
                    <a:pt x="105" y="173"/>
                  </a:lnTo>
                  <a:lnTo>
                    <a:pt x="105" y="175"/>
                  </a:lnTo>
                  <a:lnTo>
                    <a:pt x="105" y="176"/>
                  </a:lnTo>
                  <a:lnTo>
                    <a:pt x="103" y="176"/>
                  </a:lnTo>
                  <a:lnTo>
                    <a:pt x="101" y="176"/>
                  </a:lnTo>
                  <a:lnTo>
                    <a:pt x="101" y="175"/>
                  </a:lnTo>
                  <a:lnTo>
                    <a:pt x="101" y="173"/>
                  </a:lnTo>
                  <a:lnTo>
                    <a:pt x="99" y="173"/>
                  </a:lnTo>
                  <a:lnTo>
                    <a:pt x="97" y="173"/>
                  </a:lnTo>
                  <a:lnTo>
                    <a:pt x="97" y="175"/>
                  </a:lnTo>
                  <a:lnTo>
                    <a:pt x="97" y="173"/>
                  </a:lnTo>
                  <a:lnTo>
                    <a:pt x="95" y="173"/>
                  </a:lnTo>
                  <a:lnTo>
                    <a:pt x="94" y="173"/>
                  </a:lnTo>
                  <a:lnTo>
                    <a:pt x="94" y="171"/>
                  </a:lnTo>
                  <a:lnTo>
                    <a:pt x="92" y="173"/>
                  </a:lnTo>
                  <a:lnTo>
                    <a:pt x="92" y="175"/>
                  </a:lnTo>
                  <a:lnTo>
                    <a:pt x="90" y="175"/>
                  </a:lnTo>
                  <a:lnTo>
                    <a:pt x="88" y="175"/>
                  </a:lnTo>
                  <a:lnTo>
                    <a:pt x="86" y="175"/>
                  </a:lnTo>
                  <a:lnTo>
                    <a:pt x="84" y="175"/>
                  </a:lnTo>
                  <a:lnTo>
                    <a:pt x="84" y="176"/>
                  </a:lnTo>
                  <a:lnTo>
                    <a:pt x="82" y="176"/>
                  </a:lnTo>
                  <a:lnTo>
                    <a:pt x="80" y="176"/>
                  </a:lnTo>
                  <a:lnTo>
                    <a:pt x="80" y="178"/>
                  </a:lnTo>
                  <a:lnTo>
                    <a:pt x="80" y="176"/>
                  </a:lnTo>
                  <a:lnTo>
                    <a:pt x="80" y="178"/>
                  </a:lnTo>
                  <a:lnTo>
                    <a:pt x="80" y="176"/>
                  </a:lnTo>
                  <a:lnTo>
                    <a:pt x="80" y="178"/>
                  </a:lnTo>
                  <a:lnTo>
                    <a:pt x="78" y="178"/>
                  </a:lnTo>
                  <a:lnTo>
                    <a:pt x="76" y="178"/>
                  </a:lnTo>
                  <a:lnTo>
                    <a:pt x="74" y="178"/>
                  </a:lnTo>
                  <a:lnTo>
                    <a:pt x="74" y="176"/>
                  </a:lnTo>
                  <a:lnTo>
                    <a:pt x="72" y="176"/>
                  </a:lnTo>
                  <a:lnTo>
                    <a:pt x="74" y="176"/>
                  </a:lnTo>
                  <a:lnTo>
                    <a:pt x="72" y="176"/>
                  </a:lnTo>
                  <a:lnTo>
                    <a:pt x="71" y="176"/>
                  </a:lnTo>
                  <a:lnTo>
                    <a:pt x="71" y="175"/>
                  </a:lnTo>
                  <a:lnTo>
                    <a:pt x="71" y="176"/>
                  </a:lnTo>
                  <a:lnTo>
                    <a:pt x="71" y="175"/>
                  </a:lnTo>
                  <a:lnTo>
                    <a:pt x="69" y="175"/>
                  </a:lnTo>
                  <a:lnTo>
                    <a:pt x="69" y="176"/>
                  </a:lnTo>
                  <a:lnTo>
                    <a:pt x="67" y="176"/>
                  </a:lnTo>
                  <a:lnTo>
                    <a:pt x="67" y="175"/>
                  </a:lnTo>
                  <a:lnTo>
                    <a:pt x="67" y="176"/>
                  </a:lnTo>
                  <a:lnTo>
                    <a:pt x="67" y="178"/>
                  </a:lnTo>
                  <a:lnTo>
                    <a:pt x="67" y="180"/>
                  </a:lnTo>
                  <a:lnTo>
                    <a:pt x="65" y="180"/>
                  </a:lnTo>
                  <a:lnTo>
                    <a:pt x="63" y="180"/>
                  </a:lnTo>
                  <a:lnTo>
                    <a:pt x="63" y="182"/>
                  </a:lnTo>
                  <a:lnTo>
                    <a:pt x="63" y="180"/>
                  </a:lnTo>
                  <a:lnTo>
                    <a:pt x="63" y="182"/>
                  </a:lnTo>
                  <a:lnTo>
                    <a:pt x="63" y="180"/>
                  </a:lnTo>
                  <a:lnTo>
                    <a:pt x="63" y="178"/>
                  </a:lnTo>
                  <a:lnTo>
                    <a:pt x="61" y="178"/>
                  </a:lnTo>
                  <a:lnTo>
                    <a:pt x="61" y="180"/>
                  </a:lnTo>
                  <a:lnTo>
                    <a:pt x="61" y="178"/>
                  </a:lnTo>
                  <a:lnTo>
                    <a:pt x="61" y="176"/>
                  </a:lnTo>
                  <a:lnTo>
                    <a:pt x="59" y="176"/>
                  </a:lnTo>
                  <a:lnTo>
                    <a:pt x="59" y="175"/>
                  </a:lnTo>
                  <a:lnTo>
                    <a:pt x="59" y="176"/>
                  </a:lnTo>
                  <a:lnTo>
                    <a:pt x="59" y="175"/>
                  </a:lnTo>
                  <a:lnTo>
                    <a:pt x="59" y="176"/>
                  </a:lnTo>
                  <a:lnTo>
                    <a:pt x="59" y="175"/>
                  </a:lnTo>
                  <a:lnTo>
                    <a:pt x="59" y="176"/>
                  </a:lnTo>
                  <a:lnTo>
                    <a:pt x="57" y="176"/>
                  </a:lnTo>
                  <a:lnTo>
                    <a:pt x="57" y="175"/>
                  </a:lnTo>
                  <a:lnTo>
                    <a:pt x="57" y="176"/>
                  </a:lnTo>
                  <a:lnTo>
                    <a:pt x="57" y="175"/>
                  </a:lnTo>
                  <a:lnTo>
                    <a:pt x="55" y="175"/>
                  </a:lnTo>
                  <a:lnTo>
                    <a:pt x="53" y="175"/>
                  </a:lnTo>
                  <a:lnTo>
                    <a:pt x="53" y="173"/>
                  </a:lnTo>
                  <a:lnTo>
                    <a:pt x="51" y="173"/>
                  </a:lnTo>
                  <a:lnTo>
                    <a:pt x="49" y="173"/>
                  </a:lnTo>
                  <a:lnTo>
                    <a:pt x="49" y="171"/>
                  </a:lnTo>
                  <a:lnTo>
                    <a:pt x="48" y="171"/>
                  </a:lnTo>
                  <a:lnTo>
                    <a:pt x="48" y="169"/>
                  </a:lnTo>
                  <a:lnTo>
                    <a:pt x="46" y="169"/>
                  </a:lnTo>
                  <a:lnTo>
                    <a:pt x="46" y="171"/>
                  </a:lnTo>
                  <a:lnTo>
                    <a:pt x="48" y="171"/>
                  </a:lnTo>
                  <a:lnTo>
                    <a:pt x="48" y="173"/>
                  </a:lnTo>
                  <a:lnTo>
                    <a:pt x="49" y="173"/>
                  </a:lnTo>
                  <a:lnTo>
                    <a:pt x="48" y="173"/>
                  </a:lnTo>
                  <a:lnTo>
                    <a:pt x="46" y="173"/>
                  </a:lnTo>
                  <a:lnTo>
                    <a:pt x="48" y="173"/>
                  </a:lnTo>
                  <a:lnTo>
                    <a:pt x="46" y="173"/>
                  </a:lnTo>
                  <a:lnTo>
                    <a:pt x="46" y="171"/>
                  </a:lnTo>
                  <a:lnTo>
                    <a:pt x="46" y="173"/>
                  </a:lnTo>
                  <a:lnTo>
                    <a:pt x="44" y="173"/>
                  </a:lnTo>
                  <a:lnTo>
                    <a:pt x="44" y="171"/>
                  </a:lnTo>
                  <a:lnTo>
                    <a:pt x="44" y="173"/>
                  </a:lnTo>
                  <a:lnTo>
                    <a:pt x="44" y="171"/>
                  </a:lnTo>
                  <a:lnTo>
                    <a:pt x="42" y="171"/>
                  </a:lnTo>
                  <a:lnTo>
                    <a:pt x="44" y="171"/>
                  </a:lnTo>
                  <a:lnTo>
                    <a:pt x="42" y="171"/>
                  </a:lnTo>
                  <a:lnTo>
                    <a:pt x="42" y="173"/>
                  </a:lnTo>
                  <a:lnTo>
                    <a:pt x="44" y="173"/>
                  </a:lnTo>
                  <a:lnTo>
                    <a:pt x="42" y="173"/>
                  </a:lnTo>
                  <a:lnTo>
                    <a:pt x="42" y="171"/>
                  </a:lnTo>
                  <a:lnTo>
                    <a:pt x="40" y="171"/>
                  </a:lnTo>
                  <a:lnTo>
                    <a:pt x="40" y="169"/>
                  </a:lnTo>
                  <a:lnTo>
                    <a:pt x="40" y="171"/>
                  </a:lnTo>
                  <a:lnTo>
                    <a:pt x="40" y="169"/>
                  </a:lnTo>
                  <a:lnTo>
                    <a:pt x="40" y="171"/>
                  </a:lnTo>
                  <a:lnTo>
                    <a:pt x="38" y="171"/>
                  </a:lnTo>
                  <a:lnTo>
                    <a:pt x="38" y="173"/>
                  </a:lnTo>
                  <a:lnTo>
                    <a:pt x="36" y="173"/>
                  </a:lnTo>
                  <a:lnTo>
                    <a:pt x="38" y="173"/>
                  </a:lnTo>
                  <a:lnTo>
                    <a:pt x="36" y="173"/>
                  </a:lnTo>
                  <a:lnTo>
                    <a:pt x="38" y="173"/>
                  </a:lnTo>
                  <a:lnTo>
                    <a:pt x="40" y="173"/>
                  </a:lnTo>
                  <a:lnTo>
                    <a:pt x="40" y="175"/>
                  </a:lnTo>
                  <a:lnTo>
                    <a:pt x="38" y="173"/>
                  </a:lnTo>
                  <a:lnTo>
                    <a:pt x="38" y="175"/>
                  </a:lnTo>
                  <a:lnTo>
                    <a:pt x="36" y="175"/>
                  </a:lnTo>
                  <a:lnTo>
                    <a:pt x="34" y="175"/>
                  </a:lnTo>
                  <a:lnTo>
                    <a:pt x="32" y="175"/>
                  </a:lnTo>
                  <a:lnTo>
                    <a:pt x="30" y="175"/>
                  </a:lnTo>
                  <a:lnTo>
                    <a:pt x="28" y="175"/>
                  </a:lnTo>
                  <a:lnTo>
                    <a:pt x="26" y="175"/>
                  </a:lnTo>
                  <a:lnTo>
                    <a:pt x="26" y="176"/>
                  </a:lnTo>
                  <a:lnTo>
                    <a:pt x="26" y="175"/>
                  </a:lnTo>
                  <a:lnTo>
                    <a:pt x="24" y="175"/>
                  </a:lnTo>
                  <a:lnTo>
                    <a:pt x="24" y="173"/>
                  </a:lnTo>
                  <a:lnTo>
                    <a:pt x="24" y="171"/>
                  </a:lnTo>
                  <a:lnTo>
                    <a:pt x="24" y="169"/>
                  </a:lnTo>
                  <a:lnTo>
                    <a:pt x="24" y="167"/>
                  </a:lnTo>
                  <a:lnTo>
                    <a:pt x="24" y="165"/>
                  </a:lnTo>
                  <a:lnTo>
                    <a:pt x="24" y="163"/>
                  </a:lnTo>
                  <a:lnTo>
                    <a:pt x="24" y="161"/>
                  </a:lnTo>
                  <a:lnTo>
                    <a:pt x="26" y="161"/>
                  </a:lnTo>
                  <a:lnTo>
                    <a:pt x="26" y="159"/>
                  </a:lnTo>
                  <a:lnTo>
                    <a:pt x="26" y="157"/>
                  </a:lnTo>
                  <a:lnTo>
                    <a:pt x="26" y="155"/>
                  </a:lnTo>
                  <a:lnTo>
                    <a:pt x="28" y="155"/>
                  </a:lnTo>
                  <a:lnTo>
                    <a:pt x="28" y="153"/>
                  </a:lnTo>
                  <a:lnTo>
                    <a:pt x="28" y="152"/>
                  </a:lnTo>
                  <a:lnTo>
                    <a:pt x="30" y="152"/>
                  </a:lnTo>
                  <a:lnTo>
                    <a:pt x="30" y="150"/>
                  </a:lnTo>
                  <a:lnTo>
                    <a:pt x="30" y="148"/>
                  </a:lnTo>
                  <a:lnTo>
                    <a:pt x="32" y="148"/>
                  </a:lnTo>
                  <a:lnTo>
                    <a:pt x="32" y="146"/>
                  </a:lnTo>
                  <a:lnTo>
                    <a:pt x="34" y="146"/>
                  </a:lnTo>
                  <a:lnTo>
                    <a:pt x="34" y="144"/>
                  </a:lnTo>
                  <a:lnTo>
                    <a:pt x="32" y="144"/>
                  </a:lnTo>
                  <a:lnTo>
                    <a:pt x="34" y="144"/>
                  </a:lnTo>
                  <a:lnTo>
                    <a:pt x="32" y="144"/>
                  </a:lnTo>
                  <a:lnTo>
                    <a:pt x="30" y="144"/>
                  </a:lnTo>
                  <a:lnTo>
                    <a:pt x="30" y="142"/>
                  </a:lnTo>
                  <a:lnTo>
                    <a:pt x="28" y="142"/>
                  </a:lnTo>
                  <a:lnTo>
                    <a:pt x="26" y="142"/>
                  </a:lnTo>
                  <a:lnTo>
                    <a:pt x="24" y="142"/>
                  </a:lnTo>
                  <a:lnTo>
                    <a:pt x="24" y="140"/>
                  </a:lnTo>
                  <a:lnTo>
                    <a:pt x="23" y="140"/>
                  </a:lnTo>
                  <a:lnTo>
                    <a:pt x="24" y="140"/>
                  </a:lnTo>
                  <a:lnTo>
                    <a:pt x="23" y="140"/>
                  </a:lnTo>
                  <a:lnTo>
                    <a:pt x="24" y="140"/>
                  </a:lnTo>
                  <a:lnTo>
                    <a:pt x="23" y="140"/>
                  </a:lnTo>
                  <a:lnTo>
                    <a:pt x="21" y="140"/>
                  </a:lnTo>
                  <a:lnTo>
                    <a:pt x="23" y="140"/>
                  </a:lnTo>
                  <a:lnTo>
                    <a:pt x="21" y="140"/>
                  </a:lnTo>
                  <a:lnTo>
                    <a:pt x="19" y="140"/>
                  </a:lnTo>
                  <a:lnTo>
                    <a:pt x="17" y="140"/>
                  </a:lnTo>
                  <a:lnTo>
                    <a:pt x="17" y="138"/>
                  </a:lnTo>
                  <a:lnTo>
                    <a:pt x="15" y="138"/>
                  </a:lnTo>
                  <a:lnTo>
                    <a:pt x="13" y="138"/>
                  </a:lnTo>
                  <a:lnTo>
                    <a:pt x="15" y="138"/>
                  </a:lnTo>
                  <a:lnTo>
                    <a:pt x="15" y="140"/>
                  </a:lnTo>
                  <a:lnTo>
                    <a:pt x="13" y="140"/>
                  </a:lnTo>
                  <a:lnTo>
                    <a:pt x="13" y="138"/>
                  </a:lnTo>
                  <a:lnTo>
                    <a:pt x="11" y="138"/>
                  </a:lnTo>
                  <a:lnTo>
                    <a:pt x="11" y="136"/>
                  </a:lnTo>
                  <a:lnTo>
                    <a:pt x="9" y="136"/>
                  </a:lnTo>
                  <a:lnTo>
                    <a:pt x="11" y="136"/>
                  </a:lnTo>
                  <a:lnTo>
                    <a:pt x="11" y="134"/>
                  </a:lnTo>
                  <a:lnTo>
                    <a:pt x="9" y="134"/>
                  </a:lnTo>
                  <a:lnTo>
                    <a:pt x="9" y="132"/>
                  </a:lnTo>
                  <a:lnTo>
                    <a:pt x="9" y="134"/>
                  </a:lnTo>
                  <a:lnTo>
                    <a:pt x="9" y="132"/>
                  </a:lnTo>
                  <a:lnTo>
                    <a:pt x="7" y="132"/>
                  </a:lnTo>
                  <a:lnTo>
                    <a:pt x="7" y="130"/>
                  </a:lnTo>
                  <a:lnTo>
                    <a:pt x="7" y="128"/>
                  </a:lnTo>
                  <a:lnTo>
                    <a:pt x="9" y="128"/>
                  </a:lnTo>
                  <a:lnTo>
                    <a:pt x="9" y="127"/>
                  </a:lnTo>
                  <a:lnTo>
                    <a:pt x="9" y="125"/>
                  </a:lnTo>
                  <a:lnTo>
                    <a:pt x="7" y="125"/>
                  </a:lnTo>
                  <a:lnTo>
                    <a:pt x="5" y="125"/>
                  </a:lnTo>
                  <a:lnTo>
                    <a:pt x="5" y="123"/>
                  </a:lnTo>
                  <a:lnTo>
                    <a:pt x="5" y="125"/>
                  </a:lnTo>
                  <a:lnTo>
                    <a:pt x="5" y="123"/>
                  </a:lnTo>
                  <a:lnTo>
                    <a:pt x="5" y="121"/>
                  </a:lnTo>
                  <a:lnTo>
                    <a:pt x="3" y="121"/>
                  </a:lnTo>
                  <a:lnTo>
                    <a:pt x="5" y="121"/>
                  </a:lnTo>
                  <a:lnTo>
                    <a:pt x="5" y="123"/>
                  </a:lnTo>
                  <a:lnTo>
                    <a:pt x="3" y="123"/>
                  </a:lnTo>
                  <a:lnTo>
                    <a:pt x="3" y="121"/>
                  </a:lnTo>
                  <a:lnTo>
                    <a:pt x="3" y="119"/>
                  </a:lnTo>
                  <a:lnTo>
                    <a:pt x="3" y="117"/>
                  </a:lnTo>
                  <a:lnTo>
                    <a:pt x="5" y="117"/>
                  </a:lnTo>
                  <a:lnTo>
                    <a:pt x="3" y="115"/>
                  </a:lnTo>
                  <a:lnTo>
                    <a:pt x="5" y="115"/>
                  </a:lnTo>
                  <a:lnTo>
                    <a:pt x="5" y="113"/>
                  </a:lnTo>
                  <a:lnTo>
                    <a:pt x="7" y="113"/>
                  </a:lnTo>
                  <a:lnTo>
                    <a:pt x="7" y="111"/>
                  </a:lnTo>
                  <a:lnTo>
                    <a:pt x="7" y="109"/>
                  </a:lnTo>
                  <a:lnTo>
                    <a:pt x="5" y="109"/>
                  </a:lnTo>
                  <a:lnTo>
                    <a:pt x="3" y="109"/>
                  </a:lnTo>
                  <a:lnTo>
                    <a:pt x="3" y="107"/>
                  </a:lnTo>
                  <a:lnTo>
                    <a:pt x="5" y="107"/>
                  </a:lnTo>
                  <a:lnTo>
                    <a:pt x="5" y="105"/>
                  </a:lnTo>
                  <a:lnTo>
                    <a:pt x="5" y="107"/>
                  </a:lnTo>
                  <a:lnTo>
                    <a:pt x="3" y="107"/>
                  </a:lnTo>
                  <a:lnTo>
                    <a:pt x="5" y="105"/>
                  </a:lnTo>
                  <a:lnTo>
                    <a:pt x="3" y="105"/>
                  </a:lnTo>
                  <a:lnTo>
                    <a:pt x="5" y="105"/>
                  </a:lnTo>
                  <a:lnTo>
                    <a:pt x="3" y="105"/>
                  </a:lnTo>
                  <a:lnTo>
                    <a:pt x="5" y="105"/>
                  </a:lnTo>
                  <a:lnTo>
                    <a:pt x="3" y="105"/>
                  </a:lnTo>
                  <a:lnTo>
                    <a:pt x="3" y="103"/>
                  </a:lnTo>
                  <a:lnTo>
                    <a:pt x="1" y="103"/>
                  </a:lnTo>
                  <a:lnTo>
                    <a:pt x="1" y="102"/>
                  </a:lnTo>
                  <a:lnTo>
                    <a:pt x="3" y="102"/>
                  </a:lnTo>
                  <a:lnTo>
                    <a:pt x="3" y="100"/>
                  </a:lnTo>
                  <a:lnTo>
                    <a:pt x="1" y="100"/>
                  </a:lnTo>
                  <a:lnTo>
                    <a:pt x="1" y="98"/>
                  </a:lnTo>
                  <a:lnTo>
                    <a:pt x="0" y="98"/>
                  </a:lnTo>
                  <a:lnTo>
                    <a:pt x="0" y="96"/>
                  </a:lnTo>
                  <a:lnTo>
                    <a:pt x="1" y="96"/>
                  </a:lnTo>
                  <a:lnTo>
                    <a:pt x="1" y="98"/>
                  </a:lnTo>
                  <a:lnTo>
                    <a:pt x="1" y="96"/>
                  </a:lnTo>
                  <a:lnTo>
                    <a:pt x="3" y="96"/>
                  </a:lnTo>
                  <a:lnTo>
                    <a:pt x="3" y="94"/>
                  </a:lnTo>
                  <a:lnTo>
                    <a:pt x="3" y="92"/>
                  </a:lnTo>
                  <a:lnTo>
                    <a:pt x="3" y="90"/>
                  </a:lnTo>
                  <a:lnTo>
                    <a:pt x="5" y="90"/>
                  </a:lnTo>
                  <a:lnTo>
                    <a:pt x="5" y="88"/>
                  </a:lnTo>
                  <a:lnTo>
                    <a:pt x="5" y="86"/>
                  </a:lnTo>
                  <a:lnTo>
                    <a:pt x="3" y="84"/>
                  </a:lnTo>
                  <a:lnTo>
                    <a:pt x="3" y="82"/>
                  </a:lnTo>
                  <a:lnTo>
                    <a:pt x="1" y="82"/>
                  </a:lnTo>
                  <a:lnTo>
                    <a:pt x="1" y="80"/>
                  </a:lnTo>
                  <a:lnTo>
                    <a:pt x="1" y="79"/>
                  </a:lnTo>
                  <a:lnTo>
                    <a:pt x="3" y="79"/>
                  </a:lnTo>
                  <a:lnTo>
                    <a:pt x="3" y="77"/>
                  </a:lnTo>
                  <a:lnTo>
                    <a:pt x="3" y="79"/>
                  </a:lnTo>
                  <a:lnTo>
                    <a:pt x="3" y="77"/>
                  </a:lnTo>
                  <a:lnTo>
                    <a:pt x="5" y="77"/>
                  </a:lnTo>
                  <a:lnTo>
                    <a:pt x="5" y="79"/>
                  </a:lnTo>
                  <a:lnTo>
                    <a:pt x="7" y="79"/>
                  </a:lnTo>
                  <a:lnTo>
                    <a:pt x="7" y="77"/>
                  </a:lnTo>
                  <a:lnTo>
                    <a:pt x="7" y="79"/>
                  </a:lnTo>
                  <a:lnTo>
                    <a:pt x="7" y="77"/>
                  </a:lnTo>
                  <a:lnTo>
                    <a:pt x="9" y="77"/>
                  </a:lnTo>
                  <a:lnTo>
                    <a:pt x="9" y="79"/>
                  </a:lnTo>
                  <a:lnTo>
                    <a:pt x="9" y="77"/>
                  </a:lnTo>
                  <a:lnTo>
                    <a:pt x="11" y="77"/>
                  </a:lnTo>
                  <a:lnTo>
                    <a:pt x="13" y="77"/>
                  </a:lnTo>
                  <a:lnTo>
                    <a:pt x="13" y="75"/>
                  </a:lnTo>
                  <a:lnTo>
                    <a:pt x="13" y="73"/>
                  </a:lnTo>
                  <a:lnTo>
                    <a:pt x="11" y="73"/>
                  </a:lnTo>
                  <a:lnTo>
                    <a:pt x="13" y="73"/>
                  </a:lnTo>
                  <a:lnTo>
                    <a:pt x="13" y="71"/>
                  </a:lnTo>
                  <a:lnTo>
                    <a:pt x="15" y="71"/>
                  </a:lnTo>
                  <a:lnTo>
                    <a:pt x="15" y="69"/>
                  </a:lnTo>
                  <a:lnTo>
                    <a:pt x="17" y="69"/>
                  </a:lnTo>
                  <a:lnTo>
                    <a:pt x="17" y="67"/>
                  </a:lnTo>
                  <a:lnTo>
                    <a:pt x="17" y="65"/>
                  </a:lnTo>
                  <a:lnTo>
                    <a:pt x="17" y="63"/>
                  </a:lnTo>
                  <a:lnTo>
                    <a:pt x="15" y="63"/>
                  </a:lnTo>
                  <a:lnTo>
                    <a:pt x="13" y="63"/>
                  </a:lnTo>
                  <a:lnTo>
                    <a:pt x="11" y="63"/>
                  </a:lnTo>
                  <a:lnTo>
                    <a:pt x="11" y="61"/>
                  </a:lnTo>
                  <a:lnTo>
                    <a:pt x="13" y="61"/>
                  </a:lnTo>
                  <a:lnTo>
                    <a:pt x="13" y="59"/>
                  </a:lnTo>
                  <a:lnTo>
                    <a:pt x="15" y="59"/>
                  </a:lnTo>
                  <a:lnTo>
                    <a:pt x="17" y="59"/>
                  </a:lnTo>
                  <a:lnTo>
                    <a:pt x="17" y="57"/>
                  </a:lnTo>
                  <a:lnTo>
                    <a:pt x="17" y="55"/>
                  </a:lnTo>
                  <a:lnTo>
                    <a:pt x="17" y="54"/>
                  </a:lnTo>
                  <a:lnTo>
                    <a:pt x="19" y="54"/>
                  </a:lnTo>
                  <a:lnTo>
                    <a:pt x="19" y="52"/>
                  </a:lnTo>
                  <a:lnTo>
                    <a:pt x="19" y="50"/>
                  </a:lnTo>
                  <a:lnTo>
                    <a:pt x="19" y="48"/>
                  </a:lnTo>
                  <a:lnTo>
                    <a:pt x="19" y="46"/>
                  </a:lnTo>
                  <a:lnTo>
                    <a:pt x="19" y="44"/>
                  </a:lnTo>
                  <a:lnTo>
                    <a:pt x="21" y="44"/>
                  </a:lnTo>
                  <a:lnTo>
                    <a:pt x="19" y="44"/>
                  </a:lnTo>
                  <a:lnTo>
                    <a:pt x="21" y="44"/>
                  </a:lnTo>
                  <a:lnTo>
                    <a:pt x="21" y="42"/>
                  </a:lnTo>
                  <a:lnTo>
                    <a:pt x="21" y="44"/>
                  </a:lnTo>
                  <a:lnTo>
                    <a:pt x="23" y="44"/>
                  </a:lnTo>
                  <a:lnTo>
                    <a:pt x="23" y="42"/>
                  </a:lnTo>
                  <a:lnTo>
                    <a:pt x="21" y="42"/>
                  </a:lnTo>
                  <a:lnTo>
                    <a:pt x="19" y="42"/>
                  </a:lnTo>
                  <a:lnTo>
                    <a:pt x="17" y="42"/>
                  </a:lnTo>
                  <a:lnTo>
                    <a:pt x="17" y="40"/>
                  </a:lnTo>
                  <a:lnTo>
                    <a:pt x="17" y="38"/>
                  </a:lnTo>
                  <a:lnTo>
                    <a:pt x="17" y="36"/>
                  </a:lnTo>
                  <a:lnTo>
                    <a:pt x="17" y="38"/>
                  </a:lnTo>
                  <a:lnTo>
                    <a:pt x="19" y="38"/>
                  </a:lnTo>
                  <a:lnTo>
                    <a:pt x="17" y="38"/>
                  </a:lnTo>
                  <a:lnTo>
                    <a:pt x="19" y="38"/>
                  </a:lnTo>
                  <a:lnTo>
                    <a:pt x="19" y="36"/>
                  </a:lnTo>
                  <a:lnTo>
                    <a:pt x="17" y="36"/>
                  </a:lnTo>
                  <a:lnTo>
                    <a:pt x="19" y="36"/>
                  </a:lnTo>
                  <a:lnTo>
                    <a:pt x="19" y="34"/>
                  </a:lnTo>
                  <a:lnTo>
                    <a:pt x="21" y="34"/>
                  </a:lnTo>
                  <a:lnTo>
                    <a:pt x="23" y="34"/>
                  </a:lnTo>
                  <a:lnTo>
                    <a:pt x="24" y="34"/>
                  </a:lnTo>
                  <a:lnTo>
                    <a:pt x="24" y="32"/>
                  </a:lnTo>
                  <a:lnTo>
                    <a:pt x="26" y="32"/>
                  </a:lnTo>
                  <a:lnTo>
                    <a:pt x="28" y="32"/>
                  </a:lnTo>
                  <a:lnTo>
                    <a:pt x="30" y="32"/>
                  </a:lnTo>
                  <a:lnTo>
                    <a:pt x="32" y="32"/>
                  </a:lnTo>
                  <a:lnTo>
                    <a:pt x="32" y="34"/>
                  </a:lnTo>
                  <a:lnTo>
                    <a:pt x="32" y="36"/>
                  </a:lnTo>
                  <a:lnTo>
                    <a:pt x="34" y="36"/>
                  </a:lnTo>
                  <a:lnTo>
                    <a:pt x="34" y="38"/>
                  </a:lnTo>
                  <a:lnTo>
                    <a:pt x="34" y="36"/>
                  </a:lnTo>
                  <a:lnTo>
                    <a:pt x="34" y="38"/>
                  </a:lnTo>
                  <a:lnTo>
                    <a:pt x="32" y="38"/>
                  </a:lnTo>
                  <a:lnTo>
                    <a:pt x="32" y="40"/>
                  </a:lnTo>
                  <a:lnTo>
                    <a:pt x="34" y="40"/>
                  </a:lnTo>
                  <a:lnTo>
                    <a:pt x="36" y="40"/>
                  </a:lnTo>
                  <a:lnTo>
                    <a:pt x="36" y="38"/>
                  </a:lnTo>
                  <a:lnTo>
                    <a:pt x="34" y="38"/>
                  </a:lnTo>
                  <a:lnTo>
                    <a:pt x="34" y="36"/>
                  </a:lnTo>
                  <a:lnTo>
                    <a:pt x="34" y="34"/>
                  </a:lnTo>
                  <a:lnTo>
                    <a:pt x="36" y="34"/>
                  </a:lnTo>
                  <a:lnTo>
                    <a:pt x="36" y="36"/>
                  </a:lnTo>
                  <a:lnTo>
                    <a:pt x="38" y="36"/>
                  </a:lnTo>
                  <a:lnTo>
                    <a:pt x="40" y="36"/>
                  </a:lnTo>
                  <a:lnTo>
                    <a:pt x="40" y="38"/>
                  </a:lnTo>
                  <a:lnTo>
                    <a:pt x="38" y="38"/>
                  </a:lnTo>
                  <a:lnTo>
                    <a:pt x="38" y="40"/>
                  </a:lnTo>
                  <a:lnTo>
                    <a:pt x="38" y="42"/>
                  </a:lnTo>
                  <a:lnTo>
                    <a:pt x="38" y="40"/>
                  </a:lnTo>
                  <a:lnTo>
                    <a:pt x="38" y="38"/>
                  </a:lnTo>
                  <a:lnTo>
                    <a:pt x="40" y="38"/>
                  </a:lnTo>
                  <a:lnTo>
                    <a:pt x="40" y="36"/>
                  </a:lnTo>
                  <a:lnTo>
                    <a:pt x="38" y="36"/>
                  </a:lnTo>
                  <a:lnTo>
                    <a:pt x="38" y="34"/>
                  </a:lnTo>
                  <a:lnTo>
                    <a:pt x="38" y="32"/>
                  </a:lnTo>
                  <a:lnTo>
                    <a:pt x="38" y="30"/>
                  </a:lnTo>
                  <a:lnTo>
                    <a:pt x="40" y="30"/>
                  </a:lnTo>
                  <a:lnTo>
                    <a:pt x="38" y="30"/>
                  </a:lnTo>
                  <a:lnTo>
                    <a:pt x="40" y="30"/>
                  </a:lnTo>
                  <a:lnTo>
                    <a:pt x="38" y="30"/>
                  </a:lnTo>
                  <a:lnTo>
                    <a:pt x="40" y="30"/>
                  </a:lnTo>
                  <a:lnTo>
                    <a:pt x="38" y="30"/>
                  </a:lnTo>
                  <a:lnTo>
                    <a:pt x="40" y="30"/>
                  </a:lnTo>
                  <a:lnTo>
                    <a:pt x="40" y="29"/>
                  </a:lnTo>
                  <a:lnTo>
                    <a:pt x="42" y="29"/>
                  </a:lnTo>
                  <a:lnTo>
                    <a:pt x="42" y="30"/>
                  </a:lnTo>
                  <a:lnTo>
                    <a:pt x="44" y="30"/>
                  </a:lnTo>
                  <a:lnTo>
                    <a:pt x="46" y="30"/>
                  </a:lnTo>
                  <a:lnTo>
                    <a:pt x="46" y="29"/>
                  </a:lnTo>
                  <a:lnTo>
                    <a:pt x="46" y="30"/>
                  </a:lnTo>
                  <a:lnTo>
                    <a:pt x="46" y="29"/>
                  </a:lnTo>
                  <a:lnTo>
                    <a:pt x="48" y="29"/>
                  </a:lnTo>
                  <a:lnTo>
                    <a:pt x="49" y="29"/>
                  </a:lnTo>
                  <a:lnTo>
                    <a:pt x="49" y="30"/>
                  </a:lnTo>
                  <a:lnTo>
                    <a:pt x="51" y="30"/>
                  </a:lnTo>
                  <a:lnTo>
                    <a:pt x="51" y="32"/>
                  </a:lnTo>
                  <a:lnTo>
                    <a:pt x="53" y="32"/>
                  </a:lnTo>
                  <a:lnTo>
                    <a:pt x="53" y="34"/>
                  </a:lnTo>
                  <a:lnTo>
                    <a:pt x="53" y="36"/>
                  </a:lnTo>
                  <a:lnTo>
                    <a:pt x="55" y="36"/>
                  </a:lnTo>
                  <a:lnTo>
                    <a:pt x="57" y="36"/>
                  </a:lnTo>
                  <a:lnTo>
                    <a:pt x="57" y="38"/>
                  </a:lnTo>
                  <a:lnTo>
                    <a:pt x="57" y="36"/>
                  </a:lnTo>
                  <a:lnTo>
                    <a:pt x="59" y="36"/>
                  </a:lnTo>
                  <a:lnTo>
                    <a:pt x="57" y="36"/>
                  </a:lnTo>
                  <a:lnTo>
                    <a:pt x="55" y="36"/>
                  </a:lnTo>
                  <a:lnTo>
                    <a:pt x="53" y="36"/>
                  </a:lnTo>
                  <a:lnTo>
                    <a:pt x="53" y="34"/>
                  </a:lnTo>
                  <a:lnTo>
                    <a:pt x="53" y="32"/>
                  </a:lnTo>
                  <a:lnTo>
                    <a:pt x="51" y="32"/>
                  </a:lnTo>
                  <a:lnTo>
                    <a:pt x="51" y="30"/>
                  </a:lnTo>
                  <a:lnTo>
                    <a:pt x="51" y="29"/>
                  </a:lnTo>
                  <a:lnTo>
                    <a:pt x="49" y="29"/>
                  </a:lnTo>
                  <a:lnTo>
                    <a:pt x="48" y="29"/>
                  </a:lnTo>
                  <a:lnTo>
                    <a:pt x="46" y="29"/>
                  </a:lnTo>
                  <a:lnTo>
                    <a:pt x="44" y="29"/>
                  </a:lnTo>
                  <a:lnTo>
                    <a:pt x="44" y="27"/>
                  </a:lnTo>
                  <a:lnTo>
                    <a:pt x="44" y="25"/>
                  </a:lnTo>
                  <a:lnTo>
                    <a:pt x="46" y="25"/>
                  </a:lnTo>
                  <a:lnTo>
                    <a:pt x="46" y="23"/>
                  </a:lnTo>
                  <a:lnTo>
                    <a:pt x="44" y="23"/>
                  </a:lnTo>
                  <a:lnTo>
                    <a:pt x="44" y="21"/>
                  </a:lnTo>
                  <a:lnTo>
                    <a:pt x="44" y="19"/>
                  </a:lnTo>
                  <a:lnTo>
                    <a:pt x="46" y="19"/>
                  </a:lnTo>
                  <a:lnTo>
                    <a:pt x="46" y="17"/>
                  </a:lnTo>
                  <a:lnTo>
                    <a:pt x="44" y="17"/>
                  </a:lnTo>
                  <a:lnTo>
                    <a:pt x="44" y="19"/>
                  </a:lnTo>
                  <a:lnTo>
                    <a:pt x="42" y="19"/>
                  </a:lnTo>
                  <a:lnTo>
                    <a:pt x="40" y="19"/>
                  </a:lnTo>
                  <a:lnTo>
                    <a:pt x="40" y="17"/>
                  </a:lnTo>
                  <a:lnTo>
                    <a:pt x="40" y="19"/>
                  </a:lnTo>
                  <a:lnTo>
                    <a:pt x="40" y="17"/>
                  </a:lnTo>
                  <a:lnTo>
                    <a:pt x="40" y="19"/>
                  </a:lnTo>
                  <a:lnTo>
                    <a:pt x="40" y="17"/>
                  </a:lnTo>
                  <a:lnTo>
                    <a:pt x="42" y="17"/>
                  </a:lnTo>
                  <a:lnTo>
                    <a:pt x="40" y="17"/>
                  </a:lnTo>
                  <a:lnTo>
                    <a:pt x="40" y="15"/>
                  </a:lnTo>
                  <a:lnTo>
                    <a:pt x="42" y="15"/>
                  </a:lnTo>
                  <a:lnTo>
                    <a:pt x="44" y="15"/>
                  </a:lnTo>
                  <a:lnTo>
                    <a:pt x="46" y="15"/>
                  </a:lnTo>
                  <a:lnTo>
                    <a:pt x="44" y="15"/>
                  </a:lnTo>
                  <a:lnTo>
                    <a:pt x="46" y="15"/>
                  </a:lnTo>
                  <a:lnTo>
                    <a:pt x="46" y="13"/>
                  </a:lnTo>
                  <a:lnTo>
                    <a:pt x="46" y="15"/>
                  </a:lnTo>
                  <a:lnTo>
                    <a:pt x="46" y="13"/>
                  </a:lnTo>
                  <a:lnTo>
                    <a:pt x="44" y="13"/>
                  </a:lnTo>
                  <a:lnTo>
                    <a:pt x="42" y="13"/>
                  </a:lnTo>
                  <a:lnTo>
                    <a:pt x="44" y="13"/>
                  </a:lnTo>
                  <a:lnTo>
                    <a:pt x="44" y="11"/>
                  </a:lnTo>
                  <a:lnTo>
                    <a:pt x="42" y="11"/>
                  </a:lnTo>
                  <a:lnTo>
                    <a:pt x="44" y="11"/>
                  </a:lnTo>
                  <a:lnTo>
                    <a:pt x="44" y="9"/>
                  </a:lnTo>
                  <a:lnTo>
                    <a:pt x="42" y="9"/>
                  </a:lnTo>
                  <a:lnTo>
                    <a:pt x="42" y="7"/>
                  </a:lnTo>
                  <a:lnTo>
                    <a:pt x="42" y="9"/>
                  </a:lnTo>
                  <a:lnTo>
                    <a:pt x="40" y="9"/>
                  </a:lnTo>
                  <a:lnTo>
                    <a:pt x="38" y="9"/>
                  </a:lnTo>
                  <a:lnTo>
                    <a:pt x="40" y="9"/>
                  </a:lnTo>
                  <a:lnTo>
                    <a:pt x="42" y="9"/>
                  </a:lnTo>
                  <a:lnTo>
                    <a:pt x="42" y="7"/>
                  </a:lnTo>
                  <a:lnTo>
                    <a:pt x="42" y="6"/>
                  </a:lnTo>
                  <a:lnTo>
                    <a:pt x="40" y="6"/>
                  </a:lnTo>
                  <a:lnTo>
                    <a:pt x="40" y="4"/>
                  </a:lnTo>
                  <a:lnTo>
                    <a:pt x="38" y="4"/>
                  </a:lnTo>
                  <a:lnTo>
                    <a:pt x="36" y="4"/>
                  </a:lnTo>
                  <a:lnTo>
                    <a:pt x="36" y="6"/>
                  </a:lnTo>
                  <a:lnTo>
                    <a:pt x="36" y="7"/>
                  </a:lnTo>
                  <a:lnTo>
                    <a:pt x="34" y="7"/>
                  </a:lnTo>
                  <a:lnTo>
                    <a:pt x="34" y="6"/>
                  </a:lnTo>
                  <a:lnTo>
                    <a:pt x="36" y="6"/>
                  </a:lnTo>
                  <a:lnTo>
                    <a:pt x="36" y="4"/>
                  </a:lnTo>
                  <a:lnTo>
                    <a:pt x="36" y="2"/>
                  </a:lnTo>
                  <a:lnTo>
                    <a:pt x="36" y="0"/>
                  </a:lnTo>
                  <a:lnTo>
                    <a:pt x="38" y="0"/>
                  </a:lnTo>
                  <a:lnTo>
                    <a:pt x="36" y="0"/>
                  </a:lnTo>
                  <a:lnTo>
                    <a:pt x="38" y="0"/>
                  </a:lnTo>
                  <a:lnTo>
                    <a:pt x="36" y="0"/>
                  </a:lnTo>
                  <a:lnTo>
                    <a:pt x="36" y="2"/>
                  </a:lnTo>
                  <a:lnTo>
                    <a:pt x="36" y="4"/>
                  </a:lnTo>
                  <a:lnTo>
                    <a:pt x="38" y="4"/>
                  </a:lnTo>
                  <a:lnTo>
                    <a:pt x="40" y="4"/>
                  </a:lnTo>
                  <a:lnTo>
                    <a:pt x="42" y="4"/>
                  </a:lnTo>
                  <a:lnTo>
                    <a:pt x="44" y="4"/>
                  </a:lnTo>
                  <a:lnTo>
                    <a:pt x="46" y="4"/>
                  </a:lnTo>
                  <a:lnTo>
                    <a:pt x="48" y="4"/>
                  </a:lnTo>
                  <a:lnTo>
                    <a:pt x="49" y="4"/>
                  </a:lnTo>
                  <a:lnTo>
                    <a:pt x="49" y="6"/>
                  </a:lnTo>
                  <a:lnTo>
                    <a:pt x="51" y="6"/>
                  </a:lnTo>
                  <a:lnTo>
                    <a:pt x="51" y="4"/>
                  </a:lnTo>
                  <a:lnTo>
                    <a:pt x="51" y="6"/>
                  </a:lnTo>
                  <a:lnTo>
                    <a:pt x="53" y="6"/>
                  </a:lnTo>
                  <a:lnTo>
                    <a:pt x="53" y="4"/>
                  </a:lnTo>
                  <a:lnTo>
                    <a:pt x="53" y="6"/>
                  </a:lnTo>
                  <a:lnTo>
                    <a:pt x="53" y="4"/>
                  </a:lnTo>
                  <a:lnTo>
                    <a:pt x="55" y="4"/>
                  </a:lnTo>
                  <a:lnTo>
                    <a:pt x="53" y="4"/>
                  </a:lnTo>
                  <a:lnTo>
                    <a:pt x="55" y="4"/>
                  </a:lnTo>
                  <a:lnTo>
                    <a:pt x="55" y="6"/>
                  </a:lnTo>
                  <a:lnTo>
                    <a:pt x="57" y="6"/>
                  </a:lnTo>
                  <a:lnTo>
                    <a:pt x="57" y="7"/>
                  </a:lnTo>
                  <a:lnTo>
                    <a:pt x="59" y="7"/>
                  </a:lnTo>
                  <a:lnTo>
                    <a:pt x="59" y="6"/>
                  </a:lnTo>
                  <a:lnTo>
                    <a:pt x="59" y="7"/>
                  </a:lnTo>
                  <a:lnTo>
                    <a:pt x="61" y="7"/>
                  </a:lnTo>
                  <a:lnTo>
                    <a:pt x="61" y="9"/>
                  </a:lnTo>
                  <a:lnTo>
                    <a:pt x="61" y="7"/>
                  </a:lnTo>
                  <a:lnTo>
                    <a:pt x="61" y="9"/>
                  </a:lnTo>
                  <a:lnTo>
                    <a:pt x="61" y="7"/>
                  </a:lnTo>
                  <a:lnTo>
                    <a:pt x="61" y="9"/>
                  </a:lnTo>
                  <a:lnTo>
                    <a:pt x="61" y="7"/>
                  </a:lnTo>
                  <a:lnTo>
                    <a:pt x="59" y="7"/>
                  </a:lnTo>
                  <a:lnTo>
                    <a:pt x="59" y="9"/>
                  </a:lnTo>
                  <a:lnTo>
                    <a:pt x="59" y="11"/>
                  </a:lnTo>
                  <a:lnTo>
                    <a:pt x="57" y="11"/>
                  </a:lnTo>
                  <a:lnTo>
                    <a:pt x="57" y="13"/>
                  </a:lnTo>
                  <a:lnTo>
                    <a:pt x="55" y="13"/>
                  </a:lnTo>
                  <a:lnTo>
                    <a:pt x="55" y="11"/>
                  </a:lnTo>
                  <a:lnTo>
                    <a:pt x="55" y="13"/>
                  </a:lnTo>
                  <a:lnTo>
                    <a:pt x="53" y="13"/>
                  </a:lnTo>
                  <a:lnTo>
                    <a:pt x="55" y="13"/>
                  </a:lnTo>
                  <a:lnTo>
                    <a:pt x="57" y="13"/>
                  </a:lnTo>
                  <a:lnTo>
                    <a:pt x="55" y="13"/>
                  </a:lnTo>
                  <a:lnTo>
                    <a:pt x="57" y="13"/>
                  </a:lnTo>
                  <a:lnTo>
                    <a:pt x="55" y="13"/>
                  </a:lnTo>
                  <a:lnTo>
                    <a:pt x="57" y="13"/>
                  </a:lnTo>
                  <a:lnTo>
                    <a:pt x="57" y="11"/>
                  </a:lnTo>
                  <a:lnTo>
                    <a:pt x="59" y="11"/>
                  </a:lnTo>
                  <a:lnTo>
                    <a:pt x="59" y="9"/>
                  </a:lnTo>
                  <a:lnTo>
                    <a:pt x="61" y="9"/>
                  </a:lnTo>
                  <a:lnTo>
                    <a:pt x="61" y="11"/>
                  </a:lnTo>
                  <a:lnTo>
                    <a:pt x="61" y="13"/>
                  </a:lnTo>
                  <a:lnTo>
                    <a:pt x="59" y="13"/>
                  </a:lnTo>
                  <a:lnTo>
                    <a:pt x="57" y="13"/>
                  </a:lnTo>
                  <a:lnTo>
                    <a:pt x="57" y="15"/>
                  </a:lnTo>
                  <a:lnTo>
                    <a:pt x="59" y="15"/>
                  </a:lnTo>
                  <a:lnTo>
                    <a:pt x="59" y="13"/>
                  </a:lnTo>
                  <a:lnTo>
                    <a:pt x="61" y="13"/>
                  </a:lnTo>
                  <a:lnTo>
                    <a:pt x="63" y="13"/>
                  </a:lnTo>
                  <a:lnTo>
                    <a:pt x="63" y="15"/>
                  </a:lnTo>
                  <a:lnTo>
                    <a:pt x="63" y="17"/>
                  </a:lnTo>
                  <a:lnTo>
                    <a:pt x="61" y="17"/>
                  </a:lnTo>
                  <a:lnTo>
                    <a:pt x="63" y="17"/>
                  </a:lnTo>
                  <a:lnTo>
                    <a:pt x="63" y="15"/>
                  </a:lnTo>
                  <a:lnTo>
                    <a:pt x="65" y="15"/>
                  </a:lnTo>
                  <a:lnTo>
                    <a:pt x="67" y="15"/>
                  </a:lnTo>
                  <a:lnTo>
                    <a:pt x="69" y="15"/>
                  </a:lnTo>
                  <a:lnTo>
                    <a:pt x="69" y="17"/>
                  </a:lnTo>
                  <a:lnTo>
                    <a:pt x="71" y="17"/>
                  </a:lnTo>
                  <a:lnTo>
                    <a:pt x="71" y="19"/>
                  </a:lnTo>
                  <a:lnTo>
                    <a:pt x="71" y="17"/>
                  </a:lnTo>
                  <a:lnTo>
                    <a:pt x="72" y="17"/>
                  </a:lnTo>
                  <a:lnTo>
                    <a:pt x="74" y="17"/>
                  </a:lnTo>
                  <a:lnTo>
                    <a:pt x="74" y="15"/>
                  </a:lnTo>
                  <a:lnTo>
                    <a:pt x="74" y="17"/>
                  </a:lnTo>
                  <a:lnTo>
                    <a:pt x="76" y="17"/>
                  </a:lnTo>
                  <a:lnTo>
                    <a:pt x="76" y="15"/>
                  </a:lnTo>
                  <a:lnTo>
                    <a:pt x="76" y="17"/>
                  </a:lnTo>
                  <a:lnTo>
                    <a:pt x="76" y="19"/>
                  </a:lnTo>
                  <a:lnTo>
                    <a:pt x="76" y="21"/>
                  </a:lnTo>
                  <a:lnTo>
                    <a:pt x="74" y="21"/>
                  </a:lnTo>
                  <a:lnTo>
                    <a:pt x="74" y="23"/>
                  </a:lnTo>
                  <a:lnTo>
                    <a:pt x="72" y="23"/>
                  </a:lnTo>
                  <a:lnTo>
                    <a:pt x="72" y="25"/>
                  </a:lnTo>
                  <a:lnTo>
                    <a:pt x="71" y="25"/>
                  </a:lnTo>
                  <a:lnTo>
                    <a:pt x="72" y="25"/>
                  </a:lnTo>
                  <a:lnTo>
                    <a:pt x="72" y="27"/>
                  </a:lnTo>
                  <a:lnTo>
                    <a:pt x="72" y="29"/>
                  </a:lnTo>
                  <a:lnTo>
                    <a:pt x="71" y="29"/>
                  </a:lnTo>
                  <a:lnTo>
                    <a:pt x="72" y="29"/>
                  </a:lnTo>
                  <a:lnTo>
                    <a:pt x="72" y="27"/>
                  </a:lnTo>
                  <a:lnTo>
                    <a:pt x="72" y="29"/>
                  </a:lnTo>
                  <a:lnTo>
                    <a:pt x="74" y="29"/>
                  </a:lnTo>
                  <a:lnTo>
                    <a:pt x="72" y="29"/>
                  </a:lnTo>
                  <a:lnTo>
                    <a:pt x="74" y="29"/>
                  </a:lnTo>
                  <a:lnTo>
                    <a:pt x="74" y="27"/>
                  </a:lnTo>
                  <a:lnTo>
                    <a:pt x="72" y="27"/>
                  </a:lnTo>
                  <a:lnTo>
                    <a:pt x="74" y="27"/>
                  </a:lnTo>
                  <a:lnTo>
                    <a:pt x="72" y="27"/>
                  </a:lnTo>
                  <a:lnTo>
                    <a:pt x="74" y="27"/>
                  </a:lnTo>
                  <a:lnTo>
                    <a:pt x="74" y="25"/>
                  </a:lnTo>
                  <a:lnTo>
                    <a:pt x="76" y="25"/>
                  </a:lnTo>
                  <a:lnTo>
                    <a:pt x="78" y="25"/>
                  </a:lnTo>
                  <a:lnTo>
                    <a:pt x="78" y="27"/>
                  </a:lnTo>
                  <a:lnTo>
                    <a:pt x="80" y="27"/>
                  </a:lnTo>
                  <a:lnTo>
                    <a:pt x="80" y="29"/>
                  </a:lnTo>
                  <a:lnTo>
                    <a:pt x="82" y="29"/>
                  </a:lnTo>
                  <a:lnTo>
                    <a:pt x="82" y="27"/>
                  </a:lnTo>
                  <a:lnTo>
                    <a:pt x="82" y="25"/>
                  </a:lnTo>
                  <a:lnTo>
                    <a:pt x="84" y="25"/>
                  </a:lnTo>
                  <a:lnTo>
                    <a:pt x="84" y="23"/>
                  </a:lnTo>
                  <a:lnTo>
                    <a:pt x="84" y="25"/>
                  </a:lnTo>
                  <a:lnTo>
                    <a:pt x="82" y="25"/>
                  </a:lnTo>
                  <a:lnTo>
                    <a:pt x="82" y="23"/>
                  </a:lnTo>
                  <a:lnTo>
                    <a:pt x="84" y="23"/>
                  </a:lnTo>
                  <a:lnTo>
                    <a:pt x="84" y="21"/>
                  </a:lnTo>
                  <a:lnTo>
                    <a:pt x="84" y="23"/>
                  </a:lnTo>
                  <a:lnTo>
                    <a:pt x="84" y="21"/>
                  </a:lnTo>
                  <a:lnTo>
                    <a:pt x="86" y="21"/>
                  </a:lnTo>
                  <a:lnTo>
                    <a:pt x="86" y="23"/>
                  </a:lnTo>
                  <a:lnTo>
                    <a:pt x="86" y="21"/>
                  </a:lnTo>
                  <a:lnTo>
                    <a:pt x="86" y="23"/>
                  </a:lnTo>
                  <a:lnTo>
                    <a:pt x="88" y="23"/>
                  </a:lnTo>
                  <a:lnTo>
                    <a:pt x="88" y="21"/>
                  </a:lnTo>
                  <a:lnTo>
                    <a:pt x="90" y="21"/>
                  </a:lnTo>
                  <a:lnTo>
                    <a:pt x="92" y="21"/>
                  </a:lnTo>
                  <a:lnTo>
                    <a:pt x="92" y="23"/>
                  </a:lnTo>
                  <a:lnTo>
                    <a:pt x="90" y="23"/>
                  </a:lnTo>
                  <a:lnTo>
                    <a:pt x="92" y="23"/>
                  </a:lnTo>
                  <a:lnTo>
                    <a:pt x="90" y="23"/>
                  </a:lnTo>
                  <a:lnTo>
                    <a:pt x="92" y="23"/>
                  </a:lnTo>
                  <a:lnTo>
                    <a:pt x="90" y="23"/>
                  </a:lnTo>
                  <a:lnTo>
                    <a:pt x="92" y="23"/>
                  </a:lnTo>
                  <a:lnTo>
                    <a:pt x="92" y="21"/>
                  </a:lnTo>
                  <a:lnTo>
                    <a:pt x="92" y="23"/>
                  </a:lnTo>
                  <a:lnTo>
                    <a:pt x="92" y="21"/>
                  </a:lnTo>
                  <a:lnTo>
                    <a:pt x="92" y="23"/>
                  </a:lnTo>
                  <a:lnTo>
                    <a:pt x="92" y="21"/>
                  </a:lnTo>
                  <a:lnTo>
                    <a:pt x="92" y="23"/>
                  </a:lnTo>
                  <a:lnTo>
                    <a:pt x="92" y="21"/>
                  </a:lnTo>
                  <a:lnTo>
                    <a:pt x="92" y="19"/>
                  </a:lnTo>
                  <a:lnTo>
                    <a:pt x="94" y="19"/>
                  </a:lnTo>
                  <a:lnTo>
                    <a:pt x="94" y="17"/>
                  </a:lnTo>
                  <a:lnTo>
                    <a:pt x="95" y="17"/>
                  </a:lnTo>
                  <a:lnTo>
                    <a:pt x="95" y="15"/>
                  </a:lnTo>
                  <a:lnTo>
                    <a:pt x="97" y="15"/>
                  </a:lnTo>
                  <a:lnTo>
                    <a:pt x="97" y="13"/>
                  </a:lnTo>
                  <a:lnTo>
                    <a:pt x="97" y="15"/>
                  </a:lnTo>
                  <a:lnTo>
                    <a:pt x="99" y="15"/>
                  </a:lnTo>
                  <a:lnTo>
                    <a:pt x="101" y="15"/>
                  </a:lnTo>
                  <a:lnTo>
                    <a:pt x="103" y="15"/>
                  </a:lnTo>
                  <a:lnTo>
                    <a:pt x="101" y="15"/>
                  </a:lnTo>
                  <a:lnTo>
                    <a:pt x="99" y="15"/>
                  </a:lnTo>
                  <a:lnTo>
                    <a:pt x="97" y="15"/>
                  </a:lnTo>
                  <a:lnTo>
                    <a:pt x="99" y="15"/>
                  </a:lnTo>
                  <a:lnTo>
                    <a:pt x="97" y="15"/>
                  </a:lnTo>
                  <a:lnTo>
                    <a:pt x="97" y="17"/>
                  </a:lnTo>
                  <a:lnTo>
                    <a:pt x="97" y="15"/>
                  </a:lnTo>
                  <a:lnTo>
                    <a:pt x="95" y="15"/>
                  </a:lnTo>
                  <a:lnTo>
                    <a:pt x="95" y="17"/>
                  </a:lnTo>
                  <a:lnTo>
                    <a:pt x="95" y="19"/>
                  </a:lnTo>
                  <a:lnTo>
                    <a:pt x="95" y="17"/>
                  </a:lnTo>
                  <a:lnTo>
                    <a:pt x="97" y="17"/>
                  </a:lnTo>
                  <a:lnTo>
                    <a:pt x="99" y="17"/>
                  </a:lnTo>
                  <a:lnTo>
                    <a:pt x="99" y="15"/>
                  </a:lnTo>
                  <a:lnTo>
                    <a:pt x="99" y="17"/>
                  </a:lnTo>
                  <a:lnTo>
                    <a:pt x="99" y="15"/>
                  </a:lnTo>
                  <a:lnTo>
                    <a:pt x="99" y="17"/>
                  </a:lnTo>
                  <a:lnTo>
                    <a:pt x="101" y="17"/>
                  </a:lnTo>
                  <a:lnTo>
                    <a:pt x="101" y="15"/>
                  </a:lnTo>
                  <a:lnTo>
                    <a:pt x="99" y="15"/>
                  </a:lnTo>
                  <a:lnTo>
                    <a:pt x="101" y="15"/>
                  </a:lnTo>
                  <a:lnTo>
                    <a:pt x="101" y="17"/>
                  </a:lnTo>
                  <a:lnTo>
                    <a:pt x="101" y="15"/>
                  </a:lnTo>
                  <a:lnTo>
                    <a:pt x="101" y="17"/>
                  </a:lnTo>
                  <a:lnTo>
                    <a:pt x="103" y="17"/>
                  </a:lnTo>
                  <a:lnTo>
                    <a:pt x="103" y="15"/>
                  </a:lnTo>
                  <a:lnTo>
                    <a:pt x="105" y="15"/>
                  </a:lnTo>
                  <a:lnTo>
                    <a:pt x="105" y="17"/>
                  </a:lnTo>
                  <a:lnTo>
                    <a:pt x="105" y="15"/>
                  </a:lnTo>
                  <a:lnTo>
                    <a:pt x="105" y="17"/>
                  </a:lnTo>
                  <a:lnTo>
                    <a:pt x="105" y="19"/>
                  </a:lnTo>
                  <a:lnTo>
                    <a:pt x="107" y="19"/>
                  </a:lnTo>
                  <a:lnTo>
                    <a:pt x="109" y="19"/>
                  </a:lnTo>
                  <a:lnTo>
                    <a:pt x="109" y="21"/>
                  </a:lnTo>
                  <a:lnTo>
                    <a:pt x="111" y="21"/>
                  </a:lnTo>
                  <a:lnTo>
                    <a:pt x="109" y="21"/>
                  </a:lnTo>
                  <a:lnTo>
                    <a:pt x="111" y="21"/>
                  </a:lnTo>
                  <a:lnTo>
                    <a:pt x="109" y="21"/>
                  </a:lnTo>
                  <a:lnTo>
                    <a:pt x="109" y="23"/>
                  </a:lnTo>
                  <a:lnTo>
                    <a:pt x="111" y="23"/>
                  </a:lnTo>
                  <a:lnTo>
                    <a:pt x="111" y="21"/>
                  </a:lnTo>
                  <a:lnTo>
                    <a:pt x="111" y="23"/>
                  </a:lnTo>
                  <a:lnTo>
                    <a:pt x="113" y="23"/>
                  </a:lnTo>
                  <a:lnTo>
                    <a:pt x="113" y="21"/>
                  </a:lnTo>
                  <a:lnTo>
                    <a:pt x="115" y="21"/>
                  </a:lnTo>
                  <a:lnTo>
                    <a:pt x="115" y="23"/>
                  </a:lnTo>
                  <a:lnTo>
                    <a:pt x="117" y="23"/>
                  </a:lnTo>
                  <a:lnTo>
                    <a:pt x="115" y="25"/>
                  </a:lnTo>
                  <a:lnTo>
                    <a:pt x="115" y="27"/>
                  </a:lnTo>
                  <a:lnTo>
                    <a:pt x="117" y="27"/>
                  </a:lnTo>
                  <a:lnTo>
                    <a:pt x="117" y="29"/>
                  </a:lnTo>
                  <a:lnTo>
                    <a:pt x="117" y="30"/>
                  </a:lnTo>
                  <a:lnTo>
                    <a:pt x="117" y="29"/>
                  </a:lnTo>
                  <a:lnTo>
                    <a:pt x="117" y="30"/>
                  </a:lnTo>
                  <a:lnTo>
                    <a:pt x="117" y="29"/>
                  </a:lnTo>
                  <a:lnTo>
                    <a:pt x="117" y="30"/>
                  </a:lnTo>
                  <a:lnTo>
                    <a:pt x="119" y="30"/>
                  </a:lnTo>
                  <a:lnTo>
                    <a:pt x="119" y="32"/>
                  </a:lnTo>
                  <a:lnTo>
                    <a:pt x="120" y="32"/>
                  </a:lnTo>
                  <a:lnTo>
                    <a:pt x="122" y="32"/>
                  </a:lnTo>
                  <a:lnTo>
                    <a:pt x="122" y="34"/>
                  </a:lnTo>
                  <a:lnTo>
                    <a:pt x="122" y="36"/>
                  </a:lnTo>
                  <a:lnTo>
                    <a:pt x="124" y="36"/>
                  </a:lnTo>
                  <a:lnTo>
                    <a:pt x="124" y="38"/>
                  </a:lnTo>
                  <a:lnTo>
                    <a:pt x="122" y="38"/>
                  </a:lnTo>
                  <a:lnTo>
                    <a:pt x="124" y="38"/>
                  </a:lnTo>
                  <a:lnTo>
                    <a:pt x="124" y="40"/>
                  </a:lnTo>
                  <a:lnTo>
                    <a:pt x="124" y="42"/>
                  </a:lnTo>
                  <a:lnTo>
                    <a:pt x="124" y="44"/>
                  </a:lnTo>
                  <a:lnTo>
                    <a:pt x="126" y="44"/>
                  </a:lnTo>
                  <a:lnTo>
                    <a:pt x="124" y="44"/>
                  </a:lnTo>
                  <a:lnTo>
                    <a:pt x="124" y="46"/>
                  </a:lnTo>
                  <a:lnTo>
                    <a:pt x="124" y="48"/>
                  </a:lnTo>
                  <a:lnTo>
                    <a:pt x="124" y="50"/>
                  </a:lnTo>
                  <a:lnTo>
                    <a:pt x="122" y="50"/>
                  </a:lnTo>
                  <a:lnTo>
                    <a:pt x="122" y="52"/>
                  </a:lnTo>
                  <a:lnTo>
                    <a:pt x="120" y="52"/>
                  </a:lnTo>
                  <a:lnTo>
                    <a:pt x="120" y="54"/>
                  </a:lnTo>
                  <a:lnTo>
                    <a:pt x="120" y="55"/>
                  </a:lnTo>
                  <a:lnTo>
                    <a:pt x="120" y="54"/>
                  </a:lnTo>
                  <a:lnTo>
                    <a:pt x="120" y="55"/>
                  </a:lnTo>
                  <a:lnTo>
                    <a:pt x="122" y="55"/>
                  </a:lnTo>
                  <a:lnTo>
                    <a:pt x="124" y="55"/>
                  </a:lnTo>
                  <a:lnTo>
                    <a:pt x="124" y="57"/>
                  </a:lnTo>
                  <a:lnTo>
                    <a:pt x="126" y="57"/>
                  </a:lnTo>
                  <a:lnTo>
                    <a:pt x="126" y="59"/>
                  </a:lnTo>
                  <a:lnTo>
                    <a:pt x="128" y="59"/>
                  </a:lnTo>
                  <a:lnTo>
                    <a:pt x="128" y="61"/>
                  </a:lnTo>
                  <a:lnTo>
                    <a:pt x="128" y="63"/>
                  </a:lnTo>
                  <a:lnTo>
                    <a:pt x="126" y="63"/>
                  </a:lnTo>
                  <a:lnTo>
                    <a:pt x="126" y="65"/>
                  </a:lnTo>
                  <a:lnTo>
                    <a:pt x="126" y="67"/>
                  </a:lnTo>
                  <a:lnTo>
                    <a:pt x="128" y="67"/>
                  </a:lnTo>
                  <a:lnTo>
                    <a:pt x="126" y="67"/>
                  </a:lnTo>
                  <a:lnTo>
                    <a:pt x="128" y="67"/>
                  </a:lnTo>
                  <a:lnTo>
                    <a:pt x="128" y="69"/>
                  </a:lnTo>
                  <a:lnTo>
                    <a:pt x="130" y="69"/>
                  </a:lnTo>
                  <a:lnTo>
                    <a:pt x="128" y="69"/>
                  </a:lnTo>
                  <a:lnTo>
                    <a:pt x="128" y="71"/>
                  </a:lnTo>
                  <a:lnTo>
                    <a:pt x="128" y="73"/>
                  </a:lnTo>
                  <a:lnTo>
                    <a:pt x="130" y="73"/>
                  </a:lnTo>
                  <a:lnTo>
                    <a:pt x="130" y="75"/>
                  </a:lnTo>
                  <a:lnTo>
                    <a:pt x="128" y="75"/>
                  </a:lnTo>
                  <a:lnTo>
                    <a:pt x="130" y="75"/>
                  </a:lnTo>
                  <a:lnTo>
                    <a:pt x="130" y="77"/>
                  </a:lnTo>
                  <a:lnTo>
                    <a:pt x="128" y="77"/>
                  </a:lnTo>
                  <a:lnTo>
                    <a:pt x="128" y="79"/>
                  </a:lnTo>
                  <a:lnTo>
                    <a:pt x="128" y="80"/>
                  </a:lnTo>
                  <a:lnTo>
                    <a:pt x="130" y="82"/>
                  </a:lnTo>
                  <a:lnTo>
                    <a:pt x="130" y="84"/>
                  </a:lnTo>
                  <a:lnTo>
                    <a:pt x="128" y="84"/>
                  </a:lnTo>
                  <a:lnTo>
                    <a:pt x="130" y="84"/>
                  </a:lnTo>
                  <a:lnTo>
                    <a:pt x="130" y="86"/>
                  </a:lnTo>
                  <a:lnTo>
                    <a:pt x="132" y="86"/>
                  </a:lnTo>
                  <a:lnTo>
                    <a:pt x="132" y="88"/>
                  </a:lnTo>
                  <a:lnTo>
                    <a:pt x="134" y="88"/>
                  </a:lnTo>
                  <a:lnTo>
                    <a:pt x="132" y="88"/>
                  </a:lnTo>
                  <a:lnTo>
                    <a:pt x="134" y="88"/>
                  </a:lnTo>
                  <a:lnTo>
                    <a:pt x="132" y="88"/>
                  </a:lnTo>
                  <a:lnTo>
                    <a:pt x="134" y="88"/>
                  </a:lnTo>
                  <a:lnTo>
                    <a:pt x="134" y="90"/>
                  </a:lnTo>
                  <a:lnTo>
                    <a:pt x="132" y="90"/>
                  </a:lnTo>
                  <a:lnTo>
                    <a:pt x="134" y="90"/>
                  </a:lnTo>
                  <a:lnTo>
                    <a:pt x="134" y="92"/>
                  </a:lnTo>
                  <a:lnTo>
                    <a:pt x="134" y="94"/>
                  </a:lnTo>
                  <a:lnTo>
                    <a:pt x="134" y="96"/>
                  </a:lnTo>
                  <a:close/>
                  <a:moveTo>
                    <a:pt x="115" y="17"/>
                  </a:moveTo>
                  <a:lnTo>
                    <a:pt x="115" y="19"/>
                  </a:lnTo>
                  <a:lnTo>
                    <a:pt x="113" y="19"/>
                  </a:lnTo>
                  <a:lnTo>
                    <a:pt x="113" y="17"/>
                  </a:lnTo>
                  <a:lnTo>
                    <a:pt x="115" y="17"/>
                  </a:lnTo>
                  <a:lnTo>
                    <a:pt x="113" y="17"/>
                  </a:lnTo>
                  <a:lnTo>
                    <a:pt x="115" y="17"/>
                  </a:lnTo>
                  <a:lnTo>
                    <a:pt x="113" y="17"/>
                  </a:lnTo>
                  <a:lnTo>
                    <a:pt x="111" y="17"/>
                  </a:lnTo>
                  <a:lnTo>
                    <a:pt x="111" y="19"/>
                  </a:lnTo>
                  <a:lnTo>
                    <a:pt x="109" y="19"/>
                  </a:lnTo>
                  <a:lnTo>
                    <a:pt x="111" y="19"/>
                  </a:lnTo>
                  <a:lnTo>
                    <a:pt x="111" y="21"/>
                  </a:lnTo>
                  <a:lnTo>
                    <a:pt x="109" y="21"/>
                  </a:lnTo>
                  <a:lnTo>
                    <a:pt x="109" y="19"/>
                  </a:lnTo>
                  <a:lnTo>
                    <a:pt x="107" y="19"/>
                  </a:lnTo>
                  <a:lnTo>
                    <a:pt x="107" y="17"/>
                  </a:lnTo>
                  <a:lnTo>
                    <a:pt x="105" y="17"/>
                  </a:lnTo>
                  <a:lnTo>
                    <a:pt x="107" y="17"/>
                  </a:lnTo>
                  <a:lnTo>
                    <a:pt x="105" y="17"/>
                  </a:lnTo>
                  <a:lnTo>
                    <a:pt x="107" y="17"/>
                  </a:lnTo>
                  <a:lnTo>
                    <a:pt x="107" y="15"/>
                  </a:lnTo>
                  <a:lnTo>
                    <a:pt x="107" y="13"/>
                  </a:lnTo>
                  <a:lnTo>
                    <a:pt x="109" y="13"/>
                  </a:lnTo>
                  <a:lnTo>
                    <a:pt x="107" y="13"/>
                  </a:lnTo>
                  <a:lnTo>
                    <a:pt x="109" y="13"/>
                  </a:lnTo>
                  <a:lnTo>
                    <a:pt x="107" y="13"/>
                  </a:lnTo>
                  <a:lnTo>
                    <a:pt x="107" y="11"/>
                  </a:lnTo>
                  <a:lnTo>
                    <a:pt x="109" y="11"/>
                  </a:lnTo>
                  <a:lnTo>
                    <a:pt x="109" y="13"/>
                  </a:lnTo>
                  <a:lnTo>
                    <a:pt x="109" y="11"/>
                  </a:lnTo>
                  <a:lnTo>
                    <a:pt x="109" y="13"/>
                  </a:lnTo>
                  <a:lnTo>
                    <a:pt x="109" y="11"/>
                  </a:lnTo>
                  <a:lnTo>
                    <a:pt x="109" y="13"/>
                  </a:lnTo>
                  <a:lnTo>
                    <a:pt x="109" y="11"/>
                  </a:lnTo>
                  <a:lnTo>
                    <a:pt x="111" y="13"/>
                  </a:lnTo>
                  <a:lnTo>
                    <a:pt x="111" y="15"/>
                  </a:lnTo>
                  <a:lnTo>
                    <a:pt x="113" y="15"/>
                  </a:lnTo>
                  <a:lnTo>
                    <a:pt x="111" y="15"/>
                  </a:lnTo>
                  <a:lnTo>
                    <a:pt x="113" y="15"/>
                  </a:lnTo>
                  <a:lnTo>
                    <a:pt x="111" y="15"/>
                  </a:lnTo>
                  <a:lnTo>
                    <a:pt x="113" y="15"/>
                  </a:lnTo>
                  <a:lnTo>
                    <a:pt x="113" y="13"/>
                  </a:lnTo>
                  <a:lnTo>
                    <a:pt x="111" y="13"/>
                  </a:lnTo>
                  <a:lnTo>
                    <a:pt x="111" y="11"/>
                  </a:lnTo>
                  <a:lnTo>
                    <a:pt x="109" y="11"/>
                  </a:lnTo>
                  <a:lnTo>
                    <a:pt x="109" y="9"/>
                  </a:lnTo>
                  <a:lnTo>
                    <a:pt x="109" y="11"/>
                  </a:lnTo>
                  <a:lnTo>
                    <a:pt x="107" y="11"/>
                  </a:lnTo>
                  <a:lnTo>
                    <a:pt x="109" y="11"/>
                  </a:lnTo>
                  <a:lnTo>
                    <a:pt x="109" y="9"/>
                  </a:lnTo>
                  <a:lnTo>
                    <a:pt x="107" y="9"/>
                  </a:lnTo>
                  <a:lnTo>
                    <a:pt x="107" y="11"/>
                  </a:lnTo>
                  <a:lnTo>
                    <a:pt x="107" y="9"/>
                  </a:lnTo>
                  <a:lnTo>
                    <a:pt x="109" y="9"/>
                  </a:lnTo>
                  <a:lnTo>
                    <a:pt x="111" y="9"/>
                  </a:lnTo>
                  <a:lnTo>
                    <a:pt x="109" y="9"/>
                  </a:lnTo>
                  <a:lnTo>
                    <a:pt x="109" y="11"/>
                  </a:lnTo>
                  <a:lnTo>
                    <a:pt x="111" y="11"/>
                  </a:lnTo>
                  <a:lnTo>
                    <a:pt x="113" y="11"/>
                  </a:lnTo>
                  <a:lnTo>
                    <a:pt x="115" y="11"/>
                  </a:lnTo>
                  <a:lnTo>
                    <a:pt x="115" y="13"/>
                  </a:lnTo>
                  <a:lnTo>
                    <a:pt x="113" y="13"/>
                  </a:lnTo>
                  <a:lnTo>
                    <a:pt x="113" y="15"/>
                  </a:lnTo>
                  <a:lnTo>
                    <a:pt x="115" y="15"/>
                  </a:lnTo>
                  <a:lnTo>
                    <a:pt x="115" y="17"/>
                  </a:lnTo>
                  <a:close/>
                  <a:moveTo>
                    <a:pt x="122" y="29"/>
                  </a:moveTo>
                  <a:lnTo>
                    <a:pt x="120" y="29"/>
                  </a:lnTo>
                  <a:lnTo>
                    <a:pt x="119" y="29"/>
                  </a:lnTo>
                  <a:lnTo>
                    <a:pt x="117" y="29"/>
                  </a:lnTo>
                  <a:lnTo>
                    <a:pt x="119" y="29"/>
                  </a:lnTo>
                  <a:lnTo>
                    <a:pt x="117" y="29"/>
                  </a:lnTo>
                  <a:lnTo>
                    <a:pt x="117" y="30"/>
                  </a:lnTo>
                  <a:lnTo>
                    <a:pt x="117" y="29"/>
                  </a:lnTo>
                  <a:lnTo>
                    <a:pt x="119" y="29"/>
                  </a:lnTo>
                  <a:lnTo>
                    <a:pt x="117" y="29"/>
                  </a:lnTo>
                  <a:lnTo>
                    <a:pt x="119" y="29"/>
                  </a:lnTo>
                  <a:lnTo>
                    <a:pt x="119" y="27"/>
                  </a:lnTo>
                  <a:lnTo>
                    <a:pt x="117" y="27"/>
                  </a:lnTo>
                  <a:lnTo>
                    <a:pt x="119" y="27"/>
                  </a:lnTo>
                  <a:lnTo>
                    <a:pt x="119" y="25"/>
                  </a:lnTo>
                  <a:lnTo>
                    <a:pt x="117" y="25"/>
                  </a:lnTo>
                  <a:lnTo>
                    <a:pt x="119" y="25"/>
                  </a:lnTo>
                  <a:lnTo>
                    <a:pt x="117" y="25"/>
                  </a:lnTo>
                  <a:lnTo>
                    <a:pt x="119" y="25"/>
                  </a:lnTo>
                  <a:lnTo>
                    <a:pt x="117" y="25"/>
                  </a:lnTo>
                  <a:lnTo>
                    <a:pt x="119" y="25"/>
                  </a:lnTo>
                  <a:lnTo>
                    <a:pt x="117" y="25"/>
                  </a:lnTo>
                  <a:lnTo>
                    <a:pt x="115" y="25"/>
                  </a:lnTo>
                  <a:lnTo>
                    <a:pt x="117" y="25"/>
                  </a:lnTo>
                  <a:lnTo>
                    <a:pt x="117" y="23"/>
                  </a:lnTo>
                  <a:lnTo>
                    <a:pt x="115" y="23"/>
                  </a:lnTo>
                  <a:lnTo>
                    <a:pt x="115" y="21"/>
                  </a:lnTo>
                  <a:lnTo>
                    <a:pt x="115" y="23"/>
                  </a:lnTo>
                  <a:lnTo>
                    <a:pt x="115" y="21"/>
                  </a:lnTo>
                  <a:lnTo>
                    <a:pt x="117" y="21"/>
                  </a:lnTo>
                  <a:lnTo>
                    <a:pt x="117" y="23"/>
                  </a:lnTo>
                  <a:lnTo>
                    <a:pt x="119" y="23"/>
                  </a:lnTo>
                  <a:lnTo>
                    <a:pt x="119" y="25"/>
                  </a:lnTo>
                  <a:lnTo>
                    <a:pt x="120" y="25"/>
                  </a:lnTo>
                  <a:lnTo>
                    <a:pt x="120" y="27"/>
                  </a:lnTo>
                  <a:lnTo>
                    <a:pt x="122" y="27"/>
                  </a:lnTo>
                  <a:lnTo>
                    <a:pt x="122" y="29"/>
                  </a:lnTo>
                  <a:lnTo>
                    <a:pt x="120" y="29"/>
                  </a:lnTo>
                  <a:lnTo>
                    <a:pt x="122" y="29"/>
                  </a:lnTo>
                  <a:close/>
                  <a:moveTo>
                    <a:pt x="80" y="15"/>
                  </a:moveTo>
                  <a:lnTo>
                    <a:pt x="78" y="15"/>
                  </a:lnTo>
                  <a:lnTo>
                    <a:pt x="76" y="15"/>
                  </a:lnTo>
                  <a:lnTo>
                    <a:pt x="78" y="15"/>
                  </a:lnTo>
                  <a:lnTo>
                    <a:pt x="76" y="15"/>
                  </a:lnTo>
                  <a:lnTo>
                    <a:pt x="74" y="15"/>
                  </a:lnTo>
                  <a:lnTo>
                    <a:pt x="76" y="15"/>
                  </a:lnTo>
                  <a:lnTo>
                    <a:pt x="74" y="15"/>
                  </a:lnTo>
                  <a:lnTo>
                    <a:pt x="74" y="13"/>
                  </a:lnTo>
                  <a:lnTo>
                    <a:pt x="76" y="13"/>
                  </a:lnTo>
                  <a:lnTo>
                    <a:pt x="76" y="11"/>
                  </a:lnTo>
                  <a:lnTo>
                    <a:pt x="76" y="13"/>
                  </a:lnTo>
                  <a:lnTo>
                    <a:pt x="78" y="13"/>
                  </a:lnTo>
                  <a:lnTo>
                    <a:pt x="78" y="15"/>
                  </a:lnTo>
                  <a:lnTo>
                    <a:pt x="80" y="15"/>
                  </a:lnTo>
                  <a:close/>
                  <a:moveTo>
                    <a:pt x="36" y="7"/>
                  </a:moveTo>
                  <a:lnTo>
                    <a:pt x="40" y="7"/>
                  </a:lnTo>
                  <a:lnTo>
                    <a:pt x="40" y="9"/>
                  </a:lnTo>
                  <a:lnTo>
                    <a:pt x="36" y="9"/>
                  </a:lnTo>
                  <a:lnTo>
                    <a:pt x="36" y="7"/>
                  </a:lnTo>
                  <a:close/>
                  <a:moveTo>
                    <a:pt x="40" y="11"/>
                  </a:moveTo>
                  <a:lnTo>
                    <a:pt x="42" y="11"/>
                  </a:lnTo>
                  <a:lnTo>
                    <a:pt x="42" y="13"/>
                  </a:lnTo>
                  <a:lnTo>
                    <a:pt x="40" y="13"/>
                  </a:lnTo>
                  <a:lnTo>
                    <a:pt x="40" y="11"/>
                  </a:lnTo>
                  <a:close/>
                  <a:moveTo>
                    <a:pt x="80" y="25"/>
                  </a:moveTo>
                  <a:lnTo>
                    <a:pt x="82" y="25"/>
                  </a:lnTo>
                  <a:lnTo>
                    <a:pt x="82" y="27"/>
                  </a:lnTo>
                  <a:lnTo>
                    <a:pt x="80" y="27"/>
                  </a:lnTo>
                  <a:lnTo>
                    <a:pt x="80" y="25"/>
                  </a:lnTo>
                  <a:close/>
                  <a:moveTo>
                    <a:pt x="11" y="34"/>
                  </a:moveTo>
                  <a:lnTo>
                    <a:pt x="13" y="34"/>
                  </a:lnTo>
                  <a:lnTo>
                    <a:pt x="13" y="36"/>
                  </a:lnTo>
                  <a:lnTo>
                    <a:pt x="11" y="36"/>
                  </a:lnTo>
                  <a:lnTo>
                    <a:pt x="11" y="34"/>
                  </a:lnTo>
                  <a:close/>
                  <a:moveTo>
                    <a:pt x="36" y="7"/>
                  </a:moveTo>
                  <a:lnTo>
                    <a:pt x="36" y="11"/>
                  </a:lnTo>
                  <a:lnTo>
                    <a:pt x="36" y="7"/>
                  </a:lnTo>
                  <a:close/>
                  <a:moveTo>
                    <a:pt x="19" y="32"/>
                  </a:moveTo>
                  <a:lnTo>
                    <a:pt x="21" y="32"/>
                  </a:lnTo>
                  <a:lnTo>
                    <a:pt x="19" y="32"/>
                  </a:lnTo>
                  <a:close/>
                  <a:moveTo>
                    <a:pt x="23" y="32"/>
                  </a:moveTo>
                  <a:lnTo>
                    <a:pt x="26" y="32"/>
                  </a:lnTo>
                  <a:lnTo>
                    <a:pt x="23" y="32"/>
                  </a:lnTo>
                  <a:close/>
                  <a:moveTo>
                    <a:pt x="105" y="13"/>
                  </a:moveTo>
                  <a:lnTo>
                    <a:pt x="107" y="13"/>
                  </a:lnTo>
                  <a:lnTo>
                    <a:pt x="107" y="15"/>
                  </a:lnTo>
                  <a:lnTo>
                    <a:pt x="105" y="15"/>
                  </a:lnTo>
                  <a:lnTo>
                    <a:pt x="105" y="13"/>
                  </a:lnTo>
                  <a:close/>
                  <a:moveTo>
                    <a:pt x="26" y="30"/>
                  </a:moveTo>
                  <a:lnTo>
                    <a:pt x="28" y="30"/>
                  </a:lnTo>
                  <a:lnTo>
                    <a:pt x="28" y="32"/>
                  </a:lnTo>
                  <a:lnTo>
                    <a:pt x="26" y="32"/>
                  </a:lnTo>
                  <a:lnTo>
                    <a:pt x="26" y="30"/>
                  </a:lnTo>
                  <a:close/>
                  <a:moveTo>
                    <a:pt x="105" y="11"/>
                  </a:moveTo>
                  <a:lnTo>
                    <a:pt x="107" y="11"/>
                  </a:lnTo>
                  <a:lnTo>
                    <a:pt x="107" y="15"/>
                  </a:lnTo>
                  <a:lnTo>
                    <a:pt x="105" y="15"/>
                  </a:lnTo>
                  <a:lnTo>
                    <a:pt x="105" y="11"/>
                  </a:lnTo>
                  <a:close/>
                  <a:moveTo>
                    <a:pt x="38" y="13"/>
                  </a:moveTo>
                  <a:lnTo>
                    <a:pt x="38" y="15"/>
                  </a:lnTo>
                  <a:lnTo>
                    <a:pt x="38" y="13"/>
                  </a:lnTo>
                  <a:close/>
                  <a:moveTo>
                    <a:pt x="15" y="34"/>
                  </a:moveTo>
                  <a:lnTo>
                    <a:pt x="17" y="34"/>
                  </a:lnTo>
                  <a:lnTo>
                    <a:pt x="15" y="34"/>
                  </a:lnTo>
                  <a:close/>
                  <a:moveTo>
                    <a:pt x="38" y="11"/>
                  </a:moveTo>
                  <a:lnTo>
                    <a:pt x="38" y="13"/>
                  </a:lnTo>
                  <a:lnTo>
                    <a:pt x="38" y="11"/>
                  </a:lnTo>
                  <a:close/>
                  <a:moveTo>
                    <a:pt x="28" y="30"/>
                  </a:moveTo>
                  <a:lnTo>
                    <a:pt x="30" y="30"/>
                  </a:lnTo>
                  <a:lnTo>
                    <a:pt x="28" y="30"/>
                  </a:lnTo>
                  <a:close/>
                  <a:moveTo>
                    <a:pt x="32" y="32"/>
                  </a:moveTo>
                  <a:lnTo>
                    <a:pt x="34" y="32"/>
                  </a:lnTo>
                  <a:lnTo>
                    <a:pt x="32" y="32"/>
                  </a:lnTo>
                  <a:close/>
                  <a:moveTo>
                    <a:pt x="21" y="32"/>
                  </a:moveTo>
                  <a:lnTo>
                    <a:pt x="23" y="32"/>
                  </a:lnTo>
                  <a:lnTo>
                    <a:pt x="21" y="32"/>
                  </a:lnTo>
                  <a:close/>
                  <a:moveTo>
                    <a:pt x="40" y="171"/>
                  </a:moveTo>
                  <a:lnTo>
                    <a:pt x="42" y="171"/>
                  </a:lnTo>
                  <a:lnTo>
                    <a:pt x="42" y="173"/>
                  </a:lnTo>
                  <a:lnTo>
                    <a:pt x="40" y="173"/>
                  </a:lnTo>
                  <a:lnTo>
                    <a:pt x="40" y="171"/>
                  </a:lnTo>
                  <a:close/>
                  <a:moveTo>
                    <a:pt x="38" y="11"/>
                  </a:moveTo>
                  <a:lnTo>
                    <a:pt x="40" y="11"/>
                  </a:lnTo>
                  <a:lnTo>
                    <a:pt x="38" y="11"/>
                  </a:lnTo>
                  <a:close/>
                  <a:moveTo>
                    <a:pt x="53" y="32"/>
                  </a:moveTo>
                  <a:lnTo>
                    <a:pt x="53" y="34"/>
                  </a:lnTo>
                  <a:lnTo>
                    <a:pt x="53" y="32"/>
                  </a:lnTo>
                  <a:close/>
                  <a:moveTo>
                    <a:pt x="103" y="13"/>
                  </a:moveTo>
                  <a:lnTo>
                    <a:pt x="105" y="13"/>
                  </a:lnTo>
                  <a:lnTo>
                    <a:pt x="105" y="15"/>
                  </a:lnTo>
                  <a:lnTo>
                    <a:pt x="103" y="15"/>
                  </a:lnTo>
                  <a:lnTo>
                    <a:pt x="103" y="13"/>
                  </a:lnTo>
                  <a:close/>
                  <a:moveTo>
                    <a:pt x="40" y="25"/>
                  </a:moveTo>
                  <a:lnTo>
                    <a:pt x="42" y="25"/>
                  </a:lnTo>
                  <a:lnTo>
                    <a:pt x="40" y="25"/>
                  </a:lnTo>
                  <a:close/>
                  <a:moveTo>
                    <a:pt x="36" y="27"/>
                  </a:moveTo>
                  <a:lnTo>
                    <a:pt x="38" y="27"/>
                  </a:lnTo>
                  <a:lnTo>
                    <a:pt x="36" y="27"/>
                  </a:lnTo>
                  <a:close/>
                  <a:moveTo>
                    <a:pt x="55" y="36"/>
                  </a:moveTo>
                  <a:lnTo>
                    <a:pt x="57" y="36"/>
                  </a:lnTo>
                  <a:lnTo>
                    <a:pt x="55" y="36"/>
                  </a:lnTo>
                  <a:close/>
                  <a:moveTo>
                    <a:pt x="38" y="27"/>
                  </a:moveTo>
                  <a:lnTo>
                    <a:pt x="38" y="29"/>
                  </a:lnTo>
                  <a:lnTo>
                    <a:pt x="38" y="27"/>
                  </a:lnTo>
                  <a:close/>
                  <a:moveTo>
                    <a:pt x="30" y="30"/>
                  </a:moveTo>
                  <a:lnTo>
                    <a:pt x="30" y="32"/>
                  </a:lnTo>
                  <a:lnTo>
                    <a:pt x="30" y="30"/>
                  </a:lnTo>
                  <a:close/>
                  <a:moveTo>
                    <a:pt x="51" y="32"/>
                  </a:moveTo>
                  <a:lnTo>
                    <a:pt x="53" y="32"/>
                  </a:lnTo>
                  <a:lnTo>
                    <a:pt x="51" y="32"/>
                  </a:lnTo>
                  <a:close/>
                  <a:moveTo>
                    <a:pt x="30" y="32"/>
                  </a:moveTo>
                  <a:lnTo>
                    <a:pt x="32" y="32"/>
                  </a:lnTo>
                  <a:lnTo>
                    <a:pt x="30" y="32"/>
                  </a:lnTo>
                  <a:close/>
                  <a:moveTo>
                    <a:pt x="28" y="21"/>
                  </a:moveTo>
                  <a:lnTo>
                    <a:pt x="30" y="21"/>
                  </a:lnTo>
                  <a:lnTo>
                    <a:pt x="28" y="21"/>
                  </a:lnTo>
                  <a:close/>
                  <a:moveTo>
                    <a:pt x="53" y="36"/>
                  </a:moveTo>
                  <a:lnTo>
                    <a:pt x="55" y="36"/>
                  </a:lnTo>
                  <a:lnTo>
                    <a:pt x="53" y="36"/>
                  </a:lnTo>
                  <a:close/>
                  <a:moveTo>
                    <a:pt x="111" y="17"/>
                  </a:moveTo>
                  <a:lnTo>
                    <a:pt x="113" y="17"/>
                  </a:lnTo>
                  <a:lnTo>
                    <a:pt x="111" y="17"/>
                  </a:lnTo>
                  <a:close/>
                  <a:moveTo>
                    <a:pt x="105" y="17"/>
                  </a:moveTo>
                  <a:lnTo>
                    <a:pt x="105" y="19"/>
                  </a:lnTo>
                  <a:lnTo>
                    <a:pt x="105" y="17"/>
                  </a:lnTo>
                  <a:close/>
                  <a:moveTo>
                    <a:pt x="48" y="173"/>
                  </a:moveTo>
                  <a:lnTo>
                    <a:pt x="49" y="173"/>
                  </a:lnTo>
                  <a:lnTo>
                    <a:pt x="48" y="17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383">
              <a:extLst>
                <a:ext uri="{FF2B5EF4-FFF2-40B4-BE49-F238E27FC236}">
                  <a16:creationId xmlns:a16="http://schemas.microsoft.com/office/drawing/2014/main" id="{73A8ED4B-AD5C-4729-A71C-577C7E9713C9}"/>
                </a:ext>
              </a:extLst>
            </p:cNvPr>
            <p:cNvSpPr>
              <a:spLocks noEditPoints="1"/>
            </p:cNvSpPr>
            <p:nvPr/>
          </p:nvSpPr>
          <p:spPr bwMode="gray">
            <a:xfrm>
              <a:off x="3354201" y="3089882"/>
              <a:ext cx="127543" cy="103016"/>
            </a:xfrm>
            <a:custGeom>
              <a:avLst/>
              <a:gdLst>
                <a:gd name="T0" fmla="*/ 6 w 104"/>
                <a:gd name="T1" fmla="*/ 73 h 84"/>
                <a:gd name="T2" fmla="*/ 4 w 104"/>
                <a:gd name="T3" fmla="*/ 61 h 84"/>
                <a:gd name="T4" fmla="*/ 2 w 104"/>
                <a:gd name="T5" fmla="*/ 50 h 84"/>
                <a:gd name="T6" fmla="*/ 0 w 104"/>
                <a:gd name="T7" fmla="*/ 46 h 84"/>
                <a:gd name="T8" fmla="*/ 0 w 104"/>
                <a:gd name="T9" fmla="*/ 36 h 84"/>
                <a:gd name="T10" fmla="*/ 8 w 104"/>
                <a:gd name="T11" fmla="*/ 31 h 84"/>
                <a:gd name="T12" fmla="*/ 19 w 104"/>
                <a:gd name="T13" fmla="*/ 32 h 84"/>
                <a:gd name="T14" fmla="*/ 17 w 104"/>
                <a:gd name="T15" fmla="*/ 21 h 84"/>
                <a:gd name="T16" fmla="*/ 29 w 104"/>
                <a:gd name="T17" fmla="*/ 31 h 84"/>
                <a:gd name="T18" fmla="*/ 31 w 104"/>
                <a:gd name="T19" fmla="*/ 34 h 84"/>
                <a:gd name="T20" fmla="*/ 40 w 104"/>
                <a:gd name="T21" fmla="*/ 38 h 84"/>
                <a:gd name="T22" fmla="*/ 33 w 104"/>
                <a:gd name="T23" fmla="*/ 40 h 84"/>
                <a:gd name="T24" fmla="*/ 31 w 104"/>
                <a:gd name="T25" fmla="*/ 52 h 84"/>
                <a:gd name="T26" fmla="*/ 27 w 104"/>
                <a:gd name="T27" fmla="*/ 57 h 84"/>
                <a:gd name="T28" fmla="*/ 21 w 104"/>
                <a:gd name="T29" fmla="*/ 65 h 84"/>
                <a:gd name="T30" fmla="*/ 23 w 104"/>
                <a:gd name="T31" fmla="*/ 73 h 84"/>
                <a:gd name="T32" fmla="*/ 21 w 104"/>
                <a:gd name="T33" fmla="*/ 77 h 84"/>
                <a:gd name="T34" fmla="*/ 65 w 104"/>
                <a:gd name="T35" fmla="*/ 55 h 84"/>
                <a:gd name="T36" fmla="*/ 60 w 104"/>
                <a:gd name="T37" fmla="*/ 59 h 84"/>
                <a:gd name="T38" fmla="*/ 60 w 104"/>
                <a:gd name="T39" fmla="*/ 69 h 84"/>
                <a:gd name="T40" fmla="*/ 54 w 104"/>
                <a:gd name="T41" fmla="*/ 73 h 84"/>
                <a:gd name="T42" fmla="*/ 44 w 104"/>
                <a:gd name="T43" fmla="*/ 65 h 84"/>
                <a:gd name="T44" fmla="*/ 46 w 104"/>
                <a:gd name="T45" fmla="*/ 54 h 84"/>
                <a:gd name="T46" fmla="*/ 54 w 104"/>
                <a:gd name="T47" fmla="*/ 48 h 84"/>
                <a:gd name="T48" fmla="*/ 56 w 104"/>
                <a:gd name="T49" fmla="*/ 55 h 84"/>
                <a:gd name="T50" fmla="*/ 56 w 104"/>
                <a:gd name="T51" fmla="*/ 57 h 84"/>
                <a:gd name="T52" fmla="*/ 58 w 104"/>
                <a:gd name="T53" fmla="*/ 50 h 84"/>
                <a:gd name="T54" fmla="*/ 37 w 104"/>
                <a:gd name="T55" fmla="*/ 13 h 84"/>
                <a:gd name="T56" fmla="*/ 23 w 104"/>
                <a:gd name="T57" fmla="*/ 19 h 84"/>
                <a:gd name="T58" fmla="*/ 6 w 104"/>
                <a:gd name="T59" fmla="*/ 31 h 84"/>
                <a:gd name="T60" fmla="*/ 6 w 104"/>
                <a:gd name="T61" fmla="*/ 32 h 84"/>
                <a:gd name="T62" fmla="*/ 16 w 104"/>
                <a:gd name="T63" fmla="*/ 17 h 84"/>
                <a:gd name="T64" fmla="*/ 33 w 104"/>
                <a:gd name="T65" fmla="*/ 57 h 84"/>
                <a:gd name="T66" fmla="*/ 37 w 104"/>
                <a:gd name="T67" fmla="*/ 59 h 84"/>
                <a:gd name="T68" fmla="*/ 40 w 104"/>
                <a:gd name="T69" fmla="*/ 69 h 84"/>
                <a:gd name="T70" fmla="*/ 33 w 104"/>
                <a:gd name="T71" fmla="*/ 71 h 84"/>
                <a:gd name="T72" fmla="*/ 29 w 104"/>
                <a:gd name="T73" fmla="*/ 69 h 84"/>
                <a:gd name="T74" fmla="*/ 29 w 104"/>
                <a:gd name="T75" fmla="*/ 59 h 84"/>
                <a:gd name="T76" fmla="*/ 56 w 104"/>
                <a:gd name="T77" fmla="*/ 79 h 84"/>
                <a:gd name="T78" fmla="*/ 42 w 104"/>
                <a:gd name="T79" fmla="*/ 79 h 84"/>
                <a:gd name="T80" fmla="*/ 104 w 104"/>
                <a:gd name="T81" fmla="*/ 71 h 84"/>
                <a:gd name="T82" fmla="*/ 58 w 104"/>
                <a:gd name="T83" fmla="*/ 77 h 84"/>
                <a:gd name="T84" fmla="*/ 14 w 104"/>
                <a:gd name="T85" fmla="*/ 21 h 84"/>
                <a:gd name="T86" fmla="*/ 12 w 104"/>
                <a:gd name="T87" fmla="*/ 21 h 84"/>
                <a:gd name="T88" fmla="*/ 27 w 104"/>
                <a:gd name="T89" fmla="*/ 75 h 84"/>
                <a:gd name="T90" fmla="*/ 39 w 104"/>
                <a:gd name="T91" fmla="*/ 79 h 84"/>
                <a:gd name="T92" fmla="*/ 62 w 104"/>
                <a:gd name="T93" fmla="*/ 75 h 84"/>
                <a:gd name="T94" fmla="*/ 67 w 104"/>
                <a:gd name="T95" fmla="*/ 55 h 84"/>
                <a:gd name="T96" fmla="*/ 37 w 104"/>
                <a:gd name="T97" fmla="*/ 73 h 84"/>
                <a:gd name="T98" fmla="*/ 67 w 104"/>
                <a:gd name="T99" fmla="*/ 55 h 84"/>
                <a:gd name="T100" fmla="*/ 52 w 104"/>
                <a:gd name="T101" fmla="*/ 75 h 84"/>
                <a:gd name="T102" fmla="*/ 52 w 104"/>
                <a:gd name="T103" fmla="*/ 69 h 84"/>
                <a:gd name="T104" fmla="*/ 52 w 104"/>
                <a:gd name="T105" fmla="*/ 69 h 84"/>
                <a:gd name="T106" fmla="*/ 60 w 104"/>
                <a:gd name="T107" fmla="*/ 75 h 84"/>
                <a:gd name="T108" fmla="*/ 40 w 104"/>
                <a:gd name="T109" fmla="*/ 59 h 84"/>
                <a:gd name="T110" fmla="*/ 39 w 104"/>
                <a:gd name="T111" fmla="*/ 50 h 84"/>
                <a:gd name="T112" fmla="*/ 39 w 104"/>
                <a:gd name="T113" fmla="*/ 50 h 84"/>
                <a:gd name="T114" fmla="*/ 8 w 104"/>
                <a:gd name="T115" fmla="*/ 31 h 84"/>
                <a:gd name="T116" fmla="*/ 42 w 104"/>
                <a:gd name="T117" fmla="*/ 17 h 84"/>
                <a:gd name="T118" fmla="*/ 29 w 104"/>
                <a:gd name="T119" fmla="*/ 69 h 84"/>
                <a:gd name="T120" fmla="*/ 6 w 104"/>
                <a:gd name="T121" fmla="*/ 29 h 84"/>
                <a:gd name="T122" fmla="*/ 8 w 104"/>
                <a:gd name="T123" fmla="*/ 29 h 84"/>
                <a:gd name="T124" fmla="*/ 21 w 104"/>
                <a:gd name="T125" fmla="*/ 6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 h="84">
                  <a:moveTo>
                    <a:pt x="19" y="79"/>
                  </a:moveTo>
                  <a:lnTo>
                    <a:pt x="19" y="77"/>
                  </a:lnTo>
                  <a:lnTo>
                    <a:pt x="19" y="79"/>
                  </a:lnTo>
                  <a:lnTo>
                    <a:pt x="17" y="79"/>
                  </a:lnTo>
                  <a:lnTo>
                    <a:pt x="17" y="77"/>
                  </a:lnTo>
                  <a:lnTo>
                    <a:pt x="16" y="77"/>
                  </a:lnTo>
                  <a:lnTo>
                    <a:pt x="14" y="77"/>
                  </a:lnTo>
                  <a:lnTo>
                    <a:pt x="12" y="77"/>
                  </a:lnTo>
                  <a:lnTo>
                    <a:pt x="10" y="77"/>
                  </a:lnTo>
                  <a:lnTo>
                    <a:pt x="8" y="77"/>
                  </a:lnTo>
                  <a:lnTo>
                    <a:pt x="8" y="75"/>
                  </a:lnTo>
                  <a:lnTo>
                    <a:pt x="8" y="73"/>
                  </a:lnTo>
                  <a:lnTo>
                    <a:pt x="8" y="71"/>
                  </a:lnTo>
                  <a:lnTo>
                    <a:pt x="10" y="71"/>
                  </a:lnTo>
                  <a:lnTo>
                    <a:pt x="10" y="69"/>
                  </a:lnTo>
                  <a:lnTo>
                    <a:pt x="8" y="69"/>
                  </a:lnTo>
                  <a:lnTo>
                    <a:pt x="8" y="71"/>
                  </a:lnTo>
                  <a:lnTo>
                    <a:pt x="6" y="71"/>
                  </a:lnTo>
                  <a:lnTo>
                    <a:pt x="6" y="73"/>
                  </a:lnTo>
                  <a:lnTo>
                    <a:pt x="6" y="71"/>
                  </a:lnTo>
                  <a:lnTo>
                    <a:pt x="6" y="73"/>
                  </a:lnTo>
                  <a:lnTo>
                    <a:pt x="6" y="71"/>
                  </a:lnTo>
                  <a:lnTo>
                    <a:pt x="6" y="73"/>
                  </a:lnTo>
                  <a:lnTo>
                    <a:pt x="6" y="71"/>
                  </a:lnTo>
                  <a:lnTo>
                    <a:pt x="6" y="69"/>
                  </a:lnTo>
                  <a:lnTo>
                    <a:pt x="8" y="69"/>
                  </a:lnTo>
                  <a:lnTo>
                    <a:pt x="10" y="69"/>
                  </a:lnTo>
                  <a:lnTo>
                    <a:pt x="8" y="69"/>
                  </a:lnTo>
                  <a:lnTo>
                    <a:pt x="8" y="67"/>
                  </a:lnTo>
                  <a:lnTo>
                    <a:pt x="8" y="65"/>
                  </a:lnTo>
                  <a:lnTo>
                    <a:pt x="8" y="67"/>
                  </a:lnTo>
                  <a:lnTo>
                    <a:pt x="6" y="67"/>
                  </a:lnTo>
                  <a:lnTo>
                    <a:pt x="6" y="65"/>
                  </a:lnTo>
                  <a:lnTo>
                    <a:pt x="8" y="65"/>
                  </a:lnTo>
                  <a:lnTo>
                    <a:pt x="10" y="65"/>
                  </a:lnTo>
                  <a:lnTo>
                    <a:pt x="8" y="65"/>
                  </a:lnTo>
                  <a:lnTo>
                    <a:pt x="10" y="65"/>
                  </a:lnTo>
                  <a:lnTo>
                    <a:pt x="8" y="65"/>
                  </a:lnTo>
                  <a:lnTo>
                    <a:pt x="8" y="63"/>
                  </a:lnTo>
                  <a:lnTo>
                    <a:pt x="8" y="61"/>
                  </a:lnTo>
                  <a:lnTo>
                    <a:pt x="6" y="61"/>
                  </a:lnTo>
                  <a:lnTo>
                    <a:pt x="4" y="61"/>
                  </a:lnTo>
                  <a:lnTo>
                    <a:pt x="6" y="61"/>
                  </a:lnTo>
                  <a:lnTo>
                    <a:pt x="4" y="61"/>
                  </a:lnTo>
                  <a:lnTo>
                    <a:pt x="6" y="61"/>
                  </a:lnTo>
                  <a:lnTo>
                    <a:pt x="4" y="61"/>
                  </a:lnTo>
                  <a:lnTo>
                    <a:pt x="6" y="61"/>
                  </a:lnTo>
                  <a:lnTo>
                    <a:pt x="4" y="61"/>
                  </a:lnTo>
                  <a:lnTo>
                    <a:pt x="4" y="59"/>
                  </a:lnTo>
                  <a:lnTo>
                    <a:pt x="4" y="57"/>
                  </a:lnTo>
                  <a:lnTo>
                    <a:pt x="2" y="57"/>
                  </a:lnTo>
                  <a:lnTo>
                    <a:pt x="2" y="59"/>
                  </a:lnTo>
                  <a:lnTo>
                    <a:pt x="4" y="59"/>
                  </a:lnTo>
                  <a:lnTo>
                    <a:pt x="4" y="61"/>
                  </a:lnTo>
                  <a:lnTo>
                    <a:pt x="2" y="61"/>
                  </a:lnTo>
                  <a:lnTo>
                    <a:pt x="2" y="59"/>
                  </a:lnTo>
                  <a:lnTo>
                    <a:pt x="0" y="59"/>
                  </a:lnTo>
                  <a:lnTo>
                    <a:pt x="0" y="57"/>
                  </a:lnTo>
                  <a:lnTo>
                    <a:pt x="0" y="55"/>
                  </a:lnTo>
                  <a:lnTo>
                    <a:pt x="2" y="55"/>
                  </a:lnTo>
                  <a:lnTo>
                    <a:pt x="2" y="54"/>
                  </a:lnTo>
                  <a:lnTo>
                    <a:pt x="2" y="52"/>
                  </a:lnTo>
                  <a:lnTo>
                    <a:pt x="2" y="50"/>
                  </a:lnTo>
                  <a:lnTo>
                    <a:pt x="0" y="50"/>
                  </a:lnTo>
                  <a:lnTo>
                    <a:pt x="0" y="48"/>
                  </a:lnTo>
                  <a:lnTo>
                    <a:pt x="2" y="48"/>
                  </a:lnTo>
                  <a:lnTo>
                    <a:pt x="2" y="50"/>
                  </a:lnTo>
                  <a:lnTo>
                    <a:pt x="2" y="52"/>
                  </a:lnTo>
                  <a:lnTo>
                    <a:pt x="2" y="50"/>
                  </a:lnTo>
                  <a:lnTo>
                    <a:pt x="2" y="52"/>
                  </a:lnTo>
                  <a:lnTo>
                    <a:pt x="2" y="50"/>
                  </a:lnTo>
                  <a:lnTo>
                    <a:pt x="2" y="52"/>
                  </a:lnTo>
                  <a:lnTo>
                    <a:pt x="4" y="52"/>
                  </a:lnTo>
                  <a:lnTo>
                    <a:pt x="4" y="50"/>
                  </a:lnTo>
                  <a:lnTo>
                    <a:pt x="4" y="48"/>
                  </a:lnTo>
                  <a:lnTo>
                    <a:pt x="4" y="50"/>
                  </a:lnTo>
                  <a:lnTo>
                    <a:pt x="4" y="48"/>
                  </a:lnTo>
                  <a:lnTo>
                    <a:pt x="4" y="46"/>
                  </a:lnTo>
                  <a:lnTo>
                    <a:pt x="2" y="46"/>
                  </a:lnTo>
                  <a:lnTo>
                    <a:pt x="2" y="44"/>
                  </a:lnTo>
                  <a:lnTo>
                    <a:pt x="0" y="44"/>
                  </a:lnTo>
                  <a:lnTo>
                    <a:pt x="0" y="46"/>
                  </a:lnTo>
                  <a:lnTo>
                    <a:pt x="0" y="44"/>
                  </a:lnTo>
                  <a:lnTo>
                    <a:pt x="0" y="46"/>
                  </a:lnTo>
                  <a:lnTo>
                    <a:pt x="0" y="48"/>
                  </a:lnTo>
                  <a:lnTo>
                    <a:pt x="0" y="46"/>
                  </a:lnTo>
                  <a:lnTo>
                    <a:pt x="0" y="44"/>
                  </a:lnTo>
                  <a:lnTo>
                    <a:pt x="0" y="42"/>
                  </a:lnTo>
                  <a:lnTo>
                    <a:pt x="0" y="40"/>
                  </a:lnTo>
                  <a:lnTo>
                    <a:pt x="0" y="38"/>
                  </a:lnTo>
                  <a:lnTo>
                    <a:pt x="2" y="38"/>
                  </a:lnTo>
                  <a:lnTo>
                    <a:pt x="2" y="40"/>
                  </a:lnTo>
                  <a:lnTo>
                    <a:pt x="2" y="38"/>
                  </a:lnTo>
                  <a:lnTo>
                    <a:pt x="2" y="40"/>
                  </a:lnTo>
                  <a:lnTo>
                    <a:pt x="4" y="40"/>
                  </a:lnTo>
                  <a:lnTo>
                    <a:pt x="4" y="38"/>
                  </a:lnTo>
                  <a:lnTo>
                    <a:pt x="4" y="40"/>
                  </a:lnTo>
                  <a:lnTo>
                    <a:pt x="4" y="38"/>
                  </a:lnTo>
                  <a:lnTo>
                    <a:pt x="4" y="40"/>
                  </a:lnTo>
                  <a:lnTo>
                    <a:pt x="4" y="38"/>
                  </a:lnTo>
                  <a:lnTo>
                    <a:pt x="2" y="38"/>
                  </a:lnTo>
                  <a:lnTo>
                    <a:pt x="2" y="36"/>
                  </a:lnTo>
                  <a:lnTo>
                    <a:pt x="0" y="36"/>
                  </a:lnTo>
                  <a:lnTo>
                    <a:pt x="0" y="38"/>
                  </a:lnTo>
                  <a:lnTo>
                    <a:pt x="0" y="36"/>
                  </a:lnTo>
                  <a:lnTo>
                    <a:pt x="0" y="34"/>
                  </a:lnTo>
                  <a:lnTo>
                    <a:pt x="0" y="32"/>
                  </a:lnTo>
                  <a:lnTo>
                    <a:pt x="0" y="31"/>
                  </a:lnTo>
                  <a:lnTo>
                    <a:pt x="2" y="31"/>
                  </a:lnTo>
                  <a:lnTo>
                    <a:pt x="0" y="31"/>
                  </a:lnTo>
                  <a:lnTo>
                    <a:pt x="2" y="31"/>
                  </a:lnTo>
                  <a:lnTo>
                    <a:pt x="2" y="29"/>
                  </a:lnTo>
                  <a:lnTo>
                    <a:pt x="2" y="31"/>
                  </a:lnTo>
                  <a:lnTo>
                    <a:pt x="2" y="32"/>
                  </a:lnTo>
                  <a:lnTo>
                    <a:pt x="4" y="32"/>
                  </a:lnTo>
                  <a:lnTo>
                    <a:pt x="6" y="32"/>
                  </a:lnTo>
                  <a:lnTo>
                    <a:pt x="8" y="32"/>
                  </a:lnTo>
                  <a:lnTo>
                    <a:pt x="8" y="34"/>
                  </a:lnTo>
                  <a:lnTo>
                    <a:pt x="6" y="34"/>
                  </a:lnTo>
                  <a:lnTo>
                    <a:pt x="8" y="34"/>
                  </a:lnTo>
                  <a:lnTo>
                    <a:pt x="6" y="34"/>
                  </a:lnTo>
                  <a:lnTo>
                    <a:pt x="8" y="34"/>
                  </a:lnTo>
                  <a:lnTo>
                    <a:pt x="10" y="34"/>
                  </a:lnTo>
                  <a:lnTo>
                    <a:pt x="10" y="32"/>
                  </a:lnTo>
                  <a:lnTo>
                    <a:pt x="8" y="32"/>
                  </a:lnTo>
                  <a:lnTo>
                    <a:pt x="8" y="31"/>
                  </a:lnTo>
                  <a:lnTo>
                    <a:pt x="10" y="31"/>
                  </a:lnTo>
                  <a:lnTo>
                    <a:pt x="10" y="29"/>
                  </a:lnTo>
                  <a:lnTo>
                    <a:pt x="12" y="29"/>
                  </a:lnTo>
                  <a:lnTo>
                    <a:pt x="12" y="27"/>
                  </a:lnTo>
                  <a:lnTo>
                    <a:pt x="14" y="27"/>
                  </a:lnTo>
                  <a:lnTo>
                    <a:pt x="16" y="27"/>
                  </a:lnTo>
                  <a:lnTo>
                    <a:pt x="16" y="29"/>
                  </a:lnTo>
                  <a:lnTo>
                    <a:pt x="16" y="31"/>
                  </a:lnTo>
                  <a:lnTo>
                    <a:pt x="14" y="31"/>
                  </a:lnTo>
                  <a:lnTo>
                    <a:pt x="14" y="32"/>
                  </a:lnTo>
                  <a:lnTo>
                    <a:pt x="16" y="32"/>
                  </a:lnTo>
                  <a:lnTo>
                    <a:pt x="16" y="31"/>
                  </a:lnTo>
                  <a:lnTo>
                    <a:pt x="17" y="31"/>
                  </a:lnTo>
                  <a:lnTo>
                    <a:pt x="17" y="32"/>
                  </a:lnTo>
                  <a:lnTo>
                    <a:pt x="17" y="34"/>
                  </a:lnTo>
                  <a:lnTo>
                    <a:pt x="17" y="32"/>
                  </a:lnTo>
                  <a:lnTo>
                    <a:pt x="19" y="32"/>
                  </a:lnTo>
                  <a:lnTo>
                    <a:pt x="19" y="34"/>
                  </a:lnTo>
                  <a:lnTo>
                    <a:pt x="19" y="32"/>
                  </a:lnTo>
                  <a:lnTo>
                    <a:pt x="19" y="34"/>
                  </a:lnTo>
                  <a:lnTo>
                    <a:pt x="19" y="32"/>
                  </a:lnTo>
                  <a:lnTo>
                    <a:pt x="19" y="34"/>
                  </a:lnTo>
                  <a:lnTo>
                    <a:pt x="19" y="32"/>
                  </a:lnTo>
                  <a:lnTo>
                    <a:pt x="17" y="32"/>
                  </a:lnTo>
                  <a:lnTo>
                    <a:pt x="17" y="31"/>
                  </a:lnTo>
                  <a:lnTo>
                    <a:pt x="17" y="29"/>
                  </a:lnTo>
                  <a:lnTo>
                    <a:pt x="17" y="31"/>
                  </a:lnTo>
                  <a:lnTo>
                    <a:pt x="16" y="31"/>
                  </a:lnTo>
                  <a:lnTo>
                    <a:pt x="16" y="29"/>
                  </a:lnTo>
                  <a:lnTo>
                    <a:pt x="17" y="29"/>
                  </a:lnTo>
                  <a:lnTo>
                    <a:pt x="16" y="29"/>
                  </a:lnTo>
                  <a:lnTo>
                    <a:pt x="17" y="29"/>
                  </a:lnTo>
                  <a:lnTo>
                    <a:pt x="16" y="29"/>
                  </a:lnTo>
                  <a:lnTo>
                    <a:pt x="17" y="29"/>
                  </a:lnTo>
                  <a:lnTo>
                    <a:pt x="17" y="27"/>
                  </a:lnTo>
                  <a:lnTo>
                    <a:pt x="16" y="27"/>
                  </a:lnTo>
                  <a:lnTo>
                    <a:pt x="16" y="25"/>
                  </a:lnTo>
                  <a:lnTo>
                    <a:pt x="17" y="25"/>
                  </a:lnTo>
                  <a:lnTo>
                    <a:pt x="16" y="25"/>
                  </a:lnTo>
                  <a:lnTo>
                    <a:pt x="16" y="23"/>
                  </a:lnTo>
                  <a:lnTo>
                    <a:pt x="17" y="23"/>
                  </a:lnTo>
                  <a:lnTo>
                    <a:pt x="17" y="21"/>
                  </a:lnTo>
                  <a:lnTo>
                    <a:pt x="19" y="21"/>
                  </a:lnTo>
                  <a:lnTo>
                    <a:pt x="21" y="21"/>
                  </a:lnTo>
                  <a:lnTo>
                    <a:pt x="21" y="23"/>
                  </a:lnTo>
                  <a:lnTo>
                    <a:pt x="23" y="23"/>
                  </a:lnTo>
                  <a:lnTo>
                    <a:pt x="23" y="21"/>
                  </a:lnTo>
                  <a:lnTo>
                    <a:pt x="23" y="19"/>
                  </a:lnTo>
                  <a:lnTo>
                    <a:pt x="25" y="19"/>
                  </a:lnTo>
                  <a:lnTo>
                    <a:pt x="27" y="19"/>
                  </a:lnTo>
                  <a:lnTo>
                    <a:pt x="29" y="19"/>
                  </a:lnTo>
                  <a:lnTo>
                    <a:pt x="29" y="21"/>
                  </a:lnTo>
                  <a:lnTo>
                    <a:pt x="31" y="21"/>
                  </a:lnTo>
                  <a:lnTo>
                    <a:pt x="33" y="21"/>
                  </a:lnTo>
                  <a:lnTo>
                    <a:pt x="33" y="23"/>
                  </a:lnTo>
                  <a:lnTo>
                    <a:pt x="33" y="25"/>
                  </a:lnTo>
                  <a:lnTo>
                    <a:pt x="33" y="27"/>
                  </a:lnTo>
                  <a:lnTo>
                    <a:pt x="33" y="29"/>
                  </a:lnTo>
                  <a:lnTo>
                    <a:pt x="31" y="29"/>
                  </a:lnTo>
                  <a:lnTo>
                    <a:pt x="29" y="29"/>
                  </a:lnTo>
                  <a:lnTo>
                    <a:pt x="31" y="29"/>
                  </a:lnTo>
                  <a:lnTo>
                    <a:pt x="29" y="29"/>
                  </a:lnTo>
                  <a:lnTo>
                    <a:pt x="29" y="31"/>
                  </a:lnTo>
                  <a:lnTo>
                    <a:pt x="27" y="31"/>
                  </a:lnTo>
                  <a:lnTo>
                    <a:pt x="25" y="31"/>
                  </a:lnTo>
                  <a:lnTo>
                    <a:pt x="27" y="31"/>
                  </a:lnTo>
                  <a:lnTo>
                    <a:pt x="29" y="31"/>
                  </a:lnTo>
                  <a:lnTo>
                    <a:pt x="29" y="29"/>
                  </a:lnTo>
                  <a:lnTo>
                    <a:pt x="29" y="31"/>
                  </a:lnTo>
                  <a:lnTo>
                    <a:pt x="29" y="29"/>
                  </a:lnTo>
                  <a:lnTo>
                    <a:pt x="29" y="31"/>
                  </a:lnTo>
                  <a:lnTo>
                    <a:pt x="29" y="29"/>
                  </a:lnTo>
                  <a:lnTo>
                    <a:pt x="31" y="29"/>
                  </a:lnTo>
                  <a:lnTo>
                    <a:pt x="31" y="31"/>
                  </a:lnTo>
                  <a:lnTo>
                    <a:pt x="31" y="29"/>
                  </a:lnTo>
                  <a:lnTo>
                    <a:pt x="33" y="29"/>
                  </a:lnTo>
                  <a:lnTo>
                    <a:pt x="33" y="31"/>
                  </a:lnTo>
                  <a:lnTo>
                    <a:pt x="33" y="32"/>
                  </a:lnTo>
                  <a:lnTo>
                    <a:pt x="33" y="31"/>
                  </a:lnTo>
                  <a:lnTo>
                    <a:pt x="33" y="32"/>
                  </a:lnTo>
                  <a:lnTo>
                    <a:pt x="33" y="31"/>
                  </a:lnTo>
                  <a:lnTo>
                    <a:pt x="33" y="32"/>
                  </a:lnTo>
                  <a:lnTo>
                    <a:pt x="31" y="32"/>
                  </a:lnTo>
                  <a:lnTo>
                    <a:pt x="31" y="34"/>
                  </a:lnTo>
                  <a:lnTo>
                    <a:pt x="31" y="36"/>
                  </a:lnTo>
                  <a:lnTo>
                    <a:pt x="29" y="36"/>
                  </a:lnTo>
                  <a:lnTo>
                    <a:pt x="29" y="34"/>
                  </a:lnTo>
                  <a:lnTo>
                    <a:pt x="29" y="36"/>
                  </a:lnTo>
                  <a:lnTo>
                    <a:pt x="29" y="34"/>
                  </a:lnTo>
                  <a:lnTo>
                    <a:pt x="29" y="36"/>
                  </a:lnTo>
                  <a:lnTo>
                    <a:pt x="31" y="36"/>
                  </a:lnTo>
                  <a:lnTo>
                    <a:pt x="31" y="34"/>
                  </a:lnTo>
                  <a:lnTo>
                    <a:pt x="33" y="34"/>
                  </a:lnTo>
                  <a:lnTo>
                    <a:pt x="31" y="34"/>
                  </a:lnTo>
                  <a:lnTo>
                    <a:pt x="31" y="32"/>
                  </a:lnTo>
                  <a:lnTo>
                    <a:pt x="33" y="32"/>
                  </a:lnTo>
                  <a:lnTo>
                    <a:pt x="35" y="32"/>
                  </a:lnTo>
                  <a:lnTo>
                    <a:pt x="35" y="34"/>
                  </a:lnTo>
                  <a:lnTo>
                    <a:pt x="37" y="34"/>
                  </a:lnTo>
                  <a:lnTo>
                    <a:pt x="39" y="34"/>
                  </a:lnTo>
                  <a:lnTo>
                    <a:pt x="40" y="34"/>
                  </a:lnTo>
                  <a:lnTo>
                    <a:pt x="42" y="34"/>
                  </a:lnTo>
                  <a:lnTo>
                    <a:pt x="42" y="36"/>
                  </a:lnTo>
                  <a:lnTo>
                    <a:pt x="42" y="38"/>
                  </a:lnTo>
                  <a:lnTo>
                    <a:pt x="40" y="38"/>
                  </a:lnTo>
                  <a:lnTo>
                    <a:pt x="40" y="40"/>
                  </a:lnTo>
                  <a:lnTo>
                    <a:pt x="40" y="42"/>
                  </a:lnTo>
                  <a:lnTo>
                    <a:pt x="39" y="42"/>
                  </a:lnTo>
                  <a:lnTo>
                    <a:pt x="39" y="44"/>
                  </a:lnTo>
                  <a:lnTo>
                    <a:pt x="37" y="44"/>
                  </a:lnTo>
                  <a:lnTo>
                    <a:pt x="37" y="42"/>
                  </a:lnTo>
                  <a:lnTo>
                    <a:pt x="39" y="42"/>
                  </a:lnTo>
                  <a:lnTo>
                    <a:pt x="37" y="42"/>
                  </a:lnTo>
                  <a:lnTo>
                    <a:pt x="37" y="44"/>
                  </a:lnTo>
                  <a:lnTo>
                    <a:pt x="37" y="46"/>
                  </a:lnTo>
                  <a:lnTo>
                    <a:pt x="35" y="46"/>
                  </a:lnTo>
                  <a:lnTo>
                    <a:pt x="35" y="44"/>
                  </a:lnTo>
                  <a:lnTo>
                    <a:pt x="37" y="44"/>
                  </a:lnTo>
                  <a:lnTo>
                    <a:pt x="35" y="44"/>
                  </a:lnTo>
                  <a:lnTo>
                    <a:pt x="35" y="42"/>
                  </a:lnTo>
                  <a:lnTo>
                    <a:pt x="35" y="44"/>
                  </a:lnTo>
                  <a:lnTo>
                    <a:pt x="33" y="44"/>
                  </a:lnTo>
                  <a:lnTo>
                    <a:pt x="33" y="42"/>
                  </a:lnTo>
                  <a:lnTo>
                    <a:pt x="35" y="42"/>
                  </a:lnTo>
                  <a:lnTo>
                    <a:pt x="35" y="40"/>
                  </a:lnTo>
                  <a:lnTo>
                    <a:pt x="33" y="40"/>
                  </a:lnTo>
                  <a:lnTo>
                    <a:pt x="35" y="40"/>
                  </a:lnTo>
                  <a:lnTo>
                    <a:pt x="33" y="40"/>
                  </a:lnTo>
                  <a:lnTo>
                    <a:pt x="35" y="40"/>
                  </a:lnTo>
                  <a:lnTo>
                    <a:pt x="33" y="40"/>
                  </a:lnTo>
                  <a:lnTo>
                    <a:pt x="33" y="42"/>
                  </a:lnTo>
                  <a:lnTo>
                    <a:pt x="33" y="40"/>
                  </a:lnTo>
                  <a:lnTo>
                    <a:pt x="33" y="42"/>
                  </a:lnTo>
                  <a:lnTo>
                    <a:pt x="31" y="42"/>
                  </a:lnTo>
                  <a:lnTo>
                    <a:pt x="31" y="44"/>
                  </a:lnTo>
                  <a:lnTo>
                    <a:pt x="33" y="44"/>
                  </a:lnTo>
                  <a:lnTo>
                    <a:pt x="31" y="44"/>
                  </a:lnTo>
                  <a:lnTo>
                    <a:pt x="33" y="44"/>
                  </a:lnTo>
                  <a:lnTo>
                    <a:pt x="31" y="44"/>
                  </a:lnTo>
                  <a:lnTo>
                    <a:pt x="31" y="46"/>
                  </a:lnTo>
                  <a:lnTo>
                    <a:pt x="33" y="46"/>
                  </a:lnTo>
                  <a:lnTo>
                    <a:pt x="33" y="48"/>
                  </a:lnTo>
                  <a:lnTo>
                    <a:pt x="31" y="48"/>
                  </a:lnTo>
                  <a:lnTo>
                    <a:pt x="33" y="48"/>
                  </a:lnTo>
                  <a:lnTo>
                    <a:pt x="33" y="50"/>
                  </a:lnTo>
                  <a:lnTo>
                    <a:pt x="31" y="50"/>
                  </a:lnTo>
                  <a:lnTo>
                    <a:pt x="31" y="52"/>
                  </a:lnTo>
                  <a:lnTo>
                    <a:pt x="29" y="52"/>
                  </a:lnTo>
                  <a:lnTo>
                    <a:pt x="31" y="52"/>
                  </a:lnTo>
                  <a:lnTo>
                    <a:pt x="29" y="52"/>
                  </a:lnTo>
                  <a:lnTo>
                    <a:pt x="29" y="50"/>
                  </a:lnTo>
                  <a:lnTo>
                    <a:pt x="29" y="52"/>
                  </a:lnTo>
                  <a:lnTo>
                    <a:pt x="27" y="52"/>
                  </a:lnTo>
                  <a:lnTo>
                    <a:pt x="29" y="52"/>
                  </a:lnTo>
                  <a:lnTo>
                    <a:pt x="29" y="54"/>
                  </a:lnTo>
                  <a:lnTo>
                    <a:pt x="29" y="55"/>
                  </a:lnTo>
                  <a:lnTo>
                    <a:pt x="29" y="54"/>
                  </a:lnTo>
                  <a:lnTo>
                    <a:pt x="29" y="55"/>
                  </a:lnTo>
                  <a:lnTo>
                    <a:pt x="29" y="54"/>
                  </a:lnTo>
                  <a:lnTo>
                    <a:pt x="29" y="55"/>
                  </a:lnTo>
                  <a:lnTo>
                    <a:pt x="27" y="55"/>
                  </a:lnTo>
                  <a:lnTo>
                    <a:pt x="25" y="55"/>
                  </a:lnTo>
                  <a:lnTo>
                    <a:pt x="23" y="55"/>
                  </a:lnTo>
                  <a:lnTo>
                    <a:pt x="21" y="55"/>
                  </a:lnTo>
                  <a:lnTo>
                    <a:pt x="23" y="55"/>
                  </a:lnTo>
                  <a:lnTo>
                    <a:pt x="25" y="55"/>
                  </a:lnTo>
                  <a:lnTo>
                    <a:pt x="25" y="57"/>
                  </a:lnTo>
                  <a:lnTo>
                    <a:pt x="27" y="57"/>
                  </a:lnTo>
                  <a:lnTo>
                    <a:pt x="25" y="57"/>
                  </a:lnTo>
                  <a:lnTo>
                    <a:pt x="25" y="59"/>
                  </a:lnTo>
                  <a:lnTo>
                    <a:pt x="23" y="59"/>
                  </a:lnTo>
                  <a:lnTo>
                    <a:pt x="23" y="61"/>
                  </a:lnTo>
                  <a:lnTo>
                    <a:pt x="23" y="59"/>
                  </a:lnTo>
                  <a:lnTo>
                    <a:pt x="23" y="61"/>
                  </a:lnTo>
                  <a:lnTo>
                    <a:pt x="23" y="59"/>
                  </a:lnTo>
                  <a:lnTo>
                    <a:pt x="21" y="59"/>
                  </a:lnTo>
                  <a:lnTo>
                    <a:pt x="21" y="61"/>
                  </a:lnTo>
                  <a:lnTo>
                    <a:pt x="21" y="59"/>
                  </a:lnTo>
                  <a:lnTo>
                    <a:pt x="21" y="61"/>
                  </a:lnTo>
                  <a:lnTo>
                    <a:pt x="21" y="59"/>
                  </a:lnTo>
                  <a:lnTo>
                    <a:pt x="21" y="61"/>
                  </a:lnTo>
                  <a:lnTo>
                    <a:pt x="23" y="61"/>
                  </a:lnTo>
                  <a:lnTo>
                    <a:pt x="23" y="63"/>
                  </a:lnTo>
                  <a:lnTo>
                    <a:pt x="21" y="63"/>
                  </a:lnTo>
                  <a:lnTo>
                    <a:pt x="23" y="63"/>
                  </a:lnTo>
                  <a:lnTo>
                    <a:pt x="23" y="65"/>
                  </a:lnTo>
                  <a:lnTo>
                    <a:pt x="23" y="63"/>
                  </a:lnTo>
                  <a:lnTo>
                    <a:pt x="21" y="63"/>
                  </a:lnTo>
                  <a:lnTo>
                    <a:pt x="21" y="65"/>
                  </a:lnTo>
                  <a:lnTo>
                    <a:pt x="23" y="65"/>
                  </a:lnTo>
                  <a:lnTo>
                    <a:pt x="21" y="65"/>
                  </a:lnTo>
                  <a:lnTo>
                    <a:pt x="23" y="65"/>
                  </a:lnTo>
                  <a:lnTo>
                    <a:pt x="23" y="67"/>
                  </a:lnTo>
                  <a:lnTo>
                    <a:pt x="23" y="65"/>
                  </a:lnTo>
                  <a:lnTo>
                    <a:pt x="23" y="67"/>
                  </a:lnTo>
                  <a:lnTo>
                    <a:pt x="21" y="67"/>
                  </a:lnTo>
                  <a:lnTo>
                    <a:pt x="23" y="67"/>
                  </a:lnTo>
                  <a:lnTo>
                    <a:pt x="23" y="69"/>
                  </a:lnTo>
                  <a:lnTo>
                    <a:pt x="23" y="67"/>
                  </a:lnTo>
                  <a:lnTo>
                    <a:pt x="23" y="69"/>
                  </a:lnTo>
                  <a:lnTo>
                    <a:pt x="21" y="69"/>
                  </a:lnTo>
                  <a:lnTo>
                    <a:pt x="21" y="71"/>
                  </a:lnTo>
                  <a:lnTo>
                    <a:pt x="19" y="71"/>
                  </a:lnTo>
                  <a:lnTo>
                    <a:pt x="21" y="71"/>
                  </a:lnTo>
                  <a:lnTo>
                    <a:pt x="19" y="71"/>
                  </a:lnTo>
                  <a:lnTo>
                    <a:pt x="21" y="71"/>
                  </a:lnTo>
                  <a:lnTo>
                    <a:pt x="21" y="73"/>
                  </a:lnTo>
                  <a:lnTo>
                    <a:pt x="19" y="73"/>
                  </a:lnTo>
                  <a:lnTo>
                    <a:pt x="21" y="73"/>
                  </a:lnTo>
                  <a:lnTo>
                    <a:pt x="23" y="73"/>
                  </a:lnTo>
                  <a:lnTo>
                    <a:pt x="23" y="75"/>
                  </a:lnTo>
                  <a:lnTo>
                    <a:pt x="23" y="73"/>
                  </a:lnTo>
                  <a:lnTo>
                    <a:pt x="23" y="75"/>
                  </a:lnTo>
                  <a:lnTo>
                    <a:pt x="25" y="75"/>
                  </a:lnTo>
                  <a:lnTo>
                    <a:pt x="25" y="77"/>
                  </a:lnTo>
                  <a:lnTo>
                    <a:pt x="23" y="77"/>
                  </a:lnTo>
                  <a:lnTo>
                    <a:pt x="25" y="77"/>
                  </a:lnTo>
                  <a:lnTo>
                    <a:pt x="25" y="79"/>
                  </a:lnTo>
                  <a:lnTo>
                    <a:pt x="23" y="79"/>
                  </a:lnTo>
                  <a:lnTo>
                    <a:pt x="23" y="77"/>
                  </a:lnTo>
                  <a:lnTo>
                    <a:pt x="23" y="75"/>
                  </a:lnTo>
                  <a:lnTo>
                    <a:pt x="23" y="77"/>
                  </a:lnTo>
                  <a:lnTo>
                    <a:pt x="23" y="75"/>
                  </a:lnTo>
                  <a:lnTo>
                    <a:pt x="23" y="77"/>
                  </a:lnTo>
                  <a:lnTo>
                    <a:pt x="23" y="75"/>
                  </a:lnTo>
                  <a:lnTo>
                    <a:pt x="23" y="77"/>
                  </a:lnTo>
                  <a:lnTo>
                    <a:pt x="23" y="75"/>
                  </a:lnTo>
                  <a:lnTo>
                    <a:pt x="21" y="75"/>
                  </a:lnTo>
                  <a:lnTo>
                    <a:pt x="23" y="75"/>
                  </a:lnTo>
                  <a:lnTo>
                    <a:pt x="23" y="77"/>
                  </a:lnTo>
                  <a:lnTo>
                    <a:pt x="21" y="77"/>
                  </a:lnTo>
                  <a:lnTo>
                    <a:pt x="19" y="77"/>
                  </a:lnTo>
                  <a:lnTo>
                    <a:pt x="19" y="79"/>
                  </a:lnTo>
                  <a:lnTo>
                    <a:pt x="19" y="77"/>
                  </a:lnTo>
                  <a:lnTo>
                    <a:pt x="19" y="79"/>
                  </a:lnTo>
                  <a:close/>
                  <a:moveTo>
                    <a:pt x="62" y="44"/>
                  </a:moveTo>
                  <a:lnTo>
                    <a:pt x="63" y="44"/>
                  </a:lnTo>
                  <a:lnTo>
                    <a:pt x="63" y="46"/>
                  </a:lnTo>
                  <a:lnTo>
                    <a:pt x="65" y="46"/>
                  </a:lnTo>
                  <a:lnTo>
                    <a:pt x="67" y="46"/>
                  </a:lnTo>
                  <a:lnTo>
                    <a:pt x="65" y="46"/>
                  </a:lnTo>
                  <a:lnTo>
                    <a:pt x="67" y="46"/>
                  </a:lnTo>
                  <a:lnTo>
                    <a:pt x="65" y="46"/>
                  </a:lnTo>
                  <a:lnTo>
                    <a:pt x="65" y="48"/>
                  </a:lnTo>
                  <a:lnTo>
                    <a:pt x="65" y="50"/>
                  </a:lnTo>
                  <a:lnTo>
                    <a:pt x="65" y="52"/>
                  </a:lnTo>
                  <a:lnTo>
                    <a:pt x="65" y="54"/>
                  </a:lnTo>
                  <a:lnTo>
                    <a:pt x="65" y="55"/>
                  </a:lnTo>
                  <a:lnTo>
                    <a:pt x="67" y="55"/>
                  </a:lnTo>
                  <a:lnTo>
                    <a:pt x="65" y="55"/>
                  </a:lnTo>
                  <a:lnTo>
                    <a:pt x="67" y="55"/>
                  </a:lnTo>
                  <a:lnTo>
                    <a:pt x="65" y="55"/>
                  </a:lnTo>
                  <a:lnTo>
                    <a:pt x="65" y="57"/>
                  </a:lnTo>
                  <a:lnTo>
                    <a:pt x="65" y="55"/>
                  </a:lnTo>
                  <a:lnTo>
                    <a:pt x="65" y="57"/>
                  </a:lnTo>
                  <a:lnTo>
                    <a:pt x="65" y="55"/>
                  </a:lnTo>
                  <a:lnTo>
                    <a:pt x="65" y="57"/>
                  </a:lnTo>
                  <a:lnTo>
                    <a:pt x="65" y="55"/>
                  </a:lnTo>
                  <a:lnTo>
                    <a:pt x="65" y="57"/>
                  </a:lnTo>
                  <a:lnTo>
                    <a:pt x="63" y="57"/>
                  </a:lnTo>
                  <a:lnTo>
                    <a:pt x="62" y="57"/>
                  </a:lnTo>
                  <a:lnTo>
                    <a:pt x="63" y="57"/>
                  </a:lnTo>
                  <a:lnTo>
                    <a:pt x="62" y="57"/>
                  </a:lnTo>
                  <a:lnTo>
                    <a:pt x="62" y="59"/>
                  </a:lnTo>
                  <a:lnTo>
                    <a:pt x="60" y="59"/>
                  </a:lnTo>
                  <a:lnTo>
                    <a:pt x="60" y="61"/>
                  </a:lnTo>
                  <a:lnTo>
                    <a:pt x="60" y="59"/>
                  </a:lnTo>
                  <a:lnTo>
                    <a:pt x="62" y="59"/>
                  </a:lnTo>
                  <a:lnTo>
                    <a:pt x="60" y="59"/>
                  </a:lnTo>
                  <a:lnTo>
                    <a:pt x="62" y="59"/>
                  </a:lnTo>
                  <a:lnTo>
                    <a:pt x="60" y="59"/>
                  </a:lnTo>
                  <a:lnTo>
                    <a:pt x="62" y="59"/>
                  </a:lnTo>
                  <a:lnTo>
                    <a:pt x="60" y="59"/>
                  </a:lnTo>
                  <a:lnTo>
                    <a:pt x="62" y="59"/>
                  </a:lnTo>
                  <a:lnTo>
                    <a:pt x="60" y="59"/>
                  </a:lnTo>
                  <a:lnTo>
                    <a:pt x="62" y="59"/>
                  </a:lnTo>
                  <a:lnTo>
                    <a:pt x="60" y="59"/>
                  </a:lnTo>
                  <a:lnTo>
                    <a:pt x="60" y="61"/>
                  </a:lnTo>
                  <a:lnTo>
                    <a:pt x="60" y="63"/>
                  </a:lnTo>
                  <a:lnTo>
                    <a:pt x="62" y="63"/>
                  </a:lnTo>
                  <a:lnTo>
                    <a:pt x="63" y="63"/>
                  </a:lnTo>
                  <a:lnTo>
                    <a:pt x="63" y="65"/>
                  </a:lnTo>
                  <a:lnTo>
                    <a:pt x="63" y="67"/>
                  </a:lnTo>
                  <a:lnTo>
                    <a:pt x="62" y="67"/>
                  </a:lnTo>
                  <a:lnTo>
                    <a:pt x="60" y="67"/>
                  </a:lnTo>
                  <a:lnTo>
                    <a:pt x="60" y="69"/>
                  </a:lnTo>
                  <a:lnTo>
                    <a:pt x="60" y="67"/>
                  </a:lnTo>
                  <a:lnTo>
                    <a:pt x="60" y="69"/>
                  </a:lnTo>
                  <a:lnTo>
                    <a:pt x="60" y="67"/>
                  </a:lnTo>
                  <a:lnTo>
                    <a:pt x="60" y="69"/>
                  </a:lnTo>
                  <a:lnTo>
                    <a:pt x="60" y="67"/>
                  </a:lnTo>
                  <a:lnTo>
                    <a:pt x="60" y="69"/>
                  </a:lnTo>
                  <a:lnTo>
                    <a:pt x="60" y="67"/>
                  </a:lnTo>
                  <a:lnTo>
                    <a:pt x="60" y="69"/>
                  </a:lnTo>
                  <a:lnTo>
                    <a:pt x="60" y="71"/>
                  </a:lnTo>
                  <a:lnTo>
                    <a:pt x="58" y="71"/>
                  </a:lnTo>
                  <a:lnTo>
                    <a:pt x="58" y="69"/>
                  </a:lnTo>
                  <a:lnTo>
                    <a:pt x="60" y="69"/>
                  </a:lnTo>
                  <a:lnTo>
                    <a:pt x="58" y="69"/>
                  </a:lnTo>
                  <a:lnTo>
                    <a:pt x="58" y="71"/>
                  </a:lnTo>
                  <a:lnTo>
                    <a:pt x="60" y="71"/>
                  </a:lnTo>
                  <a:lnTo>
                    <a:pt x="58" y="71"/>
                  </a:lnTo>
                  <a:lnTo>
                    <a:pt x="60" y="71"/>
                  </a:lnTo>
                  <a:lnTo>
                    <a:pt x="60" y="73"/>
                  </a:lnTo>
                  <a:lnTo>
                    <a:pt x="60" y="75"/>
                  </a:lnTo>
                  <a:lnTo>
                    <a:pt x="58" y="75"/>
                  </a:lnTo>
                  <a:lnTo>
                    <a:pt x="58" y="73"/>
                  </a:lnTo>
                  <a:lnTo>
                    <a:pt x="56" y="73"/>
                  </a:lnTo>
                  <a:lnTo>
                    <a:pt x="54" y="73"/>
                  </a:lnTo>
                  <a:lnTo>
                    <a:pt x="54" y="71"/>
                  </a:lnTo>
                  <a:lnTo>
                    <a:pt x="52" y="71"/>
                  </a:lnTo>
                  <a:lnTo>
                    <a:pt x="54" y="71"/>
                  </a:lnTo>
                  <a:lnTo>
                    <a:pt x="54" y="73"/>
                  </a:lnTo>
                  <a:lnTo>
                    <a:pt x="56" y="73"/>
                  </a:lnTo>
                  <a:lnTo>
                    <a:pt x="54" y="73"/>
                  </a:lnTo>
                  <a:lnTo>
                    <a:pt x="54" y="71"/>
                  </a:lnTo>
                  <a:lnTo>
                    <a:pt x="54" y="69"/>
                  </a:lnTo>
                  <a:lnTo>
                    <a:pt x="52" y="69"/>
                  </a:lnTo>
                  <a:lnTo>
                    <a:pt x="50" y="69"/>
                  </a:lnTo>
                  <a:lnTo>
                    <a:pt x="50" y="67"/>
                  </a:lnTo>
                  <a:lnTo>
                    <a:pt x="50" y="69"/>
                  </a:lnTo>
                  <a:lnTo>
                    <a:pt x="50" y="67"/>
                  </a:lnTo>
                  <a:lnTo>
                    <a:pt x="48" y="67"/>
                  </a:lnTo>
                  <a:lnTo>
                    <a:pt x="48" y="69"/>
                  </a:lnTo>
                  <a:lnTo>
                    <a:pt x="50" y="69"/>
                  </a:lnTo>
                  <a:lnTo>
                    <a:pt x="48" y="69"/>
                  </a:lnTo>
                  <a:lnTo>
                    <a:pt x="50" y="69"/>
                  </a:lnTo>
                  <a:lnTo>
                    <a:pt x="48" y="69"/>
                  </a:lnTo>
                  <a:lnTo>
                    <a:pt x="46" y="69"/>
                  </a:lnTo>
                  <a:lnTo>
                    <a:pt x="46" y="67"/>
                  </a:lnTo>
                  <a:lnTo>
                    <a:pt x="48" y="67"/>
                  </a:lnTo>
                  <a:lnTo>
                    <a:pt x="46" y="67"/>
                  </a:lnTo>
                  <a:lnTo>
                    <a:pt x="46" y="65"/>
                  </a:lnTo>
                  <a:lnTo>
                    <a:pt x="44" y="65"/>
                  </a:lnTo>
                  <a:lnTo>
                    <a:pt x="46" y="65"/>
                  </a:lnTo>
                  <a:lnTo>
                    <a:pt x="44" y="65"/>
                  </a:lnTo>
                  <a:lnTo>
                    <a:pt x="44" y="63"/>
                  </a:lnTo>
                  <a:lnTo>
                    <a:pt x="46" y="63"/>
                  </a:lnTo>
                  <a:lnTo>
                    <a:pt x="46" y="61"/>
                  </a:lnTo>
                  <a:lnTo>
                    <a:pt x="44" y="61"/>
                  </a:lnTo>
                  <a:lnTo>
                    <a:pt x="44" y="59"/>
                  </a:lnTo>
                  <a:lnTo>
                    <a:pt x="44" y="61"/>
                  </a:lnTo>
                  <a:lnTo>
                    <a:pt x="44" y="59"/>
                  </a:lnTo>
                  <a:lnTo>
                    <a:pt x="44" y="57"/>
                  </a:lnTo>
                  <a:lnTo>
                    <a:pt x="42" y="57"/>
                  </a:lnTo>
                  <a:lnTo>
                    <a:pt x="42" y="55"/>
                  </a:lnTo>
                  <a:lnTo>
                    <a:pt x="44" y="55"/>
                  </a:lnTo>
                  <a:lnTo>
                    <a:pt x="42" y="55"/>
                  </a:lnTo>
                  <a:lnTo>
                    <a:pt x="40" y="55"/>
                  </a:lnTo>
                  <a:lnTo>
                    <a:pt x="40" y="54"/>
                  </a:lnTo>
                  <a:lnTo>
                    <a:pt x="42" y="54"/>
                  </a:lnTo>
                  <a:lnTo>
                    <a:pt x="42" y="55"/>
                  </a:lnTo>
                  <a:lnTo>
                    <a:pt x="44" y="55"/>
                  </a:lnTo>
                  <a:lnTo>
                    <a:pt x="44" y="54"/>
                  </a:lnTo>
                  <a:lnTo>
                    <a:pt x="46" y="54"/>
                  </a:lnTo>
                  <a:lnTo>
                    <a:pt x="46" y="55"/>
                  </a:lnTo>
                  <a:lnTo>
                    <a:pt x="46" y="54"/>
                  </a:lnTo>
                  <a:lnTo>
                    <a:pt x="46" y="55"/>
                  </a:lnTo>
                  <a:lnTo>
                    <a:pt x="46" y="54"/>
                  </a:lnTo>
                  <a:lnTo>
                    <a:pt x="48" y="54"/>
                  </a:lnTo>
                  <a:lnTo>
                    <a:pt x="46" y="54"/>
                  </a:lnTo>
                  <a:lnTo>
                    <a:pt x="48" y="54"/>
                  </a:lnTo>
                  <a:lnTo>
                    <a:pt x="48" y="52"/>
                  </a:lnTo>
                  <a:lnTo>
                    <a:pt x="50" y="52"/>
                  </a:lnTo>
                  <a:lnTo>
                    <a:pt x="50" y="50"/>
                  </a:lnTo>
                  <a:lnTo>
                    <a:pt x="50" y="52"/>
                  </a:lnTo>
                  <a:lnTo>
                    <a:pt x="50" y="50"/>
                  </a:lnTo>
                  <a:lnTo>
                    <a:pt x="48" y="50"/>
                  </a:lnTo>
                  <a:lnTo>
                    <a:pt x="48" y="48"/>
                  </a:lnTo>
                  <a:lnTo>
                    <a:pt x="46" y="48"/>
                  </a:lnTo>
                  <a:lnTo>
                    <a:pt x="48" y="48"/>
                  </a:lnTo>
                  <a:lnTo>
                    <a:pt x="50" y="48"/>
                  </a:lnTo>
                  <a:lnTo>
                    <a:pt x="50" y="50"/>
                  </a:lnTo>
                  <a:lnTo>
                    <a:pt x="50" y="48"/>
                  </a:lnTo>
                  <a:lnTo>
                    <a:pt x="52" y="48"/>
                  </a:lnTo>
                  <a:lnTo>
                    <a:pt x="52" y="50"/>
                  </a:lnTo>
                  <a:lnTo>
                    <a:pt x="54" y="50"/>
                  </a:lnTo>
                  <a:lnTo>
                    <a:pt x="54" y="48"/>
                  </a:lnTo>
                  <a:lnTo>
                    <a:pt x="54" y="50"/>
                  </a:lnTo>
                  <a:lnTo>
                    <a:pt x="52" y="50"/>
                  </a:lnTo>
                  <a:lnTo>
                    <a:pt x="52" y="52"/>
                  </a:lnTo>
                  <a:lnTo>
                    <a:pt x="54" y="52"/>
                  </a:lnTo>
                  <a:lnTo>
                    <a:pt x="54" y="54"/>
                  </a:lnTo>
                  <a:lnTo>
                    <a:pt x="54" y="52"/>
                  </a:lnTo>
                  <a:lnTo>
                    <a:pt x="52" y="52"/>
                  </a:lnTo>
                  <a:lnTo>
                    <a:pt x="52" y="54"/>
                  </a:lnTo>
                  <a:lnTo>
                    <a:pt x="54" y="54"/>
                  </a:lnTo>
                  <a:lnTo>
                    <a:pt x="54" y="55"/>
                  </a:lnTo>
                  <a:lnTo>
                    <a:pt x="54" y="54"/>
                  </a:lnTo>
                  <a:lnTo>
                    <a:pt x="52" y="54"/>
                  </a:lnTo>
                  <a:lnTo>
                    <a:pt x="52" y="55"/>
                  </a:lnTo>
                  <a:lnTo>
                    <a:pt x="52" y="54"/>
                  </a:lnTo>
                  <a:lnTo>
                    <a:pt x="52" y="55"/>
                  </a:lnTo>
                  <a:lnTo>
                    <a:pt x="54" y="55"/>
                  </a:lnTo>
                  <a:lnTo>
                    <a:pt x="54" y="57"/>
                  </a:lnTo>
                  <a:lnTo>
                    <a:pt x="54" y="55"/>
                  </a:lnTo>
                  <a:lnTo>
                    <a:pt x="54" y="57"/>
                  </a:lnTo>
                  <a:lnTo>
                    <a:pt x="54" y="55"/>
                  </a:lnTo>
                  <a:lnTo>
                    <a:pt x="56" y="55"/>
                  </a:lnTo>
                  <a:lnTo>
                    <a:pt x="56" y="54"/>
                  </a:lnTo>
                  <a:lnTo>
                    <a:pt x="56" y="52"/>
                  </a:lnTo>
                  <a:lnTo>
                    <a:pt x="58" y="52"/>
                  </a:lnTo>
                  <a:lnTo>
                    <a:pt x="56" y="52"/>
                  </a:lnTo>
                  <a:lnTo>
                    <a:pt x="58" y="52"/>
                  </a:lnTo>
                  <a:lnTo>
                    <a:pt x="56" y="52"/>
                  </a:lnTo>
                  <a:lnTo>
                    <a:pt x="58" y="52"/>
                  </a:lnTo>
                  <a:lnTo>
                    <a:pt x="56" y="52"/>
                  </a:lnTo>
                  <a:lnTo>
                    <a:pt x="56" y="50"/>
                  </a:lnTo>
                  <a:lnTo>
                    <a:pt x="58" y="50"/>
                  </a:lnTo>
                  <a:lnTo>
                    <a:pt x="58" y="52"/>
                  </a:lnTo>
                  <a:lnTo>
                    <a:pt x="58" y="54"/>
                  </a:lnTo>
                  <a:lnTo>
                    <a:pt x="58" y="55"/>
                  </a:lnTo>
                  <a:lnTo>
                    <a:pt x="58" y="54"/>
                  </a:lnTo>
                  <a:lnTo>
                    <a:pt x="58" y="55"/>
                  </a:lnTo>
                  <a:lnTo>
                    <a:pt x="58" y="54"/>
                  </a:lnTo>
                  <a:lnTo>
                    <a:pt x="58" y="55"/>
                  </a:lnTo>
                  <a:lnTo>
                    <a:pt x="56" y="55"/>
                  </a:lnTo>
                  <a:lnTo>
                    <a:pt x="58" y="55"/>
                  </a:lnTo>
                  <a:lnTo>
                    <a:pt x="56" y="55"/>
                  </a:lnTo>
                  <a:lnTo>
                    <a:pt x="56" y="57"/>
                  </a:lnTo>
                  <a:lnTo>
                    <a:pt x="56" y="55"/>
                  </a:lnTo>
                  <a:lnTo>
                    <a:pt x="58" y="55"/>
                  </a:lnTo>
                  <a:lnTo>
                    <a:pt x="58" y="57"/>
                  </a:lnTo>
                  <a:lnTo>
                    <a:pt x="58" y="55"/>
                  </a:lnTo>
                  <a:lnTo>
                    <a:pt x="60" y="55"/>
                  </a:lnTo>
                  <a:lnTo>
                    <a:pt x="58" y="55"/>
                  </a:lnTo>
                  <a:lnTo>
                    <a:pt x="60" y="55"/>
                  </a:lnTo>
                  <a:lnTo>
                    <a:pt x="58" y="55"/>
                  </a:lnTo>
                  <a:lnTo>
                    <a:pt x="60" y="55"/>
                  </a:lnTo>
                  <a:lnTo>
                    <a:pt x="58" y="55"/>
                  </a:lnTo>
                  <a:lnTo>
                    <a:pt x="60" y="55"/>
                  </a:lnTo>
                  <a:lnTo>
                    <a:pt x="60" y="54"/>
                  </a:lnTo>
                  <a:lnTo>
                    <a:pt x="58" y="54"/>
                  </a:lnTo>
                  <a:lnTo>
                    <a:pt x="60" y="54"/>
                  </a:lnTo>
                  <a:lnTo>
                    <a:pt x="58" y="54"/>
                  </a:lnTo>
                  <a:lnTo>
                    <a:pt x="60" y="54"/>
                  </a:lnTo>
                  <a:lnTo>
                    <a:pt x="58" y="54"/>
                  </a:lnTo>
                  <a:lnTo>
                    <a:pt x="60" y="54"/>
                  </a:lnTo>
                  <a:lnTo>
                    <a:pt x="58" y="54"/>
                  </a:lnTo>
                  <a:lnTo>
                    <a:pt x="58" y="52"/>
                  </a:lnTo>
                  <a:lnTo>
                    <a:pt x="58" y="50"/>
                  </a:lnTo>
                  <a:lnTo>
                    <a:pt x="58" y="48"/>
                  </a:lnTo>
                  <a:lnTo>
                    <a:pt x="56" y="48"/>
                  </a:lnTo>
                  <a:lnTo>
                    <a:pt x="56" y="50"/>
                  </a:lnTo>
                  <a:lnTo>
                    <a:pt x="56" y="48"/>
                  </a:lnTo>
                  <a:lnTo>
                    <a:pt x="58" y="48"/>
                  </a:lnTo>
                  <a:lnTo>
                    <a:pt x="58" y="46"/>
                  </a:lnTo>
                  <a:lnTo>
                    <a:pt x="60" y="46"/>
                  </a:lnTo>
                  <a:lnTo>
                    <a:pt x="60" y="44"/>
                  </a:lnTo>
                  <a:lnTo>
                    <a:pt x="62" y="44"/>
                  </a:lnTo>
                  <a:close/>
                  <a:moveTo>
                    <a:pt x="37" y="0"/>
                  </a:moveTo>
                  <a:lnTo>
                    <a:pt x="37" y="2"/>
                  </a:lnTo>
                  <a:lnTo>
                    <a:pt x="39" y="2"/>
                  </a:lnTo>
                  <a:lnTo>
                    <a:pt x="37" y="2"/>
                  </a:lnTo>
                  <a:lnTo>
                    <a:pt x="35" y="2"/>
                  </a:lnTo>
                  <a:lnTo>
                    <a:pt x="35" y="4"/>
                  </a:lnTo>
                  <a:lnTo>
                    <a:pt x="35" y="6"/>
                  </a:lnTo>
                  <a:lnTo>
                    <a:pt x="35" y="7"/>
                  </a:lnTo>
                  <a:lnTo>
                    <a:pt x="37" y="7"/>
                  </a:lnTo>
                  <a:lnTo>
                    <a:pt x="37" y="9"/>
                  </a:lnTo>
                  <a:lnTo>
                    <a:pt x="37" y="11"/>
                  </a:lnTo>
                  <a:lnTo>
                    <a:pt x="37" y="13"/>
                  </a:lnTo>
                  <a:lnTo>
                    <a:pt x="37" y="15"/>
                  </a:lnTo>
                  <a:lnTo>
                    <a:pt x="35" y="15"/>
                  </a:lnTo>
                  <a:lnTo>
                    <a:pt x="35" y="17"/>
                  </a:lnTo>
                  <a:lnTo>
                    <a:pt x="35" y="19"/>
                  </a:lnTo>
                  <a:lnTo>
                    <a:pt x="35" y="17"/>
                  </a:lnTo>
                  <a:lnTo>
                    <a:pt x="35" y="19"/>
                  </a:lnTo>
                  <a:lnTo>
                    <a:pt x="35" y="17"/>
                  </a:lnTo>
                  <a:lnTo>
                    <a:pt x="35" y="19"/>
                  </a:lnTo>
                  <a:lnTo>
                    <a:pt x="33" y="19"/>
                  </a:lnTo>
                  <a:lnTo>
                    <a:pt x="35" y="19"/>
                  </a:lnTo>
                  <a:lnTo>
                    <a:pt x="33" y="19"/>
                  </a:lnTo>
                  <a:lnTo>
                    <a:pt x="35" y="19"/>
                  </a:lnTo>
                  <a:lnTo>
                    <a:pt x="33" y="19"/>
                  </a:lnTo>
                  <a:lnTo>
                    <a:pt x="35" y="19"/>
                  </a:lnTo>
                  <a:lnTo>
                    <a:pt x="33" y="19"/>
                  </a:lnTo>
                  <a:lnTo>
                    <a:pt x="33" y="21"/>
                  </a:lnTo>
                  <a:lnTo>
                    <a:pt x="31" y="21"/>
                  </a:lnTo>
                  <a:lnTo>
                    <a:pt x="29" y="19"/>
                  </a:lnTo>
                  <a:lnTo>
                    <a:pt x="27" y="19"/>
                  </a:lnTo>
                  <a:lnTo>
                    <a:pt x="25" y="19"/>
                  </a:lnTo>
                  <a:lnTo>
                    <a:pt x="23" y="19"/>
                  </a:lnTo>
                  <a:lnTo>
                    <a:pt x="21" y="19"/>
                  </a:lnTo>
                  <a:lnTo>
                    <a:pt x="21" y="21"/>
                  </a:lnTo>
                  <a:lnTo>
                    <a:pt x="21" y="19"/>
                  </a:lnTo>
                  <a:lnTo>
                    <a:pt x="21" y="21"/>
                  </a:lnTo>
                  <a:lnTo>
                    <a:pt x="21" y="19"/>
                  </a:lnTo>
                  <a:lnTo>
                    <a:pt x="21" y="21"/>
                  </a:lnTo>
                  <a:lnTo>
                    <a:pt x="19" y="21"/>
                  </a:lnTo>
                  <a:lnTo>
                    <a:pt x="17" y="21"/>
                  </a:lnTo>
                  <a:lnTo>
                    <a:pt x="16" y="21"/>
                  </a:lnTo>
                  <a:lnTo>
                    <a:pt x="14" y="21"/>
                  </a:lnTo>
                  <a:lnTo>
                    <a:pt x="12" y="21"/>
                  </a:lnTo>
                  <a:lnTo>
                    <a:pt x="12" y="23"/>
                  </a:lnTo>
                  <a:lnTo>
                    <a:pt x="12" y="21"/>
                  </a:lnTo>
                  <a:lnTo>
                    <a:pt x="12" y="23"/>
                  </a:lnTo>
                  <a:lnTo>
                    <a:pt x="10" y="23"/>
                  </a:lnTo>
                  <a:lnTo>
                    <a:pt x="8" y="23"/>
                  </a:lnTo>
                  <a:lnTo>
                    <a:pt x="8" y="25"/>
                  </a:lnTo>
                  <a:lnTo>
                    <a:pt x="8" y="27"/>
                  </a:lnTo>
                  <a:lnTo>
                    <a:pt x="6" y="27"/>
                  </a:lnTo>
                  <a:lnTo>
                    <a:pt x="6" y="29"/>
                  </a:lnTo>
                  <a:lnTo>
                    <a:pt x="6" y="31"/>
                  </a:lnTo>
                  <a:lnTo>
                    <a:pt x="6" y="29"/>
                  </a:lnTo>
                  <a:lnTo>
                    <a:pt x="6" y="31"/>
                  </a:lnTo>
                  <a:lnTo>
                    <a:pt x="6" y="29"/>
                  </a:lnTo>
                  <a:lnTo>
                    <a:pt x="4" y="29"/>
                  </a:lnTo>
                  <a:lnTo>
                    <a:pt x="4" y="31"/>
                  </a:lnTo>
                  <a:lnTo>
                    <a:pt x="6" y="31"/>
                  </a:lnTo>
                  <a:lnTo>
                    <a:pt x="6" y="29"/>
                  </a:lnTo>
                  <a:lnTo>
                    <a:pt x="6" y="31"/>
                  </a:lnTo>
                  <a:lnTo>
                    <a:pt x="6" y="29"/>
                  </a:lnTo>
                  <a:lnTo>
                    <a:pt x="6" y="31"/>
                  </a:lnTo>
                  <a:lnTo>
                    <a:pt x="6" y="29"/>
                  </a:lnTo>
                  <a:lnTo>
                    <a:pt x="6" y="31"/>
                  </a:lnTo>
                  <a:lnTo>
                    <a:pt x="6" y="29"/>
                  </a:lnTo>
                  <a:lnTo>
                    <a:pt x="8" y="29"/>
                  </a:lnTo>
                  <a:lnTo>
                    <a:pt x="8" y="31"/>
                  </a:lnTo>
                  <a:lnTo>
                    <a:pt x="8" y="29"/>
                  </a:lnTo>
                  <a:lnTo>
                    <a:pt x="8" y="31"/>
                  </a:lnTo>
                  <a:lnTo>
                    <a:pt x="8" y="32"/>
                  </a:lnTo>
                  <a:lnTo>
                    <a:pt x="6" y="32"/>
                  </a:lnTo>
                  <a:lnTo>
                    <a:pt x="8" y="32"/>
                  </a:lnTo>
                  <a:lnTo>
                    <a:pt x="6" y="32"/>
                  </a:lnTo>
                  <a:lnTo>
                    <a:pt x="6" y="31"/>
                  </a:lnTo>
                  <a:lnTo>
                    <a:pt x="4" y="31"/>
                  </a:lnTo>
                  <a:lnTo>
                    <a:pt x="4" y="29"/>
                  </a:lnTo>
                  <a:lnTo>
                    <a:pt x="4" y="27"/>
                  </a:lnTo>
                  <a:lnTo>
                    <a:pt x="2" y="27"/>
                  </a:lnTo>
                  <a:lnTo>
                    <a:pt x="2" y="29"/>
                  </a:lnTo>
                  <a:lnTo>
                    <a:pt x="2" y="27"/>
                  </a:lnTo>
                  <a:lnTo>
                    <a:pt x="2" y="25"/>
                  </a:lnTo>
                  <a:lnTo>
                    <a:pt x="4" y="25"/>
                  </a:lnTo>
                  <a:lnTo>
                    <a:pt x="4" y="23"/>
                  </a:lnTo>
                  <a:lnTo>
                    <a:pt x="4" y="21"/>
                  </a:lnTo>
                  <a:lnTo>
                    <a:pt x="6" y="21"/>
                  </a:lnTo>
                  <a:lnTo>
                    <a:pt x="6" y="19"/>
                  </a:lnTo>
                  <a:lnTo>
                    <a:pt x="8" y="19"/>
                  </a:lnTo>
                  <a:lnTo>
                    <a:pt x="8" y="17"/>
                  </a:lnTo>
                  <a:lnTo>
                    <a:pt x="10" y="17"/>
                  </a:lnTo>
                  <a:lnTo>
                    <a:pt x="10" y="19"/>
                  </a:lnTo>
                  <a:lnTo>
                    <a:pt x="12" y="19"/>
                  </a:lnTo>
                  <a:lnTo>
                    <a:pt x="12" y="17"/>
                  </a:lnTo>
                  <a:lnTo>
                    <a:pt x="14" y="17"/>
                  </a:lnTo>
                  <a:lnTo>
                    <a:pt x="16" y="17"/>
                  </a:lnTo>
                  <a:lnTo>
                    <a:pt x="17" y="17"/>
                  </a:lnTo>
                  <a:lnTo>
                    <a:pt x="19" y="17"/>
                  </a:lnTo>
                  <a:lnTo>
                    <a:pt x="19" y="15"/>
                  </a:lnTo>
                  <a:lnTo>
                    <a:pt x="21" y="15"/>
                  </a:lnTo>
                  <a:lnTo>
                    <a:pt x="21" y="13"/>
                  </a:lnTo>
                  <a:lnTo>
                    <a:pt x="23" y="13"/>
                  </a:lnTo>
                  <a:lnTo>
                    <a:pt x="23" y="11"/>
                  </a:lnTo>
                  <a:lnTo>
                    <a:pt x="25" y="11"/>
                  </a:lnTo>
                  <a:lnTo>
                    <a:pt x="25" y="9"/>
                  </a:lnTo>
                  <a:lnTo>
                    <a:pt x="25" y="7"/>
                  </a:lnTo>
                  <a:lnTo>
                    <a:pt x="27" y="7"/>
                  </a:lnTo>
                  <a:lnTo>
                    <a:pt x="27" y="6"/>
                  </a:lnTo>
                  <a:lnTo>
                    <a:pt x="29" y="6"/>
                  </a:lnTo>
                  <a:lnTo>
                    <a:pt x="31" y="6"/>
                  </a:lnTo>
                  <a:lnTo>
                    <a:pt x="31" y="4"/>
                  </a:lnTo>
                  <a:lnTo>
                    <a:pt x="33" y="4"/>
                  </a:lnTo>
                  <a:lnTo>
                    <a:pt x="35" y="4"/>
                  </a:lnTo>
                  <a:lnTo>
                    <a:pt x="35" y="2"/>
                  </a:lnTo>
                  <a:lnTo>
                    <a:pt x="37" y="2"/>
                  </a:lnTo>
                  <a:lnTo>
                    <a:pt x="37" y="0"/>
                  </a:lnTo>
                  <a:close/>
                  <a:moveTo>
                    <a:pt x="33" y="57"/>
                  </a:moveTo>
                  <a:lnTo>
                    <a:pt x="35" y="57"/>
                  </a:lnTo>
                  <a:lnTo>
                    <a:pt x="35" y="59"/>
                  </a:lnTo>
                  <a:lnTo>
                    <a:pt x="37" y="59"/>
                  </a:lnTo>
                  <a:lnTo>
                    <a:pt x="35" y="59"/>
                  </a:lnTo>
                  <a:lnTo>
                    <a:pt x="35" y="61"/>
                  </a:lnTo>
                  <a:lnTo>
                    <a:pt x="35" y="63"/>
                  </a:lnTo>
                  <a:lnTo>
                    <a:pt x="33" y="63"/>
                  </a:lnTo>
                  <a:lnTo>
                    <a:pt x="35" y="63"/>
                  </a:lnTo>
                  <a:lnTo>
                    <a:pt x="33" y="63"/>
                  </a:lnTo>
                  <a:lnTo>
                    <a:pt x="35" y="63"/>
                  </a:lnTo>
                  <a:lnTo>
                    <a:pt x="33" y="63"/>
                  </a:lnTo>
                  <a:lnTo>
                    <a:pt x="35" y="63"/>
                  </a:lnTo>
                  <a:lnTo>
                    <a:pt x="33" y="63"/>
                  </a:lnTo>
                  <a:lnTo>
                    <a:pt x="35" y="63"/>
                  </a:lnTo>
                  <a:lnTo>
                    <a:pt x="35" y="61"/>
                  </a:lnTo>
                  <a:lnTo>
                    <a:pt x="35" y="63"/>
                  </a:lnTo>
                  <a:lnTo>
                    <a:pt x="35" y="61"/>
                  </a:lnTo>
                  <a:lnTo>
                    <a:pt x="35" y="63"/>
                  </a:lnTo>
                  <a:lnTo>
                    <a:pt x="35" y="61"/>
                  </a:lnTo>
                  <a:lnTo>
                    <a:pt x="37" y="61"/>
                  </a:lnTo>
                  <a:lnTo>
                    <a:pt x="37" y="59"/>
                  </a:lnTo>
                  <a:lnTo>
                    <a:pt x="37" y="57"/>
                  </a:lnTo>
                  <a:lnTo>
                    <a:pt x="37" y="59"/>
                  </a:lnTo>
                  <a:lnTo>
                    <a:pt x="37" y="57"/>
                  </a:lnTo>
                  <a:lnTo>
                    <a:pt x="39" y="57"/>
                  </a:lnTo>
                  <a:lnTo>
                    <a:pt x="39" y="59"/>
                  </a:lnTo>
                  <a:lnTo>
                    <a:pt x="39" y="61"/>
                  </a:lnTo>
                  <a:lnTo>
                    <a:pt x="37" y="61"/>
                  </a:lnTo>
                  <a:lnTo>
                    <a:pt x="37" y="63"/>
                  </a:lnTo>
                  <a:lnTo>
                    <a:pt x="37" y="61"/>
                  </a:lnTo>
                  <a:lnTo>
                    <a:pt x="39" y="61"/>
                  </a:lnTo>
                  <a:lnTo>
                    <a:pt x="39" y="63"/>
                  </a:lnTo>
                  <a:lnTo>
                    <a:pt x="40" y="63"/>
                  </a:lnTo>
                  <a:lnTo>
                    <a:pt x="40" y="65"/>
                  </a:lnTo>
                  <a:lnTo>
                    <a:pt x="40" y="67"/>
                  </a:lnTo>
                  <a:lnTo>
                    <a:pt x="40" y="65"/>
                  </a:lnTo>
                  <a:lnTo>
                    <a:pt x="40" y="67"/>
                  </a:lnTo>
                  <a:lnTo>
                    <a:pt x="40" y="65"/>
                  </a:lnTo>
                  <a:lnTo>
                    <a:pt x="39" y="65"/>
                  </a:lnTo>
                  <a:lnTo>
                    <a:pt x="40" y="65"/>
                  </a:lnTo>
                  <a:lnTo>
                    <a:pt x="40" y="67"/>
                  </a:lnTo>
                  <a:lnTo>
                    <a:pt x="40" y="69"/>
                  </a:lnTo>
                  <a:lnTo>
                    <a:pt x="40" y="71"/>
                  </a:lnTo>
                  <a:lnTo>
                    <a:pt x="40" y="69"/>
                  </a:lnTo>
                  <a:lnTo>
                    <a:pt x="40" y="71"/>
                  </a:lnTo>
                  <a:lnTo>
                    <a:pt x="39" y="71"/>
                  </a:lnTo>
                  <a:lnTo>
                    <a:pt x="40" y="71"/>
                  </a:lnTo>
                  <a:lnTo>
                    <a:pt x="39" y="71"/>
                  </a:lnTo>
                  <a:lnTo>
                    <a:pt x="39" y="73"/>
                  </a:lnTo>
                  <a:lnTo>
                    <a:pt x="39" y="71"/>
                  </a:lnTo>
                  <a:lnTo>
                    <a:pt x="39" y="73"/>
                  </a:lnTo>
                  <a:lnTo>
                    <a:pt x="39" y="71"/>
                  </a:lnTo>
                  <a:lnTo>
                    <a:pt x="39" y="73"/>
                  </a:lnTo>
                  <a:lnTo>
                    <a:pt x="37" y="73"/>
                  </a:lnTo>
                  <a:lnTo>
                    <a:pt x="35" y="73"/>
                  </a:lnTo>
                  <a:lnTo>
                    <a:pt x="33" y="73"/>
                  </a:lnTo>
                  <a:lnTo>
                    <a:pt x="35" y="73"/>
                  </a:lnTo>
                  <a:lnTo>
                    <a:pt x="33" y="73"/>
                  </a:lnTo>
                  <a:lnTo>
                    <a:pt x="33" y="71"/>
                  </a:lnTo>
                  <a:lnTo>
                    <a:pt x="33" y="73"/>
                  </a:lnTo>
                  <a:lnTo>
                    <a:pt x="33" y="71"/>
                  </a:lnTo>
                  <a:lnTo>
                    <a:pt x="33" y="73"/>
                  </a:lnTo>
                  <a:lnTo>
                    <a:pt x="33" y="71"/>
                  </a:lnTo>
                  <a:lnTo>
                    <a:pt x="31" y="71"/>
                  </a:lnTo>
                  <a:lnTo>
                    <a:pt x="31" y="73"/>
                  </a:lnTo>
                  <a:lnTo>
                    <a:pt x="31" y="71"/>
                  </a:lnTo>
                  <a:lnTo>
                    <a:pt x="31" y="73"/>
                  </a:lnTo>
                  <a:lnTo>
                    <a:pt x="31" y="71"/>
                  </a:lnTo>
                  <a:lnTo>
                    <a:pt x="31" y="73"/>
                  </a:lnTo>
                  <a:lnTo>
                    <a:pt x="31" y="71"/>
                  </a:lnTo>
                  <a:lnTo>
                    <a:pt x="29" y="71"/>
                  </a:lnTo>
                  <a:lnTo>
                    <a:pt x="31" y="71"/>
                  </a:lnTo>
                  <a:lnTo>
                    <a:pt x="29" y="71"/>
                  </a:lnTo>
                  <a:lnTo>
                    <a:pt x="31" y="71"/>
                  </a:lnTo>
                  <a:lnTo>
                    <a:pt x="31" y="69"/>
                  </a:lnTo>
                  <a:lnTo>
                    <a:pt x="29" y="69"/>
                  </a:lnTo>
                  <a:lnTo>
                    <a:pt x="27" y="69"/>
                  </a:lnTo>
                  <a:lnTo>
                    <a:pt x="29" y="69"/>
                  </a:lnTo>
                  <a:lnTo>
                    <a:pt x="29" y="71"/>
                  </a:lnTo>
                  <a:lnTo>
                    <a:pt x="27" y="71"/>
                  </a:lnTo>
                  <a:lnTo>
                    <a:pt x="27" y="69"/>
                  </a:lnTo>
                  <a:lnTo>
                    <a:pt x="29" y="69"/>
                  </a:lnTo>
                  <a:lnTo>
                    <a:pt x="27" y="69"/>
                  </a:lnTo>
                  <a:lnTo>
                    <a:pt x="29" y="69"/>
                  </a:lnTo>
                  <a:lnTo>
                    <a:pt x="27" y="69"/>
                  </a:lnTo>
                  <a:lnTo>
                    <a:pt x="27" y="67"/>
                  </a:lnTo>
                  <a:lnTo>
                    <a:pt x="27" y="65"/>
                  </a:lnTo>
                  <a:lnTo>
                    <a:pt x="25" y="65"/>
                  </a:lnTo>
                  <a:lnTo>
                    <a:pt x="25" y="63"/>
                  </a:lnTo>
                  <a:lnTo>
                    <a:pt x="25" y="61"/>
                  </a:lnTo>
                  <a:lnTo>
                    <a:pt x="23" y="61"/>
                  </a:lnTo>
                  <a:lnTo>
                    <a:pt x="25" y="61"/>
                  </a:lnTo>
                  <a:lnTo>
                    <a:pt x="25" y="63"/>
                  </a:lnTo>
                  <a:lnTo>
                    <a:pt x="25" y="61"/>
                  </a:lnTo>
                  <a:lnTo>
                    <a:pt x="23" y="61"/>
                  </a:lnTo>
                  <a:lnTo>
                    <a:pt x="25" y="61"/>
                  </a:lnTo>
                  <a:lnTo>
                    <a:pt x="23" y="61"/>
                  </a:lnTo>
                  <a:lnTo>
                    <a:pt x="23" y="59"/>
                  </a:lnTo>
                  <a:lnTo>
                    <a:pt x="23" y="61"/>
                  </a:lnTo>
                  <a:lnTo>
                    <a:pt x="25" y="61"/>
                  </a:lnTo>
                  <a:lnTo>
                    <a:pt x="25" y="59"/>
                  </a:lnTo>
                  <a:lnTo>
                    <a:pt x="27" y="59"/>
                  </a:lnTo>
                  <a:lnTo>
                    <a:pt x="27" y="61"/>
                  </a:lnTo>
                  <a:lnTo>
                    <a:pt x="27" y="59"/>
                  </a:lnTo>
                  <a:lnTo>
                    <a:pt x="29" y="59"/>
                  </a:lnTo>
                  <a:lnTo>
                    <a:pt x="31" y="59"/>
                  </a:lnTo>
                  <a:lnTo>
                    <a:pt x="31" y="57"/>
                  </a:lnTo>
                  <a:lnTo>
                    <a:pt x="33" y="57"/>
                  </a:lnTo>
                  <a:lnTo>
                    <a:pt x="33" y="59"/>
                  </a:lnTo>
                  <a:lnTo>
                    <a:pt x="33" y="57"/>
                  </a:lnTo>
                  <a:close/>
                  <a:moveTo>
                    <a:pt x="46" y="75"/>
                  </a:moveTo>
                  <a:lnTo>
                    <a:pt x="48" y="75"/>
                  </a:lnTo>
                  <a:lnTo>
                    <a:pt x="48" y="77"/>
                  </a:lnTo>
                  <a:lnTo>
                    <a:pt x="50" y="77"/>
                  </a:lnTo>
                  <a:lnTo>
                    <a:pt x="48" y="77"/>
                  </a:lnTo>
                  <a:lnTo>
                    <a:pt x="50" y="77"/>
                  </a:lnTo>
                  <a:lnTo>
                    <a:pt x="50" y="79"/>
                  </a:lnTo>
                  <a:lnTo>
                    <a:pt x="50" y="77"/>
                  </a:lnTo>
                  <a:lnTo>
                    <a:pt x="50" y="79"/>
                  </a:lnTo>
                  <a:lnTo>
                    <a:pt x="52" y="79"/>
                  </a:lnTo>
                  <a:lnTo>
                    <a:pt x="52" y="77"/>
                  </a:lnTo>
                  <a:lnTo>
                    <a:pt x="50" y="77"/>
                  </a:lnTo>
                  <a:lnTo>
                    <a:pt x="52" y="77"/>
                  </a:lnTo>
                  <a:lnTo>
                    <a:pt x="54" y="77"/>
                  </a:lnTo>
                  <a:lnTo>
                    <a:pt x="54" y="79"/>
                  </a:lnTo>
                  <a:lnTo>
                    <a:pt x="56" y="79"/>
                  </a:lnTo>
                  <a:lnTo>
                    <a:pt x="56" y="80"/>
                  </a:lnTo>
                  <a:lnTo>
                    <a:pt x="54" y="80"/>
                  </a:lnTo>
                  <a:lnTo>
                    <a:pt x="56" y="80"/>
                  </a:lnTo>
                  <a:lnTo>
                    <a:pt x="56" y="82"/>
                  </a:lnTo>
                  <a:lnTo>
                    <a:pt x="54" y="82"/>
                  </a:lnTo>
                  <a:lnTo>
                    <a:pt x="56" y="82"/>
                  </a:lnTo>
                  <a:lnTo>
                    <a:pt x="54" y="82"/>
                  </a:lnTo>
                  <a:lnTo>
                    <a:pt x="56" y="82"/>
                  </a:lnTo>
                  <a:lnTo>
                    <a:pt x="54" y="82"/>
                  </a:lnTo>
                  <a:lnTo>
                    <a:pt x="52" y="82"/>
                  </a:lnTo>
                  <a:lnTo>
                    <a:pt x="50" y="82"/>
                  </a:lnTo>
                  <a:lnTo>
                    <a:pt x="52" y="82"/>
                  </a:lnTo>
                  <a:lnTo>
                    <a:pt x="50" y="82"/>
                  </a:lnTo>
                  <a:lnTo>
                    <a:pt x="50" y="84"/>
                  </a:lnTo>
                  <a:lnTo>
                    <a:pt x="50" y="82"/>
                  </a:lnTo>
                  <a:lnTo>
                    <a:pt x="48" y="82"/>
                  </a:lnTo>
                  <a:lnTo>
                    <a:pt x="46" y="82"/>
                  </a:lnTo>
                  <a:lnTo>
                    <a:pt x="46" y="80"/>
                  </a:lnTo>
                  <a:lnTo>
                    <a:pt x="44" y="80"/>
                  </a:lnTo>
                  <a:lnTo>
                    <a:pt x="42" y="80"/>
                  </a:lnTo>
                  <a:lnTo>
                    <a:pt x="42" y="79"/>
                  </a:lnTo>
                  <a:lnTo>
                    <a:pt x="44" y="79"/>
                  </a:lnTo>
                  <a:lnTo>
                    <a:pt x="44" y="77"/>
                  </a:lnTo>
                  <a:lnTo>
                    <a:pt x="42" y="77"/>
                  </a:lnTo>
                  <a:lnTo>
                    <a:pt x="42" y="75"/>
                  </a:lnTo>
                  <a:lnTo>
                    <a:pt x="44" y="75"/>
                  </a:lnTo>
                  <a:lnTo>
                    <a:pt x="46" y="75"/>
                  </a:lnTo>
                  <a:lnTo>
                    <a:pt x="44" y="75"/>
                  </a:lnTo>
                  <a:lnTo>
                    <a:pt x="46" y="75"/>
                  </a:lnTo>
                  <a:close/>
                  <a:moveTo>
                    <a:pt x="98" y="65"/>
                  </a:moveTo>
                  <a:lnTo>
                    <a:pt x="98" y="67"/>
                  </a:lnTo>
                  <a:lnTo>
                    <a:pt x="100" y="67"/>
                  </a:lnTo>
                  <a:lnTo>
                    <a:pt x="100" y="69"/>
                  </a:lnTo>
                  <a:lnTo>
                    <a:pt x="100" y="67"/>
                  </a:lnTo>
                  <a:lnTo>
                    <a:pt x="100" y="69"/>
                  </a:lnTo>
                  <a:lnTo>
                    <a:pt x="102" y="69"/>
                  </a:lnTo>
                  <a:lnTo>
                    <a:pt x="100" y="69"/>
                  </a:lnTo>
                  <a:lnTo>
                    <a:pt x="102" y="69"/>
                  </a:lnTo>
                  <a:lnTo>
                    <a:pt x="104" y="69"/>
                  </a:lnTo>
                  <a:lnTo>
                    <a:pt x="104" y="71"/>
                  </a:lnTo>
                  <a:lnTo>
                    <a:pt x="104" y="73"/>
                  </a:lnTo>
                  <a:lnTo>
                    <a:pt x="104" y="71"/>
                  </a:lnTo>
                  <a:lnTo>
                    <a:pt x="104" y="73"/>
                  </a:lnTo>
                  <a:lnTo>
                    <a:pt x="104" y="71"/>
                  </a:lnTo>
                  <a:lnTo>
                    <a:pt x="104" y="73"/>
                  </a:lnTo>
                  <a:lnTo>
                    <a:pt x="102" y="73"/>
                  </a:lnTo>
                  <a:lnTo>
                    <a:pt x="102" y="75"/>
                  </a:lnTo>
                  <a:lnTo>
                    <a:pt x="102" y="73"/>
                  </a:lnTo>
                  <a:lnTo>
                    <a:pt x="100" y="73"/>
                  </a:lnTo>
                  <a:lnTo>
                    <a:pt x="98" y="73"/>
                  </a:lnTo>
                  <a:lnTo>
                    <a:pt x="98" y="71"/>
                  </a:lnTo>
                  <a:lnTo>
                    <a:pt x="98" y="73"/>
                  </a:lnTo>
                  <a:lnTo>
                    <a:pt x="98" y="71"/>
                  </a:lnTo>
                  <a:lnTo>
                    <a:pt x="96" y="71"/>
                  </a:lnTo>
                  <a:lnTo>
                    <a:pt x="96" y="69"/>
                  </a:lnTo>
                  <a:lnTo>
                    <a:pt x="96" y="67"/>
                  </a:lnTo>
                  <a:lnTo>
                    <a:pt x="98" y="67"/>
                  </a:lnTo>
                  <a:lnTo>
                    <a:pt x="96" y="67"/>
                  </a:lnTo>
                  <a:lnTo>
                    <a:pt x="98" y="67"/>
                  </a:lnTo>
                  <a:lnTo>
                    <a:pt x="98" y="65"/>
                  </a:lnTo>
                  <a:close/>
                  <a:moveTo>
                    <a:pt x="56" y="75"/>
                  </a:moveTo>
                  <a:lnTo>
                    <a:pt x="58" y="75"/>
                  </a:lnTo>
                  <a:lnTo>
                    <a:pt x="58" y="77"/>
                  </a:lnTo>
                  <a:lnTo>
                    <a:pt x="60" y="77"/>
                  </a:lnTo>
                  <a:lnTo>
                    <a:pt x="60" y="79"/>
                  </a:lnTo>
                  <a:lnTo>
                    <a:pt x="58" y="79"/>
                  </a:lnTo>
                  <a:lnTo>
                    <a:pt x="58" y="80"/>
                  </a:lnTo>
                  <a:lnTo>
                    <a:pt x="58" y="82"/>
                  </a:lnTo>
                  <a:lnTo>
                    <a:pt x="58" y="84"/>
                  </a:lnTo>
                  <a:lnTo>
                    <a:pt x="56" y="84"/>
                  </a:lnTo>
                  <a:lnTo>
                    <a:pt x="56" y="82"/>
                  </a:lnTo>
                  <a:lnTo>
                    <a:pt x="56" y="80"/>
                  </a:lnTo>
                  <a:lnTo>
                    <a:pt x="56" y="79"/>
                  </a:lnTo>
                  <a:lnTo>
                    <a:pt x="54" y="79"/>
                  </a:lnTo>
                  <a:lnTo>
                    <a:pt x="54" y="77"/>
                  </a:lnTo>
                  <a:lnTo>
                    <a:pt x="54" y="75"/>
                  </a:lnTo>
                  <a:lnTo>
                    <a:pt x="56" y="75"/>
                  </a:lnTo>
                  <a:lnTo>
                    <a:pt x="54" y="75"/>
                  </a:lnTo>
                  <a:lnTo>
                    <a:pt x="56" y="75"/>
                  </a:lnTo>
                  <a:lnTo>
                    <a:pt x="54" y="75"/>
                  </a:lnTo>
                  <a:lnTo>
                    <a:pt x="56" y="75"/>
                  </a:lnTo>
                  <a:lnTo>
                    <a:pt x="54" y="75"/>
                  </a:lnTo>
                  <a:lnTo>
                    <a:pt x="56" y="75"/>
                  </a:lnTo>
                  <a:close/>
                  <a:moveTo>
                    <a:pt x="14" y="21"/>
                  </a:moveTo>
                  <a:lnTo>
                    <a:pt x="12" y="21"/>
                  </a:lnTo>
                  <a:lnTo>
                    <a:pt x="12" y="23"/>
                  </a:lnTo>
                  <a:lnTo>
                    <a:pt x="12" y="25"/>
                  </a:lnTo>
                  <a:lnTo>
                    <a:pt x="12" y="27"/>
                  </a:lnTo>
                  <a:lnTo>
                    <a:pt x="12" y="29"/>
                  </a:lnTo>
                  <a:lnTo>
                    <a:pt x="10" y="29"/>
                  </a:lnTo>
                  <a:lnTo>
                    <a:pt x="10" y="31"/>
                  </a:lnTo>
                  <a:lnTo>
                    <a:pt x="8" y="31"/>
                  </a:lnTo>
                  <a:lnTo>
                    <a:pt x="8" y="29"/>
                  </a:lnTo>
                  <a:lnTo>
                    <a:pt x="6" y="29"/>
                  </a:lnTo>
                  <a:lnTo>
                    <a:pt x="6" y="27"/>
                  </a:lnTo>
                  <a:lnTo>
                    <a:pt x="8" y="27"/>
                  </a:lnTo>
                  <a:lnTo>
                    <a:pt x="6" y="27"/>
                  </a:lnTo>
                  <a:lnTo>
                    <a:pt x="8" y="27"/>
                  </a:lnTo>
                  <a:lnTo>
                    <a:pt x="8" y="25"/>
                  </a:lnTo>
                  <a:lnTo>
                    <a:pt x="10" y="25"/>
                  </a:lnTo>
                  <a:lnTo>
                    <a:pt x="10" y="23"/>
                  </a:lnTo>
                  <a:lnTo>
                    <a:pt x="12" y="23"/>
                  </a:lnTo>
                  <a:lnTo>
                    <a:pt x="12" y="21"/>
                  </a:lnTo>
                  <a:lnTo>
                    <a:pt x="14" y="21"/>
                  </a:lnTo>
                  <a:lnTo>
                    <a:pt x="12" y="21"/>
                  </a:lnTo>
                  <a:lnTo>
                    <a:pt x="14" y="21"/>
                  </a:lnTo>
                  <a:close/>
                  <a:moveTo>
                    <a:pt x="25" y="71"/>
                  </a:moveTo>
                  <a:lnTo>
                    <a:pt x="25" y="73"/>
                  </a:lnTo>
                  <a:lnTo>
                    <a:pt x="27" y="73"/>
                  </a:lnTo>
                  <a:lnTo>
                    <a:pt x="29" y="73"/>
                  </a:lnTo>
                  <a:lnTo>
                    <a:pt x="27" y="73"/>
                  </a:lnTo>
                  <a:lnTo>
                    <a:pt x="29" y="73"/>
                  </a:lnTo>
                  <a:lnTo>
                    <a:pt x="27" y="73"/>
                  </a:lnTo>
                  <a:lnTo>
                    <a:pt x="29" y="73"/>
                  </a:lnTo>
                  <a:lnTo>
                    <a:pt x="27" y="73"/>
                  </a:lnTo>
                  <a:lnTo>
                    <a:pt x="29" y="73"/>
                  </a:lnTo>
                  <a:lnTo>
                    <a:pt x="29" y="75"/>
                  </a:lnTo>
                  <a:lnTo>
                    <a:pt x="29" y="77"/>
                  </a:lnTo>
                  <a:lnTo>
                    <a:pt x="27" y="77"/>
                  </a:lnTo>
                  <a:lnTo>
                    <a:pt x="29" y="77"/>
                  </a:lnTo>
                  <a:lnTo>
                    <a:pt x="27" y="77"/>
                  </a:lnTo>
                  <a:lnTo>
                    <a:pt x="25" y="77"/>
                  </a:lnTo>
                  <a:lnTo>
                    <a:pt x="25" y="75"/>
                  </a:lnTo>
                  <a:lnTo>
                    <a:pt x="27" y="75"/>
                  </a:lnTo>
                  <a:lnTo>
                    <a:pt x="25" y="75"/>
                  </a:lnTo>
                  <a:lnTo>
                    <a:pt x="27" y="75"/>
                  </a:lnTo>
                  <a:lnTo>
                    <a:pt x="25" y="75"/>
                  </a:lnTo>
                  <a:lnTo>
                    <a:pt x="27" y="75"/>
                  </a:lnTo>
                  <a:lnTo>
                    <a:pt x="25" y="75"/>
                  </a:lnTo>
                  <a:lnTo>
                    <a:pt x="25" y="73"/>
                  </a:lnTo>
                  <a:lnTo>
                    <a:pt x="23" y="73"/>
                  </a:lnTo>
                  <a:lnTo>
                    <a:pt x="23" y="71"/>
                  </a:lnTo>
                  <a:lnTo>
                    <a:pt x="25" y="71"/>
                  </a:lnTo>
                  <a:close/>
                  <a:moveTo>
                    <a:pt x="42" y="69"/>
                  </a:moveTo>
                  <a:lnTo>
                    <a:pt x="42" y="71"/>
                  </a:lnTo>
                  <a:lnTo>
                    <a:pt x="42" y="73"/>
                  </a:lnTo>
                  <a:lnTo>
                    <a:pt x="40" y="73"/>
                  </a:lnTo>
                  <a:lnTo>
                    <a:pt x="40" y="75"/>
                  </a:lnTo>
                  <a:lnTo>
                    <a:pt x="40" y="77"/>
                  </a:lnTo>
                  <a:lnTo>
                    <a:pt x="40" y="79"/>
                  </a:lnTo>
                  <a:lnTo>
                    <a:pt x="39" y="79"/>
                  </a:lnTo>
                  <a:lnTo>
                    <a:pt x="39" y="80"/>
                  </a:lnTo>
                  <a:lnTo>
                    <a:pt x="39" y="79"/>
                  </a:lnTo>
                  <a:lnTo>
                    <a:pt x="37" y="79"/>
                  </a:lnTo>
                  <a:lnTo>
                    <a:pt x="37" y="77"/>
                  </a:lnTo>
                  <a:lnTo>
                    <a:pt x="37" y="79"/>
                  </a:lnTo>
                  <a:lnTo>
                    <a:pt x="39" y="79"/>
                  </a:lnTo>
                  <a:lnTo>
                    <a:pt x="39" y="77"/>
                  </a:lnTo>
                  <a:lnTo>
                    <a:pt x="39" y="75"/>
                  </a:lnTo>
                  <a:lnTo>
                    <a:pt x="40" y="75"/>
                  </a:lnTo>
                  <a:lnTo>
                    <a:pt x="40" y="73"/>
                  </a:lnTo>
                  <a:lnTo>
                    <a:pt x="40" y="71"/>
                  </a:lnTo>
                  <a:lnTo>
                    <a:pt x="40" y="69"/>
                  </a:lnTo>
                  <a:lnTo>
                    <a:pt x="42" y="69"/>
                  </a:lnTo>
                  <a:close/>
                  <a:moveTo>
                    <a:pt x="62" y="73"/>
                  </a:moveTo>
                  <a:lnTo>
                    <a:pt x="63" y="73"/>
                  </a:lnTo>
                  <a:lnTo>
                    <a:pt x="65" y="73"/>
                  </a:lnTo>
                  <a:lnTo>
                    <a:pt x="65" y="75"/>
                  </a:lnTo>
                  <a:lnTo>
                    <a:pt x="63" y="75"/>
                  </a:lnTo>
                  <a:lnTo>
                    <a:pt x="62" y="75"/>
                  </a:lnTo>
                  <a:lnTo>
                    <a:pt x="62" y="77"/>
                  </a:lnTo>
                  <a:lnTo>
                    <a:pt x="60" y="77"/>
                  </a:lnTo>
                  <a:lnTo>
                    <a:pt x="60" y="75"/>
                  </a:lnTo>
                  <a:lnTo>
                    <a:pt x="62" y="75"/>
                  </a:lnTo>
                  <a:lnTo>
                    <a:pt x="63" y="75"/>
                  </a:lnTo>
                  <a:lnTo>
                    <a:pt x="62" y="75"/>
                  </a:lnTo>
                  <a:lnTo>
                    <a:pt x="62" y="73"/>
                  </a:lnTo>
                  <a:lnTo>
                    <a:pt x="62" y="75"/>
                  </a:lnTo>
                  <a:lnTo>
                    <a:pt x="62" y="73"/>
                  </a:lnTo>
                  <a:close/>
                  <a:moveTo>
                    <a:pt x="44" y="11"/>
                  </a:moveTo>
                  <a:lnTo>
                    <a:pt x="44" y="13"/>
                  </a:lnTo>
                  <a:lnTo>
                    <a:pt x="46" y="13"/>
                  </a:lnTo>
                  <a:lnTo>
                    <a:pt x="44" y="13"/>
                  </a:lnTo>
                  <a:lnTo>
                    <a:pt x="44" y="15"/>
                  </a:lnTo>
                  <a:lnTo>
                    <a:pt x="42" y="15"/>
                  </a:lnTo>
                  <a:lnTo>
                    <a:pt x="40" y="15"/>
                  </a:lnTo>
                  <a:lnTo>
                    <a:pt x="42" y="15"/>
                  </a:lnTo>
                  <a:lnTo>
                    <a:pt x="40" y="15"/>
                  </a:lnTo>
                  <a:lnTo>
                    <a:pt x="40" y="13"/>
                  </a:lnTo>
                  <a:lnTo>
                    <a:pt x="42" y="13"/>
                  </a:lnTo>
                  <a:lnTo>
                    <a:pt x="44" y="13"/>
                  </a:lnTo>
                  <a:lnTo>
                    <a:pt x="44" y="11"/>
                  </a:lnTo>
                  <a:close/>
                  <a:moveTo>
                    <a:pt x="37" y="48"/>
                  </a:moveTo>
                  <a:lnTo>
                    <a:pt x="39" y="48"/>
                  </a:lnTo>
                  <a:lnTo>
                    <a:pt x="39" y="54"/>
                  </a:lnTo>
                  <a:lnTo>
                    <a:pt x="37" y="54"/>
                  </a:lnTo>
                  <a:lnTo>
                    <a:pt x="37" y="48"/>
                  </a:lnTo>
                  <a:close/>
                  <a:moveTo>
                    <a:pt x="65" y="55"/>
                  </a:moveTo>
                  <a:lnTo>
                    <a:pt x="67" y="55"/>
                  </a:lnTo>
                  <a:lnTo>
                    <a:pt x="67" y="59"/>
                  </a:lnTo>
                  <a:lnTo>
                    <a:pt x="65" y="59"/>
                  </a:lnTo>
                  <a:lnTo>
                    <a:pt x="65" y="55"/>
                  </a:lnTo>
                  <a:close/>
                  <a:moveTo>
                    <a:pt x="31" y="75"/>
                  </a:moveTo>
                  <a:lnTo>
                    <a:pt x="33" y="75"/>
                  </a:lnTo>
                  <a:lnTo>
                    <a:pt x="33" y="77"/>
                  </a:lnTo>
                  <a:lnTo>
                    <a:pt x="35" y="77"/>
                  </a:lnTo>
                  <a:lnTo>
                    <a:pt x="35" y="75"/>
                  </a:lnTo>
                  <a:lnTo>
                    <a:pt x="35" y="77"/>
                  </a:lnTo>
                  <a:lnTo>
                    <a:pt x="37" y="77"/>
                  </a:lnTo>
                  <a:lnTo>
                    <a:pt x="35" y="77"/>
                  </a:lnTo>
                  <a:lnTo>
                    <a:pt x="35" y="79"/>
                  </a:lnTo>
                  <a:lnTo>
                    <a:pt x="33" y="79"/>
                  </a:lnTo>
                  <a:lnTo>
                    <a:pt x="33" y="77"/>
                  </a:lnTo>
                  <a:lnTo>
                    <a:pt x="33" y="75"/>
                  </a:lnTo>
                  <a:lnTo>
                    <a:pt x="31" y="75"/>
                  </a:lnTo>
                  <a:close/>
                  <a:moveTo>
                    <a:pt x="37" y="73"/>
                  </a:moveTo>
                  <a:lnTo>
                    <a:pt x="39" y="73"/>
                  </a:lnTo>
                  <a:lnTo>
                    <a:pt x="39" y="75"/>
                  </a:lnTo>
                  <a:lnTo>
                    <a:pt x="37" y="75"/>
                  </a:lnTo>
                  <a:lnTo>
                    <a:pt x="37" y="73"/>
                  </a:lnTo>
                  <a:close/>
                  <a:moveTo>
                    <a:pt x="4" y="61"/>
                  </a:moveTo>
                  <a:lnTo>
                    <a:pt x="6" y="61"/>
                  </a:lnTo>
                  <a:lnTo>
                    <a:pt x="6" y="65"/>
                  </a:lnTo>
                  <a:lnTo>
                    <a:pt x="4" y="65"/>
                  </a:lnTo>
                  <a:lnTo>
                    <a:pt x="4" y="61"/>
                  </a:lnTo>
                  <a:close/>
                  <a:moveTo>
                    <a:pt x="14" y="25"/>
                  </a:moveTo>
                  <a:lnTo>
                    <a:pt x="16" y="25"/>
                  </a:lnTo>
                  <a:lnTo>
                    <a:pt x="16" y="27"/>
                  </a:lnTo>
                  <a:lnTo>
                    <a:pt x="14" y="27"/>
                  </a:lnTo>
                  <a:lnTo>
                    <a:pt x="14" y="25"/>
                  </a:lnTo>
                  <a:close/>
                  <a:moveTo>
                    <a:pt x="50" y="29"/>
                  </a:moveTo>
                  <a:lnTo>
                    <a:pt x="52" y="29"/>
                  </a:lnTo>
                  <a:lnTo>
                    <a:pt x="50" y="29"/>
                  </a:lnTo>
                  <a:close/>
                  <a:moveTo>
                    <a:pt x="48" y="75"/>
                  </a:moveTo>
                  <a:lnTo>
                    <a:pt x="50" y="75"/>
                  </a:lnTo>
                  <a:lnTo>
                    <a:pt x="48" y="75"/>
                  </a:lnTo>
                  <a:close/>
                  <a:moveTo>
                    <a:pt x="67" y="55"/>
                  </a:moveTo>
                  <a:lnTo>
                    <a:pt x="69" y="55"/>
                  </a:lnTo>
                  <a:lnTo>
                    <a:pt x="69" y="57"/>
                  </a:lnTo>
                  <a:lnTo>
                    <a:pt x="67" y="57"/>
                  </a:lnTo>
                  <a:lnTo>
                    <a:pt x="67" y="55"/>
                  </a:lnTo>
                  <a:close/>
                  <a:moveTo>
                    <a:pt x="54" y="52"/>
                  </a:moveTo>
                  <a:lnTo>
                    <a:pt x="56" y="52"/>
                  </a:lnTo>
                  <a:lnTo>
                    <a:pt x="56" y="54"/>
                  </a:lnTo>
                  <a:lnTo>
                    <a:pt x="54" y="54"/>
                  </a:lnTo>
                  <a:lnTo>
                    <a:pt x="54" y="52"/>
                  </a:lnTo>
                  <a:close/>
                  <a:moveTo>
                    <a:pt x="58" y="75"/>
                  </a:moveTo>
                  <a:lnTo>
                    <a:pt x="60" y="75"/>
                  </a:lnTo>
                  <a:lnTo>
                    <a:pt x="60" y="77"/>
                  </a:lnTo>
                  <a:lnTo>
                    <a:pt x="58" y="77"/>
                  </a:lnTo>
                  <a:lnTo>
                    <a:pt x="58" y="75"/>
                  </a:lnTo>
                  <a:close/>
                  <a:moveTo>
                    <a:pt x="31" y="54"/>
                  </a:moveTo>
                  <a:lnTo>
                    <a:pt x="33" y="54"/>
                  </a:lnTo>
                  <a:lnTo>
                    <a:pt x="31" y="54"/>
                  </a:lnTo>
                  <a:close/>
                  <a:moveTo>
                    <a:pt x="44" y="50"/>
                  </a:moveTo>
                  <a:lnTo>
                    <a:pt x="46" y="50"/>
                  </a:lnTo>
                  <a:lnTo>
                    <a:pt x="46" y="52"/>
                  </a:lnTo>
                  <a:lnTo>
                    <a:pt x="44" y="52"/>
                  </a:lnTo>
                  <a:lnTo>
                    <a:pt x="44" y="50"/>
                  </a:lnTo>
                  <a:close/>
                  <a:moveTo>
                    <a:pt x="50" y="73"/>
                  </a:moveTo>
                  <a:lnTo>
                    <a:pt x="52" y="73"/>
                  </a:lnTo>
                  <a:lnTo>
                    <a:pt x="52" y="75"/>
                  </a:lnTo>
                  <a:lnTo>
                    <a:pt x="50" y="75"/>
                  </a:lnTo>
                  <a:lnTo>
                    <a:pt x="50" y="73"/>
                  </a:lnTo>
                  <a:close/>
                  <a:moveTo>
                    <a:pt x="46" y="67"/>
                  </a:moveTo>
                  <a:lnTo>
                    <a:pt x="46" y="69"/>
                  </a:lnTo>
                  <a:lnTo>
                    <a:pt x="46" y="67"/>
                  </a:lnTo>
                  <a:close/>
                  <a:moveTo>
                    <a:pt x="8" y="32"/>
                  </a:moveTo>
                  <a:lnTo>
                    <a:pt x="8" y="34"/>
                  </a:lnTo>
                  <a:lnTo>
                    <a:pt x="8" y="32"/>
                  </a:lnTo>
                  <a:close/>
                  <a:moveTo>
                    <a:pt x="25" y="19"/>
                  </a:moveTo>
                  <a:lnTo>
                    <a:pt x="27" y="19"/>
                  </a:lnTo>
                  <a:lnTo>
                    <a:pt x="25" y="19"/>
                  </a:lnTo>
                  <a:close/>
                  <a:moveTo>
                    <a:pt x="31" y="71"/>
                  </a:moveTo>
                  <a:lnTo>
                    <a:pt x="31" y="73"/>
                  </a:lnTo>
                  <a:lnTo>
                    <a:pt x="31" y="71"/>
                  </a:lnTo>
                  <a:close/>
                  <a:moveTo>
                    <a:pt x="23" y="67"/>
                  </a:moveTo>
                  <a:lnTo>
                    <a:pt x="25" y="67"/>
                  </a:lnTo>
                  <a:lnTo>
                    <a:pt x="23" y="67"/>
                  </a:lnTo>
                  <a:close/>
                  <a:moveTo>
                    <a:pt x="31" y="73"/>
                  </a:moveTo>
                  <a:lnTo>
                    <a:pt x="33" y="73"/>
                  </a:lnTo>
                  <a:lnTo>
                    <a:pt x="31" y="73"/>
                  </a:lnTo>
                  <a:close/>
                  <a:moveTo>
                    <a:pt x="52" y="69"/>
                  </a:moveTo>
                  <a:lnTo>
                    <a:pt x="54" y="69"/>
                  </a:lnTo>
                  <a:lnTo>
                    <a:pt x="52" y="69"/>
                  </a:lnTo>
                  <a:close/>
                  <a:moveTo>
                    <a:pt x="60" y="73"/>
                  </a:moveTo>
                  <a:lnTo>
                    <a:pt x="62" y="73"/>
                  </a:lnTo>
                  <a:lnTo>
                    <a:pt x="60" y="73"/>
                  </a:lnTo>
                  <a:close/>
                  <a:moveTo>
                    <a:pt x="37" y="75"/>
                  </a:moveTo>
                  <a:lnTo>
                    <a:pt x="37" y="77"/>
                  </a:lnTo>
                  <a:lnTo>
                    <a:pt x="37" y="75"/>
                  </a:lnTo>
                  <a:close/>
                  <a:moveTo>
                    <a:pt x="44" y="69"/>
                  </a:moveTo>
                  <a:lnTo>
                    <a:pt x="46" y="69"/>
                  </a:lnTo>
                  <a:lnTo>
                    <a:pt x="44" y="69"/>
                  </a:lnTo>
                  <a:close/>
                  <a:moveTo>
                    <a:pt x="33" y="75"/>
                  </a:moveTo>
                  <a:lnTo>
                    <a:pt x="35" y="75"/>
                  </a:lnTo>
                  <a:lnTo>
                    <a:pt x="33" y="75"/>
                  </a:lnTo>
                  <a:close/>
                  <a:moveTo>
                    <a:pt x="35" y="48"/>
                  </a:moveTo>
                  <a:lnTo>
                    <a:pt x="35" y="50"/>
                  </a:lnTo>
                  <a:lnTo>
                    <a:pt x="35" y="48"/>
                  </a:lnTo>
                  <a:close/>
                  <a:moveTo>
                    <a:pt x="50" y="75"/>
                  </a:moveTo>
                  <a:lnTo>
                    <a:pt x="50" y="77"/>
                  </a:lnTo>
                  <a:lnTo>
                    <a:pt x="50" y="75"/>
                  </a:lnTo>
                  <a:close/>
                  <a:moveTo>
                    <a:pt x="52" y="69"/>
                  </a:moveTo>
                  <a:lnTo>
                    <a:pt x="54" y="69"/>
                  </a:lnTo>
                  <a:lnTo>
                    <a:pt x="52" y="69"/>
                  </a:lnTo>
                  <a:close/>
                  <a:moveTo>
                    <a:pt x="14" y="23"/>
                  </a:moveTo>
                  <a:lnTo>
                    <a:pt x="16" y="23"/>
                  </a:lnTo>
                  <a:lnTo>
                    <a:pt x="16" y="25"/>
                  </a:lnTo>
                  <a:lnTo>
                    <a:pt x="14" y="25"/>
                  </a:lnTo>
                  <a:lnTo>
                    <a:pt x="14" y="23"/>
                  </a:lnTo>
                  <a:close/>
                  <a:moveTo>
                    <a:pt x="42" y="15"/>
                  </a:moveTo>
                  <a:lnTo>
                    <a:pt x="44" y="15"/>
                  </a:lnTo>
                  <a:lnTo>
                    <a:pt x="42" y="15"/>
                  </a:lnTo>
                  <a:close/>
                  <a:moveTo>
                    <a:pt x="46" y="54"/>
                  </a:moveTo>
                  <a:lnTo>
                    <a:pt x="48" y="54"/>
                  </a:lnTo>
                  <a:lnTo>
                    <a:pt x="46" y="54"/>
                  </a:lnTo>
                  <a:close/>
                  <a:moveTo>
                    <a:pt x="23" y="63"/>
                  </a:moveTo>
                  <a:lnTo>
                    <a:pt x="23" y="65"/>
                  </a:lnTo>
                  <a:lnTo>
                    <a:pt x="23" y="63"/>
                  </a:lnTo>
                  <a:close/>
                  <a:moveTo>
                    <a:pt x="56" y="73"/>
                  </a:moveTo>
                  <a:lnTo>
                    <a:pt x="56" y="75"/>
                  </a:lnTo>
                  <a:lnTo>
                    <a:pt x="56" y="73"/>
                  </a:lnTo>
                  <a:close/>
                  <a:moveTo>
                    <a:pt x="58" y="75"/>
                  </a:moveTo>
                  <a:lnTo>
                    <a:pt x="60" y="75"/>
                  </a:lnTo>
                  <a:lnTo>
                    <a:pt x="58" y="75"/>
                  </a:lnTo>
                  <a:close/>
                  <a:moveTo>
                    <a:pt x="58" y="54"/>
                  </a:moveTo>
                  <a:lnTo>
                    <a:pt x="60" y="54"/>
                  </a:lnTo>
                  <a:lnTo>
                    <a:pt x="60" y="55"/>
                  </a:lnTo>
                  <a:lnTo>
                    <a:pt x="58" y="55"/>
                  </a:lnTo>
                  <a:lnTo>
                    <a:pt x="58" y="54"/>
                  </a:lnTo>
                  <a:close/>
                  <a:moveTo>
                    <a:pt x="31" y="71"/>
                  </a:moveTo>
                  <a:lnTo>
                    <a:pt x="33" y="71"/>
                  </a:lnTo>
                  <a:lnTo>
                    <a:pt x="33" y="73"/>
                  </a:lnTo>
                  <a:lnTo>
                    <a:pt x="31" y="73"/>
                  </a:lnTo>
                  <a:lnTo>
                    <a:pt x="31" y="71"/>
                  </a:lnTo>
                  <a:close/>
                  <a:moveTo>
                    <a:pt x="54" y="69"/>
                  </a:moveTo>
                  <a:lnTo>
                    <a:pt x="54" y="71"/>
                  </a:lnTo>
                  <a:lnTo>
                    <a:pt x="54" y="69"/>
                  </a:lnTo>
                  <a:close/>
                  <a:moveTo>
                    <a:pt x="60" y="73"/>
                  </a:moveTo>
                  <a:lnTo>
                    <a:pt x="60" y="75"/>
                  </a:lnTo>
                  <a:lnTo>
                    <a:pt x="60" y="73"/>
                  </a:lnTo>
                  <a:close/>
                  <a:moveTo>
                    <a:pt x="67" y="57"/>
                  </a:moveTo>
                  <a:lnTo>
                    <a:pt x="69" y="57"/>
                  </a:lnTo>
                  <a:lnTo>
                    <a:pt x="67" y="57"/>
                  </a:lnTo>
                  <a:close/>
                  <a:moveTo>
                    <a:pt x="40" y="59"/>
                  </a:moveTo>
                  <a:lnTo>
                    <a:pt x="40" y="61"/>
                  </a:lnTo>
                  <a:lnTo>
                    <a:pt x="40" y="59"/>
                  </a:lnTo>
                  <a:close/>
                  <a:moveTo>
                    <a:pt x="42" y="77"/>
                  </a:moveTo>
                  <a:lnTo>
                    <a:pt x="42" y="79"/>
                  </a:lnTo>
                  <a:lnTo>
                    <a:pt x="42" y="77"/>
                  </a:lnTo>
                  <a:close/>
                  <a:moveTo>
                    <a:pt x="35" y="75"/>
                  </a:moveTo>
                  <a:lnTo>
                    <a:pt x="37" y="75"/>
                  </a:lnTo>
                  <a:lnTo>
                    <a:pt x="35" y="75"/>
                  </a:lnTo>
                  <a:close/>
                  <a:moveTo>
                    <a:pt x="4" y="59"/>
                  </a:moveTo>
                  <a:lnTo>
                    <a:pt x="4" y="61"/>
                  </a:lnTo>
                  <a:lnTo>
                    <a:pt x="4" y="59"/>
                  </a:lnTo>
                  <a:close/>
                  <a:moveTo>
                    <a:pt x="40" y="15"/>
                  </a:moveTo>
                  <a:lnTo>
                    <a:pt x="42" y="15"/>
                  </a:lnTo>
                  <a:lnTo>
                    <a:pt x="40" y="15"/>
                  </a:lnTo>
                  <a:close/>
                  <a:moveTo>
                    <a:pt x="40" y="13"/>
                  </a:moveTo>
                  <a:lnTo>
                    <a:pt x="42" y="13"/>
                  </a:lnTo>
                  <a:lnTo>
                    <a:pt x="42" y="15"/>
                  </a:lnTo>
                  <a:lnTo>
                    <a:pt x="40" y="15"/>
                  </a:lnTo>
                  <a:lnTo>
                    <a:pt x="40" y="13"/>
                  </a:lnTo>
                  <a:close/>
                  <a:moveTo>
                    <a:pt x="37" y="50"/>
                  </a:moveTo>
                  <a:lnTo>
                    <a:pt x="39" y="50"/>
                  </a:lnTo>
                  <a:lnTo>
                    <a:pt x="37" y="50"/>
                  </a:lnTo>
                  <a:close/>
                  <a:moveTo>
                    <a:pt x="6" y="29"/>
                  </a:moveTo>
                  <a:lnTo>
                    <a:pt x="8" y="29"/>
                  </a:lnTo>
                  <a:lnTo>
                    <a:pt x="6" y="29"/>
                  </a:lnTo>
                  <a:close/>
                  <a:moveTo>
                    <a:pt x="2" y="48"/>
                  </a:moveTo>
                  <a:lnTo>
                    <a:pt x="4" y="48"/>
                  </a:lnTo>
                  <a:lnTo>
                    <a:pt x="2" y="48"/>
                  </a:lnTo>
                  <a:close/>
                  <a:moveTo>
                    <a:pt x="67" y="55"/>
                  </a:moveTo>
                  <a:lnTo>
                    <a:pt x="67" y="57"/>
                  </a:lnTo>
                  <a:lnTo>
                    <a:pt x="67" y="55"/>
                  </a:lnTo>
                  <a:close/>
                  <a:moveTo>
                    <a:pt x="37" y="57"/>
                  </a:moveTo>
                  <a:lnTo>
                    <a:pt x="37" y="59"/>
                  </a:lnTo>
                  <a:lnTo>
                    <a:pt x="37" y="57"/>
                  </a:lnTo>
                  <a:close/>
                  <a:moveTo>
                    <a:pt x="21" y="21"/>
                  </a:moveTo>
                  <a:lnTo>
                    <a:pt x="23" y="21"/>
                  </a:lnTo>
                  <a:lnTo>
                    <a:pt x="21" y="21"/>
                  </a:lnTo>
                  <a:close/>
                  <a:moveTo>
                    <a:pt x="37" y="57"/>
                  </a:moveTo>
                  <a:lnTo>
                    <a:pt x="37" y="59"/>
                  </a:lnTo>
                  <a:lnTo>
                    <a:pt x="37" y="57"/>
                  </a:lnTo>
                  <a:close/>
                  <a:moveTo>
                    <a:pt x="37" y="50"/>
                  </a:moveTo>
                  <a:lnTo>
                    <a:pt x="39" y="50"/>
                  </a:lnTo>
                  <a:lnTo>
                    <a:pt x="37" y="50"/>
                  </a:lnTo>
                  <a:close/>
                  <a:moveTo>
                    <a:pt x="6" y="63"/>
                  </a:moveTo>
                  <a:lnTo>
                    <a:pt x="6" y="65"/>
                  </a:lnTo>
                  <a:lnTo>
                    <a:pt x="6" y="63"/>
                  </a:lnTo>
                  <a:close/>
                  <a:moveTo>
                    <a:pt x="44" y="77"/>
                  </a:moveTo>
                  <a:lnTo>
                    <a:pt x="44" y="79"/>
                  </a:lnTo>
                  <a:lnTo>
                    <a:pt x="44" y="77"/>
                  </a:lnTo>
                  <a:close/>
                  <a:moveTo>
                    <a:pt x="29" y="69"/>
                  </a:moveTo>
                  <a:lnTo>
                    <a:pt x="31" y="69"/>
                  </a:lnTo>
                  <a:lnTo>
                    <a:pt x="29" y="69"/>
                  </a:lnTo>
                  <a:close/>
                  <a:moveTo>
                    <a:pt x="16" y="29"/>
                  </a:moveTo>
                  <a:lnTo>
                    <a:pt x="17" y="29"/>
                  </a:lnTo>
                  <a:lnTo>
                    <a:pt x="16" y="29"/>
                  </a:lnTo>
                  <a:close/>
                  <a:moveTo>
                    <a:pt x="2" y="48"/>
                  </a:moveTo>
                  <a:lnTo>
                    <a:pt x="4" y="48"/>
                  </a:lnTo>
                  <a:lnTo>
                    <a:pt x="2" y="48"/>
                  </a:lnTo>
                  <a:close/>
                  <a:moveTo>
                    <a:pt x="6" y="63"/>
                  </a:moveTo>
                  <a:lnTo>
                    <a:pt x="6" y="65"/>
                  </a:lnTo>
                  <a:lnTo>
                    <a:pt x="6" y="63"/>
                  </a:lnTo>
                  <a:close/>
                  <a:moveTo>
                    <a:pt x="8" y="29"/>
                  </a:moveTo>
                  <a:lnTo>
                    <a:pt x="8" y="31"/>
                  </a:lnTo>
                  <a:lnTo>
                    <a:pt x="8" y="29"/>
                  </a:lnTo>
                  <a:close/>
                  <a:moveTo>
                    <a:pt x="31" y="50"/>
                  </a:moveTo>
                  <a:lnTo>
                    <a:pt x="31" y="52"/>
                  </a:lnTo>
                  <a:lnTo>
                    <a:pt x="31" y="50"/>
                  </a:lnTo>
                  <a:close/>
                  <a:moveTo>
                    <a:pt x="23" y="65"/>
                  </a:moveTo>
                  <a:lnTo>
                    <a:pt x="23" y="67"/>
                  </a:lnTo>
                  <a:lnTo>
                    <a:pt x="23" y="65"/>
                  </a:lnTo>
                  <a:close/>
                  <a:moveTo>
                    <a:pt x="40" y="67"/>
                  </a:moveTo>
                  <a:lnTo>
                    <a:pt x="40" y="69"/>
                  </a:lnTo>
                  <a:lnTo>
                    <a:pt x="40" y="67"/>
                  </a:lnTo>
                  <a:close/>
                  <a:moveTo>
                    <a:pt x="8" y="29"/>
                  </a:moveTo>
                  <a:lnTo>
                    <a:pt x="8" y="31"/>
                  </a:lnTo>
                  <a:lnTo>
                    <a:pt x="8" y="29"/>
                  </a:lnTo>
                  <a:close/>
                  <a:moveTo>
                    <a:pt x="35" y="75"/>
                  </a:moveTo>
                  <a:lnTo>
                    <a:pt x="35" y="77"/>
                  </a:lnTo>
                  <a:lnTo>
                    <a:pt x="35" y="75"/>
                  </a:lnTo>
                  <a:close/>
                  <a:moveTo>
                    <a:pt x="2" y="50"/>
                  </a:moveTo>
                  <a:lnTo>
                    <a:pt x="2" y="52"/>
                  </a:lnTo>
                  <a:lnTo>
                    <a:pt x="2" y="50"/>
                  </a:lnTo>
                  <a:close/>
                  <a:moveTo>
                    <a:pt x="42" y="15"/>
                  </a:moveTo>
                  <a:lnTo>
                    <a:pt x="42" y="17"/>
                  </a:lnTo>
                  <a:lnTo>
                    <a:pt x="42" y="15"/>
                  </a:lnTo>
                  <a:close/>
                  <a:moveTo>
                    <a:pt x="21" y="59"/>
                  </a:moveTo>
                  <a:lnTo>
                    <a:pt x="23" y="59"/>
                  </a:lnTo>
                  <a:lnTo>
                    <a:pt x="23" y="61"/>
                  </a:lnTo>
                  <a:lnTo>
                    <a:pt x="21" y="61"/>
                  </a:lnTo>
                  <a:lnTo>
                    <a:pt x="21" y="59"/>
                  </a:lnTo>
                  <a:close/>
                  <a:moveTo>
                    <a:pt x="42" y="77"/>
                  </a:moveTo>
                  <a:lnTo>
                    <a:pt x="44" y="77"/>
                  </a:lnTo>
                  <a:lnTo>
                    <a:pt x="42" y="77"/>
                  </a:lnTo>
                  <a:close/>
                  <a:moveTo>
                    <a:pt x="31" y="32"/>
                  </a:moveTo>
                  <a:lnTo>
                    <a:pt x="31" y="34"/>
                  </a:lnTo>
                  <a:lnTo>
                    <a:pt x="31" y="32"/>
                  </a:lnTo>
                  <a:close/>
                  <a:moveTo>
                    <a:pt x="29" y="52"/>
                  </a:moveTo>
                  <a:lnTo>
                    <a:pt x="31" y="52"/>
                  </a:lnTo>
                  <a:lnTo>
                    <a:pt x="29" y="52"/>
                  </a:lnTo>
                  <a:close/>
                  <a:moveTo>
                    <a:pt x="65" y="55"/>
                  </a:moveTo>
                  <a:lnTo>
                    <a:pt x="67" y="55"/>
                  </a:lnTo>
                  <a:lnTo>
                    <a:pt x="65" y="55"/>
                  </a:lnTo>
                  <a:close/>
                  <a:moveTo>
                    <a:pt x="29" y="69"/>
                  </a:moveTo>
                  <a:lnTo>
                    <a:pt x="29" y="71"/>
                  </a:lnTo>
                  <a:lnTo>
                    <a:pt x="29" y="69"/>
                  </a:lnTo>
                  <a:close/>
                  <a:moveTo>
                    <a:pt x="35" y="75"/>
                  </a:moveTo>
                  <a:lnTo>
                    <a:pt x="35" y="77"/>
                  </a:lnTo>
                  <a:lnTo>
                    <a:pt x="35" y="75"/>
                  </a:lnTo>
                  <a:close/>
                  <a:moveTo>
                    <a:pt x="2" y="50"/>
                  </a:moveTo>
                  <a:lnTo>
                    <a:pt x="2" y="52"/>
                  </a:lnTo>
                  <a:lnTo>
                    <a:pt x="2" y="50"/>
                  </a:lnTo>
                  <a:close/>
                  <a:moveTo>
                    <a:pt x="29" y="36"/>
                  </a:moveTo>
                  <a:lnTo>
                    <a:pt x="31" y="36"/>
                  </a:lnTo>
                  <a:lnTo>
                    <a:pt x="29" y="36"/>
                  </a:lnTo>
                  <a:close/>
                  <a:moveTo>
                    <a:pt x="33" y="21"/>
                  </a:moveTo>
                  <a:lnTo>
                    <a:pt x="33" y="23"/>
                  </a:lnTo>
                  <a:lnTo>
                    <a:pt x="33" y="21"/>
                  </a:lnTo>
                  <a:close/>
                  <a:moveTo>
                    <a:pt x="46" y="75"/>
                  </a:moveTo>
                  <a:lnTo>
                    <a:pt x="48" y="75"/>
                  </a:lnTo>
                  <a:lnTo>
                    <a:pt x="46" y="75"/>
                  </a:lnTo>
                  <a:close/>
                  <a:moveTo>
                    <a:pt x="35" y="40"/>
                  </a:moveTo>
                  <a:lnTo>
                    <a:pt x="35" y="42"/>
                  </a:lnTo>
                  <a:lnTo>
                    <a:pt x="35" y="40"/>
                  </a:lnTo>
                  <a:close/>
                  <a:moveTo>
                    <a:pt x="6" y="29"/>
                  </a:moveTo>
                  <a:lnTo>
                    <a:pt x="8" y="29"/>
                  </a:lnTo>
                  <a:lnTo>
                    <a:pt x="6" y="29"/>
                  </a:lnTo>
                  <a:close/>
                  <a:moveTo>
                    <a:pt x="29" y="34"/>
                  </a:moveTo>
                  <a:lnTo>
                    <a:pt x="29" y="36"/>
                  </a:lnTo>
                  <a:lnTo>
                    <a:pt x="29" y="34"/>
                  </a:lnTo>
                  <a:close/>
                  <a:moveTo>
                    <a:pt x="54" y="75"/>
                  </a:moveTo>
                  <a:lnTo>
                    <a:pt x="56" y="75"/>
                  </a:lnTo>
                  <a:lnTo>
                    <a:pt x="54" y="75"/>
                  </a:lnTo>
                  <a:close/>
                  <a:moveTo>
                    <a:pt x="37" y="57"/>
                  </a:moveTo>
                  <a:lnTo>
                    <a:pt x="37" y="59"/>
                  </a:lnTo>
                  <a:lnTo>
                    <a:pt x="37" y="57"/>
                  </a:lnTo>
                  <a:close/>
                  <a:moveTo>
                    <a:pt x="6" y="29"/>
                  </a:moveTo>
                  <a:lnTo>
                    <a:pt x="8" y="29"/>
                  </a:lnTo>
                  <a:lnTo>
                    <a:pt x="6" y="29"/>
                  </a:lnTo>
                  <a:close/>
                  <a:moveTo>
                    <a:pt x="37" y="75"/>
                  </a:moveTo>
                  <a:lnTo>
                    <a:pt x="37" y="77"/>
                  </a:lnTo>
                  <a:lnTo>
                    <a:pt x="37" y="75"/>
                  </a:lnTo>
                  <a:close/>
                  <a:moveTo>
                    <a:pt x="50" y="67"/>
                  </a:moveTo>
                  <a:lnTo>
                    <a:pt x="50" y="69"/>
                  </a:lnTo>
                  <a:lnTo>
                    <a:pt x="50" y="67"/>
                  </a:lnTo>
                  <a:close/>
                  <a:moveTo>
                    <a:pt x="8" y="29"/>
                  </a:moveTo>
                  <a:lnTo>
                    <a:pt x="8" y="31"/>
                  </a:lnTo>
                  <a:lnTo>
                    <a:pt x="8" y="29"/>
                  </a:lnTo>
                  <a:close/>
                  <a:moveTo>
                    <a:pt x="33" y="23"/>
                  </a:moveTo>
                  <a:lnTo>
                    <a:pt x="33" y="25"/>
                  </a:lnTo>
                  <a:lnTo>
                    <a:pt x="33" y="23"/>
                  </a:lnTo>
                  <a:close/>
                  <a:moveTo>
                    <a:pt x="100" y="67"/>
                  </a:moveTo>
                  <a:lnTo>
                    <a:pt x="100" y="69"/>
                  </a:lnTo>
                  <a:lnTo>
                    <a:pt x="100" y="67"/>
                  </a:lnTo>
                  <a:close/>
                  <a:moveTo>
                    <a:pt x="31" y="32"/>
                  </a:moveTo>
                  <a:lnTo>
                    <a:pt x="33" y="32"/>
                  </a:lnTo>
                  <a:lnTo>
                    <a:pt x="31" y="32"/>
                  </a:lnTo>
                  <a:close/>
                  <a:moveTo>
                    <a:pt x="58" y="54"/>
                  </a:moveTo>
                  <a:lnTo>
                    <a:pt x="60" y="54"/>
                  </a:lnTo>
                  <a:lnTo>
                    <a:pt x="58" y="54"/>
                  </a:lnTo>
                  <a:close/>
                  <a:moveTo>
                    <a:pt x="8" y="29"/>
                  </a:moveTo>
                  <a:lnTo>
                    <a:pt x="8" y="31"/>
                  </a:lnTo>
                  <a:lnTo>
                    <a:pt x="8" y="29"/>
                  </a:lnTo>
                  <a:close/>
                  <a:moveTo>
                    <a:pt x="44" y="13"/>
                  </a:moveTo>
                  <a:lnTo>
                    <a:pt x="46" y="13"/>
                  </a:lnTo>
                  <a:lnTo>
                    <a:pt x="44" y="13"/>
                  </a:lnTo>
                  <a:close/>
                  <a:moveTo>
                    <a:pt x="21" y="65"/>
                  </a:moveTo>
                  <a:lnTo>
                    <a:pt x="23" y="65"/>
                  </a:lnTo>
                  <a:lnTo>
                    <a:pt x="21" y="65"/>
                  </a:lnTo>
                  <a:close/>
                  <a:moveTo>
                    <a:pt x="60" y="59"/>
                  </a:moveTo>
                  <a:lnTo>
                    <a:pt x="62" y="59"/>
                  </a:lnTo>
                  <a:lnTo>
                    <a:pt x="60" y="59"/>
                  </a:lnTo>
                  <a:close/>
                  <a:moveTo>
                    <a:pt x="67" y="57"/>
                  </a:moveTo>
                  <a:lnTo>
                    <a:pt x="69" y="57"/>
                  </a:lnTo>
                  <a:lnTo>
                    <a:pt x="67" y="57"/>
                  </a:lnTo>
                  <a:close/>
                  <a:moveTo>
                    <a:pt x="67" y="57"/>
                  </a:moveTo>
                  <a:lnTo>
                    <a:pt x="69" y="57"/>
                  </a:lnTo>
                  <a:lnTo>
                    <a:pt x="67" y="5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384">
              <a:extLst>
                <a:ext uri="{FF2B5EF4-FFF2-40B4-BE49-F238E27FC236}">
                  <a16:creationId xmlns:a16="http://schemas.microsoft.com/office/drawing/2014/main" id="{DA9F14F2-58E5-44CB-A3C4-7F8377F91AAA}"/>
                </a:ext>
              </a:extLst>
            </p:cNvPr>
            <p:cNvSpPr>
              <a:spLocks noEditPoints="1"/>
            </p:cNvSpPr>
            <p:nvPr/>
          </p:nvSpPr>
          <p:spPr bwMode="gray">
            <a:xfrm>
              <a:off x="3462122" y="3186766"/>
              <a:ext cx="179051" cy="169240"/>
            </a:xfrm>
            <a:custGeom>
              <a:avLst/>
              <a:gdLst>
                <a:gd name="T0" fmla="*/ 77 w 146"/>
                <a:gd name="T1" fmla="*/ 15 h 138"/>
                <a:gd name="T2" fmla="*/ 89 w 146"/>
                <a:gd name="T3" fmla="*/ 9 h 138"/>
                <a:gd name="T4" fmla="*/ 104 w 146"/>
                <a:gd name="T5" fmla="*/ 11 h 138"/>
                <a:gd name="T6" fmla="*/ 121 w 146"/>
                <a:gd name="T7" fmla="*/ 11 h 138"/>
                <a:gd name="T8" fmla="*/ 133 w 146"/>
                <a:gd name="T9" fmla="*/ 11 h 138"/>
                <a:gd name="T10" fmla="*/ 139 w 146"/>
                <a:gd name="T11" fmla="*/ 19 h 138"/>
                <a:gd name="T12" fmla="*/ 139 w 146"/>
                <a:gd name="T13" fmla="*/ 28 h 138"/>
                <a:gd name="T14" fmla="*/ 144 w 146"/>
                <a:gd name="T15" fmla="*/ 40 h 138"/>
                <a:gd name="T16" fmla="*/ 144 w 146"/>
                <a:gd name="T17" fmla="*/ 44 h 138"/>
                <a:gd name="T18" fmla="*/ 139 w 146"/>
                <a:gd name="T19" fmla="*/ 55 h 138"/>
                <a:gd name="T20" fmla="*/ 137 w 146"/>
                <a:gd name="T21" fmla="*/ 63 h 138"/>
                <a:gd name="T22" fmla="*/ 141 w 146"/>
                <a:gd name="T23" fmla="*/ 69 h 138"/>
                <a:gd name="T24" fmla="*/ 139 w 146"/>
                <a:gd name="T25" fmla="*/ 73 h 138"/>
                <a:gd name="T26" fmla="*/ 141 w 146"/>
                <a:gd name="T27" fmla="*/ 84 h 138"/>
                <a:gd name="T28" fmla="*/ 141 w 146"/>
                <a:gd name="T29" fmla="*/ 86 h 138"/>
                <a:gd name="T30" fmla="*/ 144 w 146"/>
                <a:gd name="T31" fmla="*/ 96 h 138"/>
                <a:gd name="T32" fmla="*/ 141 w 146"/>
                <a:gd name="T33" fmla="*/ 105 h 138"/>
                <a:gd name="T34" fmla="*/ 133 w 146"/>
                <a:gd name="T35" fmla="*/ 115 h 138"/>
                <a:gd name="T36" fmla="*/ 125 w 146"/>
                <a:gd name="T37" fmla="*/ 124 h 138"/>
                <a:gd name="T38" fmla="*/ 125 w 146"/>
                <a:gd name="T39" fmla="*/ 134 h 138"/>
                <a:gd name="T40" fmla="*/ 121 w 146"/>
                <a:gd name="T41" fmla="*/ 136 h 138"/>
                <a:gd name="T42" fmla="*/ 112 w 146"/>
                <a:gd name="T43" fmla="*/ 128 h 138"/>
                <a:gd name="T44" fmla="*/ 104 w 146"/>
                <a:gd name="T45" fmla="*/ 126 h 138"/>
                <a:gd name="T46" fmla="*/ 102 w 146"/>
                <a:gd name="T47" fmla="*/ 130 h 138"/>
                <a:gd name="T48" fmla="*/ 98 w 146"/>
                <a:gd name="T49" fmla="*/ 128 h 138"/>
                <a:gd name="T50" fmla="*/ 87 w 146"/>
                <a:gd name="T51" fmla="*/ 134 h 138"/>
                <a:gd name="T52" fmla="*/ 83 w 146"/>
                <a:gd name="T53" fmla="*/ 128 h 138"/>
                <a:gd name="T54" fmla="*/ 77 w 146"/>
                <a:gd name="T55" fmla="*/ 124 h 138"/>
                <a:gd name="T56" fmla="*/ 71 w 146"/>
                <a:gd name="T57" fmla="*/ 128 h 138"/>
                <a:gd name="T58" fmla="*/ 68 w 146"/>
                <a:gd name="T59" fmla="*/ 122 h 138"/>
                <a:gd name="T60" fmla="*/ 58 w 146"/>
                <a:gd name="T61" fmla="*/ 115 h 138"/>
                <a:gd name="T62" fmla="*/ 52 w 146"/>
                <a:gd name="T63" fmla="*/ 111 h 138"/>
                <a:gd name="T64" fmla="*/ 52 w 146"/>
                <a:gd name="T65" fmla="*/ 109 h 138"/>
                <a:gd name="T66" fmla="*/ 43 w 146"/>
                <a:gd name="T67" fmla="*/ 105 h 138"/>
                <a:gd name="T68" fmla="*/ 37 w 146"/>
                <a:gd name="T69" fmla="*/ 113 h 138"/>
                <a:gd name="T70" fmla="*/ 33 w 146"/>
                <a:gd name="T71" fmla="*/ 107 h 138"/>
                <a:gd name="T72" fmla="*/ 31 w 146"/>
                <a:gd name="T73" fmla="*/ 103 h 138"/>
                <a:gd name="T74" fmla="*/ 31 w 146"/>
                <a:gd name="T75" fmla="*/ 101 h 138"/>
                <a:gd name="T76" fmla="*/ 22 w 146"/>
                <a:gd name="T77" fmla="*/ 97 h 138"/>
                <a:gd name="T78" fmla="*/ 18 w 146"/>
                <a:gd name="T79" fmla="*/ 96 h 138"/>
                <a:gd name="T80" fmla="*/ 14 w 146"/>
                <a:gd name="T81" fmla="*/ 94 h 138"/>
                <a:gd name="T82" fmla="*/ 14 w 146"/>
                <a:gd name="T83" fmla="*/ 88 h 138"/>
                <a:gd name="T84" fmla="*/ 14 w 146"/>
                <a:gd name="T85" fmla="*/ 82 h 138"/>
                <a:gd name="T86" fmla="*/ 8 w 146"/>
                <a:gd name="T87" fmla="*/ 73 h 138"/>
                <a:gd name="T88" fmla="*/ 8 w 146"/>
                <a:gd name="T89" fmla="*/ 63 h 138"/>
                <a:gd name="T90" fmla="*/ 8 w 146"/>
                <a:gd name="T91" fmla="*/ 57 h 138"/>
                <a:gd name="T92" fmla="*/ 0 w 146"/>
                <a:gd name="T93" fmla="*/ 48 h 138"/>
                <a:gd name="T94" fmla="*/ 4 w 146"/>
                <a:gd name="T95" fmla="*/ 38 h 138"/>
                <a:gd name="T96" fmla="*/ 2 w 146"/>
                <a:gd name="T97" fmla="*/ 30 h 138"/>
                <a:gd name="T98" fmla="*/ 6 w 146"/>
                <a:gd name="T99" fmla="*/ 28 h 138"/>
                <a:gd name="T100" fmla="*/ 14 w 146"/>
                <a:gd name="T101" fmla="*/ 19 h 138"/>
                <a:gd name="T102" fmla="*/ 25 w 146"/>
                <a:gd name="T103" fmla="*/ 13 h 138"/>
                <a:gd name="T104" fmla="*/ 33 w 146"/>
                <a:gd name="T105" fmla="*/ 11 h 138"/>
                <a:gd name="T106" fmla="*/ 43 w 146"/>
                <a:gd name="T107" fmla="*/ 3 h 138"/>
                <a:gd name="T108" fmla="*/ 56 w 146"/>
                <a:gd name="T109" fmla="*/ 0 h 138"/>
                <a:gd name="T110" fmla="*/ 70 w 146"/>
                <a:gd name="T111" fmla="*/ 3 h 138"/>
                <a:gd name="T112" fmla="*/ 64 w 146"/>
                <a:gd name="T113" fmla="*/ 0 h 138"/>
                <a:gd name="T114" fmla="*/ 70 w 146"/>
                <a:gd name="T115" fmla="*/ 11 h 138"/>
                <a:gd name="T116" fmla="*/ 81 w 146"/>
                <a:gd name="T117" fmla="*/ 9 h 138"/>
                <a:gd name="T118" fmla="*/ 6 w 146"/>
                <a:gd name="T119" fmla="*/ 24 h 138"/>
                <a:gd name="T120" fmla="*/ 4 w 146"/>
                <a:gd name="T121" fmla="*/ 21 h 138"/>
                <a:gd name="T122" fmla="*/ 0 w 146"/>
                <a:gd name="T123" fmla="*/ 21 h 138"/>
                <a:gd name="T124" fmla="*/ 4 w 146"/>
                <a:gd name="T125" fmla="*/ 2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 h="138">
                  <a:moveTo>
                    <a:pt x="81" y="7"/>
                  </a:moveTo>
                  <a:lnTo>
                    <a:pt x="81" y="9"/>
                  </a:lnTo>
                  <a:lnTo>
                    <a:pt x="79" y="9"/>
                  </a:lnTo>
                  <a:lnTo>
                    <a:pt x="79" y="11"/>
                  </a:lnTo>
                  <a:lnTo>
                    <a:pt x="77" y="11"/>
                  </a:lnTo>
                  <a:lnTo>
                    <a:pt x="75" y="11"/>
                  </a:lnTo>
                  <a:lnTo>
                    <a:pt x="75" y="13"/>
                  </a:lnTo>
                  <a:lnTo>
                    <a:pt x="77" y="13"/>
                  </a:lnTo>
                  <a:lnTo>
                    <a:pt x="77" y="15"/>
                  </a:lnTo>
                  <a:lnTo>
                    <a:pt x="77" y="13"/>
                  </a:lnTo>
                  <a:lnTo>
                    <a:pt x="79" y="13"/>
                  </a:lnTo>
                  <a:lnTo>
                    <a:pt x="79" y="11"/>
                  </a:lnTo>
                  <a:lnTo>
                    <a:pt x="81" y="11"/>
                  </a:lnTo>
                  <a:lnTo>
                    <a:pt x="83" y="11"/>
                  </a:lnTo>
                  <a:lnTo>
                    <a:pt x="83" y="9"/>
                  </a:lnTo>
                  <a:lnTo>
                    <a:pt x="85" y="9"/>
                  </a:lnTo>
                  <a:lnTo>
                    <a:pt x="87" y="9"/>
                  </a:lnTo>
                  <a:lnTo>
                    <a:pt x="89" y="9"/>
                  </a:lnTo>
                  <a:lnTo>
                    <a:pt x="91" y="9"/>
                  </a:lnTo>
                  <a:lnTo>
                    <a:pt x="93" y="9"/>
                  </a:lnTo>
                  <a:lnTo>
                    <a:pt x="94" y="9"/>
                  </a:lnTo>
                  <a:lnTo>
                    <a:pt x="94" y="11"/>
                  </a:lnTo>
                  <a:lnTo>
                    <a:pt x="96" y="11"/>
                  </a:lnTo>
                  <a:lnTo>
                    <a:pt x="98" y="11"/>
                  </a:lnTo>
                  <a:lnTo>
                    <a:pt x="100" y="11"/>
                  </a:lnTo>
                  <a:lnTo>
                    <a:pt x="102" y="11"/>
                  </a:lnTo>
                  <a:lnTo>
                    <a:pt x="104" y="11"/>
                  </a:lnTo>
                  <a:lnTo>
                    <a:pt x="106" y="11"/>
                  </a:lnTo>
                  <a:lnTo>
                    <a:pt x="108" y="11"/>
                  </a:lnTo>
                  <a:lnTo>
                    <a:pt x="110" y="11"/>
                  </a:lnTo>
                  <a:lnTo>
                    <a:pt x="112" y="11"/>
                  </a:lnTo>
                  <a:lnTo>
                    <a:pt x="114" y="11"/>
                  </a:lnTo>
                  <a:lnTo>
                    <a:pt x="116" y="11"/>
                  </a:lnTo>
                  <a:lnTo>
                    <a:pt x="118" y="11"/>
                  </a:lnTo>
                  <a:lnTo>
                    <a:pt x="119" y="11"/>
                  </a:lnTo>
                  <a:lnTo>
                    <a:pt x="121" y="11"/>
                  </a:lnTo>
                  <a:lnTo>
                    <a:pt x="123" y="11"/>
                  </a:lnTo>
                  <a:lnTo>
                    <a:pt x="125" y="11"/>
                  </a:lnTo>
                  <a:lnTo>
                    <a:pt x="127" y="11"/>
                  </a:lnTo>
                  <a:lnTo>
                    <a:pt x="127" y="9"/>
                  </a:lnTo>
                  <a:lnTo>
                    <a:pt x="129" y="9"/>
                  </a:lnTo>
                  <a:lnTo>
                    <a:pt x="131" y="9"/>
                  </a:lnTo>
                  <a:lnTo>
                    <a:pt x="131" y="11"/>
                  </a:lnTo>
                  <a:lnTo>
                    <a:pt x="131" y="13"/>
                  </a:lnTo>
                  <a:lnTo>
                    <a:pt x="133" y="11"/>
                  </a:lnTo>
                  <a:lnTo>
                    <a:pt x="133" y="13"/>
                  </a:lnTo>
                  <a:lnTo>
                    <a:pt x="135" y="13"/>
                  </a:lnTo>
                  <a:lnTo>
                    <a:pt x="137" y="13"/>
                  </a:lnTo>
                  <a:lnTo>
                    <a:pt x="137" y="15"/>
                  </a:lnTo>
                  <a:lnTo>
                    <a:pt x="137" y="17"/>
                  </a:lnTo>
                  <a:lnTo>
                    <a:pt x="139" y="17"/>
                  </a:lnTo>
                  <a:lnTo>
                    <a:pt x="139" y="19"/>
                  </a:lnTo>
                  <a:lnTo>
                    <a:pt x="137" y="19"/>
                  </a:lnTo>
                  <a:lnTo>
                    <a:pt x="139" y="19"/>
                  </a:lnTo>
                  <a:lnTo>
                    <a:pt x="137" y="19"/>
                  </a:lnTo>
                  <a:lnTo>
                    <a:pt x="137" y="21"/>
                  </a:lnTo>
                  <a:lnTo>
                    <a:pt x="139" y="21"/>
                  </a:lnTo>
                  <a:lnTo>
                    <a:pt x="139" y="23"/>
                  </a:lnTo>
                  <a:lnTo>
                    <a:pt x="139" y="24"/>
                  </a:lnTo>
                  <a:lnTo>
                    <a:pt x="139" y="23"/>
                  </a:lnTo>
                  <a:lnTo>
                    <a:pt x="139" y="24"/>
                  </a:lnTo>
                  <a:lnTo>
                    <a:pt x="139" y="26"/>
                  </a:lnTo>
                  <a:lnTo>
                    <a:pt x="139" y="28"/>
                  </a:lnTo>
                  <a:lnTo>
                    <a:pt x="139" y="30"/>
                  </a:lnTo>
                  <a:lnTo>
                    <a:pt x="141" y="30"/>
                  </a:lnTo>
                  <a:lnTo>
                    <a:pt x="141" y="32"/>
                  </a:lnTo>
                  <a:lnTo>
                    <a:pt x="141" y="34"/>
                  </a:lnTo>
                  <a:lnTo>
                    <a:pt x="141" y="36"/>
                  </a:lnTo>
                  <a:lnTo>
                    <a:pt x="142" y="36"/>
                  </a:lnTo>
                  <a:lnTo>
                    <a:pt x="142" y="38"/>
                  </a:lnTo>
                  <a:lnTo>
                    <a:pt x="142" y="40"/>
                  </a:lnTo>
                  <a:lnTo>
                    <a:pt x="144" y="40"/>
                  </a:lnTo>
                  <a:lnTo>
                    <a:pt x="144" y="42"/>
                  </a:lnTo>
                  <a:lnTo>
                    <a:pt x="142" y="42"/>
                  </a:lnTo>
                  <a:lnTo>
                    <a:pt x="144" y="42"/>
                  </a:lnTo>
                  <a:lnTo>
                    <a:pt x="142" y="42"/>
                  </a:lnTo>
                  <a:lnTo>
                    <a:pt x="144" y="42"/>
                  </a:lnTo>
                  <a:lnTo>
                    <a:pt x="142" y="42"/>
                  </a:lnTo>
                  <a:lnTo>
                    <a:pt x="144" y="42"/>
                  </a:lnTo>
                  <a:lnTo>
                    <a:pt x="142" y="42"/>
                  </a:lnTo>
                  <a:lnTo>
                    <a:pt x="144" y="44"/>
                  </a:lnTo>
                  <a:lnTo>
                    <a:pt x="144" y="46"/>
                  </a:lnTo>
                  <a:lnTo>
                    <a:pt x="144" y="48"/>
                  </a:lnTo>
                  <a:lnTo>
                    <a:pt x="144" y="49"/>
                  </a:lnTo>
                  <a:lnTo>
                    <a:pt x="144" y="51"/>
                  </a:lnTo>
                  <a:lnTo>
                    <a:pt x="142" y="51"/>
                  </a:lnTo>
                  <a:lnTo>
                    <a:pt x="142" y="53"/>
                  </a:lnTo>
                  <a:lnTo>
                    <a:pt x="141" y="53"/>
                  </a:lnTo>
                  <a:lnTo>
                    <a:pt x="139" y="53"/>
                  </a:lnTo>
                  <a:lnTo>
                    <a:pt x="139" y="55"/>
                  </a:lnTo>
                  <a:lnTo>
                    <a:pt x="137" y="55"/>
                  </a:lnTo>
                  <a:lnTo>
                    <a:pt x="137" y="57"/>
                  </a:lnTo>
                  <a:lnTo>
                    <a:pt x="135" y="57"/>
                  </a:lnTo>
                  <a:lnTo>
                    <a:pt x="135" y="59"/>
                  </a:lnTo>
                  <a:lnTo>
                    <a:pt x="133" y="59"/>
                  </a:lnTo>
                  <a:lnTo>
                    <a:pt x="133" y="61"/>
                  </a:lnTo>
                  <a:lnTo>
                    <a:pt x="133" y="63"/>
                  </a:lnTo>
                  <a:lnTo>
                    <a:pt x="135" y="63"/>
                  </a:lnTo>
                  <a:lnTo>
                    <a:pt x="137" y="63"/>
                  </a:lnTo>
                  <a:lnTo>
                    <a:pt x="137" y="65"/>
                  </a:lnTo>
                  <a:lnTo>
                    <a:pt x="139" y="65"/>
                  </a:lnTo>
                  <a:lnTo>
                    <a:pt x="137" y="65"/>
                  </a:lnTo>
                  <a:lnTo>
                    <a:pt x="139" y="65"/>
                  </a:lnTo>
                  <a:lnTo>
                    <a:pt x="139" y="67"/>
                  </a:lnTo>
                  <a:lnTo>
                    <a:pt x="141" y="67"/>
                  </a:lnTo>
                  <a:lnTo>
                    <a:pt x="141" y="69"/>
                  </a:lnTo>
                  <a:lnTo>
                    <a:pt x="139" y="69"/>
                  </a:lnTo>
                  <a:lnTo>
                    <a:pt x="141" y="69"/>
                  </a:lnTo>
                  <a:lnTo>
                    <a:pt x="141" y="71"/>
                  </a:lnTo>
                  <a:lnTo>
                    <a:pt x="139" y="71"/>
                  </a:lnTo>
                  <a:lnTo>
                    <a:pt x="141" y="71"/>
                  </a:lnTo>
                  <a:lnTo>
                    <a:pt x="139" y="71"/>
                  </a:lnTo>
                  <a:lnTo>
                    <a:pt x="139" y="73"/>
                  </a:lnTo>
                  <a:lnTo>
                    <a:pt x="141" y="73"/>
                  </a:lnTo>
                  <a:lnTo>
                    <a:pt x="139" y="73"/>
                  </a:lnTo>
                  <a:lnTo>
                    <a:pt x="141" y="73"/>
                  </a:lnTo>
                  <a:lnTo>
                    <a:pt x="139" y="73"/>
                  </a:lnTo>
                  <a:lnTo>
                    <a:pt x="139" y="74"/>
                  </a:lnTo>
                  <a:lnTo>
                    <a:pt x="139" y="73"/>
                  </a:lnTo>
                  <a:lnTo>
                    <a:pt x="139" y="74"/>
                  </a:lnTo>
                  <a:lnTo>
                    <a:pt x="139" y="76"/>
                  </a:lnTo>
                  <a:lnTo>
                    <a:pt x="139" y="78"/>
                  </a:lnTo>
                  <a:lnTo>
                    <a:pt x="139" y="80"/>
                  </a:lnTo>
                  <a:lnTo>
                    <a:pt x="141" y="80"/>
                  </a:lnTo>
                  <a:lnTo>
                    <a:pt x="141" y="82"/>
                  </a:lnTo>
                  <a:lnTo>
                    <a:pt x="141" y="84"/>
                  </a:lnTo>
                  <a:lnTo>
                    <a:pt x="141" y="86"/>
                  </a:lnTo>
                  <a:lnTo>
                    <a:pt x="141" y="84"/>
                  </a:lnTo>
                  <a:lnTo>
                    <a:pt x="141" y="86"/>
                  </a:lnTo>
                  <a:lnTo>
                    <a:pt x="141" y="84"/>
                  </a:lnTo>
                  <a:lnTo>
                    <a:pt x="141" y="86"/>
                  </a:lnTo>
                  <a:lnTo>
                    <a:pt x="141" y="84"/>
                  </a:lnTo>
                  <a:lnTo>
                    <a:pt x="141" y="86"/>
                  </a:lnTo>
                  <a:lnTo>
                    <a:pt x="141" y="84"/>
                  </a:lnTo>
                  <a:lnTo>
                    <a:pt x="141" y="86"/>
                  </a:lnTo>
                  <a:lnTo>
                    <a:pt x="141" y="88"/>
                  </a:lnTo>
                  <a:lnTo>
                    <a:pt x="142" y="88"/>
                  </a:lnTo>
                  <a:lnTo>
                    <a:pt x="142" y="90"/>
                  </a:lnTo>
                  <a:lnTo>
                    <a:pt x="144" y="90"/>
                  </a:lnTo>
                  <a:lnTo>
                    <a:pt x="144" y="92"/>
                  </a:lnTo>
                  <a:lnTo>
                    <a:pt x="144" y="94"/>
                  </a:lnTo>
                  <a:lnTo>
                    <a:pt x="146" y="94"/>
                  </a:lnTo>
                  <a:lnTo>
                    <a:pt x="146" y="96"/>
                  </a:lnTo>
                  <a:lnTo>
                    <a:pt x="144" y="96"/>
                  </a:lnTo>
                  <a:lnTo>
                    <a:pt x="144" y="97"/>
                  </a:lnTo>
                  <a:lnTo>
                    <a:pt x="146" y="97"/>
                  </a:lnTo>
                  <a:lnTo>
                    <a:pt x="146" y="99"/>
                  </a:lnTo>
                  <a:lnTo>
                    <a:pt x="146" y="101"/>
                  </a:lnTo>
                  <a:lnTo>
                    <a:pt x="146" y="103"/>
                  </a:lnTo>
                  <a:lnTo>
                    <a:pt x="146" y="105"/>
                  </a:lnTo>
                  <a:lnTo>
                    <a:pt x="144" y="105"/>
                  </a:lnTo>
                  <a:lnTo>
                    <a:pt x="142" y="105"/>
                  </a:lnTo>
                  <a:lnTo>
                    <a:pt x="141" y="105"/>
                  </a:lnTo>
                  <a:lnTo>
                    <a:pt x="141" y="107"/>
                  </a:lnTo>
                  <a:lnTo>
                    <a:pt x="139" y="107"/>
                  </a:lnTo>
                  <a:lnTo>
                    <a:pt x="139" y="109"/>
                  </a:lnTo>
                  <a:lnTo>
                    <a:pt x="137" y="109"/>
                  </a:lnTo>
                  <a:lnTo>
                    <a:pt x="137" y="111"/>
                  </a:lnTo>
                  <a:lnTo>
                    <a:pt x="135" y="111"/>
                  </a:lnTo>
                  <a:lnTo>
                    <a:pt x="135" y="113"/>
                  </a:lnTo>
                  <a:lnTo>
                    <a:pt x="133" y="113"/>
                  </a:lnTo>
                  <a:lnTo>
                    <a:pt x="133" y="115"/>
                  </a:lnTo>
                  <a:lnTo>
                    <a:pt x="133" y="117"/>
                  </a:lnTo>
                  <a:lnTo>
                    <a:pt x="131" y="117"/>
                  </a:lnTo>
                  <a:lnTo>
                    <a:pt x="131" y="119"/>
                  </a:lnTo>
                  <a:lnTo>
                    <a:pt x="129" y="119"/>
                  </a:lnTo>
                  <a:lnTo>
                    <a:pt x="129" y="121"/>
                  </a:lnTo>
                  <a:lnTo>
                    <a:pt x="127" y="121"/>
                  </a:lnTo>
                  <a:lnTo>
                    <a:pt x="127" y="122"/>
                  </a:lnTo>
                  <a:lnTo>
                    <a:pt x="127" y="124"/>
                  </a:lnTo>
                  <a:lnTo>
                    <a:pt x="125" y="124"/>
                  </a:lnTo>
                  <a:lnTo>
                    <a:pt x="125" y="126"/>
                  </a:lnTo>
                  <a:lnTo>
                    <a:pt x="125" y="128"/>
                  </a:lnTo>
                  <a:lnTo>
                    <a:pt x="127" y="128"/>
                  </a:lnTo>
                  <a:lnTo>
                    <a:pt x="127" y="130"/>
                  </a:lnTo>
                  <a:lnTo>
                    <a:pt x="127" y="132"/>
                  </a:lnTo>
                  <a:lnTo>
                    <a:pt x="125" y="132"/>
                  </a:lnTo>
                  <a:lnTo>
                    <a:pt x="127" y="132"/>
                  </a:lnTo>
                  <a:lnTo>
                    <a:pt x="127" y="134"/>
                  </a:lnTo>
                  <a:lnTo>
                    <a:pt x="125" y="134"/>
                  </a:lnTo>
                  <a:lnTo>
                    <a:pt x="127" y="134"/>
                  </a:lnTo>
                  <a:lnTo>
                    <a:pt x="129" y="134"/>
                  </a:lnTo>
                  <a:lnTo>
                    <a:pt x="129" y="136"/>
                  </a:lnTo>
                  <a:lnTo>
                    <a:pt x="129" y="138"/>
                  </a:lnTo>
                  <a:lnTo>
                    <a:pt x="127" y="138"/>
                  </a:lnTo>
                  <a:lnTo>
                    <a:pt x="127" y="136"/>
                  </a:lnTo>
                  <a:lnTo>
                    <a:pt x="125" y="136"/>
                  </a:lnTo>
                  <a:lnTo>
                    <a:pt x="123" y="136"/>
                  </a:lnTo>
                  <a:lnTo>
                    <a:pt x="121" y="136"/>
                  </a:lnTo>
                  <a:lnTo>
                    <a:pt x="121" y="134"/>
                  </a:lnTo>
                  <a:lnTo>
                    <a:pt x="119" y="134"/>
                  </a:lnTo>
                  <a:lnTo>
                    <a:pt x="118" y="134"/>
                  </a:lnTo>
                  <a:lnTo>
                    <a:pt x="118" y="132"/>
                  </a:lnTo>
                  <a:lnTo>
                    <a:pt x="116" y="132"/>
                  </a:lnTo>
                  <a:lnTo>
                    <a:pt x="116" y="130"/>
                  </a:lnTo>
                  <a:lnTo>
                    <a:pt x="114" y="130"/>
                  </a:lnTo>
                  <a:lnTo>
                    <a:pt x="114" y="128"/>
                  </a:lnTo>
                  <a:lnTo>
                    <a:pt x="112" y="128"/>
                  </a:lnTo>
                  <a:lnTo>
                    <a:pt x="112" y="130"/>
                  </a:lnTo>
                  <a:lnTo>
                    <a:pt x="112" y="128"/>
                  </a:lnTo>
                  <a:lnTo>
                    <a:pt x="110" y="128"/>
                  </a:lnTo>
                  <a:lnTo>
                    <a:pt x="108" y="128"/>
                  </a:lnTo>
                  <a:lnTo>
                    <a:pt x="106" y="128"/>
                  </a:lnTo>
                  <a:lnTo>
                    <a:pt x="106" y="126"/>
                  </a:lnTo>
                  <a:lnTo>
                    <a:pt x="106" y="128"/>
                  </a:lnTo>
                  <a:lnTo>
                    <a:pt x="106" y="126"/>
                  </a:lnTo>
                  <a:lnTo>
                    <a:pt x="104" y="126"/>
                  </a:lnTo>
                  <a:lnTo>
                    <a:pt x="104" y="128"/>
                  </a:lnTo>
                  <a:lnTo>
                    <a:pt x="102" y="128"/>
                  </a:lnTo>
                  <a:lnTo>
                    <a:pt x="102" y="130"/>
                  </a:lnTo>
                  <a:lnTo>
                    <a:pt x="102" y="128"/>
                  </a:lnTo>
                  <a:lnTo>
                    <a:pt x="102" y="130"/>
                  </a:lnTo>
                  <a:lnTo>
                    <a:pt x="102" y="128"/>
                  </a:lnTo>
                  <a:lnTo>
                    <a:pt x="102" y="130"/>
                  </a:lnTo>
                  <a:lnTo>
                    <a:pt x="102" y="128"/>
                  </a:lnTo>
                  <a:lnTo>
                    <a:pt x="102" y="130"/>
                  </a:lnTo>
                  <a:lnTo>
                    <a:pt x="102" y="128"/>
                  </a:lnTo>
                  <a:lnTo>
                    <a:pt x="102" y="130"/>
                  </a:lnTo>
                  <a:lnTo>
                    <a:pt x="100" y="130"/>
                  </a:lnTo>
                  <a:lnTo>
                    <a:pt x="98" y="130"/>
                  </a:lnTo>
                  <a:lnTo>
                    <a:pt x="100" y="130"/>
                  </a:lnTo>
                  <a:lnTo>
                    <a:pt x="98" y="130"/>
                  </a:lnTo>
                  <a:lnTo>
                    <a:pt x="98" y="128"/>
                  </a:lnTo>
                  <a:lnTo>
                    <a:pt x="96" y="128"/>
                  </a:lnTo>
                  <a:lnTo>
                    <a:pt x="98" y="128"/>
                  </a:lnTo>
                  <a:lnTo>
                    <a:pt x="96" y="128"/>
                  </a:lnTo>
                  <a:lnTo>
                    <a:pt x="94" y="128"/>
                  </a:lnTo>
                  <a:lnTo>
                    <a:pt x="93" y="128"/>
                  </a:lnTo>
                  <a:lnTo>
                    <a:pt x="91" y="128"/>
                  </a:lnTo>
                  <a:lnTo>
                    <a:pt x="91" y="130"/>
                  </a:lnTo>
                  <a:lnTo>
                    <a:pt x="89" y="130"/>
                  </a:lnTo>
                  <a:lnTo>
                    <a:pt x="89" y="132"/>
                  </a:lnTo>
                  <a:lnTo>
                    <a:pt x="87" y="132"/>
                  </a:lnTo>
                  <a:lnTo>
                    <a:pt x="87" y="134"/>
                  </a:lnTo>
                  <a:lnTo>
                    <a:pt x="87" y="132"/>
                  </a:lnTo>
                  <a:lnTo>
                    <a:pt x="85" y="132"/>
                  </a:lnTo>
                  <a:lnTo>
                    <a:pt x="85" y="134"/>
                  </a:lnTo>
                  <a:lnTo>
                    <a:pt x="85" y="132"/>
                  </a:lnTo>
                  <a:lnTo>
                    <a:pt x="83" y="132"/>
                  </a:lnTo>
                  <a:lnTo>
                    <a:pt x="83" y="130"/>
                  </a:lnTo>
                  <a:lnTo>
                    <a:pt x="83" y="128"/>
                  </a:lnTo>
                  <a:lnTo>
                    <a:pt x="81" y="128"/>
                  </a:lnTo>
                  <a:lnTo>
                    <a:pt x="83" y="128"/>
                  </a:lnTo>
                  <a:lnTo>
                    <a:pt x="81" y="128"/>
                  </a:lnTo>
                  <a:lnTo>
                    <a:pt x="81" y="126"/>
                  </a:lnTo>
                  <a:lnTo>
                    <a:pt x="81" y="128"/>
                  </a:lnTo>
                  <a:lnTo>
                    <a:pt x="81" y="126"/>
                  </a:lnTo>
                  <a:lnTo>
                    <a:pt x="79" y="126"/>
                  </a:lnTo>
                  <a:lnTo>
                    <a:pt x="79" y="124"/>
                  </a:lnTo>
                  <a:lnTo>
                    <a:pt x="77" y="124"/>
                  </a:lnTo>
                  <a:lnTo>
                    <a:pt x="77" y="126"/>
                  </a:lnTo>
                  <a:lnTo>
                    <a:pt x="77" y="124"/>
                  </a:lnTo>
                  <a:lnTo>
                    <a:pt x="77" y="126"/>
                  </a:lnTo>
                  <a:lnTo>
                    <a:pt x="77" y="124"/>
                  </a:lnTo>
                  <a:lnTo>
                    <a:pt x="77" y="126"/>
                  </a:lnTo>
                  <a:lnTo>
                    <a:pt x="75" y="126"/>
                  </a:lnTo>
                  <a:lnTo>
                    <a:pt x="75" y="128"/>
                  </a:lnTo>
                  <a:lnTo>
                    <a:pt x="75" y="126"/>
                  </a:lnTo>
                  <a:lnTo>
                    <a:pt x="75" y="128"/>
                  </a:lnTo>
                  <a:lnTo>
                    <a:pt x="73" y="128"/>
                  </a:lnTo>
                  <a:lnTo>
                    <a:pt x="71" y="128"/>
                  </a:lnTo>
                  <a:lnTo>
                    <a:pt x="71" y="126"/>
                  </a:lnTo>
                  <a:lnTo>
                    <a:pt x="70" y="126"/>
                  </a:lnTo>
                  <a:lnTo>
                    <a:pt x="70" y="124"/>
                  </a:lnTo>
                  <a:lnTo>
                    <a:pt x="70" y="122"/>
                  </a:lnTo>
                  <a:lnTo>
                    <a:pt x="68" y="122"/>
                  </a:lnTo>
                  <a:lnTo>
                    <a:pt x="68" y="121"/>
                  </a:lnTo>
                  <a:lnTo>
                    <a:pt x="68" y="122"/>
                  </a:lnTo>
                  <a:lnTo>
                    <a:pt x="68" y="121"/>
                  </a:lnTo>
                  <a:lnTo>
                    <a:pt x="68" y="122"/>
                  </a:lnTo>
                  <a:lnTo>
                    <a:pt x="68" y="121"/>
                  </a:lnTo>
                  <a:lnTo>
                    <a:pt x="66" y="121"/>
                  </a:lnTo>
                  <a:lnTo>
                    <a:pt x="66" y="119"/>
                  </a:lnTo>
                  <a:lnTo>
                    <a:pt x="66" y="117"/>
                  </a:lnTo>
                  <a:lnTo>
                    <a:pt x="64" y="117"/>
                  </a:lnTo>
                  <a:lnTo>
                    <a:pt x="62" y="117"/>
                  </a:lnTo>
                  <a:lnTo>
                    <a:pt x="62" y="115"/>
                  </a:lnTo>
                  <a:lnTo>
                    <a:pt x="60" y="115"/>
                  </a:lnTo>
                  <a:lnTo>
                    <a:pt x="58" y="115"/>
                  </a:lnTo>
                  <a:lnTo>
                    <a:pt x="58" y="113"/>
                  </a:lnTo>
                  <a:lnTo>
                    <a:pt x="58" y="115"/>
                  </a:lnTo>
                  <a:lnTo>
                    <a:pt x="56" y="115"/>
                  </a:lnTo>
                  <a:lnTo>
                    <a:pt x="54" y="115"/>
                  </a:lnTo>
                  <a:lnTo>
                    <a:pt x="54" y="113"/>
                  </a:lnTo>
                  <a:lnTo>
                    <a:pt x="52" y="113"/>
                  </a:lnTo>
                  <a:lnTo>
                    <a:pt x="54" y="113"/>
                  </a:lnTo>
                  <a:lnTo>
                    <a:pt x="52" y="113"/>
                  </a:lnTo>
                  <a:lnTo>
                    <a:pt x="52" y="111"/>
                  </a:lnTo>
                  <a:lnTo>
                    <a:pt x="50" y="111"/>
                  </a:lnTo>
                  <a:lnTo>
                    <a:pt x="52" y="111"/>
                  </a:lnTo>
                  <a:lnTo>
                    <a:pt x="54" y="111"/>
                  </a:lnTo>
                  <a:lnTo>
                    <a:pt x="54" y="109"/>
                  </a:lnTo>
                  <a:lnTo>
                    <a:pt x="52" y="109"/>
                  </a:lnTo>
                  <a:lnTo>
                    <a:pt x="54" y="109"/>
                  </a:lnTo>
                  <a:lnTo>
                    <a:pt x="54" y="107"/>
                  </a:lnTo>
                  <a:lnTo>
                    <a:pt x="52" y="107"/>
                  </a:lnTo>
                  <a:lnTo>
                    <a:pt x="52" y="109"/>
                  </a:lnTo>
                  <a:lnTo>
                    <a:pt x="50" y="109"/>
                  </a:lnTo>
                  <a:lnTo>
                    <a:pt x="52" y="109"/>
                  </a:lnTo>
                  <a:lnTo>
                    <a:pt x="50" y="109"/>
                  </a:lnTo>
                  <a:lnTo>
                    <a:pt x="48" y="109"/>
                  </a:lnTo>
                  <a:lnTo>
                    <a:pt x="48" y="107"/>
                  </a:lnTo>
                  <a:lnTo>
                    <a:pt x="47" y="107"/>
                  </a:lnTo>
                  <a:lnTo>
                    <a:pt x="45" y="107"/>
                  </a:lnTo>
                  <a:lnTo>
                    <a:pt x="45" y="105"/>
                  </a:lnTo>
                  <a:lnTo>
                    <a:pt x="43" y="105"/>
                  </a:lnTo>
                  <a:lnTo>
                    <a:pt x="41" y="105"/>
                  </a:lnTo>
                  <a:lnTo>
                    <a:pt x="41" y="107"/>
                  </a:lnTo>
                  <a:lnTo>
                    <a:pt x="43" y="107"/>
                  </a:lnTo>
                  <a:lnTo>
                    <a:pt x="43" y="109"/>
                  </a:lnTo>
                  <a:lnTo>
                    <a:pt x="41" y="109"/>
                  </a:lnTo>
                  <a:lnTo>
                    <a:pt x="41" y="111"/>
                  </a:lnTo>
                  <a:lnTo>
                    <a:pt x="39" y="111"/>
                  </a:lnTo>
                  <a:lnTo>
                    <a:pt x="39" y="113"/>
                  </a:lnTo>
                  <a:lnTo>
                    <a:pt x="37" y="113"/>
                  </a:lnTo>
                  <a:lnTo>
                    <a:pt x="37" y="111"/>
                  </a:lnTo>
                  <a:lnTo>
                    <a:pt x="37" y="109"/>
                  </a:lnTo>
                  <a:lnTo>
                    <a:pt x="35" y="109"/>
                  </a:lnTo>
                  <a:lnTo>
                    <a:pt x="35" y="107"/>
                  </a:lnTo>
                  <a:lnTo>
                    <a:pt x="33" y="107"/>
                  </a:lnTo>
                  <a:lnTo>
                    <a:pt x="33" y="105"/>
                  </a:lnTo>
                  <a:lnTo>
                    <a:pt x="33" y="107"/>
                  </a:lnTo>
                  <a:lnTo>
                    <a:pt x="33" y="105"/>
                  </a:lnTo>
                  <a:lnTo>
                    <a:pt x="33" y="107"/>
                  </a:lnTo>
                  <a:lnTo>
                    <a:pt x="33" y="105"/>
                  </a:lnTo>
                  <a:lnTo>
                    <a:pt x="33" y="107"/>
                  </a:lnTo>
                  <a:lnTo>
                    <a:pt x="33" y="105"/>
                  </a:lnTo>
                  <a:lnTo>
                    <a:pt x="33" y="107"/>
                  </a:lnTo>
                  <a:lnTo>
                    <a:pt x="31" y="107"/>
                  </a:lnTo>
                  <a:lnTo>
                    <a:pt x="31" y="105"/>
                  </a:lnTo>
                  <a:lnTo>
                    <a:pt x="31" y="103"/>
                  </a:lnTo>
                  <a:lnTo>
                    <a:pt x="31" y="105"/>
                  </a:lnTo>
                  <a:lnTo>
                    <a:pt x="31" y="103"/>
                  </a:lnTo>
                  <a:lnTo>
                    <a:pt x="33" y="103"/>
                  </a:lnTo>
                  <a:lnTo>
                    <a:pt x="33" y="101"/>
                  </a:lnTo>
                  <a:lnTo>
                    <a:pt x="33" y="103"/>
                  </a:lnTo>
                  <a:lnTo>
                    <a:pt x="33" y="101"/>
                  </a:lnTo>
                  <a:lnTo>
                    <a:pt x="35" y="101"/>
                  </a:lnTo>
                  <a:lnTo>
                    <a:pt x="33" y="101"/>
                  </a:lnTo>
                  <a:lnTo>
                    <a:pt x="33" y="99"/>
                  </a:lnTo>
                  <a:lnTo>
                    <a:pt x="31" y="99"/>
                  </a:lnTo>
                  <a:lnTo>
                    <a:pt x="31" y="101"/>
                  </a:lnTo>
                  <a:lnTo>
                    <a:pt x="31" y="99"/>
                  </a:lnTo>
                  <a:lnTo>
                    <a:pt x="29" y="99"/>
                  </a:lnTo>
                  <a:lnTo>
                    <a:pt x="29" y="101"/>
                  </a:lnTo>
                  <a:lnTo>
                    <a:pt x="27" y="101"/>
                  </a:lnTo>
                  <a:lnTo>
                    <a:pt x="27" y="99"/>
                  </a:lnTo>
                  <a:lnTo>
                    <a:pt x="25" y="99"/>
                  </a:lnTo>
                  <a:lnTo>
                    <a:pt x="25" y="97"/>
                  </a:lnTo>
                  <a:lnTo>
                    <a:pt x="23" y="97"/>
                  </a:lnTo>
                  <a:lnTo>
                    <a:pt x="22" y="97"/>
                  </a:lnTo>
                  <a:lnTo>
                    <a:pt x="20" y="97"/>
                  </a:lnTo>
                  <a:lnTo>
                    <a:pt x="20" y="96"/>
                  </a:lnTo>
                  <a:lnTo>
                    <a:pt x="20" y="97"/>
                  </a:lnTo>
                  <a:lnTo>
                    <a:pt x="20" y="96"/>
                  </a:lnTo>
                  <a:lnTo>
                    <a:pt x="18" y="96"/>
                  </a:lnTo>
                  <a:lnTo>
                    <a:pt x="20" y="96"/>
                  </a:lnTo>
                  <a:lnTo>
                    <a:pt x="18" y="96"/>
                  </a:lnTo>
                  <a:lnTo>
                    <a:pt x="20" y="96"/>
                  </a:lnTo>
                  <a:lnTo>
                    <a:pt x="18" y="96"/>
                  </a:lnTo>
                  <a:lnTo>
                    <a:pt x="18" y="94"/>
                  </a:lnTo>
                  <a:lnTo>
                    <a:pt x="18" y="92"/>
                  </a:lnTo>
                  <a:lnTo>
                    <a:pt x="16" y="92"/>
                  </a:lnTo>
                  <a:lnTo>
                    <a:pt x="14" y="92"/>
                  </a:lnTo>
                  <a:lnTo>
                    <a:pt x="16" y="92"/>
                  </a:lnTo>
                  <a:lnTo>
                    <a:pt x="14" y="92"/>
                  </a:lnTo>
                  <a:lnTo>
                    <a:pt x="12" y="92"/>
                  </a:lnTo>
                  <a:lnTo>
                    <a:pt x="14" y="92"/>
                  </a:lnTo>
                  <a:lnTo>
                    <a:pt x="14" y="94"/>
                  </a:lnTo>
                  <a:lnTo>
                    <a:pt x="14" y="96"/>
                  </a:lnTo>
                  <a:lnTo>
                    <a:pt x="12" y="96"/>
                  </a:lnTo>
                  <a:lnTo>
                    <a:pt x="10" y="96"/>
                  </a:lnTo>
                  <a:lnTo>
                    <a:pt x="10" y="94"/>
                  </a:lnTo>
                  <a:lnTo>
                    <a:pt x="12" y="94"/>
                  </a:lnTo>
                  <a:lnTo>
                    <a:pt x="12" y="92"/>
                  </a:lnTo>
                  <a:lnTo>
                    <a:pt x="12" y="90"/>
                  </a:lnTo>
                  <a:lnTo>
                    <a:pt x="14" y="90"/>
                  </a:lnTo>
                  <a:lnTo>
                    <a:pt x="14" y="88"/>
                  </a:lnTo>
                  <a:lnTo>
                    <a:pt x="14" y="86"/>
                  </a:lnTo>
                  <a:lnTo>
                    <a:pt x="14" y="84"/>
                  </a:lnTo>
                  <a:lnTo>
                    <a:pt x="12" y="84"/>
                  </a:lnTo>
                  <a:lnTo>
                    <a:pt x="14" y="84"/>
                  </a:lnTo>
                  <a:lnTo>
                    <a:pt x="14" y="82"/>
                  </a:lnTo>
                  <a:lnTo>
                    <a:pt x="12" y="82"/>
                  </a:lnTo>
                  <a:lnTo>
                    <a:pt x="14" y="82"/>
                  </a:lnTo>
                  <a:lnTo>
                    <a:pt x="12" y="82"/>
                  </a:lnTo>
                  <a:lnTo>
                    <a:pt x="14" y="82"/>
                  </a:lnTo>
                  <a:lnTo>
                    <a:pt x="12" y="82"/>
                  </a:lnTo>
                  <a:lnTo>
                    <a:pt x="12" y="80"/>
                  </a:lnTo>
                  <a:lnTo>
                    <a:pt x="10" y="80"/>
                  </a:lnTo>
                  <a:lnTo>
                    <a:pt x="10" y="78"/>
                  </a:lnTo>
                  <a:lnTo>
                    <a:pt x="8" y="78"/>
                  </a:lnTo>
                  <a:lnTo>
                    <a:pt x="10" y="78"/>
                  </a:lnTo>
                  <a:lnTo>
                    <a:pt x="10" y="76"/>
                  </a:lnTo>
                  <a:lnTo>
                    <a:pt x="8" y="74"/>
                  </a:lnTo>
                  <a:lnTo>
                    <a:pt x="8" y="73"/>
                  </a:lnTo>
                  <a:lnTo>
                    <a:pt x="8" y="71"/>
                  </a:lnTo>
                  <a:lnTo>
                    <a:pt x="10" y="71"/>
                  </a:lnTo>
                  <a:lnTo>
                    <a:pt x="10" y="69"/>
                  </a:lnTo>
                  <a:lnTo>
                    <a:pt x="8" y="69"/>
                  </a:lnTo>
                  <a:lnTo>
                    <a:pt x="10" y="69"/>
                  </a:lnTo>
                  <a:lnTo>
                    <a:pt x="10" y="67"/>
                  </a:lnTo>
                  <a:lnTo>
                    <a:pt x="8" y="67"/>
                  </a:lnTo>
                  <a:lnTo>
                    <a:pt x="8" y="65"/>
                  </a:lnTo>
                  <a:lnTo>
                    <a:pt x="8" y="63"/>
                  </a:lnTo>
                  <a:lnTo>
                    <a:pt x="10" y="63"/>
                  </a:lnTo>
                  <a:lnTo>
                    <a:pt x="8" y="63"/>
                  </a:lnTo>
                  <a:lnTo>
                    <a:pt x="8" y="61"/>
                  </a:lnTo>
                  <a:lnTo>
                    <a:pt x="6" y="61"/>
                  </a:lnTo>
                  <a:lnTo>
                    <a:pt x="8" y="61"/>
                  </a:lnTo>
                  <a:lnTo>
                    <a:pt x="6" y="61"/>
                  </a:lnTo>
                  <a:lnTo>
                    <a:pt x="6" y="59"/>
                  </a:lnTo>
                  <a:lnTo>
                    <a:pt x="6" y="57"/>
                  </a:lnTo>
                  <a:lnTo>
                    <a:pt x="8" y="57"/>
                  </a:lnTo>
                  <a:lnTo>
                    <a:pt x="8" y="55"/>
                  </a:lnTo>
                  <a:lnTo>
                    <a:pt x="8" y="53"/>
                  </a:lnTo>
                  <a:lnTo>
                    <a:pt x="6" y="53"/>
                  </a:lnTo>
                  <a:lnTo>
                    <a:pt x="6" y="51"/>
                  </a:lnTo>
                  <a:lnTo>
                    <a:pt x="4" y="51"/>
                  </a:lnTo>
                  <a:lnTo>
                    <a:pt x="4" y="49"/>
                  </a:lnTo>
                  <a:lnTo>
                    <a:pt x="2" y="49"/>
                  </a:lnTo>
                  <a:lnTo>
                    <a:pt x="0" y="49"/>
                  </a:lnTo>
                  <a:lnTo>
                    <a:pt x="0" y="48"/>
                  </a:lnTo>
                  <a:lnTo>
                    <a:pt x="0" y="49"/>
                  </a:lnTo>
                  <a:lnTo>
                    <a:pt x="0" y="48"/>
                  </a:lnTo>
                  <a:lnTo>
                    <a:pt x="0" y="46"/>
                  </a:lnTo>
                  <a:lnTo>
                    <a:pt x="2" y="46"/>
                  </a:lnTo>
                  <a:lnTo>
                    <a:pt x="2" y="44"/>
                  </a:lnTo>
                  <a:lnTo>
                    <a:pt x="4" y="44"/>
                  </a:lnTo>
                  <a:lnTo>
                    <a:pt x="4" y="42"/>
                  </a:lnTo>
                  <a:lnTo>
                    <a:pt x="4" y="40"/>
                  </a:lnTo>
                  <a:lnTo>
                    <a:pt x="4" y="38"/>
                  </a:lnTo>
                  <a:lnTo>
                    <a:pt x="6" y="38"/>
                  </a:lnTo>
                  <a:lnTo>
                    <a:pt x="4" y="38"/>
                  </a:lnTo>
                  <a:lnTo>
                    <a:pt x="4" y="36"/>
                  </a:lnTo>
                  <a:lnTo>
                    <a:pt x="4" y="34"/>
                  </a:lnTo>
                  <a:lnTo>
                    <a:pt x="4" y="32"/>
                  </a:lnTo>
                  <a:lnTo>
                    <a:pt x="2" y="32"/>
                  </a:lnTo>
                  <a:lnTo>
                    <a:pt x="4" y="32"/>
                  </a:lnTo>
                  <a:lnTo>
                    <a:pt x="4" y="30"/>
                  </a:lnTo>
                  <a:lnTo>
                    <a:pt x="2" y="30"/>
                  </a:lnTo>
                  <a:lnTo>
                    <a:pt x="2" y="28"/>
                  </a:lnTo>
                  <a:lnTo>
                    <a:pt x="2" y="26"/>
                  </a:lnTo>
                  <a:lnTo>
                    <a:pt x="4" y="26"/>
                  </a:lnTo>
                  <a:lnTo>
                    <a:pt x="4" y="28"/>
                  </a:lnTo>
                  <a:lnTo>
                    <a:pt x="6" y="28"/>
                  </a:lnTo>
                  <a:lnTo>
                    <a:pt x="6" y="30"/>
                  </a:lnTo>
                  <a:lnTo>
                    <a:pt x="8" y="30"/>
                  </a:lnTo>
                  <a:lnTo>
                    <a:pt x="8" y="28"/>
                  </a:lnTo>
                  <a:lnTo>
                    <a:pt x="6" y="28"/>
                  </a:lnTo>
                  <a:lnTo>
                    <a:pt x="6" y="26"/>
                  </a:lnTo>
                  <a:lnTo>
                    <a:pt x="8" y="26"/>
                  </a:lnTo>
                  <a:lnTo>
                    <a:pt x="8" y="24"/>
                  </a:lnTo>
                  <a:lnTo>
                    <a:pt x="8" y="23"/>
                  </a:lnTo>
                  <a:lnTo>
                    <a:pt x="8" y="21"/>
                  </a:lnTo>
                  <a:lnTo>
                    <a:pt x="10" y="21"/>
                  </a:lnTo>
                  <a:lnTo>
                    <a:pt x="10" y="19"/>
                  </a:lnTo>
                  <a:lnTo>
                    <a:pt x="12" y="19"/>
                  </a:lnTo>
                  <a:lnTo>
                    <a:pt x="14" y="19"/>
                  </a:lnTo>
                  <a:lnTo>
                    <a:pt x="14" y="17"/>
                  </a:lnTo>
                  <a:lnTo>
                    <a:pt x="16" y="17"/>
                  </a:lnTo>
                  <a:lnTo>
                    <a:pt x="18" y="17"/>
                  </a:lnTo>
                  <a:lnTo>
                    <a:pt x="18" y="15"/>
                  </a:lnTo>
                  <a:lnTo>
                    <a:pt x="20" y="15"/>
                  </a:lnTo>
                  <a:lnTo>
                    <a:pt x="22" y="15"/>
                  </a:lnTo>
                  <a:lnTo>
                    <a:pt x="23" y="15"/>
                  </a:lnTo>
                  <a:lnTo>
                    <a:pt x="25" y="15"/>
                  </a:lnTo>
                  <a:lnTo>
                    <a:pt x="25" y="13"/>
                  </a:lnTo>
                  <a:lnTo>
                    <a:pt x="27" y="13"/>
                  </a:lnTo>
                  <a:lnTo>
                    <a:pt x="29" y="13"/>
                  </a:lnTo>
                  <a:lnTo>
                    <a:pt x="31" y="13"/>
                  </a:lnTo>
                  <a:lnTo>
                    <a:pt x="31" y="11"/>
                  </a:lnTo>
                  <a:lnTo>
                    <a:pt x="31" y="13"/>
                  </a:lnTo>
                  <a:lnTo>
                    <a:pt x="29" y="13"/>
                  </a:lnTo>
                  <a:lnTo>
                    <a:pt x="31" y="13"/>
                  </a:lnTo>
                  <a:lnTo>
                    <a:pt x="31" y="11"/>
                  </a:lnTo>
                  <a:lnTo>
                    <a:pt x="33" y="11"/>
                  </a:lnTo>
                  <a:lnTo>
                    <a:pt x="33" y="9"/>
                  </a:lnTo>
                  <a:lnTo>
                    <a:pt x="33" y="7"/>
                  </a:lnTo>
                  <a:lnTo>
                    <a:pt x="35" y="7"/>
                  </a:lnTo>
                  <a:lnTo>
                    <a:pt x="35" y="5"/>
                  </a:lnTo>
                  <a:lnTo>
                    <a:pt x="37" y="5"/>
                  </a:lnTo>
                  <a:lnTo>
                    <a:pt x="39" y="5"/>
                  </a:lnTo>
                  <a:lnTo>
                    <a:pt x="41" y="5"/>
                  </a:lnTo>
                  <a:lnTo>
                    <a:pt x="43" y="5"/>
                  </a:lnTo>
                  <a:lnTo>
                    <a:pt x="43" y="3"/>
                  </a:lnTo>
                  <a:lnTo>
                    <a:pt x="45" y="3"/>
                  </a:lnTo>
                  <a:lnTo>
                    <a:pt x="45" y="1"/>
                  </a:lnTo>
                  <a:lnTo>
                    <a:pt x="47" y="1"/>
                  </a:lnTo>
                  <a:lnTo>
                    <a:pt x="48" y="1"/>
                  </a:lnTo>
                  <a:lnTo>
                    <a:pt x="50" y="1"/>
                  </a:lnTo>
                  <a:lnTo>
                    <a:pt x="50" y="0"/>
                  </a:lnTo>
                  <a:lnTo>
                    <a:pt x="52" y="0"/>
                  </a:lnTo>
                  <a:lnTo>
                    <a:pt x="54" y="0"/>
                  </a:lnTo>
                  <a:lnTo>
                    <a:pt x="56" y="0"/>
                  </a:lnTo>
                  <a:lnTo>
                    <a:pt x="58" y="0"/>
                  </a:lnTo>
                  <a:lnTo>
                    <a:pt x="60" y="0"/>
                  </a:lnTo>
                  <a:lnTo>
                    <a:pt x="62" y="0"/>
                  </a:lnTo>
                  <a:lnTo>
                    <a:pt x="64" y="0"/>
                  </a:lnTo>
                  <a:lnTo>
                    <a:pt x="64" y="1"/>
                  </a:lnTo>
                  <a:lnTo>
                    <a:pt x="66" y="1"/>
                  </a:lnTo>
                  <a:lnTo>
                    <a:pt x="68" y="1"/>
                  </a:lnTo>
                  <a:lnTo>
                    <a:pt x="68" y="3"/>
                  </a:lnTo>
                  <a:lnTo>
                    <a:pt x="70" y="3"/>
                  </a:lnTo>
                  <a:lnTo>
                    <a:pt x="70" y="5"/>
                  </a:lnTo>
                  <a:lnTo>
                    <a:pt x="70" y="3"/>
                  </a:lnTo>
                  <a:lnTo>
                    <a:pt x="68" y="3"/>
                  </a:lnTo>
                  <a:lnTo>
                    <a:pt x="70" y="3"/>
                  </a:lnTo>
                  <a:lnTo>
                    <a:pt x="68" y="3"/>
                  </a:lnTo>
                  <a:lnTo>
                    <a:pt x="68" y="1"/>
                  </a:lnTo>
                  <a:lnTo>
                    <a:pt x="66" y="1"/>
                  </a:lnTo>
                  <a:lnTo>
                    <a:pt x="64" y="1"/>
                  </a:lnTo>
                  <a:lnTo>
                    <a:pt x="64" y="0"/>
                  </a:lnTo>
                  <a:lnTo>
                    <a:pt x="64" y="1"/>
                  </a:lnTo>
                  <a:lnTo>
                    <a:pt x="64" y="3"/>
                  </a:lnTo>
                  <a:lnTo>
                    <a:pt x="64" y="5"/>
                  </a:lnTo>
                  <a:lnTo>
                    <a:pt x="66" y="5"/>
                  </a:lnTo>
                  <a:lnTo>
                    <a:pt x="66" y="7"/>
                  </a:lnTo>
                  <a:lnTo>
                    <a:pt x="66" y="9"/>
                  </a:lnTo>
                  <a:lnTo>
                    <a:pt x="68" y="9"/>
                  </a:lnTo>
                  <a:lnTo>
                    <a:pt x="68" y="11"/>
                  </a:lnTo>
                  <a:lnTo>
                    <a:pt x="70" y="11"/>
                  </a:lnTo>
                  <a:lnTo>
                    <a:pt x="68" y="11"/>
                  </a:lnTo>
                  <a:lnTo>
                    <a:pt x="70" y="11"/>
                  </a:lnTo>
                  <a:lnTo>
                    <a:pt x="71" y="11"/>
                  </a:lnTo>
                  <a:lnTo>
                    <a:pt x="73" y="11"/>
                  </a:lnTo>
                  <a:lnTo>
                    <a:pt x="75" y="11"/>
                  </a:lnTo>
                  <a:lnTo>
                    <a:pt x="77" y="11"/>
                  </a:lnTo>
                  <a:lnTo>
                    <a:pt x="77" y="9"/>
                  </a:lnTo>
                  <a:lnTo>
                    <a:pt x="79" y="9"/>
                  </a:lnTo>
                  <a:lnTo>
                    <a:pt x="81" y="9"/>
                  </a:lnTo>
                  <a:lnTo>
                    <a:pt x="81" y="7"/>
                  </a:lnTo>
                  <a:close/>
                  <a:moveTo>
                    <a:pt x="10" y="19"/>
                  </a:moveTo>
                  <a:lnTo>
                    <a:pt x="10" y="21"/>
                  </a:lnTo>
                  <a:lnTo>
                    <a:pt x="10" y="19"/>
                  </a:lnTo>
                  <a:lnTo>
                    <a:pt x="8" y="19"/>
                  </a:lnTo>
                  <a:lnTo>
                    <a:pt x="8" y="21"/>
                  </a:lnTo>
                  <a:lnTo>
                    <a:pt x="8" y="23"/>
                  </a:lnTo>
                  <a:lnTo>
                    <a:pt x="8" y="24"/>
                  </a:lnTo>
                  <a:lnTo>
                    <a:pt x="6" y="24"/>
                  </a:lnTo>
                  <a:lnTo>
                    <a:pt x="8" y="24"/>
                  </a:lnTo>
                  <a:lnTo>
                    <a:pt x="6" y="24"/>
                  </a:lnTo>
                  <a:lnTo>
                    <a:pt x="6" y="23"/>
                  </a:lnTo>
                  <a:lnTo>
                    <a:pt x="4" y="23"/>
                  </a:lnTo>
                  <a:lnTo>
                    <a:pt x="2" y="23"/>
                  </a:lnTo>
                  <a:lnTo>
                    <a:pt x="2" y="21"/>
                  </a:lnTo>
                  <a:lnTo>
                    <a:pt x="2" y="23"/>
                  </a:lnTo>
                  <a:lnTo>
                    <a:pt x="4" y="23"/>
                  </a:lnTo>
                  <a:lnTo>
                    <a:pt x="4" y="21"/>
                  </a:lnTo>
                  <a:lnTo>
                    <a:pt x="6" y="21"/>
                  </a:lnTo>
                  <a:lnTo>
                    <a:pt x="8" y="21"/>
                  </a:lnTo>
                  <a:lnTo>
                    <a:pt x="8" y="19"/>
                  </a:lnTo>
                  <a:lnTo>
                    <a:pt x="10" y="19"/>
                  </a:lnTo>
                  <a:close/>
                  <a:moveTo>
                    <a:pt x="0" y="21"/>
                  </a:moveTo>
                  <a:lnTo>
                    <a:pt x="4" y="21"/>
                  </a:lnTo>
                  <a:lnTo>
                    <a:pt x="4" y="24"/>
                  </a:lnTo>
                  <a:lnTo>
                    <a:pt x="0" y="24"/>
                  </a:lnTo>
                  <a:lnTo>
                    <a:pt x="0" y="21"/>
                  </a:lnTo>
                  <a:close/>
                  <a:moveTo>
                    <a:pt x="2" y="23"/>
                  </a:moveTo>
                  <a:lnTo>
                    <a:pt x="4" y="23"/>
                  </a:lnTo>
                  <a:lnTo>
                    <a:pt x="4" y="24"/>
                  </a:lnTo>
                  <a:lnTo>
                    <a:pt x="2" y="24"/>
                  </a:lnTo>
                  <a:lnTo>
                    <a:pt x="2" y="23"/>
                  </a:lnTo>
                  <a:close/>
                  <a:moveTo>
                    <a:pt x="8" y="21"/>
                  </a:moveTo>
                  <a:lnTo>
                    <a:pt x="10" y="21"/>
                  </a:lnTo>
                  <a:lnTo>
                    <a:pt x="8" y="21"/>
                  </a:lnTo>
                  <a:close/>
                  <a:moveTo>
                    <a:pt x="4" y="23"/>
                  </a:moveTo>
                  <a:lnTo>
                    <a:pt x="4" y="24"/>
                  </a:lnTo>
                  <a:lnTo>
                    <a:pt x="4" y="23"/>
                  </a:lnTo>
                  <a:close/>
                  <a:moveTo>
                    <a:pt x="2" y="23"/>
                  </a:moveTo>
                  <a:lnTo>
                    <a:pt x="4" y="23"/>
                  </a:lnTo>
                  <a:lnTo>
                    <a:pt x="2" y="23"/>
                  </a:lnTo>
                  <a:close/>
                  <a:moveTo>
                    <a:pt x="8" y="23"/>
                  </a:moveTo>
                  <a:lnTo>
                    <a:pt x="8" y="24"/>
                  </a:lnTo>
                  <a:lnTo>
                    <a:pt x="8" y="2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385">
              <a:extLst>
                <a:ext uri="{FF2B5EF4-FFF2-40B4-BE49-F238E27FC236}">
                  <a16:creationId xmlns:a16="http://schemas.microsoft.com/office/drawing/2014/main" id="{6CD99B5E-4EF5-4782-B1AE-16D85B4ED15E}"/>
                </a:ext>
              </a:extLst>
            </p:cNvPr>
            <p:cNvSpPr>
              <a:spLocks/>
            </p:cNvSpPr>
            <p:nvPr/>
          </p:nvSpPr>
          <p:spPr bwMode="gray">
            <a:xfrm>
              <a:off x="3512403" y="3338837"/>
              <a:ext cx="100563" cy="50282"/>
            </a:xfrm>
            <a:custGeom>
              <a:avLst/>
              <a:gdLst>
                <a:gd name="T0" fmla="*/ 80 w 82"/>
                <a:gd name="T1" fmla="*/ 16 h 41"/>
                <a:gd name="T2" fmla="*/ 78 w 82"/>
                <a:gd name="T3" fmla="*/ 22 h 41"/>
                <a:gd name="T4" fmla="*/ 77 w 82"/>
                <a:gd name="T5" fmla="*/ 27 h 41"/>
                <a:gd name="T6" fmla="*/ 73 w 82"/>
                <a:gd name="T7" fmla="*/ 27 h 41"/>
                <a:gd name="T8" fmla="*/ 69 w 82"/>
                <a:gd name="T9" fmla="*/ 27 h 41"/>
                <a:gd name="T10" fmla="*/ 67 w 82"/>
                <a:gd name="T11" fmla="*/ 23 h 41"/>
                <a:gd name="T12" fmla="*/ 61 w 82"/>
                <a:gd name="T13" fmla="*/ 25 h 41"/>
                <a:gd name="T14" fmla="*/ 55 w 82"/>
                <a:gd name="T15" fmla="*/ 23 h 41"/>
                <a:gd name="T16" fmla="*/ 52 w 82"/>
                <a:gd name="T17" fmla="*/ 27 h 41"/>
                <a:gd name="T18" fmla="*/ 48 w 82"/>
                <a:gd name="T19" fmla="*/ 31 h 41"/>
                <a:gd name="T20" fmla="*/ 44 w 82"/>
                <a:gd name="T21" fmla="*/ 31 h 41"/>
                <a:gd name="T22" fmla="*/ 42 w 82"/>
                <a:gd name="T23" fmla="*/ 33 h 41"/>
                <a:gd name="T24" fmla="*/ 40 w 82"/>
                <a:gd name="T25" fmla="*/ 31 h 41"/>
                <a:gd name="T26" fmla="*/ 38 w 82"/>
                <a:gd name="T27" fmla="*/ 33 h 41"/>
                <a:gd name="T28" fmla="*/ 32 w 82"/>
                <a:gd name="T29" fmla="*/ 35 h 41"/>
                <a:gd name="T30" fmla="*/ 32 w 82"/>
                <a:gd name="T31" fmla="*/ 35 h 41"/>
                <a:gd name="T32" fmla="*/ 32 w 82"/>
                <a:gd name="T33" fmla="*/ 35 h 41"/>
                <a:gd name="T34" fmla="*/ 30 w 82"/>
                <a:gd name="T35" fmla="*/ 33 h 41"/>
                <a:gd name="T36" fmla="*/ 29 w 82"/>
                <a:gd name="T37" fmla="*/ 35 h 41"/>
                <a:gd name="T38" fmla="*/ 29 w 82"/>
                <a:gd name="T39" fmla="*/ 39 h 41"/>
                <a:gd name="T40" fmla="*/ 23 w 82"/>
                <a:gd name="T41" fmla="*/ 41 h 41"/>
                <a:gd name="T42" fmla="*/ 15 w 82"/>
                <a:gd name="T43" fmla="*/ 41 h 41"/>
                <a:gd name="T44" fmla="*/ 9 w 82"/>
                <a:gd name="T45" fmla="*/ 39 h 41"/>
                <a:gd name="T46" fmla="*/ 6 w 82"/>
                <a:gd name="T47" fmla="*/ 35 h 41"/>
                <a:gd name="T48" fmla="*/ 2 w 82"/>
                <a:gd name="T49" fmla="*/ 35 h 41"/>
                <a:gd name="T50" fmla="*/ 2 w 82"/>
                <a:gd name="T51" fmla="*/ 33 h 41"/>
                <a:gd name="T52" fmla="*/ 2 w 82"/>
                <a:gd name="T53" fmla="*/ 33 h 41"/>
                <a:gd name="T54" fmla="*/ 2 w 82"/>
                <a:gd name="T55" fmla="*/ 29 h 41"/>
                <a:gd name="T56" fmla="*/ 0 w 82"/>
                <a:gd name="T57" fmla="*/ 23 h 41"/>
                <a:gd name="T58" fmla="*/ 0 w 82"/>
                <a:gd name="T59" fmla="*/ 23 h 41"/>
                <a:gd name="T60" fmla="*/ 2 w 82"/>
                <a:gd name="T61" fmla="*/ 22 h 41"/>
                <a:gd name="T62" fmla="*/ 4 w 82"/>
                <a:gd name="T63" fmla="*/ 16 h 41"/>
                <a:gd name="T64" fmla="*/ 9 w 82"/>
                <a:gd name="T65" fmla="*/ 18 h 41"/>
                <a:gd name="T66" fmla="*/ 15 w 82"/>
                <a:gd name="T67" fmla="*/ 16 h 41"/>
                <a:gd name="T68" fmla="*/ 17 w 82"/>
                <a:gd name="T69" fmla="*/ 14 h 41"/>
                <a:gd name="T70" fmla="*/ 17 w 82"/>
                <a:gd name="T71" fmla="*/ 10 h 41"/>
                <a:gd name="T72" fmla="*/ 21 w 82"/>
                <a:gd name="T73" fmla="*/ 6 h 41"/>
                <a:gd name="T74" fmla="*/ 25 w 82"/>
                <a:gd name="T75" fmla="*/ 2 h 41"/>
                <a:gd name="T76" fmla="*/ 30 w 82"/>
                <a:gd name="T77" fmla="*/ 4 h 41"/>
                <a:gd name="T78" fmla="*/ 34 w 82"/>
                <a:gd name="T79" fmla="*/ 4 h 41"/>
                <a:gd name="T80" fmla="*/ 36 w 82"/>
                <a:gd name="T81" fmla="*/ 2 h 41"/>
                <a:gd name="T82" fmla="*/ 38 w 82"/>
                <a:gd name="T83" fmla="*/ 0 h 41"/>
                <a:gd name="T84" fmla="*/ 40 w 82"/>
                <a:gd name="T85" fmla="*/ 2 h 41"/>
                <a:gd name="T86" fmla="*/ 42 w 82"/>
                <a:gd name="T87" fmla="*/ 4 h 41"/>
                <a:gd name="T88" fmla="*/ 44 w 82"/>
                <a:gd name="T89" fmla="*/ 10 h 41"/>
                <a:gd name="T90" fmla="*/ 46 w 82"/>
                <a:gd name="T91" fmla="*/ 8 h 41"/>
                <a:gd name="T92" fmla="*/ 50 w 82"/>
                <a:gd name="T93" fmla="*/ 4 h 41"/>
                <a:gd name="T94" fmla="*/ 57 w 82"/>
                <a:gd name="T95" fmla="*/ 4 h 41"/>
                <a:gd name="T96" fmla="*/ 59 w 82"/>
                <a:gd name="T97" fmla="*/ 6 h 41"/>
                <a:gd name="T98" fmla="*/ 61 w 82"/>
                <a:gd name="T99" fmla="*/ 4 h 41"/>
                <a:gd name="T100" fmla="*/ 61 w 82"/>
                <a:gd name="T101" fmla="*/ 4 h 41"/>
                <a:gd name="T102" fmla="*/ 61 w 82"/>
                <a:gd name="T103" fmla="*/ 4 h 41"/>
                <a:gd name="T104" fmla="*/ 65 w 82"/>
                <a:gd name="T105" fmla="*/ 4 h 41"/>
                <a:gd name="T106" fmla="*/ 69 w 82"/>
                <a:gd name="T107" fmla="*/ 4 h 41"/>
                <a:gd name="T108" fmla="*/ 73 w 82"/>
                <a:gd name="T109" fmla="*/ 4 h 41"/>
                <a:gd name="T110" fmla="*/ 77 w 82"/>
                <a:gd name="T111" fmla="*/ 8 h 41"/>
                <a:gd name="T112" fmla="*/ 80 w 82"/>
                <a:gd name="T113" fmla="*/ 1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 h="41">
                  <a:moveTo>
                    <a:pt x="82" y="12"/>
                  </a:moveTo>
                  <a:lnTo>
                    <a:pt x="82" y="14"/>
                  </a:lnTo>
                  <a:lnTo>
                    <a:pt x="80" y="14"/>
                  </a:lnTo>
                  <a:lnTo>
                    <a:pt x="80" y="16"/>
                  </a:lnTo>
                  <a:lnTo>
                    <a:pt x="80" y="18"/>
                  </a:lnTo>
                  <a:lnTo>
                    <a:pt x="80" y="20"/>
                  </a:lnTo>
                  <a:lnTo>
                    <a:pt x="78" y="20"/>
                  </a:lnTo>
                  <a:lnTo>
                    <a:pt x="78" y="22"/>
                  </a:lnTo>
                  <a:lnTo>
                    <a:pt x="77" y="22"/>
                  </a:lnTo>
                  <a:lnTo>
                    <a:pt x="77" y="23"/>
                  </a:lnTo>
                  <a:lnTo>
                    <a:pt x="77" y="25"/>
                  </a:lnTo>
                  <a:lnTo>
                    <a:pt x="77" y="27"/>
                  </a:lnTo>
                  <a:lnTo>
                    <a:pt x="75" y="27"/>
                  </a:lnTo>
                  <a:lnTo>
                    <a:pt x="73" y="27"/>
                  </a:lnTo>
                  <a:lnTo>
                    <a:pt x="75" y="27"/>
                  </a:lnTo>
                  <a:lnTo>
                    <a:pt x="73" y="27"/>
                  </a:lnTo>
                  <a:lnTo>
                    <a:pt x="71" y="27"/>
                  </a:lnTo>
                  <a:lnTo>
                    <a:pt x="69" y="27"/>
                  </a:lnTo>
                  <a:lnTo>
                    <a:pt x="71" y="27"/>
                  </a:lnTo>
                  <a:lnTo>
                    <a:pt x="69" y="27"/>
                  </a:lnTo>
                  <a:lnTo>
                    <a:pt x="71" y="27"/>
                  </a:lnTo>
                  <a:lnTo>
                    <a:pt x="69" y="25"/>
                  </a:lnTo>
                  <a:lnTo>
                    <a:pt x="69" y="23"/>
                  </a:lnTo>
                  <a:lnTo>
                    <a:pt x="67" y="23"/>
                  </a:lnTo>
                  <a:lnTo>
                    <a:pt x="65" y="23"/>
                  </a:lnTo>
                  <a:lnTo>
                    <a:pt x="63" y="23"/>
                  </a:lnTo>
                  <a:lnTo>
                    <a:pt x="61" y="23"/>
                  </a:lnTo>
                  <a:lnTo>
                    <a:pt x="61" y="25"/>
                  </a:lnTo>
                  <a:lnTo>
                    <a:pt x="61" y="23"/>
                  </a:lnTo>
                  <a:lnTo>
                    <a:pt x="59" y="23"/>
                  </a:lnTo>
                  <a:lnTo>
                    <a:pt x="57" y="23"/>
                  </a:lnTo>
                  <a:lnTo>
                    <a:pt x="55" y="23"/>
                  </a:lnTo>
                  <a:lnTo>
                    <a:pt x="53" y="23"/>
                  </a:lnTo>
                  <a:lnTo>
                    <a:pt x="53" y="25"/>
                  </a:lnTo>
                  <a:lnTo>
                    <a:pt x="52" y="25"/>
                  </a:lnTo>
                  <a:lnTo>
                    <a:pt x="52" y="27"/>
                  </a:lnTo>
                  <a:lnTo>
                    <a:pt x="52" y="29"/>
                  </a:lnTo>
                  <a:lnTo>
                    <a:pt x="50" y="29"/>
                  </a:lnTo>
                  <a:lnTo>
                    <a:pt x="48" y="29"/>
                  </a:lnTo>
                  <a:lnTo>
                    <a:pt x="48" y="31"/>
                  </a:lnTo>
                  <a:lnTo>
                    <a:pt x="46" y="31"/>
                  </a:lnTo>
                  <a:lnTo>
                    <a:pt x="46" y="33"/>
                  </a:lnTo>
                  <a:lnTo>
                    <a:pt x="44" y="33"/>
                  </a:lnTo>
                  <a:lnTo>
                    <a:pt x="44" y="31"/>
                  </a:lnTo>
                  <a:lnTo>
                    <a:pt x="42" y="31"/>
                  </a:lnTo>
                  <a:lnTo>
                    <a:pt x="44" y="31"/>
                  </a:lnTo>
                  <a:lnTo>
                    <a:pt x="42" y="31"/>
                  </a:lnTo>
                  <a:lnTo>
                    <a:pt x="42" y="33"/>
                  </a:lnTo>
                  <a:lnTo>
                    <a:pt x="42" y="31"/>
                  </a:lnTo>
                  <a:lnTo>
                    <a:pt x="40" y="31"/>
                  </a:lnTo>
                  <a:lnTo>
                    <a:pt x="40" y="29"/>
                  </a:lnTo>
                  <a:lnTo>
                    <a:pt x="40" y="31"/>
                  </a:lnTo>
                  <a:lnTo>
                    <a:pt x="38" y="31"/>
                  </a:lnTo>
                  <a:lnTo>
                    <a:pt x="38" y="33"/>
                  </a:lnTo>
                  <a:lnTo>
                    <a:pt x="36" y="33"/>
                  </a:lnTo>
                  <a:lnTo>
                    <a:pt x="38" y="33"/>
                  </a:lnTo>
                  <a:lnTo>
                    <a:pt x="36" y="33"/>
                  </a:lnTo>
                  <a:lnTo>
                    <a:pt x="34" y="33"/>
                  </a:lnTo>
                  <a:lnTo>
                    <a:pt x="34" y="35"/>
                  </a:lnTo>
                  <a:lnTo>
                    <a:pt x="32" y="35"/>
                  </a:lnTo>
                  <a:lnTo>
                    <a:pt x="32" y="33"/>
                  </a:lnTo>
                  <a:lnTo>
                    <a:pt x="32" y="35"/>
                  </a:lnTo>
                  <a:lnTo>
                    <a:pt x="32" y="33"/>
                  </a:lnTo>
                  <a:lnTo>
                    <a:pt x="32" y="35"/>
                  </a:lnTo>
                  <a:lnTo>
                    <a:pt x="32" y="33"/>
                  </a:lnTo>
                  <a:lnTo>
                    <a:pt x="32" y="35"/>
                  </a:lnTo>
                  <a:lnTo>
                    <a:pt x="32" y="33"/>
                  </a:lnTo>
                  <a:lnTo>
                    <a:pt x="32" y="35"/>
                  </a:lnTo>
                  <a:lnTo>
                    <a:pt x="32" y="33"/>
                  </a:lnTo>
                  <a:lnTo>
                    <a:pt x="32" y="35"/>
                  </a:lnTo>
                  <a:lnTo>
                    <a:pt x="30" y="35"/>
                  </a:lnTo>
                  <a:lnTo>
                    <a:pt x="30" y="33"/>
                  </a:lnTo>
                  <a:lnTo>
                    <a:pt x="30" y="35"/>
                  </a:lnTo>
                  <a:lnTo>
                    <a:pt x="30" y="33"/>
                  </a:lnTo>
                  <a:lnTo>
                    <a:pt x="30" y="35"/>
                  </a:lnTo>
                  <a:lnTo>
                    <a:pt x="29" y="35"/>
                  </a:lnTo>
                  <a:lnTo>
                    <a:pt x="27" y="35"/>
                  </a:lnTo>
                  <a:lnTo>
                    <a:pt x="27" y="37"/>
                  </a:lnTo>
                  <a:lnTo>
                    <a:pt x="27" y="39"/>
                  </a:lnTo>
                  <a:lnTo>
                    <a:pt x="29" y="39"/>
                  </a:lnTo>
                  <a:lnTo>
                    <a:pt x="27" y="39"/>
                  </a:lnTo>
                  <a:lnTo>
                    <a:pt x="27" y="41"/>
                  </a:lnTo>
                  <a:lnTo>
                    <a:pt x="25" y="41"/>
                  </a:lnTo>
                  <a:lnTo>
                    <a:pt x="23" y="41"/>
                  </a:lnTo>
                  <a:lnTo>
                    <a:pt x="21" y="41"/>
                  </a:lnTo>
                  <a:lnTo>
                    <a:pt x="19" y="41"/>
                  </a:lnTo>
                  <a:lnTo>
                    <a:pt x="17" y="41"/>
                  </a:lnTo>
                  <a:lnTo>
                    <a:pt x="15" y="41"/>
                  </a:lnTo>
                  <a:lnTo>
                    <a:pt x="13" y="41"/>
                  </a:lnTo>
                  <a:lnTo>
                    <a:pt x="11" y="41"/>
                  </a:lnTo>
                  <a:lnTo>
                    <a:pt x="11" y="39"/>
                  </a:lnTo>
                  <a:lnTo>
                    <a:pt x="9" y="39"/>
                  </a:lnTo>
                  <a:lnTo>
                    <a:pt x="7" y="39"/>
                  </a:lnTo>
                  <a:lnTo>
                    <a:pt x="7" y="37"/>
                  </a:lnTo>
                  <a:lnTo>
                    <a:pt x="7" y="35"/>
                  </a:lnTo>
                  <a:lnTo>
                    <a:pt x="6" y="35"/>
                  </a:lnTo>
                  <a:lnTo>
                    <a:pt x="4" y="35"/>
                  </a:lnTo>
                  <a:lnTo>
                    <a:pt x="2" y="35"/>
                  </a:lnTo>
                  <a:lnTo>
                    <a:pt x="4" y="35"/>
                  </a:lnTo>
                  <a:lnTo>
                    <a:pt x="2" y="35"/>
                  </a:lnTo>
                  <a:lnTo>
                    <a:pt x="4" y="35"/>
                  </a:lnTo>
                  <a:lnTo>
                    <a:pt x="2" y="33"/>
                  </a:lnTo>
                  <a:lnTo>
                    <a:pt x="4" y="33"/>
                  </a:lnTo>
                  <a:lnTo>
                    <a:pt x="2" y="33"/>
                  </a:lnTo>
                  <a:lnTo>
                    <a:pt x="4" y="33"/>
                  </a:lnTo>
                  <a:lnTo>
                    <a:pt x="2" y="33"/>
                  </a:lnTo>
                  <a:lnTo>
                    <a:pt x="4" y="33"/>
                  </a:lnTo>
                  <a:lnTo>
                    <a:pt x="2" y="33"/>
                  </a:lnTo>
                  <a:lnTo>
                    <a:pt x="4" y="33"/>
                  </a:lnTo>
                  <a:lnTo>
                    <a:pt x="2" y="33"/>
                  </a:lnTo>
                  <a:lnTo>
                    <a:pt x="2" y="31"/>
                  </a:lnTo>
                  <a:lnTo>
                    <a:pt x="2" y="29"/>
                  </a:lnTo>
                  <a:lnTo>
                    <a:pt x="0" y="29"/>
                  </a:lnTo>
                  <a:lnTo>
                    <a:pt x="0" y="27"/>
                  </a:lnTo>
                  <a:lnTo>
                    <a:pt x="0" y="25"/>
                  </a:lnTo>
                  <a:lnTo>
                    <a:pt x="0" y="23"/>
                  </a:lnTo>
                  <a:lnTo>
                    <a:pt x="2" y="23"/>
                  </a:lnTo>
                  <a:lnTo>
                    <a:pt x="0" y="23"/>
                  </a:lnTo>
                  <a:lnTo>
                    <a:pt x="2" y="23"/>
                  </a:lnTo>
                  <a:lnTo>
                    <a:pt x="0" y="23"/>
                  </a:lnTo>
                  <a:lnTo>
                    <a:pt x="0" y="22"/>
                  </a:lnTo>
                  <a:lnTo>
                    <a:pt x="2" y="22"/>
                  </a:lnTo>
                  <a:lnTo>
                    <a:pt x="0" y="22"/>
                  </a:lnTo>
                  <a:lnTo>
                    <a:pt x="2" y="22"/>
                  </a:lnTo>
                  <a:lnTo>
                    <a:pt x="2" y="20"/>
                  </a:lnTo>
                  <a:lnTo>
                    <a:pt x="2" y="18"/>
                  </a:lnTo>
                  <a:lnTo>
                    <a:pt x="4" y="18"/>
                  </a:lnTo>
                  <a:lnTo>
                    <a:pt x="4" y="16"/>
                  </a:lnTo>
                  <a:lnTo>
                    <a:pt x="6" y="16"/>
                  </a:lnTo>
                  <a:lnTo>
                    <a:pt x="6" y="18"/>
                  </a:lnTo>
                  <a:lnTo>
                    <a:pt x="7" y="18"/>
                  </a:lnTo>
                  <a:lnTo>
                    <a:pt x="9" y="18"/>
                  </a:lnTo>
                  <a:lnTo>
                    <a:pt x="11" y="18"/>
                  </a:lnTo>
                  <a:lnTo>
                    <a:pt x="11" y="16"/>
                  </a:lnTo>
                  <a:lnTo>
                    <a:pt x="13" y="16"/>
                  </a:lnTo>
                  <a:lnTo>
                    <a:pt x="15" y="16"/>
                  </a:lnTo>
                  <a:lnTo>
                    <a:pt x="15" y="14"/>
                  </a:lnTo>
                  <a:lnTo>
                    <a:pt x="15" y="12"/>
                  </a:lnTo>
                  <a:lnTo>
                    <a:pt x="17" y="12"/>
                  </a:lnTo>
                  <a:lnTo>
                    <a:pt x="17" y="14"/>
                  </a:lnTo>
                  <a:lnTo>
                    <a:pt x="17" y="12"/>
                  </a:lnTo>
                  <a:lnTo>
                    <a:pt x="17" y="14"/>
                  </a:lnTo>
                  <a:lnTo>
                    <a:pt x="17" y="12"/>
                  </a:lnTo>
                  <a:lnTo>
                    <a:pt x="17" y="10"/>
                  </a:lnTo>
                  <a:lnTo>
                    <a:pt x="19" y="10"/>
                  </a:lnTo>
                  <a:lnTo>
                    <a:pt x="19" y="8"/>
                  </a:lnTo>
                  <a:lnTo>
                    <a:pt x="19" y="6"/>
                  </a:lnTo>
                  <a:lnTo>
                    <a:pt x="21" y="6"/>
                  </a:lnTo>
                  <a:lnTo>
                    <a:pt x="23" y="6"/>
                  </a:lnTo>
                  <a:lnTo>
                    <a:pt x="23" y="4"/>
                  </a:lnTo>
                  <a:lnTo>
                    <a:pt x="25" y="4"/>
                  </a:lnTo>
                  <a:lnTo>
                    <a:pt x="25" y="2"/>
                  </a:lnTo>
                  <a:lnTo>
                    <a:pt x="27" y="2"/>
                  </a:lnTo>
                  <a:lnTo>
                    <a:pt x="29" y="2"/>
                  </a:lnTo>
                  <a:lnTo>
                    <a:pt x="30" y="2"/>
                  </a:lnTo>
                  <a:lnTo>
                    <a:pt x="30" y="4"/>
                  </a:lnTo>
                  <a:lnTo>
                    <a:pt x="32" y="4"/>
                  </a:lnTo>
                  <a:lnTo>
                    <a:pt x="34" y="4"/>
                  </a:lnTo>
                  <a:lnTo>
                    <a:pt x="34" y="2"/>
                  </a:lnTo>
                  <a:lnTo>
                    <a:pt x="34" y="4"/>
                  </a:lnTo>
                  <a:lnTo>
                    <a:pt x="34" y="2"/>
                  </a:lnTo>
                  <a:lnTo>
                    <a:pt x="36" y="2"/>
                  </a:lnTo>
                  <a:lnTo>
                    <a:pt x="36" y="0"/>
                  </a:lnTo>
                  <a:lnTo>
                    <a:pt x="36" y="2"/>
                  </a:lnTo>
                  <a:lnTo>
                    <a:pt x="36" y="0"/>
                  </a:lnTo>
                  <a:lnTo>
                    <a:pt x="36" y="2"/>
                  </a:lnTo>
                  <a:lnTo>
                    <a:pt x="36" y="0"/>
                  </a:lnTo>
                  <a:lnTo>
                    <a:pt x="38" y="0"/>
                  </a:lnTo>
                  <a:lnTo>
                    <a:pt x="38" y="2"/>
                  </a:lnTo>
                  <a:lnTo>
                    <a:pt x="40" y="2"/>
                  </a:lnTo>
                  <a:lnTo>
                    <a:pt x="40" y="4"/>
                  </a:lnTo>
                  <a:lnTo>
                    <a:pt x="40" y="2"/>
                  </a:lnTo>
                  <a:lnTo>
                    <a:pt x="40" y="4"/>
                  </a:lnTo>
                  <a:lnTo>
                    <a:pt x="42" y="4"/>
                  </a:lnTo>
                  <a:lnTo>
                    <a:pt x="40" y="4"/>
                  </a:lnTo>
                  <a:lnTo>
                    <a:pt x="42" y="4"/>
                  </a:lnTo>
                  <a:lnTo>
                    <a:pt x="42" y="6"/>
                  </a:lnTo>
                  <a:lnTo>
                    <a:pt x="42" y="8"/>
                  </a:lnTo>
                  <a:lnTo>
                    <a:pt x="44" y="8"/>
                  </a:lnTo>
                  <a:lnTo>
                    <a:pt x="44" y="10"/>
                  </a:lnTo>
                  <a:lnTo>
                    <a:pt x="44" y="8"/>
                  </a:lnTo>
                  <a:lnTo>
                    <a:pt x="46" y="8"/>
                  </a:lnTo>
                  <a:lnTo>
                    <a:pt x="46" y="10"/>
                  </a:lnTo>
                  <a:lnTo>
                    <a:pt x="46" y="8"/>
                  </a:lnTo>
                  <a:lnTo>
                    <a:pt x="48" y="8"/>
                  </a:lnTo>
                  <a:lnTo>
                    <a:pt x="48" y="6"/>
                  </a:lnTo>
                  <a:lnTo>
                    <a:pt x="50" y="6"/>
                  </a:lnTo>
                  <a:lnTo>
                    <a:pt x="50" y="4"/>
                  </a:lnTo>
                  <a:lnTo>
                    <a:pt x="52" y="4"/>
                  </a:lnTo>
                  <a:lnTo>
                    <a:pt x="53" y="4"/>
                  </a:lnTo>
                  <a:lnTo>
                    <a:pt x="55" y="4"/>
                  </a:lnTo>
                  <a:lnTo>
                    <a:pt x="57" y="4"/>
                  </a:lnTo>
                  <a:lnTo>
                    <a:pt x="55" y="4"/>
                  </a:lnTo>
                  <a:lnTo>
                    <a:pt x="57" y="4"/>
                  </a:lnTo>
                  <a:lnTo>
                    <a:pt x="57" y="6"/>
                  </a:lnTo>
                  <a:lnTo>
                    <a:pt x="59" y="6"/>
                  </a:lnTo>
                  <a:lnTo>
                    <a:pt x="57" y="6"/>
                  </a:lnTo>
                  <a:lnTo>
                    <a:pt x="59" y="6"/>
                  </a:lnTo>
                  <a:lnTo>
                    <a:pt x="61" y="6"/>
                  </a:lnTo>
                  <a:lnTo>
                    <a:pt x="61" y="4"/>
                  </a:lnTo>
                  <a:lnTo>
                    <a:pt x="61" y="6"/>
                  </a:lnTo>
                  <a:lnTo>
                    <a:pt x="61" y="4"/>
                  </a:lnTo>
                  <a:lnTo>
                    <a:pt x="61" y="6"/>
                  </a:lnTo>
                  <a:lnTo>
                    <a:pt x="61" y="4"/>
                  </a:lnTo>
                  <a:lnTo>
                    <a:pt x="61" y="6"/>
                  </a:lnTo>
                  <a:lnTo>
                    <a:pt x="61" y="4"/>
                  </a:lnTo>
                  <a:lnTo>
                    <a:pt x="61" y="6"/>
                  </a:lnTo>
                  <a:lnTo>
                    <a:pt x="61" y="4"/>
                  </a:lnTo>
                  <a:lnTo>
                    <a:pt x="63" y="4"/>
                  </a:lnTo>
                  <a:lnTo>
                    <a:pt x="63" y="2"/>
                  </a:lnTo>
                  <a:lnTo>
                    <a:pt x="65" y="2"/>
                  </a:lnTo>
                  <a:lnTo>
                    <a:pt x="65" y="4"/>
                  </a:lnTo>
                  <a:lnTo>
                    <a:pt x="65" y="2"/>
                  </a:lnTo>
                  <a:lnTo>
                    <a:pt x="65" y="4"/>
                  </a:lnTo>
                  <a:lnTo>
                    <a:pt x="67" y="4"/>
                  </a:lnTo>
                  <a:lnTo>
                    <a:pt x="69" y="4"/>
                  </a:lnTo>
                  <a:lnTo>
                    <a:pt x="71" y="4"/>
                  </a:lnTo>
                  <a:lnTo>
                    <a:pt x="71" y="6"/>
                  </a:lnTo>
                  <a:lnTo>
                    <a:pt x="71" y="4"/>
                  </a:lnTo>
                  <a:lnTo>
                    <a:pt x="73" y="4"/>
                  </a:lnTo>
                  <a:lnTo>
                    <a:pt x="73" y="6"/>
                  </a:lnTo>
                  <a:lnTo>
                    <a:pt x="75" y="6"/>
                  </a:lnTo>
                  <a:lnTo>
                    <a:pt x="75" y="8"/>
                  </a:lnTo>
                  <a:lnTo>
                    <a:pt x="77" y="8"/>
                  </a:lnTo>
                  <a:lnTo>
                    <a:pt x="77" y="10"/>
                  </a:lnTo>
                  <a:lnTo>
                    <a:pt x="78" y="10"/>
                  </a:lnTo>
                  <a:lnTo>
                    <a:pt x="80" y="10"/>
                  </a:lnTo>
                  <a:lnTo>
                    <a:pt x="80" y="12"/>
                  </a:lnTo>
                  <a:lnTo>
                    <a:pt x="82" y="1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386">
              <a:extLst>
                <a:ext uri="{FF2B5EF4-FFF2-40B4-BE49-F238E27FC236}">
                  <a16:creationId xmlns:a16="http://schemas.microsoft.com/office/drawing/2014/main" id="{BC4FE09D-5D6B-48E9-85A6-475479B3FAF9}"/>
                </a:ext>
              </a:extLst>
            </p:cNvPr>
            <p:cNvSpPr>
              <a:spLocks/>
            </p:cNvSpPr>
            <p:nvPr/>
          </p:nvSpPr>
          <p:spPr bwMode="gray">
            <a:xfrm>
              <a:off x="3427784" y="3297140"/>
              <a:ext cx="120185" cy="69904"/>
            </a:xfrm>
            <a:custGeom>
              <a:avLst/>
              <a:gdLst>
                <a:gd name="T0" fmla="*/ 42 w 98"/>
                <a:gd name="T1" fmla="*/ 2 h 57"/>
                <a:gd name="T2" fmla="*/ 44 w 98"/>
                <a:gd name="T3" fmla="*/ 2 h 57"/>
                <a:gd name="T4" fmla="*/ 46 w 98"/>
                <a:gd name="T5" fmla="*/ 6 h 57"/>
                <a:gd name="T6" fmla="*/ 48 w 98"/>
                <a:gd name="T7" fmla="*/ 6 h 57"/>
                <a:gd name="T8" fmla="*/ 53 w 98"/>
                <a:gd name="T9" fmla="*/ 9 h 57"/>
                <a:gd name="T10" fmla="*/ 59 w 98"/>
                <a:gd name="T11" fmla="*/ 9 h 57"/>
                <a:gd name="T12" fmla="*/ 63 w 98"/>
                <a:gd name="T13" fmla="*/ 11 h 57"/>
                <a:gd name="T14" fmla="*/ 59 w 98"/>
                <a:gd name="T15" fmla="*/ 13 h 57"/>
                <a:gd name="T16" fmla="*/ 61 w 98"/>
                <a:gd name="T17" fmla="*/ 17 h 57"/>
                <a:gd name="T18" fmla="*/ 61 w 98"/>
                <a:gd name="T19" fmla="*/ 15 h 57"/>
                <a:gd name="T20" fmla="*/ 63 w 98"/>
                <a:gd name="T21" fmla="*/ 19 h 57"/>
                <a:gd name="T22" fmla="*/ 67 w 98"/>
                <a:gd name="T23" fmla="*/ 21 h 57"/>
                <a:gd name="T24" fmla="*/ 69 w 98"/>
                <a:gd name="T25" fmla="*/ 17 h 57"/>
                <a:gd name="T26" fmla="*/ 75 w 98"/>
                <a:gd name="T27" fmla="*/ 17 h 57"/>
                <a:gd name="T28" fmla="*/ 78 w 98"/>
                <a:gd name="T29" fmla="*/ 19 h 57"/>
                <a:gd name="T30" fmla="*/ 80 w 98"/>
                <a:gd name="T31" fmla="*/ 19 h 57"/>
                <a:gd name="T32" fmla="*/ 80 w 98"/>
                <a:gd name="T33" fmla="*/ 21 h 57"/>
                <a:gd name="T34" fmla="*/ 82 w 98"/>
                <a:gd name="T35" fmla="*/ 25 h 57"/>
                <a:gd name="T36" fmla="*/ 88 w 98"/>
                <a:gd name="T37" fmla="*/ 25 h 57"/>
                <a:gd name="T38" fmla="*/ 94 w 98"/>
                <a:gd name="T39" fmla="*/ 29 h 57"/>
                <a:gd name="T40" fmla="*/ 96 w 98"/>
                <a:gd name="T41" fmla="*/ 32 h 57"/>
                <a:gd name="T42" fmla="*/ 98 w 98"/>
                <a:gd name="T43" fmla="*/ 36 h 57"/>
                <a:gd name="T44" fmla="*/ 92 w 98"/>
                <a:gd name="T45" fmla="*/ 40 h 57"/>
                <a:gd name="T46" fmla="*/ 86 w 98"/>
                <a:gd name="T47" fmla="*/ 44 h 57"/>
                <a:gd name="T48" fmla="*/ 86 w 98"/>
                <a:gd name="T49" fmla="*/ 46 h 57"/>
                <a:gd name="T50" fmla="*/ 80 w 98"/>
                <a:gd name="T51" fmla="*/ 50 h 57"/>
                <a:gd name="T52" fmla="*/ 75 w 98"/>
                <a:gd name="T53" fmla="*/ 50 h 57"/>
                <a:gd name="T54" fmla="*/ 71 w 98"/>
                <a:gd name="T55" fmla="*/ 56 h 57"/>
                <a:gd name="T56" fmla="*/ 67 w 98"/>
                <a:gd name="T57" fmla="*/ 54 h 57"/>
                <a:gd name="T58" fmla="*/ 63 w 98"/>
                <a:gd name="T59" fmla="*/ 52 h 57"/>
                <a:gd name="T60" fmla="*/ 59 w 98"/>
                <a:gd name="T61" fmla="*/ 54 h 57"/>
                <a:gd name="T62" fmla="*/ 55 w 98"/>
                <a:gd name="T63" fmla="*/ 52 h 57"/>
                <a:gd name="T64" fmla="*/ 50 w 98"/>
                <a:gd name="T65" fmla="*/ 48 h 57"/>
                <a:gd name="T66" fmla="*/ 42 w 98"/>
                <a:gd name="T67" fmla="*/ 50 h 57"/>
                <a:gd name="T68" fmla="*/ 42 w 98"/>
                <a:gd name="T69" fmla="*/ 52 h 57"/>
                <a:gd name="T70" fmla="*/ 40 w 98"/>
                <a:gd name="T71" fmla="*/ 52 h 57"/>
                <a:gd name="T72" fmla="*/ 38 w 98"/>
                <a:gd name="T73" fmla="*/ 56 h 57"/>
                <a:gd name="T74" fmla="*/ 32 w 98"/>
                <a:gd name="T75" fmla="*/ 56 h 57"/>
                <a:gd name="T76" fmla="*/ 32 w 98"/>
                <a:gd name="T77" fmla="*/ 57 h 57"/>
                <a:gd name="T78" fmla="*/ 28 w 98"/>
                <a:gd name="T79" fmla="*/ 56 h 57"/>
                <a:gd name="T80" fmla="*/ 27 w 98"/>
                <a:gd name="T81" fmla="*/ 56 h 57"/>
                <a:gd name="T82" fmla="*/ 27 w 98"/>
                <a:gd name="T83" fmla="*/ 54 h 57"/>
                <a:gd name="T84" fmla="*/ 23 w 98"/>
                <a:gd name="T85" fmla="*/ 52 h 57"/>
                <a:gd name="T86" fmla="*/ 19 w 98"/>
                <a:gd name="T87" fmla="*/ 46 h 57"/>
                <a:gd name="T88" fmla="*/ 13 w 98"/>
                <a:gd name="T89" fmla="*/ 42 h 57"/>
                <a:gd name="T90" fmla="*/ 7 w 98"/>
                <a:gd name="T91" fmla="*/ 38 h 57"/>
                <a:gd name="T92" fmla="*/ 5 w 98"/>
                <a:gd name="T93" fmla="*/ 34 h 57"/>
                <a:gd name="T94" fmla="*/ 5 w 98"/>
                <a:gd name="T95" fmla="*/ 29 h 57"/>
                <a:gd name="T96" fmla="*/ 3 w 98"/>
                <a:gd name="T97" fmla="*/ 25 h 57"/>
                <a:gd name="T98" fmla="*/ 0 w 98"/>
                <a:gd name="T99" fmla="*/ 23 h 57"/>
                <a:gd name="T100" fmla="*/ 0 w 98"/>
                <a:gd name="T101" fmla="*/ 21 h 57"/>
                <a:gd name="T102" fmla="*/ 2 w 98"/>
                <a:gd name="T103" fmla="*/ 21 h 57"/>
                <a:gd name="T104" fmla="*/ 5 w 98"/>
                <a:gd name="T105" fmla="*/ 15 h 57"/>
                <a:gd name="T106" fmla="*/ 13 w 98"/>
                <a:gd name="T107" fmla="*/ 13 h 57"/>
                <a:gd name="T108" fmla="*/ 19 w 98"/>
                <a:gd name="T109" fmla="*/ 9 h 57"/>
                <a:gd name="T110" fmla="*/ 21 w 98"/>
                <a:gd name="T111" fmla="*/ 9 h 57"/>
                <a:gd name="T112" fmla="*/ 21 w 98"/>
                <a:gd name="T113" fmla="*/ 7 h 57"/>
                <a:gd name="T114" fmla="*/ 28 w 98"/>
                <a:gd name="T115" fmla="*/ 6 h 57"/>
                <a:gd name="T116" fmla="*/ 32 w 98"/>
                <a:gd name="T117" fmla="*/ 4 h 57"/>
                <a:gd name="T118" fmla="*/ 30 w 98"/>
                <a:gd name="T119" fmla="*/ 0 h 57"/>
                <a:gd name="T120" fmla="*/ 34 w 98"/>
                <a:gd name="T121" fmla="*/ 2 h 57"/>
                <a:gd name="T122" fmla="*/ 34 w 98"/>
                <a:gd name="T123"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57">
                  <a:moveTo>
                    <a:pt x="38" y="6"/>
                  </a:moveTo>
                  <a:lnTo>
                    <a:pt x="40" y="6"/>
                  </a:lnTo>
                  <a:lnTo>
                    <a:pt x="42" y="6"/>
                  </a:lnTo>
                  <a:lnTo>
                    <a:pt x="42" y="4"/>
                  </a:lnTo>
                  <a:lnTo>
                    <a:pt x="42" y="2"/>
                  </a:lnTo>
                  <a:lnTo>
                    <a:pt x="40" y="2"/>
                  </a:lnTo>
                  <a:lnTo>
                    <a:pt x="42" y="2"/>
                  </a:lnTo>
                  <a:lnTo>
                    <a:pt x="44" y="2"/>
                  </a:lnTo>
                  <a:lnTo>
                    <a:pt x="42" y="2"/>
                  </a:lnTo>
                  <a:lnTo>
                    <a:pt x="44" y="2"/>
                  </a:lnTo>
                  <a:lnTo>
                    <a:pt x="46" y="2"/>
                  </a:lnTo>
                  <a:lnTo>
                    <a:pt x="46" y="4"/>
                  </a:lnTo>
                  <a:lnTo>
                    <a:pt x="46" y="6"/>
                  </a:lnTo>
                  <a:lnTo>
                    <a:pt x="48" y="6"/>
                  </a:lnTo>
                  <a:lnTo>
                    <a:pt x="46" y="6"/>
                  </a:lnTo>
                  <a:lnTo>
                    <a:pt x="48" y="6"/>
                  </a:lnTo>
                  <a:lnTo>
                    <a:pt x="46" y="6"/>
                  </a:lnTo>
                  <a:lnTo>
                    <a:pt x="48" y="6"/>
                  </a:lnTo>
                  <a:lnTo>
                    <a:pt x="48" y="7"/>
                  </a:lnTo>
                  <a:lnTo>
                    <a:pt x="48" y="6"/>
                  </a:lnTo>
                  <a:lnTo>
                    <a:pt x="48" y="7"/>
                  </a:lnTo>
                  <a:lnTo>
                    <a:pt x="50" y="7"/>
                  </a:lnTo>
                  <a:lnTo>
                    <a:pt x="51" y="7"/>
                  </a:lnTo>
                  <a:lnTo>
                    <a:pt x="53" y="7"/>
                  </a:lnTo>
                  <a:lnTo>
                    <a:pt x="53" y="9"/>
                  </a:lnTo>
                  <a:lnTo>
                    <a:pt x="55" y="9"/>
                  </a:lnTo>
                  <a:lnTo>
                    <a:pt x="55" y="11"/>
                  </a:lnTo>
                  <a:lnTo>
                    <a:pt x="57" y="11"/>
                  </a:lnTo>
                  <a:lnTo>
                    <a:pt x="57" y="9"/>
                  </a:lnTo>
                  <a:lnTo>
                    <a:pt x="59" y="9"/>
                  </a:lnTo>
                  <a:lnTo>
                    <a:pt x="59" y="11"/>
                  </a:lnTo>
                  <a:lnTo>
                    <a:pt x="59" y="9"/>
                  </a:lnTo>
                  <a:lnTo>
                    <a:pt x="61" y="9"/>
                  </a:lnTo>
                  <a:lnTo>
                    <a:pt x="61" y="11"/>
                  </a:lnTo>
                  <a:lnTo>
                    <a:pt x="63" y="11"/>
                  </a:lnTo>
                  <a:lnTo>
                    <a:pt x="61" y="11"/>
                  </a:lnTo>
                  <a:lnTo>
                    <a:pt x="61" y="13"/>
                  </a:lnTo>
                  <a:lnTo>
                    <a:pt x="61" y="11"/>
                  </a:lnTo>
                  <a:lnTo>
                    <a:pt x="61" y="13"/>
                  </a:lnTo>
                  <a:lnTo>
                    <a:pt x="59" y="13"/>
                  </a:lnTo>
                  <a:lnTo>
                    <a:pt x="59" y="15"/>
                  </a:lnTo>
                  <a:lnTo>
                    <a:pt x="59" y="13"/>
                  </a:lnTo>
                  <a:lnTo>
                    <a:pt x="59" y="15"/>
                  </a:lnTo>
                  <a:lnTo>
                    <a:pt x="59" y="17"/>
                  </a:lnTo>
                  <a:lnTo>
                    <a:pt x="61" y="17"/>
                  </a:lnTo>
                  <a:lnTo>
                    <a:pt x="61" y="15"/>
                  </a:lnTo>
                  <a:lnTo>
                    <a:pt x="61" y="17"/>
                  </a:lnTo>
                  <a:lnTo>
                    <a:pt x="61" y="15"/>
                  </a:lnTo>
                  <a:lnTo>
                    <a:pt x="61" y="17"/>
                  </a:lnTo>
                  <a:lnTo>
                    <a:pt x="61" y="15"/>
                  </a:lnTo>
                  <a:lnTo>
                    <a:pt x="61" y="17"/>
                  </a:lnTo>
                  <a:lnTo>
                    <a:pt x="61" y="15"/>
                  </a:lnTo>
                  <a:lnTo>
                    <a:pt x="61" y="17"/>
                  </a:lnTo>
                  <a:lnTo>
                    <a:pt x="63" y="17"/>
                  </a:lnTo>
                  <a:lnTo>
                    <a:pt x="63" y="19"/>
                  </a:lnTo>
                  <a:lnTo>
                    <a:pt x="65" y="19"/>
                  </a:lnTo>
                  <a:lnTo>
                    <a:pt x="65" y="21"/>
                  </a:lnTo>
                  <a:lnTo>
                    <a:pt x="65" y="23"/>
                  </a:lnTo>
                  <a:lnTo>
                    <a:pt x="67" y="23"/>
                  </a:lnTo>
                  <a:lnTo>
                    <a:pt x="67" y="21"/>
                  </a:lnTo>
                  <a:lnTo>
                    <a:pt x="69" y="21"/>
                  </a:lnTo>
                  <a:lnTo>
                    <a:pt x="69" y="19"/>
                  </a:lnTo>
                  <a:lnTo>
                    <a:pt x="71" y="19"/>
                  </a:lnTo>
                  <a:lnTo>
                    <a:pt x="71" y="17"/>
                  </a:lnTo>
                  <a:lnTo>
                    <a:pt x="69" y="17"/>
                  </a:lnTo>
                  <a:lnTo>
                    <a:pt x="69" y="15"/>
                  </a:lnTo>
                  <a:lnTo>
                    <a:pt x="71" y="15"/>
                  </a:lnTo>
                  <a:lnTo>
                    <a:pt x="73" y="15"/>
                  </a:lnTo>
                  <a:lnTo>
                    <a:pt x="73" y="17"/>
                  </a:lnTo>
                  <a:lnTo>
                    <a:pt x="75" y="17"/>
                  </a:lnTo>
                  <a:lnTo>
                    <a:pt x="76" y="17"/>
                  </a:lnTo>
                  <a:lnTo>
                    <a:pt x="76" y="19"/>
                  </a:lnTo>
                  <a:lnTo>
                    <a:pt x="78" y="19"/>
                  </a:lnTo>
                  <a:lnTo>
                    <a:pt x="80" y="19"/>
                  </a:lnTo>
                  <a:lnTo>
                    <a:pt x="78" y="19"/>
                  </a:lnTo>
                  <a:lnTo>
                    <a:pt x="80" y="19"/>
                  </a:lnTo>
                  <a:lnTo>
                    <a:pt x="80" y="17"/>
                  </a:lnTo>
                  <a:lnTo>
                    <a:pt x="82" y="17"/>
                  </a:lnTo>
                  <a:lnTo>
                    <a:pt x="82" y="19"/>
                  </a:lnTo>
                  <a:lnTo>
                    <a:pt x="80" y="19"/>
                  </a:lnTo>
                  <a:lnTo>
                    <a:pt x="82" y="19"/>
                  </a:lnTo>
                  <a:lnTo>
                    <a:pt x="82" y="21"/>
                  </a:lnTo>
                  <a:lnTo>
                    <a:pt x="80" y="21"/>
                  </a:lnTo>
                  <a:lnTo>
                    <a:pt x="78" y="21"/>
                  </a:lnTo>
                  <a:lnTo>
                    <a:pt x="80" y="21"/>
                  </a:lnTo>
                  <a:lnTo>
                    <a:pt x="80" y="23"/>
                  </a:lnTo>
                  <a:lnTo>
                    <a:pt x="82" y="23"/>
                  </a:lnTo>
                  <a:lnTo>
                    <a:pt x="80" y="23"/>
                  </a:lnTo>
                  <a:lnTo>
                    <a:pt x="82" y="23"/>
                  </a:lnTo>
                  <a:lnTo>
                    <a:pt x="82" y="25"/>
                  </a:lnTo>
                  <a:lnTo>
                    <a:pt x="84" y="25"/>
                  </a:lnTo>
                  <a:lnTo>
                    <a:pt x="86" y="25"/>
                  </a:lnTo>
                  <a:lnTo>
                    <a:pt x="86" y="23"/>
                  </a:lnTo>
                  <a:lnTo>
                    <a:pt x="86" y="25"/>
                  </a:lnTo>
                  <a:lnTo>
                    <a:pt x="88" y="25"/>
                  </a:lnTo>
                  <a:lnTo>
                    <a:pt x="90" y="25"/>
                  </a:lnTo>
                  <a:lnTo>
                    <a:pt x="90" y="27"/>
                  </a:lnTo>
                  <a:lnTo>
                    <a:pt x="92" y="27"/>
                  </a:lnTo>
                  <a:lnTo>
                    <a:pt x="94" y="27"/>
                  </a:lnTo>
                  <a:lnTo>
                    <a:pt x="94" y="29"/>
                  </a:lnTo>
                  <a:lnTo>
                    <a:pt x="94" y="31"/>
                  </a:lnTo>
                  <a:lnTo>
                    <a:pt x="96" y="31"/>
                  </a:lnTo>
                  <a:lnTo>
                    <a:pt x="96" y="32"/>
                  </a:lnTo>
                  <a:lnTo>
                    <a:pt x="96" y="31"/>
                  </a:lnTo>
                  <a:lnTo>
                    <a:pt x="96" y="32"/>
                  </a:lnTo>
                  <a:lnTo>
                    <a:pt x="96" y="31"/>
                  </a:lnTo>
                  <a:lnTo>
                    <a:pt x="96" y="32"/>
                  </a:lnTo>
                  <a:lnTo>
                    <a:pt x="98" y="32"/>
                  </a:lnTo>
                  <a:lnTo>
                    <a:pt x="98" y="34"/>
                  </a:lnTo>
                  <a:lnTo>
                    <a:pt x="98" y="36"/>
                  </a:lnTo>
                  <a:lnTo>
                    <a:pt x="96" y="36"/>
                  </a:lnTo>
                  <a:lnTo>
                    <a:pt x="94" y="36"/>
                  </a:lnTo>
                  <a:lnTo>
                    <a:pt x="94" y="38"/>
                  </a:lnTo>
                  <a:lnTo>
                    <a:pt x="92" y="38"/>
                  </a:lnTo>
                  <a:lnTo>
                    <a:pt x="92" y="40"/>
                  </a:lnTo>
                  <a:lnTo>
                    <a:pt x="90" y="40"/>
                  </a:lnTo>
                  <a:lnTo>
                    <a:pt x="88" y="40"/>
                  </a:lnTo>
                  <a:lnTo>
                    <a:pt x="88" y="42"/>
                  </a:lnTo>
                  <a:lnTo>
                    <a:pt x="88" y="44"/>
                  </a:lnTo>
                  <a:lnTo>
                    <a:pt x="86" y="44"/>
                  </a:lnTo>
                  <a:lnTo>
                    <a:pt x="86" y="46"/>
                  </a:lnTo>
                  <a:lnTo>
                    <a:pt x="86" y="48"/>
                  </a:lnTo>
                  <a:lnTo>
                    <a:pt x="86" y="46"/>
                  </a:lnTo>
                  <a:lnTo>
                    <a:pt x="86" y="48"/>
                  </a:lnTo>
                  <a:lnTo>
                    <a:pt x="86" y="46"/>
                  </a:lnTo>
                  <a:lnTo>
                    <a:pt x="84" y="46"/>
                  </a:lnTo>
                  <a:lnTo>
                    <a:pt x="84" y="48"/>
                  </a:lnTo>
                  <a:lnTo>
                    <a:pt x="84" y="50"/>
                  </a:lnTo>
                  <a:lnTo>
                    <a:pt x="82" y="50"/>
                  </a:lnTo>
                  <a:lnTo>
                    <a:pt x="80" y="50"/>
                  </a:lnTo>
                  <a:lnTo>
                    <a:pt x="80" y="52"/>
                  </a:lnTo>
                  <a:lnTo>
                    <a:pt x="78" y="52"/>
                  </a:lnTo>
                  <a:lnTo>
                    <a:pt x="76" y="52"/>
                  </a:lnTo>
                  <a:lnTo>
                    <a:pt x="75" y="52"/>
                  </a:lnTo>
                  <a:lnTo>
                    <a:pt x="75" y="50"/>
                  </a:lnTo>
                  <a:lnTo>
                    <a:pt x="73" y="50"/>
                  </a:lnTo>
                  <a:lnTo>
                    <a:pt x="73" y="52"/>
                  </a:lnTo>
                  <a:lnTo>
                    <a:pt x="71" y="52"/>
                  </a:lnTo>
                  <a:lnTo>
                    <a:pt x="71" y="54"/>
                  </a:lnTo>
                  <a:lnTo>
                    <a:pt x="71" y="56"/>
                  </a:lnTo>
                  <a:lnTo>
                    <a:pt x="69" y="56"/>
                  </a:lnTo>
                  <a:lnTo>
                    <a:pt x="69" y="54"/>
                  </a:lnTo>
                  <a:lnTo>
                    <a:pt x="67" y="54"/>
                  </a:lnTo>
                  <a:lnTo>
                    <a:pt x="65" y="54"/>
                  </a:lnTo>
                  <a:lnTo>
                    <a:pt x="67" y="54"/>
                  </a:lnTo>
                  <a:lnTo>
                    <a:pt x="65" y="54"/>
                  </a:lnTo>
                  <a:lnTo>
                    <a:pt x="67" y="54"/>
                  </a:lnTo>
                  <a:lnTo>
                    <a:pt x="65" y="54"/>
                  </a:lnTo>
                  <a:lnTo>
                    <a:pt x="65" y="52"/>
                  </a:lnTo>
                  <a:lnTo>
                    <a:pt x="63" y="52"/>
                  </a:lnTo>
                  <a:lnTo>
                    <a:pt x="63" y="54"/>
                  </a:lnTo>
                  <a:lnTo>
                    <a:pt x="63" y="52"/>
                  </a:lnTo>
                  <a:lnTo>
                    <a:pt x="63" y="54"/>
                  </a:lnTo>
                  <a:lnTo>
                    <a:pt x="61" y="54"/>
                  </a:lnTo>
                  <a:lnTo>
                    <a:pt x="59" y="54"/>
                  </a:lnTo>
                  <a:lnTo>
                    <a:pt x="57" y="54"/>
                  </a:lnTo>
                  <a:lnTo>
                    <a:pt x="57" y="52"/>
                  </a:lnTo>
                  <a:lnTo>
                    <a:pt x="55" y="52"/>
                  </a:lnTo>
                  <a:lnTo>
                    <a:pt x="53" y="52"/>
                  </a:lnTo>
                  <a:lnTo>
                    <a:pt x="55" y="52"/>
                  </a:lnTo>
                  <a:lnTo>
                    <a:pt x="53" y="52"/>
                  </a:lnTo>
                  <a:lnTo>
                    <a:pt x="53" y="50"/>
                  </a:lnTo>
                  <a:lnTo>
                    <a:pt x="51" y="50"/>
                  </a:lnTo>
                  <a:lnTo>
                    <a:pt x="50" y="50"/>
                  </a:lnTo>
                  <a:lnTo>
                    <a:pt x="50" y="48"/>
                  </a:lnTo>
                  <a:lnTo>
                    <a:pt x="48" y="48"/>
                  </a:lnTo>
                  <a:lnTo>
                    <a:pt x="46" y="48"/>
                  </a:lnTo>
                  <a:lnTo>
                    <a:pt x="44" y="48"/>
                  </a:lnTo>
                  <a:lnTo>
                    <a:pt x="42" y="48"/>
                  </a:lnTo>
                  <a:lnTo>
                    <a:pt x="42" y="50"/>
                  </a:lnTo>
                  <a:lnTo>
                    <a:pt x="40" y="50"/>
                  </a:lnTo>
                  <a:lnTo>
                    <a:pt x="42" y="50"/>
                  </a:lnTo>
                  <a:lnTo>
                    <a:pt x="40" y="50"/>
                  </a:lnTo>
                  <a:lnTo>
                    <a:pt x="42" y="50"/>
                  </a:lnTo>
                  <a:lnTo>
                    <a:pt x="42" y="52"/>
                  </a:lnTo>
                  <a:lnTo>
                    <a:pt x="40" y="52"/>
                  </a:lnTo>
                  <a:lnTo>
                    <a:pt x="42" y="52"/>
                  </a:lnTo>
                  <a:lnTo>
                    <a:pt x="40" y="52"/>
                  </a:lnTo>
                  <a:lnTo>
                    <a:pt x="40" y="54"/>
                  </a:lnTo>
                  <a:lnTo>
                    <a:pt x="40" y="52"/>
                  </a:lnTo>
                  <a:lnTo>
                    <a:pt x="38" y="52"/>
                  </a:lnTo>
                  <a:lnTo>
                    <a:pt x="38" y="54"/>
                  </a:lnTo>
                  <a:lnTo>
                    <a:pt x="38" y="56"/>
                  </a:lnTo>
                  <a:lnTo>
                    <a:pt x="36" y="56"/>
                  </a:lnTo>
                  <a:lnTo>
                    <a:pt x="38" y="56"/>
                  </a:lnTo>
                  <a:lnTo>
                    <a:pt x="36" y="56"/>
                  </a:lnTo>
                  <a:lnTo>
                    <a:pt x="36" y="57"/>
                  </a:lnTo>
                  <a:lnTo>
                    <a:pt x="36" y="56"/>
                  </a:lnTo>
                  <a:lnTo>
                    <a:pt x="34" y="56"/>
                  </a:lnTo>
                  <a:lnTo>
                    <a:pt x="32" y="56"/>
                  </a:lnTo>
                  <a:lnTo>
                    <a:pt x="34" y="56"/>
                  </a:lnTo>
                  <a:lnTo>
                    <a:pt x="32" y="56"/>
                  </a:lnTo>
                  <a:lnTo>
                    <a:pt x="32" y="57"/>
                  </a:lnTo>
                  <a:lnTo>
                    <a:pt x="32" y="56"/>
                  </a:lnTo>
                  <a:lnTo>
                    <a:pt x="32" y="57"/>
                  </a:lnTo>
                  <a:lnTo>
                    <a:pt x="30" y="57"/>
                  </a:lnTo>
                  <a:lnTo>
                    <a:pt x="30" y="56"/>
                  </a:lnTo>
                  <a:lnTo>
                    <a:pt x="30" y="57"/>
                  </a:lnTo>
                  <a:lnTo>
                    <a:pt x="30" y="56"/>
                  </a:lnTo>
                  <a:lnTo>
                    <a:pt x="28" y="56"/>
                  </a:lnTo>
                  <a:lnTo>
                    <a:pt x="28" y="57"/>
                  </a:lnTo>
                  <a:lnTo>
                    <a:pt x="28" y="56"/>
                  </a:lnTo>
                  <a:lnTo>
                    <a:pt x="28" y="57"/>
                  </a:lnTo>
                  <a:lnTo>
                    <a:pt x="28" y="56"/>
                  </a:lnTo>
                  <a:lnTo>
                    <a:pt x="27" y="56"/>
                  </a:lnTo>
                  <a:lnTo>
                    <a:pt x="28" y="56"/>
                  </a:lnTo>
                  <a:lnTo>
                    <a:pt x="27" y="56"/>
                  </a:lnTo>
                  <a:lnTo>
                    <a:pt x="27" y="54"/>
                  </a:lnTo>
                  <a:lnTo>
                    <a:pt x="27" y="56"/>
                  </a:lnTo>
                  <a:lnTo>
                    <a:pt x="27" y="54"/>
                  </a:lnTo>
                  <a:lnTo>
                    <a:pt x="25" y="54"/>
                  </a:lnTo>
                  <a:lnTo>
                    <a:pt x="25" y="52"/>
                  </a:lnTo>
                  <a:lnTo>
                    <a:pt x="23" y="52"/>
                  </a:lnTo>
                  <a:lnTo>
                    <a:pt x="25" y="52"/>
                  </a:lnTo>
                  <a:lnTo>
                    <a:pt x="23" y="52"/>
                  </a:lnTo>
                  <a:lnTo>
                    <a:pt x="23" y="50"/>
                  </a:lnTo>
                  <a:lnTo>
                    <a:pt x="21" y="50"/>
                  </a:lnTo>
                  <a:lnTo>
                    <a:pt x="21" y="48"/>
                  </a:lnTo>
                  <a:lnTo>
                    <a:pt x="19" y="48"/>
                  </a:lnTo>
                  <a:lnTo>
                    <a:pt x="19" y="46"/>
                  </a:lnTo>
                  <a:lnTo>
                    <a:pt x="17" y="46"/>
                  </a:lnTo>
                  <a:lnTo>
                    <a:pt x="17" y="44"/>
                  </a:lnTo>
                  <a:lnTo>
                    <a:pt x="15" y="44"/>
                  </a:lnTo>
                  <a:lnTo>
                    <a:pt x="13" y="44"/>
                  </a:lnTo>
                  <a:lnTo>
                    <a:pt x="13" y="42"/>
                  </a:lnTo>
                  <a:lnTo>
                    <a:pt x="13" y="40"/>
                  </a:lnTo>
                  <a:lnTo>
                    <a:pt x="11" y="40"/>
                  </a:lnTo>
                  <a:lnTo>
                    <a:pt x="9" y="40"/>
                  </a:lnTo>
                  <a:lnTo>
                    <a:pt x="9" y="38"/>
                  </a:lnTo>
                  <a:lnTo>
                    <a:pt x="7" y="38"/>
                  </a:lnTo>
                  <a:lnTo>
                    <a:pt x="7" y="36"/>
                  </a:lnTo>
                  <a:lnTo>
                    <a:pt x="5" y="36"/>
                  </a:lnTo>
                  <a:lnTo>
                    <a:pt x="5" y="34"/>
                  </a:lnTo>
                  <a:lnTo>
                    <a:pt x="5" y="32"/>
                  </a:lnTo>
                  <a:lnTo>
                    <a:pt x="5" y="34"/>
                  </a:lnTo>
                  <a:lnTo>
                    <a:pt x="5" y="32"/>
                  </a:lnTo>
                  <a:lnTo>
                    <a:pt x="3" y="32"/>
                  </a:lnTo>
                  <a:lnTo>
                    <a:pt x="3" y="31"/>
                  </a:lnTo>
                  <a:lnTo>
                    <a:pt x="3" y="29"/>
                  </a:lnTo>
                  <a:lnTo>
                    <a:pt x="5" y="29"/>
                  </a:lnTo>
                  <a:lnTo>
                    <a:pt x="5" y="27"/>
                  </a:lnTo>
                  <a:lnTo>
                    <a:pt x="3" y="27"/>
                  </a:lnTo>
                  <a:lnTo>
                    <a:pt x="5" y="27"/>
                  </a:lnTo>
                  <a:lnTo>
                    <a:pt x="5" y="25"/>
                  </a:lnTo>
                  <a:lnTo>
                    <a:pt x="3" y="25"/>
                  </a:lnTo>
                  <a:lnTo>
                    <a:pt x="2" y="25"/>
                  </a:lnTo>
                  <a:lnTo>
                    <a:pt x="3" y="25"/>
                  </a:lnTo>
                  <a:lnTo>
                    <a:pt x="2" y="25"/>
                  </a:lnTo>
                  <a:lnTo>
                    <a:pt x="2" y="23"/>
                  </a:lnTo>
                  <a:lnTo>
                    <a:pt x="0" y="23"/>
                  </a:lnTo>
                  <a:lnTo>
                    <a:pt x="0" y="21"/>
                  </a:lnTo>
                  <a:lnTo>
                    <a:pt x="0" y="19"/>
                  </a:lnTo>
                  <a:lnTo>
                    <a:pt x="0" y="21"/>
                  </a:lnTo>
                  <a:lnTo>
                    <a:pt x="0" y="19"/>
                  </a:lnTo>
                  <a:lnTo>
                    <a:pt x="0" y="21"/>
                  </a:lnTo>
                  <a:lnTo>
                    <a:pt x="0" y="19"/>
                  </a:lnTo>
                  <a:lnTo>
                    <a:pt x="0" y="17"/>
                  </a:lnTo>
                  <a:lnTo>
                    <a:pt x="0" y="19"/>
                  </a:lnTo>
                  <a:lnTo>
                    <a:pt x="2" y="19"/>
                  </a:lnTo>
                  <a:lnTo>
                    <a:pt x="2" y="21"/>
                  </a:lnTo>
                  <a:lnTo>
                    <a:pt x="2" y="19"/>
                  </a:lnTo>
                  <a:lnTo>
                    <a:pt x="3" y="19"/>
                  </a:lnTo>
                  <a:lnTo>
                    <a:pt x="3" y="17"/>
                  </a:lnTo>
                  <a:lnTo>
                    <a:pt x="5" y="17"/>
                  </a:lnTo>
                  <a:lnTo>
                    <a:pt x="5" y="15"/>
                  </a:lnTo>
                  <a:lnTo>
                    <a:pt x="7" y="15"/>
                  </a:lnTo>
                  <a:lnTo>
                    <a:pt x="9" y="15"/>
                  </a:lnTo>
                  <a:lnTo>
                    <a:pt x="11" y="15"/>
                  </a:lnTo>
                  <a:lnTo>
                    <a:pt x="13" y="15"/>
                  </a:lnTo>
                  <a:lnTo>
                    <a:pt x="13" y="13"/>
                  </a:lnTo>
                  <a:lnTo>
                    <a:pt x="15" y="13"/>
                  </a:lnTo>
                  <a:lnTo>
                    <a:pt x="15" y="11"/>
                  </a:lnTo>
                  <a:lnTo>
                    <a:pt x="17" y="11"/>
                  </a:lnTo>
                  <a:lnTo>
                    <a:pt x="17" y="9"/>
                  </a:lnTo>
                  <a:lnTo>
                    <a:pt x="19" y="9"/>
                  </a:lnTo>
                  <a:lnTo>
                    <a:pt x="19" y="11"/>
                  </a:lnTo>
                  <a:lnTo>
                    <a:pt x="19" y="9"/>
                  </a:lnTo>
                  <a:lnTo>
                    <a:pt x="21" y="9"/>
                  </a:lnTo>
                  <a:lnTo>
                    <a:pt x="19" y="9"/>
                  </a:lnTo>
                  <a:lnTo>
                    <a:pt x="21" y="9"/>
                  </a:lnTo>
                  <a:lnTo>
                    <a:pt x="21" y="7"/>
                  </a:lnTo>
                  <a:lnTo>
                    <a:pt x="21" y="9"/>
                  </a:lnTo>
                  <a:lnTo>
                    <a:pt x="21" y="7"/>
                  </a:lnTo>
                  <a:lnTo>
                    <a:pt x="21" y="9"/>
                  </a:lnTo>
                  <a:lnTo>
                    <a:pt x="21" y="7"/>
                  </a:lnTo>
                  <a:lnTo>
                    <a:pt x="23" y="7"/>
                  </a:lnTo>
                  <a:lnTo>
                    <a:pt x="25" y="7"/>
                  </a:lnTo>
                  <a:lnTo>
                    <a:pt x="27" y="7"/>
                  </a:lnTo>
                  <a:lnTo>
                    <a:pt x="27" y="6"/>
                  </a:lnTo>
                  <a:lnTo>
                    <a:pt x="28" y="6"/>
                  </a:lnTo>
                  <a:lnTo>
                    <a:pt x="30" y="6"/>
                  </a:lnTo>
                  <a:lnTo>
                    <a:pt x="30" y="4"/>
                  </a:lnTo>
                  <a:lnTo>
                    <a:pt x="32" y="4"/>
                  </a:lnTo>
                  <a:lnTo>
                    <a:pt x="30" y="4"/>
                  </a:lnTo>
                  <a:lnTo>
                    <a:pt x="32" y="4"/>
                  </a:lnTo>
                  <a:lnTo>
                    <a:pt x="30" y="4"/>
                  </a:lnTo>
                  <a:lnTo>
                    <a:pt x="30" y="2"/>
                  </a:lnTo>
                  <a:lnTo>
                    <a:pt x="32" y="2"/>
                  </a:lnTo>
                  <a:lnTo>
                    <a:pt x="30" y="2"/>
                  </a:lnTo>
                  <a:lnTo>
                    <a:pt x="30" y="0"/>
                  </a:lnTo>
                  <a:lnTo>
                    <a:pt x="32" y="0"/>
                  </a:lnTo>
                  <a:lnTo>
                    <a:pt x="32" y="2"/>
                  </a:lnTo>
                  <a:lnTo>
                    <a:pt x="32" y="0"/>
                  </a:lnTo>
                  <a:lnTo>
                    <a:pt x="32" y="2"/>
                  </a:lnTo>
                  <a:lnTo>
                    <a:pt x="34" y="2"/>
                  </a:lnTo>
                  <a:lnTo>
                    <a:pt x="34" y="0"/>
                  </a:lnTo>
                  <a:lnTo>
                    <a:pt x="34" y="2"/>
                  </a:lnTo>
                  <a:lnTo>
                    <a:pt x="36" y="2"/>
                  </a:lnTo>
                  <a:lnTo>
                    <a:pt x="36" y="4"/>
                  </a:lnTo>
                  <a:lnTo>
                    <a:pt x="34" y="4"/>
                  </a:lnTo>
                  <a:lnTo>
                    <a:pt x="36" y="4"/>
                  </a:lnTo>
                  <a:lnTo>
                    <a:pt x="36" y="6"/>
                  </a:lnTo>
                  <a:lnTo>
                    <a:pt x="38" y="6"/>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387">
              <a:extLst>
                <a:ext uri="{FF2B5EF4-FFF2-40B4-BE49-F238E27FC236}">
                  <a16:creationId xmlns:a16="http://schemas.microsoft.com/office/drawing/2014/main" id="{A6794DA7-18D3-4C85-886C-F95C46D72A53}"/>
                </a:ext>
              </a:extLst>
            </p:cNvPr>
            <p:cNvSpPr>
              <a:spLocks/>
            </p:cNvSpPr>
            <p:nvPr/>
          </p:nvSpPr>
          <p:spPr bwMode="gray">
            <a:xfrm>
              <a:off x="3379955" y="3356006"/>
              <a:ext cx="137354" cy="69904"/>
            </a:xfrm>
            <a:custGeom>
              <a:avLst/>
              <a:gdLst>
                <a:gd name="T0" fmla="*/ 108 w 112"/>
                <a:gd name="T1" fmla="*/ 9 h 57"/>
                <a:gd name="T2" fmla="*/ 110 w 112"/>
                <a:gd name="T3" fmla="*/ 15 h 57"/>
                <a:gd name="T4" fmla="*/ 110 w 112"/>
                <a:gd name="T5" fmla="*/ 19 h 57"/>
                <a:gd name="T6" fmla="*/ 110 w 112"/>
                <a:gd name="T7" fmla="*/ 21 h 57"/>
                <a:gd name="T8" fmla="*/ 110 w 112"/>
                <a:gd name="T9" fmla="*/ 25 h 57"/>
                <a:gd name="T10" fmla="*/ 110 w 112"/>
                <a:gd name="T11" fmla="*/ 29 h 57"/>
                <a:gd name="T12" fmla="*/ 104 w 112"/>
                <a:gd name="T13" fmla="*/ 27 h 57"/>
                <a:gd name="T14" fmla="*/ 102 w 112"/>
                <a:gd name="T15" fmla="*/ 29 h 57"/>
                <a:gd name="T16" fmla="*/ 106 w 112"/>
                <a:gd name="T17" fmla="*/ 32 h 57"/>
                <a:gd name="T18" fmla="*/ 100 w 112"/>
                <a:gd name="T19" fmla="*/ 38 h 57"/>
                <a:gd name="T20" fmla="*/ 102 w 112"/>
                <a:gd name="T21" fmla="*/ 44 h 57"/>
                <a:gd name="T22" fmla="*/ 102 w 112"/>
                <a:gd name="T23" fmla="*/ 44 h 57"/>
                <a:gd name="T24" fmla="*/ 100 w 112"/>
                <a:gd name="T25" fmla="*/ 42 h 57"/>
                <a:gd name="T26" fmla="*/ 98 w 112"/>
                <a:gd name="T27" fmla="*/ 44 h 57"/>
                <a:gd name="T28" fmla="*/ 96 w 112"/>
                <a:gd name="T29" fmla="*/ 50 h 57"/>
                <a:gd name="T30" fmla="*/ 89 w 112"/>
                <a:gd name="T31" fmla="*/ 50 h 57"/>
                <a:gd name="T32" fmla="*/ 85 w 112"/>
                <a:gd name="T33" fmla="*/ 50 h 57"/>
                <a:gd name="T34" fmla="*/ 79 w 112"/>
                <a:gd name="T35" fmla="*/ 52 h 57"/>
                <a:gd name="T36" fmla="*/ 75 w 112"/>
                <a:gd name="T37" fmla="*/ 56 h 57"/>
                <a:gd name="T38" fmla="*/ 73 w 112"/>
                <a:gd name="T39" fmla="*/ 57 h 57"/>
                <a:gd name="T40" fmla="*/ 66 w 112"/>
                <a:gd name="T41" fmla="*/ 54 h 57"/>
                <a:gd name="T42" fmla="*/ 56 w 112"/>
                <a:gd name="T43" fmla="*/ 52 h 57"/>
                <a:gd name="T44" fmla="*/ 52 w 112"/>
                <a:gd name="T45" fmla="*/ 52 h 57"/>
                <a:gd name="T46" fmla="*/ 46 w 112"/>
                <a:gd name="T47" fmla="*/ 50 h 57"/>
                <a:gd name="T48" fmla="*/ 39 w 112"/>
                <a:gd name="T49" fmla="*/ 46 h 57"/>
                <a:gd name="T50" fmla="*/ 35 w 112"/>
                <a:gd name="T51" fmla="*/ 42 h 57"/>
                <a:gd name="T52" fmla="*/ 29 w 112"/>
                <a:gd name="T53" fmla="*/ 44 h 57"/>
                <a:gd name="T54" fmla="*/ 23 w 112"/>
                <a:gd name="T55" fmla="*/ 46 h 57"/>
                <a:gd name="T56" fmla="*/ 16 w 112"/>
                <a:gd name="T57" fmla="*/ 46 h 57"/>
                <a:gd name="T58" fmla="*/ 8 w 112"/>
                <a:gd name="T59" fmla="*/ 46 h 57"/>
                <a:gd name="T60" fmla="*/ 6 w 112"/>
                <a:gd name="T61" fmla="*/ 44 h 57"/>
                <a:gd name="T62" fmla="*/ 0 w 112"/>
                <a:gd name="T63" fmla="*/ 38 h 57"/>
                <a:gd name="T64" fmla="*/ 2 w 112"/>
                <a:gd name="T65" fmla="*/ 32 h 57"/>
                <a:gd name="T66" fmla="*/ 6 w 112"/>
                <a:gd name="T67" fmla="*/ 32 h 57"/>
                <a:gd name="T68" fmla="*/ 8 w 112"/>
                <a:gd name="T69" fmla="*/ 34 h 57"/>
                <a:gd name="T70" fmla="*/ 10 w 112"/>
                <a:gd name="T71" fmla="*/ 36 h 57"/>
                <a:gd name="T72" fmla="*/ 14 w 112"/>
                <a:gd name="T73" fmla="*/ 32 h 57"/>
                <a:gd name="T74" fmla="*/ 18 w 112"/>
                <a:gd name="T75" fmla="*/ 32 h 57"/>
                <a:gd name="T76" fmla="*/ 21 w 112"/>
                <a:gd name="T77" fmla="*/ 32 h 57"/>
                <a:gd name="T78" fmla="*/ 27 w 112"/>
                <a:gd name="T79" fmla="*/ 34 h 57"/>
                <a:gd name="T80" fmla="*/ 31 w 112"/>
                <a:gd name="T81" fmla="*/ 31 h 57"/>
                <a:gd name="T82" fmla="*/ 41 w 112"/>
                <a:gd name="T83" fmla="*/ 27 h 57"/>
                <a:gd name="T84" fmla="*/ 46 w 112"/>
                <a:gd name="T85" fmla="*/ 29 h 57"/>
                <a:gd name="T86" fmla="*/ 52 w 112"/>
                <a:gd name="T87" fmla="*/ 31 h 57"/>
                <a:gd name="T88" fmla="*/ 50 w 112"/>
                <a:gd name="T89" fmla="*/ 29 h 57"/>
                <a:gd name="T90" fmla="*/ 48 w 112"/>
                <a:gd name="T91" fmla="*/ 19 h 57"/>
                <a:gd name="T92" fmla="*/ 56 w 112"/>
                <a:gd name="T93" fmla="*/ 13 h 57"/>
                <a:gd name="T94" fmla="*/ 60 w 112"/>
                <a:gd name="T95" fmla="*/ 9 h 57"/>
                <a:gd name="T96" fmla="*/ 64 w 112"/>
                <a:gd name="T97" fmla="*/ 6 h 57"/>
                <a:gd name="T98" fmla="*/ 66 w 112"/>
                <a:gd name="T99" fmla="*/ 8 h 57"/>
                <a:gd name="T100" fmla="*/ 69 w 112"/>
                <a:gd name="T101" fmla="*/ 8 h 57"/>
                <a:gd name="T102" fmla="*/ 71 w 112"/>
                <a:gd name="T103" fmla="*/ 9 h 57"/>
                <a:gd name="T104" fmla="*/ 75 w 112"/>
                <a:gd name="T105" fmla="*/ 9 h 57"/>
                <a:gd name="T106" fmla="*/ 77 w 112"/>
                <a:gd name="T107" fmla="*/ 4 h 57"/>
                <a:gd name="T108" fmla="*/ 81 w 112"/>
                <a:gd name="T109" fmla="*/ 4 h 57"/>
                <a:gd name="T110" fmla="*/ 81 w 112"/>
                <a:gd name="T111" fmla="*/ 0 h 57"/>
                <a:gd name="T112" fmla="*/ 90 w 112"/>
                <a:gd name="T113" fmla="*/ 2 h 57"/>
                <a:gd name="T114" fmla="*/ 96 w 112"/>
                <a:gd name="T115" fmla="*/ 4 h 57"/>
                <a:gd name="T116" fmla="*/ 102 w 112"/>
                <a:gd name="T117" fmla="*/ 6 h 57"/>
                <a:gd name="T118" fmla="*/ 106 w 112"/>
                <a:gd name="T119"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57">
                  <a:moveTo>
                    <a:pt x="108" y="8"/>
                  </a:moveTo>
                  <a:lnTo>
                    <a:pt x="110" y="8"/>
                  </a:lnTo>
                  <a:lnTo>
                    <a:pt x="108" y="8"/>
                  </a:lnTo>
                  <a:lnTo>
                    <a:pt x="108" y="9"/>
                  </a:lnTo>
                  <a:lnTo>
                    <a:pt x="110" y="9"/>
                  </a:lnTo>
                  <a:lnTo>
                    <a:pt x="108" y="9"/>
                  </a:lnTo>
                  <a:lnTo>
                    <a:pt x="110" y="9"/>
                  </a:lnTo>
                  <a:lnTo>
                    <a:pt x="108" y="9"/>
                  </a:lnTo>
                  <a:lnTo>
                    <a:pt x="108" y="11"/>
                  </a:lnTo>
                  <a:lnTo>
                    <a:pt x="108" y="13"/>
                  </a:lnTo>
                  <a:lnTo>
                    <a:pt x="108" y="15"/>
                  </a:lnTo>
                  <a:lnTo>
                    <a:pt x="110" y="15"/>
                  </a:lnTo>
                  <a:lnTo>
                    <a:pt x="110" y="17"/>
                  </a:lnTo>
                  <a:lnTo>
                    <a:pt x="110" y="19"/>
                  </a:lnTo>
                  <a:lnTo>
                    <a:pt x="112" y="19"/>
                  </a:lnTo>
                  <a:lnTo>
                    <a:pt x="110" y="19"/>
                  </a:lnTo>
                  <a:lnTo>
                    <a:pt x="112" y="19"/>
                  </a:lnTo>
                  <a:lnTo>
                    <a:pt x="110" y="19"/>
                  </a:lnTo>
                  <a:lnTo>
                    <a:pt x="112" y="19"/>
                  </a:lnTo>
                  <a:lnTo>
                    <a:pt x="110" y="19"/>
                  </a:lnTo>
                  <a:lnTo>
                    <a:pt x="112" y="19"/>
                  </a:lnTo>
                  <a:lnTo>
                    <a:pt x="110" y="19"/>
                  </a:lnTo>
                  <a:lnTo>
                    <a:pt x="112" y="21"/>
                  </a:lnTo>
                  <a:lnTo>
                    <a:pt x="110" y="21"/>
                  </a:lnTo>
                  <a:lnTo>
                    <a:pt x="112" y="21"/>
                  </a:lnTo>
                  <a:lnTo>
                    <a:pt x="110" y="21"/>
                  </a:lnTo>
                  <a:lnTo>
                    <a:pt x="112" y="21"/>
                  </a:lnTo>
                  <a:lnTo>
                    <a:pt x="112" y="23"/>
                  </a:lnTo>
                  <a:lnTo>
                    <a:pt x="112" y="25"/>
                  </a:lnTo>
                  <a:lnTo>
                    <a:pt x="110" y="25"/>
                  </a:lnTo>
                  <a:lnTo>
                    <a:pt x="112" y="25"/>
                  </a:lnTo>
                  <a:lnTo>
                    <a:pt x="110" y="25"/>
                  </a:lnTo>
                  <a:lnTo>
                    <a:pt x="110" y="27"/>
                  </a:lnTo>
                  <a:lnTo>
                    <a:pt x="112" y="27"/>
                  </a:lnTo>
                  <a:lnTo>
                    <a:pt x="112" y="29"/>
                  </a:lnTo>
                  <a:lnTo>
                    <a:pt x="110" y="29"/>
                  </a:lnTo>
                  <a:lnTo>
                    <a:pt x="108" y="29"/>
                  </a:lnTo>
                  <a:lnTo>
                    <a:pt x="108" y="27"/>
                  </a:lnTo>
                  <a:lnTo>
                    <a:pt x="108" y="29"/>
                  </a:lnTo>
                  <a:lnTo>
                    <a:pt x="106" y="29"/>
                  </a:lnTo>
                  <a:lnTo>
                    <a:pt x="106" y="27"/>
                  </a:lnTo>
                  <a:lnTo>
                    <a:pt x="104" y="27"/>
                  </a:lnTo>
                  <a:lnTo>
                    <a:pt x="102" y="27"/>
                  </a:lnTo>
                  <a:lnTo>
                    <a:pt x="104" y="27"/>
                  </a:lnTo>
                  <a:lnTo>
                    <a:pt x="102" y="27"/>
                  </a:lnTo>
                  <a:lnTo>
                    <a:pt x="104" y="27"/>
                  </a:lnTo>
                  <a:lnTo>
                    <a:pt x="102" y="27"/>
                  </a:lnTo>
                  <a:lnTo>
                    <a:pt x="102" y="29"/>
                  </a:lnTo>
                  <a:lnTo>
                    <a:pt x="104" y="29"/>
                  </a:lnTo>
                  <a:lnTo>
                    <a:pt x="104" y="31"/>
                  </a:lnTo>
                  <a:lnTo>
                    <a:pt x="104" y="29"/>
                  </a:lnTo>
                  <a:lnTo>
                    <a:pt x="104" y="31"/>
                  </a:lnTo>
                  <a:lnTo>
                    <a:pt x="106" y="31"/>
                  </a:lnTo>
                  <a:lnTo>
                    <a:pt x="106" y="32"/>
                  </a:lnTo>
                  <a:lnTo>
                    <a:pt x="104" y="32"/>
                  </a:lnTo>
                  <a:lnTo>
                    <a:pt x="104" y="34"/>
                  </a:lnTo>
                  <a:lnTo>
                    <a:pt x="102" y="34"/>
                  </a:lnTo>
                  <a:lnTo>
                    <a:pt x="102" y="36"/>
                  </a:lnTo>
                  <a:lnTo>
                    <a:pt x="102" y="38"/>
                  </a:lnTo>
                  <a:lnTo>
                    <a:pt x="100" y="38"/>
                  </a:lnTo>
                  <a:lnTo>
                    <a:pt x="102" y="38"/>
                  </a:lnTo>
                  <a:lnTo>
                    <a:pt x="102" y="40"/>
                  </a:lnTo>
                  <a:lnTo>
                    <a:pt x="102" y="42"/>
                  </a:lnTo>
                  <a:lnTo>
                    <a:pt x="102" y="44"/>
                  </a:lnTo>
                  <a:lnTo>
                    <a:pt x="102" y="42"/>
                  </a:lnTo>
                  <a:lnTo>
                    <a:pt x="102" y="44"/>
                  </a:lnTo>
                  <a:lnTo>
                    <a:pt x="102" y="42"/>
                  </a:lnTo>
                  <a:lnTo>
                    <a:pt x="102" y="44"/>
                  </a:lnTo>
                  <a:lnTo>
                    <a:pt x="102" y="42"/>
                  </a:lnTo>
                  <a:lnTo>
                    <a:pt x="102" y="44"/>
                  </a:lnTo>
                  <a:lnTo>
                    <a:pt x="102" y="42"/>
                  </a:lnTo>
                  <a:lnTo>
                    <a:pt x="102" y="44"/>
                  </a:lnTo>
                  <a:lnTo>
                    <a:pt x="100" y="44"/>
                  </a:lnTo>
                  <a:lnTo>
                    <a:pt x="100" y="42"/>
                  </a:lnTo>
                  <a:lnTo>
                    <a:pt x="100" y="44"/>
                  </a:lnTo>
                  <a:lnTo>
                    <a:pt x="100" y="42"/>
                  </a:lnTo>
                  <a:lnTo>
                    <a:pt x="100" y="44"/>
                  </a:lnTo>
                  <a:lnTo>
                    <a:pt x="100" y="42"/>
                  </a:lnTo>
                  <a:lnTo>
                    <a:pt x="100" y="44"/>
                  </a:lnTo>
                  <a:lnTo>
                    <a:pt x="100" y="42"/>
                  </a:lnTo>
                  <a:lnTo>
                    <a:pt x="100" y="44"/>
                  </a:lnTo>
                  <a:lnTo>
                    <a:pt x="100" y="42"/>
                  </a:lnTo>
                  <a:lnTo>
                    <a:pt x="98" y="42"/>
                  </a:lnTo>
                  <a:lnTo>
                    <a:pt x="98" y="44"/>
                  </a:lnTo>
                  <a:lnTo>
                    <a:pt x="98" y="46"/>
                  </a:lnTo>
                  <a:lnTo>
                    <a:pt x="96" y="46"/>
                  </a:lnTo>
                  <a:lnTo>
                    <a:pt x="94" y="46"/>
                  </a:lnTo>
                  <a:lnTo>
                    <a:pt x="94" y="48"/>
                  </a:lnTo>
                  <a:lnTo>
                    <a:pt x="94" y="50"/>
                  </a:lnTo>
                  <a:lnTo>
                    <a:pt x="96" y="50"/>
                  </a:lnTo>
                  <a:lnTo>
                    <a:pt x="94" y="50"/>
                  </a:lnTo>
                  <a:lnTo>
                    <a:pt x="92" y="50"/>
                  </a:lnTo>
                  <a:lnTo>
                    <a:pt x="90" y="50"/>
                  </a:lnTo>
                  <a:lnTo>
                    <a:pt x="89" y="50"/>
                  </a:lnTo>
                  <a:lnTo>
                    <a:pt x="90" y="50"/>
                  </a:lnTo>
                  <a:lnTo>
                    <a:pt x="89" y="50"/>
                  </a:lnTo>
                  <a:lnTo>
                    <a:pt x="89" y="52"/>
                  </a:lnTo>
                  <a:lnTo>
                    <a:pt x="87" y="52"/>
                  </a:lnTo>
                  <a:lnTo>
                    <a:pt x="87" y="50"/>
                  </a:lnTo>
                  <a:lnTo>
                    <a:pt x="85" y="50"/>
                  </a:lnTo>
                  <a:lnTo>
                    <a:pt x="85" y="52"/>
                  </a:lnTo>
                  <a:lnTo>
                    <a:pt x="85" y="50"/>
                  </a:lnTo>
                  <a:lnTo>
                    <a:pt x="85" y="52"/>
                  </a:lnTo>
                  <a:lnTo>
                    <a:pt x="83" y="52"/>
                  </a:lnTo>
                  <a:lnTo>
                    <a:pt x="83" y="50"/>
                  </a:lnTo>
                  <a:lnTo>
                    <a:pt x="81" y="50"/>
                  </a:lnTo>
                  <a:lnTo>
                    <a:pt x="81" y="52"/>
                  </a:lnTo>
                  <a:lnTo>
                    <a:pt x="79" y="52"/>
                  </a:lnTo>
                  <a:lnTo>
                    <a:pt x="77" y="52"/>
                  </a:lnTo>
                  <a:lnTo>
                    <a:pt x="77" y="54"/>
                  </a:lnTo>
                  <a:lnTo>
                    <a:pt x="75" y="54"/>
                  </a:lnTo>
                  <a:lnTo>
                    <a:pt x="77" y="54"/>
                  </a:lnTo>
                  <a:lnTo>
                    <a:pt x="75" y="54"/>
                  </a:lnTo>
                  <a:lnTo>
                    <a:pt x="75" y="56"/>
                  </a:lnTo>
                  <a:lnTo>
                    <a:pt x="75" y="54"/>
                  </a:lnTo>
                  <a:lnTo>
                    <a:pt x="75" y="56"/>
                  </a:lnTo>
                  <a:lnTo>
                    <a:pt x="73" y="56"/>
                  </a:lnTo>
                  <a:lnTo>
                    <a:pt x="75" y="56"/>
                  </a:lnTo>
                  <a:lnTo>
                    <a:pt x="73" y="56"/>
                  </a:lnTo>
                  <a:lnTo>
                    <a:pt x="73" y="57"/>
                  </a:lnTo>
                  <a:lnTo>
                    <a:pt x="73" y="56"/>
                  </a:lnTo>
                  <a:lnTo>
                    <a:pt x="71" y="56"/>
                  </a:lnTo>
                  <a:lnTo>
                    <a:pt x="69" y="56"/>
                  </a:lnTo>
                  <a:lnTo>
                    <a:pt x="67" y="56"/>
                  </a:lnTo>
                  <a:lnTo>
                    <a:pt x="67" y="54"/>
                  </a:lnTo>
                  <a:lnTo>
                    <a:pt x="66" y="54"/>
                  </a:lnTo>
                  <a:lnTo>
                    <a:pt x="64" y="54"/>
                  </a:lnTo>
                  <a:lnTo>
                    <a:pt x="62" y="54"/>
                  </a:lnTo>
                  <a:lnTo>
                    <a:pt x="60" y="54"/>
                  </a:lnTo>
                  <a:lnTo>
                    <a:pt x="58" y="54"/>
                  </a:lnTo>
                  <a:lnTo>
                    <a:pt x="58" y="52"/>
                  </a:lnTo>
                  <a:lnTo>
                    <a:pt x="56" y="52"/>
                  </a:lnTo>
                  <a:lnTo>
                    <a:pt x="56" y="54"/>
                  </a:lnTo>
                  <a:lnTo>
                    <a:pt x="56" y="52"/>
                  </a:lnTo>
                  <a:lnTo>
                    <a:pt x="54" y="52"/>
                  </a:lnTo>
                  <a:lnTo>
                    <a:pt x="54" y="54"/>
                  </a:lnTo>
                  <a:lnTo>
                    <a:pt x="54" y="52"/>
                  </a:lnTo>
                  <a:lnTo>
                    <a:pt x="52" y="52"/>
                  </a:lnTo>
                  <a:lnTo>
                    <a:pt x="50" y="52"/>
                  </a:lnTo>
                  <a:lnTo>
                    <a:pt x="48" y="52"/>
                  </a:lnTo>
                  <a:lnTo>
                    <a:pt x="48" y="50"/>
                  </a:lnTo>
                  <a:lnTo>
                    <a:pt x="48" y="52"/>
                  </a:lnTo>
                  <a:lnTo>
                    <a:pt x="46" y="52"/>
                  </a:lnTo>
                  <a:lnTo>
                    <a:pt x="46" y="50"/>
                  </a:lnTo>
                  <a:lnTo>
                    <a:pt x="44" y="50"/>
                  </a:lnTo>
                  <a:lnTo>
                    <a:pt x="42" y="50"/>
                  </a:lnTo>
                  <a:lnTo>
                    <a:pt x="42" y="48"/>
                  </a:lnTo>
                  <a:lnTo>
                    <a:pt x="41" y="48"/>
                  </a:lnTo>
                  <a:lnTo>
                    <a:pt x="41" y="46"/>
                  </a:lnTo>
                  <a:lnTo>
                    <a:pt x="39" y="46"/>
                  </a:lnTo>
                  <a:lnTo>
                    <a:pt x="39" y="44"/>
                  </a:lnTo>
                  <a:lnTo>
                    <a:pt x="39" y="42"/>
                  </a:lnTo>
                  <a:lnTo>
                    <a:pt x="41" y="42"/>
                  </a:lnTo>
                  <a:lnTo>
                    <a:pt x="39" y="42"/>
                  </a:lnTo>
                  <a:lnTo>
                    <a:pt x="37" y="42"/>
                  </a:lnTo>
                  <a:lnTo>
                    <a:pt x="35" y="42"/>
                  </a:lnTo>
                  <a:lnTo>
                    <a:pt x="35" y="44"/>
                  </a:lnTo>
                  <a:lnTo>
                    <a:pt x="33" y="44"/>
                  </a:lnTo>
                  <a:lnTo>
                    <a:pt x="31" y="44"/>
                  </a:lnTo>
                  <a:lnTo>
                    <a:pt x="31" y="42"/>
                  </a:lnTo>
                  <a:lnTo>
                    <a:pt x="31" y="44"/>
                  </a:lnTo>
                  <a:lnTo>
                    <a:pt x="29" y="44"/>
                  </a:lnTo>
                  <a:lnTo>
                    <a:pt x="29" y="42"/>
                  </a:lnTo>
                  <a:lnTo>
                    <a:pt x="29" y="44"/>
                  </a:lnTo>
                  <a:lnTo>
                    <a:pt x="27" y="44"/>
                  </a:lnTo>
                  <a:lnTo>
                    <a:pt x="25" y="44"/>
                  </a:lnTo>
                  <a:lnTo>
                    <a:pt x="23" y="44"/>
                  </a:lnTo>
                  <a:lnTo>
                    <a:pt x="23" y="46"/>
                  </a:lnTo>
                  <a:lnTo>
                    <a:pt x="23" y="48"/>
                  </a:lnTo>
                  <a:lnTo>
                    <a:pt x="21" y="48"/>
                  </a:lnTo>
                  <a:lnTo>
                    <a:pt x="19" y="48"/>
                  </a:lnTo>
                  <a:lnTo>
                    <a:pt x="18" y="48"/>
                  </a:lnTo>
                  <a:lnTo>
                    <a:pt x="18" y="46"/>
                  </a:lnTo>
                  <a:lnTo>
                    <a:pt x="16" y="46"/>
                  </a:lnTo>
                  <a:lnTo>
                    <a:pt x="14" y="46"/>
                  </a:lnTo>
                  <a:lnTo>
                    <a:pt x="14" y="44"/>
                  </a:lnTo>
                  <a:lnTo>
                    <a:pt x="12" y="44"/>
                  </a:lnTo>
                  <a:lnTo>
                    <a:pt x="10" y="44"/>
                  </a:lnTo>
                  <a:lnTo>
                    <a:pt x="10" y="46"/>
                  </a:lnTo>
                  <a:lnTo>
                    <a:pt x="8" y="46"/>
                  </a:lnTo>
                  <a:lnTo>
                    <a:pt x="6" y="46"/>
                  </a:lnTo>
                  <a:lnTo>
                    <a:pt x="6" y="44"/>
                  </a:lnTo>
                  <a:lnTo>
                    <a:pt x="6" y="46"/>
                  </a:lnTo>
                  <a:lnTo>
                    <a:pt x="6" y="44"/>
                  </a:lnTo>
                  <a:lnTo>
                    <a:pt x="6" y="46"/>
                  </a:lnTo>
                  <a:lnTo>
                    <a:pt x="6" y="44"/>
                  </a:lnTo>
                  <a:lnTo>
                    <a:pt x="6" y="42"/>
                  </a:lnTo>
                  <a:lnTo>
                    <a:pt x="4" y="42"/>
                  </a:lnTo>
                  <a:lnTo>
                    <a:pt x="2" y="42"/>
                  </a:lnTo>
                  <a:lnTo>
                    <a:pt x="2" y="40"/>
                  </a:lnTo>
                  <a:lnTo>
                    <a:pt x="0" y="40"/>
                  </a:lnTo>
                  <a:lnTo>
                    <a:pt x="0" y="38"/>
                  </a:lnTo>
                  <a:lnTo>
                    <a:pt x="0" y="36"/>
                  </a:lnTo>
                  <a:lnTo>
                    <a:pt x="2" y="36"/>
                  </a:lnTo>
                  <a:lnTo>
                    <a:pt x="2" y="34"/>
                  </a:lnTo>
                  <a:lnTo>
                    <a:pt x="2" y="32"/>
                  </a:lnTo>
                  <a:lnTo>
                    <a:pt x="0" y="32"/>
                  </a:lnTo>
                  <a:lnTo>
                    <a:pt x="2" y="32"/>
                  </a:lnTo>
                  <a:lnTo>
                    <a:pt x="4" y="32"/>
                  </a:lnTo>
                  <a:lnTo>
                    <a:pt x="4" y="31"/>
                  </a:lnTo>
                  <a:lnTo>
                    <a:pt x="4" y="32"/>
                  </a:lnTo>
                  <a:lnTo>
                    <a:pt x="6" y="32"/>
                  </a:lnTo>
                  <a:lnTo>
                    <a:pt x="6" y="31"/>
                  </a:lnTo>
                  <a:lnTo>
                    <a:pt x="6" y="32"/>
                  </a:lnTo>
                  <a:lnTo>
                    <a:pt x="6" y="31"/>
                  </a:lnTo>
                  <a:lnTo>
                    <a:pt x="6" y="32"/>
                  </a:lnTo>
                  <a:lnTo>
                    <a:pt x="6" y="31"/>
                  </a:lnTo>
                  <a:lnTo>
                    <a:pt x="6" y="32"/>
                  </a:lnTo>
                  <a:lnTo>
                    <a:pt x="8" y="32"/>
                  </a:lnTo>
                  <a:lnTo>
                    <a:pt x="8" y="34"/>
                  </a:lnTo>
                  <a:lnTo>
                    <a:pt x="8" y="36"/>
                  </a:lnTo>
                  <a:lnTo>
                    <a:pt x="8" y="34"/>
                  </a:lnTo>
                  <a:lnTo>
                    <a:pt x="10" y="34"/>
                  </a:lnTo>
                  <a:lnTo>
                    <a:pt x="10" y="36"/>
                  </a:lnTo>
                  <a:lnTo>
                    <a:pt x="10" y="38"/>
                  </a:lnTo>
                  <a:lnTo>
                    <a:pt x="10" y="36"/>
                  </a:lnTo>
                  <a:lnTo>
                    <a:pt x="10" y="38"/>
                  </a:lnTo>
                  <a:lnTo>
                    <a:pt x="10" y="36"/>
                  </a:lnTo>
                  <a:lnTo>
                    <a:pt x="12" y="36"/>
                  </a:lnTo>
                  <a:lnTo>
                    <a:pt x="14" y="36"/>
                  </a:lnTo>
                  <a:lnTo>
                    <a:pt x="14" y="34"/>
                  </a:lnTo>
                  <a:lnTo>
                    <a:pt x="14" y="32"/>
                  </a:lnTo>
                  <a:lnTo>
                    <a:pt x="14" y="31"/>
                  </a:lnTo>
                  <a:lnTo>
                    <a:pt x="14" y="32"/>
                  </a:lnTo>
                  <a:lnTo>
                    <a:pt x="16" y="32"/>
                  </a:lnTo>
                  <a:lnTo>
                    <a:pt x="16" y="31"/>
                  </a:lnTo>
                  <a:lnTo>
                    <a:pt x="18" y="31"/>
                  </a:lnTo>
                  <a:lnTo>
                    <a:pt x="18" y="32"/>
                  </a:lnTo>
                  <a:lnTo>
                    <a:pt x="18" y="31"/>
                  </a:lnTo>
                  <a:lnTo>
                    <a:pt x="18" y="32"/>
                  </a:lnTo>
                  <a:lnTo>
                    <a:pt x="19" y="32"/>
                  </a:lnTo>
                  <a:lnTo>
                    <a:pt x="21" y="32"/>
                  </a:lnTo>
                  <a:lnTo>
                    <a:pt x="19" y="32"/>
                  </a:lnTo>
                  <a:lnTo>
                    <a:pt x="21" y="32"/>
                  </a:lnTo>
                  <a:lnTo>
                    <a:pt x="21" y="34"/>
                  </a:lnTo>
                  <a:lnTo>
                    <a:pt x="23" y="34"/>
                  </a:lnTo>
                  <a:lnTo>
                    <a:pt x="25" y="34"/>
                  </a:lnTo>
                  <a:lnTo>
                    <a:pt x="27" y="34"/>
                  </a:lnTo>
                  <a:lnTo>
                    <a:pt x="27" y="32"/>
                  </a:lnTo>
                  <a:lnTo>
                    <a:pt x="27" y="34"/>
                  </a:lnTo>
                  <a:lnTo>
                    <a:pt x="27" y="32"/>
                  </a:lnTo>
                  <a:lnTo>
                    <a:pt x="27" y="34"/>
                  </a:lnTo>
                  <a:lnTo>
                    <a:pt x="27" y="32"/>
                  </a:lnTo>
                  <a:lnTo>
                    <a:pt x="29" y="32"/>
                  </a:lnTo>
                  <a:lnTo>
                    <a:pt x="31" y="32"/>
                  </a:lnTo>
                  <a:lnTo>
                    <a:pt x="31" y="31"/>
                  </a:lnTo>
                  <a:lnTo>
                    <a:pt x="33" y="31"/>
                  </a:lnTo>
                  <a:lnTo>
                    <a:pt x="35" y="31"/>
                  </a:lnTo>
                  <a:lnTo>
                    <a:pt x="37" y="31"/>
                  </a:lnTo>
                  <a:lnTo>
                    <a:pt x="39" y="31"/>
                  </a:lnTo>
                  <a:lnTo>
                    <a:pt x="39" y="29"/>
                  </a:lnTo>
                  <a:lnTo>
                    <a:pt x="41" y="27"/>
                  </a:lnTo>
                  <a:lnTo>
                    <a:pt x="41" y="29"/>
                  </a:lnTo>
                  <a:lnTo>
                    <a:pt x="42" y="29"/>
                  </a:lnTo>
                  <a:lnTo>
                    <a:pt x="44" y="29"/>
                  </a:lnTo>
                  <a:lnTo>
                    <a:pt x="44" y="31"/>
                  </a:lnTo>
                  <a:lnTo>
                    <a:pt x="44" y="29"/>
                  </a:lnTo>
                  <a:lnTo>
                    <a:pt x="46" y="29"/>
                  </a:lnTo>
                  <a:lnTo>
                    <a:pt x="48" y="29"/>
                  </a:lnTo>
                  <a:lnTo>
                    <a:pt x="48" y="31"/>
                  </a:lnTo>
                  <a:lnTo>
                    <a:pt x="48" y="32"/>
                  </a:lnTo>
                  <a:lnTo>
                    <a:pt x="50" y="32"/>
                  </a:lnTo>
                  <a:lnTo>
                    <a:pt x="52" y="32"/>
                  </a:lnTo>
                  <a:lnTo>
                    <a:pt x="52" y="31"/>
                  </a:lnTo>
                  <a:lnTo>
                    <a:pt x="52" y="29"/>
                  </a:lnTo>
                  <a:lnTo>
                    <a:pt x="52" y="27"/>
                  </a:lnTo>
                  <a:lnTo>
                    <a:pt x="50" y="27"/>
                  </a:lnTo>
                  <a:lnTo>
                    <a:pt x="52" y="27"/>
                  </a:lnTo>
                  <a:lnTo>
                    <a:pt x="50" y="27"/>
                  </a:lnTo>
                  <a:lnTo>
                    <a:pt x="50" y="29"/>
                  </a:lnTo>
                  <a:lnTo>
                    <a:pt x="50" y="27"/>
                  </a:lnTo>
                  <a:lnTo>
                    <a:pt x="50" y="25"/>
                  </a:lnTo>
                  <a:lnTo>
                    <a:pt x="50" y="23"/>
                  </a:lnTo>
                  <a:lnTo>
                    <a:pt x="48" y="23"/>
                  </a:lnTo>
                  <a:lnTo>
                    <a:pt x="48" y="21"/>
                  </a:lnTo>
                  <a:lnTo>
                    <a:pt x="48" y="19"/>
                  </a:lnTo>
                  <a:lnTo>
                    <a:pt x="48" y="17"/>
                  </a:lnTo>
                  <a:lnTo>
                    <a:pt x="50" y="17"/>
                  </a:lnTo>
                  <a:lnTo>
                    <a:pt x="52" y="15"/>
                  </a:lnTo>
                  <a:lnTo>
                    <a:pt x="54" y="15"/>
                  </a:lnTo>
                  <a:lnTo>
                    <a:pt x="56" y="15"/>
                  </a:lnTo>
                  <a:lnTo>
                    <a:pt x="56" y="13"/>
                  </a:lnTo>
                  <a:lnTo>
                    <a:pt x="58" y="13"/>
                  </a:lnTo>
                  <a:lnTo>
                    <a:pt x="58" y="11"/>
                  </a:lnTo>
                  <a:lnTo>
                    <a:pt x="58" y="9"/>
                  </a:lnTo>
                  <a:lnTo>
                    <a:pt x="58" y="8"/>
                  </a:lnTo>
                  <a:lnTo>
                    <a:pt x="58" y="9"/>
                  </a:lnTo>
                  <a:lnTo>
                    <a:pt x="60" y="9"/>
                  </a:lnTo>
                  <a:lnTo>
                    <a:pt x="62" y="9"/>
                  </a:lnTo>
                  <a:lnTo>
                    <a:pt x="64" y="9"/>
                  </a:lnTo>
                  <a:lnTo>
                    <a:pt x="64" y="8"/>
                  </a:lnTo>
                  <a:lnTo>
                    <a:pt x="64" y="6"/>
                  </a:lnTo>
                  <a:lnTo>
                    <a:pt x="64" y="4"/>
                  </a:lnTo>
                  <a:lnTo>
                    <a:pt x="64" y="6"/>
                  </a:lnTo>
                  <a:lnTo>
                    <a:pt x="66" y="6"/>
                  </a:lnTo>
                  <a:lnTo>
                    <a:pt x="66" y="8"/>
                  </a:lnTo>
                  <a:lnTo>
                    <a:pt x="66" y="6"/>
                  </a:lnTo>
                  <a:lnTo>
                    <a:pt x="66" y="8"/>
                  </a:lnTo>
                  <a:lnTo>
                    <a:pt x="67" y="8"/>
                  </a:lnTo>
                  <a:lnTo>
                    <a:pt x="66" y="8"/>
                  </a:lnTo>
                  <a:lnTo>
                    <a:pt x="67" y="8"/>
                  </a:lnTo>
                  <a:lnTo>
                    <a:pt x="67" y="9"/>
                  </a:lnTo>
                  <a:lnTo>
                    <a:pt x="67" y="8"/>
                  </a:lnTo>
                  <a:lnTo>
                    <a:pt x="67" y="9"/>
                  </a:lnTo>
                  <a:lnTo>
                    <a:pt x="67" y="8"/>
                  </a:lnTo>
                  <a:lnTo>
                    <a:pt x="69" y="8"/>
                  </a:lnTo>
                  <a:lnTo>
                    <a:pt x="69" y="9"/>
                  </a:lnTo>
                  <a:lnTo>
                    <a:pt x="69" y="8"/>
                  </a:lnTo>
                  <a:lnTo>
                    <a:pt x="69" y="9"/>
                  </a:lnTo>
                  <a:lnTo>
                    <a:pt x="71" y="9"/>
                  </a:lnTo>
                  <a:lnTo>
                    <a:pt x="71" y="8"/>
                  </a:lnTo>
                  <a:lnTo>
                    <a:pt x="71" y="9"/>
                  </a:lnTo>
                  <a:lnTo>
                    <a:pt x="71" y="8"/>
                  </a:lnTo>
                  <a:lnTo>
                    <a:pt x="73" y="8"/>
                  </a:lnTo>
                  <a:lnTo>
                    <a:pt x="71" y="8"/>
                  </a:lnTo>
                  <a:lnTo>
                    <a:pt x="73" y="8"/>
                  </a:lnTo>
                  <a:lnTo>
                    <a:pt x="75" y="8"/>
                  </a:lnTo>
                  <a:lnTo>
                    <a:pt x="75" y="9"/>
                  </a:lnTo>
                  <a:lnTo>
                    <a:pt x="75" y="8"/>
                  </a:lnTo>
                  <a:lnTo>
                    <a:pt x="77" y="8"/>
                  </a:lnTo>
                  <a:lnTo>
                    <a:pt x="75" y="8"/>
                  </a:lnTo>
                  <a:lnTo>
                    <a:pt x="77" y="8"/>
                  </a:lnTo>
                  <a:lnTo>
                    <a:pt x="77" y="6"/>
                  </a:lnTo>
                  <a:lnTo>
                    <a:pt x="77" y="4"/>
                  </a:lnTo>
                  <a:lnTo>
                    <a:pt x="79" y="4"/>
                  </a:lnTo>
                  <a:lnTo>
                    <a:pt x="79" y="6"/>
                  </a:lnTo>
                  <a:lnTo>
                    <a:pt x="79" y="4"/>
                  </a:lnTo>
                  <a:lnTo>
                    <a:pt x="81" y="4"/>
                  </a:lnTo>
                  <a:lnTo>
                    <a:pt x="79" y="4"/>
                  </a:lnTo>
                  <a:lnTo>
                    <a:pt x="81" y="4"/>
                  </a:lnTo>
                  <a:lnTo>
                    <a:pt x="81" y="2"/>
                  </a:lnTo>
                  <a:lnTo>
                    <a:pt x="79" y="2"/>
                  </a:lnTo>
                  <a:lnTo>
                    <a:pt x="81" y="2"/>
                  </a:lnTo>
                  <a:lnTo>
                    <a:pt x="79" y="2"/>
                  </a:lnTo>
                  <a:lnTo>
                    <a:pt x="81" y="2"/>
                  </a:lnTo>
                  <a:lnTo>
                    <a:pt x="81" y="0"/>
                  </a:lnTo>
                  <a:lnTo>
                    <a:pt x="83" y="0"/>
                  </a:lnTo>
                  <a:lnTo>
                    <a:pt x="85" y="0"/>
                  </a:lnTo>
                  <a:lnTo>
                    <a:pt x="87" y="0"/>
                  </a:lnTo>
                  <a:lnTo>
                    <a:pt x="89" y="0"/>
                  </a:lnTo>
                  <a:lnTo>
                    <a:pt x="89" y="2"/>
                  </a:lnTo>
                  <a:lnTo>
                    <a:pt x="90" y="2"/>
                  </a:lnTo>
                  <a:lnTo>
                    <a:pt x="92" y="2"/>
                  </a:lnTo>
                  <a:lnTo>
                    <a:pt x="92" y="4"/>
                  </a:lnTo>
                  <a:lnTo>
                    <a:pt x="94" y="4"/>
                  </a:lnTo>
                  <a:lnTo>
                    <a:pt x="92" y="4"/>
                  </a:lnTo>
                  <a:lnTo>
                    <a:pt x="94" y="4"/>
                  </a:lnTo>
                  <a:lnTo>
                    <a:pt x="96" y="4"/>
                  </a:lnTo>
                  <a:lnTo>
                    <a:pt x="96" y="6"/>
                  </a:lnTo>
                  <a:lnTo>
                    <a:pt x="98" y="6"/>
                  </a:lnTo>
                  <a:lnTo>
                    <a:pt x="100" y="6"/>
                  </a:lnTo>
                  <a:lnTo>
                    <a:pt x="102" y="6"/>
                  </a:lnTo>
                  <a:lnTo>
                    <a:pt x="102" y="4"/>
                  </a:lnTo>
                  <a:lnTo>
                    <a:pt x="102" y="6"/>
                  </a:lnTo>
                  <a:lnTo>
                    <a:pt x="102" y="4"/>
                  </a:lnTo>
                  <a:lnTo>
                    <a:pt x="104" y="4"/>
                  </a:lnTo>
                  <a:lnTo>
                    <a:pt x="104" y="6"/>
                  </a:lnTo>
                  <a:lnTo>
                    <a:pt x="106" y="6"/>
                  </a:lnTo>
                  <a:lnTo>
                    <a:pt x="104" y="6"/>
                  </a:lnTo>
                  <a:lnTo>
                    <a:pt x="106" y="6"/>
                  </a:lnTo>
                  <a:lnTo>
                    <a:pt x="104" y="6"/>
                  </a:lnTo>
                  <a:lnTo>
                    <a:pt x="106" y="6"/>
                  </a:lnTo>
                  <a:lnTo>
                    <a:pt x="108" y="6"/>
                  </a:lnTo>
                  <a:lnTo>
                    <a:pt x="108" y="8"/>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388">
              <a:extLst>
                <a:ext uri="{FF2B5EF4-FFF2-40B4-BE49-F238E27FC236}">
                  <a16:creationId xmlns:a16="http://schemas.microsoft.com/office/drawing/2014/main" id="{623687C1-1D35-413F-B2B2-80A6B22FB6FB}"/>
                </a:ext>
              </a:extLst>
            </p:cNvPr>
            <p:cNvSpPr>
              <a:spLocks/>
            </p:cNvSpPr>
            <p:nvPr/>
          </p:nvSpPr>
          <p:spPr bwMode="gray">
            <a:xfrm>
              <a:off x="3448632" y="3412419"/>
              <a:ext cx="58866" cy="38018"/>
            </a:xfrm>
            <a:custGeom>
              <a:avLst/>
              <a:gdLst>
                <a:gd name="T0" fmla="*/ 48 w 48"/>
                <a:gd name="T1" fmla="*/ 8 h 31"/>
                <a:gd name="T2" fmla="*/ 44 w 48"/>
                <a:gd name="T3" fmla="*/ 6 h 31"/>
                <a:gd name="T4" fmla="*/ 42 w 48"/>
                <a:gd name="T5" fmla="*/ 10 h 31"/>
                <a:gd name="T6" fmla="*/ 40 w 48"/>
                <a:gd name="T7" fmla="*/ 10 h 31"/>
                <a:gd name="T8" fmla="*/ 36 w 48"/>
                <a:gd name="T9" fmla="*/ 13 h 31"/>
                <a:gd name="T10" fmla="*/ 33 w 48"/>
                <a:gd name="T11" fmla="*/ 15 h 31"/>
                <a:gd name="T12" fmla="*/ 33 w 48"/>
                <a:gd name="T13" fmla="*/ 17 h 31"/>
                <a:gd name="T14" fmla="*/ 34 w 48"/>
                <a:gd name="T15" fmla="*/ 21 h 31"/>
                <a:gd name="T16" fmla="*/ 33 w 48"/>
                <a:gd name="T17" fmla="*/ 21 h 31"/>
                <a:gd name="T18" fmla="*/ 31 w 48"/>
                <a:gd name="T19" fmla="*/ 21 h 31"/>
                <a:gd name="T20" fmla="*/ 29 w 48"/>
                <a:gd name="T21" fmla="*/ 25 h 31"/>
                <a:gd name="T22" fmla="*/ 31 w 48"/>
                <a:gd name="T23" fmla="*/ 25 h 31"/>
                <a:gd name="T24" fmla="*/ 29 w 48"/>
                <a:gd name="T25" fmla="*/ 25 h 31"/>
                <a:gd name="T26" fmla="*/ 31 w 48"/>
                <a:gd name="T27" fmla="*/ 29 h 31"/>
                <a:gd name="T28" fmla="*/ 29 w 48"/>
                <a:gd name="T29" fmla="*/ 29 h 31"/>
                <a:gd name="T30" fmla="*/ 27 w 48"/>
                <a:gd name="T31" fmla="*/ 29 h 31"/>
                <a:gd name="T32" fmla="*/ 21 w 48"/>
                <a:gd name="T33" fmla="*/ 29 h 31"/>
                <a:gd name="T34" fmla="*/ 21 w 48"/>
                <a:gd name="T35" fmla="*/ 31 h 31"/>
                <a:gd name="T36" fmla="*/ 19 w 48"/>
                <a:gd name="T37" fmla="*/ 27 h 31"/>
                <a:gd name="T38" fmla="*/ 17 w 48"/>
                <a:gd name="T39" fmla="*/ 27 h 31"/>
                <a:gd name="T40" fmla="*/ 13 w 48"/>
                <a:gd name="T41" fmla="*/ 29 h 31"/>
                <a:gd name="T42" fmla="*/ 10 w 48"/>
                <a:gd name="T43" fmla="*/ 31 h 31"/>
                <a:gd name="T44" fmla="*/ 6 w 48"/>
                <a:gd name="T45" fmla="*/ 29 h 31"/>
                <a:gd name="T46" fmla="*/ 4 w 48"/>
                <a:gd name="T47" fmla="*/ 29 h 31"/>
                <a:gd name="T48" fmla="*/ 8 w 48"/>
                <a:gd name="T49" fmla="*/ 27 h 31"/>
                <a:gd name="T50" fmla="*/ 6 w 48"/>
                <a:gd name="T51" fmla="*/ 23 h 31"/>
                <a:gd name="T52" fmla="*/ 4 w 48"/>
                <a:gd name="T53" fmla="*/ 19 h 31"/>
                <a:gd name="T54" fmla="*/ 4 w 48"/>
                <a:gd name="T55" fmla="*/ 17 h 31"/>
                <a:gd name="T56" fmla="*/ 4 w 48"/>
                <a:gd name="T57" fmla="*/ 15 h 31"/>
                <a:gd name="T58" fmla="*/ 4 w 48"/>
                <a:gd name="T59" fmla="*/ 13 h 31"/>
                <a:gd name="T60" fmla="*/ 2 w 48"/>
                <a:gd name="T61" fmla="*/ 13 h 31"/>
                <a:gd name="T62" fmla="*/ 2 w 48"/>
                <a:gd name="T63" fmla="*/ 11 h 31"/>
                <a:gd name="T64" fmla="*/ 6 w 48"/>
                <a:gd name="T65" fmla="*/ 10 h 31"/>
                <a:gd name="T66" fmla="*/ 10 w 48"/>
                <a:gd name="T67" fmla="*/ 8 h 31"/>
                <a:gd name="T68" fmla="*/ 13 w 48"/>
                <a:gd name="T69" fmla="*/ 10 h 31"/>
                <a:gd name="T70" fmla="*/ 17 w 48"/>
                <a:gd name="T71" fmla="*/ 11 h 31"/>
                <a:gd name="T72" fmla="*/ 17 w 48"/>
                <a:gd name="T73" fmla="*/ 10 h 31"/>
                <a:gd name="T74" fmla="*/ 19 w 48"/>
                <a:gd name="T75" fmla="*/ 10 h 31"/>
                <a:gd name="T76" fmla="*/ 19 w 48"/>
                <a:gd name="T77" fmla="*/ 8 h 31"/>
                <a:gd name="T78" fmla="*/ 23 w 48"/>
                <a:gd name="T79" fmla="*/ 6 h 31"/>
                <a:gd name="T80" fmla="*/ 27 w 48"/>
                <a:gd name="T81" fmla="*/ 4 h 31"/>
                <a:gd name="T82" fmla="*/ 29 w 48"/>
                <a:gd name="T83" fmla="*/ 4 h 31"/>
                <a:gd name="T84" fmla="*/ 31 w 48"/>
                <a:gd name="T85" fmla="*/ 4 h 31"/>
                <a:gd name="T86" fmla="*/ 33 w 48"/>
                <a:gd name="T87" fmla="*/ 4 h 31"/>
                <a:gd name="T88" fmla="*/ 34 w 48"/>
                <a:gd name="T89" fmla="*/ 4 h 31"/>
                <a:gd name="T90" fmla="*/ 40 w 48"/>
                <a:gd name="T91" fmla="*/ 4 h 31"/>
                <a:gd name="T92" fmla="*/ 38 w 48"/>
                <a:gd name="T93" fmla="*/ 0 h 31"/>
                <a:gd name="T94" fmla="*/ 44 w 48"/>
                <a:gd name="T95" fmla="*/ 0 h 31"/>
                <a:gd name="T96" fmla="*/ 46 w 48"/>
                <a:gd name="T97" fmla="*/ 4 h 31"/>
                <a:gd name="T98" fmla="*/ 46 w 48"/>
                <a:gd name="T9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 h="31">
                  <a:moveTo>
                    <a:pt x="48" y="8"/>
                  </a:moveTo>
                  <a:lnTo>
                    <a:pt x="48" y="10"/>
                  </a:lnTo>
                  <a:lnTo>
                    <a:pt x="48" y="8"/>
                  </a:lnTo>
                  <a:lnTo>
                    <a:pt x="46" y="8"/>
                  </a:lnTo>
                  <a:lnTo>
                    <a:pt x="44" y="8"/>
                  </a:lnTo>
                  <a:lnTo>
                    <a:pt x="44" y="6"/>
                  </a:lnTo>
                  <a:lnTo>
                    <a:pt x="44" y="8"/>
                  </a:lnTo>
                  <a:lnTo>
                    <a:pt x="42" y="8"/>
                  </a:lnTo>
                  <a:lnTo>
                    <a:pt x="42" y="10"/>
                  </a:lnTo>
                  <a:lnTo>
                    <a:pt x="44" y="10"/>
                  </a:lnTo>
                  <a:lnTo>
                    <a:pt x="42" y="10"/>
                  </a:lnTo>
                  <a:lnTo>
                    <a:pt x="40" y="10"/>
                  </a:lnTo>
                  <a:lnTo>
                    <a:pt x="40" y="11"/>
                  </a:lnTo>
                  <a:lnTo>
                    <a:pt x="38" y="11"/>
                  </a:lnTo>
                  <a:lnTo>
                    <a:pt x="36" y="13"/>
                  </a:lnTo>
                  <a:lnTo>
                    <a:pt x="34" y="13"/>
                  </a:lnTo>
                  <a:lnTo>
                    <a:pt x="34" y="15"/>
                  </a:lnTo>
                  <a:lnTo>
                    <a:pt x="33" y="15"/>
                  </a:lnTo>
                  <a:lnTo>
                    <a:pt x="33" y="17"/>
                  </a:lnTo>
                  <a:lnTo>
                    <a:pt x="33" y="15"/>
                  </a:lnTo>
                  <a:lnTo>
                    <a:pt x="33" y="17"/>
                  </a:lnTo>
                  <a:lnTo>
                    <a:pt x="34" y="17"/>
                  </a:lnTo>
                  <a:lnTo>
                    <a:pt x="34" y="19"/>
                  </a:lnTo>
                  <a:lnTo>
                    <a:pt x="34" y="21"/>
                  </a:lnTo>
                  <a:lnTo>
                    <a:pt x="34" y="23"/>
                  </a:lnTo>
                  <a:lnTo>
                    <a:pt x="34" y="21"/>
                  </a:lnTo>
                  <a:lnTo>
                    <a:pt x="33" y="21"/>
                  </a:lnTo>
                  <a:lnTo>
                    <a:pt x="33" y="23"/>
                  </a:lnTo>
                  <a:lnTo>
                    <a:pt x="33" y="21"/>
                  </a:lnTo>
                  <a:lnTo>
                    <a:pt x="31" y="21"/>
                  </a:lnTo>
                  <a:lnTo>
                    <a:pt x="31" y="23"/>
                  </a:lnTo>
                  <a:lnTo>
                    <a:pt x="29" y="23"/>
                  </a:lnTo>
                  <a:lnTo>
                    <a:pt x="29" y="25"/>
                  </a:lnTo>
                  <a:lnTo>
                    <a:pt x="31" y="25"/>
                  </a:lnTo>
                  <a:lnTo>
                    <a:pt x="31" y="27"/>
                  </a:lnTo>
                  <a:lnTo>
                    <a:pt x="31" y="25"/>
                  </a:lnTo>
                  <a:lnTo>
                    <a:pt x="29" y="25"/>
                  </a:lnTo>
                  <a:lnTo>
                    <a:pt x="29" y="27"/>
                  </a:lnTo>
                  <a:lnTo>
                    <a:pt x="29" y="25"/>
                  </a:lnTo>
                  <a:lnTo>
                    <a:pt x="29" y="27"/>
                  </a:lnTo>
                  <a:lnTo>
                    <a:pt x="29" y="29"/>
                  </a:lnTo>
                  <a:lnTo>
                    <a:pt x="31" y="29"/>
                  </a:lnTo>
                  <a:lnTo>
                    <a:pt x="29" y="29"/>
                  </a:lnTo>
                  <a:lnTo>
                    <a:pt x="29" y="31"/>
                  </a:lnTo>
                  <a:lnTo>
                    <a:pt x="29" y="29"/>
                  </a:lnTo>
                  <a:lnTo>
                    <a:pt x="29" y="31"/>
                  </a:lnTo>
                  <a:lnTo>
                    <a:pt x="27" y="31"/>
                  </a:lnTo>
                  <a:lnTo>
                    <a:pt x="27" y="29"/>
                  </a:lnTo>
                  <a:lnTo>
                    <a:pt x="25" y="29"/>
                  </a:lnTo>
                  <a:lnTo>
                    <a:pt x="23" y="29"/>
                  </a:lnTo>
                  <a:lnTo>
                    <a:pt x="21" y="29"/>
                  </a:lnTo>
                  <a:lnTo>
                    <a:pt x="21" y="31"/>
                  </a:lnTo>
                  <a:lnTo>
                    <a:pt x="21" y="29"/>
                  </a:lnTo>
                  <a:lnTo>
                    <a:pt x="21" y="31"/>
                  </a:lnTo>
                  <a:lnTo>
                    <a:pt x="21" y="29"/>
                  </a:lnTo>
                  <a:lnTo>
                    <a:pt x="19" y="29"/>
                  </a:lnTo>
                  <a:lnTo>
                    <a:pt x="19" y="27"/>
                  </a:lnTo>
                  <a:lnTo>
                    <a:pt x="19" y="25"/>
                  </a:lnTo>
                  <a:lnTo>
                    <a:pt x="17" y="25"/>
                  </a:lnTo>
                  <a:lnTo>
                    <a:pt x="17" y="27"/>
                  </a:lnTo>
                  <a:lnTo>
                    <a:pt x="17" y="29"/>
                  </a:lnTo>
                  <a:lnTo>
                    <a:pt x="15" y="29"/>
                  </a:lnTo>
                  <a:lnTo>
                    <a:pt x="13" y="29"/>
                  </a:lnTo>
                  <a:lnTo>
                    <a:pt x="11" y="29"/>
                  </a:lnTo>
                  <a:lnTo>
                    <a:pt x="10" y="29"/>
                  </a:lnTo>
                  <a:lnTo>
                    <a:pt x="10" y="31"/>
                  </a:lnTo>
                  <a:lnTo>
                    <a:pt x="8" y="31"/>
                  </a:lnTo>
                  <a:lnTo>
                    <a:pt x="8" y="29"/>
                  </a:lnTo>
                  <a:lnTo>
                    <a:pt x="6" y="29"/>
                  </a:lnTo>
                  <a:lnTo>
                    <a:pt x="6" y="31"/>
                  </a:lnTo>
                  <a:lnTo>
                    <a:pt x="4" y="31"/>
                  </a:lnTo>
                  <a:lnTo>
                    <a:pt x="4" y="29"/>
                  </a:lnTo>
                  <a:lnTo>
                    <a:pt x="6" y="29"/>
                  </a:lnTo>
                  <a:lnTo>
                    <a:pt x="6" y="27"/>
                  </a:lnTo>
                  <a:lnTo>
                    <a:pt x="8" y="27"/>
                  </a:lnTo>
                  <a:lnTo>
                    <a:pt x="8" y="25"/>
                  </a:lnTo>
                  <a:lnTo>
                    <a:pt x="8" y="23"/>
                  </a:lnTo>
                  <a:lnTo>
                    <a:pt x="6" y="23"/>
                  </a:lnTo>
                  <a:lnTo>
                    <a:pt x="4" y="23"/>
                  </a:lnTo>
                  <a:lnTo>
                    <a:pt x="4" y="21"/>
                  </a:lnTo>
                  <a:lnTo>
                    <a:pt x="4" y="19"/>
                  </a:lnTo>
                  <a:lnTo>
                    <a:pt x="2" y="19"/>
                  </a:lnTo>
                  <a:lnTo>
                    <a:pt x="2" y="17"/>
                  </a:lnTo>
                  <a:lnTo>
                    <a:pt x="4" y="17"/>
                  </a:lnTo>
                  <a:lnTo>
                    <a:pt x="2" y="17"/>
                  </a:lnTo>
                  <a:lnTo>
                    <a:pt x="4" y="17"/>
                  </a:lnTo>
                  <a:lnTo>
                    <a:pt x="4" y="15"/>
                  </a:lnTo>
                  <a:lnTo>
                    <a:pt x="6" y="15"/>
                  </a:lnTo>
                  <a:lnTo>
                    <a:pt x="4" y="15"/>
                  </a:lnTo>
                  <a:lnTo>
                    <a:pt x="4" y="13"/>
                  </a:lnTo>
                  <a:lnTo>
                    <a:pt x="4" y="15"/>
                  </a:lnTo>
                  <a:lnTo>
                    <a:pt x="4" y="13"/>
                  </a:lnTo>
                  <a:lnTo>
                    <a:pt x="2" y="13"/>
                  </a:lnTo>
                  <a:lnTo>
                    <a:pt x="0" y="13"/>
                  </a:lnTo>
                  <a:lnTo>
                    <a:pt x="0" y="11"/>
                  </a:lnTo>
                  <a:lnTo>
                    <a:pt x="2" y="11"/>
                  </a:lnTo>
                  <a:lnTo>
                    <a:pt x="2" y="10"/>
                  </a:lnTo>
                  <a:lnTo>
                    <a:pt x="4" y="10"/>
                  </a:lnTo>
                  <a:lnTo>
                    <a:pt x="6" y="10"/>
                  </a:lnTo>
                  <a:lnTo>
                    <a:pt x="6" y="8"/>
                  </a:lnTo>
                  <a:lnTo>
                    <a:pt x="8" y="8"/>
                  </a:lnTo>
                  <a:lnTo>
                    <a:pt x="10" y="8"/>
                  </a:lnTo>
                  <a:lnTo>
                    <a:pt x="11" y="8"/>
                  </a:lnTo>
                  <a:lnTo>
                    <a:pt x="11" y="10"/>
                  </a:lnTo>
                  <a:lnTo>
                    <a:pt x="13" y="10"/>
                  </a:lnTo>
                  <a:lnTo>
                    <a:pt x="15" y="10"/>
                  </a:lnTo>
                  <a:lnTo>
                    <a:pt x="17" y="10"/>
                  </a:lnTo>
                  <a:lnTo>
                    <a:pt x="17" y="11"/>
                  </a:lnTo>
                  <a:lnTo>
                    <a:pt x="17" y="10"/>
                  </a:lnTo>
                  <a:lnTo>
                    <a:pt x="19" y="10"/>
                  </a:lnTo>
                  <a:lnTo>
                    <a:pt x="17" y="10"/>
                  </a:lnTo>
                  <a:lnTo>
                    <a:pt x="19" y="10"/>
                  </a:lnTo>
                  <a:lnTo>
                    <a:pt x="19" y="8"/>
                  </a:lnTo>
                  <a:lnTo>
                    <a:pt x="19" y="10"/>
                  </a:lnTo>
                  <a:lnTo>
                    <a:pt x="19" y="8"/>
                  </a:lnTo>
                  <a:lnTo>
                    <a:pt x="21" y="8"/>
                  </a:lnTo>
                  <a:lnTo>
                    <a:pt x="19" y="8"/>
                  </a:lnTo>
                  <a:lnTo>
                    <a:pt x="21" y="8"/>
                  </a:lnTo>
                  <a:lnTo>
                    <a:pt x="21" y="6"/>
                  </a:lnTo>
                  <a:lnTo>
                    <a:pt x="23" y="6"/>
                  </a:lnTo>
                  <a:lnTo>
                    <a:pt x="25" y="6"/>
                  </a:lnTo>
                  <a:lnTo>
                    <a:pt x="25" y="4"/>
                  </a:lnTo>
                  <a:lnTo>
                    <a:pt x="27" y="4"/>
                  </a:lnTo>
                  <a:lnTo>
                    <a:pt x="27" y="6"/>
                  </a:lnTo>
                  <a:lnTo>
                    <a:pt x="29" y="6"/>
                  </a:lnTo>
                  <a:lnTo>
                    <a:pt x="29" y="4"/>
                  </a:lnTo>
                  <a:lnTo>
                    <a:pt x="29" y="6"/>
                  </a:lnTo>
                  <a:lnTo>
                    <a:pt x="29" y="4"/>
                  </a:lnTo>
                  <a:lnTo>
                    <a:pt x="31" y="4"/>
                  </a:lnTo>
                  <a:lnTo>
                    <a:pt x="31" y="6"/>
                  </a:lnTo>
                  <a:lnTo>
                    <a:pt x="33" y="6"/>
                  </a:lnTo>
                  <a:lnTo>
                    <a:pt x="33" y="4"/>
                  </a:lnTo>
                  <a:lnTo>
                    <a:pt x="34" y="4"/>
                  </a:lnTo>
                  <a:lnTo>
                    <a:pt x="33" y="4"/>
                  </a:lnTo>
                  <a:lnTo>
                    <a:pt x="34" y="4"/>
                  </a:lnTo>
                  <a:lnTo>
                    <a:pt x="36" y="4"/>
                  </a:lnTo>
                  <a:lnTo>
                    <a:pt x="38" y="4"/>
                  </a:lnTo>
                  <a:lnTo>
                    <a:pt x="40" y="4"/>
                  </a:lnTo>
                  <a:lnTo>
                    <a:pt x="38" y="4"/>
                  </a:lnTo>
                  <a:lnTo>
                    <a:pt x="38" y="2"/>
                  </a:lnTo>
                  <a:lnTo>
                    <a:pt x="38" y="0"/>
                  </a:lnTo>
                  <a:lnTo>
                    <a:pt x="40" y="0"/>
                  </a:lnTo>
                  <a:lnTo>
                    <a:pt x="42" y="0"/>
                  </a:lnTo>
                  <a:lnTo>
                    <a:pt x="44" y="0"/>
                  </a:lnTo>
                  <a:lnTo>
                    <a:pt x="44" y="2"/>
                  </a:lnTo>
                  <a:lnTo>
                    <a:pt x="44" y="4"/>
                  </a:lnTo>
                  <a:lnTo>
                    <a:pt x="46" y="4"/>
                  </a:lnTo>
                  <a:lnTo>
                    <a:pt x="44" y="4"/>
                  </a:lnTo>
                  <a:lnTo>
                    <a:pt x="44" y="6"/>
                  </a:lnTo>
                  <a:lnTo>
                    <a:pt x="46" y="6"/>
                  </a:lnTo>
                  <a:lnTo>
                    <a:pt x="46" y="8"/>
                  </a:lnTo>
                  <a:lnTo>
                    <a:pt x="48" y="8"/>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389">
              <a:extLst>
                <a:ext uri="{FF2B5EF4-FFF2-40B4-BE49-F238E27FC236}">
                  <a16:creationId xmlns:a16="http://schemas.microsoft.com/office/drawing/2014/main" id="{7D4E471A-CC50-45E1-AC3B-AE636E30D37C}"/>
                </a:ext>
              </a:extLst>
            </p:cNvPr>
            <p:cNvSpPr>
              <a:spLocks/>
            </p:cNvSpPr>
            <p:nvPr/>
          </p:nvSpPr>
          <p:spPr bwMode="gray">
            <a:xfrm>
              <a:off x="3497687" y="3367044"/>
              <a:ext cx="122638" cy="73583"/>
            </a:xfrm>
            <a:custGeom>
              <a:avLst/>
              <a:gdLst>
                <a:gd name="T0" fmla="*/ 90 w 100"/>
                <a:gd name="T1" fmla="*/ 6 h 60"/>
                <a:gd name="T2" fmla="*/ 94 w 100"/>
                <a:gd name="T3" fmla="*/ 8 h 60"/>
                <a:gd name="T4" fmla="*/ 98 w 100"/>
                <a:gd name="T5" fmla="*/ 10 h 60"/>
                <a:gd name="T6" fmla="*/ 100 w 100"/>
                <a:gd name="T7" fmla="*/ 14 h 60"/>
                <a:gd name="T8" fmla="*/ 96 w 100"/>
                <a:gd name="T9" fmla="*/ 16 h 60"/>
                <a:gd name="T10" fmla="*/ 92 w 100"/>
                <a:gd name="T11" fmla="*/ 18 h 60"/>
                <a:gd name="T12" fmla="*/ 87 w 100"/>
                <a:gd name="T13" fmla="*/ 22 h 60"/>
                <a:gd name="T14" fmla="*/ 87 w 100"/>
                <a:gd name="T15" fmla="*/ 23 h 60"/>
                <a:gd name="T16" fmla="*/ 85 w 100"/>
                <a:gd name="T17" fmla="*/ 31 h 60"/>
                <a:gd name="T18" fmla="*/ 83 w 100"/>
                <a:gd name="T19" fmla="*/ 35 h 60"/>
                <a:gd name="T20" fmla="*/ 79 w 100"/>
                <a:gd name="T21" fmla="*/ 41 h 60"/>
                <a:gd name="T22" fmla="*/ 77 w 100"/>
                <a:gd name="T23" fmla="*/ 45 h 60"/>
                <a:gd name="T24" fmla="*/ 73 w 100"/>
                <a:gd name="T25" fmla="*/ 50 h 60"/>
                <a:gd name="T26" fmla="*/ 67 w 100"/>
                <a:gd name="T27" fmla="*/ 50 h 60"/>
                <a:gd name="T28" fmla="*/ 60 w 100"/>
                <a:gd name="T29" fmla="*/ 52 h 60"/>
                <a:gd name="T30" fmla="*/ 50 w 100"/>
                <a:gd name="T31" fmla="*/ 52 h 60"/>
                <a:gd name="T32" fmla="*/ 44 w 100"/>
                <a:gd name="T33" fmla="*/ 56 h 60"/>
                <a:gd name="T34" fmla="*/ 41 w 100"/>
                <a:gd name="T35" fmla="*/ 58 h 60"/>
                <a:gd name="T36" fmla="*/ 39 w 100"/>
                <a:gd name="T37" fmla="*/ 58 h 60"/>
                <a:gd name="T38" fmla="*/ 31 w 100"/>
                <a:gd name="T39" fmla="*/ 60 h 60"/>
                <a:gd name="T40" fmla="*/ 23 w 100"/>
                <a:gd name="T41" fmla="*/ 58 h 60"/>
                <a:gd name="T42" fmla="*/ 19 w 100"/>
                <a:gd name="T43" fmla="*/ 56 h 60"/>
                <a:gd name="T44" fmla="*/ 18 w 100"/>
                <a:gd name="T45" fmla="*/ 52 h 60"/>
                <a:gd name="T46" fmla="*/ 12 w 100"/>
                <a:gd name="T47" fmla="*/ 48 h 60"/>
                <a:gd name="T48" fmla="*/ 8 w 100"/>
                <a:gd name="T49" fmla="*/ 47 h 60"/>
                <a:gd name="T50" fmla="*/ 6 w 100"/>
                <a:gd name="T51" fmla="*/ 43 h 60"/>
                <a:gd name="T52" fmla="*/ 4 w 100"/>
                <a:gd name="T53" fmla="*/ 39 h 60"/>
                <a:gd name="T54" fmla="*/ 2 w 100"/>
                <a:gd name="T55" fmla="*/ 35 h 60"/>
                <a:gd name="T56" fmla="*/ 4 w 100"/>
                <a:gd name="T57" fmla="*/ 35 h 60"/>
                <a:gd name="T58" fmla="*/ 4 w 100"/>
                <a:gd name="T59" fmla="*/ 33 h 60"/>
                <a:gd name="T60" fmla="*/ 6 w 100"/>
                <a:gd name="T61" fmla="*/ 33 h 60"/>
                <a:gd name="T62" fmla="*/ 6 w 100"/>
                <a:gd name="T63" fmla="*/ 35 h 60"/>
                <a:gd name="T64" fmla="*/ 6 w 100"/>
                <a:gd name="T65" fmla="*/ 29 h 60"/>
                <a:gd name="T66" fmla="*/ 10 w 100"/>
                <a:gd name="T67" fmla="*/ 23 h 60"/>
                <a:gd name="T68" fmla="*/ 8 w 100"/>
                <a:gd name="T69" fmla="*/ 20 h 60"/>
                <a:gd name="T70" fmla="*/ 8 w 100"/>
                <a:gd name="T71" fmla="*/ 18 h 60"/>
                <a:gd name="T72" fmla="*/ 12 w 100"/>
                <a:gd name="T73" fmla="*/ 20 h 60"/>
                <a:gd name="T74" fmla="*/ 16 w 100"/>
                <a:gd name="T75" fmla="*/ 18 h 60"/>
                <a:gd name="T76" fmla="*/ 16 w 100"/>
                <a:gd name="T77" fmla="*/ 16 h 60"/>
                <a:gd name="T78" fmla="*/ 19 w 100"/>
                <a:gd name="T79" fmla="*/ 14 h 60"/>
                <a:gd name="T80" fmla="*/ 25 w 100"/>
                <a:gd name="T81" fmla="*/ 18 h 60"/>
                <a:gd name="T82" fmla="*/ 35 w 100"/>
                <a:gd name="T83" fmla="*/ 18 h 60"/>
                <a:gd name="T84" fmla="*/ 39 w 100"/>
                <a:gd name="T85" fmla="*/ 16 h 60"/>
                <a:gd name="T86" fmla="*/ 42 w 100"/>
                <a:gd name="T87" fmla="*/ 10 h 60"/>
                <a:gd name="T88" fmla="*/ 44 w 100"/>
                <a:gd name="T89" fmla="*/ 10 h 60"/>
                <a:gd name="T90" fmla="*/ 44 w 100"/>
                <a:gd name="T91" fmla="*/ 12 h 60"/>
                <a:gd name="T92" fmla="*/ 46 w 100"/>
                <a:gd name="T93" fmla="*/ 12 h 60"/>
                <a:gd name="T94" fmla="*/ 50 w 100"/>
                <a:gd name="T95" fmla="*/ 10 h 60"/>
                <a:gd name="T96" fmla="*/ 54 w 100"/>
                <a:gd name="T97" fmla="*/ 8 h 60"/>
                <a:gd name="T98" fmla="*/ 56 w 100"/>
                <a:gd name="T99" fmla="*/ 8 h 60"/>
                <a:gd name="T100" fmla="*/ 60 w 100"/>
                <a:gd name="T101" fmla="*/ 6 h 60"/>
                <a:gd name="T102" fmla="*/ 65 w 100"/>
                <a:gd name="T103" fmla="*/ 2 h 60"/>
                <a:gd name="T104" fmla="*/ 73 w 100"/>
                <a:gd name="T105" fmla="*/ 0 h 60"/>
                <a:gd name="T106" fmla="*/ 79 w 100"/>
                <a:gd name="T107" fmla="*/ 0 h 60"/>
                <a:gd name="T108" fmla="*/ 83 w 100"/>
                <a:gd name="T109" fmla="*/ 4 h 60"/>
                <a:gd name="T110" fmla="*/ 85 w 100"/>
                <a:gd name="T111"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60">
                  <a:moveTo>
                    <a:pt x="89" y="4"/>
                  </a:moveTo>
                  <a:lnTo>
                    <a:pt x="89" y="2"/>
                  </a:lnTo>
                  <a:lnTo>
                    <a:pt x="90" y="2"/>
                  </a:lnTo>
                  <a:lnTo>
                    <a:pt x="90" y="4"/>
                  </a:lnTo>
                  <a:lnTo>
                    <a:pt x="90" y="6"/>
                  </a:lnTo>
                  <a:lnTo>
                    <a:pt x="92" y="6"/>
                  </a:lnTo>
                  <a:lnTo>
                    <a:pt x="92" y="8"/>
                  </a:lnTo>
                  <a:lnTo>
                    <a:pt x="92" y="6"/>
                  </a:lnTo>
                  <a:lnTo>
                    <a:pt x="94" y="6"/>
                  </a:lnTo>
                  <a:lnTo>
                    <a:pt x="94" y="8"/>
                  </a:lnTo>
                  <a:lnTo>
                    <a:pt x="94" y="6"/>
                  </a:lnTo>
                  <a:lnTo>
                    <a:pt x="94" y="8"/>
                  </a:lnTo>
                  <a:lnTo>
                    <a:pt x="96" y="8"/>
                  </a:lnTo>
                  <a:lnTo>
                    <a:pt x="96" y="10"/>
                  </a:lnTo>
                  <a:lnTo>
                    <a:pt x="98" y="10"/>
                  </a:lnTo>
                  <a:lnTo>
                    <a:pt x="100" y="10"/>
                  </a:lnTo>
                  <a:lnTo>
                    <a:pt x="100" y="12"/>
                  </a:lnTo>
                  <a:lnTo>
                    <a:pt x="98" y="12"/>
                  </a:lnTo>
                  <a:lnTo>
                    <a:pt x="100" y="12"/>
                  </a:lnTo>
                  <a:lnTo>
                    <a:pt x="100" y="14"/>
                  </a:lnTo>
                  <a:lnTo>
                    <a:pt x="100" y="12"/>
                  </a:lnTo>
                  <a:lnTo>
                    <a:pt x="100" y="14"/>
                  </a:lnTo>
                  <a:lnTo>
                    <a:pt x="98" y="14"/>
                  </a:lnTo>
                  <a:lnTo>
                    <a:pt x="98" y="16"/>
                  </a:lnTo>
                  <a:lnTo>
                    <a:pt x="96" y="16"/>
                  </a:lnTo>
                  <a:lnTo>
                    <a:pt x="96" y="18"/>
                  </a:lnTo>
                  <a:lnTo>
                    <a:pt x="94" y="18"/>
                  </a:lnTo>
                  <a:lnTo>
                    <a:pt x="94" y="16"/>
                  </a:lnTo>
                  <a:lnTo>
                    <a:pt x="92" y="16"/>
                  </a:lnTo>
                  <a:lnTo>
                    <a:pt x="92" y="18"/>
                  </a:lnTo>
                  <a:lnTo>
                    <a:pt x="90" y="18"/>
                  </a:lnTo>
                  <a:lnTo>
                    <a:pt x="90" y="20"/>
                  </a:lnTo>
                  <a:lnTo>
                    <a:pt x="90" y="22"/>
                  </a:lnTo>
                  <a:lnTo>
                    <a:pt x="89" y="22"/>
                  </a:lnTo>
                  <a:lnTo>
                    <a:pt x="87" y="22"/>
                  </a:lnTo>
                  <a:lnTo>
                    <a:pt x="89" y="22"/>
                  </a:lnTo>
                  <a:lnTo>
                    <a:pt x="89" y="23"/>
                  </a:lnTo>
                  <a:lnTo>
                    <a:pt x="87" y="23"/>
                  </a:lnTo>
                  <a:lnTo>
                    <a:pt x="87" y="22"/>
                  </a:lnTo>
                  <a:lnTo>
                    <a:pt x="87" y="23"/>
                  </a:lnTo>
                  <a:lnTo>
                    <a:pt x="87" y="25"/>
                  </a:lnTo>
                  <a:lnTo>
                    <a:pt x="87" y="27"/>
                  </a:lnTo>
                  <a:lnTo>
                    <a:pt x="85" y="27"/>
                  </a:lnTo>
                  <a:lnTo>
                    <a:pt x="85" y="29"/>
                  </a:lnTo>
                  <a:lnTo>
                    <a:pt x="85" y="31"/>
                  </a:lnTo>
                  <a:lnTo>
                    <a:pt x="83" y="31"/>
                  </a:lnTo>
                  <a:lnTo>
                    <a:pt x="83" y="33"/>
                  </a:lnTo>
                  <a:lnTo>
                    <a:pt x="81" y="33"/>
                  </a:lnTo>
                  <a:lnTo>
                    <a:pt x="83" y="33"/>
                  </a:lnTo>
                  <a:lnTo>
                    <a:pt x="83" y="35"/>
                  </a:lnTo>
                  <a:lnTo>
                    <a:pt x="81" y="35"/>
                  </a:lnTo>
                  <a:lnTo>
                    <a:pt x="81" y="37"/>
                  </a:lnTo>
                  <a:lnTo>
                    <a:pt x="79" y="37"/>
                  </a:lnTo>
                  <a:lnTo>
                    <a:pt x="79" y="39"/>
                  </a:lnTo>
                  <a:lnTo>
                    <a:pt x="79" y="41"/>
                  </a:lnTo>
                  <a:lnTo>
                    <a:pt x="79" y="43"/>
                  </a:lnTo>
                  <a:lnTo>
                    <a:pt x="77" y="43"/>
                  </a:lnTo>
                  <a:lnTo>
                    <a:pt x="77" y="45"/>
                  </a:lnTo>
                  <a:lnTo>
                    <a:pt x="75" y="45"/>
                  </a:lnTo>
                  <a:lnTo>
                    <a:pt x="77" y="45"/>
                  </a:lnTo>
                  <a:lnTo>
                    <a:pt x="77" y="47"/>
                  </a:lnTo>
                  <a:lnTo>
                    <a:pt x="75" y="47"/>
                  </a:lnTo>
                  <a:lnTo>
                    <a:pt x="75" y="48"/>
                  </a:lnTo>
                  <a:lnTo>
                    <a:pt x="73" y="48"/>
                  </a:lnTo>
                  <a:lnTo>
                    <a:pt x="73" y="50"/>
                  </a:lnTo>
                  <a:lnTo>
                    <a:pt x="71" y="50"/>
                  </a:lnTo>
                  <a:lnTo>
                    <a:pt x="69" y="50"/>
                  </a:lnTo>
                  <a:lnTo>
                    <a:pt x="69" y="48"/>
                  </a:lnTo>
                  <a:lnTo>
                    <a:pt x="69" y="50"/>
                  </a:lnTo>
                  <a:lnTo>
                    <a:pt x="67" y="50"/>
                  </a:lnTo>
                  <a:lnTo>
                    <a:pt x="67" y="52"/>
                  </a:lnTo>
                  <a:lnTo>
                    <a:pt x="65" y="52"/>
                  </a:lnTo>
                  <a:lnTo>
                    <a:pt x="64" y="52"/>
                  </a:lnTo>
                  <a:lnTo>
                    <a:pt x="62" y="52"/>
                  </a:lnTo>
                  <a:lnTo>
                    <a:pt x="60" y="52"/>
                  </a:lnTo>
                  <a:lnTo>
                    <a:pt x="58" y="52"/>
                  </a:lnTo>
                  <a:lnTo>
                    <a:pt x="56" y="52"/>
                  </a:lnTo>
                  <a:lnTo>
                    <a:pt x="54" y="52"/>
                  </a:lnTo>
                  <a:lnTo>
                    <a:pt x="52" y="52"/>
                  </a:lnTo>
                  <a:lnTo>
                    <a:pt x="50" y="52"/>
                  </a:lnTo>
                  <a:lnTo>
                    <a:pt x="50" y="54"/>
                  </a:lnTo>
                  <a:lnTo>
                    <a:pt x="48" y="54"/>
                  </a:lnTo>
                  <a:lnTo>
                    <a:pt x="46" y="54"/>
                  </a:lnTo>
                  <a:lnTo>
                    <a:pt x="46" y="56"/>
                  </a:lnTo>
                  <a:lnTo>
                    <a:pt x="44" y="56"/>
                  </a:lnTo>
                  <a:lnTo>
                    <a:pt x="44" y="54"/>
                  </a:lnTo>
                  <a:lnTo>
                    <a:pt x="44" y="56"/>
                  </a:lnTo>
                  <a:lnTo>
                    <a:pt x="42" y="56"/>
                  </a:lnTo>
                  <a:lnTo>
                    <a:pt x="41" y="56"/>
                  </a:lnTo>
                  <a:lnTo>
                    <a:pt x="41" y="58"/>
                  </a:lnTo>
                  <a:lnTo>
                    <a:pt x="41" y="56"/>
                  </a:lnTo>
                  <a:lnTo>
                    <a:pt x="41" y="58"/>
                  </a:lnTo>
                  <a:lnTo>
                    <a:pt x="39" y="58"/>
                  </a:lnTo>
                  <a:lnTo>
                    <a:pt x="37" y="58"/>
                  </a:lnTo>
                  <a:lnTo>
                    <a:pt x="39" y="58"/>
                  </a:lnTo>
                  <a:lnTo>
                    <a:pt x="37" y="58"/>
                  </a:lnTo>
                  <a:lnTo>
                    <a:pt x="37" y="60"/>
                  </a:lnTo>
                  <a:lnTo>
                    <a:pt x="35" y="60"/>
                  </a:lnTo>
                  <a:lnTo>
                    <a:pt x="33" y="60"/>
                  </a:lnTo>
                  <a:lnTo>
                    <a:pt x="31" y="60"/>
                  </a:lnTo>
                  <a:lnTo>
                    <a:pt x="29" y="60"/>
                  </a:lnTo>
                  <a:lnTo>
                    <a:pt x="27" y="60"/>
                  </a:lnTo>
                  <a:lnTo>
                    <a:pt x="25" y="60"/>
                  </a:lnTo>
                  <a:lnTo>
                    <a:pt x="25" y="58"/>
                  </a:lnTo>
                  <a:lnTo>
                    <a:pt x="23" y="58"/>
                  </a:lnTo>
                  <a:lnTo>
                    <a:pt x="21" y="58"/>
                  </a:lnTo>
                  <a:lnTo>
                    <a:pt x="21" y="56"/>
                  </a:lnTo>
                  <a:lnTo>
                    <a:pt x="19" y="56"/>
                  </a:lnTo>
                  <a:lnTo>
                    <a:pt x="18" y="56"/>
                  </a:lnTo>
                  <a:lnTo>
                    <a:pt x="19" y="56"/>
                  </a:lnTo>
                  <a:lnTo>
                    <a:pt x="18" y="56"/>
                  </a:lnTo>
                  <a:lnTo>
                    <a:pt x="18" y="54"/>
                  </a:lnTo>
                  <a:lnTo>
                    <a:pt x="16" y="54"/>
                  </a:lnTo>
                  <a:lnTo>
                    <a:pt x="18" y="54"/>
                  </a:lnTo>
                  <a:lnTo>
                    <a:pt x="18" y="52"/>
                  </a:lnTo>
                  <a:lnTo>
                    <a:pt x="16" y="52"/>
                  </a:lnTo>
                  <a:lnTo>
                    <a:pt x="14" y="52"/>
                  </a:lnTo>
                  <a:lnTo>
                    <a:pt x="14" y="50"/>
                  </a:lnTo>
                  <a:lnTo>
                    <a:pt x="12" y="50"/>
                  </a:lnTo>
                  <a:lnTo>
                    <a:pt x="12" y="48"/>
                  </a:lnTo>
                  <a:lnTo>
                    <a:pt x="12" y="47"/>
                  </a:lnTo>
                  <a:lnTo>
                    <a:pt x="12" y="48"/>
                  </a:lnTo>
                  <a:lnTo>
                    <a:pt x="12" y="47"/>
                  </a:lnTo>
                  <a:lnTo>
                    <a:pt x="10" y="47"/>
                  </a:lnTo>
                  <a:lnTo>
                    <a:pt x="8" y="47"/>
                  </a:lnTo>
                  <a:lnTo>
                    <a:pt x="8" y="45"/>
                  </a:lnTo>
                  <a:lnTo>
                    <a:pt x="8" y="47"/>
                  </a:lnTo>
                  <a:lnTo>
                    <a:pt x="8" y="45"/>
                  </a:lnTo>
                  <a:lnTo>
                    <a:pt x="6" y="45"/>
                  </a:lnTo>
                  <a:lnTo>
                    <a:pt x="6" y="43"/>
                  </a:lnTo>
                  <a:lnTo>
                    <a:pt x="4" y="43"/>
                  </a:lnTo>
                  <a:lnTo>
                    <a:pt x="4" y="41"/>
                  </a:lnTo>
                  <a:lnTo>
                    <a:pt x="6" y="41"/>
                  </a:lnTo>
                  <a:lnTo>
                    <a:pt x="4" y="41"/>
                  </a:lnTo>
                  <a:lnTo>
                    <a:pt x="4" y="39"/>
                  </a:lnTo>
                  <a:lnTo>
                    <a:pt x="4" y="37"/>
                  </a:lnTo>
                  <a:lnTo>
                    <a:pt x="2" y="37"/>
                  </a:lnTo>
                  <a:lnTo>
                    <a:pt x="0" y="37"/>
                  </a:lnTo>
                  <a:lnTo>
                    <a:pt x="2" y="37"/>
                  </a:lnTo>
                  <a:lnTo>
                    <a:pt x="2" y="35"/>
                  </a:lnTo>
                  <a:lnTo>
                    <a:pt x="2" y="33"/>
                  </a:lnTo>
                  <a:lnTo>
                    <a:pt x="4" y="33"/>
                  </a:lnTo>
                  <a:lnTo>
                    <a:pt x="4" y="35"/>
                  </a:lnTo>
                  <a:lnTo>
                    <a:pt x="4" y="33"/>
                  </a:lnTo>
                  <a:lnTo>
                    <a:pt x="4" y="35"/>
                  </a:lnTo>
                  <a:lnTo>
                    <a:pt x="4" y="33"/>
                  </a:lnTo>
                  <a:lnTo>
                    <a:pt x="4" y="35"/>
                  </a:lnTo>
                  <a:lnTo>
                    <a:pt x="4" y="33"/>
                  </a:lnTo>
                  <a:lnTo>
                    <a:pt x="4" y="35"/>
                  </a:lnTo>
                  <a:lnTo>
                    <a:pt x="4" y="33"/>
                  </a:lnTo>
                  <a:lnTo>
                    <a:pt x="4" y="35"/>
                  </a:lnTo>
                  <a:lnTo>
                    <a:pt x="6" y="35"/>
                  </a:lnTo>
                  <a:lnTo>
                    <a:pt x="6" y="33"/>
                  </a:lnTo>
                  <a:lnTo>
                    <a:pt x="6" y="35"/>
                  </a:lnTo>
                  <a:lnTo>
                    <a:pt x="6" y="33"/>
                  </a:lnTo>
                  <a:lnTo>
                    <a:pt x="6" y="35"/>
                  </a:lnTo>
                  <a:lnTo>
                    <a:pt x="6" y="33"/>
                  </a:lnTo>
                  <a:lnTo>
                    <a:pt x="6" y="35"/>
                  </a:lnTo>
                  <a:lnTo>
                    <a:pt x="6" y="33"/>
                  </a:lnTo>
                  <a:lnTo>
                    <a:pt x="6" y="35"/>
                  </a:lnTo>
                  <a:lnTo>
                    <a:pt x="6" y="33"/>
                  </a:lnTo>
                  <a:lnTo>
                    <a:pt x="6" y="31"/>
                  </a:lnTo>
                  <a:lnTo>
                    <a:pt x="6" y="29"/>
                  </a:lnTo>
                  <a:lnTo>
                    <a:pt x="4" y="29"/>
                  </a:lnTo>
                  <a:lnTo>
                    <a:pt x="6" y="29"/>
                  </a:lnTo>
                  <a:lnTo>
                    <a:pt x="6" y="27"/>
                  </a:lnTo>
                  <a:lnTo>
                    <a:pt x="6" y="25"/>
                  </a:lnTo>
                  <a:lnTo>
                    <a:pt x="8" y="25"/>
                  </a:lnTo>
                  <a:lnTo>
                    <a:pt x="8" y="23"/>
                  </a:lnTo>
                  <a:lnTo>
                    <a:pt x="10" y="23"/>
                  </a:lnTo>
                  <a:lnTo>
                    <a:pt x="10" y="22"/>
                  </a:lnTo>
                  <a:lnTo>
                    <a:pt x="8" y="22"/>
                  </a:lnTo>
                  <a:lnTo>
                    <a:pt x="8" y="20"/>
                  </a:lnTo>
                  <a:lnTo>
                    <a:pt x="8" y="22"/>
                  </a:lnTo>
                  <a:lnTo>
                    <a:pt x="8" y="20"/>
                  </a:lnTo>
                  <a:lnTo>
                    <a:pt x="6" y="20"/>
                  </a:lnTo>
                  <a:lnTo>
                    <a:pt x="6" y="18"/>
                  </a:lnTo>
                  <a:lnTo>
                    <a:pt x="8" y="18"/>
                  </a:lnTo>
                  <a:lnTo>
                    <a:pt x="6" y="18"/>
                  </a:lnTo>
                  <a:lnTo>
                    <a:pt x="8" y="18"/>
                  </a:lnTo>
                  <a:lnTo>
                    <a:pt x="6" y="18"/>
                  </a:lnTo>
                  <a:lnTo>
                    <a:pt x="8" y="18"/>
                  </a:lnTo>
                  <a:lnTo>
                    <a:pt x="10" y="18"/>
                  </a:lnTo>
                  <a:lnTo>
                    <a:pt x="10" y="20"/>
                  </a:lnTo>
                  <a:lnTo>
                    <a:pt x="12" y="20"/>
                  </a:lnTo>
                  <a:lnTo>
                    <a:pt x="12" y="18"/>
                  </a:lnTo>
                  <a:lnTo>
                    <a:pt x="12" y="20"/>
                  </a:lnTo>
                  <a:lnTo>
                    <a:pt x="14" y="20"/>
                  </a:lnTo>
                  <a:lnTo>
                    <a:pt x="16" y="20"/>
                  </a:lnTo>
                  <a:lnTo>
                    <a:pt x="16" y="18"/>
                  </a:lnTo>
                  <a:lnTo>
                    <a:pt x="14" y="18"/>
                  </a:lnTo>
                  <a:lnTo>
                    <a:pt x="14" y="16"/>
                  </a:lnTo>
                  <a:lnTo>
                    <a:pt x="16" y="16"/>
                  </a:lnTo>
                  <a:lnTo>
                    <a:pt x="14" y="16"/>
                  </a:lnTo>
                  <a:lnTo>
                    <a:pt x="16" y="16"/>
                  </a:lnTo>
                  <a:lnTo>
                    <a:pt x="16" y="14"/>
                  </a:lnTo>
                  <a:lnTo>
                    <a:pt x="16" y="12"/>
                  </a:lnTo>
                  <a:lnTo>
                    <a:pt x="18" y="12"/>
                  </a:lnTo>
                  <a:lnTo>
                    <a:pt x="19" y="12"/>
                  </a:lnTo>
                  <a:lnTo>
                    <a:pt x="19" y="14"/>
                  </a:lnTo>
                  <a:lnTo>
                    <a:pt x="19" y="16"/>
                  </a:lnTo>
                  <a:lnTo>
                    <a:pt x="21" y="16"/>
                  </a:lnTo>
                  <a:lnTo>
                    <a:pt x="23" y="16"/>
                  </a:lnTo>
                  <a:lnTo>
                    <a:pt x="23" y="18"/>
                  </a:lnTo>
                  <a:lnTo>
                    <a:pt x="25" y="18"/>
                  </a:lnTo>
                  <a:lnTo>
                    <a:pt x="27" y="18"/>
                  </a:lnTo>
                  <a:lnTo>
                    <a:pt x="29" y="18"/>
                  </a:lnTo>
                  <a:lnTo>
                    <a:pt x="31" y="18"/>
                  </a:lnTo>
                  <a:lnTo>
                    <a:pt x="33" y="18"/>
                  </a:lnTo>
                  <a:lnTo>
                    <a:pt x="35" y="18"/>
                  </a:lnTo>
                  <a:lnTo>
                    <a:pt x="37" y="18"/>
                  </a:lnTo>
                  <a:lnTo>
                    <a:pt x="39" y="18"/>
                  </a:lnTo>
                  <a:lnTo>
                    <a:pt x="39" y="16"/>
                  </a:lnTo>
                  <a:lnTo>
                    <a:pt x="41" y="16"/>
                  </a:lnTo>
                  <a:lnTo>
                    <a:pt x="39" y="16"/>
                  </a:lnTo>
                  <a:lnTo>
                    <a:pt x="39" y="14"/>
                  </a:lnTo>
                  <a:lnTo>
                    <a:pt x="39" y="12"/>
                  </a:lnTo>
                  <a:lnTo>
                    <a:pt x="41" y="12"/>
                  </a:lnTo>
                  <a:lnTo>
                    <a:pt x="42" y="12"/>
                  </a:lnTo>
                  <a:lnTo>
                    <a:pt x="42" y="10"/>
                  </a:lnTo>
                  <a:lnTo>
                    <a:pt x="42" y="12"/>
                  </a:lnTo>
                  <a:lnTo>
                    <a:pt x="42" y="10"/>
                  </a:lnTo>
                  <a:lnTo>
                    <a:pt x="42" y="12"/>
                  </a:lnTo>
                  <a:lnTo>
                    <a:pt x="44" y="12"/>
                  </a:lnTo>
                  <a:lnTo>
                    <a:pt x="44" y="10"/>
                  </a:lnTo>
                  <a:lnTo>
                    <a:pt x="44" y="12"/>
                  </a:lnTo>
                  <a:lnTo>
                    <a:pt x="44" y="10"/>
                  </a:lnTo>
                  <a:lnTo>
                    <a:pt x="44" y="12"/>
                  </a:lnTo>
                  <a:lnTo>
                    <a:pt x="44" y="10"/>
                  </a:lnTo>
                  <a:lnTo>
                    <a:pt x="44" y="12"/>
                  </a:lnTo>
                  <a:lnTo>
                    <a:pt x="44" y="10"/>
                  </a:lnTo>
                  <a:lnTo>
                    <a:pt x="44" y="12"/>
                  </a:lnTo>
                  <a:lnTo>
                    <a:pt x="44" y="10"/>
                  </a:lnTo>
                  <a:lnTo>
                    <a:pt x="44" y="12"/>
                  </a:lnTo>
                  <a:lnTo>
                    <a:pt x="46" y="12"/>
                  </a:lnTo>
                  <a:lnTo>
                    <a:pt x="46" y="10"/>
                  </a:lnTo>
                  <a:lnTo>
                    <a:pt x="48" y="10"/>
                  </a:lnTo>
                  <a:lnTo>
                    <a:pt x="50" y="10"/>
                  </a:lnTo>
                  <a:lnTo>
                    <a:pt x="48" y="10"/>
                  </a:lnTo>
                  <a:lnTo>
                    <a:pt x="50" y="10"/>
                  </a:lnTo>
                  <a:lnTo>
                    <a:pt x="50" y="8"/>
                  </a:lnTo>
                  <a:lnTo>
                    <a:pt x="52" y="8"/>
                  </a:lnTo>
                  <a:lnTo>
                    <a:pt x="52" y="6"/>
                  </a:lnTo>
                  <a:lnTo>
                    <a:pt x="52" y="8"/>
                  </a:lnTo>
                  <a:lnTo>
                    <a:pt x="54" y="8"/>
                  </a:lnTo>
                  <a:lnTo>
                    <a:pt x="54" y="10"/>
                  </a:lnTo>
                  <a:lnTo>
                    <a:pt x="54" y="8"/>
                  </a:lnTo>
                  <a:lnTo>
                    <a:pt x="56" y="8"/>
                  </a:lnTo>
                  <a:lnTo>
                    <a:pt x="54" y="8"/>
                  </a:lnTo>
                  <a:lnTo>
                    <a:pt x="56" y="8"/>
                  </a:lnTo>
                  <a:lnTo>
                    <a:pt x="56" y="10"/>
                  </a:lnTo>
                  <a:lnTo>
                    <a:pt x="58" y="10"/>
                  </a:lnTo>
                  <a:lnTo>
                    <a:pt x="58" y="8"/>
                  </a:lnTo>
                  <a:lnTo>
                    <a:pt x="60" y="8"/>
                  </a:lnTo>
                  <a:lnTo>
                    <a:pt x="60" y="6"/>
                  </a:lnTo>
                  <a:lnTo>
                    <a:pt x="62" y="6"/>
                  </a:lnTo>
                  <a:lnTo>
                    <a:pt x="64" y="6"/>
                  </a:lnTo>
                  <a:lnTo>
                    <a:pt x="64" y="4"/>
                  </a:lnTo>
                  <a:lnTo>
                    <a:pt x="64" y="2"/>
                  </a:lnTo>
                  <a:lnTo>
                    <a:pt x="65" y="2"/>
                  </a:lnTo>
                  <a:lnTo>
                    <a:pt x="65" y="0"/>
                  </a:lnTo>
                  <a:lnTo>
                    <a:pt x="67" y="0"/>
                  </a:lnTo>
                  <a:lnTo>
                    <a:pt x="69" y="0"/>
                  </a:lnTo>
                  <a:lnTo>
                    <a:pt x="71" y="0"/>
                  </a:lnTo>
                  <a:lnTo>
                    <a:pt x="73" y="0"/>
                  </a:lnTo>
                  <a:lnTo>
                    <a:pt x="73" y="2"/>
                  </a:lnTo>
                  <a:lnTo>
                    <a:pt x="73" y="0"/>
                  </a:lnTo>
                  <a:lnTo>
                    <a:pt x="75" y="0"/>
                  </a:lnTo>
                  <a:lnTo>
                    <a:pt x="77" y="0"/>
                  </a:lnTo>
                  <a:lnTo>
                    <a:pt x="79" y="0"/>
                  </a:lnTo>
                  <a:lnTo>
                    <a:pt x="81" y="0"/>
                  </a:lnTo>
                  <a:lnTo>
                    <a:pt x="81" y="2"/>
                  </a:lnTo>
                  <a:lnTo>
                    <a:pt x="83" y="4"/>
                  </a:lnTo>
                  <a:lnTo>
                    <a:pt x="81" y="4"/>
                  </a:lnTo>
                  <a:lnTo>
                    <a:pt x="83" y="4"/>
                  </a:lnTo>
                  <a:lnTo>
                    <a:pt x="81" y="4"/>
                  </a:lnTo>
                  <a:lnTo>
                    <a:pt x="83" y="4"/>
                  </a:lnTo>
                  <a:lnTo>
                    <a:pt x="85" y="4"/>
                  </a:lnTo>
                  <a:lnTo>
                    <a:pt x="87" y="4"/>
                  </a:lnTo>
                  <a:lnTo>
                    <a:pt x="85" y="4"/>
                  </a:lnTo>
                  <a:lnTo>
                    <a:pt x="87" y="4"/>
                  </a:lnTo>
                  <a:lnTo>
                    <a:pt x="89" y="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390">
              <a:extLst>
                <a:ext uri="{FF2B5EF4-FFF2-40B4-BE49-F238E27FC236}">
                  <a16:creationId xmlns:a16="http://schemas.microsoft.com/office/drawing/2014/main" id="{3EF9EDFC-D5F8-4774-97FE-2E7BB3547488}"/>
                </a:ext>
              </a:extLst>
            </p:cNvPr>
            <p:cNvSpPr>
              <a:spLocks/>
            </p:cNvSpPr>
            <p:nvPr/>
          </p:nvSpPr>
          <p:spPr bwMode="gray">
            <a:xfrm>
              <a:off x="3573722" y="3374402"/>
              <a:ext cx="169240" cy="120185"/>
            </a:xfrm>
            <a:custGeom>
              <a:avLst/>
              <a:gdLst>
                <a:gd name="T0" fmla="*/ 122 w 138"/>
                <a:gd name="T1" fmla="*/ 66 h 98"/>
                <a:gd name="T2" fmla="*/ 128 w 138"/>
                <a:gd name="T3" fmla="*/ 62 h 98"/>
                <a:gd name="T4" fmla="*/ 138 w 138"/>
                <a:gd name="T5" fmla="*/ 66 h 98"/>
                <a:gd name="T6" fmla="*/ 138 w 138"/>
                <a:gd name="T7" fmla="*/ 67 h 98"/>
                <a:gd name="T8" fmla="*/ 136 w 138"/>
                <a:gd name="T9" fmla="*/ 75 h 98"/>
                <a:gd name="T10" fmla="*/ 128 w 138"/>
                <a:gd name="T11" fmla="*/ 77 h 98"/>
                <a:gd name="T12" fmla="*/ 122 w 138"/>
                <a:gd name="T13" fmla="*/ 85 h 98"/>
                <a:gd name="T14" fmla="*/ 122 w 138"/>
                <a:gd name="T15" fmla="*/ 87 h 98"/>
                <a:gd name="T16" fmla="*/ 121 w 138"/>
                <a:gd name="T17" fmla="*/ 94 h 98"/>
                <a:gd name="T18" fmla="*/ 115 w 138"/>
                <a:gd name="T19" fmla="*/ 94 h 98"/>
                <a:gd name="T20" fmla="*/ 107 w 138"/>
                <a:gd name="T21" fmla="*/ 90 h 98"/>
                <a:gd name="T22" fmla="*/ 96 w 138"/>
                <a:gd name="T23" fmla="*/ 89 h 98"/>
                <a:gd name="T24" fmla="*/ 84 w 138"/>
                <a:gd name="T25" fmla="*/ 90 h 98"/>
                <a:gd name="T26" fmla="*/ 78 w 138"/>
                <a:gd name="T27" fmla="*/ 98 h 98"/>
                <a:gd name="T28" fmla="*/ 71 w 138"/>
                <a:gd name="T29" fmla="*/ 96 h 98"/>
                <a:gd name="T30" fmla="*/ 61 w 138"/>
                <a:gd name="T31" fmla="*/ 96 h 98"/>
                <a:gd name="T32" fmla="*/ 51 w 138"/>
                <a:gd name="T33" fmla="*/ 96 h 98"/>
                <a:gd name="T34" fmla="*/ 40 w 138"/>
                <a:gd name="T35" fmla="*/ 94 h 98"/>
                <a:gd name="T36" fmla="*/ 40 w 138"/>
                <a:gd name="T37" fmla="*/ 89 h 98"/>
                <a:gd name="T38" fmla="*/ 32 w 138"/>
                <a:gd name="T39" fmla="*/ 83 h 98"/>
                <a:gd name="T40" fmla="*/ 34 w 138"/>
                <a:gd name="T41" fmla="*/ 79 h 98"/>
                <a:gd name="T42" fmla="*/ 27 w 138"/>
                <a:gd name="T43" fmla="*/ 81 h 98"/>
                <a:gd name="T44" fmla="*/ 21 w 138"/>
                <a:gd name="T45" fmla="*/ 77 h 98"/>
                <a:gd name="T46" fmla="*/ 19 w 138"/>
                <a:gd name="T47" fmla="*/ 73 h 98"/>
                <a:gd name="T48" fmla="*/ 17 w 138"/>
                <a:gd name="T49" fmla="*/ 66 h 98"/>
                <a:gd name="T50" fmla="*/ 7 w 138"/>
                <a:gd name="T51" fmla="*/ 62 h 98"/>
                <a:gd name="T52" fmla="*/ 7 w 138"/>
                <a:gd name="T53" fmla="*/ 56 h 98"/>
                <a:gd name="T54" fmla="*/ 0 w 138"/>
                <a:gd name="T55" fmla="*/ 50 h 98"/>
                <a:gd name="T56" fmla="*/ 5 w 138"/>
                <a:gd name="T57" fmla="*/ 46 h 98"/>
                <a:gd name="T58" fmla="*/ 11 w 138"/>
                <a:gd name="T59" fmla="*/ 42 h 98"/>
                <a:gd name="T60" fmla="*/ 15 w 138"/>
                <a:gd name="T61" fmla="*/ 37 h 98"/>
                <a:gd name="T62" fmla="*/ 21 w 138"/>
                <a:gd name="T63" fmla="*/ 29 h 98"/>
                <a:gd name="T64" fmla="*/ 23 w 138"/>
                <a:gd name="T65" fmla="*/ 21 h 98"/>
                <a:gd name="T66" fmla="*/ 27 w 138"/>
                <a:gd name="T67" fmla="*/ 16 h 98"/>
                <a:gd name="T68" fmla="*/ 30 w 138"/>
                <a:gd name="T69" fmla="*/ 10 h 98"/>
                <a:gd name="T70" fmla="*/ 38 w 138"/>
                <a:gd name="T71" fmla="*/ 8 h 98"/>
                <a:gd name="T72" fmla="*/ 40 w 138"/>
                <a:gd name="T73" fmla="*/ 4 h 98"/>
                <a:gd name="T74" fmla="*/ 46 w 138"/>
                <a:gd name="T75" fmla="*/ 8 h 98"/>
                <a:gd name="T76" fmla="*/ 55 w 138"/>
                <a:gd name="T77" fmla="*/ 8 h 98"/>
                <a:gd name="T78" fmla="*/ 63 w 138"/>
                <a:gd name="T79" fmla="*/ 10 h 98"/>
                <a:gd name="T80" fmla="*/ 73 w 138"/>
                <a:gd name="T81" fmla="*/ 10 h 98"/>
                <a:gd name="T82" fmla="*/ 84 w 138"/>
                <a:gd name="T83" fmla="*/ 6 h 98"/>
                <a:gd name="T84" fmla="*/ 90 w 138"/>
                <a:gd name="T85" fmla="*/ 2 h 98"/>
                <a:gd name="T86" fmla="*/ 96 w 138"/>
                <a:gd name="T87" fmla="*/ 2 h 98"/>
                <a:gd name="T88" fmla="*/ 99 w 138"/>
                <a:gd name="T89" fmla="*/ 8 h 98"/>
                <a:gd name="T90" fmla="*/ 103 w 138"/>
                <a:gd name="T91" fmla="*/ 14 h 98"/>
                <a:gd name="T92" fmla="*/ 105 w 138"/>
                <a:gd name="T93" fmla="*/ 17 h 98"/>
                <a:gd name="T94" fmla="*/ 107 w 138"/>
                <a:gd name="T95" fmla="*/ 21 h 98"/>
                <a:gd name="T96" fmla="*/ 111 w 138"/>
                <a:gd name="T97" fmla="*/ 27 h 98"/>
                <a:gd name="T98" fmla="*/ 115 w 138"/>
                <a:gd name="T99" fmla="*/ 29 h 98"/>
                <a:gd name="T100" fmla="*/ 115 w 138"/>
                <a:gd name="T101" fmla="*/ 35 h 98"/>
                <a:gd name="T102" fmla="*/ 115 w 138"/>
                <a:gd name="T103" fmla="*/ 37 h 98"/>
                <a:gd name="T104" fmla="*/ 115 w 138"/>
                <a:gd name="T105" fmla="*/ 39 h 98"/>
                <a:gd name="T106" fmla="*/ 115 w 138"/>
                <a:gd name="T107" fmla="*/ 41 h 98"/>
                <a:gd name="T108" fmla="*/ 115 w 138"/>
                <a:gd name="T109" fmla="*/ 42 h 98"/>
                <a:gd name="T110" fmla="*/ 115 w 138"/>
                <a:gd name="T111" fmla="*/ 48 h 98"/>
                <a:gd name="T112" fmla="*/ 115 w 138"/>
                <a:gd name="T113" fmla="*/ 50 h 98"/>
                <a:gd name="T114" fmla="*/ 115 w 138"/>
                <a:gd name="T115" fmla="*/ 6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98">
                  <a:moveTo>
                    <a:pt x="115" y="60"/>
                  </a:moveTo>
                  <a:lnTo>
                    <a:pt x="117" y="60"/>
                  </a:lnTo>
                  <a:lnTo>
                    <a:pt x="117" y="62"/>
                  </a:lnTo>
                  <a:lnTo>
                    <a:pt x="117" y="64"/>
                  </a:lnTo>
                  <a:lnTo>
                    <a:pt x="119" y="64"/>
                  </a:lnTo>
                  <a:lnTo>
                    <a:pt x="121" y="66"/>
                  </a:lnTo>
                  <a:lnTo>
                    <a:pt x="122" y="66"/>
                  </a:lnTo>
                  <a:lnTo>
                    <a:pt x="124" y="66"/>
                  </a:lnTo>
                  <a:lnTo>
                    <a:pt x="124" y="64"/>
                  </a:lnTo>
                  <a:lnTo>
                    <a:pt x="122" y="64"/>
                  </a:lnTo>
                  <a:lnTo>
                    <a:pt x="124" y="64"/>
                  </a:lnTo>
                  <a:lnTo>
                    <a:pt x="126" y="64"/>
                  </a:lnTo>
                  <a:lnTo>
                    <a:pt x="128" y="64"/>
                  </a:lnTo>
                  <a:lnTo>
                    <a:pt x="128" y="62"/>
                  </a:lnTo>
                  <a:lnTo>
                    <a:pt x="130" y="62"/>
                  </a:lnTo>
                  <a:lnTo>
                    <a:pt x="132" y="62"/>
                  </a:lnTo>
                  <a:lnTo>
                    <a:pt x="134" y="62"/>
                  </a:lnTo>
                  <a:lnTo>
                    <a:pt x="136" y="62"/>
                  </a:lnTo>
                  <a:lnTo>
                    <a:pt x="136" y="64"/>
                  </a:lnTo>
                  <a:lnTo>
                    <a:pt x="138" y="64"/>
                  </a:lnTo>
                  <a:lnTo>
                    <a:pt x="138" y="66"/>
                  </a:lnTo>
                  <a:lnTo>
                    <a:pt x="136" y="66"/>
                  </a:lnTo>
                  <a:lnTo>
                    <a:pt x="138" y="66"/>
                  </a:lnTo>
                  <a:lnTo>
                    <a:pt x="136" y="66"/>
                  </a:lnTo>
                  <a:lnTo>
                    <a:pt x="138" y="66"/>
                  </a:lnTo>
                  <a:lnTo>
                    <a:pt x="136" y="66"/>
                  </a:lnTo>
                  <a:lnTo>
                    <a:pt x="136" y="67"/>
                  </a:lnTo>
                  <a:lnTo>
                    <a:pt x="138" y="67"/>
                  </a:lnTo>
                  <a:lnTo>
                    <a:pt x="136" y="67"/>
                  </a:lnTo>
                  <a:lnTo>
                    <a:pt x="136" y="69"/>
                  </a:lnTo>
                  <a:lnTo>
                    <a:pt x="136" y="71"/>
                  </a:lnTo>
                  <a:lnTo>
                    <a:pt x="136" y="73"/>
                  </a:lnTo>
                  <a:lnTo>
                    <a:pt x="136" y="75"/>
                  </a:lnTo>
                  <a:lnTo>
                    <a:pt x="134" y="75"/>
                  </a:lnTo>
                  <a:lnTo>
                    <a:pt x="136" y="75"/>
                  </a:lnTo>
                  <a:lnTo>
                    <a:pt x="136" y="73"/>
                  </a:lnTo>
                  <a:lnTo>
                    <a:pt x="134" y="73"/>
                  </a:lnTo>
                  <a:lnTo>
                    <a:pt x="134" y="75"/>
                  </a:lnTo>
                  <a:lnTo>
                    <a:pt x="132" y="75"/>
                  </a:lnTo>
                  <a:lnTo>
                    <a:pt x="130" y="75"/>
                  </a:lnTo>
                  <a:lnTo>
                    <a:pt x="128" y="75"/>
                  </a:lnTo>
                  <a:lnTo>
                    <a:pt x="128" y="77"/>
                  </a:lnTo>
                  <a:lnTo>
                    <a:pt x="126" y="77"/>
                  </a:lnTo>
                  <a:lnTo>
                    <a:pt x="126" y="79"/>
                  </a:lnTo>
                  <a:lnTo>
                    <a:pt x="124" y="79"/>
                  </a:lnTo>
                  <a:lnTo>
                    <a:pt x="124" y="81"/>
                  </a:lnTo>
                  <a:lnTo>
                    <a:pt x="124" y="83"/>
                  </a:lnTo>
                  <a:lnTo>
                    <a:pt x="122" y="83"/>
                  </a:lnTo>
                  <a:lnTo>
                    <a:pt x="122" y="85"/>
                  </a:lnTo>
                  <a:lnTo>
                    <a:pt x="122" y="83"/>
                  </a:lnTo>
                  <a:lnTo>
                    <a:pt x="122" y="85"/>
                  </a:lnTo>
                  <a:lnTo>
                    <a:pt x="122" y="87"/>
                  </a:lnTo>
                  <a:lnTo>
                    <a:pt x="122" y="89"/>
                  </a:lnTo>
                  <a:lnTo>
                    <a:pt x="122" y="87"/>
                  </a:lnTo>
                  <a:lnTo>
                    <a:pt x="122" y="89"/>
                  </a:lnTo>
                  <a:lnTo>
                    <a:pt x="122" y="87"/>
                  </a:lnTo>
                  <a:lnTo>
                    <a:pt x="122" y="89"/>
                  </a:lnTo>
                  <a:lnTo>
                    <a:pt x="122" y="90"/>
                  </a:lnTo>
                  <a:lnTo>
                    <a:pt x="122" y="89"/>
                  </a:lnTo>
                  <a:lnTo>
                    <a:pt x="122" y="90"/>
                  </a:lnTo>
                  <a:lnTo>
                    <a:pt x="122" y="92"/>
                  </a:lnTo>
                  <a:lnTo>
                    <a:pt x="121" y="92"/>
                  </a:lnTo>
                  <a:lnTo>
                    <a:pt x="121" y="94"/>
                  </a:lnTo>
                  <a:lnTo>
                    <a:pt x="121" y="96"/>
                  </a:lnTo>
                  <a:lnTo>
                    <a:pt x="121" y="94"/>
                  </a:lnTo>
                  <a:lnTo>
                    <a:pt x="121" y="96"/>
                  </a:lnTo>
                  <a:lnTo>
                    <a:pt x="119" y="96"/>
                  </a:lnTo>
                  <a:lnTo>
                    <a:pt x="117" y="96"/>
                  </a:lnTo>
                  <a:lnTo>
                    <a:pt x="115" y="96"/>
                  </a:lnTo>
                  <a:lnTo>
                    <a:pt x="115" y="94"/>
                  </a:lnTo>
                  <a:lnTo>
                    <a:pt x="113" y="94"/>
                  </a:lnTo>
                  <a:lnTo>
                    <a:pt x="113" y="92"/>
                  </a:lnTo>
                  <a:lnTo>
                    <a:pt x="111" y="92"/>
                  </a:lnTo>
                  <a:lnTo>
                    <a:pt x="111" y="90"/>
                  </a:lnTo>
                  <a:lnTo>
                    <a:pt x="111" y="92"/>
                  </a:lnTo>
                  <a:lnTo>
                    <a:pt x="109" y="92"/>
                  </a:lnTo>
                  <a:lnTo>
                    <a:pt x="107" y="90"/>
                  </a:lnTo>
                  <a:lnTo>
                    <a:pt x="105" y="90"/>
                  </a:lnTo>
                  <a:lnTo>
                    <a:pt x="103" y="90"/>
                  </a:lnTo>
                  <a:lnTo>
                    <a:pt x="103" y="89"/>
                  </a:lnTo>
                  <a:lnTo>
                    <a:pt x="101" y="89"/>
                  </a:lnTo>
                  <a:lnTo>
                    <a:pt x="99" y="89"/>
                  </a:lnTo>
                  <a:lnTo>
                    <a:pt x="98" y="89"/>
                  </a:lnTo>
                  <a:lnTo>
                    <a:pt x="96" y="89"/>
                  </a:lnTo>
                  <a:lnTo>
                    <a:pt x="94" y="89"/>
                  </a:lnTo>
                  <a:lnTo>
                    <a:pt x="94" y="90"/>
                  </a:lnTo>
                  <a:lnTo>
                    <a:pt x="92" y="90"/>
                  </a:lnTo>
                  <a:lnTo>
                    <a:pt x="90" y="90"/>
                  </a:lnTo>
                  <a:lnTo>
                    <a:pt x="88" y="90"/>
                  </a:lnTo>
                  <a:lnTo>
                    <a:pt x="86" y="90"/>
                  </a:lnTo>
                  <a:lnTo>
                    <a:pt x="84" y="90"/>
                  </a:lnTo>
                  <a:lnTo>
                    <a:pt x="84" y="92"/>
                  </a:lnTo>
                  <a:lnTo>
                    <a:pt x="82" y="92"/>
                  </a:lnTo>
                  <a:lnTo>
                    <a:pt x="82" y="94"/>
                  </a:lnTo>
                  <a:lnTo>
                    <a:pt x="82" y="96"/>
                  </a:lnTo>
                  <a:lnTo>
                    <a:pt x="80" y="96"/>
                  </a:lnTo>
                  <a:lnTo>
                    <a:pt x="78" y="96"/>
                  </a:lnTo>
                  <a:lnTo>
                    <a:pt x="78" y="98"/>
                  </a:lnTo>
                  <a:lnTo>
                    <a:pt x="76" y="98"/>
                  </a:lnTo>
                  <a:lnTo>
                    <a:pt x="75" y="98"/>
                  </a:lnTo>
                  <a:lnTo>
                    <a:pt x="73" y="98"/>
                  </a:lnTo>
                  <a:lnTo>
                    <a:pt x="73" y="96"/>
                  </a:lnTo>
                  <a:lnTo>
                    <a:pt x="71" y="96"/>
                  </a:lnTo>
                  <a:lnTo>
                    <a:pt x="71" y="98"/>
                  </a:lnTo>
                  <a:lnTo>
                    <a:pt x="71" y="96"/>
                  </a:lnTo>
                  <a:lnTo>
                    <a:pt x="69" y="96"/>
                  </a:lnTo>
                  <a:lnTo>
                    <a:pt x="67" y="96"/>
                  </a:lnTo>
                  <a:lnTo>
                    <a:pt x="65" y="96"/>
                  </a:lnTo>
                  <a:lnTo>
                    <a:pt x="65" y="98"/>
                  </a:lnTo>
                  <a:lnTo>
                    <a:pt x="65" y="96"/>
                  </a:lnTo>
                  <a:lnTo>
                    <a:pt x="63" y="96"/>
                  </a:lnTo>
                  <a:lnTo>
                    <a:pt x="61" y="96"/>
                  </a:lnTo>
                  <a:lnTo>
                    <a:pt x="59" y="96"/>
                  </a:lnTo>
                  <a:lnTo>
                    <a:pt x="57" y="96"/>
                  </a:lnTo>
                  <a:lnTo>
                    <a:pt x="57" y="98"/>
                  </a:lnTo>
                  <a:lnTo>
                    <a:pt x="57" y="96"/>
                  </a:lnTo>
                  <a:lnTo>
                    <a:pt x="55" y="96"/>
                  </a:lnTo>
                  <a:lnTo>
                    <a:pt x="53" y="96"/>
                  </a:lnTo>
                  <a:lnTo>
                    <a:pt x="51" y="96"/>
                  </a:lnTo>
                  <a:lnTo>
                    <a:pt x="51" y="94"/>
                  </a:lnTo>
                  <a:lnTo>
                    <a:pt x="50" y="94"/>
                  </a:lnTo>
                  <a:lnTo>
                    <a:pt x="48" y="94"/>
                  </a:lnTo>
                  <a:lnTo>
                    <a:pt x="46" y="94"/>
                  </a:lnTo>
                  <a:lnTo>
                    <a:pt x="44" y="94"/>
                  </a:lnTo>
                  <a:lnTo>
                    <a:pt x="42" y="94"/>
                  </a:lnTo>
                  <a:lnTo>
                    <a:pt x="40" y="94"/>
                  </a:lnTo>
                  <a:lnTo>
                    <a:pt x="38" y="94"/>
                  </a:lnTo>
                  <a:lnTo>
                    <a:pt x="36" y="94"/>
                  </a:lnTo>
                  <a:lnTo>
                    <a:pt x="36" y="92"/>
                  </a:lnTo>
                  <a:lnTo>
                    <a:pt x="38" y="92"/>
                  </a:lnTo>
                  <a:lnTo>
                    <a:pt x="38" y="90"/>
                  </a:lnTo>
                  <a:lnTo>
                    <a:pt x="40" y="90"/>
                  </a:lnTo>
                  <a:lnTo>
                    <a:pt x="40" y="89"/>
                  </a:lnTo>
                  <a:lnTo>
                    <a:pt x="38" y="89"/>
                  </a:lnTo>
                  <a:lnTo>
                    <a:pt x="36" y="89"/>
                  </a:lnTo>
                  <a:lnTo>
                    <a:pt x="36" y="87"/>
                  </a:lnTo>
                  <a:lnTo>
                    <a:pt x="34" y="87"/>
                  </a:lnTo>
                  <a:lnTo>
                    <a:pt x="34" y="85"/>
                  </a:lnTo>
                  <a:lnTo>
                    <a:pt x="32" y="85"/>
                  </a:lnTo>
                  <a:lnTo>
                    <a:pt x="32" y="83"/>
                  </a:lnTo>
                  <a:lnTo>
                    <a:pt x="32" y="81"/>
                  </a:lnTo>
                  <a:lnTo>
                    <a:pt x="32" y="79"/>
                  </a:lnTo>
                  <a:lnTo>
                    <a:pt x="34" y="79"/>
                  </a:lnTo>
                  <a:lnTo>
                    <a:pt x="34" y="81"/>
                  </a:lnTo>
                  <a:lnTo>
                    <a:pt x="36" y="81"/>
                  </a:lnTo>
                  <a:lnTo>
                    <a:pt x="36" y="79"/>
                  </a:lnTo>
                  <a:lnTo>
                    <a:pt x="34" y="79"/>
                  </a:lnTo>
                  <a:lnTo>
                    <a:pt x="34" y="77"/>
                  </a:lnTo>
                  <a:lnTo>
                    <a:pt x="32" y="77"/>
                  </a:lnTo>
                  <a:lnTo>
                    <a:pt x="30" y="77"/>
                  </a:lnTo>
                  <a:lnTo>
                    <a:pt x="28" y="77"/>
                  </a:lnTo>
                  <a:lnTo>
                    <a:pt x="28" y="79"/>
                  </a:lnTo>
                  <a:lnTo>
                    <a:pt x="28" y="81"/>
                  </a:lnTo>
                  <a:lnTo>
                    <a:pt x="27" y="81"/>
                  </a:lnTo>
                  <a:lnTo>
                    <a:pt x="28" y="81"/>
                  </a:lnTo>
                  <a:lnTo>
                    <a:pt x="27" y="81"/>
                  </a:lnTo>
                  <a:lnTo>
                    <a:pt x="27" y="79"/>
                  </a:lnTo>
                  <a:lnTo>
                    <a:pt x="25" y="79"/>
                  </a:lnTo>
                  <a:lnTo>
                    <a:pt x="25" y="77"/>
                  </a:lnTo>
                  <a:lnTo>
                    <a:pt x="23" y="77"/>
                  </a:lnTo>
                  <a:lnTo>
                    <a:pt x="21" y="77"/>
                  </a:lnTo>
                  <a:lnTo>
                    <a:pt x="19" y="77"/>
                  </a:lnTo>
                  <a:lnTo>
                    <a:pt x="19" y="75"/>
                  </a:lnTo>
                  <a:lnTo>
                    <a:pt x="17" y="75"/>
                  </a:lnTo>
                  <a:lnTo>
                    <a:pt x="15" y="75"/>
                  </a:lnTo>
                  <a:lnTo>
                    <a:pt x="15" y="73"/>
                  </a:lnTo>
                  <a:lnTo>
                    <a:pt x="17" y="73"/>
                  </a:lnTo>
                  <a:lnTo>
                    <a:pt x="19" y="73"/>
                  </a:lnTo>
                  <a:lnTo>
                    <a:pt x="19" y="71"/>
                  </a:lnTo>
                  <a:lnTo>
                    <a:pt x="17" y="71"/>
                  </a:lnTo>
                  <a:lnTo>
                    <a:pt x="15" y="71"/>
                  </a:lnTo>
                  <a:lnTo>
                    <a:pt x="15" y="69"/>
                  </a:lnTo>
                  <a:lnTo>
                    <a:pt x="17" y="69"/>
                  </a:lnTo>
                  <a:lnTo>
                    <a:pt x="17" y="67"/>
                  </a:lnTo>
                  <a:lnTo>
                    <a:pt x="17" y="66"/>
                  </a:lnTo>
                  <a:lnTo>
                    <a:pt x="15" y="66"/>
                  </a:lnTo>
                  <a:lnTo>
                    <a:pt x="13" y="66"/>
                  </a:lnTo>
                  <a:lnTo>
                    <a:pt x="13" y="64"/>
                  </a:lnTo>
                  <a:lnTo>
                    <a:pt x="11" y="64"/>
                  </a:lnTo>
                  <a:lnTo>
                    <a:pt x="9" y="64"/>
                  </a:lnTo>
                  <a:lnTo>
                    <a:pt x="9" y="62"/>
                  </a:lnTo>
                  <a:lnTo>
                    <a:pt x="7" y="62"/>
                  </a:lnTo>
                  <a:lnTo>
                    <a:pt x="9" y="62"/>
                  </a:lnTo>
                  <a:lnTo>
                    <a:pt x="7" y="62"/>
                  </a:lnTo>
                  <a:lnTo>
                    <a:pt x="9" y="62"/>
                  </a:lnTo>
                  <a:lnTo>
                    <a:pt x="7" y="62"/>
                  </a:lnTo>
                  <a:lnTo>
                    <a:pt x="7" y="60"/>
                  </a:lnTo>
                  <a:lnTo>
                    <a:pt x="7" y="58"/>
                  </a:lnTo>
                  <a:lnTo>
                    <a:pt x="7" y="56"/>
                  </a:lnTo>
                  <a:lnTo>
                    <a:pt x="7" y="54"/>
                  </a:lnTo>
                  <a:lnTo>
                    <a:pt x="5" y="54"/>
                  </a:lnTo>
                  <a:lnTo>
                    <a:pt x="5" y="52"/>
                  </a:lnTo>
                  <a:lnTo>
                    <a:pt x="3" y="52"/>
                  </a:lnTo>
                  <a:lnTo>
                    <a:pt x="3" y="50"/>
                  </a:lnTo>
                  <a:lnTo>
                    <a:pt x="2" y="50"/>
                  </a:lnTo>
                  <a:lnTo>
                    <a:pt x="0" y="50"/>
                  </a:lnTo>
                  <a:lnTo>
                    <a:pt x="2" y="50"/>
                  </a:lnTo>
                  <a:lnTo>
                    <a:pt x="2" y="48"/>
                  </a:lnTo>
                  <a:lnTo>
                    <a:pt x="0" y="48"/>
                  </a:lnTo>
                  <a:lnTo>
                    <a:pt x="0" y="46"/>
                  </a:lnTo>
                  <a:lnTo>
                    <a:pt x="2" y="46"/>
                  </a:lnTo>
                  <a:lnTo>
                    <a:pt x="3" y="46"/>
                  </a:lnTo>
                  <a:lnTo>
                    <a:pt x="5" y="46"/>
                  </a:lnTo>
                  <a:lnTo>
                    <a:pt x="5" y="44"/>
                  </a:lnTo>
                  <a:lnTo>
                    <a:pt x="7" y="44"/>
                  </a:lnTo>
                  <a:lnTo>
                    <a:pt x="7" y="42"/>
                  </a:lnTo>
                  <a:lnTo>
                    <a:pt x="7" y="44"/>
                  </a:lnTo>
                  <a:lnTo>
                    <a:pt x="9" y="44"/>
                  </a:lnTo>
                  <a:lnTo>
                    <a:pt x="11" y="44"/>
                  </a:lnTo>
                  <a:lnTo>
                    <a:pt x="11" y="42"/>
                  </a:lnTo>
                  <a:lnTo>
                    <a:pt x="13" y="42"/>
                  </a:lnTo>
                  <a:lnTo>
                    <a:pt x="13" y="41"/>
                  </a:lnTo>
                  <a:lnTo>
                    <a:pt x="15" y="41"/>
                  </a:lnTo>
                  <a:lnTo>
                    <a:pt x="15" y="39"/>
                  </a:lnTo>
                  <a:lnTo>
                    <a:pt x="13" y="39"/>
                  </a:lnTo>
                  <a:lnTo>
                    <a:pt x="15" y="39"/>
                  </a:lnTo>
                  <a:lnTo>
                    <a:pt x="15" y="37"/>
                  </a:lnTo>
                  <a:lnTo>
                    <a:pt x="17" y="37"/>
                  </a:lnTo>
                  <a:lnTo>
                    <a:pt x="17" y="35"/>
                  </a:lnTo>
                  <a:lnTo>
                    <a:pt x="17" y="33"/>
                  </a:lnTo>
                  <a:lnTo>
                    <a:pt x="17" y="31"/>
                  </a:lnTo>
                  <a:lnTo>
                    <a:pt x="19" y="31"/>
                  </a:lnTo>
                  <a:lnTo>
                    <a:pt x="19" y="29"/>
                  </a:lnTo>
                  <a:lnTo>
                    <a:pt x="21" y="29"/>
                  </a:lnTo>
                  <a:lnTo>
                    <a:pt x="21" y="27"/>
                  </a:lnTo>
                  <a:lnTo>
                    <a:pt x="19" y="27"/>
                  </a:lnTo>
                  <a:lnTo>
                    <a:pt x="21" y="27"/>
                  </a:lnTo>
                  <a:lnTo>
                    <a:pt x="21" y="25"/>
                  </a:lnTo>
                  <a:lnTo>
                    <a:pt x="23" y="25"/>
                  </a:lnTo>
                  <a:lnTo>
                    <a:pt x="23" y="23"/>
                  </a:lnTo>
                  <a:lnTo>
                    <a:pt x="23" y="21"/>
                  </a:lnTo>
                  <a:lnTo>
                    <a:pt x="25" y="21"/>
                  </a:lnTo>
                  <a:lnTo>
                    <a:pt x="25" y="19"/>
                  </a:lnTo>
                  <a:lnTo>
                    <a:pt x="25" y="17"/>
                  </a:lnTo>
                  <a:lnTo>
                    <a:pt x="25" y="16"/>
                  </a:lnTo>
                  <a:lnTo>
                    <a:pt x="25" y="17"/>
                  </a:lnTo>
                  <a:lnTo>
                    <a:pt x="27" y="17"/>
                  </a:lnTo>
                  <a:lnTo>
                    <a:pt x="27" y="16"/>
                  </a:lnTo>
                  <a:lnTo>
                    <a:pt x="25" y="16"/>
                  </a:lnTo>
                  <a:lnTo>
                    <a:pt x="27" y="16"/>
                  </a:lnTo>
                  <a:lnTo>
                    <a:pt x="28" y="16"/>
                  </a:lnTo>
                  <a:lnTo>
                    <a:pt x="28" y="14"/>
                  </a:lnTo>
                  <a:lnTo>
                    <a:pt x="28" y="12"/>
                  </a:lnTo>
                  <a:lnTo>
                    <a:pt x="30" y="12"/>
                  </a:lnTo>
                  <a:lnTo>
                    <a:pt x="30" y="10"/>
                  </a:lnTo>
                  <a:lnTo>
                    <a:pt x="32" y="10"/>
                  </a:lnTo>
                  <a:lnTo>
                    <a:pt x="32" y="12"/>
                  </a:lnTo>
                  <a:lnTo>
                    <a:pt x="34" y="12"/>
                  </a:lnTo>
                  <a:lnTo>
                    <a:pt x="34" y="10"/>
                  </a:lnTo>
                  <a:lnTo>
                    <a:pt x="36" y="10"/>
                  </a:lnTo>
                  <a:lnTo>
                    <a:pt x="36" y="8"/>
                  </a:lnTo>
                  <a:lnTo>
                    <a:pt x="38" y="8"/>
                  </a:lnTo>
                  <a:lnTo>
                    <a:pt x="38" y="6"/>
                  </a:lnTo>
                  <a:lnTo>
                    <a:pt x="40" y="6"/>
                  </a:lnTo>
                  <a:lnTo>
                    <a:pt x="42" y="6"/>
                  </a:lnTo>
                  <a:lnTo>
                    <a:pt x="40" y="6"/>
                  </a:lnTo>
                  <a:lnTo>
                    <a:pt x="42" y="6"/>
                  </a:lnTo>
                  <a:lnTo>
                    <a:pt x="40" y="6"/>
                  </a:lnTo>
                  <a:lnTo>
                    <a:pt x="40" y="4"/>
                  </a:lnTo>
                  <a:lnTo>
                    <a:pt x="42" y="4"/>
                  </a:lnTo>
                  <a:lnTo>
                    <a:pt x="44" y="4"/>
                  </a:lnTo>
                  <a:lnTo>
                    <a:pt x="44" y="6"/>
                  </a:lnTo>
                  <a:lnTo>
                    <a:pt x="46" y="6"/>
                  </a:lnTo>
                  <a:lnTo>
                    <a:pt x="46" y="8"/>
                  </a:lnTo>
                  <a:lnTo>
                    <a:pt x="48" y="8"/>
                  </a:lnTo>
                  <a:lnTo>
                    <a:pt x="46" y="8"/>
                  </a:lnTo>
                  <a:lnTo>
                    <a:pt x="48" y="8"/>
                  </a:lnTo>
                  <a:lnTo>
                    <a:pt x="48" y="6"/>
                  </a:lnTo>
                  <a:lnTo>
                    <a:pt x="50" y="6"/>
                  </a:lnTo>
                  <a:lnTo>
                    <a:pt x="51" y="6"/>
                  </a:lnTo>
                  <a:lnTo>
                    <a:pt x="51" y="8"/>
                  </a:lnTo>
                  <a:lnTo>
                    <a:pt x="53" y="8"/>
                  </a:lnTo>
                  <a:lnTo>
                    <a:pt x="55" y="8"/>
                  </a:lnTo>
                  <a:lnTo>
                    <a:pt x="57" y="8"/>
                  </a:lnTo>
                  <a:lnTo>
                    <a:pt x="59" y="8"/>
                  </a:lnTo>
                  <a:lnTo>
                    <a:pt x="61" y="8"/>
                  </a:lnTo>
                  <a:lnTo>
                    <a:pt x="63" y="8"/>
                  </a:lnTo>
                  <a:lnTo>
                    <a:pt x="63" y="10"/>
                  </a:lnTo>
                  <a:lnTo>
                    <a:pt x="65" y="10"/>
                  </a:lnTo>
                  <a:lnTo>
                    <a:pt x="63" y="10"/>
                  </a:lnTo>
                  <a:lnTo>
                    <a:pt x="65" y="10"/>
                  </a:lnTo>
                  <a:lnTo>
                    <a:pt x="67" y="10"/>
                  </a:lnTo>
                  <a:lnTo>
                    <a:pt x="67" y="12"/>
                  </a:lnTo>
                  <a:lnTo>
                    <a:pt x="69" y="12"/>
                  </a:lnTo>
                  <a:lnTo>
                    <a:pt x="71" y="12"/>
                  </a:lnTo>
                  <a:lnTo>
                    <a:pt x="71" y="10"/>
                  </a:lnTo>
                  <a:lnTo>
                    <a:pt x="73" y="10"/>
                  </a:lnTo>
                  <a:lnTo>
                    <a:pt x="73" y="8"/>
                  </a:lnTo>
                  <a:lnTo>
                    <a:pt x="75" y="8"/>
                  </a:lnTo>
                  <a:lnTo>
                    <a:pt x="76" y="8"/>
                  </a:lnTo>
                  <a:lnTo>
                    <a:pt x="78" y="8"/>
                  </a:lnTo>
                  <a:lnTo>
                    <a:pt x="80" y="8"/>
                  </a:lnTo>
                  <a:lnTo>
                    <a:pt x="82" y="8"/>
                  </a:lnTo>
                  <a:lnTo>
                    <a:pt x="84" y="6"/>
                  </a:lnTo>
                  <a:lnTo>
                    <a:pt x="84" y="8"/>
                  </a:lnTo>
                  <a:lnTo>
                    <a:pt x="84" y="6"/>
                  </a:lnTo>
                  <a:lnTo>
                    <a:pt x="86" y="6"/>
                  </a:lnTo>
                  <a:lnTo>
                    <a:pt x="86" y="4"/>
                  </a:lnTo>
                  <a:lnTo>
                    <a:pt x="88" y="4"/>
                  </a:lnTo>
                  <a:lnTo>
                    <a:pt x="88" y="2"/>
                  </a:lnTo>
                  <a:lnTo>
                    <a:pt x="90" y="2"/>
                  </a:lnTo>
                  <a:lnTo>
                    <a:pt x="92" y="2"/>
                  </a:lnTo>
                  <a:lnTo>
                    <a:pt x="92" y="0"/>
                  </a:lnTo>
                  <a:lnTo>
                    <a:pt x="92" y="2"/>
                  </a:lnTo>
                  <a:lnTo>
                    <a:pt x="92" y="0"/>
                  </a:lnTo>
                  <a:lnTo>
                    <a:pt x="94" y="0"/>
                  </a:lnTo>
                  <a:lnTo>
                    <a:pt x="96" y="0"/>
                  </a:lnTo>
                  <a:lnTo>
                    <a:pt x="96" y="2"/>
                  </a:lnTo>
                  <a:lnTo>
                    <a:pt x="98" y="2"/>
                  </a:lnTo>
                  <a:lnTo>
                    <a:pt x="96" y="2"/>
                  </a:lnTo>
                  <a:lnTo>
                    <a:pt x="98" y="2"/>
                  </a:lnTo>
                  <a:lnTo>
                    <a:pt x="98" y="4"/>
                  </a:lnTo>
                  <a:lnTo>
                    <a:pt x="99" y="4"/>
                  </a:lnTo>
                  <a:lnTo>
                    <a:pt x="99" y="6"/>
                  </a:lnTo>
                  <a:lnTo>
                    <a:pt x="99" y="8"/>
                  </a:lnTo>
                  <a:lnTo>
                    <a:pt x="101" y="8"/>
                  </a:lnTo>
                  <a:lnTo>
                    <a:pt x="99" y="8"/>
                  </a:lnTo>
                  <a:lnTo>
                    <a:pt x="101" y="8"/>
                  </a:lnTo>
                  <a:lnTo>
                    <a:pt x="101" y="10"/>
                  </a:lnTo>
                  <a:lnTo>
                    <a:pt x="101" y="12"/>
                  </a:lnTo>
                  <a:lnTo>
                    <a:pt x="101" y="14"/>
                  </a:lnTo>
                  <a:lnTo>
                    <a:pt x="103" y="14"/>
                  </a:lnTo>
                  <a:lnTo>
                    <a:pt x="103" y="16"/>
                  </a:lnTo>
                  <a:lnTo>
                    <a:pt x="105" y="16"/>
                  </a:lnTo>
                  <a:lnTo>
                    <a:pt x="103" y="16"/>
                  </a:lnTo>
                  <a:lnTo>
                    <a:pt x="105" y="16"/>
                  </a:lnTo>
                  <a:lnTo>
                    <a:pt x="105" y="17"/>
                  </a:lnTo>
                  <a:lnTo>
                    <a:pt x="107" y="17"/>
                  </a:lnTo>
                  <a:lnTo>
                    <a:pt x="105" y="17"/>
                  </a:lnTo>
                  <a:lnTo>
                    <a:pt x="105" y="19"/>
                  </a:lnTo>
                  <a:lnTo>
                    <a:pt x="107" y="19"/>
                  </a:lnTo>
                  <a:lnTo>
                    <a:pt x="105" y="19"/>
                  </a:lnTo>
                  <a:lnTo>
                    <a:pt x="107" y="19"/>
                  </a:lnTo>
                  <a:lnTo>
                    <a:pt x="105" y="19"/>
                  </a:lnTo>
                  <a:lnTo>
                    <a:pt x="107" y="19"/>
                  </a:lnTo>
                  <a:lnTo>
                    <a:pt x="107" y="21"/>
                  </a:lnTo>
                  <a:lnTo>
                    <a:pt x="109" y="21"/>
                  </a:lnTo>
                  <a:lnTo>
                    <a:pt x="109" y="23"/>
                  </a:lnTo>
                  <a:lnTo>
                    <a:pt x="109" y="25"/>
                  </a:lnTo>
                  <a:lnTo>
                    <a:pt x="111" y="25"/>
                  </a:lnTo>
                  <a:lnTo>
                    <a:pt x="109" y="25"/>
                  </a:lnTo>
                  <a:lnTo>
                    <a:pt x="111" y="25"/>
                  </a:lnTo>
                  <a:lnTo>
                    <a:pt x="111" y="27"/>
                  </a:lnTo>
                  <a:lnTo>
                    <a:pt x="113" y="27"/>
                  </a:lnTo>
                  <a:lnTo>
                    <a:pt x="113" y="29"/>
                  </a:lnTo>
                  <a:lnTo>
                    <a:pt x="113" y="27"/>
                  </a:lnTo>
                  <a:lnTo>
                    <a:pt x="113" y="29"/>
                  </a:lnTo>
                  <a:lnTo>
                    <a:pt x="115" y="29"/>
                  </a:lnTo>
                  <a:lnTo>
                    <a:pt x="113" y="29"/>
                  </a:lnTo>
                  <a:lnTo>
                    <a:pt x="115" y="29"/>
                  </a:lnTo>
                  <a:lnTo>
                    <a:pt x="113" y="29"/>
                  </a:lnTo>
                  <a:lnTo>
                    <a:pt x="115" y="29"/>
                  </a:lnTo>
                  <a:lnTo>
                    <a:pt x="115" y="31"/>
                  </a:lnTo>
                  <a:lnTo>
                    <a:pt x="113" y="31"/>
                  </a:lnTo>
                  <a:lnTo>
                    <a:pt x="115" y="31"/>
                  </a:lnTo>
                  <a:lnTo>
                    <a:pt x="115" y="33"/>
                  </a:lnTo>
                  <a:lnTo>
                    <a:pt x="115" y="35"/>
                  </a:lnTo>
                  <a:lnTo>
                    <a:pt x="115" y="33"/>
                  </a:lnTo>
                  <a:lnTo>
                    <a:pt x="115" y="35"/>
                  </a:lnTo>
                  <a:lnTo>
                    <a:pt x="117" y="35"/>
                  </a:lnTo>
                  <a:lnTo>
                    <a:pt x="117" y="37"/>
                  </a:lnTo>
                  <a:lnTo>
                    <a:pt x="115" y="37"/>
                  </a:lnTo>
                  <a:lnTo>
                    <a:pt x="117" y="37"/>
                  </a:lnTo>
                  <a:lnTo>
                    <a:pt x="115" y="37"/>
                  </a:lnTo>
                  <a:lnTo>
                    <a:pt x="117" y="37"/>
                  </a:lnTo>
                  <a:lnTo>
                    <a:pt x="117" y="39"/>
                  </a:lnTo>
                  <a:lnTo>
                    <a:pt x="115" y="39"/>
                  </a:lnTo>
                  <a:lnTo>
                    <a:pt x="117" y="39"/>
                  </a:lnTo>
                  <a:lnTo>
                    <a:pt x="115" y="39"/>
                  </a:lnTo>
                  <a:lnTo>
                    <a:pt x="117" y="39"/>
                  </a:lnTo>
                  <a:lnTo>
                    <a:pt x="115" y="39"/>
                  </a:lnTo>
                  <a:lnTo>
                    <a:pt x="117" y="39"/>
                  </a:lnTo>
                  <a:lnTo>
                    <a:pt x="115" y="39"/>
                  </a:lnTo>
                  <a:lnTo>
                    <a:pt x="117" y="39"/>
                  </a:lnTo>
                  <a:lnTo>
                    <a:pt x="117" y="41"/>
                  </a:lnTo>
                  <a:lnTo>
                    <a:pt x="115" y="41"/>
                  </a:lnTo>
                  <a:lnTo>
                    <a:pt x="117" y="41"/>
                  </a:lnTo>
                  <a:lnTo>
                    <a:pt x="115" y="41"/>
                  </a:lnTo>
                  <a:lnTo>
                    <a:pt x="115" y="42"/>
                  </a:lnTo>
                  <a:lnTo>
                    <a:pt x="115" y="41"/>
                  </a:lnTo>
                  <a:lnTo>
                    <a:pt x="115" y="42"/>
                  </a:lnTo>
                  <a:lnTo>
                    <a:pt x="115" y="44"/>
                  </a:lnTo>
                  <a:lnTo>
                    <a:pt x="115" y="42"/>
                  </a:lnTo>
                  <a:lnTo>
                    <a:pt x="115" y="44"/>
                  </a:lnTo>
                  <a:lnTo>
                    <a:pt x="115" y="42"/>
                  </a:lnTo>
                  <a:lnTo>
                    <a:pt x="115" y="44"/>
                  </a:lnTo>
                  <a:lnTo>
                    <a:pt x="115" y="46"/>
                  </a:lnTo>
                  <a:lnTo>
                    <a:pt x="115" y="44"/>
                  </a:lnTo>
                  <a:lnTo>
                    <a:pt x="115" y="46"/>
                  </a:lnTo>
                  <a:lnTo>
                    <a:pt x="115" y="44"/>
                  </a:lnTo>
                  <a:lnTo>
                    <a:pt x="115" y="46"/>
                  </a:lnTo>
                  <a:lnTo>
                    <a:pt x="115" y="48"/>
                  </a:lnTo>
                  <a:lnTo>
                    <a:pt x="113" y="48"/>
                  </a:lnTo>
                  <a:lnTo>
                    <a:pt x="115" y="48"/>
                  </a:lnTo>
                  <a:lnTo>
                    <a:pt x="113" y="48"/>
                  </a:lnTo>
                  <a:lnTo>
                    <a:pt x="115" y="48"/>
                  </a:lnTo>
                  <a:lnTo>
                    <a:pt x="113" y="48"/>
                  </a:lnTo>
                  <a:lnTo>
                    <a:pt x="113" y="50"/>
                  </a:lnTo>
                  <a:lnTo>
                    <a:pt x="115" y="50"/>
                  </a:lnTo>
                  <a:lnTo>
                    <a:pt x="115" y="52"/>
                  </a:lnTo>
                  <a:lnTo>
                    <a:pt x="115" y="54"/>
                  </a:lnTo>
                  <a:lnTo>
                    <a:pt x="115" y="56"/>
                  </a:lnTo>
                  <a:lnTo>
                    <a:pt x="115" y="58"/>
                  </a:lnTo>
                  <a:lnTo>
                    <a:pt x="113" y="58"/>
                  </a:lnTo>
                  <a:lnTo>
                    <a:pt x="115" y="58"/>
                  </a:lnTo>
                  <a:lnTo>
                    <a:pt x="115" y="6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391">
              <a:extLst>
                <a:ext uri="{FF2B5EF4-FFF2-40B4-BE49-F238E27FC236}">
                  <a16:creationId xmlns:a16="http://schemas.microsoft.com/office/drawing/2014/main" id="{63729EBB-2C72-403B-A85E-35C486C75B8D}"/>
                </a:ext>
              </a:extLst>
            </p:cNvPr>
            <p:cNvSpPr>
              <a:spLocks noEditPoints="1"/>
            </p:cNvSpPr>
            <p:nvPr/>
          </p:nvSpPr>
          <p:spPr bwMode="gray">
            <a:xfrm>
              <a:off x="3606835" y="3259122"/>
              <a:ext cx="323764" cy="217069"/>
            </a:xfrm>
            <a:custGeom>
              <a:avLst/>
              <a:gdLst>
                <a:gd name="T0" fmla="*/ 226 w 264"/>
                <a:gd name="T1" fmla="*/ 121 h 177"/>
                <a:gd name="T2" fmla="*/ 214 w 264"/>
                <a:gd name="T3" fmla="*/ 131 h 177"/>
                <a:gd name="T4" fmla="*/ 193 w 264"/>
                <a:gd name="T5" fmla="*/ 135 h 177"/>
                <a:gd name="T6" fmla="*/ 190 w 264"/>
                <a:gd name="T7" fmla="*/ 136 h 177"/>
                <a:gd name="T8" fmla="*/ 180 w 264"/>
                <a:gd name="T9" fmla="*/ 140 h 177"/>
                <a:gd name="T10" fmla="*/ 178 w 264"/>
                <a:gd name="T11" fmla="*/ 140 h 177"/>
                <a:gd name="T12" fmla="*/ 178 w 264"/>
                <a:gd name="T13" fmla="*/ 142 h 177"/>
                <a:gd name="T14" fmla="*/ 184 w 264"/>
                <a:gd name="T15" fmla="*/ 150 h 177"/>
                <a:gd name="T16" fmla="*/ 193 w 264"/>
                <a:gd name="T17" fmla="*/ 158 h 177"/>
                <a:gd name="T18" fmla="*/ 184 w 264"/>
                <a:gd name="T19" fmla="*/ 142 h 177"/>
                <a:gd name="T20" fmla="*/ 199 w 264"/>
                <a:gd name="T21" fmla="*/ 156 h 177"/>
                <a:gd name="T22" fmla="*/ 209 w 264"/>
                <a:gd name="T23" fmla="*/ 163 h 177"/>
                <a:gd name="T24" fmla="*/ 184 w 264"/>
                <a:gd name="T25" fmla="*/ 167 h 177"/>
                <a:gd name="T26" fmla="*/ 167 w 264"/>
                <a:gd name="T27" fmla="*/ 171 h 177"/>
                <a:gd name="T28" fmla="*/ 163 w 264"/>
                <a:gd name="T29" fmla="*/ 161 h 177"/>
                <a:gd name="T30" fmla="*/ 153 w 264"/>
                <a:gd name="T31" fmla="*/ 154 h 177"/>
                <a:gd name="T32" fmla="*/ 168 w 264"/>
                <a:gd name="T33" fmla="*/ 144 h 177"/>
                <a:gd name="T34" fmla="*/ 153 w 264"/>
                <a:gd name="T35" fmla="*/ 142 h 177"/>
                <a:gd name="T36" fmla="*/ 145 w 264"/>
                <a:gd name="T37" fmla="*/ 140 h 177"/>
                <a:gd name="T38" fmla="*/ 142 w 264"/>
                <a:gd name="T39" fmla="*/ 135 h 177"/>
                <a:gd name="T40" fmla="*/ 149 w 264"/>
                <a:gd name="T41" fmla="*/ 133 h 177"/>
                <a:gd name="T42" fmla="*/ 149 w 264"/>
                <a:gd name="T43" fmla="*/ 131 h 177"/>
                <a:gd name="T44" fmla="*/ 143 w 264"/>
                <a:gd name="T45" fmla="*/ 129 h 177"/>
                <a:gd name="T46" fmla="*/ 132 w 264"/>
                <a:gd name="T47" fmla="*/ 131 h 177"/>
                <a:gd name="T48" fmla="*/ 122 w 264"/>
                <a:gd name="T49" fmla="*/ 142 h 177"/>
                <a:gd name="T50" fmla="*/ 101 w 264"/>
                <a:gd name="T51" fmla="*/ 156 h 177"/>
                <a:gd name="T52" fmla="*/ 94 w 264"/>
                <a:gd name="T53" fmla="*/ 148 h 177"/>
                <a:gd name="T54" fmla="*/ 103 w 264"/>
                <a:gd name="T55" fmla="*/ 131 h 177"/>
                <a:gd name="T56" fmla="*/ 115 w 264"/>
                <a:gd name="T57" fmla="*/ 135 h 177"/>
                <a:gd name="T58" fmla="*/ 109 w 264"/>
                <a:gd name="T59" fmla="*/ 117 h 177"/>
                <a:gd name="T60" fmla="*/ 103 w 264"/>
                <a:gd name="T61" fmla="*/ 102 h 177"/>
                <a:gd name="T62" fmla="*/ 90 w 264"/>
                <a:gd name="T63" fmla="*/ 96 h 177"/>
                <a:gd name="T64" fmla="*/ 72 w 264"/>
                <a:gd name="T65" fmla="*/ 90 h 177"/>
                <a:gd name="T66" fmla="*/ 61 w 264"/>
                <a:gd name="T67" fmla="*/ 96 h 177"/>
                <a:gd name="T68" fmla="*/ 38 w 264"/>
                <a:gd name="T69" fmla="*/ 104 h 177"/>
                <a:gd name="T70" fmla="*/ 13 w 264"/>
                <a:gd name="T71" fmla="*/ 100 h 177"/>
                <a:gd name="T72" fmla="*/ 3 w 264"/>
                <a:gd name="T73" fmla="*/ 96 h 177"/>
                <a:gd name="T74" fmla="*/ 11 w 264"/>
                <a:gd name="T75" fmla="*/ 79 h 177"/>
                <a:gd name="T76" fmla="*/ 15 w 264"/>
                <a:gd name="T77" fmla="*/ 58 h 177"/>
                <a:gd name="T78" fmla="*/ 28 w 264"/>
                <a:gd name="T79" fmla="*/ 35 h 177"/>
                <a:gd name="T80" fmla="*/ 23 w 264"/>
                <a:gd name="T81" fmla="*/ 19 h 177"/>
                <a:gd name="T82" fmla="*/ 42 w 264"/>
                <a:gd name="T83" fmla="*/ 10 h 177"/>
                <a:gd name="T84" fmla="*/ 63 w 264"/>
                <a:gd name="T85" fmla="*/ 12 h 177"/>
                <a:gd name="T86" fmla="*/ 82 w 264"/>
                <a:gd name="T87" fmla="*/ 21 h 177"/>
                <a:gd name="T88" fmla="*/ 97 w 264"/>
                <a:gd name="T89" fmla="*/ 23 h 177"/>
                <a:gd name="T90" fmla="*/ 113 w 264"/>
                <a:gd name="T91" fmla="*/ 21 h 177"/>
                <a:gd name="T92" fmla="*/ 122 w 264"/>
                <a:gd name="T93" fmla="*/ 15 h 177"/>
                <a:gd name="T94" fmla="*/ 142 w 264"/>
                <a:gd name="T95" fmla="*/ 6 h 177"/>
                <a:gd name="T96" fmla="*/ 157 w 264"/>
                <a:gd name="T97" fmla="*/ 2 h 177"/>
                <a:gd name="T98" fmla="*/ 174 w 264"/>
                <a:gd name="T99" fmla="*/ 8 h 177"/>
                <a:gd name="T100" fmla="*/ 176 w 264"/>
                <a:gd name="T101" fmla="*/ 23 h 177"/>
                <a:gd name="T102" fmla="*/ 193 w 264"/>
                <a:gd name="T103" fmla="*/ 37 h 177"/>
                <a:gd name="T104" fmla="*/ 209 w 264"/>
                <a:gd name="T105" fmla="*/ 48 h 177"/>
                <a:gd name="T106" fmla="*/ 232 w 264"/>
                <a:gd name="T107" fmla="*/ 58 h 177"/>
                <a:gd name="T108" fmla="*/ 249 w 264"/>
                <a:gd name="T109" fmla="*/ 58 h 177"/>
                <a:gd name="T110" fmla="*/ 259 w 264"/>
                <a:gd name="T111" fmla="*/ 77 h 177"/>
                <a:gd name="T112" fmla="*/ 259 w 264"/>
                <a:gd name="T113" fmla="*/ 88 h 177"/>
                <a:gd name="T114" fmla="*/ 251 w 264"/>
                <a:gd name="T115" fmla="*/ 104 h 177"/>
                <a:gd name="T116" fmla="*/ 236 w 264"/>
                <a:gd name="T117" fmla="*/ 119 h 177"/>
                <a:gd name="T118" fmla="*/ 143 w 264"/>
                <a:gd name="T119" fmla="*/ 140 h 177"/>
                <a:gd name="T120" fmla="*/ 184 w 264"/>
                <a:gd name="T121" fmla="*/ 142 h 177"/>
                <a:gd name="T122" fmla="*/ 149 w 264"/>
                <a:gd name="T123" fmla="*/ 131 h 177"/>
                <a:gd name="T124" fmla="*/ 149 w 264"/>
                <a:gd name="T125" fmla="*/ 13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 h="177">
                  <a:moveTo>
                    <a:pt x="236" y="119"/>
                  </a:moveTo>
                  <a:lnTo>
                    <a:pt x="234" y="119"/>
                  </a:lnTo>
                  <a:lnTo>
                    <a:pt x="234" y="121"/>
                  </a:lnTo>
                  <a:lnTo>
                    <a:pt x="234" y="119"/>
                  </a:lnTo>
                  <a:lnTo>
                    <a:pt x="232" y="119"/>
                  </a:lnTo>
                  <a:lnTo>
                    <a:pt x="232" y="121"/>
                  </a:lnTo>
                  <a:lnTo>
                    <a:pt x="232" y="119"/>
                  </a:lnTo>
                  <a:lnTo>
                    <a:pt x="232" y="121"/>
                  </a:lnTo>
                  <a:lnTo>
                    <a:pt x="232" y="119"/>
                  </a:lnTo>
                  <a:lnTo>
                    <a:pt x="230" y="119"/>
                  </a:lnTo>
                  <a:lnTo>
                    <a:pt x="230" y="121"/>
                  </a:lnTo>
                  <a:lnTo>
                    <a:pt x="228" y="121"/>
                  </a:lnTo>
                  <a:lnTo>
                    <a:pt x="226" y="121"/>
                  </a:lnTo>
                  <a:lnTo>
                    <a:pt x="226" y="119"/>
                  </a:lnTo>
                  <a:lnTo>
                    <a:pt x="226" y="121"/>
                  </a:lnTo>
                  <a:lnTo>
                    <a:pt x="226" y="119"/>
                  </a:lnTo>
                  <a:lnTo>
                    <a:pt x="226" y="121"/>
                  </a:lnTo>
                  <a:lnTo>
                    <a:pt x="226" y="119"/>
                  </a:lnTo>
                  <a:lnTo>
                    <a:pt x="226" y="121"/>
                  </a:lnTo>
                  <a:lnTo>
                    <a:pt x="226" y="119"/>
                  </a:lnTo>
                  <a:lnTo>
                    <a:pt x="226" y="121"/>
                  </a:lnTo>
                  <a:lnTo>
                    <a:pt x="224" y="121"/>
                  </a:lnTo>
                  <a:lnTo>
                    <a:pt x="224" y="123"/>
                  </a:lnTo>
                  <a:lnTo>
                    <a:pt x="222" y="123"/>
                  </a:lnTo>
                  <a:lnTo>
                    <a:pt x="222" y="125"/>
                  </a:lnTo>
                  <a:lnTo>
                    <a:pt x="222" y="123"/>
                  </a:lnTo>
                  <a:lnTo>
                    <a:pt x="220" y="123"/>
                  </a:lnTo>
                  <a:lnTo>
                    <a:pt x="220" y="125"/>
                  </a:lnTo>
                  <a:lnTo>
                    <a:pt x="218" y="125"/>
                  </a:lnTo>
                  <a:lnTo>
                    <a:pt x="216" y="125"/>
                  </a:lnTo>
                  <a:lnTo>
                    <a:pt x="216" y="127"/>
                  </a:lnTo>
                  <a:lnTo>
                    <a:pt x="214" y="127"/>
                  </a:lnTo>
                  <a:lnTo>
                    <a:pt x="214" y="129"/>
                  </a:lnTo>
                  <a:lnTo>
                    <a:pt x="214" y="131"/>
                  </a:lnTo>
                  <a:lnTo>
                    <a:pt x="213" y="131"/>
                  </a:lnTo>
                  <a:lnTo>
                    <a:pt x="214" y="131"/>
                  </a:lnTo>
                  <a:lnTo>
                    <a:pt x="214" y="129"/>
                  </a:lnTo>
                  <a:lnTo>
                    <a:pt x="214" y="131"/>
                  </a:lnTo>
                  <a:lnTo>
                    <a:pt x="214" y="129"/>
                  </a:lnTo>
                  <a:lnTo>
                    <a:pt x="214" y="131"/>
                  </a:lnTo>
                  <a:lnTo>
                    <a:pt x="214" y="129"/>
                  </a:lnTo>
                  <a:lnTo>
                    <a:pt x="214" y="131"/>
                  </a:lnTo>
                  <a:lnTo>
                    <a:pt x="214" y="129"/>
                  </a:lnTo>
                  <a:lnTo>
                    <a:pt x="214" y="127"/>
                  </a:lnTo>
                  <a:lnTo>
                    <a:pt x="213" y="127"/>
                  </a:lnTo>
                  <a:lnTo>
                    <a:pt x="211" y="127"/>
                  </a:lnTo>
                  <a:lnTo>
                    <a:pt x="209" y="127"/>
                  </a:lnTo>
                  <a:lnTo>
                    <a:pt x="209" y="129"/>
                  </a:lnTo>
                  <a:lnTo>
                    <a:pt x="207" y="129"/>
                  </a:lnTo>
                  <a:lnTo>
                    <a:pt x="207" y="131"/>
                  </a:lnTo>
                  <a:lnTo>
                    <a:pt x="207" y="129"/>
                  </a:lnTo>
                  <a:lnTo>
                    <a:pt x="207" y="131"/>
                  </a:lnTo>
                  <a:lnTo>
                    <a:pt x="207" y="129"/>
                  </a:lnTo>
                  <a:lnTo>
                    <a:pt x="205" y="129"/>
                  </a:lnTo>
                  <a:lnTo>
                    <a:pt x="203" y="129"/>
                  </a:lnTo>
                  <a:lnTo>
                    <a:pt x="201" y="129"/>
                  </a:lnTo>
                  <a:lnTo>
                    <a:pt x="201" y="131"/>
                  </a:lnTo>
                  <a:lnTo>
                    <a:pt x="199" y="131"/>
                  </a:lnTo>
                  <a:lnTo>
                    <a:pt x="197" y="131"/>
                  </a:lnTo>
                  <a:lnTo>
                    <a:pt x="197" y="133"/>
                  </a:lnTo>
                  <a:lnTo>
                    <a:pt x="195" y="133"/>
                  </a:lnTo>
                  <a:lnTo>
                    <a:pt x="195" y="135"/>
                  </a:lnTo>
                  <a:lnTo>
                    <a:pt x="193" y="135"/>
                  </a:lnTo>
                  <a:lnTo>
                    <a:pt x="193" y="136"/>
                  </a:lnTo>
                  <a:lnTo>
                    <a:pt x="191" y="136"/>
                  </a:lnTo>
                  <a:lnTo>
                    <a:pt x="191" y="138"/>
                  </a:lnTo>
                  <a:lnTo>
                    <a:pt x="191" y="140"/>
                  </a:lnTo>
                  <a:lnTo>
                    <a:pt x="190" y="140"/>
                  </a:lnTo>
                  <a:lnTo>
                    <a:pt x="190" y="142"/>
                  </a:lnTo>
                  <a:lnTo>
                    <a:pt x="188" y="142"/>
                  </a:lnTo>
                  <a:lnTo>
                    <a:pt x="188" y="140"/>
                  </a:lnTo>
                  <a:lnTo>
                    <a:pt x="190" y="140"/>
                  </a:lnTo>
                  <a:lnTo>
                    <a:pt x="188" y="140"/>
                  </a:lnTo>
                  <a:lnTo>
                    <a:pt x="190" y="140"/>
                  </a:lnTo>
                  <a:lnTo>
                    <a:pt x="191" y="140"/>
                  </a:lnTo>
                  <a:lnTo>
                    <a:pt x="191" y="138"/>
                  </a:lnTo>
                  <a:lnTo>
                    <a:pt x="191" y="136"/>
                  </a:lnTo>
                  <a:lnTo>
                    <a:pt x="193" y="136"/>
                  </a:lnTo>
                  <a:lnTo>
                    <a:pt x="191" y="136"/>
                  </a:lnTo>
                  <a:lnTo>
                    <a:pt x="191" y="135"/>
                  </a:lnTo>
                  <a:lnTo>
                    <a:pt x="191" y="136"/>
                  </a:lnTo>
                  <a:lnTo>
                    <a:pt x="191" y="135"/>
                  </a:lnTo>
                  <a:lnTo>
                    <a:pt x="191" y="136"/>
                  </a:lnTo>
                  <a:lnTo>
                    <a:pt x="190" y="136"/>
                  </a:lnTo>
                  <a:lnTo>
                    <a:pt x="190" y="138"/>
                  </a:lnTo>
                  <a:lnTo>
                    <a:pt x="188" y="138"/>
                  </a:lnTo>
                  <a:lnTo>
                    <a:pt x="186" y="138"/>
                  </a:lnTo>
                  <a:lnTo>
                    <a:pt x="186" y="140"/>
                  </a:lnTo>
                  <a:lnTo>
                    <a:pt x="184" y="140"/>
                  </a:lnTo>
                  <a:lnTo>
                    <a:pt x="182" y="140"/>
                  </a:lnTo>
                  <a:lnTo>
                    <a:pt x="182" y="142"/>
                  </a:lnTo>
                  <a:lnTo>
                    <a:pt x="182" y="144"/>
                  </a:lnTo>
                  <a:lnTo>
                    <a:pt x="180" y="144"/>
                  </a:lnTo>
                  <a:lnTo>
                    <a:pt x="180" y="142"/>
                  </a:lnTo>
                  <a:lnTo>
                    <a:pt x="180" y="144"/>
                  </a:lnTo>
                  <a:lnTo>
                    <a:pt x="180" y="142"/>
                  </a:lnTo>
                  <a:lnTo>
                    <a:pt x="180" y="140"/>
                  </a:lnTo>
                  <a:lnTo>
                    <a:pt x="180" y="142"/>
                  </a:lnTo>
                  <a:lnTo>
                    <a:pt x="178" y="142"/>
                  </a:lnTo>
                  <a:lnTo>
                    <a:pt x="180" y="142"/>
                  </a:lnTo>
                  <a:lnTo>
                    <a:pt x="180" y="140"/>
                  </a:lnTo>
                  <a:lnTo>
                    <a:pt x="180" y="142"/>
                  </a:lnTo>
                  <a:lnTo>
                    <a:pt x="180" y="140"/>
                  </a:lnTo>
                  <a:lnTo>
                    <a:pt x="180" y="142"/>
                  </a:lnTo>
                  <a:lnTo>
                    <a:pt x="180" y="140"/>
                  </a:lnTo>
                  <a:lnTo>
                    <a:pt x="182" y="140"/>
                  </a:lnTo>
                  <a:lnTo>
                    <a:pt x="180" y="140"/>
                  </a:lnTo>
                  <a:lnTo>
                    <a:pt x="182" y="140"/>
                  </a:lnTo>
                  <a:lnTo>
                    <a:pt x="182" y="142"/>
                  </a:lnTo>
                  <a:lnTo>
                    <a:pt x="182" y="140"/>
                  </a:lnTo>
                  <a:lnTo>
                    <a:pt x="182" y="142"/>
                  </a:lnTo>
                  <a:lnTo>
                    <a:pt x="182" y="140"/>
                  </a:lnTo>
                  <a:lnTo>
                    <a:pt x="182" y="138"/>
                  </a:lnTo>
                  <a:lnTo>
                    <a:pt x="180" y="138"/>
                  </a:lnTo>
                  <a:lnTo>
                    <a:pt x="180" y="140"/>
                  </a:lnTo>
                  <a:lnTo>
                    <a:pt x="182" y="140"/>
                  </a:lnTo>
                  <a:lnTo>
                    <a:pt x="180" y="140"/>
                  </a:lnTo>
                  <a:lnTo>
                    <a:pt x="182" y="140"/>
                  </a:lnTo>
                  <a:lnTo>
                    <a:pt x="180" y="140"/>
                  </a:lnTo>
                  <a:lnTo>
                    <a:pt x="178" y="140"/>
                  </a:lnTo>
                  <a:lnTo>
                    <a:pt x="178" y="138"/>
                  </a:lnTo>
                  <a:lnTo>
                    <a:pt x="178" y="140"/>
                  </a:lnTo>
                  <a:lnTo>
                    <a:pt x="178" y="138"/>
                  </a:lnTo>
                  <a:lnTo>
                    <a:pt x="178" y="140"/>
                  </a:lnTo>
                  <a:lnTo>
                    <a:pt x="178" y="142"/>
                  </a:lnTo>
                  <a:lnTo>
                    <a:pt x="178" y="140"/>
                  </a:lnTo>
                  <a:lnTo>
                    <a:pt x="176" y="140"/>
                  </a:lnTo>
                  <a:lnTo>
                    <a:pt x="178" y="140"/>
                  </a:lnTo>
                  <a:lnTo>
                    <a:pt x="178" y="142"/>
                  </a:lnTo>
                  <a:lnTo>
                    <a:pt x="176" y="142"/>
                  </a:lnTo>
                  <a:lnTo>
                    <a:pt x="176" y="140"/>
                  </a:lnTo>
                  <a:lnTo>
                    <a:pt x="176" y="142"/>
                  </a:lnTo>
                  <a:lnTo>
                    <a:pt x="176" y="140"/>
                  </a:lnTo>
                  <a:lnTo>
                    <a:pt x="176" y="138"/>
                  </a:lnTo>
                  <a:lnTo>
                    <a:pt x="174" y="138"/>
                  </a:lnTo>
                  <a:lnTo>
                    <a:pt x="174" y="140"/>
                  </a:lnTo>
                  <a:lnTo>
                    <a:pt x="176" y="140"/>
                  </a:lnTo>
                  <a:lnTo>
                    <a:pt x="174" y="140"/>
                  </a:lnTo>
                  <a:lnTo>
                    <a:pt x="174" y="142"/>
                  </a:lnTo>
                  <a:lnTo>
                    <a:pt x="174" y="140"/>
                  </a:lnTo>
                  <a:lnTo>
                    <a:pt x="174" y="142"/>
                  </a:lnTo>
                  <a:lnTo>
                    <a:pt x="176" y="142"/>
                  </a:lnTo>
                  <a:lnTo>
                    <a:pt x="178" y="142"/>
                  </a:lnTo>
                  <a:lnTo>
                    <a:pt x="178" y="144"/>
                  </a:lnTo>
                  <a:lnTo>
                    <a:pt x="178" y="142"/>
                  </a:lnTo>
                  <a:lnTo>
                    <a:pt x="178" y="144"/>
                  </a:lnTo>
                  <a:lnTo>
                    <a:pt x="178" y="142"/>
                  </a:lnTo>
                  <a:lnTo>
                    <a:pt x="178" y="144"/>
                  </a:lnTo>
                  <a:lnTo>
                    <a:pt x="180" y="144"/>
                  </a:lnTo>
                  <a:lnTo>
                    <a:pt x="180" y="146"/>
                  </a:lnTo>
                  <a:lnTo>
                    <a:pt x="182" y="146"/>
                  </a:lnTo>
                  <a:lnTo>
                    <a:pt x="182" y="144"/>
                  </a:lnTo>
                  <a:lnTo>
                    <a:pt x="180" y="144"/>
                  </a:lnTo>
                  <a:lnTo>
                    <a:pt x="182" y="144"/>
                  </a:lnTo>
                  <a:lnTo>
                    <a:pt x="182" y="146"/>
                  </a:lnTo>
                  <a:lnTo>
                    <a:pt x="182" y="144"/>
                  </a:lnTo>
                  <a:lnTo>
                    <a:pt x="182" y="146"/>
                  </a:lnTo>
                  <a:lnTo>
                    <a:pt x="182" y="148"/>
                  </a:lnTo>
                  <a:lnTo>
                    <a:pt x="180" y="148"/>
                  </a:lnTo>
                  <a:lnTo>
                    <a:pt x="182" y="148"/>
                  </a:lnTo>
                  <a:lnTo>
                    <a:pt x="182" y="146"/>
                  </a:lnTo>
                  <a:lnTo>
                    <a:pt x="184" y="146"/>
                  </a:lnTo>
                  <a:lnTo>
                    <a:pt x="186" y="146"/>
                  </a:lnTo>
                  <a:lnTo>
                    <a:pt x="184" y="146"/>
                  </a:lnTo>
                  <a:lnTo>
                    <a:pt x="184" y="148"/>
                  </a:lnTo>
                  <a:lnTo>
                    <a:pt x="182" y="148"/>
                  </a:lnTo>
                  <a:lnTo>
                    <a:pt x="184" y="148"/>
                  </a:lnTo>
                  <a:lnTo>
                    <a:pt x="184" y="150"/>
                  </a:lnTo>
                  <a:lnTo>
                    <a:pt x="186" y="150"/>
                  </a:lnTo>
                  <a:lnTo>
                    <a:pt x="186" y="148"/>
                  </a:lnTo>
                  <a:lnTo>
                    <a:pt x="186" y="150"/>
                  </a:lnTo>
                  <a:lnTo>
                    <a:pt x="188" y="150"/>
                  </a:lnTo>
                  <a:lnTo>
                    <a:pt x="188" y="152"/>
                  </a:lnTo>
                  <a:lnTo>
                    <a:pt x="190" y="152"/>
                  </a:lnTo>
                  <a:lnTo>
                    <a:pt x="188" y="152"/>
                  </a:lnTo>
                  <a:lnTo>
                    <a:pt x="190" y="152"/>
                  </a:lnTo>
                  <a:lnTo>
                    <a:pt x="190" y="154"/>
                  </a:lnTo>
                  <a:lnTo>
                    <a:pt x="190" y="152"/>
                  </a:lnTo>
                  <a:lnTo>
                    <a:pt x="190" y="154"/>
                  </a:lnTo>
                  <a:lnTo>
                    <a:pt x="190" y="156"/>
                  </a:lnTo>
                  <a:lnTo>
                    <a:pt x="188" y="156"/>
                  </a:lnTo>
                  <a:lnTo>
                    <a:pt x="190" y="156"/>
                  </a:lnTo>
                  <a:lnTo>
                    <a:pt x="190" y="158"/>
                  </a:lnTo>
                  <a:lnTo>
                    <a:pt x="191" y="158"/>
                  </a:lnTo>
                  <a:lnTo>
                    <a:pt x="193" y="158"/>
                  </a:lnTo>
                  <a:lnTo>
                    <a:pt x="193" y="160"/>
                  </a:lnTo>
                  <a:lnTo>
                    <a:pt x="195" y="160"/>
                  </a:lnTo>
                  <a:lnTo>
                    <a:pt x="195" y="158"/>
                  </a:lnTo>
                  <a:lnTo>
                    <a:pt x="193" y="158"/>
                  </a:lnTo>
                  <a:lnTo>
                    <a:pt x="193" y="156"/>
                  </a:lnTo>
                  <a:lnTo>
                    <a:pt x="193" y="158"/>
                  </a:lnTo>
                  <a:lnTo>
                    <a:pt x="193" y="156"/>
                  </a:lnTo>
                  <a:lnTo>
                    <a:pt x="191" y="156"/>
                  </a:lnTo>
                  <a:lnTo>
                    <a:pt x="191" y="154"/>
                  </a:lnTo>
                  <a:lnTo>
                    <a:pt x="190" y="154"/>
                  </a:lnTo>
                  <a:lnTo>
                    <a:pt x="190" y="152"/>
                  </a:lnTo>
                  <a:lnTo>
                    <a:pt x="190" y="150"/>
                  </a:lnTo>
                  <a:lnTo>
                    <a:pt x="188" y="150"/>
                  </a:lnTo>
                  <a:lnTo>
                    <a:pt x="188" y="148"/>
                  </a:lnTo>
                  <a:lnTo>
                    <a:pt x="188" y="146"/>
                  </a:lnTo>
                  <a:lnTo>
                    <a:pt x="186" y="146"/>
                  </a:lnTo>
                  <a:lnTo>
                    <a:pt x="186" y="148"/>
                  </a:lnTo>
                  <a:lnTo>
                    <a:pt x="186" y="146"/>
                  </a:lnTo>
                  <a:lnTo>
                    <a:pt x="186" y="144"/>
                  </a:lnTo>
                  <a:lnTo>
                    <a:pt x="186" y="142"/>
                  </a:lnTo>
                  <a:lnTo>
                    <a:pt x="184" y="142"/>
                  </a:lnTo>
                  <a:lnTo>
                    <a:pt x="184" y="144"/>
                  </a:lnTo>
                  <a:lnTo>
                    <a:pt x="184" y="142"/>
                  </a:lnTo>
                  <a:lnTo>
                    <a:pt x="184" y="140"/>
                  </a:lnTo>
                  <a:lnTo>
                    <a:pt x="184" y="142"/>
                  </a:lnTo>
                  <a:lnTo>
                    <a:pt x="184" y="140"/>
                  </a:lnTo>
                  <a:lnTo>
                    <a:pt x="184" y="142"/>
                  </a:lnTo>
                  <a:lnTo>
                    <a:pt x="186" y="142"/>
                  </a:lnTo>
                  <a:lnTo>
                    <a:pt x="186" y="140"/>
                  </a:lnTo>
                  <a:lnTo>
                    <a:pt x="186" y="142"/>
                  </a:lnTo>
                  <a:lnTo>
                    <a:pt x="186" y="144"/>
                  </a:lnTo>
                  <a:lnTo>
                    <a:pt x="186" y="146"/>
                  </a:lnTo>
                  <a:lnTo>
                    <a:pt x="188" y="146"/>
                  </a:lnTo>
                  <a:lnTo>
                    <a:pt x="188" y="148"/>
                  </a:lnTo>
                  <a:lnTo>
                    <a:pt x="188" y="150"/>
                  </a:lnTo>
                  <a:lnTo>
                    <a:pt x="190" y="150"/>
                  </a:lnTo>
                  <a:lnTo>
                    <a:pt x="190" y="152"/>
                  </a:lnTo>
                  <a:lnTo>
                    <a:pt x="190" y="154"/>
                  </a:lnTo>
                  <a:lnTo>
                    <a:pt x="191" y="154"/>
                  </a:lnTo>
                  <a:lnTo>
                    <a:pt x="191" y="156"/>
                  </a:lnTo>
                  <a:lnTo>
                    <a:pt x="193" y="156"/>
                  </a:lnTo>
                  <a:lnTo>
                    <a:pt x="193" y="158"/>
                  </a:lnTo>
                  <a:lnTo>
                    <a:pt x="195" y="158"/>
                  </a:lnTo>
                  <a:lnTo>
                    <a:pt x="197" y="158"/>
                  </a:lnTo>
                  <a:lnTo>
                    <a:pt x="199" y="158"/>
                  </a:lnTo>
                  <a:lnTo>
                    <a:pt x="199" y="156"/>
                  </a:lnTo>
                  <a:lnTo>
                    <a:pt x="199" y="154"/>
                  </a:lnTo>
                  <a:lnTo>
                    <a:pt x="201" y="154"/>
                  </a:lnTo>
                  <a:lnTo>
                    <a:pt x="201" y="156"/>
                  </a:lnTo>
                  <a:lnTo>
                    <a:pt x="203" y="156"/>
                  </a:lnTo>
                  <a:lnTo>
                    <a:pt x="205" y="156"/>
                  </a:lnTo>
                  <a:lnTo>
                    <a:pt x="205" y="154"/>
                  </a:lnTo>
                  <a:lnTo>
                    <a:pt x="207" y="154"/>
                  </a:lnTo>
                  <a:lnTo>
                    <a:pt x="209" y="154"/>
                  </a:lnTo>
                  <a:lnTo>
                    <a:pt x="209" y="156"/>
                  </a:lnTo>
                  <a:lnTo>
                    <a:pt x="211" y="156"/>
                  </a:lnTo>
                  <a:lnTo>
                    <a:pt x="213" y="156"/>
                  </a:lnTo>
                  <a:lnTo>
                    <a:pt x="213" y="158"/>
                  </a:lnTo>
                  <a:lnTo>
                    <a:pt x="211" y="158"/>
                  </a:lnTo>
                  <a:lnTo>
                    <a:pt x="209" y="158"/>
                  </a:lnTo>
                  <a:lnTo>
                    <a:pt x="211" y="158"/>
                  </a:lnTo>
                  <a:lnTo>
                    <a:pt x="209" y="158"/>
                  </a:lnTo>
                  <a:lnTo>
                    <a:pt x="209" y="160"/>
                  </a:lnTo>
                  <a:lnTo>
                    <a:pt x="209" y="158"/>
                  </a:lnTo>
                  <a:lnTo>
                    <a:pt x="209" y="160"/>
                  </a:lnTo>
                  <a:lnTo>
                    <a:pt x="209" y="161"/>
                  </a:lnTo>
                  <a:lnTo>
                    <a:pt x="209" y="163"/>
                  </a:lnTo>
                  <a:lnTo>
                    <a:pt x="207" y="163"/>
                  </a:lnTo>
                  <a:lnTo>
                    <a:pt x="205" y="163"/>
                  </a:lnTo>
                  <a:lnTo>
                    <a:pt x="203" y="163"/>
                  </a:lnTo>
                  <a:lnTo>
                    <a:pt x="201" y="163"/>
                  </a:lnTo>
                  <a:lnTo>
                    <a:pt x="199" y="163"/>
                  </a:lnTo>
                  <a:lnTo>
                    <a:pt x="199" y="161"/>
                  </a:lnTo>
                  <a:lnTo>
                    <a:pt x="197" y="161"/>
                  </a:lnTo>
                  <a:lnTo>
                    <a:pt x="195" y="161"/>
                  </a:lnTo>
                  <a:lnTo>
                    <a:pt x="193" y="161"/>
                  </a:lnTo>
                  <a:lnTo>
                    <a:pt x="193" y="163"/>
                  </a:lnTo>
                  <a:lnTo>
                    <a:pt x="193" y="165"/>
                  </a:lnTo>
                  <a:lnTo>
                    <a:pt x="191" y="165"/>
                  </a:lnTo>
                  <a:lnTo>
                    <a:pt x="190" y="165"/>
                  </a:lnTo>
                  <a:lnTo>
                    <a:pt x="190" y="167"/>
                  </a:lnTo>
                  <a:lnTo>
                    <a:pt x="190" y="169"/>
                  </a:lnTo>
                  <a:lnTo>
                    <a:pt x="188" y="169"/>
                  </a:lnTo>
                  <a:lnTo>
                    <a:pt x="188" y="167"/>
                  </a:lnTo>
                  <a:lnTo>
                    <a:pt x="190" y="167"/>
                  </a:lnTo>
                  <a:lnTo>
                    <a:pt x="188" y="167"/>
                  </a:lnTo>
                  <a:lnTo>
                    <a:pt x="186" y="167"/>
                  </a:lnTo>
                  <a:lnTo>
                    <a:pt x="184" y="167"/>
                  </a:lnTo>
                  <a:lnTo>
                    <a:pt x="184" y="169"/>
                  </a:lnTo>
                  <a:lnTo>
                    <a:pt x="182" y="169"/>
                  </a:lnTo>
                  <a:lnTo>
                    <a:pt x="180" y="169"/>
                  </a:lnTo>
                  <a:lnTo>
                    <a:pt x="180" y="171"/>
                  </a:lnTo>
                  <a:lnTo>
                    <a:pt x="178" y="171"/>
                  </a:lnTo>
                  <a:lnTo>
                    <a:pt x="178" y="173"/>
                  </a:lnTo>
                  <a:lnTo>
                    <a:pt x="178" y="175"/>
                  </a:lnTo>
                  <a:lnTo>
                    <a:pt x="176" y="175"/>
                  </a:lnTo>
                  <a:lnTo>
                    <a:pt x="174" y="175"/>
                  </a:lnTo>
                  <a:lnTo>
                    <a:pt x="174" y="177"/>
                  </a:lnTo>
                  <a:lnTo>
                    <a:pt x="172" y="177"/>
                  </a:lnTo>
                  <a:lnTo>
                    <a:pt x="174" y="177"/>
                  </a:lnTo>
                  <a:lnTo>
                    <a:pt x="172" y="177"/>
                  </a:lnTo>
                  <a:lnTo>
                    <a:pt x="170" y="177"/>
                  </a:lnTo>
                  <a:lnTo>
                    <a:pt x="168" y="177"/>
                  </a:lnTo>
                  <a:lnTo>
                    <a:pt x="168" y="175"/>
                  </a:lnTo>
                  <a:lnTo>
                    <a:pt x="167" y="175"/>
                  </a:lnTo>
                  <a:lnTo>
                    <a:pt x="165" y="175"/>
                  </a:lnTo>
                  <a:lnTo>
                    <a:pt x="165" y="173"/>
                  </a:lnTo>
                  <a:lnTo>
                    <a:pt x="167" y="173"/>
                  </a:lnTo>
                  <a:lnTo>
                    <a:pt x="167" y="171"/>
                  </a:lnTo>
                  <a:lnTo>
                    <a:pt x="167" y="173"/>
                  </a:lnTo>
                  <a:lnTo>
                    <a:pt x="167" y="171"/>
                  </a:lnTo>
                  <a:lnTo>
                    <a:pt x="167" y="173"/>
                  </a:lnTo>
                  <a:lnTo>
                    <a:pt x="167" y="171"/>
                  </a:lnTo>
                  <a:lnTo>
                    <a:pt x="167" y="173"/>
                  </a:lnTo>
                  <a:lnTo>
                    <a:pt x="167" y="171"/>
                  </a:lnTo>
                  <a:lnTo>
                    <a:pt x="167" y="173"/>
                  </a:lnTo>
                  <a:lnTo>
                    <a:pt x="167" y="171"/>
                  </a:lnTo>
                  <a:lnTo>
                    <a:pt x="167" y="169"/>
                  </a:lnTo>
                  <a:lnTo>
                    <a:pt x="167" y="167"/>
                  </a:lnTo>
                  <a:lnTo>
                    <a:pt x="168" y="167"/>
                  </a:lnTo>
                  <a:lnTo>
                    <a:pt x="168" y="165"/>
                  </a:lnTo>
                  <a:lnTo>
                    <a:pt x="167" y="165"/>
                  </a:lnTo>
                  <a:lnTo>
                    <a:pt x="167" y="163"/>
                  </a:lnTo>
                  <a:lnTo>
                    <a:pt x="167" y="161"/>
                  </a:lnTo>
                  <a:lnTo>
                    <a:pt x="167" y="163"/>
                  </a:lnTo>
                  <a:lnTo>
                    <a:pt x="167" y="161"/>
                  </a:lnTo>
                  <a:lnTo>
                    <a:pt x="165" y="161"/>
                  </a:lnTo>
                  <a:lnTo>
                    <a:pt x="165" y="160"/>
                  </a:lnTo>
                  <a:lnTo>
                    <a:pt x="165" y="161"/>
                  </a:lnTo>
                  <a:lnTo>
                    <a:pt x="163" y="161"/>
                  </a:lnTo>
                  <a:lnTo>
                    <a:pt x="161" y="161"/>
                  </a:lnTo>
                  <a:lnTo>
                    <a:pt x="161" y="160"/>
                  </a:lnTo>
                  <a:lnTo>
                    <a:pt x="159" y="160"/>
                  </a:lnTo>
                  <a:lnTo>
                    <a:pt x="159" y="158"/>
                  </a:lnTo>
                  <a:lnTo>
                    <a:pt x="159" y="156"/>
                  </a:lnTo>
                  <a:lnTo>
                    <a:pt x="161" y="156"/>
                  </a:lnTo>
                  <a:lnTo>
                    <a:pt x="159" y="156"/>
                  </a:lnTo>
                  <a:lnTo>
                    <a:pt x="159" y="158"/>
                  </a:lnTo>
                  <a:lnTo>
                    <a:pt x="157" y="158"/>
                  </a:lnTo>
                  <a:lnTo>
                    <a:pt x="159" y="158"/>
                  </a:lnTo>
                  <a:lnTo>
                    <a:pt x="157" y="158"/>
                  </a:lnTo>
                  <a:lnTo>
                    <a:pt x="157" y="156"/>
                  </a:lnTo>
                  <a:lnTo>
                    <a:pt x="157" y="158"/>
                  </a:lnTo>
                  <a:lnTo>
                    <a:pt x="157" y="156"/>
                  </a:lnTo>
                  <a:lnTo>
                    <a:pt x="157" y="158"/>
                  </a:lnTo>
                  <a:lnTo>
                    <a:pt x="155" y="158"/>
                  </a:lnTo>
                  <a:lnTo>
                    <a:pt x="153" y="158"/>
                  </a:lnTo>
                  <a:lnTo>
                    <a:pt x="151" y="158"/>
                  </a:lnTo>
                  <a:lnTo>
                    <a:pt x="151" y="156"/>
                  </a:lnTo>
                  <a:lnTo>
                    <a:pt x="151" y="154"/>
                  </a:lnTo>
                  <a:lnTo>
                    <a:pt x="153" y="154"/>
                  </a:lnTo>
                  <a:lnTo>
                    <a:pt x="155" y="154"/>
                  </a:lnTo>
                  <a:lnTo>
                    <a:pt x="155" y="152"/>
                  </a:lnTo>
                  <a:lnTo>
                    <a:pt x="155" y="154"/>
                  </a:lnTo>
                  <a:lnTo>
                    <a:pt x="155" y="152"/>
                  </a:lnTo>
                  <a:lnTo>
                    <a:pt x="155" y="154"/>
                  </a:lnTo>
                  <a:lnTo>
                    <a:pt x="155" y="152"/>
                  </a:lnTo>
                  <a:lnTo>
                    <a:pt x="157" y="152"/>
                  </a:lnTo>
                  <a:lnTo>
                    <a:pt x="157" y="154"/>
                  </a:lnTo>
                  <a:lnTo>
                    <a:pt x="157" y="152"/>
                  </a:lnTo>
                  <a:lnTo>
                    <a:pt x="157" y="150"/>
                  </a:lnTo>
                  <a:lnTo>
                    <a:pt x="159" y="150"/>
                  </a:lnTo>
                  <a:lnTo>
                    <a:pt x="161" y="150"/>
                  </a:lnTo>
                  <a:lnTo>
                    <a:pt x="161" y="148"/>
                  </a:lnTo>
                  <a:lnTo>
                    <a:pt x="163" y="148"/>
                  </a:lnTo>
                  <a:lnTo>
                    <a:pt x="165" y="148"/>
                  </a:lnTo>
                  <a:lnTo>
                    <a:pt x="165" y="146"/>
                  </a:lnTo>
                  <a:lnTo>
                    <a:pt x="167" y="146"/>
                  </a:lnTo>
                  <a:lnTo>
                    <a:pt x="168" y="146"/>
                  </a:lnTo>
                  <a:lnTo>
                    <a:pt x="168" y="144"/>
                  </a:lnTo>
                  <a:lnTo>
                    <a:pt x="170" y="144"/>
                  </a:lnTo>
                  <a:lnTo>
                    <a:pt x="168" y="144"/>
                  </a:lnTo>
                  <a:lnTo>
                    <a:pt x="168" y="142"/>
                  </a:lnTo>
                  <a:lnTo>
                    <a:pt x="168" y="140"/>
                  </a:lnTo>
                  <a:lnTo>
                    <a:pt x="167" y="140"/>
                  </a:lnTo>
                  <a:lnTo>
                    <a:pt x="167" y="142"/>
                  </a:lnTo>
                  <a:lnTo>
                    <a:pt x="165" y="142"/>
                  </a:lnTo>
                  <a:lnTo>
                    <a:pt x="163" y="142"/>
                  </a:lnTo>
                  <a:lnTo>
                    <a:pt x="163" y="140"/>
                  </a:lnTo>
                  <a:lnTo>
                    <a:pt x="163" y="142"/>
                  </a:lnTo>
                  <a:lnTo>
                    <a:pt x="163" y="140"/>
                  </a:lnTo>
                  <a:lnTo>
                    <a:pt x="161" y="140"/>
                  </a:lnTo>
                  <a:lnTo>
                    <a:pt x="163" y="140"/>
                  </a:lnTo>
                  <a:lnTo>
                    <a:pt x="161" y="140"/>
                  </a:lnTo>
                  <a:lnTo>
                    <a:pt x="159" y="140"/>
                  </a:lnTo>
                  <a:lnTo>
                    <a:pt x="157" y="140"/>
                  </a:lnTo>
                  <a:lnTo>
                    <a:pt x="155" y="140"/>
                  </a:lnTo>
                  <a:lnTo>
                    <a:pt x="153" y="140"/>
                  </a:lnTo>
                  <a:lnTo>
                    <a:pt x="153" y="142"/>
                  </a:lnTo>
                  <a:lnTo>
                    <a:pt x="153" y="140"/>
                  </a:lnTo>
                  <a:lnTo>
                    <a:pt x="153" y="142"/>
                  </a:lnTo>
                  <a:lnTo>
                    <a:pt x="153" y="140"/>
                  </a:lnTo>
                  <a:lnTo>
                    <a:pt x="153" y="142"/>
                  </a:lnTo>
                  <a:lnTo>
                    <a:pt x="151" y="142"/>
                  </a:lnTo>
                  <a:lnTo>
                    <a:pt x="153" y="142"/>
                  </a:lnTo>
                  <a:lnTo>
                    <a:pt x="155" y="142"/>
                  </a:lnTo>
                  <a:lnTo>
                    <a:pt x="157" y="142"/>
                  </a:lnTo>
                  <a:lnTo>
                    <a:pt x="159" y="142"/>
                  </a:lnTo>
                  <a:lnTo>
                    <a:pt x="157" y="142"/>
                  </a:lnTo>
                  <a:lnTo>
                    <a:pt x="159" y="142"/>
                  </a:lnTo>
                  <a:lnTo>
                    <a:pt x="157" y="142"/>
                  </a:lnTo>
                  <a:lnTo>
                    <a:pt x="159" y="142"/>
                  </a:lnTo>
                  <a:lnTo>
                    <a:pt x="157" y="142"/>
                  </a:lnTo>
                  <a:lnTo>
                    <a:pt x="159" y="142"/>
                  </a:lnTo>
                  <a:lnTo>
                    <a:pt x="159" y="144"/>
                  </a:lnTo>
                  <a:lnTo>
                    <a:pt x="159" y="142"/>
                  </a:lnTo>
                  <a:lnTo>
                    <a:pt x="157" y="142"/>
                  </a:lnTo>
                  <a:lnTo>
                    <a:pt x="155" y="142"/>
                  </a:lnTo>
                  <a:lnTo>
                    <a:pt x="153" y="142"/>
                  </a:lnTo>
                  <a:lnTo>
                    <a:pt x="151" y="142"/>
                  </a:lnTo>
                  <a:lnTo>
                    <a:pt x="149" y="142"/>
                  </a:lnTo>
                  <a:lnTo>
                    <a:pt x="149" y="140"/>
                  </a:lnTo>
                  <a:lnTo>
                    <a:pt x="147" y="140"/>
                  </a:lnTo>
                  <a:lnTo>
                    <a:pt x="145" y="140"/>
                  </a:lnTo>
                  <a:lnTo>
                    <a:pt x="147" y="140"/>
                  </a:lnTo>
                  <a:lnTo>
                    <a:pt x="147" y="138"/>
                  </a:lnTo>
                  <a:lnTo>
                    <a:pt x="145" y="138"/>
                  </a:lnTo>
                  <a:lnTo>
                    <a:pt x="143" y="138"/>
                  </a:lnTo>
                  <a:lnTo>
                    <a:pt x="143" y="136"/>
                  </a:lnTo>
                  <a:lnTo>
                    <a:pt x="142" y="136"/>
                  </a:lnTo>
                  <a:lnTo>
                    <a:pt x="142" y="138"/>
                  </a:lnTo>
                  <a:lnTo>
                    <a:pt x="142" y="136"/>
                  </a:lnTo>
                  <a:lnTo>
                    <a:pt x="140" y="136"/>
                  </a:lnTo>
                  <a:lnTo>
                    <a:pt x="142" y="136"/>
                  </a:lnTo>
                  <a:lnTo>
                    <a:pt x="143" y="136"/>
                  </a:lnTo>
                  <a:lnTo>
                    <a:pt x="143" y="135"/>
                  </a:lnTo>
                  <a:lnTo>
                    <a:pt x="145" y="135"/>
                  </a:lnTo>
                  <a:lnTo>
                    <a:pt x="143" y="135"/>
                  </a:lnTo>
                  <a:lnTo>
                    <a:pt x="145" y="135"/>
                  </a:lnTo>
                  <a:lnTo>
                    <a:pt x="143" y="135"/>
                  </a:lnTo>
                  <a:lnTo>
                    <a:pt x="143" y="133"/>
                  </a:lnTo>
                  <a:lnTo>
                    <a:pt x="143" y="135"/>
                  </a:lnTo>
                  <a:lnTo>
                    <a:pt x="143" y="133"/>
                  </a:lnTo>
                  <a:lnTo>
                    <a:pt x="143" y="135"/>
                  </a:lnTo>
                  <a:lnTo>
                    <a:pt x="142" y="135"/>
                  </a:lnTo>
                  <a:lnTo>
                    <a:pt x="142" y="133"/>
                  </a:lnTo>
                  <a:lnTo>
                    <a:pt x="142" y="135"/>
                  </a:lnTo>
                  <a:lnTo>
                    <a:pt x="143" y="135"/>
                  </a:lnTo>
                  <a:lnTo>
                    <a:pt x="142" y="135"/>
                  </a:lnTo>
                  <a:lnTo>
                    <a:pt x="142" y="133"/>
                  </a:lnTo>
                  <a:lnTo>
                    <a:pt x="140" y="133"/>
                  </a:lnTo>
                  <a:lnTo>
                    <a:pt x="140" y="135"/>
                  </a:lnTo>
                  <a:lnTo>
                    <a:pt x="140" y="133"/>
                  </a:lnTo>
                  <a:lnTo>
                    <a:pt x="138" y="133"/>
                  </a:lnTo>
                  <a:lnTo>
                    <a:pt x="138" y="131"/>
                  </a:lnTo>
                  <a:lnTo>
                    <a:pt x="138" y="133"/>
                  </a:lnTo>
                  <a:lnTo>
                    <a:pt x="140" y="133"/>
                  </a:lnTo>
                  <a:lnTo>
                    <a:pt x="142" y="133"/>
                  </a:lnTo>
                  <a:lnTo>
                    <a:pt x="143" y="133"/>
                  </a:lnTo>
                  <a:lnTo>
                    <a:pt x="145" y="133"/>
                  </a:lnTo>
                  <a:lnTo>
                    <a:pt x="147" y="133"/>
                  </a:lnTo>
                  <a:lnTo>
                    <a:pt x="145" y="133"/>
                  </a:lnTo>
                  <a:lnTo>
                    <a:pt x="147" y="133"/>
                  </a:lnTo>
                  <a:lnTo>
                    <a:pt x="145" y="133"/>
                  </a:lnTo>
                  <a:lnTo>
                    <a:pt x="147" y="133"/>
                  </a:lnTo>
                  <a:lnTo>
                    <a:pt x="149" y="133"/>
                  </a:lnTo>
                  <a:lnTo>
                    <a:pt x="149" y="135"/>
                  </a:lnTo>
                  <a:lnTo>
                    <a:pt x="149" y="133"/>
                  </a:lnTo>
                  <a:lnTo>
                    <a:pt x="151" y="133"/>
                  </a:lnTo>
                  <a:lnTo>
                    <a:pt x="153" y="133"/>
                  </a:lnTo>
                  <a:lnTo>
                    <a:pt x="153" y="131"/>
                  </a:lnTo>
                  <a:lnTo>
                    <a:pt x="153" y="133"/>
                  </a:lnTo>
                  <a:lnTo>
                    <a:pt x="153" y="131"/>
                  </a:lnTo>
                  <a:lnTo>
                    <a:pt x="153" y="133"/>
                  </a:lnTo>
                  <a:lnTo>
                    <a:pt x="151" y="133"/>
                  </a:lnTo>
                  <a:lnTo>
                    <a:pt x="151" y="131"/>
                  </a:lnTo>
                  <a:lnTo>
                    <a:pt x="153" y="131"/>
                  </a:lnTo>
                  <a:lnTo>
                    <a:pt x="153" y="133"/>
                  </a:lnTo>
                  <a:lnTo>
                    <a:pt x="153" y="131"/>
                  </a:lnTo>
                  <a:lnTo>
                    <a:pt x="155" y="131"/>
                  </a:lnTo>
                  <a:lnTo>
                    <a:pt x="153" y="131"/>
                  </a:lnTo>
                  <a:lnTo>
                    <a:pt x="153" y="129"/>
                  </a:lnTo>
                  <a:lnTo>
                    <a:pt x="155" y="129"/>
                  </a:lnTo>
                  <a:lnTo>
                    <a:pt x="153" y="129"/>
                  </a:lnTo>
                  <a:lnTo>
                    <a:pt x="153" y="131"/>
                  </a:lnTo>
                  <a:lnTo>
                    <a:pt x="151" y="131"/>
                  </a:lnTo>
                  <a:lnTo>
                    <a:pt x="149" y="131"/>
                  </a:lnTo>
                  <a:lnTo>
                    <a:pt x="149" y="133"/>
                  </a:lnTo>
                  <a:lnTo>
                    <a:pt x="149" y="131"/>
                  </a:lnTo>
                  <a:lnTo>
                    <a:pt x="149" y="133"/>
                  </a:lnTo>
                  <a:lnTo>
                    <a:pt x="149" y="131"/>
                  </a:lnTo>
                  <a:lnTo>
                    <a:pt x="149" y="133"/>
                  </a:lnTo>
                  <a:lnTo>
                    <a:pt x="149" y="131"/>
                  </a:lnTo>
                  <a:lnTo>
                    <a:pt x="149" y="133"/>
                  </a:lnTo>
                  <a:lnTo>
                    <a:pt x="149" y="131"/>
                  </a:lnTo>
                  <a:lnTo>
                    <a:pt x="147" y="131"/>
                  </a:lnTo>
                  <a:lnTo>
                    <a:pt x="149" y="131"/>
                  </a:lnTo>
                  <a:lnTo>
                    <a:pt x="147" y="131"/>
                  </a:lnTo>
                  <a:lnTo>
                    <a:pt x="145" y="131"/>
                  </a:lnTo>
                  <a:lnTo>
                    <a:pt x="143" y="131"/>
                  </a:lnTo>
                  <a:lnTo>
                    <a:pt x="143" y="129"/>
                  </a:lnTo>
                  <a:lnTo>
                    <a:pt x="143" y="127"/>
                  </a:lnTo>
                  <a:lnTo>
                    <a:pt x="143" y="125"/>
                  </a:lnTo>
                  <a:lnTo>
                    <a:pt x="143" y="123"/>
                  </a:lnTo>
                  <a:lnTo>
                    <a:pt x="143" y="125"/>
                  </a:lnTo>
                  <a:lnTo>
                    <a:pt x="142" y="125"/>
                  </a:lnTo>
                  <a:lnTo>
                    <a:pt x="142" y="127"/>
                  </a:lnTo>
                  <a:lnTo>
                    <a:pt x="143" y="129"/>
                  </a:lnTo>
                  <a:lnTo>
                    <a:pt x="142" y="129"/>
                  </a:lnTo>
                  <a:lnTo>
                    <a:pt x="143" y="129"/>
                  </a:lnTo>
                  <a:lnTo>
                    <a:pt x="142" y="129"/>
                  </a:lnTo>
                  <a:lnTo>
                    <a:pt x="142" y="131"/>
                  </a:lnTo>
                  <a:lnTo>
                    <a:pt x="140" y="131"/>
                  </a:lnTo>
                  <a:lnTo>
                    <a:pt x="140" y="129"/>
                  </a:lnTo>
                  <a:lnTo>
                    <a:pt x="138" y="129"/>
                  </a:lnTo>
                  <a:lnTo>
                    <a:pt x="138" y="131"/>
                  </a:lnTo>
                  <a:lnTo>
                    <a:pt x="136" y="131"/>
                  </a:lnTo>
                  <a:lnTo>
                    <a:pt x="136" y="129"/>
                  </a:lnTo>
                  <a:lnTo>
                    <a:pt x="138" y="129"/>
                  </a:lnTo>
                  <a:lnTo>
                    <a:pt x="136" y="129"/>
                  </a:lnTo>
                  <a:lnTo>
                    <a:pt x="138" y="129"/>
                  </a:lnTo>
                  <a:lnTo>
                    <a:pt x="138" y="127"/>
                  </a:lnTo>
                  <a:lnTo>
                    <a:pt x="138" y="129"/>
                  </a:lnTo>
                  <a:lnTo>
                    <a:pt x="136" y="129"/>
                  </a:lnTo>
                  <a:lnTo>
                    <a:pt x="136" y="127"/>
                  </a:lnTo>
                  <a:lnTo>
                    <a:pt x="136" y="129"/>
                  </a:lnTo>
                  <a:lnTo>
                    <a:pt x="136" y="131"/>
                  </a:lnTo>
                  <a:lnTo>
                    <a:pt x="134" y="131"/>
                  </a:lnTo>
                  <a:lnTo>
                    <a:pt x="132" y="131"/>
                  </a:lnTo>
                  <a:lnTo>
                    <a:pt x="130" y="131"/>
                  </a:lnTo>
                  <a:lnTo>
                    <a:pt x="130" y="129"/>
                  </a:lnTo>
                  <a:lnTo>
                    <a:pt x="130" y="131"/>
                  </a:lnTo>
                  <a:lnTo>
                    <a:pt x="128" y="131"/>
                  </a:lnTo>
                  <a:lnTo>
                    <a:pt x="126" y="131"/>
                  </a:lnTo>
                  <a:lnTo>
                    <a:pt x="126" y="133"/>
                  </a:lnTo>
                  <a:lnTo>
                    <a:pt x="126" y="131"/>
                  </a:lnTo>
                  <a:lnTo>
                    <a:pt x="126" y="133"/>
                  </a:lnTo>
                  <a:lnTo>
                    <a:pt x="126" y="135"/>
                  </a:lnTo>
                  <a:lnTo>
                    <a:pt x="126" y="136"/>
                  </a:lnTo>
                  <a:lnTo>
                    <a:pt x="126" y="135"/>
                  </a:lnTo>
                  <a:lnTo>
                    <a:pt x="126" y="136"/>
                  </a:lnTo>
                  <a:lnTo>
                    <a:pt x="126" y="135"/>
                  </a:lnTo>
                  <a:lnTo>
                    <a:pt x="126" y="136"/>
                  </a:lnTo>
                  <a:lnTo>
                    <a:pt x="124" y="136"/>
                  </a:lnTo>
                  <a:lnTo>
                    <a:pt x="124" y="135"/>
                  </a:lnTo>
                  <a:lnTo>
                    <a:pt x="124" y="136"/>
                  </a:lnTo>
                  <a:lnTo>
                    <a:pt x="124" y="138"/>
                  </a:lnTo>
                  <a:lnTo>
                    <a:pt x="122" y="138"/>
                  </a:lnTo>
                  <a:lnTo>
                    <a:pt x="122" y="140"/>
                  </a:lnTo>
                  <a:lnTo>
                    <a:pt x="122" y="142"/>
                  </a:lnTo>
                  <a:lnTo>
                    <a:pt x="120" y="142"/>
                  </a:lnTo>
                  <a:lnTo>
                    <a:pt x="120" y="144"/>
                  </a:lnTo>
                  <a:lnTo>
                    <a:pt x="119" y="144"/>
                  </a:lnTo>
                  <a:lnTo>
                    <a:pt x="119" y="146"/>
                  </a:lnTo>
                  <a:lnTo>
                    <a:pt x="117" y="146"/>
                  </a:lnTo>
                  <a:lnTo>
                    <a:pt x="117" y="148"/>
                  </a:lnTo>
                  <a:lnTo>
                    <a:pt x="115" y="148"/>
                  </a:lnTo>
                  <a:lnTo>
                    <a:pt x="115" y="150"/>
                  </a:lnTo>
                  <a:lnTo>
                    <a:pt x="113" y="150"/>
                  </a:lnTo>
                  <a:lnTo>
                    <a:pt x="111" y="152"/>
                  </a:lnTo>
                  <a:lnTo>
                    <a:pt x="111" y="154"/>
                  </a:lnTo>
                  <a:lnTo>
                    <a:pt x="109" y="154"/>
                  </a:lnTo>
                  <a:lnTo>
                    <a:pt x="109" y="156"/>
                  </a:lnTo>
                  <a:lnTo>
                    <a:pt x="111" y="156"/>
                  </a:lnTo>
                  <a:lnTo>
                    <a:pt x="109" y="156"/>
                  </a:lnTo>
                  <a:lnTo>
                    <a:pt x="111" y="156"/>
                  </a:lnTo>
                  <a:lnTo>
                    <a:pt x="109" y="156"/>
                  </a:lnTo>
                  <a:lnTo>
                    <a:pt x="107" y="156"/>
                  </a:lnTo>
                  <a:lnTo>
                    <a:pt x="105" y="156"/>
                  </a:lnTo>
                  <a:lnTo>
                    <a:pt x="103" y="156"/>
                  </a:lnTo>
                  <a:lnTo>
                    <a:pt x="101" y="156"/>
                  </a:lnTo>
                  <a:lnTo>
                    <a:pt x="101" y="158"/>
                  </a:lnTo>
                  <a:lnTo>
                    <a:pt x="99" y="158"/>
                  </a:lnTo>
                  <a:lnTo>
                    <a:pt x="97" y="158"/>
                  </a:lnTo>
                  <a:lnTo>
                    <a:pt x="95" y="158"/>
                  </a:lnTo>
                  <a:lnTo>
                    <a:pt x="97" y="158"/>
                  </a:lnTo>
                  <a:lnTo>
                    <a:pt x="97" y="160"/>
                  </a:lnTo>
                  <a:lnTo>
                    <a:pt x="95" y="160"/>
                  </a:lnTo>
                  <a:lnTo>
                    <a:pt x="94" y="160"/>
                  </a:lnTo>
                  <a:lnTo>
                    <a:pt x="92" y="158"/>
                  </a:lnTo>
                  <a:lnTo>
                    <a:pt x="90" y="158"/>
                  </a:lnTo>
                  <a:lnTo>
                    <a:pt x="90" y="156"/>
                  </a:lnTo>
                  <a:lnTo>
                    <a:pt x="90" y="154"/>
                  </a:lnTo>
                  <a:lnTo>
                    <a:pt x="88" y="154"/>
                  </a:lnTo>
                  <a:lnTo>
                    <a:pt x="90" y="154"/>
                  </a:lnTo>
                  <a:lnTo>
                    <a:pt x="92" y="154"/>
                  </a:lnTo>
                  <a:lnTo>
                    <a:pt x="94" y="154"/>
                  </a:lnTo>
                  <a:lnTo>
                    <a:pt x="94" y="152"/>
                  </a:lnTo>
                  <a:lnTo>
                    <a:pt x="94" y="150"/>
                  </a:lnTo>
                  <a:lnTo>
                    <a:pt x="92" y="150"/>
                  </a:lnTo>
                  <a:lnTo>
                    <a:pt x="94" y="150"/>
                  </a:lnTo>
                  <a:lnTo>
                    <a:pt x="94" y="148"/>
                  </a:lnTo>
                  <a:lnTo>
                    <a:pt x="94" y="150"/>
                  </a:lnTo>
                  <a:lnTo>
                    <a:pt x="94" y="148"/>
                  </a:lnTo>
                  <a:lnTo>
                    <a:pt x="94" y="150"/>
                  </a:lnTo>
                  <a:lnTo>
                    <a:pt x="94" y="148"/>
                  </a:lnTo>
                  <a:lnTo>
                    <a:pt x="95" y="148"/>
                  </a:lnTo>
                  <a:lnTo>
                    <a:pt x="97" y="146"/>
                  </a:lnTo>
                  <a:lnTo>
                    <a:pt x="97" y="144"/>
                  </a:lnTo>
                  <a:lnTo>
                    <a:pt x="99" y="144"/>
                  </a:lnTo>
                  <a:lnTo>
                    <a:pt x="99" y="142"/>
                  </a:lnTo>
                  <a:lnTo>
                    <a:pt x="99" y="140"/>
                  </a:lnTo>
                  <a:lnTo>
                    <a:pt x="101" y="140"/>
                  </a:lnTo>
                  <a:lnTo>
                    <a:pt x="101" y="138"/>
                  </a:lnTo>
                  <a:lnTo>
                    <a:pt x="99" y="138"/>
                  </a:lnTo>
                  <a:lnTo>
                    <a:pt x="99" y="136"/>
                  </a:lnTo>
                  <a:lnTo>
                    <a:pt x="99" y="135"/>
                  </a:lnTo>
                  <a:lnTo>
                    <a:pt x="101" y="135"/>
                  </a:lnTo>
                  <a:lnTo>
                    <a:pt x="101" y="133"/>
                  </a:lnTo>
                  <a:lnTo>
                    <a:pt x="99" y="133"/>
                  </a:lnTo>
                  <a:lnTo>
                    <a:pt x="101" y="133"/>
                  </a:lnTo>
                  <a:lnTo>
                    <a:pt x="103" y="133"/>
                  </a:lnTo>
                  <a:lnTo>
                    <a:pt x="103" y="131"/>
                  </a:lnTo>
                  <a:lnTo>
                    <a:pt x="103" y="133"/>
                  </a:lnTo>
                  <a:lnTo>
                    <a:pt x="103" y="135"/>
                  </a:lnTo>
                  <a:lnTo>
                    <a:pt x="105" y="135"/>
                  </a:lnTo>
                  <a:lnTo>
                    <a:pt x="105" y="133"/>
                  </a:lnTo>
                  <a:lnTo>
                    <a:pt x="105" y="135"/>
                  </a:lnTo>
                  <a:lnTo>
                    <a:pt x="107" y="133"/>
                  </a:lnTo>
                  <a:lnTo>
                    <a:pt x="107" y="135"/>
                  </a:lnTo>
                  <a:lnTo>
                    <a:pt x="109" y="135"/>
                  </a:lnTo>
                  <a:lnTo>
                    <a:pt x="109" y="136"/>
                  </a:lnTo>
                  <a:lnTo>
                    <a:pt x="111" y="136"/>
                  </a:lnTo>
                  <a:lnTo>
                    <a:pt x="111" y="135"/>
                  </a:lnTo>
                  <a:lnTo>
                    <a:pt x="109" y="135"/>
                  </a:lnTo>
                  <a:lnTo>
                    <a:pt x="111" y="135"/>
                  </a:lnTo>
                  <a:lnTo>
                    <a:pt x="111" y="133"/>
                  </a:lnTo>
                  <a:lnTo>
                    <a:pt x="111" y="135"/>
                  </a:lnTo>
                  <a:lnTo>
                    <a:pt x="113" y="135"/>
                  </a:lnTo>
                  <a:lnTo>
                    <a:pt x="113" y="136"/>
                  </a:lnTo>
                  <a:lnTo>
                    <a:pt x="113" y="135"/>
                  </a:lnTo>
                  <a:lnTo>
                    <a:pt x="115" y="135"/>
                  </a:lnTo>
                  <a:lnTo>
                    <a:pt x="117" y="135"/>
                  </a:lnTo>
                  <a:lnTo>
                    <a:pt x="115" y="135"/>
                  </a:lnTo>
                  <a:lnTo>
                    <a:pt x="117" y="135"/>
                  </a:lnTo>
                  <a:lnTo>
                    <a:pt x="115" y="135"/>
                  </a:lnTo>
                  <a:lnTo>
                    <a:pt x="115" y="133"/>
                  </a:lnTo>
                  <a:lnTo>
                    <a:pt x="113" y="133"/>
                  </a:lnTo>
                  <a:lnTo>
                    <a:pt x="115" y="131"/>
                  </a:lnTo>
                  <a:lnTo>
                    <a:pt x="115" y="129"/>
                  </a:lnTo>
                  <a:lnTo>
                    <a:pt x="115" y="127"/>
                  </a:lnTo>
                  <a:lnTo>
                    <a:pt x="115" y="125"/>
                  </a:lnTo>
                  <a:lnTo>
                    <a:pt x="113" y="125"/>
                  </a:lnTo>
                  <a:lnTo>
                    <a:pt x="113" y="127"/>
                  </a:lnTo>
                  <a:lnTo>
                    <a:pt x="113" y="125"/>
                  </a:lnTo>
                  <a:lnTo>
                    <a:pt x="111" y="125"/>
                  </a:lnTo>
                  <a:lnTo>
                    <a:pt x="111" y="123"/>
                  </a:lnTo>
                  <a:lnTo>
                    <a:pt x="109" y="123"/>
                  </a:lnTo>
                  <a:lnTo>
                    <a:pt x="109" y="121"/>
                  </a:lnTo>
                  <a:lnTo>
                    <a:pt x="109" y="119"/>
                  </a:lnTo>
                  <a:lnTo>
                    <a:pt x="109" y="121"/>
                  </a:lnTo>
                  <a:lnTo>
                    <a:pt x="107" y="121"/>
                  </a:lnTo>
                  <a:lnTo>
                    <a:pt x="107" y="119"/>
                  </a:lnTo>
                  <a:lnTo>
                    <a:pt x="109" y="119"/>
                  </a:lnTo>
                  <a:lnTo>
                    <a:pt x="109" y="117"/>
                  </a:lnTo>
                  <a:lnTo>
                    <a:pt x="109" y="115"/>
                  </a:lnTo>
                  <a:lnTo>
                    <a:pt x="109" y="113"/>
                  </a:lnTo>
                  <a:lnTo>
                    <a:pt x="107" y="113"/>
                  </a:lnTo>
                  <a:lnTo>
                    <a:pt x="107" y="115"/>
                  </a:lnTo>
                  <a:lnTo>
                    <a:pt x="105" y="115"/>
                  </a:lnTo>
                  <a:lnTo>
                    <a:pt x="105" y="113"/>
                  </a:lnTo>
                  <a:lnTo>
                    <a:pt x="103" y="113"/>
                  </a:lnTo>
                  <a:lnTo>
                    <a:pt x="103" y="111"/>
                  </a:lnTo>
                  <a:lnTo>
                    <a:pt x="103" y="113"/>
                  </a:lnTo>
                  <a:lnTo>
                    <a:pt x="103" y="111"/>
                  </a:lnTo>
                  <a:lnTo>
                    <a:pt x="101" y="111"/>
                  </a:lnTo>
                  <a:lnTo>
                    <a:pt x="101" y="110"/>
                  </a:lnTo>
                  <a:lnTo>
                    <a:pt x="103" y="110"/>
                  </a:lnTo>
                  <a:lnTo>
                    <a:pt x="103" y="108"/>
                  </a:lnTo>
                  <a:lnTo>
                    <a:pt x="103" y="106"/>
                  </a:lnTo>
                  <a:lnTo>
                    <a:pt x="103" y="104"/>
                  </a:lnTo>
                  <a:lnTo>
                    <a:pt x="103" y="106"/>
                  </a:lnTo>
                  <a:lnTo>
                    <a:pt x="103" y="104"/>
                  </a:lnTo>
                  <a:lnTo>
                    <a:pt x="105" y="104"/>
                  </a:lnTo>
                  <a:lnTo>
                    <a:pt x="103" y="104"/>
                  </a:lnTo>
                  <a:lnTo>
                    <a:pt x="103" y="102"/>
                  </a:lnTo>
                  <a:lnTo>
                    <a:pt x="103" y="104"/>
                  </a:lnTo>
                  <a:lnTo>
                    <a:pt x="103" y="102"/>
                  </a:lnTo>
                  <a:lnTo>
                    <a:pt x="103" y="100"/>
                  </a:lnTo>
                  <a:lnTo>
                    <a:pt x="101" y="100"/>
                  </a:lnTo>
                  <a:lnTo>
                    <a:pt x="101" y="102"/>
                  </a:lnTo>
                  <a:lnTo>
                    <a:pt x="101" y="100"/>
                  </a:lnTo>
                  <a:lnTo>
                    <a:pt x="101" y="102"/>
                  </a:lnTo>
                  <a:lnTo>
                    <a:pt x="99" y="102"/>
                  </a:lnTo>
                  <a:lnTo>
                    <a:pt x="99" y="100"/>
                  </a:lnTo>
                  <a:lnTo>
                    <a:pt x="97" y="100"/>
                  </a:lnTo>
                  <a:lnTo>
                    <a:pt x="97" y="98"/>
                  </a:lnTo>
                  <a:lnTo>
                    <a:pt x="95" y="98"/>
                  </a:lnTo>
                  <a:lnTo>
                    <a:pt x="95" y="96"/>
                  </a:lnTo>
                  <a:lnTo>
                    <a:pt x="94" y="96"/>
                  </a:lnTo>
                  <a:lnTo>
                    <a:pt x="94" y="98"/>
                  </a:lnTo>
                  <a:lnTo>
                    <a:pt x="94" y="100"/>
                  </a:lnTo>
                  <a:lnTo>
                    <a:pt x="92" y="98"/>
                  </a:lnTo>
                  <a:lnTo>
                    <a:pt x="92" y="96"/>
                  </a:lnTo>
                  <a:lnTo>
                    <a:pt x="92" y="98"/>
                  </a:lnTo>
                  <a:lnTo>
                    <a:pt x="90" y="98"/>
                  </a:lnTo>
                  <a:lnTo>
                    <a:pt x="90" y="96"/>
                  </a:lnTo>
                  <a:lnTo>
                    <a:pt x="92" y="96"/>
                  </a:lnTo>
                  <a:lnTo>
                    <a:pt x="90" y="94"/>
                  </a:lnTo>
                  <a:lnTo>
                    <a:pt x="90" y="96"/>
                  </a:lnTo>
                  <a:lnTo>
                    <a:pt x="90" y="94"/>
                  </a:lnTo>
                  <a:lnTo>
                    <a:pt x="90" y="96"/>
                  </a:lnTo>
                  <a:lnTo>
                    <a:pt x="88" y="96"/>
                  </a:lnTo>
                  <a:lnTo>
                    <a:pt x="88" y="94"/>
                  </a:lnTo>
                  <a:lnTo>
                    <a:pt x="88" y="96"/>
                  </a:lnTo>
                  <a:lnTo>
                    <a:pt x="86" y="96"/>
                  </a:lnTo>
                  <a:lnTo>
                    <a:pt x="86" y="94"/>
                  </a:lnTo>
                  <a:lnTo>
                    <a:pt x="84" y="94"/>
                  </a:lnTo>
                  <a:lnTo>
                    <a:pt x="84" y="92"/>
                  </a:lnTo>
                  <a:lnTo>
                    <a:pt x="82" y="90"/>
                  </a:lnTo>
                  <a:lnTo>
                    <a:pt x="80" y="90"/>
                  </a:lnTo>
                  <a:lnTo>
                    <a:pt x="78" y="90"/>
                  </a:lnTo>
                  <a:lnTo>
                    <a:pt x="78" y="92"/>
                  </a:lnTo>
                  <a:lnTo>
                    <a:pt x="76" y="92"/>
                  </a:lnTo>
                  <a:lnTo>
                    <a:pt x="76" y="90"/>
                  </a:lnTo>
                  <a:lnTo>
                    <a:pt x="74" y="92"/>
                  </a:lnTo>
                  <a:lnTo>
                    <a:pt x="72" y="92"/>
                  </a:lnTo>
                  <a:lnTo>
                    <a:pt x="72" y="90"/>
                  </a:lnTo>
                  <a:lnTo>
                    <a:pt x="71" y="90"/>
                  </a:lnTo>
                  <a:lnTo>
                    <a:pt x="71" y="92"/>
                  </a:lnTo>
                  <a:lnTo>
                    <a:pt x="72" y="92"/>
                  </a:lnTo>
                  <a:lnTo>
                    <a:pt x="71" y="92"/>
                  </a:lnTo>
                  <a:lnTo>
                    <a:pt x="69" y="92"/>
                  </a:lnTo>
                  <a:lnTo>
                    <a:pt x="69" y="90"/>
                  </a:lnTo>
                  <a:lnTo>
                    <a:pt x="69" y="92"/>
                  </a:lnTo>
                  <a:lnTo>
                    <a:pt x="69" y="90"/>
                  </a:lnTo>
                  <a:lnTo>
                    <a:pt x="67" y="90"/>
                  </a:lnTo>
                  <a:lnTo>
                    <a:pt x="67" y="92"/>
                  </a:lnTo>
                  <a:lnTo>
                    <a:pt x="69" y="92"/>
                  </a:lnTo>
                  <a:lnTo>
                    <a:pt x="69" y="94"/>
                  </a:lnTo>
                  <a:lnTo>
                    <a:pt x="67" y="94"/>
                  </a:lnTo>
                  <a:lnTo>
                    <a:pt x="67" y="92"/>
                  </a:lnTo>
                  <a:lnTo>
                    <a:pt x="67" y="94"/>
                  </a:lnTo>
                  <a:lnTo>
                    <a:pt x="65" y="94"/>
                  </a:lnTo>
                  <a:lnTo>
                    <a:pt x="65" y="96"/>
                  </a:lnTo>
                  <a:lnTo>
                    <a:pt x="65" y="94"/>
                  </a:lnTo>
                  <a:lnTo>
                    <a:pt x="65" y="96"/>
                  </a:lnTo>
                  <a:lnTo>
                    <a:pt x="63" y="96"/>
                  </a:lnTo>
                  <a:lnTo>
                    <a:pt x="61" y="96"/>
                  </a:lnTo>
                  <a:lnTo>
                    <a:pt x="61" y="98"/>
                  </a:lnTo>
                  <a:lnTo>
                    <a:pt x="59" y="98"/>
                  </a:lnTo>
                  <a:lnTo>
                    <a:pt x="59" y="100"/>
                  </a:lnTo>
                  <a:lnTo>
                    <a:pt x="57" y="100"/>
                  </a:lnTo>
                  <a:lnTo>
                    <a:pt x="57" y="102"/>
                  </a:lnTo>
                  <a:lnTo>
                    <a:pt x="57" y="100"/>
                  </a:lnTo>
                  <a:lnTo>
                    <a:pt x="55" y="102"/>
                  </a:lnTo>
                  <a:lnTo>
                    <a:pt x="53" y="102"/>
                  </a:lnTo>
                  <a:lnTo>
                    <a:pt x="51" y="102"/>
                  </a:lnTo>
                  <a:lnTo>
                    <a:pt x="49" y="102"/>
                  </a:lnTo>
                  <a:lnTo>
                    <a:pt x="48" y="102"/>
                  </a:lnTo>
                  <a:lnTo>
                    <a:pt x="46" y="102"/>
                  </a:lnTo>
                  <a:lnTo>
                    <a:pt x="46" y="104"/>
                  </a:lnTo>
                  <a:lnTo>
                    <a:pt x="44" y="104"/>
                  </a:lnTo>
                  <a:lnTo>
                    <a:pt x="44" y="106"/>
                  </a:lnTo>
                  <a:lnTo>
                    <a:pt x="42" y="106"/>
                  </a:lnTo>
                  <a:lnTo>
                    <a:pt x="40" y="106"/>
                  </a:lnTo>
                  <a:lnTo>
                    <a:pt x="40" y="104"/>
                  </a:lnTo>
                  <a:lnTo>
                    <a:pt x="38" y="104"/>
                  </a:lnTo>
                  <a:lnTo>
                    <a:pt x="36" y="104"/>
                  </a:lnTo>
                  <a:lnTo>
                    <a:pt x="38" y="104"/>
                  </a:lnTo>
                  <a:lnTo>
                    <a:pt x="36" y="104"/>
                  </a:lnTo>
                  <a:lnTo>
                    <a:pt x="36" y="102"/>
                  </a:lnTo>
                  <a:lnTo>
                    <a:pt x="34" y="102"/>
                  </a:lnTo>
                  <a:lnTo>
                    <a:pt x="32" y="102"/>
                  </a:lnTo>
                  <a:lnTo>
                    <a:pt x="30" y="102"/>
                  </a:lnTo>
                  <a:lnTo>
                    <a:pt x="28" y="102"/>
                  </a:lnTo>
                  <a:lnTo>
                    <a:pt x="26" y="102"/>
                  </a:lnTo>
                  <a:lnTo>
                    <a:pt x="24" y="102"/>
                  </a:lnTo>
                  <a:lnTo>
                    <a:pt x="24" y="100"/>
                  </a:lnTo>
                  <a:lnTo>
                    <a:pt x="23" y="100"/>
                  </a:lnTo>
                  <a:lnTo>
                    <a:pt x="21" y="100"/>
                  </a:lnTo>
                  <a:lnTo>
                    <a:pt x="21" y="102"/>
                  </a:lnTo>
                  <a:lnTo>
                    <a:pt x="19" y="102"/>
                  </a:lnTo>
                  <a:lnTo>
                    <a:pt x="21" y="102"/>
                  </a:lnTo>
                  <a:lnTo>
                    <a:pt x="19" y="102"/>
                  </a:lnTo>
                  <a:lnTo>
                    <a:pt x="19" y="100"/>
                  </a:lnTo>
                  <a:lnTo>
                    <a:pt x="17" y="100"/>
                  </a:lnTo>
                  <a:lnTo>
                    <a:pt x="17" y="98"/>
                  </a:lnTo>
                  <a:lnTo>
                    <a:pt x="15" y="98"/>
                  </a:lnTo>
                  <a:lnTo>
                    <a:pt x="13" y="98"/>
                  </a:lnTo>
                  <a:lnTo>
                    <a:pt x="13" y="100"/>
                  </a:lnTo>
                  <a:lnTo>
                    <a:pt x="15" y="100"/>
                  </a:lnTo>
                  <a:lnTo>
                    <a:pt x="13" y="100"/>
                  </a:lnTo>
                  <a:lnTo>
                    <a:pt x="15" y="100"/>
                  </a:lnTo>
                  <a:lnTo>
                    <a:pt x="13" y="100"/>
                  </a:lnTo>
                  <a:lnTo>
                    <a:pt x="11" y="100"/>
                  </a:lnTo>
                  <a:lnTo>
                    <a:pt x="11" y="102"/>
                  </a:lnTo>
                  <a:lnTo>
                    <a:pt x="11" y="100"/>
                  </a:lnTo>
                  <a:lnTo>
                    <a:pt x="11" y="102"/>
                  </a:lnTo>
                  <a:lnTo>
                    <a:pt x="11" y="100"/>
                  </a:lnTo>
                  <a:lnTo>
                    <a:pt x="9" y="100"/>
                  </a:lnTo>
                  <a:lnTo>
                    <a:pt x="11" y="100"/>
                  </a:lnTo>
                  <a:lnTo>
                    <a:pt x="11" y="98"/>
                  </a:lnTo>
                  <a:lnTo>
                    <a:pt x="9" y="98"/>
                  </a:lnTo>
                  <a:lnTo>
                    <a:pt x="7" y="98"/>
                  </a:lnTo>
                  <a:lnTo>
                    <a:pt x="7" y="96"/>
                  </a:lnTo>
                  <a:lnTo>
                    <a:pt x="5" y="96"/>
                  </a:lnTo>
                  <a:lnTo>
                    <a:pt x="5" y="94"/>
                  </a:lnTo>
                  <a:lnTo>
                    <a:pt x="5" y="96"/>
                  </a:lnTo>
                  <a:lnTo>
                    <a:pt x="5" y="94"/>
                  </a:lnTo>
                  <a:lnTo>
                    <a:pt x="3" y="94"/>
                  </a:lnTo>
                  <a:lnTo>
                    <a:pt x="3" y="96"/>
                  </a:lnTo>
                  <a:lnTo>
                    <a:pt x="3" y="94"/>
                  </a:lnTo>
                  <a:lnTo>
                    <a:pt x="1" y="94"/>
                  </a:lnTo>
                  <a:lnTo>
                    <a:pt x="1" y="92"/>
                  </a:lnTo>
                  <a:lnTo>
                    <a:pt x="1" y="90"/>
                  </a:lnTo>
                  <a:lnTo>
                    <a:pt x="0" y="90"/>
                  </a:lnTo>
                  <a:lnTo>
                    <a:pt x="0" y="92"/>
                  </a:lnTo>
                  <a:lnTo>
                    <a:pt x="0" y="90"/>
                  </a:lnTo>
                  <a:lnTo>
                    <a:pt x="0" y="88"/>
                  </a:lnTo>
                  <a:lnTo>
                    <a:pt x="0" y="87"/>
                  </a:lnTo>
                  <a:lnTo>
                    <a:pt x="1" y="87"/>
                  </a:lnTo>
                  <a:lnTo>
                    <a:pt x="1" y="85"/>
                  </a:lnTo>
                  <a:lnTo>
                    <a:pt x="3" y="85"/>
                  </a:lnTo>
                  <a:lnTo>
                    <a:pt x="3" y="83"/>
                  </a:lnTo>
                  <a:lnTo>
                    <a:pt x="3" y="81"/>
                  </a:lnTo>
                  <a:lnTo>
                    <a:pt x="3" y="79"/>
                  </a:lnTo>
                  <a:lnTo>
                    <a:pt x="5" y="79"/>
                  </a:lnTo>
                  <a:lnTo>
                    <a:pt x="5" y="77"/>
                  </a:lnTo>
                  <a:lnTo>
                    <a:pt x="7" y="77"/>
                  </a:lnTo>
                  <a:lnTo>
                    <a:pt x="9" y="77"/>
                  </a:lnTo>
                  <a:lnTo>
                    <a:pt x="9" y="79"/>
                  </a:lnTo>
                  <a:lnTo>
                    <a:pt x="11" y="79"/>
                  </a:lnTo>
                  <a:lnTo>
                    <a:pt x="11" y="77"/>
                  </a:lnTo>
                  <a:lnTo>
                    <a:pt x="11" y="75"/>
                  </a:lnTo>
                  <a:lnTo>
                    <a:pt x="9" y="75"/>
                  </a:lnTo>
                  <a:lnTo>
                    <a:pt x="7" y="75"/>
                  </a:lnTo>
                  <a:lnTo>
                    <a:pt x="9" y="75"/>
                  </a:lnTo>
                  <a:lnTo>
                    <a:pt x="9" y="73"/>
                  </a:lnTo>
                  <a:lnTo>
                    <a:pt x="7" y="73"/>
                  </a:lnTo>
                  <a:lnTo>
                    <a:pt x="9" y="73"/>
                  </a:lnTo>
                  <a:lnTo>
                    <a:pt x="9" y="71"/>
                  </a:lnTo>
                  <a:lnTo>
                    <a:pt x="9" y="69"/>
                  </a:lnTo>
                  <a:lnTo>
                    <a:pt x="7" y="69"/>
                  </a:lnTo>
                  <a:lnTo>
                    <a:pt x="7" y="67"/>
                  </a:lnTo>
                  <a:lnTo>
                    <a:pt x="7" y="65"/>
                  </a:lnTo>
                  <a:lnTo>
                    <a:pt x="9" y="65"/>
                  </a:lnTo>
                  <a:lnTo>
                    <a:pt x="9" y="63"/>
                  </a:lnTo>
                  <a:lnTo>
                    <a:pt x="9" y="62"/>
                  </a:lnTo>
                  <a:lnTo>
                    <a:pt x="11" y="62"/>
                  </a:lnTo>
                  <a:lnTo>
                    <a:pt x="11" y="60"/>
                  </a:lnTo>
                  <a:lnTo>
                    <a:pt x="13" y="60"/>
                  </a:lnTo>
                  <a:lnTo>
                    <a:pt x="13" y="58"/>
                  </a:lnTo>
                  <a:lnTo>
                    <a:pt x="15" y="58"/>
                  </a:lnTo>
                  <a:lnTo>
                    <a:pt x="15" y="56"/>
                  </a:lnTo>
                  <a:lnTo>
                    <a:pt x="15" y="54"/>
                  </a:lnTo>
                  <a:lnTo>
                    <a:pt x="17" y="54"/>
                  </a:lnTo>
                  <a:lnTo>
                    <a:pt x="17" y="52"/>
                  </a:lnTo>
                  <a:lnTo>
                    <a:pt x="19" y="52"/>
                  </a:lnTo>
                  <a:lnTo>
                    <a:pt x="19" y="50"/>
                  </a:lnTo>
                  <a:lnTo>
                    <a:pt x="21" y="50"/>
                  </a:lnTo>
                  <a:lnTo>
                    <a:pt x="21" y="48"/>
                  </a:lnTo>
                  <a:lnTo>
                    <a:pt x="23" y="48"/>
                  </a:lnTo>
                  <a:lnTo>
                    <a:pt x="23" y="46"/>
                  </a:lnTo>
                  <a:lnTo>
                    <a:pt x="24" y="46"/>
                  </a:lnTo>
                  <a:lnTo>
                    <a:pt x="26" y="46"/>
                  </a:lnTo>
                  <a:lnTo>
                    <a:pt x="28" y="46"/>
                  </a:lnTo>
                  <a:lnTo>
                    <a:pt x="28" y="44"/>
                  </a:lnTo>
                  <a:lnTo>
                    <a:pt x="28" y="42"/>
                  </a:lnTo>
                  <a:lnTo>
                    <a:pt x="28" y="40"/>
                  </a:lnTo>
                  <a:lnTo>
                    <a:pt x="28" y="38"/>
                  </a:lnTo>
                  <a:lnTo>
                    <a:pt x="26" y="38"/>
                  </a:lnTo>
                  <a:lnTo>
                    <a:pt x="26" y="37"/>
                  </a:lnTo>
                  <a:lnTo>
                    <a:pt x="28" y="37"/>
                  </a:lnTo>
                  <a:lnTo>
                    <a:pt x="28" y="35"/>
                  </a:lnTo>
                  <a:lnTo>
                    <a:pt x="26" y="35"/>
                  </a:lnTo>
                  <a:lnTo>
                    <a:pt x="26" y="33"/>
                  </a:lnTo>
                  <a:lnTo>
                    <a:pt x="26" y="31"/>
                  </a:lnTo>
                  <a:lnTo>
                    <a:pt x="24" y="31"/>
                  </a:lnTo>
                  <a:lnTo>
                    <a:pt x="24" y="29"/>
                  </a:lnTo>
                  <a:lnTo>
                    <a:pt x="23" y="29"/>
                  </a:lnTo>
                  <a:lnTo>
                    <a:pt x="23" y="27"/>
                  </a:lnTo>
                  <a:lnTo>
                    <a:pt x="23" y="25"/>
                  </a:lnTo>
                  <a:lnTo>
                    <a:pt x="23" y="27"/>
                  </a:lnTo>
                  <a:lnTo>
                    <a:pt x="23" y="25"/>
                  </a:lnTo>
                  <a:lnTo>
                    <a:pt x="23" y="27"/>
                  </a:lnTo>
                  <a:lnTo>
                    <a:pt x="23" y="25"/>
                  </a:lnTo>
                  <a:lnTo>
                    <a:pt x="23" y="27"/>
                  </a:lnTo>
                  <a:lnTo>
                    <a:pt x="23" y="25"/>
                  </a:lnTo>
                  <a:lnTo>
                    <a:pt x="23" y="27"/>
                  </a:lnTo>
                  <a:lnTo>
                    <a:pt x="23" y="25"/>
                  </a:lnTo>
                  <a:lnTo>
                    <a:pt x="23" y="23"/>
                  </a:lnTo>
                  <a:lnTo>
                    <a:pt x="23" y="21"/>
                  </a:lnTo>
                  <a:lnTo>
                    <a:pt x="21" y="21"/>
                  </a:lnTo>
                  <a:lnTo>
                    <a:pt x="23" y="21"/>
                  </a:lnTo>
                  <a:lnTo>
                    <a:pt x="23" y="19"/>
                  </a:lnTo>
                  <a:lnTo>
                    <a:pt x="21" y="19"/>
                  </a:lnTo>
                  <a:lnTo>
                    <a:pt x="21" y="17"/>
                  </a:lnTo>
                  <a:lnTo>
                    <a:pt x="23" y="17"/>
                  </a:lnTo>
                  <a:lnTo>
                    <a:pt x="24" y="17"/>
                  </a:lnTo>
                  <a:lnTo>
                    <a:pt x="26" y="17"/>
                  </a:lnTo>
                  <a:lnTo>
                    <a:pt x="24" y="17"/>
                  </a:lnTo>
                  <a:lnTo>
                    <a:pt x="24" y="19"/>
                  </a:lnTo>
                  <a:lnTo>
                    <a:pt x="26" y="19"/>
                  </a:lnTo>
                  <a:lnTo>
                    <a:pt x="28" y="19"/>
                  </a:lnTo>
                  <a:lnTo>
                    <a:pt x="28" y="17"/>
                  </a:lnTo>
                  <a:lnTo>
                    <a:pt x="30" y="17"/>
                  </a:lnTo>
                  <a:lnTo>
                    <a:pt x="30" y="15"/>
                  </a:lnTo>
                  <a:lnTo>
                    <a:pt x="32" y="15"/>
                  </a:lnTo>
                  <a:lnTo>
                    <a:pt x="32" y="14"/>
                  </a:lnTo>
                  <a:lnTo>
                    <a:pt x="32" y="12"/>
                  </a:lnTo>
                  <a:lnTo>
                    <a:pt x="34" y="12"/>
                  </a:lnTo>
                  <a:lnTo>
                    <a:pt x="36" y="12"/>
                  </a:lnTo>
                  <a:lnTo>
                    <a:pt x="38" y="12"/>
                  </a:lnTo>
                  <a:lnTo>
                    <a:pt x="40" y="12"/>
                  </a:lnTo>
                  <a:lnTo>
                    <a:pt x="42" y="12"/>
                  </a:lnTo>
                  <a:lnTo>
                    <a:pt x="42" y="10"/>
                  </a:lnTo>
                  <a:lnTo>
                    <a:pt x="44" y="10"/>
                  </a:lnTo>
                  <a:lnTo>
                    <a:pt x="46" y="10"/>
                  </a:lnTo>
                  <a:lnTo>
                    <a:pt x="46" y="12"/>
                  </a:lnTo>
                  <a:lnTo>
                    <a:pt x="48" y="12"/>
                  </a:lnTo>
                  <a:lnTo>
                    <a:pt x="49" y="12"/>
                  </a:lnTo>
                  <a:lnTo>
                    <a:pt x="51" y="12"/>
                  </a:lnTo>
                  <a:lnTo>
                    <a:pt x="53" y="12"/>
                  </a:lnTo>
                  <a:lnTo>
                    <a:pt x="53" y="10"/>
                  </a:lnTo>
                  <a:lnTo>
                    <a:pt x="53" y="12"/>
                  </a:lnTo>
                  <a:lnTo>
                    <a:pt x="55" y="12"/>
                  </a:lnTo>
                  <a:lnTo>
                    <a:pt x="57" y="12"/>
                  </a:lnTo>
                  <a:lnTo>
                    <a:pt x="55" y="12"/>
                  </a:lnTo>
                  <a:lnTo>
                    <a:pt x="57" y="12"/>
                  </a:lnTo>
                  <a:lnTo>
                    <a:pt x="59" y="12"/>
                  </a:lnTo>
                  <a:lnTo>
                    <a:pt x="61" y="12"/>
                  </a:lnTo>
                  <a:lnTo>
                    <a:pt x="61" y="14"/>
                  </a:lnTo>
                  <a:lnTo>
                    <a:pt x="61" y="12"/>
                  </a:lnTo>
                  <a:lnTo>
                    <a:pt x="61" y="14"/>
                  </a:lnTo>
                  <a:lnTo>
                    <a:pt x="61" y="12"/>
                  </a:lnTo>
                  <a:lnTo>
                    <a:pt x="61" y="14"/>
                  </a:lnTo>
                  <a:lnTo>
                    <a:pt x="63" y="12"/>
                  </a:lnTo>
                  <a:lnTo>
                    <a:pt x="63" y="14"/>
                  </a:lnTo>
                  <a:lnTo>
                    <a:pt x="65" y="14"/>
                  </a:lnTo>
                  <a:lnTo>
                    <a:pt x="67" y="14"/>
                  </a:lnTo>
                  <a:lnTo>
                    <a:pt x="67" y="15"/>
                  </a:lnTo>
                  <a:lnTo>
                    <a:pt x="67" y="14"/>
                  </a:lnTo>
                  <a:lnTo>
                    <a:pt x="67" y="15"/>
                  </a:lnTo>
                  <a:lnTo>
                    <a:pt x="69" y="15"/>
                  </a:lnTo>
                  <a:lnTo>
                    <a:pt x="71" y="15"/>
                  </a:lnTo>
                  <a:lnTo>
                    <a:pt x="74" y="15"/>
                  </a:lnTo>
                  <a:lnTo>
                    <a:pt x="74" y="17"/>
                  </a:lnTo>
                  <a:lnTo>
                    <a:pt x="74" y="19"/>
                  </a:lnTo>
                  <a:lnTo>
                    <a:pt x="76" y="19"/>
                  </a:lnTo>
                  <a:lnTo>
                    <a:pt x="78" y="17"/>
                  </a:lnTo>
                  <a:lnTo>
                    <a:pt x="78" y="19"/>
                  </a:lnTo>
                  <a:lnTo>
                    <a:pt x="78" y="17"/>
                  </a:lnTo>
                  <a:lnTo>
                    <a:pt x="80" y="17"/>
                  </a:lnTo>
                  <a:lnTo>
                    <a:pt x="80" y="19"/>
                  </a:lnTo>
                  <a:lnTo>
                    <a:pt x="82" y="19"/>
                  </a:lnTo>
                  <a:lnTo>
                    <a:pt x="80" y="19"/>
                  </a:lnTo>
                  <a:lnTo>
                    <a:pt x="80" y="21"/>
                  </a:lnTo>
                  <a:lnTo>
                    <a:pt x="82" y="21"/>
                  </a:lnTo>
                  <a:lnTo>
                    <a:pt x="84" y="19"/>
                  </a:lnTo>
                  <a:lnTo>
                    <a:pt x="82" y="19"/>
                  </a:lnTo>
                  <a:lnTo>
                    <a:pt x="84" y="19"/>
                  </a:lnTo>
                  <a:lnTo>
                    <a:pt x="82" y="19"/>
                  </a:lnTo>
                  <a:lnTo>
                    <a:pt x="84" y="17"/>
                  </a:lnTo>
                  <a:lnTo>
                    <a:pt x="84" y="19"/>
                  </a:lnTo>
                  <a:lnTo>
                    <a:pt x="86" y="19"/>
                  </a:lnTo>
                  <a:lnTo>
                    <a:pt x="84" y="19"/>
                  </a:lnTo>
                  <a:lnTo>
                    <a:pt x="86" y="19"/>
                  </a:lnTo>
                  <a:lnTo>
                    <a:pt x="88" y="19"/>
                  </a:lnTo>
                  <a:lnTo>
                    <a:pt x="88" y="17"/>
                  </a:lnTo>
                  <a:lnTo>
                    <a:pt x="90" y="17"/>
                  </a:lnTo>
                  <a:lnTo>
                    <a:pt x="90" y="19"/>
                  </a:lnTo>
                  <a:lnTo>
                    <a:pt x="92" y="19"/>
                  </a:lnTo>
                  <a:lnTo>
                    <a:pt x="94" y="19"/>
                  </a:lnTo>
                  <a:lnTo>
                    <a:pt x="95" y="19"/>
                  </a:lnTo>
                  <a:lnTo>
                    <a:pt x="95" y="21"/>
                  </a:lnTo>
                  <a:lnTo>
                    <a:pt x="95" y="23"/>
                  </a:lnTo>
                  <a:lnTo>
                    <a:pt x="95" y="21"/>
                  </a:lnTo>
                  <a:lnTo>
                    <a:pt x="95" y="23"/>
                  </a:lnTo>
                  <a:lnTo>
                    <a:pt x="97" y="23"/>
                  </a:lnTo>
                  <a:lnTo>
                    <a:pt x="97" y="21"/>
                  </a:lnTo>
                  <a:lnTo>
                    <a:pt x="97" y="19"/>
                  </a:lnTo>
                  <a:lnTo>
                    <a:pt x="99" y="19"/>
                  </a:lnTo>
                  <a:lnTo>
                    <a:pt x="101" y="19"/>
                  </a:lnTo>
                  <a:lnTo>
                    <a:pt x="101" y="17"/>
                  </a:lnTo>
                  <a:lnTo>
                    <a:pt x="103" y="17"/>
                  </a:lnTo>
                  <a:lnTo>
                    <a:pt x="103" y="19"/>
                  </a:lnTo>
                  <a:lnTo>
                    <a:pt x="103" y="21"/>
                  </a:lnTo>
                  <a:lnTo>
                    <a:pt x="105" y="21"/>
                  </a:lnTo>
                  <a:lnTo>
                    <a:pt x="105" y="23"/>
                  </a:lnTo>
                  <a:lnTo>
                    <a:pt x="107" y="23"/>
                  </a:lnTo>
                  <a:lnTo>
                    <a:pt x="107" y="21"/>
                  </a:lnTo>
                  <a:lnTo>
                    <a:pt x="109" y="21"/>
                  </a:lnTo>
                  <a:lnTo>
                    <a:pt x="111" y="21"/>
                  </a:lnTo>
                  <a:lnTo>
                    <a:pt x="111" y="23"/>
                  </a:lnTo>
                  <a:lnTo>
                    <a:pt x="111" y="21"/>
                  </a:lnTo>
                  <a:lnTo>
                    <a:pt x="113" y="21"/>
                  </a:lnTo>
                  <a:lnTo>
                    <a:pt x="113" y="23"/>
                  </a:lnTo>
                  <a:lnTo>
                    <a:pt x="113" y="21"/>
                  </a:lnTo>
                  <a:lnTo>
                    <a:pt x="113" y="23"/>
                  </a:lnTo>
                  <a:lnTo>
                    <a:pt x="113" y="21"/>
                  </a:lnTo>
                  <a:lnTo>
                    <a:pt x="115" y="21"/>
                  </a:lnTo>
                  <a:lnTo>
                    <a:pt x="117" y="21"/>
                  </a:lnTo>
                  <a:lnTo>
                    <a:pt x="119" y="21"/>
                  </a:lnTo>
                  <a:lnTo>
                    <a:pt x="119" y="23"/>
                  </a:lnTo>
                  <a:lnTo>
                    <a:pt x="120" y="23"/>
                  </a:lnTo>
                  <a:lnTo>
                    <a:pt x="120" y="25"/>
                  </a:lnTo>
                  <a:lnTo>
                    <a:pt x="119" y="25"/>
                  </a:lnTo>
                  <a:lnTo>
                    <a:pt x="120" y="25"/>
                  </a:lnTo>
                  <a:lnTo>
                    <a:pt x="122" y="25"/>
                  </a:lnTo>
                  <a:lnTo>
                    <a:pt x="122" y="27"/>
                  </a:lnTo>
                  <a:lnTo>
                    <a:pt x="120" y="27"/>
                  </a:lnTo>
                  <a:lnTo>
                    <a:pt x="122" y="27"/>
                  </a:lnTo>
                  <a:lnTo>
                    <a:pt x="124" y="27"/>
                  </a:lnTo>
                  <a:lnTo>
                    <a:pt x="124" y="25"/>
                  </a:lnTo>
                  <a:lnTo>
                    <a:pt x="124" y="23"/>
                  </a:lnTo>
                  <a:lnTo>
                    <a:pt x="122" y="23"/>
                  </a:lnTo>
                  <a:lnTo>
                    <a:pt x="124" y="21"/>
                  </a:lnTo>
                  <a:lnTo>
                    <a:pt x="122" y="21"/>
                  </a:lnTo>
                  <a:lnTo>
                    <a:pt x="122" y="19"/>
                  </a:lnTo>
                  <a:lnTo>
                    <a:pt x="122" y="17"/>
                  </a:lnTo>
                  <a:lnTo>
                    <a:pt x="122" y="15"/>
                  </a:lnTo>
                  <a:lnTo>
                    <a:pt x="124" y="15"/>
                  </a:lnTo>
                  <a:lnTo>
                    <a:pt x="124" y="14"/>
                  </a:lnTo>
                  <a:lnTo>
                    <a:pt x="124" y="12"/>
                  </a:lnTo>
                  <a:lnTo>
                    <a:pt x="126" y="12"/>
                  </a:lnTo>
                  <a:lnTo>
                    <a:pt x="126" y="10"/>
                  </a:lnTo>
                  <a:lnTo>
                    <a:pt x="128" y="10"/>
                  </a:lnTo>
                  <a:lnTo>
                    <a:pt x="126" y="10"/>
                  </a:lnTo>
                  <a:lnTo>
                    <a:pt x="128" y="10"/>
                  </a:lnTo>
                  <a:lnTo>
                    <a:pt x="128" y="8"/>
                  </a:lnTo>
                  <a:lnTo>
                    <a:pt x="130" y="8"/>
                  </a:lnTo>
                  <a:lnTo>
                    <a:pt x="132" y="8"/>
                  </a:lnTo>
                  <a:lnTo>
                    <a:pt x="134" y="8"/>
                  </a:lnTo>
                  <a:lnTo>
                    <a:pt x="134" y="6"/>
                  </a:lnTo>
                  <a:lnTo>
                    <a:pt x="136" y="6"/>
                  </a:lnTo>
                  <a:lnTo>
                    <a:pt x="134" y="6"/>
                  </a:lnTo>
                  <a:lnTo>
                    <a:pt x="136" y="6"/>
                  </a:lnTo>
                  <a:lnTo>
                    <a:pt x="138" y="6"/>
                  </a:lnTo>
                  <a:lnTo>
                    <a:pt x="140" y="6"/>
                  </a:lnTo>
                  <a:lnTo>
                    <a:pt x="140" y="8"/>
                  </a:lnTo>
                  <a:lnTo>
                    <a:pt x="140" y="6"/>
                  </a:lnTo>
                  <a:lnTo>
                    <a:pt x="142" y="6"/>
                  </a:lnTo>
                  <a:lnTo>
                    <a:pt x="142" y="8"/>
                  </a:lnTo>
                  <a:lnTo>
                    <a:pt x="142" y="6"/>
                  </a:lnTo>
                  <a:lnTo>
                    <a:pt x="142" y="8"/>
                  </a:lnTo>
                  <a:lnTo>
                    <a:pt x="143" y="8"/>
                  </a:lnTo>
                  <a:lnTo>
                    <a:pt x="145" y="8"/>
                  </a:lnTo>
                  <a:lnTo>
                    <a:pt x="147" y="8"/>
                  </a:lnTo>
                  <a:lnTo>
                    <a:pt x="147" y="6"/>
                  </a:lnTo>
                  <a:lnTo>
                    <a:pt x="149" y="6"/>
                  </a:lnTo>
                  <a:lnTo>
                    <a:pt x="147" y="6"/>
                  </a:lnTo>
                  <a:lnTo>
                    <a:pt x="149" y="6"/>
                  </a:lnTo>
                  <a:lnTo>
                    <a:pt x="149" y="4"/>
                  </a:lnTo>
                  <a:lnTo>
                    <a:pt x="149" y="2"/>
                  </a:lnTo>
                  <a:lnTo>
                    <a:pt x="151" y="2"/>
                  </a:lnTo>
                  <a:lnTo>
                    <a:pt x="153" y="2"/>
                  </a:lnTo>
                  <a:lnTo>
                    <a:pt x="153" y="4"/>
                  </a:lnTo>
                  <a:lnTo>
                    <a:pt x="155" y="4"/>
                  </a:lnTo>
                  <a:lnTo>
                    <a:pt x="155" y="2"/>
                  </a:lnTo>
                  <a:lnTo>
                    <a:pt x="155" y="4"/>
                  </a:lnTo>
                  <a:lnTo>
                    <a:pt x="155" y="2"/>
                  </a:lnTo>
                  <a:lnTo>
                    <a:pt x="155" y="4"/>
                  </a:lnTo>
                  <a:lnTo>
                    <a:pt x="157" y="2"/>
                  </a:lnTo>
                  <a:lnTo>
                    <a:pt x="157" y="4"/>
                  </a:lnTo>
                  <a:lnTo>
                    <a:pt x="159" y="2"/>
                  </a:lnTo>
                  <a:lnTo>
                    <a:pt x="161" y="2"/>
                  </a:lnTo>
                  <a:lnTo>
                    <a:pt x="161" y="0"/>
                  </a:lnTo>
                  <a:lnTo>
                    <a:pt x="163" y="0"/>
                  </a:lnTo>
                  <a:lnTo>
                    <a:pt x="165" y="0"/>
                  </a:lnTo>
                  <a:lnTo>
                    <a:pt x="165" y="2"/>
                  </a:lnTo>
                  <a:lnTo>
                    <a:pt x="165" y="0"/>
                  </a:lnTo>
                  <a:lnTo>
                    <a:pt x="167" y="0"/>
                  </a:lnTo>
                  <a:lnTo>
                    <a:pt x="167" y="2"/>
                  </a:lnTo>
                  <a:lnTo>
                    <a:pt x="168" y="2"/>
                  </a:lnTo>
                  <a:lnTo>
                    <a:pt x="168" y="0"/>
                  </a:lnTo>
                  <a:lnTo>
                    <a:pt x="170" y="0"/>
                  </a:lnTo>
                  <a:lnTo>
                    <a:pt x="170" y="2"/>
                  </a:lnTo>
                  <a:lnTo>
                    <a:pt x="172" y="2"/>
                  </a:lnTo>
                  <a:lnTo>
                    <a:pt x="172" y="4"/>
                  </a:lnTo>
                  <a:lnTo>
                    <a:pt x="174" y="4"/>
                  </a:lnTo>
                  <a:lnTo>
                    <a:pt x="172" y="4"/>
                  </a:lnTo>
                  <a:lnTo>
                    <a:pt x="174" y="4"/>
                  </a:lnTo>
                  <a:lnTo>
                    <a:pt x="174" y="6"/>
                  </a:lnTo>
                  <a:lnTo>
                    <a:pt x="174" y="8"/>
                  </a:lnTo>
                  <a:lnTo>
                    <a:pt x="174" y="10"/>
                  </a:lnTo>
                  <a:lnTo>
                    <a:pt x="176" y="10"/>
                  </a:lnTo>
                  <a:lnTo>
                    <a:pt x="174" y="10"/>
                  </a:lnTo>
                  <a:lnTo>
                    <a:pt x="176" y="10"/>
                  </a:lnTo>
                  <a:lnTo>
                    <a:pt x="176" y="12"/>
                  </a:lnTo>
                  <a:lnTo>
                    <a:pt x="178" y="12"/>
                  </a:lnTo>
                  <a:lnTo>
                    <a:pt x="178" y="14"/>
                  </a:lnTo>
                  <a:lnTo>
                    <a:pt x="180" y="14"/>
                  </a:lnTo>
                  <a:lnTo>
                    <a:pt x="180" y="15"/>
                  </a:lnTo>
                  <a:lnTo>
                    <a:pt x="178" y="15"/>
                  </a:lnTo>
                  <a:lnTo>
                    <a:pt x="176" y="15"/>
                  </a:lnTo>
                  <a:lnTo>
                    <a:pt x="176" y="17"/>
                  </a:lnTo>
                  <a:lnTo>
                    <a:pt x="176" y="15"/>
                  </a:lnTo>
                  <a:lnTo>
                    <a:pt x="176" y="17"/>
                  </a:lnTo>
                  <a:lnTo>
                    <a:pt x="174" y="17"/>
                  </a:lnTo>
                  <a:lnTo>
                    <a:pt x="176" y="17"/>
                  </a:lnTo>
                  <a:lnTo>
                    <a:pt x="176" y="19"/>
                  </a:lnTo>
                  <a:lnTo>
                    <a:pt x="176" y="21"/>
                  </a:lnTo>
                  <a:lnTo>
                    <a:pt x="178" y="21"/>
                  </a:lnTo>
                  <a:lnTo>
                    <a:pt x="176" y="21"/>
                  </a:lnTo>
                  <a:lnTo>
                    <a:pt x="176" y="23"/>
                  </a:lnTo>
                  <a:lnTo>
                    <a:pt x="178" y="23"/>
                  </a:lnTo>
                  <a:lnTo>
                    <a:pt x="178" y="25"/>
                  </a:lnTo>
                  <a:lnTo>
                    <a:pt x="176" y="25"/>
                  </a:lnTo>
                  <a:lnTo>
                    <a:pt x="176" y="27"/>
                  </a:lnTo>
                  <a:lnTo>
                    <a:pt x="178" y="27"/>
                  </a:lnTo>
                  <a:lnTo>
                    <a:pt x="180" y="27"/>
                  </a:lnTo>
                  <a:lnTo>
                    <a:pt x="182" y="27"/>
                  </a:lnTo>
                  <a:lnTo>
                    <a:pt x="184" y="27"/>
                  </a:lnTo>
                  <a:lnTo>
                    <a:pt x="184" y="29"/>
                  </a:lnTo>
                  <a:lnTo>
                    <a:pt x="186" y="29"/>
                  </a:lnTo>
                  <a:lnTo>
                    <a:pt x="188" y="29"/>
                  </a:lnTo>
                  <a:lnTo>
                    <a:pt x="188" y="27"/>
                  </a:lnTo>
                  <a:lnTo>
                    <a:pt x="188" y="29"/>
                  </a:lnTo>
                  <a:lnTo>
                    <a:pt x="190" y="27"/>
                  </a:lnTo>
                  <a:lnTo>
                    <a:pt x="190" y="29"/>
                  </a:lnTo>
                  <a:lnTo>
                    <a:pt x="190" y="31"/>
                  </a:lnTo>
                  <a:lnTo>
                    <a:pt x="191" y="31"/>
                  </a:lnTo>
                  <a:lnTo>
                    <a:pt x="193" y="31"/>
                  </a:lnTo>
                  <a:lnTo>
                    <a:pt x="193" y="33"/>
                  </a:lnTo>
                  <a:lnTo>
                    <a:pt x="193" y="35"/>
                  </a:lnTo>
                  <a:lnTo>
                    <a:pt x="193" y="37"/>
                  </a:lnTo>
                  <a:lnTo>
                    <a:pt x="193" y="38"/>
                  </a:lnTo>
                  <a:lnTo>
                    <a:pt x="195" y="38"/>
                  </a:lnTo>
                  <a:lnTo>
                    <a:pt x="195" y="40"/>
                  </a:lnTo>
                  <a:lnTo>
                    <a:pt x="193" y="40"/>
                  </a:lnTo>
                  <a:lnTo>
                    <a:pt x="193" y="42"/>
                  </a:lnTo>
                  <a:lnTo>
                    <a:pt x="193" y="44"/>
                  </a:lnTo>
                  <a:lnTo>
                    <a:pt x="195" y="44"/>
                  </a:lnTo>
                  <a:lnTo>
                    <a:pt x="195" y="46"/>
                  </a:lnTo>
                  <a:lnTo>
                    <a:pt x="195" y="44"/>
                  </a:lnTo>
                  <a:lnTo>
                    <a:pt x="197" y="46"/>
                  </a:lnTo>
                  <a:lnTo>
                    <a:pt x="197" y="48"/>
                  </a:lnTo>
                  <a:lnTo>
                    <a:pt x="199" y="48"/>
                  </a:lnTo>
                  <a:lnTo>
                    <a:pt x="199" y="46"/>
                  </a:lnTo>
                  <a:lnTo>
                    <a:pt x="201" y="46"/>
                  </a:lnTo>
                  <a:lnTo>
                    <a:pt x="203" y="46"/>
                  </a:lnTo>
                  <a:lnTo>
                    <a:pt x="205" y="46"/>
                  </a:lnTo>
                  <a:lnTo>
                    <a:pt x="205" y="48"/>
                  </a:lnTo>
                  <a:lnTo>
                    <a:pt x="207" y="48"/>
                  </a:lnTo>
                  <a:lnTo>
                    <a:pt x="207" y="50"/>
                  </a:lnTo>
                  <a:lnTo>
                    <a:pt x="209" y="50"/>
                  </a:lnTo>
                  <a:lnTo>
                    <a:pt x="209" y="48"/>
                  </a:lnTo>
                  <a:lnTo>
                    <a:pt x="211" y="48"/>
                  </a:lnTo>
                  <a:lnTo>
                    <a:pt x="211" y="50"/>
                  </a:lnTo>
                  <a:lnTo>
                    <a:pt x="213" y="50"/>
                  </a:lnTo>
                  <a:lnTo>
                    <a:pt x="214" y="50"/>
                  </a:lnTo>
                  <a:lnTo>
                    <a:pt x="214" y="48"/>
                  </a:lnTo>
                  <a:lnTo>
                    <a:pt x="216" y="48"/>
                  </a:lnTo>
                  <a:lnTo>
                    <a:pt x="218" y="48"/>
                  </a:lnTo>
                  <a:lnTo>
                    <a:pt x="220" y="48"/>
                  </a:lnTo>
                  <a:lnTo>
                    <a:pt x="220" y="46"/>
                  </a:lnTo>
                  <a:lnTo>
                    <a:pt x="222" y="46"/>
                  </a:lnTo>
                  <a:lnTo>
                    <a:pt x="224" y="46"/>
                  </a:lnTo>
                  <a:lnTo>
                    <a:pt x="224" y="48"/>
                  </a:lnTo>
                  <a:lnTo>
                    <a:pt x="226" y="48"/>
                  </a:lnTo>
                  <a:lnTo>
                    <a:pt x="226" y="50"/>
                  </a:lnTo>
                  <a:lnTo>
                    <a:pt x="226" y="52"/>
                  </a:lnTo>
                  <a:lnTo>
                    <a:pt x="228" y="52"/>
                  </a:lnTo>
                  <a:lnTo>
                    <a:pt x="228" y="54"/>
                  </a:lnTo>
                  <a:lnTo>
                    <a:pt x="230" y="54"/>
                  </a:lnTo>
                  <a:lnTo>
                    <a:pt x="230" y="56"/>
                  </a:lnTo>
                  <a:lnTo>
                    <a:pt x="232" y="56"/>
                  </a:lnTo>
                  <a:lnTo>
                    <a:pt x="232" y="58"/>
                  </a:lnTo>
                  <a:lnTo>
                    <a:pt x="234" y="58"/>
                  </a:lnTo>
                  <a:lnTo>
                    <a:pt x="234" y="56"/>
                  </a:lnTo>
                  <a:lnTo>
                    <a:pt x="236" y="56"/>
                  </a:lnTo>
                  <a:lnTo>
                    <a:pt x="234" y="56"/>
                  </a:lnTo>
                  <a:lnTo>
                    <a:pt x="234" y="54"/>
                  </a:lnTo>
                  <a:lnTo>
                    <a:pt x="236" y="54"/>
                  </a:lnTo>
                  <a:lnTo>
                    <a:pt x="238" y="54"/>
                  </a:lnTo>
                  <a:lnTo>
                    <a:pt x="238" y="56"/>
                  </a:lnTo>
                  <a:lnTo>
                    <a:pt x="239" y="56"/>
                  </a:lnTo>
                  <a:lnTo>
                    <a:pt x="239" y="58"/>
                  </a:lnTo>
                  <a:lnTo>
                    <a:pt x="239" y="56"/>
                  </a:lnTo>
                  <a:lnTo>
                    <a:pt x="241" y="56"/>
                  </a:lnTo>
                  <a:lnTo>
                    <a:pt x="241" y="58"/>
                  </a:lnTo>
                  <a:lnTo>
                    <a:pt x="241" y="56"/>
                  </a:lnTo>
                  <a:lnTo>
                    <a:pt x="241" y="58"/>
                  </a:lnTo>
                  <a:lnTo>
                    <a:pt x="243" y="58"/>
                  </a:lnTo>
                  <a:lnTo>
                    <a:pt x="243" y="60"/>
                  </a:lnTo>
                  <a:lnTo>
                    <a:pt x="245" y="60"/>
                  </a:lnTo>
                  <a:lnTo>
                    <a:pt x="247" y="60"/>
                  </a:lnTo>
                  <a:lnTo>
                    <a:pt x="249" y="60"/>
                  </a:lnTo>
                  <a:lnTo>
                    <a:pt x="249" y="58"/>
                  </a:lnTo>
                  <a:lnTo>
                    <a:pt x="249" y="60"/>
                  </a:lnTo>
                  <a:lnTo>
                    <a:pt x="249" y="62"/>
                  </a:lnTo>
                  <a:lnTo>
                    <a:pt x="251" y="62"/>
                  </a:lnTo>
                  <a:lnTo>
                    <a:pt x="253" y="62"/>
                  </a:lnTo>
                  <a:lnTo>
                    <a:pt x="255" y="62"/>
                  </a:lnTo>
                  <a:lnTo>
                    <a:pt x="255" y="63"/>
                  </a:lnTo>
                  <a:lnTo>
                    <a:pt x="257" y="65"/>
                  </a:lnTo>
                  <a:lnTo>
                    <a:pt x="259" y="65"/>
                  </a:lnTo>
                  <a:lnTo>
                    <a:pt x="261" y="65"/>
                  </a:lnTo>
                  <a:lnTo>
                    <a:pt x="262" y="65"/>
                  </a:lnTo>
                  <a:lnTo>
                    <a:pt x="264" y="65"/>
                  </a:lnTo>
                  <a:lnTo>
                    <a:pt x="262" y="67"/>
                  </a:lnTo>
                  <a:lnTo>
                    <a:pt x="261" y="67"/>
                  </a:lnTo>
                  <a:lnTo>
                    <a:pt x="262" y="69"/>
                  </a:lnTo>
                  <a:lnTo>
                    <a:pt x="264" y="71"/>
                  </a:lnTo>
                  <a:lnTo>
                    <a:pt x="264" y="73"/>
                  </a:lnTo>
                  <a:lnTo>
                    <a:pt x="262" y="73"/>
                  </a:lnTo>
                  <a:lnTo>
                    <a:pt x="262" y="75"/>
                  </a:lnTo>
                  <a:lnTo>
                    <a:pt x="261" y="75"/>
                  </a:lnTo>
                  <a:lnTo>
                    <a:pt x="261" y="77"/>
                  </a:lnTo>
                  <a:lnTo>
                    <a:pt x="259" y="77"/>
                  </a:lnTo>
                  <a:lnTo>
                    <a:pt x="257" y="77"/>
                  </a:lnTo>
                  <a:lnTo>
                    <a:pt x="257" y="79"/>
                  </a:lnTo>
                  <a:lnTo>
                    <a:pt x="259" y="79"/>
                  </a:lnTo>
                  <a:lnTo>
                    <a:pt x="257" y="79"/>
                  </a:lnTo>
                  <a:lnTo>
                    <a:pt x="259" y="79"/>
                  </a:lnTo>
                  <a:lnTo>
                    <a:pt x="259" y="81"/>
                  </a:lnTo>
                  <a:lnTo>
                    <a:pt x="257" y="81"/>
                  </a:lnTo>
                  <a:lnTo>
                    <a:pt x="259" y="81"/>
                  </a:lnTo>
                  <a:lnTo>
                    <a:pt x="261" y="81"/>
                  </a:lnTo>
                  <a:lnTo>
                    <a:pt x="262" y="81"/>
                  </a:lnTo>
                  <a:lnTo>
                    <a:pt x="261" y="83"/>
                  </a:lnTo>
                  <a:lnTo>
                    <a:pt x="259" y="83"/>
                  </a:lnTo>
                  <a:lnTo>
                    <a:pt x="257" y="83"/>
                  </a:lnTo>
                  <a:lnTo>
                    <a:pt x="257" y="85"/>
                  </a:lnTo>
                  <a:lnTo>
                    <a:pt x="257" y="87"/>
                  </a:lnTo>
                  <a:lnTo>
                    <a:pt x="257" y="88"/>
                  </a:lnTo>
                  <a:lnTo>
                    <a:pt x="257" y="87"/>
                  </a:lnTo>
                  <a:lnTo>
                    <a:pt x="257" y="88"/>
                  </a:lnTo>
                  <a:lnTo>
                    <a:pt x="257" y="87"/>
                  </a:lnTo>
                  <a:lnTo>
                    <a:pt x="259" y="87"/>
                  </a:lnTo>
                  <a:lnTo>
                    <a:pt x="259" y="88"/>
                  </a:lnTo>
                  <a:lnTo>
                    <a:pt x="259" y="90"/>
                  </a:lnTo>
                  <a:lnTo>
                    <a:pt x="259" y="88"/>
                  </a:lnTo>
                  <a:lnTo>
                    <a:pt x="259" y="90"/>
                  </a:lnTo>
                  <a:lnTo>
                    <a:pt x="261" y="90"/>
                  </a:lnTo>
                  <a:lnTo>
                    <a:pt x="261" y="92"/>
                  </a:lnTo>
                  <a:lnTo>
                    <a:pt x="259" y="92"/>
                  </a:lnTo>
                  <a:lnTo>
                    <a:pt x="261" y="92"/>
                  </a:lnTo>
                  <a:lnTo>
                    <a:pt x="259" y="92"/>
                  </a:lnTo>
                  <a:lnTo>
                    <a:pt x="261" y="92"/>
                  </a:lnTo>
                  <a:lnTo>
                    <a:pt x="259" y="92"/>
                  </a:lnTo>
                  <a:lnTo>
                    <a:pt x="259" y="94"/>
                  </a:lnTo>
                  <a:lnTo>
                    <a:pt x="261" y="94"/>
                  </a:lnTo>
                  <a:lnTo>
                    <a:pt x="261" y="96"/>
                  </a:lnTo>
                  <a:lnTo>
                    <a:pt x="259" y="98"/>
                  </a:lnTo>
                  <a:lnTo>
                    <a:pt x="259" y="100"/>
                  </a:lnTo>
                  <a:lnTo>
                    <a:pt x="259" y="102"/>
                  </a:lnTo>
                  <a:lnTo>
                    <a:pt x="259" y="104"/>
                  </a:lnTo>
                  <a:lnTo>
                    <a:pt x="257" y="104"/>
                  </a:lnTo>
                  <a:lnTo>
                    <a:pt x="255" y="104"/>
                  </a:lnTo>
                  <a:lnTo>
                    <a:pt x="253" y="104"/>
                  </a:lnTo>
                  <a:lnTo>
                    <a:pt x="251" y="104"/>
                  </a:lnTo>
                  <a:lnTo>
                    <a:pt x="249" y="104"/>
                  </a:lnTo>
                  <a:lnTo>
                    <a:pt x="247" y="104"/>
                  </a:lnTo>
                  <a:lnTo>
                    <a:pt x="245" y="104"/>
                  </a:lnTo>
                  <a:lnTo>
                    <a:pt x="243" y="104"/>
                  </a:lnTo>
                  <a:lnTo>
                    <a:pt x="243" y="106"/>
                  </a:lnTo>
                  <a:lnTo>
                    <a:pt x="243" y="108"/>
                  </a:lnTo>
                  <a:lnTo>
                    <a:pt x="241" y="108"/>
                  </a:lnTo>
                  <a:lnTo>
                    <a:pt x="238" y="108"/>
                  </a:lnTo>
                  <a:lnTo>
                    <a:pt x="238" y="110"/>
                  </a:lnTo>
                  <a:lnTo>
                    <a:pt x="236" y="110"/>
                  </a:lnTo>
                  <a:lnTo>
                    <a:pt x="236" y="111"/>
                  </a:lnTo>
                  <a:lnTo>
                    <a:pt x="236" y="113"/>
                  </a:lnTo>
                  <a:lnTo>
                    <a:pt x="236" y="115"/>
                  </a:lnTo>
                  <a:lnTo>
                    <a:pt x="238" y="115"/>
                  </a:lnTo>
                  <a:lnTo>
                    <a:pt x="236" y="115"/>
                  </a:lnTo>
                  <a:lnTo>
                    <a:pt x="238" y="115"/>
                  </a:lnTo>
                  <a:lnTo>
                    <a:pt x="236" y="115"/>
                  </a:lnTo>
                  <a:lnTo>
                    <a:pt x="238" y="115"/>
                  </a:lnTo>
                  <a:lnTo>
                    <a:pt x="238" y="117"/>
                  </a:lnTo>
                  <a:lnTo>
                    <a:pt x="236" y="117"/>
                  </a:lnTo>
                  <a:lnTo>
                    <a:pt x="236" y="119"/>
                  </a:lnTo>
                  <a:close/>
                  <a:moveTo>
                    <a:pt x="109" y="156"/>
                  </a:moveTo>
                  <a:lnTo>
                    <a:pt x="111" y="156"/>
                  </a:lnTo>
                  <a:lnTo>
                    <a:pt x="111" y="158"/>
                  </a:lnTo>
                  <a:lnTo>
                    <a:pt x="109" y="158"/>
                  </a:lnTo>
                  <a:lnTo>
                    <a:pt x="109" y="156"/>
                  </a:lnTo>
                  <a:close/>
                  <a:moveTo>
                    <a:pt x="149" y="131"/>
                  </a:moveTo>
                  <a:lnTo>
                    <a:pt x="151" y="131"/>
                  </a:lnTo>
                  <a:lnTo>
                    <a:pt x="151" y="133"/>
                  </a:lnTo>
                  <a:lnTo>
                    <a:pt x="149" y="133"/>
                  </a:lnTo>
                  <a:lnTo>
                    <a:pt x="149" y="131"/>
                  </a:lnTo>
                  <a:close/>
                  <a:moveTo>
                    <a:pt x="111" y="158"/>
                  </a:moveTo>
                  <a:lnTo>
                    <a:pt x="111" y="160"/>
                  </a:lnTo>
                  <a:lnTo>
                    <a:pt x="111" y="158"/>
                  </a:lnTo>
                  <a:close/>
                  <a:moveTo>
                    <a:pt x="109" y="158"/>
                  </a:moveTo>
                  <a:lnTo>
                    <a:pt x="111" y="158"/>
                  </a:lnTo>
                  <a:lnTo>
                    <a:pt x="109" y="158"/>
                  </a:lnTo>
                  <a:close/>
                  <a:moveTo>
                    <a:pt x="138" y="138"/>
                  </a:moveTo>
                  <a:lnTo>
                    <a:pt x="140" y="138"/>
                  </a:lnTo>
                  <a:lnTo>
                    <a:pt x="142" y="138"/>
                  </a:lnTo>
                  <a:lnTo>
                    <a:pt x="142" y="140"/>
                  </a:lnTo>
                  <a:lnTo>
                    <a:pt x="143" y="140"/>
                  </a:lnTo>
                  <a:lnTo>
                    <a:pt x="145" y="140"/>
                  </a:lnTo>
                  <a:lnTo>
                    <a:pt x="143" y="140"/>
                  </a:lnTo>
                  <a:lnTo>
                    <a:pt x="145" y="140"/>
                  </a:lnTo>
                  <a:lnTo>
                    <a:pt x="143" y="140"/>
                  </a:lnTo>
                  <a:lnTo>
                    <a:pt x="142" y="138"/>
                  </a:lnTo>
                  <a:lnTo>
                    <a:pt x="140" y="138"/>
                  </a:lnTo>
                  <a:lnTo>
                    <a:pt x="138" y="138"/>
                  </a:lnTo>
                  <a:lnTo>
                    <a:pt x="138" y="136"/>
                  </a:lnTo>
                  <a:lnTo>
                    <a:pt x="138" y="138"/>
                  </a:lnTo>
                  <a:close/>
                  <a:moveTo>
                    <a:pt x="151" y="131"/>
                  </a:moveTo>
                  <a:lnTo>
                    <a:pt x="153" y="131"/>
                  </a:lnTo>
                  <a:lnTo>
                    <a:pt x="153" y="133"/>
                  </a:lnTo>
                  <a:lnTo>
                    <a:pt x="151" y="133"/>
                  </a:lnTo>
                  <a:lnTo>
                    <a:pt x="151" y="131"/>
                  </a:lnTo>
                  <a:close/>
                  <a:moveTo>
                    <a:pt x="151" y="131"/>
                  </a:moveTo>
                  <a:lnTo>
                    <a:pt x="153" y="131"/>
                  </a:lnTo>
                  <a:lnTo>
                    <a:pt x="151" y="131"/>
                  </a:lnTo>
                  <a:close/>
                  <a:moveTo>
                    <a:pt x="109" y="160"/>
                  </a:moveTo>
                  <a:lnTo>
                    <a:pt x="111" y="160"/>
                  </a:lnTo>
                  <a:lnTo>
                    <a:pt x="109" y="160"/>
                  </a:lnTo>
                  <a:close/>
                  <a:moveTo>
                    <a:pt x="184" y="142"/>
                  </a:moveTo>
                  <a:lnTo>
                    <a:pt x="184" y="144"/>
                  </a:lnTo>
                  <a:lnTo>
                    <a:pt x="184" y="142"/>
                  </a:lnTo>
                  <a:close/>
                  <a:moveTo>
                    <a:pt x="147" y="133"/>
                  </a:moveTo>
                  <a:lnTo>
                    <a:pt x="151" y="133"/>
                  </a:lnTo>
                  <a:lnTo>
                    <a:pt x="147" y="133"/>
                  </a:lnTo>
                  <a:close/>
                  <a:moveTo>
                    <a:pt x="205" y="131"/>
                  </a:moveTo>
                  <a:lnTo>
                    <a:pt x="207" y="131"/>
                  </a:lnTo>
                  <a:lnTo>
                    <a:pt x="207" y="133"/>
                  </a:lnTo>
                  <a:lnTo>
                    <a:pt x="205" y="133"/>
                  </a:lnTo>
                  <a:lnTo>
                    <a:pt x="205" y="131"/>
                  </a:lnTo>
                  <a:close/>
                  <a:moveTo>
                    <a:pt x="111" y="154"/>
                  </a:moveTo>
                  <a:lnTo>
                    <a:pt x="111" y="156"/>
                  </a:lnTo>
                  <a:lnTo>
                    <a:pt x="111" y="154"/>
                  </a:lnTo>
                  <a:close/>
                  <a:moveTo>
                    <a:pt x="111" y="154"/>
                  </a:moveTo>
                  <a:lnTo>
                    <a:pt x="111" y="156"/>
                  </a:lnTo>
                  <a:lnTo>
                    <a:pt x="111" y="154"/>
                  </a:lnTo>
                  <a:close/>
                  <a:moveTo>
                    <a:pt x="149" y="131"/>
                  </a:moveTo>
                  <a:lnTo>
                    <a:pt x="151" y="131"/>
                  </a:lnTo>
                  <a:lnTo>
                    <a:pt x="151" y="133"/>
                  </a:lnTo>
                  <a:lnTo>
                    <a:pt x="149" y="133"/>
                  </a:lnTo>
                  <a:lnTo>
                    <a:pt x="149" y="131"/>
                  </a:lnTo>
                  <a:close/>
                  <a:moveTo>
                    <a:pt x="147" y="131"/>
                  </a:moveTo>
                  <a:lnTo>
                    <a:pt x="149" y="131"/>
                  </a:lnTo>
                  <a:lnTo>
                    <a:pt x="149" y="133"/>
                  </a:lnTo>
                  <a:lnTo>
                    <a:pt x="147" y="133"/>
                  </a:lnTo>
                  <a:lnTo>
                    <a:pt x="147" y="131"/>
                  </a:lnTo>
                  <a:close/>
                  <a:moveTo>
                    <a:pt x="147" y="133"/>
                  </a:moveTo>
                  <a:lnTo>
                    <a:pt x="149" y="133"/>
                  </a:lnTo>
                  <a:lnTo>
                    <a:pt x="147" y="133"/>
                  </a:lnTo>
                  <a:close/>
                  <a:moveTo>
                    <a:pt x="184" y="144"/>
                  </a:moveTo>
                  <a:lnTo>
                    <a:pt x="184" y="146"/>
                  </a:lnTo>
                  <a:lnTo>
                    <a:pt x="184" y="144"/>
                  </a:lnTo>
                  <a:close/>
                  <a:moveTo>
                    <a:pt x="174" y="138"/>
                  </a:moveTo>
                  <a:lnTo>
                    <a:pt x="176" y="138"/>
                  </a:lnTo>
                  <a:lnTo>
                    <a:pt x="176" y="140"/>
                  </a:lnTo>
                  <a:lnTo>
                    <a:pt x="174" y="140"/>
                  </a:lnTo>
                  <a:lnTo>
                    <a:pt x="174" y="138"/>
                  </a:lnTo>
                  <a:close/>
                  <a:moveTo>
                    <a:pt x="147" y="133"/>
                  </a:moveTo>
                  <a:lnTo>
                    <a:pt x="149" y="133"/>
                  </a:lnTo>
                  <a:lnTo>
                    <a:pt x="147" y="133"/>
                  </a:lnTo>
                  <a:close/>
                  <a:moveTo>
                    <a:pt x="147" y="133"/>
                  </a:moveTo>
                  <a:lnTo>
                    <a:pt x="149" y="133"/>
                  </a:lnTo>
                  <a:lnTo>
                    <a:pt x="147" y="133"/>
                  </a:lnTo>
                  <a:close/>
                  <a:moveTo>
                    <a:pt x="147" y="133"/>
                  </a:moveTo>
                  <a:lnTo>
                    <a:pt x="149" y="133"/>
                  </a:lnTo>
                  <a:lnTo>
                    <a:pt x="147" y="133"/>
                  </a:lnTo>
                  <a:close/>
                  <a:moveTo>
                    <a:pt x="147" y="133"/>
                  </a:moveTo>
                  <a:lnTo>
                    <a:pt x="149" y="133"/>
                  </a:lnTo>
                  <a:lnTo>
                    <a:pt x="147" y="133"/>
                  </a:lnTo>
                  <a:close/>
                  <a:moveTo>
                    <a:pt x="109" y="154"/>
                  </a:moveTo>
                  <a:lnTo>
                    <a:pt x="109" y="156"/>
                  </a:lnTo>
                  <a:lnTo>
                    <a:pt x="109" y="154"/>
                  </a:lnTo>
                  <a:close/>
                  <a:moveTo>
                    <a:pt x="109" y="154"/>
                  </a:moveTo>
                  <a:lnTo>
                    <a:pt x="111" y="154"/>
                  </a:lnTo>
                  <a:lnTo>
                    <a:pt x="109" y="15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392">
              <a:extLst>
                <a:ext uri="{FF2B5EF4-FFF2-40B4-BE49-F238E27FC236}">
                  <a16:creationId xmlns:a16="http://schemas.microsoft.com/office/drawing/2014/main" id="{681AEF93-4B9F-477E-B859-18F7394F34C4}"/>
                </a:ext>
              </a:extLst>
            </p:cNvPr>
            <p:cNvSpPr>
              <a:spLocks/>
            </p:cNvSpPr>
            <p:nvPr/>
          </p:nvSpPr>
          <p:spPr bwMode="gray">
            <a:xfrm>
              <a:off x="3686549" y="3369496"/>
              <a:ext cx="63772" cy="78488"/>
            </a:xfrm>
            <a:custGeom>
              <a:avLst/>
              <a:gdLst>
                <a:gd name="T0" fmla="*/ 23 w 52"/>
                <a:gd name="T1" fmla="*/ 62 h 64"/>
                <a:gd name="T2" fmla="*/ 23 w 52"/>
                <a:gd name="T3" fmla="*/ 54 h 64"/>
                <a:gd name="T4" fmla="*/ 21 w 52"/>
                <a:gd name="T5" fmla="*/ 52 h 64"/>
                <a:gd name="T6" fmla="*/ 23 w 52"/>
                <a:gd name="T7" fmla="*/ 50 h 64"/>
                <a:gd name="T8" fmla="*/ 23 w 52"/>
                <a:gd name="T9" fmla="*/ 50 h 64"/>
                <a:gd name="T10" fmla="*/ 23 w 52"/>
                <a:gd name="T11" fmla="*/ 46 h 64"/>
                <a:gd name="T12" fmla="*/ 23 w 52"/>
                <a:gd name="T13" fmla="*/ 46 h 64"/>
                <a:gd name="T14" fmla="*/ 25 w 52"/>
                <a:gd name="T15" fmla="*/ 45 h 64"/>
                <a:gd name="T16" fmla="*/ 23 w 52"/>
                <a:gd name="T17" fmla="*/ 43 h 64"/>
                <a:gd name="T18" fmla="*/ 23 w 52"/>
                <a:gd name="T19" fmla="*/ 43 h 64"/>
                <a:gd name="T20" fmla="*/ 25 w 52"/>
                <a:gd name="T21" fmla="*/ 41 h 64"/>
                <a:gd name="T22" fmla="*/ 23 w 52"/>
                <a:gd name="T23" fmla="*/ 39 h 64"/>
                <a:gd name="T24" fmla="*/ 23 w 52"/>
                <a:gd name="T25" fmla="*/ 35 h 64"/>
                <a:gd name="T26" fmla="*/ 21 w 52"/>
                <a:gd name="T27" fmla="*/ 33 h 64"/>
                <a:gd name="T28" fmla="*/ 21 w 52"/>
                <a:gd name="T29" fmla="*/ 33 h 64"/>
                <a:gd name="T30" fmla="*/ 19 w 52"/>
                <a:gd name="T31" fmla="*/ 31 h 64"/>
                <a:gd name="T32" fmla="*/ 17 w 52"/>
                <a:gd name="T33" fmla="*/ 29 h 64"/>
                <a:gd name="T34" fmla="*/ 15 w 52"/>
                <a:gd name="T35" fmla="*/ 23 h 64"/>
                <a:gd name="T36" fmla="*/ 15 w 52"/>
                <a:gd name="T37" fmla="*/ 23 h 64"/>
                <a:gd name="T38" fmla="*/ 13 w 52"/>
                <a:gd name="T39" fmla="*/ 21 h 64"/>
                <a:gd name="T40" fmla="*/ 11 w 52"/>
                <a:gd name="T41" fmla="*/ 20 h 64"/>
                <a:gd name="T42" fmla="*/ 9 w 52"/>
                <a:gd name="T43" fmla="*/ 14 h 64"/>
                <a:gd name="T44" fmla="*/ 7 w 52"/>
                <a:gd name="T45" fmla="*/ 12 h 64"/>
                <a:gd name="T46" fmla="*/ 6 w 52"/>
                <a:gd name="T47" fmla="*/ 6 h 64"/>
                <a:gd name="T48" fmla="*/ 4 w 52"/>
                <a:gd name="T49" fmla="*/ 4 h 64"/>
                <a:gd name="T50" fmla="*/ 2 w 52"/>
                <a:gd name="T51" fmla="*/ 2 h 64"/>
                <a:gd name="T52" fmla="*/ 2 w 52"/>
                <a:gd name="T53" fmla="*/ 2 h 64"/>
                <a:gd name="T54" fmla="*/ 4 w 52"/>
                <a:gd name="T55" fmla="*/ 0 h 64"/>
                <a:gd name="T56" fmla="*/ 6 w 52"/>
                <a:gd name="T57" fmla="*/ 2 h 64"/>
                <a:gd name="T58" fmla="*/ 9 w 52"/>
                <a:gd name="T59" fmla="*/ 2 h 64"/>
                <a:gd name="T60" fmla="*/ 13 w 52"/>
                <a:gd name="T61" fmla="*/ 0 h 64"/>
                <a:gd name="T62" fmla="*/ 19 w 52"/>
                <a:gd name="T63" fmla="*/ 4 h 64"/>
                <a:gd name="T64" fmla="*/ 23 w 52"/>
                <a:gd name="T65" fmla="*/ 4 h 64"/>
                <a:gd name="T66" fmla="*/ 25 w 52"/>
                <a:gd name="T67" fmla="*/ 6 h 64"/>
                <a:gd name="T68" fmla="*/ 25 w 52"/>
                <a:gd name="T69" fmla="*/ 8 h 64"/>
                <a:gd name="T70" fmla="*/ 29 w 52"/>
                <a:gd name="T71" fmla="*/ 10 h 64"/>
                <a:gd name="T72" fmla="*/ 30 w 52"/>
                <a:gd name="T73" fmla="*/ 8 h 64"/>
                <a:gd name="T74" fmla="*/ 34 w 52"/>
                <a:gd name="T75" fmla="*/ 12 h 64"/>
                <a:gd name="T76" fmla="*/ 36 w 52"/>
                <a:gd name="T77" fmla="*/ 10 h 64"/>
                <a:gd name="T78" fmla="*/ 38 w 52"/>
                <a:gd name="T79" fmla="*/ 12 h 64"/>
                <a:gd name="T80" fmla="*/ 38 w 52"/>
                <a:gd name="T81" fmla="*/ 16 h 64"/>
                <a:gd name="T82" fmla="*/ 38 w 52"/>
                <a:gd name="T83" fmla="*/ 20 h 64"/>
                <a:gd name="T84" fmla="*/ 38 w 52"/>
                <a:gd name="T85" fmla="*/ 23 h 64"/>
                <a:gd name="T86" fmla="*/ 40 w 52"/>
                <a:gd name="T87" fmla="*/ 25 h 64"/>
                <a:gd name="T88" fmla="*/ 44 w 52"/>
                <a:gd name="T89" fmla="*/ 25 h 64"/>
                <a:gd name="T90" fmla="*/ 42 w 52"/>
                <a:gd name="T91" fmla="*/ 31 h 64"/>
                <a:gd name="T92" fmla="*/ 44 w 52"/>
                <a:gd name="T93" fmla="*/ 33 h 64"/>
                <a:gd name="T94" fmla="*/ 48 w 52"/>
                <a:gd name="T95" fmla="*/ 37 h 64"/>
                <a:gd name="T96" fmla="*/ 50 w 52"/>
                <a:gd name="T97" fmla="*/ 39 h 64"/>
                <a:gd name="T98" fmla="*/ 50 w 52"/>
                <a:gd name="T99" fmla="*/ 45 h 64"/>
                <a:gd name="T100" fmla="*/ 50 w 52"/>
                <a:gd name="T101" fmla="*/ 45 h 64"/>
                <a:gd name="T102" fmla="*/ 46 w 52"/>
                <a:gd name="T103" fmla="*/ 45 h 64"/>
                <a:gd name="T104" fmla="*/ 46 w 52"/>
                <a:gd name="T105" fmla="*/ 45 h 64"/>
                <a:gd name="T106" fmla="*/ 42 w 52"/>
                <a:gd name="T107" fmla="*/ 45 h 64"/>
                <a:gd name="T108" fmla="*/ 40 w 52"/>
                <a:gd name="T109" fmla="*/ 45 h 64"/>
                <a:gd name="T110" fmla="*/ 38 w 52"/>
                <a:gd name="T111" fmla="*/ 43 h 64"/>
                <a:gd name="T112" fmla="*/ 36 w 52"/>
                <a:gd name="T113" fmla="*/ 45 h 64"/>
                <a:gd name="T114" fmla="*/ 36 w 52"/>
                <a:gd name="T115" fmla="*/ 48 h 64"/>
                <a:gd name="T116" fmla="*/ 34 w 52"/>
                <a:gd name="T117" fmla="*/ 54 h 64"/>
                <a:gd name="T118" fmla="*/ 29 w 52"/>
                <a:gd name="T119" fmla="*/ 58 h 64"/>
                <a:gd name="T120" fmla="*/ 29 w 52"/>
                <a:gd name="T121" fmla="*/ 58 h 64"/>
                <a:gd name="T122" fmla="*/ 29 w 52"/>
                <a:gd name="T123" fmla="*/ 62 h 64"/>
                <a:gd name="T124" fmla="*/ 23 w 52"/>
                <a:gd name="T1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64">
                  <a:moveTo>
                    <a:pt x="23" y="64"/>
                  </a:moveTo>
                  <a:lnTo>
                    <a:pt x="23" y="62"/>
                  </a:lnTo>
                  <a:lnTo>
                    <a:pt x="21" y="62"/>
                  </a:lnTo>
                  <a:lnTo>
                    <a:pt x="23" y="62"/>
                  </a:lnTo>
                  <a:lnTo>
                    <a:pt x="23" y="60"/>
                  </a:lnTo>
                  <a:lnTo>
                    <a:pt x="23" y="58"/>
                  </a:lnTo>
                  <a:lnTo>
                    <a:pt x="23" y="56"/>
                  </a:lnTo>
                  <a:lnTo>
                    <a:pt x="23" y="54"/>
                  </a:lnTo>
                  <a:lnTo>
                    <a:pt x="21" y="54"/>
                  </a:lnTo>
                  <a:lnTo>
                    <a:pt x="21" y="52"/>
                  </a:lnTo>
                  <a:lnTo>
                    <a:pt x="23" y="52"/>
                  </a:lnTo>
                  <a:lnTo>
                    <a:pt x="21" y="52"/>
                  </a:lnTo>
                  <a:lnTo>
                    <a:pt x="23" y="52"/>
                  </a:lnTo>
                  <a:lnTo>
                    <a:pt x="21" y="52"/>
                  </a:lnTo>
                  <a:lnTo>
                    <a:pt x="23" y="52"/>
                  </a:lnTo>
                  <a:lnTo>
                    <a:pt x="23" y="50"/>
                  </a:lnTo>
                  <a:lnTo>
                    <a:pt x="23" y="48"/>
                  </a:lnTo>
                  <a:lnTo>
                    <a:pt x="23" y="50"/>
                  </a:lnTo>
                  <a:lnTo>
                    <a:pt x="23" y="48"/>
                  </a:lnTo>
                  <a:lnTo>
                    <a:pt x="23" y="50"/>
                  </a:lnTo>
                  <a:lnTo>
                    <a:pt x="23" y="48"/>
                  </a:lnTo>
                  <a:lnTo>
                    <a:pt x="23" y="46"/>
                  </a:lnTo>
                  <a:lnTo>
                    <a:pt x="23" y="48"/>
                  </a:lnTo>
                  <a:lnTo>
                    <a:pt x="23" y="46"/>
                  </a:lnTo>
                  <a:lnTo>
                    <a:pt x="23" y="48"/>
                  </a:lnTo>
                  <a:lnTo>
                    <a:pt x="23" y="46"/>
                  </a:lnTo>
                  <a:lnTo>
                    <a:pt x="23" y="45"/>
                  </a:lnTo>
                  <a:lnTo>
                    <a:pt x="23" y="46"/>
                  </a:lnTo>
                  <a:lnTo>
                    <a:pt x="23" y="45"/>
                  </a:lnTo>
                  <a:lnTo>
                    <a:pt x="25" y="45"/>
                  </a:lnTo>
                  <a:lnTo>
                    <a:pt x="23" y="45"/>
                  </a:lnTo>
                  <a:lnTo>
                    <a:pt x="25" y="45"/>
                  </a:lnTo>
                  <a:lnTo>
                    <a:pt x="25" y="43"/>
                  </a:lnTo>
                  <a:lnTo>
                    <a:pt x="23" y="43"/>
                  </a:lnTo>
                  <a:lnTo>
                    <a:pt x="25" y="43"/>
                  </a:lnTo>
                  <a:lnTo>
                    <a:pt x="23" y="43"/>
                  </a:lnTo>
                  <a:lnTo>
                    <a:pt x="25" y="43"/>
                  </a:lnTo>
                  <a:lnTo>
                    <a:pt x="23" y="43"/>
                  </a:lnTo>
                  <a:lnTo>
                    <a:pt x="25" y="43"/>
                  </a:lnTo>
                  <a:lnTo>
                    <a:pt x="23" y="43"/>
                  </a:lnTo>
                  <a:lnTo>
                    <a:pt x="25" y="43"/>
                  </a:lnTo>
                  <a:lnTo>
                    <a:pt x="25" y="41"/>
                  </a:lnTo>
                  <a:lnTo>
                    <a:pt x="23" y="41"/>
                  </a:lnTo>
                  <a:lnTo>
                    <a:pt x="25" y="41"/>
                  </a:lnTo>
                  <a:lnTo>
                    <a:pt x="23" y="41"/>
                  </a:lnTo>
                  <a:lnTo>
                    <a:pt x="25" y="41"/>
                  </a:lnTo>
                  <a:lnTo>
                    <a:pt x="25" y="39"/>
                  </a:lnTo>
                  <a:lnTo>
                    <a:pt x="23" y="39"/>
                  </a:lnTo>
                  <a:lnTo>
                    <a:pt x="23" y="37"/>
                  </a:lnTo>
                  <a:lnTo>
                    <a:pt x="23" y="39"/>
                  </a:lnTo>
                  <a:lnTo>
                    <a:pt x="23" y="37"/>
                  </a:lnTo>
                  <a:lnTo>
                    <a:pt x="23" y="35"/>
                  </a:lnTo>
                  <a:lnTo>
                    <a:pt x="21" y="35"/>
                  </a:lnTo>
                  <a:lnTo>
                    <a:pt x="23" y="35"/>
                  </a:lnTo>
                  <a:lnTo>
                    <a:pt x="23" y="33"/>
                  </a:lnTo>
                  <a:lnTo>
                    <a:pt x="21" y="33"/>
                  </a:lnTo>
                  <a:lnTo>
                    <a:pt x="23" y="33"/>
                  </a:lnTo>
                  <a:lnTo>
                    <a:pt x="21" y="33"/>
                  </a:lnTo>
                  <a:lnTo>
                    <a:pt x="23" y="33"/>
                  </a:lnTo>
                  <a:lnTo>
                    <a:pt x="21" y="33"/>
                  </a:lnTo>
                  <a:lnTo>
                    <a:pt x="21" y="31"/>
                  </a:lnTo>
                  <a:lnTo>
                    <a:pt x="21" y="33"/>
                  </a:lnTo>
                  <a:lnTo>
                    <a:pt x="21" y="31"/>
                  </a:lnTo>
                  <a:lnTo>
                    <a:pt x="19" y="31"/>
                  </a:lnTo>
                  <a:lnTo>
                    <a:pt x="19" y="29"/>
                  </a:lnTo>
                  <a:lnTo>
                    <a:pt x="17" y="29"/>
                  </a:lnTo>
                  <a:lnTo>
                    <a:pt x="19" y="29"/>
                  </a:lnTo>
                  <a:lnTo>
                    <a:pt x="17" y="29"/>
                  </a:lnTo>
                  <a:lnTo>
                    <a:pt x="17" y="27"/>
                  </a:lnTo>
                  <a:lnTo>
                    <a:pt x="17" y="25"/>
                  </a:lnTo>
                  <a:lnTo>
                    <a:pt x="15" y="25"/>
                  </a:lnTo>
                  <a:lnTo>
                    <a:pt x="15" y="23"/>
                  </a:lnTo>
                  <a:lnTo>
                    <a:pt x="13" y="23"/>
                  </a:lnTo>
                  <a:lnTo>
                    <a:pt x="15" y="23"/>
                  </a:lnTo>
                  <a:lnTo>
                    <a:pt x="13" y="23"/>
                  </a:lnTo>
                  <a:lnTo>
                    <a:pt x="15" y="23"/>
                  </a:lnTo>
                  <a:lnTo>
                    <a:pt x="13" y="23"/>
                  </a:lnTo>
                  <a:lnTo>
                    <a:pt x="13" y="21"/>
                  </a:lnTo>
                  <a:lnTo>
                    <a:pt x="15" y="21"/>
                  </a:lnTo>
                  <a:lnTo>
                    <a:pt x="13" y="21"/>
                  </a:lnTo>
                  <a:lnTo>
                    <a:pt x="13" y="20"/>
                  </a:lnTo>
                  <a:lnTo>
                    <a:pt x="11" y="20"/>
                  </a:lnTo>
                  <a:lnTo>
                    <a:pt x="13" y="20"/>
                  </a:lnTo>
                  <a:lnTo>
                    <a:pt x="11" y="20"/>
                  </a:lnTo>
                  <a:lnTo>
                    <a:pt x="11" y="18"/>
                  </a:lnTo>
                  <a:lnTo>
                    <a:pt x="9" y="18"/>
                  </a:lnTo>
                  <a:lnTo>
                    <a:pt x="9" y="16"/>
                  </a:lnTo>
                  <a:lnTo>
                    <a:pt x="9" y="14"/>
                  </a:lnTo>
                  <a:lnTo>
                    <a:pt x="9" y="12"/>
                  </a:lnTo>
                  <a:lnTo>
                    <a:pt x="7" y="12"/>
                  </a:lnTo>
                  <a:lnTo>
                    <a:pt x="9" y="12"/>
                  </a:lnTo>
                  <a:lnTo>
                    <a:pt x="7" y="12"/>
                  </a:lnTo>
                  <a:lnTo>
                    <a:pt x="7" y="10"/>
                  </a:lnTo>
                  <a:lnTo>
                    <a:pt x="7" y="8"/>
                  </a:lnTo>
                  <a:lnTo>
                    <a:pt x="6" y="8"/>
                  </a:lnTo>
                  <a:lnTo>
                    <a:pt x="6" y="6"/>
                  </a:lnTo>
                  <a:lnTo>
                    <a:pt x="4" y="6"/>
                  </a:lnTo>
                  <a:lnTo>
                    <a:pt x="6" y="6"/>
                  </a:lnTo>
                  <a:lnTo>
                    <a:pt x="4" y="6"/>
                  </a:lnTo>
                  <a:lnTo>
                    <a:pt x="4" y="4"/>
                  </a:lnTo>
                  <a:lnTo>
                    <a:pt x="2" y="4"/>
                  </a:lnTo>
                  <a:lnTo>
                    <a:pt x="0" y="4"/>
                  </a:lnTo>
                  <a:lnTo>
                    <a:pt x="2" y="4"/>
                  </a:lnTo>
                  <a:lnTo>
                    <a:pt x="2" y="2"/>
                  </a:lnTo>
                  <a:lnTo>
                    <a:pt x="2" y="4"/>
                  </a:lnTo>
                  <a:lnTo>
                    <a:pt x="4" y="4"/>
                  </a:lnTo>
                  <a:lnTo>
                    <a:pt x="4" y="2"/>
                  </a:lnTo>
                  <a:lnTo>
                    <a:pt x="2" y="2"/>
                  </a:lnTo>
                  <a:lnTo>
                    <a:pt x="2" y="0"/>
                  </a:lnTo>
                  <a:lnTo>
                    <a:pt x="4" y="0"/>
                  </a:lnTo>
                  <a:lnTo>
                    <a:pt x="4" y="2"/>
                  </a:lnTo>
                  <a:lnTo>
                    <a:pt x="4" y="0"/>
                  </a:lnTo>
                  <a:lnTo>
                    <a:pt x="4" y="2"/>
                  </a:lnTo>
                  <a:lnTo>
                    <a:pt x="6" y="2"/>
                  </a:lnTo>
                  <a:lnTo>
                    <a:pt x="7" y="2"/>
                  </a:lnTo>
                  <a:lnTo>
                    <a:pt x="6" y="2"/>
                  </a:lnTo>
                  <a:lnTo>
                    <a:pt x="6" y="0"/>
                  </a:lnTo>
                  <a:lnTo>
                    <a:pt x="7" y="0"/>
                  </a:lnTo>
                  <a:lnTo>
                    <a:pt x="7" y="2"/>
                  </a:lnTo>
                  <a:lnTo>
                    <a:pt x="9" y="2"/>
                  </a:lnTo>
                  <a:lnTo>
                    <a:pt x="11" y="0"/>
                  </a:lnTo>
                  <a:lnTo>
                    <a:pt x="11" y="2"/>
                  </a:lnTo>
                  <a:lnTo>
                    <a:pt x="13" y="2"/>
                  </a:lnTo>
                  <a:lnTo>
                    <a:pt x="13" y="0"/>
                  </a:lnTo>
                  <a:lnTo>
                    <a:pt x="15" y="0"/>
                  </a:lnTo>
                  <a:lnTo>
                    <a:pt x="17" y="0"/>
                  </a:lnTo>
                  <a:lnTo>
                    <a:pt x="19" y="2"/>
                  </a:lnTo>
                  <a:lnTo>
                    <a:pt x="19" y="4"/>
                  </a:lnTo>
                  <a:lnTo>
                    <a:pt x="21" y="4"/>
                  </a:lnTo>
                  <a:lnTo>
                    <a:pt x="21" y="6"/>
                  </a:lnTo>
                  <a:lnTo>
                    <a:pt x="23" y="6"/>
                  </a:lnTo>
                  <a:lnTo>
                    <a:pt x="23" y="4"/>
                  </a:lnTo>
                  <a:lnTo>
                    <a:pt x="23" y="6"/>
                  </a:lnTo>
                  <a:lnTo>
                    <a:pt x="25" y="6"/>
                  </a:lnTo>
                  <a:lnTo>
                    <a:pt x="25" y="4"/>
                  </a:lnTo>
                  <a:lnTo>
                    <a:pt x="25" y="6"/>
                  </a:lnTo>
                  <a:lnTo>
                    <a:pt x="25" y="4"/>
                  </a:lnTo>
                  <a:lnTo>
                    <a:pt x="27" y="6"/>
                  </a:lnTo>
                  <a:lnTo>
                    <a:pt x="25" y="6"/>
                  </a:lnTo>
                  <a:lnTo>
                    <a:pt x="25" y="8"/>
                  </a:lnTo>
                  <a:lnTo>
                    <a:pt x="27" y="8"/>
                  </a:lnTo>
                  <a:lnTo>
                    <a:pt x="27" y="6"/>
                  </a:lnTo>
                  <a:lnTo>
                    <a:pt x="27" y="8"/>
                  </a:lnTo>
                  <a:lnTo>
                    <a:pt x="29" y="10"/>
                  </a:lnTo>
                  <a:lnTo>
                    <a:pt x="29" y="8"/>
                  </a:lnTo>
                  <a:lnTo>
                    <a:pt x="29" y="6"/>
                  </a:lnTo>
                  <a:lnTo>
                    <a:pt x="30" y="6"/>
                  </a:lnTo>
                  <a:lnTo>
                    <a:pt x="30" y="8"/>
                  </a:lnTo>
                  <a:lnTo>
                    <a:pt x="32" y="8"/>
                  </a:lnTo>
                  <a:lnTo>
                    <a:pt x="32" y="10"/>
                  </a:lnTo>
                  <a:lnTo>
                    <a:pt x="34" y="10"/>
                  </a:lnTo>
                  <a:lnTo>
                    <a:pt x="34" y="12"/>
                  </a:lnTo>
                  <a:lnTo>
                    <a:pt x="36" y="12"/>
                  </a:lnTo>
                  <a:lnTo>
                    <a:pt x="36" y="10"/>
                  </a:lnTo>
                  <a:lnTo>
                    <a:pt x="36" y="12"/>
                  </a:lnTo>
                  <a:lnTo>
                    <a:pt x="36" y="10"/>
                  </a:lnTo>
                  <a:lnTo>
                    <a:pt x="38" y="10"/>
                  </a:lnTo>
                  <a:lnTo>
                    <a:pt x="38" y="12"/>
                  </a:lnTo>
                  <a:lnTo>
                    <a:pt x="38" y="14"/>
                  </a:lnTo>
                  <a:lnTo>
                    <a:pt x="38" y="12"/>
                  </a:lnTo>
                  <a:lnTo>
                    <a:pt x="38" y="14"/>
                  </a:lnTo>
                  <a:lnTo>
                    <a:pt x="40" y="14"/>
                  </a:lnTo>
                  <a:lnTo>
                    <a:pt x="38" y="14"/>
                  </a:lnTo>
                  <a:lnTo>
                    <a:pt x="38" y="16"/>
                  </a:lnTo>
                  <a:lnTo>
                    <a:pt x="38" y="14"/>
                  </a:lnTo>
                  <a:lnTo>
                    <a:pt x="38" y="16"/>
                  </a:lnTo>
                  <a:lnTo>
                    <a:pt x="38" y="18"/>
                  </a:lnTo>
                  <a:lnTo>
                    <a:pt x="38" y="20"/>
                  </a:lnTo>
                  <a:lnTo>
                    <a:pt x="36" y="20"/>
                  </a:lnTo>
                  <a:lnTo>
                    <a:pt x="36" y="21"/>
                  </a:lnTo>
                  <a:lnTo>
                    <a:pt x="38" y="21"/>
                  </a:lnTo>
                  <a:lnTo>
                    <a:pt x="38" y="23"/>
                  </a:lnTo>
                  <a:lnTo>
                    <a:pt x="38" y="21"/>
                  </a:lnTo>
                  <a:lnTo>
                    <a:pt x="38" y="23"/>
                  </a:lnTo>
                  <a:lnTo>
                    <a:pt x="40" y="23"/>
                  </a:lnTo>
                  <a:lnTo>
                    <a:pt x="40" y="25"/>
                  </a:lnTo>
                  <a:lnTo>
                    <a:pt x="42" y="25"/>
                  </a:lnTo>
                  <a:lnTo>
                    <a:pt x="42" y="23"/>
                  </a:lnTo>
                  <a:lnTo>
                    <a:pt x="44" y="23"/>
                  </a:lnTo>
                  <a:lnTo>
                    <a:pt x="44" y="25"/>
                  </a:lnTo>
                  <a:lnTo>
                    <a:pt x="44" y="27"/>
                  </a:lnTo>
                  <a:lnTo>
                    <a:pt x="44" y="29"/>
                  </a:lnTo>
                  <a:lnTo>
                    <a:pt x="42" y="29"/>
                  </a:lnTo>
                  <a:lnTo>
                    <a:pt x="42" y="31"/>
                  </a:lnTo>
                  <a:lnTo>
                    <a:pt x="44" y="31"/>
                  </a:lnTo>
                  <a:lnTo>
                    <a:pt x="44" y="29"/>
                  </a:lnTo>
                  <a:lnTo>
                    <a:pt x="44" y="31"/>
                  </a:lnTo>
                  <a:lnTo>
                    <a:pt x="44" y="33"/>
                  </a:lnTo>
                  <a:lnTo>
                    <a:pt x="46" y="33"/>
                  </a:lnTo>
                  <a:lnTo>
                    <a:pt x="46" y="35"/>
                  </a:lnTo>
                  <a:lnTo>
                    <a:pt x="48" y="35"/>
                  </a:lnTo>
                  <a:lnTo>
                    <a:pt x="48" y="37"/>
                  </a:lnTo>
                  <a:lnTo>
                    <a:pt x="48" y="35"/>
                  </a:lnTo>
                  <a:lnTo>
                    <a:pt x="50" y="35"/>
                  </a:lnTo>
                  <a:lnTo>
                    <a:pt x="50" y="37"/>
                  </a:lnTo>
                  <a:lnTo>
                    <a:pt x="50" y="39"/>
                  </a:lnTo>
                  <a:lnTo>
                    <a:pt x="50" y="41"/>
                  </a:lnTo>
                  <a:lnTo>
                    <a:pt x="48" y="43"/>
                  </a:lnTo>
                  <a:lnTo>
                    <a:pt x="50" y="43"/>
                  </a:lnTo>
                  <a:lnTo>
                    <a:pt x="50" y="45"/>
                  </a:lnTo>
                  <a:lnTo>
                    <a:pt x="52" y="45"/>
                  </a:lnTo>
                  <a:lnTo>
                    <a:pt x="50" y="45"/>
                  </a:lnTo>
                  <a:lnTo>
                    <a:pt x="52" y="45"/>
                  </a:lnTo>
                  <a:lnTo>
                    <a:pt x="50" y="45"/>
                  </a:lnTo>
                  <a:lnTo>
                    <a:pt x="48" y="45"/>
                  </a:lnTo>
                  <a:lnTo>
                    <a:pt x="48" y="46"/>
                  </a:lnTo>
                  <a:lnTo>
                    <a:pt x="48" y="45"/>
                  </a:lnTo>
                  <a:lnTo>
                    <a:pt x="46" y="45"/>
                  </a:lnTo>
                  <a:lnTo>
                    <a:pt x="46" y="43"/>
                  </a:lnTo>
                  <a:lnTo>
                    <a:pt x="46" y="45"/>
                  </a:lnTo>
                  <a:lnTo>
                    <a:pt x="44" y="45"/>
                  </a:lnTo>
                  <a:lnTo>
                    <a:pt x="46" y="45"/>
                  </a:lnTo>
                  <a:lnTo>
                    <a:pt x="46" y="46"/>
                  </a:lnTo>
                  <a:lnTo>
                    <a:pt x="44" y="46"/>
                  </a:lnTo>
                  <a:lnTo>
                    <a:pt x="44" y="45"/>
                  </a:lnTo>
                  <a:lnTo>
                    <a:pt x="42" y="45"/>
                  </a:lnTo>
                  <a:lnTo>
                    <a:pt x="42" y="43"/>
                  </a:lnTo>
                  <a:lnTo>
                    <a:pt x="40" y="45"/>
                  </a:lnTo>
                  <a:lnTo>
                    <a:pt x="40" y="43"/>
                  </a:lnTo>
                  <a:lnTo>
                    <a:pt x="40" y="45"/>
                  </a:lnTo>
                  <a:lnTo>
                    <a:pt x="38" y="45"/>
                  </a:lnTo>
                  <a:lnTo>
                    <a:pt x="38" y="43"/>
                  </a:lnTo>
                  <a:lnTo>
                    <a:pt x="38" y="41"/>
                  </a:lnTo>
                  <a:lnTo>
                    <a:pt x="38" y="43"/>
                  </a:lnTo>
                  <a:lnTo>
                    <a:pt x="36" y="43"/>
                  </a:lnTo>
                  <a:lnTo>
                    <a:pt x="34" y="43"/>
                  </a:lnTo>
                  <a:lnTo>
                    <a:pt x="36" y="43"/>
                  </a:lnTo>
                  <a:lnTo>
                    <a:pt x="36" y="45"/>
                  </a:lnTo>
                  <a:lnTo>
                    <a:pt x="34" y="45"/>
                  </a:lnTo>
                  <a:lnTo>
                    <a:pt x="34" y="46"/>
                  </a:lnTo>
                  <a:lnTo>
                    <a:pt x="34" y="48"/>
                  </a:lnTo>
                  <a:lnTo>
                    <a:pt x="36" y="48"/>
                  </a:lnTo>
                  <a:lnTo>
                    <a:pt x="36" y="50"/>
                  </a:lnTo>
                  <a:lnTo>
                    <a:pt x="34" y="50"/>
                  </a:lnTo>
                  <a:lnTo>
                    <a:pt x="34" y="52"/>
                  </a:lnTo>
                  <a:lnTo>
                    <a:pt x="34" y="54"/>
                  </a:lnTo>
                  <a:lnTo>
                    <a:pt x="32" y="54"/>
                  </a:lnTo>
                  <a:lnTo>
                    <a:pt x="32" y="56"/>
                  </a:lnTo>
                  <a:lnTo>
                    <a:pt x="30" y="58"/>
                  </a:lnTo>
                  <a:lnTo>
                    <a:pt x="29" y="58"/>
                  </a:lnTo>
                  <a:lnTo>
                    <a:pt x="29" y="60"/>
                  </a:lnTo>
                  <a:lnTo>
                    <a:pt x="29" y="58"/>
                  </a:lnTo>
                  <a:lnTo>
                    <a:pt x="29" y="60"/>
                  </a:lnTo>
                  <a:lnTo>
                    <a:pt x="29" y="58"/>
                  </a:lnTo>
                  <a:lnTo>
                    <a:pt x="29" y="60"/>
                  </a:lnTo>
                  <a:lnTo>
                    <a:pt x="27" y="60"/>
                  </a:lnTo>
                  <a:lnTo>
                    <a:pt x="29" y="60"/>
                  </a:lnTo>
                  <a:lnTo>
                    <a:pt x="29" y="62"/>
                  </a:lnTo>
                  <a:lnTo>
                    <a:pt x="29" y="64"/>
                  </a:lnTo>
                  <a:lnTo>
                    <a:pt x="27" y="64"/>
                  </a:lnTo>
                  <a:lnTo>
                    <a:pt x="25" y="64"/>
                  </a:lnTo>
                  <a:lnTo>
                    <a:pt x="23" y="6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393">
              <a:extLst>
                <a:ext uri="{FF2B5EF4-FFF2-40B4-BE49-F238E27FC236}">
                  <a16:creationId xmlns:a16="http://schemas.microsoft.com/office/drawing/2014/main" id="{98328FD4-D220-4E4A-87E8-5A537B43F2E5}"/>
                </a:ext>
              </a:extLst>
            </p:cNvPr>
            <p:cNvSpPr>
              <a:spLocks/>
            </p:cNvSpPr>
            <p:nvPr/>
          </p:nvSpPr>
          <p:spPr bwMode="gray">
            <a:xfrm>
              <a:off x="3625230" y="3143843"/>
              <a:ext cx="171693" cy="148392"/>
            </a:xfrm>
            <a:custGeom>
              <a:avLst/>
              <a:gdLst>
                <a:gd name="T0" fmla="*/ 119 w 140"/>
                <a:gd name="T1" fmla="*/ 100 h 121"/>
                <a:gd name="T2" fmla="*/ 111 w 140"/>
                <a:gd name="T3" fmla="*/ 106 h 121"/>
                <a:gd name="T4" fmla="*/ 107 w 140"/>
                <a:gd name="T5" fmla="*/ 117 h 121"/>
                <a:gd name="T6" fmla="*/ 104 w 140"/>
                <a:gd name="T7" fmla="*/ 119 h 121"/>
                <a:gd name="T8" fmla="*/ 98 w 140"/>
                <a:gd name="T9" fmla="*/ 115 h 121"/>
                <a:gd name="T10" fmla="*/ 90 w 140"/>
                <a:gd name="T11" fmla="*/ 117 h 121"/>
                <a:gd name="T12" fmla="*/ 82 w 140"/>
                <a:gd name="T13" fmla="*/ 115 h 121"/>
                <a:gd name="T14" fmla="*/ 75 w 140"/>
                <a:gd name="T15" fmla="*/ 113 h 121"/>
                <a:gd name="T16" fmla="*/ 67 w 140"/>
                <a:gd name="T17" fmla="*/ 113 h 121"/>
                <a:gd name="T18" fmla="*/ 65 w 140"/>
                <a:gd name="T19" fmla="*/ 111 h 121"/>
                <a:gd name="T20" fmla="*/ 54 w 140"/>
                <a:gd name="T21" fmla="*/ 109 h 121"/>
                <a:gd name="T22" fmla="*/ 46 w 140"/>
                <a:gd name="T23" fmla="*/ 106 h 121"/>
                <a:gd name="T24" fmla="*/ 40 w 140"/>
                <a:gd name="T25" fmla="*/ 106 h 121"/>
                <a:gd name="T26" fmla="*/ 29 w 140"/>
                <a:gd name="T27" fmla="*/ 104 h 121"/>
                <a:gd name="T28" fmla="*/ 17 w 140"/>
                <a:gd name="T29" fmla="*/ 109 h 121"/>
                <a:gd name="T30" fmla="*/ 9 w 140"/>
                <a:gd name="T31" fmla="*/ 111 h 121"/>
                <a:gd name="T32" fmla="*/ 6 w 140"/>
                <a:gd name="T33" fmla="*/ 109 h 121"/>
                <a:gd name="T34" fmla="*/ 8 w 140"/>
                <a:gd name="T35" fmla="*/ 106 h 121"/>
                <a:gd name="T36" fmla="*/ 4 w 140"/>
                <a:gd name="T37" fmla="*/ 100 h 121"/>
                <a:gd name="T38" fmla="*/ 2 w 140"/>
                <a:gd name="T39" fmla="*/ 92 h 121"/>
                <a:gd name="T40" fmla="*/ 11 w 140"/>
                <a:gd name="T41" fmla="*/ 84 h 121"/>
                <a:gd name="T42" fmla="*/ 11 w 140"/>
                <a:gd name="T43" fmla="*/ 77 h 121"/>
                <a:gd name="T44" fmla="*/ 8 w 140"/>
                <a:gd name="T45" fmla="*/ 67 h 121"/>
                <a:gd name="T46" fmla="*/ 6 w 140"/>
                <a:gd name="T47" fmla="*/ 56 h 121"/>
                <a:gd name="T48" fmla="*/ 17 w 140"/>
                <a:gd name="T49" fmla="*/ 58 h 121"/>
                <a:gd name="T50" fmla="*/ 25 w 140"/>
                <a:gd name="T51" fmla="*/ 56 h 121"/>
                <a:gd name="T52" fmla="*/ 27 w 140"/>
                <a:gd name="T53" fmla="*/ 52 h 121"/>
                <a:gd name="T54" fmla="*/ 34 w 140"/>
                <a:gd name="T55" fmla="*/ 50 h 121"/>
                <a:gd name="T56" fmla="*/ 36 w 140"/>
                <a:gd name="T57" fmla="*/ 50 h 121"/>
                <a:gd name="T58" fmla="*/ 36 w 140"/>
                <a:gd name="T59" fmla="*/ 44 h 121"/>
                <a:gd name="T60" fmla="*/ 38 w 140"/>
                <a:gd name="T61" fmla="*/ 36 h 121"/>
                <a:gd name="T62" fmla="*/ 46 w 140"/>
                <a:gd name="T63" fmla="*/ 27 h 121"/>
                <a:gd name="T64" fmla="*/ 48 w 140"/>
                <a:gd name="T65" fmla="*/ 27 h 121"/>
                <a:gd name="T66" fmla="*/ 48 w 140"/>
                <a:gd name="T67" fmla="*/ 21 h 121"/>
                <a:gd name="T68" fmla="*/ 54 w 140"/>
                <a:gd name="T69" fmla="*/ 10 h 121"/>
                <a:gd name="T70" fmla="*/ 63 w 140"/>
                <a:gd name="T71" fmla="*/ 10 h 121"/>
                <a:gd name="T72" fmla="*/ 71 w 140"/>
                <a:gd name="T73" fmla="*/ 0 h 121"/>
                <a:gd name="T74" fmla="*/ 77 w 140"/>
                <a:gd name="T75" fmla="*/ 0 h 121"/>
                <a:gd name="T76" fmla="*/ 82 w 140"/>
                <a:gd name="T77" fmla="*/ 4 h 121"/>
                <a:gd name="T78" fmla="*/ 92 w 140"/>
                <a:gd name="T79" fmla="*/ 4 h 121"/>
                <a:gd name="T80" fmla="*/ 94 w 140"/>
                <a:gd name="T81" fmla="*/ 11 h 121"/>
                <a:gd name="T82" fmla="*/ 107 w 140"/>
                <a:gd name="T83" fmla="*/ 8 h 121"/>
                <a:gd name="T84" fmla="*/ 111 w 140"/>
                <a:gd name="T85" fmla="*/ 11 h 121"/>
                <a:gd name="T86" fmla="*/ 113 w 140"/>
                <a:gd name="T87" fmla="*/ 19 h 121"/>
                <a:gd name="T88" fmla="*/ 115 w 140"/>
                <a:gd name="T89" fmla="*/ 27 h 121"/>
                <a:gd name="T90" fmla="*/ 113 w 140"/>
                <a:gd name="T91" fmla="*/ 35 h 121"/>
                <a:gd name="T92" fmla="*/ 115 w 140"/>
                <a:gd name="T93" fmla="*/ 42 h 121"/>
                <a:gd name="T94" fmla="*/ 121 w 140"/>
                <a:gd name="T95" fmla="*/ 50 h 121"/>
                <a:gd name="T96" fmla="*/ 127 w 140"/>
                <a:gd name="T97" fmla="*/ 54 h 121"/>
                <a:gd name="T98" fmla="*/ 127 w 140"/>
                <a:gd name="T99" fmla="*/ 59 h 121"/>
                <a:gd name="T100" fmla="*/ 136 w 140"/>
                <a:gd name="T101" fmla="*/ 63 h 121"/>
                <a:gd name="T102" fmla="*/ 138 w 140"/>
                <a:gd name="T103" fmla="*/ 71 h 121"/>
                <a:gd name="T104" fmla="*/ 136 w 140"/>
                <a:gd name="T105" fmla="*/ 71 h 121"/>
                <a:gd name="T106" fmla="*/ 127 w 140"/>
                <a:gd name="T107" fmla="*/ 75 h 121"/>
                <a:gd name="T108" fmla="*/ 119 w 140"/>
                <a:gd name="T109" fmla="*/ 77 h 121"/>
                <a:gd name="T110" fmla="*/ 123 w 140"/>
                <a:gd name="T111" fmla="*/ 83 h 121"/>
                <a:gd name="T112" fmla="*/ 123 w 140"/>
                <a:gd name="T113" fmla="*/ 9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21">
                  <a:moveTo>
                    <a:pt x="127" y="100"/>
                  </a:moveTo>
                  <a:lnTo>
                    <a:pt x="125" y="100"/>
                  </a:lnTo>
                  <a:lnTo>
                    <a:pt x="125" y="102"/>
                  </a:lnTo>
                  <a:lnTo>
                    <a:pt x="125" y="100"/>
                  </a:lnTo>
                  <a:lnTo>
                    <a:pt x="123" y="100"/>
                  </a:lnTo>
                  <a:lnTo>
                    <a:pt x="121" y="100"/>
                  </a:lnTo>
                  <a:lnTo>
                    <a:pt x="119" y="100"/>
                  </a:lnTo>
                  <a:lnTo>
                    <a:pt x="121" y="100"/>
                  </a:lnTo>
                  <a:lnTo>
                    <a:pt x="119" y="100"/>
                  </a:lnTo>
                  <a:lnTo>
                    <a:pt x="119" y="102"/>
                  </a:lnTo>
                  <a:lnTo>
                    <a:pt x="117" y="102"/>
                  </a:lnTo>
                  <a:lnTo>
                    <a:pt x="115" y="102"/>
                  </a:lnTo>
                  <a:lnTo>
                    <a:pt x="113" y="102"/>
                  </a:lnTo>
                  <a:lnTo>
                    <a:pt x="113" y="104"/>
                  </a:lnTo>
                  <a:lnTo>
                    <a:pt x="111" y="104"/>
                  </a:lnTo>
                  <a:lnTo>
                    <a:pt x="113" y="104"/>
                  </a:lnTo>
                  <a:lnTo>
                    <a:pt x="111" y="104"/>
                  </a:lnTo>
                  <a:lnTo>
                    <a:pt x="111" y="106"/>
                  </a:lnTo>
                  <a:lnTo>
                    <a:pt x="109" y="106"/>
                  </a:lnTo>
                  <a:lnTo>
                    <a:pt x="109" y="108"/>
                  </a:lnTo>
                  <a:lnTo>
                    <a:pt x="109" y="109"/>
                  </a:lnTo>
                  <a:lnTo>
                    <a:pt x="107" y="109"/>
                  </a:lnTo>
                  <a:lnTo>
                    <a:pt x="107" y="111"/>
                  </a:lnTo>
                  <a:lnTo>
                    <a:pt x="107" y="113"/>
                  </a:lnTo>
                  <a:lnTo>
                    <a:pt x="107" y="115"/>
                  </a:lnTo>
                  <a:lnTo>
                    <a:pt x="109" y="115"/>
                  </a:lnTo>
                  <a:lnTo>
                    <a:pt x="107" y="117"/>
                  </a:lnTo>
                  <a:lnTo>
                    <a:pt x="109" y="117"/>
                  </a:lnTo>
                  <a:lnTo>
                    <a:pt x="109" y="119"/>
                  </a:lnTo>
                  <a:lnTo>
                    <a:pt x="109" y="121"/>
                  </a:lnTo>
                  <a:lnTo>
                    <a:pt x="107" y="121"/>
                  </a:lnTo>
                  <a:lnTo>
                    <a:pt x="105" y="121"/>
                  </a:lnTo>
                  <a:lnTo>
                    <a:pt x="107" y="121"/>
                  </a:lnTo>
                  <a:lnTo>
                    <a:pt x="107" y="119"/>
                  </a:lnTo>
                  <a:lnTo>
                    <a:pt x="105" y="119"/>
                  </a:lnTo>
                  <a:lnTo>
                    <a:pt x="104" y="119"/>
                  </a:lnTo>
                  <a:lnTo>
                    <a:pt x="105" y="119"/>
                  </a:lnTo>
                  <a:lnTo>
                    <a:pt x="105" y="117"/>
                  </a:lnTo>
                  <a:lnTo>
                    <a:pt x="104" y="117"/>
                  </a:lnTo>
                  <a:lnTo>
                    <a:pt x="104" y="115"/>
                  </a:lnTo>
                  <a:lnTo>
                    <a:pt x="102" y="115"/>
                  </a:lnTo>
                  <a:lnTo>
                    <a:pt x="100" y="115"/>
                  </a:lnTo>
                  <a:lnTo>
                    <a:pt x="98" y="115"/>
                  </a:lnTo>
                  <a:lnTo>
                    <a:pt x="98" y="117"/>
                  </a:lnTo>
                  <a:lnTo>
                    <a:pt x="98" y="115"/>
                  </a:lnTo>
                  <a:lnTo>
                    <a:pt x="98" y="117"/>
                  </a:lnTo>
                  <a:lnTo>
                    <a:pt x="98" y="115"/>
                  </a:lnTo>
                  <a:lnTo>
                    <a:pt x="96" y="115"/>
                  </a:lnTo>
                  <a:lnTo>
                    <a:pt x="96" y="117"/>
                  </a:lnTo>
                  <a:lnTo>
                    <a:pt x="96" y="115"/>
                  </a:lnTo>
                  <a:lnTo>
                    <a:pt x="94" y="115"/>
                  </a:lnTo>
                  <a:lnTo>
                    <a:pt x="92" y="115"/>
                  </a:lnTo>
                  <a:lnTo>
                    <a:pt x="92" y="117"/>
                  </a:lnTo>
                  <a:lnTo>
                    <a:pt x="90" y="117"/>
                  </a:lnTo>
                  <a:lnTo>
                    <a:pt x="90" y="115"/>
                  </a:lnTo>
                  <a:lnTo>
                    <a:pt x="88" y="115"/>
                  </a:lnTo>
                  <a:lnTo>
                    <a:pt x="88" y="113"/>
                  </a:lnTo>
                  <a:lnTo>
                    <a:pt x="88" y="111"/>
                  </a:lnTo>
                  <a:lnTo>
                    <a:pt x="86" y="111"/>
                  </a:lnTo>
                  <a:lnTo>
                    <a:pt x="86" y="113"/>
                  </a:lnTo>
                  <a:lnTo>
                    <a:pt x="84" y="113"/>
                  </a:lnTo>
                  <a:lnTo>
                    <a:pt x="82" y="113"/>
                  </a:lnTo>
                  <a:lnTo>
                    <a:pt x="82" y="115"/>
                  </a:lnTo>
                  <a:lnTo>
                    <a:pt x="82" y="117"/>
                  </a:lnTo>
                  <a:lnTo>
                    <a:pt x="80" y="117"/>
                  </a:lnTo>
                  <a:lnTo>
                    <a:pt x="80" y="115"/>
                  </a:lnTo>
                  <a:lnTo>
                    <a:pt x="80" y="117"/>
                  </a:lnTo>
                  <a:lnTo>
                    <a:pt x="80" y="115"/>
                  </a:lnTo>
                  <a:lnTo>
                    <a:pt x="80" y="113"/>
                  </a:lnTo>
                  <a:lnTo>
                    <a:pt x="79" y="113"/>
                  </a:lnTo>
                  <a:lnTo>
                    <a:pt x="77" y="113"/>
                  </a:lnTo>
                  <a:lnTo>
                    <a:pt x="75" y="113"/>
                  </a:lnTo>
                  <a:lnTo>
                    <a:pt x="75" y="111"/>
                  </a:lnTo>
                  <a:lnTo>
                    <a:pt x="73" y="111"/>
                  </a:lnTo>
                  <a:lnTo>
                    <a:pt x="73" y="113"/>
                  </a:lnTo>
                  <a:lnTo>
                    <a:pt x="71" y="113"/>
                  </a:lnTo>
                  <a:lnTo>
                    <a:pt x="69" y="113"/>
                  </a:lnTo>
                  <a:lnTo>
                    <a:pt x="71" y="113"/>
                  </a:lnTo>
                  <a:lnTo>
                    <a:pt x="69" y="113"/>
                  </a:lnTo>
                  <a:lnTo>
                    <a:pt x="69" y="111"/>
                  </a:lnTo>
                  <a:lnTo>
                    <a:pt x="67" y="113"/>
                  </a:lnTo>
                  <a:lnTo>
                    <a:pt x="69" y="113"/>
                  </a:lnTo>
                  <a:lnTo>
                    <a:pt x="67" y="113"/>
                  </a:lnTo>
                  <a:lnTo>
                    <a:pt x="69" y="113"/>
                  </a:lnTo>
                  <a:lnTo>
                    <a:pt x="67" y="115"/>
                  </a:lnTo>
                  <a:lnTo>
                    <a:pt x="65" y="115"/>
                  </a:lnTo>
                  <a:lnTo>
                    <a:pt x="65" y="113"/>
                  </a:lnTo>
                  <a:lnTo>
                    <a:pt x="67" y="113"/>
                  </a:lnTo>
                  <a:lnTo>
                    <a:pt x="65" y="113"/>
                  </a:lnTo>
                  <a:lnTo>
                    <a:pt x="65" y="111"/>
                  </a:lnTo>
                  <a:lnTo>
                    <a:pt x="63" y="111"/>
                  </a:lnTo>
                  <a:lnTo>
                    <a:pt x="63" y="113"/>
                  </a:lnTo>
                  <a:lnTo>
                    <a:pt x="63" y="111"/>
                  </a:lnTo>
                  <a:lnTo>
                    <a:pt x="61" y="113"/>
                  </a:lnTo>
                  <a:lnTo>
                    <a:pt x="59" y="113"/>
                  </a:lnTo>
                  <a:lnTo>
                    <a:pt x="59" y="111"/>
                  </a:lnTo>
                  <a:lnTo>
                    <a:pt x="59" y="109"/>
                  </a:lnTo>
                  <a:lnTo>
                    <a:pt x="56" y="109"/>
                  </a:lnTo>
                  <a:lnTo>
                    <a:pt x="54" y="109"/>
                  </a:lnTo>
                  <a:lnTo>
                    <a:pt x="52" y="109"/>
                  </a:lnTo>
                  <a:lnTo>
                    <a:pt x="52" y="108"/>
                  </a:lnTo>
                  <a:lnTo>
                    <a:pt x="52" y="109"/>
                  </a:lnTo>
                  <a:lnTo>
                    <a:pt x="52" y="108"/>
                  </a:lnTo>
                  <a:lnTo>
                    <a:pt x="50" y="108"/>
                  </a:lnTo>
                  <a:lnTo>
                    <a:pt x="48" y="108"/>
                  </a:lnTo>
                  <a:lnTo>
                    <a:pt x="48" y="106"/>
                  </a:lnTo>
                  <a:lnTo>
                    <a:pt x="46" y="108"/>
                  </a:lnTo>
                  <a:lnTo>
                    <a:pt x="46" y="106"/>
                  </a:lnTo>
                  <a:lnTo>
                    <a:pt x="46" y="108"/>
                  </a:lnTo>
                  <a:lnTo>
                    <a:pt x="46" y="106"/>
                  </a:lnTo>
                  <a:lnTo>
                    <a:pt x="46" y="108"/>
                  </a:lnTo>
                  <a:lnTo>
                    <a:pt x="46" y="106"/>
                  </a:lnTo>
                  <a:lnTo>
                    <a:pt x="44" y="106"/>
                  </a:lnTo>
                  <a:lnTo>
                    <a:pt x="42" y="106"/>
                  </a:lnTo>
                  <a:lnTo>
                    <a:pt x="40" y="106"/>
                  </a:lnTo>
                  <a:lnTo>
                    <a:pt x="42" y="106"/>
                  </a:lnTo>
                  <a:lnTo>
                    <a:pt x="40" y="106"/>
                  </a:lnTo>
                  <a:lnTo>
                    <a:pt x="38" y="106"/>
                  </a:lnTo>
                  <a:lnTo>
                    <a:pt x="38" y="104"/>
                  </a:lnTo>
                  <a:lnTo>
                    <a:pt x="38" y="106"/>
                  </a:lnTo>
                  <a:lnTo>
                    <a:pt x="36" y="106"/>
                  </a:lnTo>
                  <a:lnTo>
                    <a:pt x="34" y="106"/>
                  </a:lnTo>
                  <a:lnTo>
                    <a:pt x="33" y="106"/>
                  </a:lnTo>
                  <a:lnTo>
                    <a:pt x="31" y="106"/>
                  </a:lnTo>
                  <a:lnTo>
                    <a:pt x="31" y="104"/>
                  </a:lnTo>
                  <a:lnTo>
                    <a:pt x="29" y="104"/>
                  </a:lnTo>
                  <a:lnTo>
                    <a:pt x="27" y="104"/>
                  </a:lnTo>
                  <a:lnTo>
                    <a:pt x="27" y="106"/>
                  </a:lnTo>
                  <a:lnTo>
                    <a:pt x="25" y="106"/>
                  </a:lnTo>
                  <a:lnTo>
                    <a:pt x="23" y="106"/>
                  </a:lnTo>
                  <a:lnTo>
                    <a:pt x="21" y="106"/>
                  </a:lnTo>
                  <a:lnTo>
                    <a:pt x="19" y="106"/>
                  </a:lnTo>
                  <a:lnTo>
                    <a:pt x="17" y="106"/>
                  </a:lnTo>
                  <a:lnTo>
                    <a:pt x="17" y="108"/>
                  </a:lnTo>
                  <a:lnTo>
                    <a:pt x="17" y="109"/>
                  </a:lnTo>
                  <a:lnTo>
                    <a:pt x="15" y="109"/>
                  </a:lnTo>
                  <a:lnTo>
                    <a:pt x="15" y="111"/>
                  </a:lnTo>
                  <a:lnTo>
                    <a:pt x="13" y="111"/>
                  </a:lnTo>
                  <a:lnTo>
                    <a:pt x="13" y="113"/>
                  </a:lnTo>
                  <a:lnTo>
                    <a:pt x="11" y="113"/>
                  </a:lnTo>
                  <a:lnTo>
                    <a:pt x="9" y="113"/>
                  </a:lnTo>
                  <a:lnTo>
                    <a:pt x="9" y="111"/>
                  </a:lnTo>
                  <a:lnTo>
                    <a:pt x="11" y="111"/>
                  </a:lnTo>
                  <a:lnTo>
                    <a:pt x="9" y="111"/>
                  </a:lnTo>
                  <a:lnTo>
                    <a:pt x="8" y="111"/>
                  </a:lnTo>
                  <a:lnTo>
                    <a:pt x="6" y="111"/>
                  </a:lnTo>
                  <a:lnTo>
                    <a:pt x="6" y="113"/>
                  </a:lnTo>
                  <a:lnTo>
                    <a:pt x="8" y="113"/>
                  </a:lnTo>
                  <a:lnTo>
                    <a:pt x="8" y="115"/>
                  </a:lnTo>
                  <a:lnTo>
                    <a:pt x="6" y="115"/>
                  </a:lnTo>
                  <a:lnTo>
                    <a:pt x="6" y="113"/>
                  </a:lnTo>
                  <a:lnTo>
                    <a:pt x="6" y="111"/>
                  </a:lnTo>
                  <a:lnTo>
                    <a:pt x="6" y="109"/>
                  </a:lnTo>
                  <a:lnTo>
                    <a:pt x="6" y="108"/>
                  </a:lnTo>
                  <a:lnTo>
                    <a:pt x="6" y="109"/>
                  </a:lnTo>
                  <a:lnTo>
                    <a:pt x="6" y="108"/>
                  </a:lnTo>
                  <a:lnTo>
                    <a:pt x="8" y="108"/>
                  </a:lnTo>
                  <a:lnTo>
                    <a:pt x="6" y="108"/>
                  </a:lnTo>
                  <a:lnTo>
                    <a:pt x="8" y="108"/>
                  </a:lnTo>
                  <a:lnTo>
                    <a:pt x="6" y="108"/>
                  </a:lnTo>
                  <a:lnTo>
                    <a:pt x="6" y="106"/>
                  </a:lnTo>
                  <a:lnTo>
                    <a:pt x="8" y="106"/>
                  </a:lnTo>
                  <a:lnTo>
                    <a:pt x="6" y="106"/>
                  </a:lnTo>
                  <a:lnTo>
                    <a:pt x="8" y="106"/>
                  </a:lnTo>
                  <a:lnTo>
                    <a:pt x="8" y="104"/>
                  </a:lnTo>
                  <a:lnTo>
                    <a:pt x="6" y="104"/>
                  </a:lnTo>
                  <a:lnTo>
                    <a:pt x="8" y="104"/>
                  </a:lnTo>
                  <a:lnTo>
                    <a:pt x="8" y="102"/>
                  </a:lnTo>
                  <a:lnTo>
                    <a:pt x="6" y="102"/>
                  </a:lnTo>
                  <a:lnTo>
                    <a:pt x="6" y="100"/>
                  </a:lnTo>
                  <a:lnTo>
                    <a:pt x="4" y="100"/>
                  </a:lnTo>
                  <a:lnTo>
                    <a:pt x="6" y="100"/>
                  </a:lnTo>
                  <a:lnTo>
                    <a:pt x="4" y="100"/>
                  </a:lnTo>
                  <a:lnTo>
                    <a:pt x="4" y="98"/>
                  </a:lnTo>
                  <a:lnTo>
                    <a:pt x="2" y="98"/>
                  </a:lnTo>
                  <a:lnTo>
                    <a:pt x="0" y="98"/>
                  </a:lnTo>
                  <a:lnTo>
                    <a:pt x="0" y="96"/>
                  </a:lnTo>
                  <a:lnTo>
                    <a:pt x="0" y="94"/>
                  </a:lnTo>
                  <a:lnTo>
                    <a:pt x="2" y="94"/>
                  </a:lnTo>
                  <a:lnTo>
                    <a:pt x="2" y="92"/>
                  </a:lnTo>
                  <a:lnTo>
                    <a:pt x="4" y="92"/>
                  </a:lnTo>
                  <a:lnTo>
                    <a:pt x="4" y="90"/>
                  </a:lnTo>
                  <a:lnTo>
                    <a:pt x="6" y="90"/>
                  </a:lnTo>
                  <a:lnTo>
                    <a:pt x="6" y="88"/>
                  </a:lnTo>
                  <a:lnTo>
                    <a:pt x="8" y="88"/>
                  </a:lnTo>
                  <a:lnTo>
                    <a:pt x="9" y="88"/>
                  </a:lnTo>
                  <a:lnTo>
                    <a:pt x="9" y="86"/>
                  </a:lnTo>
                  <a:lnTo>
                    <a:pt x="11" y="86"/>
                  </a:lnTo>
                  <a:lnTo>
                    <a:pt x="11" y="84"/>
                  </a:lnTo>
                  <a:lnTo>
                    <a:pt x="11" y="83"/>
                  </a:lnTo>
                  <a:lnTo>
                    <a:pt x="11" y="81"/>
                  </a:lnTo>
                  <a:lnTo>
                    <a:pt x="11" y="79"/>
                  </a:lnTo>
                  <a:lnTo>
                    <a:pt x="9" y="77"/>
                  </a:lnTo>
                  <a:lnTo>
                    <a:pt x="11" y="77"/>
                  </a:lnTo>
                  <a:lnTo>
                    <a:pt x="9" y="77"/>
                  </a:lnTo>
                  <a:lnTo>
                    <a:pt x="11" y="77"/>
                  </a:lnTo>
                  <a:lnTo>
                    <a:pt x="9" y="77"/>
                  </a:lnTo>
                  <a:lnTo>
                    <a:pt x="11" y="77"/>
                  </a:lnTo>
                  <a:lnTo>
                    <a:pt x="9" y="77"/>
                  </a:lnTo>
                  <a:lnTo>
                    <a:pt x="11" y="77"/>
                  </a:lnTo>
                  <a:lnTo>
                    <a:pt x="11" y="75"/>
                  </a:lnTo>
                  <a:lnTo>
                    <a:pt x="9" y="75"/>
                  </a:lnTo>
                  <a:lnTo>
                    <a:pt x="9" y="73"/>
                  </a:lnTo>
                  <a:lnTo>
                    <a:pt x="9" y="71"/>
                  </a:lnTo>
                  <a:lnTo>
                    <a:pt x="8" y="71"/>
                  </a:lnTo>
                  <a:lnTo>
                    <a:pt x="8" y="69"/>
                  </a:lnTo>
                  <a:lnTo>
                    <a:pt x="8" y="67"/>
                  </a:lnTo>
                  <a:lnTo>
                    <a:pt x="8" y="65"/>
                  </a:lnTo>
                  <a:lnTo>
                    <a:pt x="6" y="65"/>
                  </a:lnTo>
                  <a:lnTo>
                    <a:pt x="6" y="63"/>
                  </a:lnTo>
                  <a:lnTo>
                    <a:pt x="6" y="61"/>
                  </a:lnTo>
                  <a:lnTo>
                    <a:pt x="6" y="59"/>
                  </a:lnTo>
                  <a:lnTo>
                    <a:pt x="6" y="58"/>
                  </a:lnTo>
                  <a:lnTo>
                    <a:pt x="6" y="59"/>
                  </a:lnTo>
                  <a:lnTo>
                    <a:pt x="6" y="58"/>
                  </a:lnTo>
                  <a:lnTo>
                    <a:pt x="6" y="56"/>
                  </a:lnTo>
                  <a:lnTo>
                    <a:pt x="8" y="56"/>
                  </a:lnTo>
                  <a:lnTo>
                    <a:pt x="9" y="56"/>
                  </a:lnTo>
                  <a:lnTo>
                    <a:pt x="9" y="58"/>
                  </a:lnTo>
                  <a:lnTo>
                    <a:pt x="9" y="56"/>
                  </a:lnTo>
                  <a:lnTo>
                    <a:pt x="11" y="56"/>
                  </a:lnTo>
                  <a:lnTo>
                    <a:pt x="13" y="56"/>
                  </a:lnTo>
                  <a:lnTo>
                    <a:pt x="15" y="56"/>
                  </a:lnTo>
                  <a:lnTo>
                    <a:pt x="15" y="58"/>
                  </a:lnTo>
                  <a:lnTo>
                    <a:pt x="17" y="58"/>
                  </a:lnTo>
                  <a:lnTo>
                    <a:pt x="19" y="58"/>
                  </a:lnTo>
                  <a:lnTo>
                    <a:pt x="19" y="56"/>
                  </a:lnTo>
                  <a:lnTo>
                    <a:pt x="21" y="56"/>
                  </a:lnTo>
                  <a:lnTo>
                    <a:pt x="21" y="54"/>
                  </a:lnTo>
                  <a:lnTo>
                    <a:pt x="23" y="54"/>
                  </a:lnTo>
                  <a:lnTo>
                    <a:pt x="23" y="56"/>
                  </a:lnTo>
                  <a:lnTo>
                    <a:pt x="23" y="54"/>
                  </a:lnTo>
                  <a:lnTo>
                    <a:pt x="23" y="56"/>
                  </a:lnTo>
                  <a:lnTo>
                    <a:pt x="25" y="56"/>
                  </a:lnTo>
                  <a:lnTo>
                    <a:pt x="25" y="54"/>
                  </a:lnTo>
                  <a:lnTo>
                    <a:pt x="23" y="54"/>
                  </a:lnTo>
                  <a:lnTo>
                    <a:pt x="23" y="52"/>
                  </a:lnTo>
                  <a:lnTo>
                    <a:pt x="25" y="52"/>
                  </a:lnTo>
                  <a:lnTo>
                    <a:pt x="23" y="52"/>
                  </a:lnTo>
                  <a:lnTo>
                    <a:pt x="25" y="52"/>
                  </a:lnTo>
                  <a:lnTo>
                    <a:pt x="25" y="50"/>
                  </a:lnTo>
                  <a:lnTo>
                    <a:pt x="27" y="50"/>
                  </a:lnTo>
                  <a:lnTo>
                    <a:pt x="27" y="52"/>
                  </a:lnTo>
                  <a:lnTo>
                    <a:pt x="29" y="52"/>
                  </a:lnTo>
                  <a:lnTo>
                    <a:pt x="29" y="50"/>
                  </a:lnTo>
                  <a:lnTo>
                    <a:pt x="29" y="48"/>
                  </a:lnTo>
                  <a:lnTo>
                    <a:pt x="31" y="48"/>
                  </a:lnTo>
                  <a:lnTo>
                    <a:pt x="33" y="48"/>
                  </a:lnTo>
                  <a:lnTo>
                    <a:pt x="34" y="48"/>
                  </a:lnTo>
                  <a:lnTo>
                    <a:pt x="34" y="46"/>
                  </a:lnTo>
                  <a:lnTo>
                    <a:pt x="34" y="48"/>
                  </a:lnTo>
                  <a:lnTo>
                    <a:pt x="34" y="50"/>
                  </a:lnTo>
                  <a:lnTo>
                    <a:pt x="34" y="48"/>
                  </a:lnTo>
                  <a:lnTo>
                    <a:pt x="34" y="50"/>
                  </a:lnTo>
                  <a:lnTo>
                    <a:pt x="34" y="48"/>
                  </a:lnTo>
                  <a:lnTo>
                    <a:pt x="34" y="50"/>
                  </a:lnTo>
                  <a:lnTo>
                    <a:pt x="34" y="52"/>
                  </a:lnTo>
                  <a:lnTo>
                    <a:pt x="34" y="50"/>
                  </a:lnTo>
                  <a:lnTo>
                    <a:pt x="34" y="52"/>
                  </a:lnTo>
                  <a:lnTo>
                    <a:pt x="36" y="52"/>
                  </a:lnTo>
                  <a:lnTo>
                    <a:pt x="36" y="50"/>
                  </a:lnTo>
                  <a:lnTo>
                    <a:pt x="38" y="50"/>
                  </a:lnTo>
                  <a:lnTo>
                    <a:pt x="38" y="48"/>
                  </a:lnTo>
                  <a:lnTo>
                    <a:pt x="36" y="48"/>
                  </a:lnTo>
                  <a:lnTo>
                    <a:pt x="36" y="46"/>
                  </a:lnTo>
                  <a:lnTo>
                    <a:pt x="34" y="46"/>
                  </a:lnTo>
                  <a:lnTo>
                    <a:pt x="34" y="44"/>
                  </a:lnTo>
                  <a:lnTo>
                    <a:pt x="36" y="44"/>
                  </a:lnTo>
                  <a:lnTo>
                    <a:pt x="36" y="42"/>
                  </a:lnTo>
                  <a:lnTo>
                    <a:pt x="36" y="44"/>
                  </a:lnTo>
                  <a:lnTo>
                    <a:pt x="36" y="42"/>
                  </a:lnTo>
                  <a:lnTo>
                    <a:pt x="36" y="40"/>
                  </a:lnTo>
                  <a:lnTo>
                    <a:pt x="38" y="40"/>
                  </a:lnTo>
                  <a:lnTo>
                    <a:pt x="38" y="38"/>
                  </a:lnTo>
                  <a:lnTo>
                    <a:pt x="36" y="38"/>
                  </a:lnTo>
                  <a:lnTo>
                    <a:pt x="38" y="38"/>
                  </a:lnTo>
                  <a:lnTo>
                    <a:pt x="36" y="38"/>
                  </a:lnTo>
                  <a:lnTo>
                    <a:pt x="38" y="38"/>
                  </a:lnTo>
                  <a:lnTo>
                    <a:pt x="38" y="36"/>
                  </a:lnTo>
                  <a:lnTo>
                    <a:pt x="38" y="35"/>
                  </a:lnTo>
                  <a:lnTo>
                    <a:pt x="38" y="33"/>
                  </a:lnTo>
                  <a:lnTo>
                    <a:pt x="38" y="31"/>
                  </a:lnTo>
                  <a:lnTo>
                    <a:pt x="40" y="31"/>
                  </a:lnTo>
                  <a:lnTo>
                    <a:pt x="42" y="31"/>
                  </a:lnTo>
                  <a:lnTo>
                    <a:pt x="44" y="31"/>
                  </a:lnTo>
                  <a:lnTo>
                    <a:pt x="44" y="29"/>
                  </a:lnTo>
                  <a:lnTo>
                    <a:pt x="44" y="27"/>
                  </a:lnTo>
                  <a:lnTo>
                    <a:pt x="46" y="27"/>
                  </a:lnTo>
                  <a:lnTo>
                    <a:pt x="44" y="27"/>
                  </a:lnTo>
                  <a:lnTo>
                    <a:pt x="46" y="27"/>
                  </a:lnTo>
                  <a:lnTo>
                    <a:pt x="46" y="25"/>
                  </a:lnTo>
                  <a:lnTo>
                    <a:pt x="48" y="25"/>
                  </a:lnTo>
                  <a:lnTo>
                    <a:pt x="48" y="27"/>
                  </a:lnTo>
                  <a:lnTo>
                    <a:pt x="48" y="25"/>
                  </a:lnTo>
                  <a:lnTo>
                    <a:pt x="48" y="27"/>
                  </a:lnTo>
                  <a:lnTo>
                    <a:pt x="48" y="25"/>
                  </a:lnTo>
                  <a:lnTo>
                    <a:pt x="48" y="27"/>
                  </a:lnTo>
                  <a:lnTo>
                    <a:pt x="48" y="25"/>
                  </a:lnTo>
                  <a:lnTo>
                    <a:pt x="50" y="25"/>
                  </a:lnTo>
                  <a:lnTo>
                    <a:pt x="52" y="25"/>
                  </a:lnTo>
                  <a:lnTo>
                    <a:pt x="52" y="23"/>
                  </a:lnTo>
                  <a:lnTo>
                    <a:pt x="54" y="23"/>
                  </a:lnTo>
                  <a:lnTo>
                    <a:pt x="54" y="21"/>
                  </a:lnTo>
                  <a:lnTo>
                    <a:pt x="52" y="21"/>
                  </a:lnTo>
                  <a:lnTo>
                    <a:pt x="50" y="21"/>
                  </a:lnTo>
                  <a:lnTo>
                    <a:pt x="48" y="21"/>
                  </a:lnTo>
                  <a:lnTo>
                    <a:pt x="48" y="19"/>
                  </a:lnTo>
                  <a:lnTo>
                    <a:pt x="50" y="19"/>
                  </a:lnTo>
                  <a:lnTo>
                    <a:pt x="50" y="17"/>
                  </a:lnTo>
                  <a:lnTo>
                    <a:pt x="50" y="15"/>
                  </a:lnTo>
                  <a:lnTo>
                    <a:pt x="50" y="13"/>
                  </a:lnTo>
                  <a:lnTo>
                    <a:pt x="50" y="11"/>
                  </a:lnTo>
                  <a:lnTo>
                    <a:pt x="52" y="11"/>
                  </a:lnTo>
                  <a:lnTo>
                    <a:pt x="54" y="11"/>
                  </a:lnTo>
                  <a:lnTo>
                    <a:pt x="54" y="10"/>
                  </a:lnTo>
                  <a:lnTo>
                    <a:pt x="56" y="10"/>
                  </a:lnTo>
                  <a:lnTo>
                    <a:pt x="56" y="8"/>
                  </a:lnTo>
                  <a:lnTo>
                    <a:pt x="57" y="8"/>
                  </a:lnTo>
                  <a:lnTo>
                    <a:pt x="59" y="8"/>
                  </a:lnTo>
                  <a:lnTo>
                    <a:pt x="59" y="10"/>
                  </a:lnTo>
                  <a:lnTo>
                    <a:pt x="61" y="10"/>
                  </a:lnTo>
                  <a:lnTo>
                    <a:pt x="61" y="8"/>
                  </a:lnTo>
                  <a:lnTo>
                    <a:pt x="61" y="10"/>
                  </a:lnTo>
                  <a:lnTo>
                    <a:pt x="63" y="10"/>
                  </a:lnTo>
                  <a:lnTo>
                    <a:pt x="65" y="10"/>
                  </a:lnTo>
                  <a:lnTo>
                    <a:pt x="65" y="8"/>
                  </a:lnTo>
                  <a:lnTo>
                    <a:pt x="65" y="6"/>
                  </a:lnTo>
                  <a:lnTo>
                    <a:pt x="67" y="6"/>
                  </a:lnTo>
                  <a:lnTo>
                    <a:pt x="67" y="4"/>
                  </a:lnTo>
                  <a:lnTo>
                    <a:pt x="67" y="2"/>
                  </a:lnTo>
                  <a:lnTo>
                    <a:pt x="69" y="2"/>
                  </a:lnTo>
                  <a:lnTo>
                    <a:pt x="69" y="0"/>
                  </a:lnTo>
                  <a:lnTo>
                    <a:pt x="71" y="0"/>
                  </a:lnTo>
                  <a:lnTo>
                    <a:pt x="73" y="0"/>
                  </a:lnTo>
                  <a:lnTo>
                    <a:pt x="75" y="0"/>
                  </a:lnTo>
                  <a:lnTo>
                    <a:pt x="75" y="2"/>
                  </a:lnTo>
                  <a:lnTo>
                    <a:pt x="77" y="2"/>
                  </a:lnTo>
                  <a:lnTo>
                    <a:pt x="77" y="0"/>
                  </a:lnTo>
                  <a:lnTo>
                    <a:pt x="77" y="2"/>
                  </a:lnTo>
                  <a:lnTo>
                    <a:pt x="77" y="0"/>
                  </a:lnTo>
                  <a:lnTo>
                    <a:pt x="77" y="2"/>
                  </a:lnTo>
                  <a:lnTo>
                    <a:pt x="77" y="0"/>
                  </a:lnTo>
                  <a:lnTo>
                    <a:pt x="79" y="0"/>
                  </a:lnTo>
                  <a:lnTo>
                    <a:pt x="79" y="2"/>
                  </a:lnTo>
                  <a:lnTo>
                    <a:pt x="80" y="2"/>
                  </a:lnTo>
                  <a:lnTo>
                    <a:pt x="80" y="0"/>
                  </a:lnTo>
                  <a:lnTo>
                    <a:pt x="80" y="2"/>
                  </a:lnTo>
                  <a:lnTo>
                    <a:pt x="80" y="0"/>
                  </a:lnTo>
                  <a:lnTo>
                    <a:pt x="80" y="2"/>
                  </a:lnTo>
                  <a:lnTo>
                    <a:pt x="80" y="4"/>
                  </a:lnTo>
                  <a:lnTo>
                    <a:pt x="82" y="4"/>
                  </a:lnTo>
                  <a:lnTo>
                    <a:pt x="82" y="6"/>
                  </a:lnTo>
                  <a:lnTo>
                    <a:pt x="82" y="4"/>
                  </a:lnTo>
                  <a:lnTo>
                    <a:pt x="84" y="4"/>
                  </a:lnTo>
                  <a:lnTo>
                    <a:pt x="86" y="4"/>
                  </a:lnTo>
                  <a:lnTo>
                    <a:pt x="86" y="2"/>
                  </a:lnTo>
                  <a:lnTo>
                    <a:pt x="86" y="4"/>
                  </a:lnTo>
                  <a:lnTo>
                    <a:pt x="88" y="4"/>
                  </a:lnTo>
                  <a:lnTo>
                    <a:pt x="90" y="4"/>
                  </a:lnTo>
                  <a:lnTo>
                    <a:pt x="92" y="4"/>
                  </a:lnTo>
                  <a:lnTo>
                    <a:pt x="92" y="6"/>
                  </a:lnTo>
                  <a:lnTo>
                    <a:pt x="90" y="6"/>
                  </a:lnTo>
                  <a:lnTo>
                    <a:pt x="92" y="6"/>
                  </a:lnTo>
                  <a:lnTo>
                    <a:pt x="92" y="8"/>
                  </a:lnTo>
                  <a:lnTo>
                    <a:pt x="90" y="8"/>
                  </a:lnTo>
                  <a:lnTo>
                    <a:pt x="90" y="10"/>
                  </a:lnTo>
                  <a:lnTo>
                    <a:pt x="92" y="10"/>
                  </a:lnTo>
                  <a:lnTo>
                    <a:pt x="92" y="11"/>
                  </a:lnTo>
                  <a:lnTo>
                    <a:pt x="94" y="11"/>
                  </a:lnTo>
                  <a:lnTo>
                    <a:pt x="94" y="10"/>
                  </a:lnTo>
                  <a:lnTo>
                    <a:pt x="96" y="10"/>
                  </a:lnTo>
                  <a:lnTo>
                    <a:pt x="98" y="10"/>
                  </a:lnTo>
                  <a:lnTo>
                    <a:pt x="98" y="8"/>
                  </a:lnTo>
                  <a:lnTo>
                    <a:pt x="100" y="8"/>
                  </a:lnTo>
                  <a:lnTo>
                    <a:pt x="102" y="8"/>
                  </a:lnTo>
                  <a:lnTo>
                    <a:pt x="104" y="8"/>
                  </a:lnTo>
                  <a:lnTo>
                    <a:pt x="105" y="8"/>
                  </a:lnTo>
                  <a:lnTo>
                    <a:pt x="107" y="8"/>
                  </a:lnTo>
                  <a:lnTo>
                    <a:pt x="107" y="10"/>
                  </a:lnTo>
                  <a:lnTo>
                    <a:pt x="109" y="10"/>
                  </a:lnTo>
                  <a:lnTo>
                    <a:pt x="109" y="11"/>
                  </a:lnTo>
                  <a:lnTo>
                    <a:pt x="109" y="13"/>
                  </a:lnTo>
                  <a:lnTo>
                    <a:pt x="111" y="13"/>
                  </a:lnTo>
                  <a:lnTo>
                    <a:pt x="109" y="13"/>
                  </a:lnTo>
                  <a:lnTo>
                    <a:pt x="111" y="11"/>
                  </a:lnTo>
                  <a:lnTo>
                    <a:pt x="109" y="11"/>
                  </a:lnTo>
                  <a:lnTo>
                    <a:pt x="111" y="11"/>
                  </a:lnTo>
                  <a:lnTo>
                    <a:pt x="111" y="13"/>
                  </a:lnTo>
                  <a:lnTo>
                    <a:pt x="113" y="13"/>
                  </a:lnTo>
                  <a:lnTo>
                    <a:pt x="111" y="13"/>
                  </a:lnTo>
                  <a:lnTo>
                    <a:pt x="113" y="13"/>
                  </a:lnTo>
                  <a:lnTo>
                    <a:pt x="113" y="15"/>
                  </a:lnTo>
                  <a:lnTo>
                    <a:pt x="113" y="17"/>
                  </a:lnTo>
                  <a:lnTo>
                    <a:pt x="113" y="15"/>
                  </a:lnTo>
                  <a:lnTo>
                    <a:pt x="113" y="17"/>
                  </a:lnTo>
                  <a:lnTo>
                    <a:pt x="113" y="19"/>
                  </a:lnTo>
                  <a:lnTo>
                    <a:pt x="113" y="21"/>
                  </a:lnTo>
                  <a:lnTo>
                    <a:pt x="111" y="21"/>
                  </a:lnTo>
                  <a:lnTo>
                    <a:pt x="111" y="23"/>
                  </a:lnTo>
                  <a:lnTo>
                    <a:pt x="113" y="23"/>
                  </a:lnTo>
                  <a:lnTo>
                    <a:pt x="113" y="25"/>
                  </a:lnTo>
                  <a:lnTo>
                    <a:pt x="115" y="25"/>
                  </a:lnTo>
                  <a:lnTo>
                    <a:pt x="113" y="25"/>
                  </a:lnTo>
                  <a:lnTo>
                    <a:pt x="115" y="25"/>
                  </a:lnTo>
                  <a:lnTo>
                    <a:pt x="115" y="27"/>
                  </a:lnTo>
                  <a:lnTo>
                    <a:pt x="115" y="25"/>
                  </a:lnTo>
                  <a:lnTo>
                    <a:pt x="115" y="27"/>
                  </a:lnTo>
                  <a:lnTo>
                    <a:pt x="115" y="29"/>
                  </a:lnTo>
                  <a:lnTo>
                    <a:pt x="113" y="29"/>
                  </a:lnTo>
                  <a:lnTo>
                    <a:pt x="113" y="31"/>
                  </a:lnTo>
                  <a:lnTo>
                    <a:pt x="111" y="31"/>
                  </a:lnTo>
                  <a:lnTo>
                    <a:pt x="111" y="33"/>
                  </a:lnTo>
                  <a:lnTo>
                    <a:pt x="111" y="35"/>
                  </a:lnTo>
                  <a:lnTo>
                    <a:pt x="113" y="35"/>
                  </a:lnTo>
                  <a:lnTo>
                    <a:pt x="113" y="36"/>
                  </a:lnTo>
                  <a:lnTo>
                    <a:pt x="115" y="36"/>
                  </a:lnTo>
                  <a:lnTo>
                    <a:pt x="115" y="38"/>
                  </a:lnTo>
                  <a:lnTo>
                    <a:pt x="117" y="38"/>
                  </a:lnTo>
                  <a:lnTo>
                    <a:pt x="117" y="40"/>
                  </a:lnTo>
                  <a:lnTo>
                    <a:pt x="115" y="40"/>
                  </a:lnTo>
                  <a:lnTo>
                    <a:pt x="115" y="42"/>
                  </a:lnTo>
                  <a:lnTo>
                    <a:pt x="115" y="40"/>
                  </a:lnTo>
                  <a:lnTo>
                    <a:pt x="115" y="42"/>
                  </a:lnTo>
                  <a:lnTo>
                    <a:pt x="115" y="40"/>
                  </a:lnTo>
                  <a:lnTo>
                    <a:pt x="115" y="42"/>
                  </a:lnTo>
                  <a:lnTo>
                    <a:pt x="117" y="42"/>
                  </a:lnTo>
                  <a:lnTo>
                    <a:pt x="117" y="44"/>
                  </a:lnTo>
                  <a:lnTo>
                    <a:pt x="119" y="44"/>
                  </a:lnTo>
                  <a:lnTo>
                    <a:pt x="119" y="46"/>
                  </a:lnTo>
                  <a:lnTo>
                    <a:pt x="119" y="48"/>
                  </a:lnTo>
                  <a:lnTo>
                    <a:pt x="121" y="48"/>
                  </a:lnTo>
                  <a:lnTo>
                    <a:pt x="121" y="50"/>
                  </a:lnTo>
                  <a:lnTo>
                    <a:pt x="123" y="50"/>
                  </a:lnTo>
                  <a:lnTo>
                    <a:pt x="123" y="52"/>
                  </a:lnTo>
                  <a:lnTo>
                    <a:pt x="123" y="50"/>
                  </a:lnTo>
                  <a:lnTo>
                    <a:pt x="123" y="52"/>
                  </a:lnTo>
                  <a:lnTo>
                    <a:pt x="125" y="52"/>
                  </a:lnTo>
                  <a:lnTo>
                    <a:pt x="127" y="52"/>
                  </a:lnTo>
                  <a:lnTo>
                    <a:pt x="125" y="52"/>
                  </a:lnTo>
                  <a:lnTo>
                    <a:pt x="127" y="52"/>
                  </a:lnTo>
                  <a:lnTo>
                    <a:pt x="127" y="54"/>
                  </a:lnTo>
                  <a:lnTo>
                    <a:pt x="127" y="56"/>
                  </a:lnTo>
                  <a:lnTo>
                    <a:pt x="127" y="58"/>
                  </a:lnTo>
                  <a:lnTo>
                    <a:pt x="127" y="59"/>
                  </a:lnTo>
                  <a:lnTo>
                    <a:pt x="127" y="58"/>
                  </a:lnTo>
                  <a:lnTo>
                    <a:pt x="127" y="59"/>
                  </a:lnTo>
                  <a:lnTo>
                    <a:pt x="125" y="59"/>
                  </a:lnTo>
                  <a:lnTo>
                    <a:pt x="127" y="59"/>
                  </a:lnTo>
                  <a:lnTo>
                    <a:pt x="125" y="59"/>
                  </a:lnTo>
                  <a:lnTo>
                    <a:pt x="127" y="59"/>
                  </a:lnTo>
                  <a:lnTo>
                    <a:pt x="125" y="59"/>
                  </a:lnTo>
                  <a:lnTo>
                    <a:pt x="127" y="59"/>
                  </a:lnTo>
                  <a:lnTo>
                    <a:pt x="128" y="59"/>
                  </a:lnTo>
                  <a:lnTo>
                    <a:pt x="130" y="59"/>
                  </a:lnTo>
                  <a:lnTo>
                    <a:pt x="132" y="59"/>
                  </a:lnTo>
                  <a:lnTo>
                    <a:pt x="132" y="61"/>
                  </a:lnTo>
                  <a:lnTo>
                    <a:pt x="134" y="61"/>
                  </a:lnTo>
                  <a:lnTo>
                    <a:pt x="136" y="61"/>
                  </a:lnTo>
                  <a:lnTo>
                    <a:pt x="136" y="63"/>
                  </a:lnTo>
                  <a:lnTo>
                    <a:pt x="134" y="63"/>
                  </a:lnTo>
                  <a:lnTo>
                    <a:pt x="136" y="63"/>
                  </a:lnTo>
                  <a:lnTo>
                    <a:pt x="136" y="65"/>
                  </a:lnTo>
                  <a:lnTo>
                    <a:pt x="136" y="67"/>
                  </a:lnTo>
                  <a:lnTo>
                    <a:pt x="138" y="67"/>
                  </a:lnTo>
                  <a:lnTo>
                    <a:pt x="140" y="67"/>
                  </a:lnTo>
                  <a:lnTo>
                    <a:pt x="140" y="69"/>
                  </a:lnTo>
                  <a:lnTo>
                    <a:pt x="140" y="71"/>
                  </a:lnTo>
                  <a:lnTo>
                    <a:pt x="138" y="71"/>
                  </a:lnTo>
                  <a:lnTo>
                    <a:pt x="140" y="71"/>
                  </a:lnTo>
                  <a:lnTo>
                    <a:pt x="138" y="71"/>
                  </a:lnTo>
                  <a:lnTo>
                    <a:pt x="138" y="73"/>
                  </a:lnTo>
                  <a:lnTo>
                    <a:pt x="138" y="71"/>
                  </a:lnTo>
                  <a:lnTo>
                    <a:pt x="138" y="73"/>
                  </a:lnTo>
                  <a:lnTo>
                    <a:pt x="138" y="71"/>
                  </a:lnTo>
                  <a:lnTo>
                    <a:pt x="136" y="71"/>
                  </a:lnTo>
                  <a:lnTo>
                    <a:pt x="136" y="73"/>
                  </a:lnTo>
                  <a:lnTo>
                    <a:pt x="136" y="71"/>
                  </a:lnTo>
                  <a:lnTo>
                    <a:pt x="136" y="73"/>
                  </a:lnTo>
                  <a:lnTo>
                    <a:pt x="136" y="75"/>
                  </a:lnTo>
                  <a:lnTo>
                    <a:pt x="134" y="75"/>
                  </a:lnTo>
                  <a:lnTo>
                    <a:pt x="134" y="77"/>
                  </a:lnTo>
                  <a:lnTo>
                    <a:pt x="132" y="77"/>
                  </a:lnTo>
                  <a:lnTo>
                    <a:pt x="130" y="77"/>
                  </a:lnTo>
                  <a:lnTo>
                    <a:pt x="128" y="77"/>
                  </a:lnTo>
                  <a:lnTo>
                    <a:pt x="127" y="77"/>
                  </a:lnTo>
                  <a:lnTo>
                    <a:pt x="127" y="75"/>
                  </a:lnTo>
                  <a:lnTo>
                    <a:pt x="125" y="75"/>
                  </a:lnTo>
                  <a:lnTo>
                    <a:pt x="125" y="73"/>
                  </a:lnTo>
                  <a:lnTo>
                    <a:pt x="123" y="73"/>
                  </a:lnTo>
                  <a:lnTo>
                    <a:pt x="123" y="75"/>
                  </a:lnTo>
                  <a:lnTo>
                    <a:pt x="121" y="75"/>
                  </a:lnTo>
                  <a:lnTo>
                    <a:pt x="119" y="75"/>
                  </a:lnTo>
                  <a:lnTo>
                    <a:pt x="119" y="77"/>
                  </a:lnTo>
                  <a:lnTo>
                    <a:pt x="121" y="77"/>
                  </a:lnTo>
                  <a:lnTo>
                    <a:pt x="119" y="77"/>
                  </a:lnTo>
                  <a:lnTo>
                    <a:pt x="119" y="79"/>
                  </a:lnTo>
                  <a:lnTo>
                    <a:pt x="117" y="79"/>
                  </a:lnTo>
                  <a:lnTo>
                    <a:pt x="119" y="79"/>
                  </a:lnTo>
                  <a:lnTo>
                    <a:pt x="119" y="81"/>
                  </a:lnTo>
                  <a:lnTo>
                    <a:pt x="121" y="81"/>
                  </a:lnTo>
                  <a:lnTo>
                    <a:pt x="119" y="81"/>
                  </a:lnTo>
                  <a:lnTo>
                    <a:pt x="121" y="81"/>
                  </a:lnTo>
                  <a:lnTo>
                    <a:pt x="121" y="83"/>
                  </a:lnTo>
                  <a:lnTo>
                    <a:pt x="123" y="83"/>
                  </a:lnTo>
                  <a:lnTo>
                    <a:pt x="123" y="84"/>
                  </a:lnTo>
                  <a:lnTo>
                    <a:pt x="123" y="86"/>
                  </a:lnTo>
                  <a:lnTo>
                    <a:pt x="121" y="86"/>
                  </a:lnTo>
                  <a:lnTo>
                    <a:pt x="123" y="86"/>
                  </a:lnTo>
                  <a:lnTo>
                    <a:pt x="123" y="88"/>
                  </a:lnTo>
                  <a:lnTo>
                    <a:pt x="123" y="90"/>
                  </a:lnTo>
                  <a:lnTo>
                    <a:pt x="125" y="90"/>
                  </a:lnTo>
                  <a:lnTo>
                    <a:pt x="123" y="90"/>
                  </a:lnTo>
                  <a:lnTo>
                    <a:pt x="123" y="92"/>
                  </a:lnTo>
                  <a:lnTo>
                    <a:pt x="123" y="94"/>
                  </a:lnTo>
                  <a:lnTo>
                    <a:pt x="123" y="96"/>
                  </a:lnTo>
                  <a:lnTo>
                    <a:pt x="125" y="96"/>
                  </a:lnTo>
                  <a:lnTo>
                    <a:pt x="125" y="98"/>
                  </a:lnTo>
                  <a:lnTo>
                    <a:pt x="127" y="98"/>
                  </a:lnTo>
                  <a:lnTo>
                    <a:pt x="127" y="10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394">
              <a:extLst>
                <a:ext uri="{FF2B5EF4-FFF2-40B4-BE49-F238E27FC236}">
                  <a16:creationId xmlns:a16="http://schemas.microsoft.com/office/drawing/2014/main" id="{6A8E66CB-DA71-4D42-9320-C339673D6D31}"/>
                </a:ext>
              </a:extLst>
            </p:cNvPr>
            <p:cNvSpPr>
              <a:spLocks noEditPoints="1"/>
            </p:cNvSpPr>
            <p:nvPr/>
          </p:nvSpPr>
          <p:spPr bwMode="gray">
            <a:xfrm>
              <a:off x="3584760" y="3134032"/>
              <a:ext cx="106695" cy="80941"/>
            </a:xfrm>
            <a:custGeom>
              <a:avLst/>
              <a:gdLst>
                <a:gd name="T0" fmla="*/ 83 w 87"/>
                <a:gd name="T1" fmla="*/ 27 h 66"/>
                <a:gd name="T2" fmla="*/ 87 w 87"/>
                <a:gd name="T3" fmla="*/ 29 h 66"/>
                <a:gd name="T4" fmla="*/ 81 w 87"/>
                <a:gd name="T5" fmla="*/ 33 h 66"/>
                <a:gd name="T6" fmla="*/ 81 w 87"/>
                <a:gd name="T7" fmla="*/ 35 h 66"/>
                <a:gd name="T8" fmla="*/ 79 w 87"/>
                <a:gd name="T9" fmla="*/ 35 h 66"/>
                <a:gd name="T10" fmla="*/ 73 w 87"/>
                <a:gd name="T11" fmla="*/ 39 h 66"/>
                <a:gd name="T12" fmla="*/ 71 w 87"/>
                <a:gd name="T13" fmla="*/ 46 h 66"/>
                <a:gd name="T14" fmla="*/ 71 w 87"/>
                <a:gd name="T15" fmla="*/ 48 h 66"/>
                <a:gd name="T16" fmla="*/ 69 w 87"/>
                <a:gd name="T17" fmla="*/ 52 h 66"/>
                <a:gd name="T18" fmla="*/ 71 w 87"/>
                <a:gd name="T19" fmla="*/ 56 h 66"/>
                <a:gd name="T20" fmla="*/ 67 w 87"/>
                <a:gd name="T21" fmla="*/ 58 h 66"/>
                <a:gd name="T22" fmla="*/ 67 w 87"/>
                <a:gd name="T23" fmla="*/ 56 h 66"/>
                <a:gd name="T24" fmla="*/ 66 w 87"/>
                <a:gd name="T25" fmla="*/ 56 h 66"/>
                <a:gd name="T26" fmla="*/ 60 w 87"/>
                <a:gd name="T27" fmla="*/ 60 h 66"/>
                <a:gd name="T28" fmla="*/ 58 w 87"/>
                <a:gd name="T29" fmla="*/ 60 h 66"/>
                <a:gd name="T30" fmla="*/ 56 w 87"/>
                <a:gd name="T31" fmla="*/ 64 h 66"/>
                <a:gd name="T32" fmla="*/ 54 w 87"/>
                <a:gd name="T33" fmla="*/ 64 h 66"/>
                <a:gd name="T34" fmla="*/ 48 w 87"/>
                <a:gd name="T35" fmla="*/ 64 h 66"/>
                <a:gd name="T36" fmla="*/ 42 w 87"/>
                <a:gd name="T37" fmla="*/ 64 h 66"/>
                <a:gd name="T38" fmla="*/ 39 w 87"/>
                <a:gd name="T39" fmla="*/ 62 h 66"/>
                <a:gd name="T40" fmla="*/ 37 w 87"/>
                <a:gd name="T41" fmla="*/ 58 h 66"/>
                <a:gd name="T42" fmla="*/ 31 w 87"/>
                <a:gd name="T43" fmla="*/ 56 h 66"/>
                <a:gd name="T44" fmla="*/ 27 w 87"/>
                <a:gd name="T45" fmla="*/ 54 h 66"/>
                <a:gd name="T46" fmla="*/ 27 w 87"/>
                <a:gd name="T47" fmla="*/ 48 h 66"/>
                <a:gd name="T48" fmla="*/ 29 w 87"/>
                <a:gd name="T49" fmla="*/ 41 h 66"/>
                <a:gd name="T50" fmla="*/ 25 w 87"/>
                <a:gd name="T51" fmla="*/ 39 h 66"/>
                <a:gd name="T52" fmla="*/ 23 w 87"/>
                <a:gd name="T53" fmla="*/ 35 h 66"/>
                <a:gd name="T54" fmla="*/ 19 w 87"/>
                <a:gd name="T55" fmla="*/ 37 h 66"/>
                <a:gd name="T56" fmla="*/ 12 w 87"/>
                <a:gd name="T57" fmla="*/ 35 h 66"/>
                <a:gd name="T58" fmla="*/ 6 w 87"/>
                <a:gd name="T59" fmla="*/ 31 h 66"/>
                <a:gd name="T60" fmla="*/ 4 w 87"/>
                <a:gd name="T61" fmla="*/ 31 h 66"/>
                <a:gd name="T62" fmla="*/ 4 w 87"/>
                <a:gd name="T63" fmla="*/ 29 h 66"/>
                <a:gd name="T64" fmla="*/ 4 w 87"/>
                <a:gd name="T65" fmla="*/ 23 h 66"/>
                <a:gd name="T66" fmla="*/ 2 w 87"/>
                <a:gd name="T67" fmla="*/ 19 h 66"/>
                <a:gd name="T68" fmla="*/ 2 w 87"/>
                <a:gd name="T69" fmla="*/ 10 h 66"/>
                <a:gd name="T70" fmla="*/ 6 w 87"/>
                <a:gd name="T71" fmla="*/ 8 h 66"/>
                <a:gd name="T72" fmla="*/ 10 w 87"/>
                <a:gd name="T73" fmla="*/ 2 h 66"/>
                <a:gd name="T74" fmla="*/ 16 w 87"/>
                <a:gd name="T75" fmla="*/ 2 h 66"/>
                <a:gd name="T76" fmla="*/ 23 w 87"/>
                <a:gd name="T77" fmla="*/ 0 h 66"/>
                <a:gd name="T78" fmla="*/ 29 w 87"/>
                <a:gd name="T79" fmla="*/ 0 h 66"/>
                <a:gd name="T80" fmla="*/ 31 w 87"/>
                <a:gd name="T81" fmla="*/ 4 h 66"/>
                <a:gd name="T82" fmla="*/ 39 w 87"/>
                <a:gd name="T83" fmla="*/ 2 h 66"/>
                <a:gd name="T84" fmla="*/ 42 w 87"/>
                <a:gd name="T85" fmla="*/ 4 h 66"/>
                <a:gd name="T86" fmla="*/ 48 w 87"/>
                <a:gd name="T87" fmla="*/ 4 h 66"/>
                <a:gd name="T88" fmla="*/ 56 w 87"/>
                <a:gd name="T89" fmla="*/ 2 h 66"/>
                <a:gd name="T90" fmla="*/ 60 w 87"/>
                <a:gd name="T91" fmla="*/ 4 h 66"/>
                <a:gd name="T92" fmla="*/ 64 w 87"/>
                <a:gd name="T93" fmla="*/ 6 h 66"/>
                <a:gd name="T94" fmla="*/ 69 w 87"/>
                <a:gd name="T95" fmla="*/ 10 h 66"/>
                <a:gd name="T96" fmla="*/ 73 w 87"/>
                <a:gd name="T97" fmla="*/ 12 h 66"/>
                <a:gd name="T98" fmla="*/ 77 w 87"/>
                <a:gd name="T99" fmla="*/ 18 h 66"/>
                <a:gd name="T100" fmla="*/ 0 w 87"/>
                <a:gd name="T101" fmla="*/ 31 h 66"/>
                <a:gd name="T102" fmla="*/ 2 w 87"/>
                <a:gd name="T103" fmla="*/ 23 h 66"/>
                <a:gd name="T104" fmla="*/ 2 w 87"/>
                <a:gd name="T105" fmla="*/ 25 h 66"/>
                <a:gd name="T106" fmla="*/ 0 w 87"/>
                <a:gd name="T107"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 h="66">
                  <a:moveTo>
                    <a:pt x="83" y="19"/>
                  </a:moveTo>
                  <a:lnTo>
                    <a:pt x="83" y="21"/>
                  </a:lnTo>
                  <a:lnTo>
                    <a:pt x="83" y="23"/>
                  </a:lnTo>
                  <a:lnTo>
                    <a:pt x="83" y="25"/>
                  </a:lnTo>
                  <a:lnTo>
                    <a:pt x="83" y="27"/>
                  </a:lnTo>
                  <a:lnTo>
                    <a:pt x="81" y="27"/>
                  </a:lnTo>
                  <a:lnTo>
                    <a:pt x="81" y="29"/>
                  </a:lnTo>
                  <a:lnTo>
                    <a:pt x="83" y="29"/>
                  </a:lnTo>
                  <a:lnTo>
                    <a:pt x="85" y="29"/>
                  </a:lnTo>
                  <a:lnTo>
                    <a:pt x="87" y="29"/>
                  </a:lnTo>
                  <a:lnTo>
                    <a:pt x="87" y="31"/>
                  </a:lnTo>
                  <a:lnTo>
                    <a:pt x="85" y="31"/>
                  </a:lnTo>
                  <a:lnTo>
                    <a:pt x="85" y="33"/>
                  </a:lnTo>
                  <a:lnTo>
                    <a:pt x="83" y="33"/>
                  </a:lnTo>
                  <a:lnTo>
                    <a:pt x="81" y="33"/>
                  </a:lnTo>
                  <a:lnTo>
                    <a:pt x="81" y="35"/>
                  </a:lnTo>
                  <a:lnTo>
                    <a:pt x="81" y="33"/>
                  </a:lnTo>
                  <a:lnTo>
                    <a:pt x="81" y="35"/>
                  </a:lnTo>
                  <a:lnTo>
                    <a:pt x="81" y="33"/>
                  </a:lnTo>
                  <a:lnTo>
                    <a:pt x="81" y="35"/>
                  </a:lnTo>
                  <a:lnTo>
                    <a:pt x="81" y="33"/>
                  </a:lnTo>
                  <a:lnTo>
                    <a:pt x="79" y="33"/>
                  </a:lnTo>
                  <a:lnTo>
                    <a:pt x="79" y="35"/>
                  </a:lnTo>
                  <a:lnTo>
                    <a:pt x="77" y="35"/>
                  </a:lnTo>
                  <a:lnTo>
                    <a:pt x="79" y="35"/>
                  </a:lnTo>
                  <a:lnTo>
                    <a:pt x="77" y="35"/>
                  </a:lnTo>
                  <a:lnTo>
                    <a:pt x="77" y="37"/>
                  </a:lnTo>
                  <a:lnTo>
                    <a:pt x="77" y="39"/>
                  </a:lnTo>
                  <a:lnTo>
                    <a:pt x="75" y="39"/>
                  </a:lnTo>
                  <a:lnTo>
                    <a:pt x="73" y="39"/>
                  </a:lnTo>
                  <a:lnTo>
                    <a:pt x="71" y="39"/>
                  </a:lnTo>
                  <a:lnTo>
                    <a:pt x="71" y="41"/>
                  </a:lnTo>
                  <a:lnTo>
                    <a:pt x="71" y="43"/>
                  </a:lnTo>
                  <a:lnTo>
                    <a:pt x="71" y="44"/>
                  </a:lnTo>
                  <a:lnTo>
                    <a:pt x="71" y="46"/>
                  </a:lnTo>
                  <a:lnTo>
                    <a:pt x="69" y="46"/>
                  </a:lnTo>
                  <a:lnTo>
                    <a:pt x="71" y="46"/>
                  </a:lnTo>
                  <a:lnTo>
                    <a:pt x="69" y="46"/>
                  </a:lnTo>
                  <a:lnTo>
                    <a:pt x="71" y="46"/>
                  </a:lnTo>
                  <a:lnTo>
                    <a:pt x="71" y="48"/>
                  </a:lnTo>
                  <a:lnTo>
                    <a:pt x="69" y="48"/>
                  </a:lnTo>
                  <a:lnTo>
                    <a:pt x="69" y="50"/>
                  </a:lnTo>
                  <a:lnTo>
                    <a:pt x="69" y="52"/>
                  </a:lnTo>
                  <a:lnTo>
                    <a:pt x="69" y="50"/>
                  </a:lnTo>
                  <a:lnTo>
                    <a:pt x="69" y="52"/>
                  </a:lnTo>
                  <a:lnTo>
                    <a:pt x="67" y="52"/>
                  </a:lnTo>
                  <a:lnTo>
                    <a:pt x="67" y="54"/>
                  </a:lnTo>
                  <a:lnTo>
                    <a:pt x="69" y="54"/>
                  </a:lnTo>
                  <a:lnTo>
                    <a:pt x="69" y="56"/>
                  </a:lnTo>
                  <a:lnTo>
                    <a:pt x="71" y="56"/>
                  </a:lnTo>
                  <a:lnTo>
                    <a:pt x="71" y="58"/>
                  </a:lnTo>
                  <a:lnTo>
                    <a:pt x="69" y="58"/>
                  </a:lnTo>
                  <a:lnTo>
                    <a:pt x="69" y="60"/>
                  </a:lnTo>
                  <a:lnTo>
                    <a:pt x="67" y="60"/>
                  </a:lnTo>
                  <a:lnTo>
                    <a:pt x="67" y="58"/>
                  </a:lnTo>
                  <a:lnTo>
                    <a:pt x="67" y="60"/>
                  </a:lnTo>
                  <a:lnTo>
                    <a:pt x="67" y="58"/>
                  </a:lnTo>
                  <a:lnTo>
                    <a:pt x="67" y="56"/>
                  </a:lnTo>
                  <a:lnTo>
                    <a:pt x="67" y="58"/>
                  </a:lnTo>
                  <a:lnTo>
                    <a:pt x="67" y="56"/>
                  </a:lnTo>
                  <a:lnTo>
                    <a:pt x="67" y="58"/>
                  </a:lnTo>
                  <a:lnTo>
                    <a:pt x="67" y="56"/>
                  </a:lnTo>
                  <a:lnTo>
                    <a:pt x="67" y="54"/>
                  </a:lnTo>
                  <a:lnTo>
                    <a:pt x="67" y="56"/>
                  </a:lnTo>
                  <a:lnTo>
                    <a:pt x="66" y="56"/>
                  </a:lnTo>
                  <a:lnTo>
                    <a:pt x="64" y="56"/>
                  </a:lnTo>
                  <a:lnTo>
                    <a:pt x="62" y="56"/>
                  </a:lnTo>
                  <a:lnTo>
                    <a:pt x="62" y="58"/>
                  </a:lnTo>
                  <a:lnTo>
                    <a:pt x="62" y="60"/>
                  </a:lnTo>
                  <a:lnTo>
                    <a:pt x="60" y="60"/>
                  </a:lnTo>
                  <a:lnTo>
                    <a:pt x="60" y="58"/>
                  </a:lnTo>
                  <a:lnTo>
                    <a:pt x="58" y="58"/>
                  </a:lnTo>
                  <a:lnTo>
                    <a:pt x="58" y="60"/>
                  </a:lnTo>
                  <a:lnTo>
                    <a:pt x="56" y="60"/>
                  </a:lnTo>
                  <a:lnTo>
                    <a:pt x="58" y="60"/>
                  </a:lnTo>
                  <a:lnTo>
                    <a:pt x="56" y="60"/>
                  </a:lnTo>
                  <a:lnTo>
                    <a:pt x="56" y="62"/>
                  </a:lnTo>
                  <a:lnTo>
                    <a:pt x="58" y="62"/>
                  </a:lnTo>
                  <a:lnTo>
                    <a:pt x="58" y="64"/>
                  </a:lnTo>
                  <a:lnTo>
                    <a:pt x="56" y="64"/>
                  </a:lnTo>
                  <a:lnTo>
                    <a:pt x="56" y="62"/>
                  </a:lnTo>
                  <a:lnTo>
                    <a:pt x="56" y="64"/>
                  </a:lnTo>
                  <a:lnTo>
                    <a:pt x="56" y="62"/>
                  </a:lnTo>
                  <a:lnTo>
                    <a:pt x="54" y="62"/>
                  </a:lnTo>
                  <a:lnTo>
                    <a:pt x="54" y="64"/>
                  </a:lnTo>
                  <a:lnTo>
                    <a:pt x="52" y="64"/>
                  </a:lnTo>
                  <a:lnTo>
                    <a:pt x="52" y="66"/>
                  </a:lnTo>
                  <a:lnTo>
                    <a:pt x="50" y="66"/>
                  </a:lnTo>
                  <a:lnTo>
                    <a:pt x="48" y="66"/>
                  </a:lnTo>
                  <a:lnTo>
                    <a:pt x="48" y="64"/>
                  </a:lnTo>
                  <a:lnTo>
                    <a:pt x="46" y="64"/>
                  </a:lnTo>
                  <a:lnTo>
                    <a:pt x="44" y="64"/>
                  </a:lnTo>
                  <a:lnTo>
                    <a:pt x="42" y="64"/>
                  </a:lnTo>
                  <a:lnTo>
                    <a:pt x="42" y="66"/>
                  </a:lnTo>
                  <a:lnTo>
                    <a:pt x="42" y="64"/>
                  </a:lnTo>
                  <a:lnTo>
                    <a:pt x="41" y="64"/>
                  </a:lnTo>
                  <a:lnTo>
                    <a:pt x="39" y="64"/>
                  </a:lnTo>
                  <a:lnTo>
                    <a:pt x="37" y="64"/>
                  </a:lnTo>
                  <a:lnTo>
                    <a:pt x="37" y="62"/>
                  </a:lnTo>
                  <a:lnTo>
                    <a:pt x="39" y="62"/>
                  </a:lnTo>
                  <a:lnTo>
                    <a:pt x="37" y="62"/>
                  </a:lnTo>
                  <a:lnTo>
                    <a:pt x="39" y="62"/>
                  </a:lnTo>
                  <a:lnTo>
                    <a:pt x="39" y="60"/>
                  </a:lnTo>
                  <a:lnTo>
                    <a:pt x="37" y="60"/>
                  </a:lnTo>
                  <a:lnTo>
                    <a:pt x="37" y="58"/>
                  </a:lnTo>
                  <a:lnTo>
                    <a:pt x="37" y="56"/>
                  </a:lnTo>
                  <a:lnTo>
                    <a:pt x="35" y="56"/>
                  </a:lnTo>
                  <a:lnTo>
                    <a:pt x="33" y="56"/>
                  </a:lnTo>
                  <a:lnTo>
                    <a:pt x="33" y="54"/>
                  </a:lnTo>
                  <a:lnTo>
                    <a:pt x="31" y="56"/>
                  </a:lnTo>
                  <a:lnTo>
                    <a:pt x="31" y="54"/>
                  </a:lnTo>
                  <a:lnTo>
                    <a:pt x="31" y="52"/>
                  </a:lnTo>
                  <a:lnTo>
                    <a:pt x="29" y="52"/>
                  </a:lnTo>
                  <a:lnTo>
                    <a:pt x="27" y="52"/>
                  </a:lnTo>
                  <a:lnTo>
                    <a:pt x="27" y="54"/>
                  </a:lnTo>
                  <a:lnTo>
                    <a:pt x="27" y="52"/>
                  </a:lnTo>
                  <a:lnTo>
                    <a:pt x="25" y="52"/>
                  </a:lnTo>
                  <a:lnTo>
                    <a:pt x="25" y="50"/>
                  </a:lnTo>
                  <a:lnTo>
                    <a:pt x="25" y="48"/>
                  </a:lnTo>
                  <a:lnTo>
                    <a:pt x="27" y="48"/>
                  </a:lnTo>
                  <a:lnTo>
                    <a:pt x="27" y="46"/>
                  </a:lnTo>
                  <a:lnTo>
                    <a:pt x="27" y="44"/>
                  </a:lnTo>
                  <a:lnTo>
                    <a:pt x="27" y="43"/>
                  </a:lnTo>
                  <a:lnTo>
                    <a:pt x="29" y="43"/>
                  </a:lnTo>
                  <a:lnTo>
                    <a:pt x="29" y="41"/>
                  </a:lnTo>
                  <a:lnTo>
                    <a:pt x="27" y="41"/>
                  </a:lnTo>
                  <a:lnTo>
                    <a:pt x="29" y="41"/>
                  </a:lnTo>
                  <a:lnTo>
                    <a:pt x="27" y="41"/>
                  </a:lnTo>
                  <a:lnTo>
                    <a:pt x="27" y="39"/>
                  </a:lnTo>
                  <a:lnTo>
                    <a:pt x="25" y="39"/>
                  </a:lnTo>
                  <a:lnTo>
                    <a:pt x="25" y="37"/>
                  </a:lnTo>
                  <a:lnTo>
                    <a:pt x="25" y="39"/>
                  </a:lnTo>
                  <a:lnTo>
                    <a:pt x="25" y="37"/>
                  </a:lnTo>
                  <a:lnTo>
                    <a:pt x="25" y="35"/>
                  </a:lnTo>
                  <a:lnTo>
                    <a:pt x="23" y="35"/>
                  </a:lnTo>
                  <a:lnTo>
                    <a:pt x="23" y="37"/>
                  </a:lnTo>
                  <a:lnTo>
                    <a:pt x="21" y="37"/>
                  </a:lnTo>
                  <a:lnTo>
                    <a:pt x="19" y="37"/>
                  </a:lnTo>
                  <a:lnTo>
                    <a:pt x="19" y="35"/>
                  </a:lnTo>
                  <a:lnTo>
                    <a:pt x="19" y="37"/>
                  </a:lnTo>
                  <a:lnTo>
                    <a:pt x="18" y="37"/>
                  </a:lnTo>
                  <a:lnTo>
                    <a:pt x="16" y="37"/>
                  </a:lnTo>
                  <a:lnTo>
                    <a:pt x="16" y="35"/>
                  </a:lnTo>
                  <a:lnTo>
                    <a:pt x="14" y="35"/>
                  </a:lnTo>
                  <a:lnTo>
                    <a:pt x="12" y="35"/>
                  </a:lnTo>
                  <a:lnTo>
                    <a:pt x="12" y="33"/>
                  </a:lnTo>
                  <a:lnTo>
                    <a:pt x="10" y="33"/>
                  </a:lnTo>
                  <a:lnTo>
                    <a:pt x="8" y="33"/>
                  </a:lnTo>
                  <a:lnTo>
                    <a:pt x="8" y="31"/>
                  </a:lnTo>
                  <a:lnTo>
                    <a:pt x="6" y="31"/>
                  </a:lnTo>
                  <a:lnTo>
                    <a:pt x="6" y="29"/>
                  </a:lnTo>
                  <a:lnTo>
                    <a:pt x="6" y="31"/>
                  </a:lnTo>
                  <a:lnTo>
                    <a:pt x="4" y="31"/>
                  </a:lnTo>
                  <a:lnTo>
                    <a:pt x="6" y="31"/>
                  </a:lnTo>
                  <a:lnTo>
                    <a:pt x="4" y="31"/>
                  </a:lnTo>
                  <a:lnTo>
                    <a:pt x="6" y="31"/>
                  </a:lnTo>
                  <a:lnTo>
                    <a:pt x="6" y="29"/>
                  </a:lnTo>
                  <a:lnTo>
                    <a:pt x="4" y="29"/>
                  </a:lnTo>
                  <a:lnTo>
                    <a:pt x="6" y="29"/>
                  </a:lnTo>
                  <a:lnTo>
                    <a:pt x="4" y="29"/>
                  </a:lnTo>
                  <a:lnTo>
                    <a:pt x="4" y="27"/>
                  </a:lnTo>
                  <a:lnTo>
                    <a:pt x="4" y="29"/>
                  </a:lnTo>
                  <a:lnTo>
                    <a:pt x="4" y="27"/>
                  </a:lnTo>
                  <a:lnTo>
                    <a:pt x="4" y="25"/>
                  </a:lnTo>
                  <a:lnTo>
                    <a:pt x="4" y="23"/>
                  </a:lnTo>
                  <a:lnTo>
                    <a:pt x="4" y="21"/>
                  </a:lnTo>
                  <a:lnTo>
                    <a:pt x="4" y="19"/>
                  </a:lnTo>
                  <a:lnTo>
                    <a:pt x="4" y="21"/>
                  </a:lnTo>
                  <a:lnTo>
                    <a:pt x="4" y="19"/>
                  </a:lnTo>
                  <a:lnTo>
                    <a:pt x="2" y="19"/>
                  </a:lnTo>
                  <a:lnTo>
                    <a:pt x="2" y="18"/>
                  </a:lnTo>
                  <a:lnTo>
                    <a:pt x="2" y="16"/>
                  </a:lnTo>
                  <a:lnTo>
                    <a:pt x="2" y="14"/>
                  </a:lnTo>
                  <a:lnTo>
                    <a:pt x="2" y="12"/>
                  </a:lnTo>
                  <a:lnTo>
                    <a:pt x="2" y="10"/>
                  </a:lnTo>
                  <a:lnTo>
                    <a:pt x="4" y="10"/>
                  </a:lnTo>
                  <a:lnTo>
                    <a:pt x="4" y="8"/>
                  </a:lnTo>
                  <a:lnTo>
                    <a:pt x="4" y="10"/>
                  </a:lnTo>
                  <a:lnTo>
                    <a:pt x="4" y="8"/>
                  </a:lnTo>
                  <a:lnTo>
                    <a:pt x="6" y="8"/>
                  </a:lnTo>
                  <a:lnTo>
                    <a:pt x="6" y="6"/>
                  </a:lnTo>
                  <a:lnTo>
                    <a:pt x="8" y="6"/>
                  </a:lnTo>
                  <a:lnTo>
                    <a:pt x="8" y="4"/>
                  </a:lnTo>
                  <a:lnTo>
                    <a:pt x="10" y="4"/>
                  </a:lnTo>
                  <a:lnTo>
                    <a:pt x="10" y="2"/>
                  </a:lnTo>
                  <a:lnTo>
                    <a:pt x="10" y="4"/>
                  </a:lnTo>
                  <a:lnTo>
                    <a:pt x="12" y="4"/>
                  </a:lnTo>
                  <a:lnTo>
                    <a:pt x="12" y="2"/>
                  </a:lnTo>
                  <a:lnTo>
                    <a:pt x="14" y="2"/>
                  </a:lnTo>
                  <a:lnTo>
                    <a:pt x="16" y="2"/>
                  </a:lnTo>
                  <a:lnTo>
                    <a:pt x="16" y="0"/>
                  </a:lnTo>
                  <a:lnTo>
                    <a:pt x="18" y="0"/>
                  </a:lnTo>
                  <a:lnTo>
                    <a:pt x="19" y="0"/>
                  </a:lnTo>
                  <a:lnTo>
                    <a:pt x="21" y="0"/>
                  </a:lnTo>
                  <a:lnTo>
                    <a:pt x="23" y="0"/>
                  </a:lnTo>
                  <a:lnTo>
                    <a:pt x="23" y="2"/>
                  </a:lnTo>
                  <a:lnTo>
                    <a:pt x="25" y="2"/>
                  </a:lnTo>
                  <a:lnTo>
                    <a:pt x="27" y="2"/>
                  </a:lnTo>
                  <a:lnTo>
                    <a:pt x="29" y="2"/>
                  </a:lnTo>
                  <a:lnTo>
                    <a:pt x="29" y="0"/>
                  </a:lnTo>
                  <a:lnTo>
                    <a:pt x="31" y="0"/>
                  </a:lnTo>
                  <a:lnTo>
                    <a:pt x="31" y="2"/>
                  </a:lnTo>
                  <a:lnTo>
                    <a:pt x="31" y="4"/>
                  </a:lnTo>
                  <a:lnTo>
                    <a:pt x="31" y="2"/>
                  </a:lnTo>
                  <a:lnTo>
                    <a:pt x="31" y="4"/>
                  </a:lnTo>
                  <a:lnTo>
                    <a:pt x="33" y="4"/>
                  </a:lnTo>
                  <a:lnTo>
                    <a:pt x="33" y="2"/>
                  </a:lnTo>
                  <a:lnTo>
                    <a:pt x="35" y="2"/>
                  </a:lnTo>
                  <a:lnTo>
                    <a:pt x="37" y="2"/>
                  </a:lnTo>
                  <a:lnTo>
                    <a:pt x="39" y="2"/>
                  </a:lnTo>
                  <a:lnTo>
                    <a:pt x="41" y="2"/>
                  </a:lnTo>
                  <a:lnTo>
                    <a:pt x="42" y="2"/>
                  </a:lnTo>
                  <a:lnTo>
                    <a:pt x="41" y="2"/>
                  </a:lnTo>
                  <a:lnTo>
                    <a:pt x="42" y="2"/>
                  </a:lnTo>
                  <a:lnTo>
                    <a:pt x="42" y="4"/>
                  </a:lnTo>
                  <a:lnTo>
                    <a:pt x="42" y="2"/>
                  </a:lnTo>
                  <a:lnTo>
                    <a:pt x="44" y="2"/>
                  </a:lnTo>
                  <a:lnTo>
                    <a:pt x="44" y="4"/>
                  </a:lnTo>
                  <a:lnTo>
                    <a:pt x="46" y="4"/>
                  </a:lnTo>
                  <a:lnTo>
                    <a:pt x="48" y="4"/>
                  </a:lnTo>
                  <a:lnTo>
                    <a:pt x="50" y="4"/>
                  </a:lnTo>
                  <a:lnTo>
                    <a:pt x="52" y="4"/>
                  </a:lnTo>
                  <a:lnTo>
                    <a:pt x="54" y="4"/>
                  </a:lnTo>
                  <a:lnTo>
                    <a:pt x="54" y="2"/>
                  </a:lnTo>
                  <a:lnTo>
                    <a:pt x="56" y="2"/>
                  </a:lnTo>
                  <a:lnTo>
                    <a:pt x="56" y="0"/>
                  </a:lnTo>
                  <a:lnTo>
                    <a:pt x="58" y="0"/>
                  </a:lnTo>
                  <a:lnTo>
                    <a:pt x="58" y="2"/>
                  </a:lnTo>
                  <a:lnTo>
                    <a:pt x="60" y="2"/>
                  </a:lnTo>
                  <a:lnTo>
                    <a:pt x="60" y="4"/>
                  </a:lnTo>
                  <a:lnTo>
                    <a:pt x="60" y="6"/>
                  </a:lnTo>
                  <a:lnTo>
                    <a:pt x="62" y="6"/>
                  </a:lnTo>
                  <a:lnTo>
                    <a:pt x="62" y="8"/>
                  </a:lnTo>
                  <a:lnTo>
                    <a:pt x="62" y="6"/>
                  </a:lnTo>
                  <a:lnTo>
                    <a:pt x="64" y="6"/>
                  </a:lnTo>
                  <a:lnTo>
                    <a:pt x="64" y="8"/>
                  </a:lnTo>
                  <a:lnTo>
                    <a:pt x="66" y="8"/>
                  </a:lnTo>
                  <a:lnTo>
                    <a:pt x="67" y="8"/>
                  </a:lnTo>
                  <a:lnTo>
                    <a:pt x="69" y="8"/>
                  </a:lnTo>
                  <a:lnTo>
                    <a:pt x="69" y="10"/>
                  </a:lnTo>
                  <a:lnTo>
                    <a:pt x="71" y="10"/>
                  </a:lnTo>
                  <a:lnTo>
                    <a:pt x="71" y="12"/>
                  </a:lnTo>
                  <a:lnTo>
                    <a:pt x="73" y="12"/>
                  </a:lnTo>
                  <a:lnTo>
                    <a:pt x="75" y="12"/>
                  </a:lnTo>
                  <a:lnTo>
                    <a:pt x="73" y="12"/>
                  </a:lnTo>
                  <a:lnTo>
                    <a:pt x="75" y="12"/>
                  </a:lnTo>
                  <a:lnTo>
                    <a:pt x="75" y="14"/>
                  </a:lnTo>
                  <a:lnTo>
                    <a:pt x="75" y="16"/>
                  </a:lnTo>
                  <a:lnTo>
                    <a:pt x="77" y="16"/>
                  </a:lnTo>
                  <a:lnTo>
                    <a:pt x="77" y="18"/>
                  </a:lnTo>
                  <a:lnTo>
                    <a:pt x="79" y="18"/>
                  </a:lnTo>
                  <a:lnTo>
                    <a:pt x="79" y="19"/>
                  </a:lnTo>
                  <a:lnTo>
                    <a:pt x="81" y="19"/>
                  </a:lnTo>
                  <a:lnTo>
                    <a:pt x="83" y="19"/>
                  </a:lnTo>
                  <a:close/>
                  <a:moveTo>
                    <a:pt x="0" y="31"/>
                  </a:moveTo>
                  <a:lnTo>
                    <a:pt x="0" y="29"/>
                  </a:lnTo>
                  <a:lnTo>
                    <a:pt x="2" y="29"/>
                  </a:lnTo>
                  <a:lnTo>
                    <a:pt x="2" y="27"/>
                  </a:lnTo>
                  <a:lnTo>
                    <a:pt x="2" y="25"/>
                  </a:lnTo>
                  <a:lnTo>
                    <a:pt x="2" y="23"/>
                  </a:lnTo>
                  <a:lnTo>
                    <a:pt x="2" y="21"/>
                  </a:lnTo>
                  <a:lnTo>
                    <a:pt x="2" y="19"/>
                  </a:lnTo>
                  <a:lnTo>
                    <a:pt x="2" y="21"/>
                  </a:lnTo>
                  <a:lnTo>
                    <a:pt x="2" y="23"/>
                  </a:lnTo>
                  <a:lnTo>
                    <a:pt x="2" y="25"/>
                  </a:lnTo>
                  <a:lnTo>
                    <a:pt x="2" y="27"/>
                  </a:lnTo>
                  <a:lnTo>
                    <a:pt x="2" y="29"/>
                  </a:lnTo>
                  <a:lnTo>
                    <a:pt x="0" y="29"/>
                  </a:lnTo>
                  <a:lnTo>
                    <a:pt x="2" y="29"/>
                  </a:lnTo>
                  <a:lnTo>
                    <a:pt x="0" y="29"/>
                  </a:lnTo>
                  <a:lnTo>
                    <a:pt x="0" y="31"/>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395">
              <a:extLst>
                <a:ext uri="{FF2B5EF4-FFF2-40B4-BE49-F238E27FC236}">
                  <a16:creationId xmlns:a16="http://schemas.microsoft.com/office/drawing/2014/main" id="{5C9E2E36-608C-465E-82C8-D85F2D9A9BB9}"/>
                </a:ext>
              </a:extLst>
            </p:cNvPr>
            <p:cNvSpPr>
              <a:spLocks/>
            </p:cNvSpPr>
            <p:nvPr/>
          </p:nvSpPr>
          <p:spPr bwMode="gray">
            <a:xfrm>
              <a:off x="3584760" y="3080071"/>
              <a:ext cx="132449" cy="77262"/>
            </a:xfrm>
            <a:custGeom>
              <a:avLst/>
              <a:gdLst>
                <a:gd name="T0" fmla="*/ 96 w 108"/>
                <a:gd name="T1" fmla="*/ 17 h 63"/>
                <a:gd name="T2" fmla="*/ 102 w 108"/>
                <a:gd name="T3" fmla="*/ 21 h 63"/>
                <a:gd name="T4" fmla="*/ 100 w 108"/>
                <a:gd name="T5" fmla="*/ 27 h 63"/>
                <a:gd name="T6" fmla="*/ 100 w 108"/>
                <a:gd name="T7" fmla="*/ 33 h 63"/>
                <a:gd name="T8" fmla="*/ 104 w 108"/>
                <a:gd name="T9" fmla="*/ 35 h 63"/>
                <a:gd name="T10" fmla="*/ 104 w 108"/>
                <a:gd name="T11" fmla="*/ 40 h 63"/>
                <a:gd name="T12" fmla="*/ 106 w 108"/>
                <a:gd name="T13" fmla="*/ 44 h 63"/>
                <a:gd name="T14" fmla="*/ 106 w 108"/>
                <a:gd name="T15" fmla="*/ 50 h 63"/>
                <a:gd name="T16" fmla="*/ 100 w 108"/>
                <a:gd name="T17" fmla="*/ 54 h 63"/>
                <a:gd name="T18" fmla="*/ 98 w 108"/>
                <a:gd name="T19" fmla="*/ 62 h 63"/>
                <a:gd name="T20" fmla="*/ 92 w 108"/>
                <a:gd name="T21" fmla="*/ 62 h 63"/>
                <a:gd name="T22" fmla="*/ 87 w 108"/>
                <a:gd name="T23" fmla="*/ 62 h 63"/>
                <a:gd name="T24" fmla="*/ 79 w 108"/>
                <a:gd name="T25" fmla="*/ 63 h 63"/>
                <a:gd name="T26" fmla="*/ 75 w 108"/>
                <a:gd name="T27" fmla="*/ 58 h 63"/>
                <a:gd name="T28" fmla="*/ 71 w 108"/>
                <a:gd name="T29" fmla="*/ 56 h 63"/>
                <a:gd name="T30" fmla="*/ 66 w 108"/>
                <a:gd name="T31" fmla="*/ 52 h 63"/>
                <a:gd name="T32" fmla="*/ 62 w 108"/>
                <a:gd name="T33" fmla="*/ 50 h 63"/>
                <a:gd name="T34" fmla="*/ 58 w 108"/>
                <a:gd name="T35" fmla="*/ 44 h 63"/>
                <a:gd name="T36" fmla="*/ 52 w 108"/>
                <a:gd name="T37" fmla="*/ 48 h 63"/>
                <a:gd name="T38" fmla="*/ 44 w 108"/>
                <a:gd name="T39" fmla="*/ 46 h 63"/>
                <a:gd name="T40" fmla="*/ 42 w 108"/>
                <a:gd name="T41" fmla="*/ 46 h 63"/>
                <a:gd name="T42" fmla="*/ 33 w 108"/>
                <a:gd name="T43" fmla="*/ 46 h 63"/>
                <a:gd name="T44" fmla="*/ 31 w 108"/>
                <a:gd name="T45" fmla="*/ 46 h 63"/>
                <a:gd name="T46" fmla="*/ 25 w 108"/>
                <a:gd name="T47" fmla="*/ 46 h 63"/>
                <a:gd name="T48" fmla="*/ 18 w 108"/>
                <a:gd name="T49" fmla="*/ 44 h 63"/>
                <a:gd name="T50" fmla="*/ 12 w 108"/>
                <a:gd name="T51" fmla="*/ 48 h 63"/>
                <a:gd name="T52" fmla="*/ 8 w 108"/>
                <a:gd name="T53" fmla="*/ 50 h 63"/>
                <a:gd name="T54" fmla="*/ 4 w 108"/>
                <a:gd name="T55" fmla="*/ 52 h 63"/>
                <a:gd name="T56" fmla="*/ 0 w 108"/>
                <a:gd name="T57" fmla="*/ 50 h 63"/>
                <a:gd name="T58" fmla="*/ 0 w 108"/>
                <a:gd name="T59" fmla="*/ 40 h 63"/>
                <a:gd name="T60" fmla="*/ 2 w 108"/>
                <a:gd name="T61" fmla="*/ 33 h 63"/>
                <a:gd name="T62" fmla="*/ 8 w 108"/>
                <a:gd name="T63" fmla="*/ 27 h 63"/>
                <a:gd name="T64" fmla="*/ 8 w 108"/>
                <a:gd name="T65" fmla="*/ 17 h 63"/>
                <a:gd name="T66" fmla="*/ 10 w 108"/>
                <a:gd name="T67" fmla="*/ 17 h 63"/>
                <a:gd name="T68" fmla="*/ 16 w 108"/>
                <a:gd name="T69" fmla="*/ 14 h 63"/>
                <a:gd name="T70" fmla="*/ 21 w 108"/>
                <a:gd name="T71" fmla="*/ 10 h 63"/>
                <a:gd name="T72" fmla="*/ 23 w 108"/>
                <a:gd name="T73" fmla="*/ 10 h 63"/>
                <a:gd name="T74" fmla="*/ 29 w 108"/>
                <a:gd name="T75" fmla="*/ 15 h 63"/>
                <a:gd name="T76" fmla="*/ 33 w 108"/>
                <a:gd name="T77" fmla="*/ 21 h 63"/>
                <a:gd name="T78" fmla="*/ 37 w 108"/>
                <a:gd name="T79" fmla="*/ 27 h 63"/>
                <a:gd name="T80" fmla="*/ 41 w 108"/>
                <a:gd name="T81" fmla="*/ 29 h 63"/>
                <a:gd name="T82" fmla="*/ 44 w 108"/>
                <a:gd name="T83" fmla="*/ 27 h 63"/>
                <a:gd name="T84" fmla="*/ 50 w 108"/>
                <a:gd name="T85" fmla="*/ 23 h 63"/>
                <a:gd name="T86" fmla="*/ 50 w 108"/>
                <a:gd name="T87" fmla="*/ 14 h 63"/>
                <a:gd name="T88" fmla="*/ 52 w 108"/>
                <a:gd name="T89" fmla="*/ 6 h 63"/>
                <a:gd name="T90" fmla="*/ 54 w 108"/>
                <a:gd name="T91" fmla="*/ 2 h 63"/>
                <a:gd name="T92" fmla="*/ 60 w 108"/>
                <a:gd name="T93" fmla="*/ 2 h 63"/>
                <a:gd name="T94" fmla="*/ 64 w 108"/>
                <a:gd name="T95" fmla="*/ 0 h 63"/>
                <a:gd name="T96" fmla="*/ 67 w 108"/>
                <a:gd name="T97" fmla="*/ 2 h 63"/>
                <a:gd name="T98" fmla="*/ 73 w 108"/>
                <a:gd name="T99" fmla="*/ 6 h 63"/>
                <a:gd name="T100" fmla="*/ 77 w 108"/>
                <a:gd name="T101" fmla="*/ 12 h 63"/>
                <a:gd name="T102" fmla="*/ 83 w 108"/>
                <a:gd name="T103" fmla="*/ 15 h 63"/>
                <a:gd name="T104" fmla="*/ 83 w 108"/>
                <a:gd name="T105" fmla="*/ 14 h 63"/>
                <a:gd name="T106" fmla="*/ 87 w 108"/>
                <a:gd name="T107" fmla="*/ 12 h 63"/>
                <a:gd name="T108" fmla="*/ 90 w 108"/>
                <a:gd name="T109" fmla="*/ 14 h 63"/>
                <a:gd name="T110" fmla="*/ 94 w 108"/>
                <a:gd name="T111" fmla="*/ 1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63">
                  <a:moveTo>
                    <a:pt x="94" y="15"/>
                  </a:moveTo>
                  <a:lnTo>
                    <a:pt x="96" y="15"/>
                  </a:lnTo>
                  <a:lnTo>
                    <a:pt x="96" y="14"/>
                  </a:lnTo>
                  <a:lnTo>
                    <a:pt x="96" y="15"/>
                  </a:lnTo>
                  <a:lnTo>
                    <a:pt x="96" y="17"/>
                  </a:lnTo>
                  <a:lnTo>
                    <a:pt x="98" y="17"/>
                  </a:lnTo>
                  <a:lnTo>
                    <a:pt x="98" y="19"/>
                  </a:lnTo>
                  <a:lnTo>
                    <a:pt x="100" y="19"/>
                  </a:lnTo>
                  <a:lnTo>
                    <a:pt x="100" y="21"/>
                  </a:lnTo>
                  <a:lnTo>
                    <a:pt x="102" y="21"/>
                  </a:lnTo>
                  <a:lnTo>
                    <a:pt x="102" y="23"/>
                  </a:lnTo>
                  <a:lnTo>
                    <a:pt x="100" y="23"/>
                  </a:lnTo>
                  <a:lnTo>
                    <a:pt x="102" y="25"/>
                  </a:lnTo>
                  <a:lnTo>
                    <a:pt x="100" y="25"/>
                  </a:lnTo>
                  <a:lnTo>
                    <a:pt x="100" y="27"/>
                  </a:lnTo>
                  <a:lnTo>
                    <a:pt x="100" y="29"/>
                  </a:lnTo>
                  <a:lnTo>
                    <a:pt x="100" y="31"/>
                  </a:lnTo>
                  <a:lnTo>
                    <a:pt x="98" y="31"/>
                  </a:lnTo>
                  <a:lnTo>
                    <a:pt x="98" y="33"/>
                  </a:lnTo>
                  <a:lnTo>
                    <a:pt x="100" y="33"/>
                  </a:lnTo>
                  <a:lnTo>
                    <a:pt x="102" y="33"/>
                  </a:lnTo>
                  <a:lnTo>
                    <a:pt x="102" y="35"/>
                  </a:lnTo>
                  <a:lnTo>
                    <a:pt x="102" y="33"/>
                  </a:lnTo>
                  <a:lnTo>
                    <a:pt x="104" y="33"/>
                  </a:lnTo>
                  <a:lnTo>
                    <a:pt x="104" y="35"/>
                  </a:lnTo>
                  <a:lnTo>
                    <a:pt x="102" y="35"/>
                  </a:lnTo>
                  <a:lnTo>
                    <a:pt x="102" y="37"/>
                  </a:lnTo>
                  <a:lnTo>
                    <a:pt x="104" y="37"/>
                  </a:lnTo>
                  <a:lnTo>
                    <a:pt x="104" y="39"/>
                  </a:lnTo>
                  <a:lnTo>
                    <a:pt x="104" y="40"/>
                  </a:lnTo>
                  <a:lnTo>
                    <a:pt x="106" y="40"/>
                  </a:lnTo>
                  <a:lnTo>
                    <a:pt x="106" y="42"/>
                  </a:lnTo>
                  <a:lnTo>
                    <a:pt x="104" y="42"/>
                  </a:lnTo>
                  <a:lnTo>
                    <a:pt x="106" y="42"/>
                  </a:lnTo>
                  <a:lnTo>
                    <a:pt x="106" y="44"/>
                  </a:lnTo>
                  <a:lnTo>
                    <a:pt x="106" y="46"/>
                  </a:lnTo>
                  <a:lnTo>
                    <a:pt x="106" y="48"/>
                  </a:lnTo>
                  <a:lnTo>
                    <a:pt x="108" y="48"/>
                  </a:lnTo>
                  <a:lnTo>
                    <a:pt x="106" y="48"/>
                  </a:lnTo>
                  <a:lnTo>
                    <a:pt x="106" y="50"/>
                  </a:lnTo>
                  <a:lnTo>
                    <a:pt x="106" y="52"/>
                  </a:lnTo>
                  <a:lnTo>
                    <a:pt x="104" y="52"/>
                  </a:lnTo>
                  <a:lnTo>
                    <a:pt x="102" y="52"/>
                  </a:lnTo>
                  <a:lnTo>
                    <a:pt x="102" y="54"/>
                  </a:lnTo>
                  <a:lnTo>
                    <a:pt x="100" y="54"/>
                  </a:lnTo>
                  <a:lnTo>
                    <a:pt x="100" y="56"/>
                  </a:lnTo>
                  <a:lnTo>
                    <a:pt x="100" y="58"/>
                  </a:lnTo>
                  <a:lnTo>
                    <a:pt x="98" y="58"/>
                  </a:lnTo>
                  <a:lnTo>
                    <a:pt x="98" y="60"/>
                  </a:lnTo>
                  <a:lnTo>
                    <a:pt x="98" y="62"/>
                  </a:lnTo>
                  <a:lnTo>
                    <a:pt x="96" y="62"/>
                  </a:lnTo>
                  <a:lnTo>
                    <a:pt x="94" y="62"/>
                  </a:lnTo>
                  <a:lnTo>
                    <a:pt x="94" y="60"/>
                  </a:lnTo>
                  <a:lnTo>
                    <a:pt x="94" y="62"/>
                  </a:lnTo>
                  <a:lnTo>
                    <a:pt x="92" y="62"/>
                  </a:lnTo>
                  <a:lnTo>
                    <a:pt x="92" y="60"/>
                  </a:lnTo>
                  <a:lnTo>
                    <a:pt x="90" y="60"/>
                  </a:lnTo>
                  <a:lnTo>
                    <a:pt x="89" y="60"/>
                  </a:lnTo>
                  <a:lnTo>
                    <a:pt x="89" y="62"/>
                  </a:lnTo>
                  <a:lnTo>
                    <a:pt x="87" y="62"/>
                  </a:lnTo>
                  <a:lnTo>
                    <a:pt x="87" y="63"/>
                  </a:lnTo>
                  <a:lnTo>
                    <a:pt x="85" y="63"/>
                  </a:lnTo>
                  <a:lnTo>
                    <a:pt x="83" y="63"/>
                  </a:lnTo>
                  <a:lnTo>
                    <a:pt x="81" y="63"/>
                  </a:lnTo>
                  <a:lnTo>
                    <a:pt x="79" y="63"/>
                  </a:lnTo>
                  <a:lnTo>
                    <a:pt x="79" y="62"/>
                  </a:lnTo>
                  <a:lnTo>
                    <a:pt x="77" y="62"/>
                  </a:lnTo>
                  <a:lnTo>
                    <a:pt x="77" y="60"/>
                  </a:lnTo>
                  <a:lnTo>
                    <a:pt x="75" y="60"/>
                  </a:lnTo>
                  <a:lnTo>
                    <a:pt x="75" y="58"/>
                  </a:lnTo>
                  <a:lnTo>
                    <a:pt x="75" y="56"/>
                  </a:lnTo>
                  <a:lnTo>
                    <a:pt x="73" y="56"/>
                  </a:lnTo>
                  <a:lnTo>
                    <a:pt x="75" y="56"/>
                  </a:lnTo>
                  <a:lnTo>
                    <a:pt x="73" y="56"/>
                  </a:lnTo>
                  <a:lnTo>
                    <a:pt x="71" y="56"/>
                  </a:lnTo>
                  <a:lnTo>
                    <a:pt x="71" y="54"/>
                  </a:lnTo>
                  <a:lnTo>
                    <a:pt x="69" y="54"/>
                  </a:lnTo>
                  <a:lnTo>
                    <a:pt x="69" y="52"/>
                  </a:lnTo>
                  <a:lnTo>
                    <a:pt x="67" y="52"/>
                  </a:lnTo>
                  <a:lnTo>
                    <a:pt x="66" y="52"/>
                  </a:lnTo>
                  <a:lnTo>
                    <a:pt x="64" y="52"/>
                  </a:lnTo>
                  <a:lnTo>
                    <a:pt x="64" y="50"/>
                  </a:lnTo>
                  <a:lnTo>
                    <a:pt x="62" y="50"/>
                  </a:lnTo>
                  <a:lnTo>
                    <a:pt x="62" y="52"/>
                  </a:lnTo>
                  <a:lnTo>
                    <a:pt x="62" y="50"/>
                  </a:lnTo>
                  <a:lnTo>
                    <a:pt x="60" y="50"/>
                  </a:lnTo>
                  <a:lnTo>
                    <a:pt x="60" y="48"/>
                  </a:lnTo>
                  <a:lnTo>
                    <a:pt x="60" y="46"/>
                  </a:lnTo>
                  <a:lnTo>
                    <a:pt x="58" y="46"/>
                  </a:lnTo>
                  <a:lnTo>
                    <a:pt x="58" y="44"/>
                  </a:lnTo>
                  <a:lnTo>
                    <a:pt x="56" y="44"/>
                  </a:lnTo>
                  <a:lnTo>
                    <a:pt x="56" y="46"/>
                  </a:lnTo>
                  <a:lnTo>
                    <a:pt x="54" y="46"/>
                  </a:lnTo>
                  <a:lnTo>
                    <a:pt x="54" y="48"/>
                  </a:lnTo>
                  <a:lnTo>
                    <a:pt x="52" y="48"/>
                  </a:lnTo>
                  <a:lnTo>
                    <a:pt x="50" y="48"/>
                  </a:lnTo>
                  <a:lnTo>
                    <a:pt x="48" y="48"/>
                  </a:lnTo>
                  <a:lnTo>
                    <a:pt x="46" y="48"/>
                  </a:lnTo>
                  <a:lnTo>
                    <a:pt x="44" y="48"/>
                  </a:lnTo>
                  <a:lnTo>
                    <a:pt x="44" y="46"/>
                  </a:lnTo>
                  <a:lnTo>
                    <a:pt x="42" y="46"/>
                  </a:lnTo>
                  <a:lnTo>
                    <a:pt x="42" y="48"/>
                  </a:lnTo>
                  <a:lnTo>
                    <a:pt x="42" y="46"/>
                  </a:lnTo>
                  <a:lnTo>
                    <a:pt x="41" y="46"/>
                  </a:lnTo>
                  <a:lnTo>
                    <a:pt x="42" y="46"/>
                  </a:lnTo>
                  <a:lnTo>
                    <a:pt x="41" y="46"/>
                  </a:lnTo>
                  <a:lnTo>
                    <a:pt x="39" y="46"/>
                  </a:lnTo>
                  <a:lnTo>
                    <a:pt x="37" y="46"/>
                  </a:lnTo>
                  <a:lnTo>
                    <a:pt x="35" y="46"/>
                  </a:lnTo>
                  <a:lnTo>
                    <a:pt x="33" y="46"/>
                  </a:lnTo>
                  <a:lnTo>
                    <a:pt x="33" y="48"/>
                  </a:lnTo>
                  <a:lnTo>
                    <a:pt x="31" y="48"/>
                  </a:lnTo>
                  <a:lnTo>
                    <a:pt x="31" y="46"/>
                  </a:lnTo>
                  <a:lnTo>
                    <a:pt x="31" y="48"/>
                  </a:lnTo>
                  <a:lnTo>
                    <a:pt x="31" y="46"/>
                  </a:lnTo>
                  <a:lnTo>
                    <a:pt x="31" y="44"/>
                  </a:lnTo>
                  <a:lnTo>
                    <a:pt x="29" y="44"/>
                  </a:lnTo>
                  <a:lnTo>
                    <a:pt x="29" y="46"/>
                  </a:lnTo>
                  <a:lnTo>
                    <a:pt x="27" y="46"/>
                  </a:lnTo>
                  <a:lnTo>
                    <a:pt x="25" y="46"/>
                  </a:lnTo>
                  <a:lnTo>
                    <a:pt x="23" y="46"/>
                  </a:lnTo>
                  <a:lnTo>
                    <a:pt x="23" y="44"/>
                  </a:lnTo>
                  <a:lnTo>
                    <a:pt x="21" y="44"/>
                  </a:lnTo>
                  <a:lnTo>
                    <a:pt x="19" y="44"/>
                  </a:lnTo>
                  <a:lnTo>
                    <a:pt x="18" y="44"/>
                  </a:lnTo>
                  <a:lnTo>
                    <a:pt x="16" y="44"/>
                  </a:lnTo>
                  <a:lnTo>
                    <a:pt x="16" y="46"/>
                  </a:lnTo>
                  <a:lnTo>
                    <a:pt x="14" y="46"/>
                  </a:lnTo>
                  <a:lnTo>
                    <a:pt x="12" y="46"/>
                  </a:lnTo>
                  <a:lnTo>
                    <a:pt x="12" y="48"/>
                  </a:lnTo>
                  <a:lnTo>
                    <a:pt x="10" y="48"/>
                  </a:lnTo>
                  <a:lnTo>
                    <a:pt x="10" y="46"/>
                  </a:lnTo>
                  <a:lnTo>
                    <a:pt x="10" y="48"/>
                  </a:lnTo>
                  <a:lnTo>
                    <a:pt x="8" y="48"/>
                  </a:lnTo>
                  <a:lnTo>
                    <a:pt x="8" y="50"/>
                  </a:lnTo>
                  <a:lnTo>
                    <a:pt x="6" y="50"/>
                  </a:lnTo>
                  <a:lnTo>
                    <a:pt x="6" y="52"/>
                  </a:lnTo>
                  <a:lnTo>
                    <a:pt x="4" y="52"/>
                  </a:lnTo>
                  <a:lnTo>
                    <a:pt x="4" y="54"/>
                  </a:lnTo>
                  <a:lnTo>
                    <a:pt x="4" y="52"/>
                  </a:lnTo>
                  <a:lnTo>
                    <a:pt x="4" y="54"/>
                  </a:lnTo>
                  <a:lnTo>
                    <a:pt x="2" y="54"/>
                  </a:lnTo>
                  <a:lnTo>
                    <a:pt x="2" y="52"/>
                  </a:lnTo>
                  <a:lnTo>
                    <a:pt x="0" y="52"/>
                  </a:lnTo>
                  <a:lnTo>
                    <a:pt x="0" y="50"/>
                  </a:lnTo>
                  <a:lnTo>
                    <a:pt x="0" y="48"/>
                  </a:lnTo>
                  <a:lnTo>
                    <a:pt x="0" y="46"/>
                  </a:lnTo>
                  <a:lnTo>
                    <a:pt x="0" y="44"/>
                  </a:lnTo>
                  <a:lnTo>
                    <a:pt x="0" y="42"/>
                  </a:lnTo>
                  <a:lnTo>
                    <a:pt x="0" y="40"/>
                  </a:lnTo>
                  <a:lnTo>
                    <a:pt x="2" y="40"/>
                  </a:lnTo>
                  <a:lnTo>
                    <a:pt x="2" y="39"/>
                  </a:lnTo>
                  <a:lnTo>
                    <a:pt x="2" y="37"/>
                  </a:lnTo>
                  <a:lnTo>
                    <a:pt x="2" y="35"/>
                  </a:lnTo>
                  <a:lnTo>
                    <a:pt x="2" y="33"/>
                  </a:lnTo>
                  <a:lnTo>
                    <a:pt x="4" y="33"/>
                  </a:lnTo>
                  <a:lnTo>
                    <a:pt x="4" y="31"/>
                  </a:lnTo>
                  <a:lnTo>
                    <a:pt x="6" y="31"/>
                  </a:lnTo>
                  <a:lnTo>
                    <a:pt x="6" y="29"/>
                  </a:lnTo>
                  <a:lnTo>
                    <a:pt x="8" y="27"/>
                  </a:lnTo>
                  <a:lnTo>
                    <a:pt x="8" y="25"/>
                  </a:lnTo>
                  <a:lnTo>
                    <a:pt x="8" y="23"/>
                  </a:lnTo>
                  <a:lnTo>
                    <a:pt x="8" y="21"/>
                  </a:lnTo>
                  <a:lnTo>
                    <a:pt x="8" y="19"/>
                  </a:lnTo>
                  <a:lnTo>
                    <a:pt x="8" y="17"/>
                  </a:lnTo>
                  <a:lnTo>
                    <a:pt x="10" y="17"/>
                  </a:lnTo>
                  <a:lnTo>
                    <a:pt x="10" y="19"/>
                  </a:lnTo>
                  <a:lnTo>
                    <a:pt x="10" y="17"/>
                  </a:lnTo>
                  <a:lnTo>
                    <a:pt x="8" y="17"/>
                  </a:lnTo>
                  <a:lnTo>
                    <a:pt x="10" y="17"/>
                  </a:lnTo>
                  <a:lnTo>
                    <a:pt x="10" y="15"/>
                  </a:lnTo>
                  <a:lnTo>
                    <a:pt x="12" y="15"/>
                  </a:lnTo>
                  <a:lnTo>
                    <a:pt x="12" y="14"/>
                  </a:lnTo>
                  <a:lnTo>
                    <a:pt x="14" y="14"/>
                  </a:lnTo>
                  <a:lnTo>
                    <a:pt x="16" y="14"/>
                  </a:lnTo>
                  <a:lnTo>
                    <a:pt x="16" y="12"/>
                  </a:lnTo>
                  <a:lnTo>
                    <a:pt x="18" y="12"/>
                  </a:lnTo>
                  <a:lnTo>
                    <a:pt x="19" y="12"/>
                  </a:lnTo>
                  <a:lnTo>
                    <a:pt x="19" y="10"/>
                  </a:lnTo>
                  <a:lnTo>
                    <a:pt x="21" y="10"/>
                  </a:lnTo>
                  <a:lnTo>
                    <a:pt x="23" y="10"/>
                  </a:lnTo>
                  <a:lnTo>
                    <a:pt x="23" y="8"/>
                  </a:lnTo>
                  <a:lnTo>
                    <a:pt x="25" y="8"/>
                  </a:lnTo>
                  <a:lnTo>
                    <a:pt x="25" y="10"/>
                  </a:lnTo>
                  <a:lnTo>
                    <a:pt x="23" y="10"/>
                  </a:lnTo>
                  <a:lnTo>
                    <a:pt x="23" y="12"/>
                  </a:lnTo>
                  <a:lnTo>
                    <a:pt x="25" y="12"/>
                  </a:lnTo>
                  <a:lnTo>
                    <a:pt x="25" y="14"/>
                  </a:lnTo>
                  <a:lnTo>
                    <a:pt x="27" y="15"/>
                  </a:lnTo>
                  <a:lnTo>
                    <a:pt x="29" y="15"/>
                  </a:lnTo>
                  <a:lnTo>
                    <a:pt x="29" y="17"/>
                  </a:lnTo>
                  <a:lnTo>
                    <a:pt x="31" y="17"/>
                  </a:lnTo>
                  <a:lnTo>
                    <a:pt x="31" y="19"/>
                  </a:lnTo>
                  <a:lnTo>
                    <a:pt x="33" y="19"/>
                  </a:lnTo>
                  <a:lnTo>
                    <a:pt x="33" y="21"/>
                  </a:lnTo>
                  <a:lnTo>
                    <a:pt x="33" y="23"/>
                  </a:lnTo>
                  <a:lnTo>
                    <a:pt x="33" y="25"/>
                  </a:lnTo>
                  <a:lnTo>
                    <a:pt x="33" y="27"/>
                  </a:lnTo>
                  <a:lnTo>
                    <a:pt x="35" y="27"/>
                  </a:lnTo>
                  <a:lnTo>
                    <a:pt x="37" y="27"/>
                  </a:lnTo>
                  <a:lnTo>
                    <a:pt x="37" y="29"/>
                  </a:lnTo>
                  <a:lnTo>
                    <a:pt x="39" y="29"/>
                  </a:lnTo>
                  <a:lnTo>
                    <a:pt x="39" y="31"/>
                  </a:lnTo>
                  <a:lnTo>
                    <a:pt x="41" y="31"/>
                  </a:lnTo>
                  <a:lnTo>
                    <a:pt x="41" y="29"/>
                  </a:lnTo>
                  <a:lnTo>
                    <a:pt x="42" y="29"/>
                  </a:lnTo>
                  <a:lnTo>
                    <a:pt x="44" y="29"/>
                  </a:lnTo>
                  <a:lnTo>
                    <a:pt x="44" y="27"/>
                  </a:lnTo>
                  <a:lnTo>
                    <a:pt x="46" y="27"/>
                  </a:lnTo>
                  <a:lnTo>
                    <a:pt x="44" y="27"/>
                  </a:lnTo>
                  <a:lnTo>
                    <a:pt x="46" y="27"/>
                  </a:lnTo>
                  <a:lnTo>
                    <a:pt x="48" y="27"/>
                  </a:lnTo>
                  <a:lnTo>
                    <a:pt x="48" y="25"/>
                  </a:lnTo>
                  <a:lnTo>
                    <a:pt x="50" y="25"/>
                  </a:lnTo>
                  <a:lnTo>
                    <a:pt x="50" y="23"/>
                  </a:lnTo>
                  <a:lnTo>
                    <a:pt x="50" y="21"/>
                  </a:lnTo>
                  <a:lnTo>
                    <a:pt x="50" y="19"/>
                  </a:lnTo>
                  <a:lnTo>
                    <a:pt x="50" y="17"/>
                  </a:lnTo>
                  <a:lnTo>
                    <a:pt x="50" y="15"/>
                  </a:lnTo>
                  <a:lnTo>
                    <a:pt x="50" y="14"/>
                  </a:lnTo>
                  <a:lnTo>
                    <a:pt x="50" y="12"/>
                  </a:lnTo>
                  <a:lnTo>
                    <a:pt x="50" y="10"/>
                  </a:lnTo>
                  <a:lnTo>
                    <a:pt x="50" y="8"/>
                  </a:lnTo>
                  <a:lnTo>
                    <a:pt x="50" y="6"/>
                  </a:lnTo>
                  <a:lnTo>
                    <a:pt x="52" y="6"/>
                  </a:lnTo>
                  <a:lnTo>
                    <a:pt x="52" y="4"/>
                  </a:lnTo>
                  <a:lnTo>
                    <a:pt x="54" y="4"/>
                  </a:lnTo>
                  <a:lnTo>
                    <a:pt x="54" y="2"/>
                  </a:lnTo>
                  <a:lnTo>
                    <a:pt x="54" y="4"/>
                  </a:lnTo>
                  <a:lnTo>
                    <a:pt x="54" y="2"/>
                  </a:lnTo>
                  <a:lnTo>
                    <a:pt x="54" y="4"/>
                  </a:lnTo>
                  <a:lnTo>
                    <a:pt x="56" y="4"/>
                  </a:lnTo>
                  <a:lnTo>
                    <a:pt x="56" y="2"/>
                  </a:lnTo>
                  <a:lnTo>
                    <a:pt x="58" y="2"/>
                  </a:lnTo>
                  <a:lnTo>
                    <a:pt x="60" y="2"/>
                  </a:lnTo>
                  <a:lnTo>
                    <a:pt x="60" y="0"/>
                  </a:lnTo>
                  <a:lnTo>
                    <a:pt x="62" y="0"/>
                  </a:lnTo>
                  <a:lnTo>
                    <a:pt x="64" y="0"/>
                  </a:lnTo>
                  <a:lnTo>
                    <a:pt x="62" y="0"/>
                  </a:lnTo>
                  <a:lnTo>
                    <a:pt x="64" y="0"/>
                  </a:lnTo>
                  <a:lnTo>
                    <a:pt x="64" y="2"/>
                  </a:lnTo>
                  <a:lnTo>
                    <a:pt x="64" y="0"/>
                  </a:lnTo>
                  <a:lnTo>
                    <a:pt x="66" y="0"/>
                  </a:lnTo>
                  <a:lnTo>
                    <a:pt x="66" y="2"/>
                  </a:lnTo>
                  <a:lnTo>
                    <a:pt x="67" y="2"/>
                  </a:lnTo>
                  <a:lnTo>
                    <a:pt x="67" y="4"/>
                  </a:lnTo>
                  <a:lnTo>
                    <a:pt x="69" y="4"/>
                  </a:lnTo>
                  <a:lnTo>
                    <a:pt x="71" y="4"/>
                  </a:lnTo>
                  <a:lnTo>
                    <a:pt x="71" y="6"/>
                  </a:lnTo>
                  <a:lnTo>
                    <a:pt x="73" y="6"/>
                  </a:lnTo>
                  <a:lnTo>
                    <a:pt x="75" y="6"/>
                  </a:lnTo>
                  <a:lnTo>
                    <a:pt x="75" y="8"/>
                  </a:lnTo>
                  <a:lnTo>
                    <a:pt x="77" y="8"/>
                  </a:lnTo>
                  <a:lnTo>
                    <a:pt x="77" y="10"/>
                  </a:lnTo>
                  <a:lnTo>
                    <a:pt x="77" y="12"/>
                  </a:lnTo>
                  <a:lnTo>
                    <a:pt x="79" y="12"/>
                  </a:lnTo>
                  <a:lnTo>
                    <a:pt x="79" y="14"/>
                  </a:lnTo>
                  <a:lnTo>
                    <a:pt x="81" y="14"/>
                  </a:lnTo>
                  <a:lnTo>
                    <a:pt x="81" y="15"/>
                  </a:lnTo>
                  <a:lnTo>
                    <a:pt x="83" y="15"/>
                  </a:lnTo>
                  <a:lnTo>
                    <a:pt x="83" y="14"/>
                  </a:lnTo>
                  <a:lnTo>
                    <a:pt x="83" y="15"/>
                  </a:lnTo>
                  <a:lnTo>
                    <a:pt x="83" y="14"/>
                  </a:lnTo>
                  <a:lnTo>
                    <a:pt x="83" y="15"/>
                  </a:lnTo>
                  <a:lnTo>
                    <a:pt x="83" y="14"/>
                  </a:lnTo>
                  <a:lnTo>
                    <a:pt x="85" y="14"/>
                  </a:lnTo>
                  <a:lnTo>
                    <a:pt x="87" y="14"/>
                  </a:lnTo>
                  <a:lnTo>
                    <a:pt x="85" y="14"/>
                  </a:lnTo>
                  <a:lnTo>
                    <a:pt x="87" y="14"/>
                  </a:lnTo>
                  <a:lnTo>
                    <a:pt x="87" y="12"/>
                  </a:lnTo>
                  <a:lnTo>
                    <a:pt x="89" y="12"/>
                  </a:lnTo>
                  <a:lnTo>
                    <a:pt x="89" y="14"/>
                  </a:lnTo>
                  <a:lnTo>
                    <a:pt x="89" y="12"/>
                  </a:lnTo>
                  <a:lnTo>
                    <a:pt x="89" y="14"/>
                  </a:lnTo>
                  <a:lnTo>
                    <a:pt x="90" y="14"/>
                  </a:lnTo>
                  <a:lnTo>
                    <a:pt x="92" y="14"/>
                  </a:lnTo>
                  <a:lnTo>
                    <a:pt x="92" y="15"/>
                  </a:lnTo>
                  <a:lnTo>
                    <a:pt x="92" y="14"/>
                  </a:lnTo>
                  <a:lnTo>
                    <a:pt x="92" y="15"/>
                  </a:lnTo>
                  <a:lnTo>
                    <a:pt x="94" y="1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396">
              <a:extLst>
                <a:ext uri="{FF2B5EF4-FFF2-40B4-BE49-F238E27FC236}">
                  <a16:creationId xmlns:a16="http://schemas.microsoft.com/office/drawing/2014/main" id="{D3BA8D08-AC3F-4F80-91A6-2677A0EB1BFA}"/>
                </a:ext>
              </a:extLst>
            </p:cNvPr>
            <p:cNvSpPr>
              <a:spLocks noEditPoints="1"/>
            </p:cNvSpPr>
            <p:nvPr/>
          </p:nvSpPr>
          <p:spPr bwMode="gray">
            <a:xfrm>
              <a:off x="3599476" y="3023658"/>
              <a:ext cx="115279" cy="74809"/>
            </a:xfrm>
            <a:custGeom>
              <a:avLst/>
              <a:gdLst>
                <a:gd name="T0" fmla="*/ 88 w 94"/>
                <a:gd name="T1" fmla="*/ 17 h 61"/>
                <a:gd name="T2" fmla="*/ 77 w 94"/>
                <a:gd name="T3" fmla="*/ 27 h 61"/>
                <a:gd name="T4" fmla="*/ 84 w 94"/>
                <a:gd name="T5" fmla="*/ 40 h 61"/>
                <a:gd name="T6" fmla="*/ 86 w 94"/>
                <a:gd name="T7" fmla="*/ 52 h 61"/>
                <a:gd name="T8" fmla="*/ 80 w 94"/>
                <a:gd name="T9" fmla="*/ 60 h 61"/>
                <a:gd name="T10" fmla="*/ 71 w 94"/>
                <a:gd name="T11" fmla="*/ 60 h 61"/>
                <a:gd name="T12" fmla="*/ 65 w 94"/>
                <a:gd name="T13" fmla="*/ 56 h 61"/>
                <a:gd name="T14" fmla="*/ 54 w 94"/>
                <a:gd name="T15" fmla="*/ 46 h 61"/>
                <a:gd name="T16" fmla="*/ 44 w 94"/>
                <a:gd name="T17" fmla="*/ 50 h 61"/>
                <a:gd name="T18" fmla="*/ 40 w 94"/>
                <a:gd name="T19" fmla="*/ 48 h 61"/>
                <a:gd name="T20" fmla="*/ 36 w 94"/>
                <a:gd name="T21" fmla="*/ 38 h 61"/>
                <a:gd name="T22" fmla="*/ 36 w 94"/>
                <a:gd name="T23" fmla="*/ 40 h 61"/>
                <a:gd name="T24" fmla="*/ 29 w 94"/>
                <a:gd name="T25" fmla="*/ 38 h 61"/>
                <a:gd name="T26" fmla="*/ 30 w 94"/>
                <a:gd name="T27" fmla="*/ 38 h 61"/>
                <a:gd name="T28" fmla="*/ 27 w 94"/>
                <a:gd name="T29" fmla="*/ 33 h 61"/>
                <a:gd name="T30" fmla="*/ 25 w 94"/>
                <a:gd name="T31" fmla="*/ 29 h 61"/>
                <a:gd name="T32" fmla="*/ 25 w 94"/>
                <a:gd name="T33" fmla="*/ 27 h 61"/>
                <a:gd name="T34" fmla="*/ 27 w 94"/>
                <a:gd name="T35" fmla="*/ 19 h 61"/>
                <a:gd name="T36" fmla="*/ 29 w 94"/>
                <a:gd name="T37" fmla="*/ 12 h 61"/>
                <a:gd name="T38" fmla="*/ 42 w 94"/>
                <a:gd name="T39" fmla="*/ 8 h 61"/>
                <a:gd name="T40" fmla="*/ 44 w 94"/>
                <a:gd name="T41" fmla="*/ 4 h 61"/>
                <a:gd name="T42" fmla="*/ 55 w 94"/>
                <a:gd name="T43" fmla="*/ 6 h 61"/>
                <a:gd name="T44" fmla="*/ 59 w 94"/>
                <a:gd name="T45" fmla="*/ 0 h 61"/>
                <a:gd name="T46" fmla="*/ 65 w 94"/>
                <a:gd name="T47" fmla="*/ 4 h 61"/>
                <a:gd name="T48" fmla="*/ 75 w 94"/>
                <a:gd name="T49" fmla="*/ 8 h 61"/>
                <a:gd name="T50" fmla="*/ 21 w 94"/>
                <a:gd name="T51" fmla="*/ 29 h 61"/>
                <a:gd name="T52" fmla="*/ 25 w 94"/>
                <a:gd name="T53" fmla="*/ 35 h 61"/>
                <a:gd name="T54" fmla="*/ 23 w 94"/>
                <a:gd name="T55" fmla="*/ 35 h 61"/>
                <a:gd name="T56" fmla="*/ 21 w 94"/>
                <a:gd name="T57" fmla="*/ 35 h 61"/>
                <a:gd name="T58" fmla="*/ 21 w 94"/>
                <a:gd name="T59" fmla="*/ 36 h 61"/>
                <a:gd name="T60" fmla="*/ 17 w 94"/>
                <a:gd name="T61" fmla="*/ 36 h 61"/>
                <a:gd name="T62" fmla="*/ 15 w 94"/>
                <a:gd name="T63" fmla="*/ 40 h 61"/>
                <a:gd name="T64" fmla="*/ 13 w 94"/>
                <a:gd name="T65" fmla="*/ 40 h 61"/>
                <a:gd name="T66" fmla="*/ 11 w 94"/>
                <a:gd name="T67" fmla="*/ 40 h 61"/>
                <a:gd name="T68" fmla="*/ 6 w 94"/>
                <a:gd name="T69" fmla="*/ 48 h 61"/>
                <a:gd name="T70" fmla="*/ 6 w 94"/>
                <a:gd name="T71" fmla="*/ 46 h 61"/>
                <a:gd name="T72" fmla="*/ 2 w 94"/>
                <a:gd name="T73" fmla="*/ 40 h 61"/>
                <a:gd name="T74" fmla="*/ 4 w 94"/>
                <a:gd name="T75" fmla="*/ 36 h 61"/>
                <a:gd name="T76" fmla="*/ 6 w 94"/>
                <a:gd name="T77" fmla="*/ 33 h 61"/>
                <a:gd name="T78" fmla="*/ 13 w 94"/>
                <a:gd name="T79" fmla="*/ 31 h 61"/>
                <a:gd name="T80" fmla="*/ 13 w 94"/>
                <a:gd name="T81" fmla="*/ 33 h 61"/>
                <a:gd name="T82" fmla="*/ 17 w 94"/>
                <a:gd name="T83" fmla="*/ 31 h 61"/>
                <a:gd name="T84" fmla="*/ 13 w 94"/>
                <a:gd name="T85" fmla="*/ 19 h 61"/>
                <a:gd name="T86" fmla="*/ 19 w 94"/>
                <a:gd name="T87" fmla="*/ 23 h 61"/>
                <a:gd name="T88" fmla="*/ 15 w 94"/>
                <a:gd name="T89" fmla="*/ 27 h 61"/>
                <a:gd name="T90" fmla="*/ 11 w 94"/>
                <a:gd name="T91" fmla="*/ 25 h 61"/>
                <a:gd name="T92" fmla="*/ 7 w 94"/>
                <a:gd name="T93" fmla="*/ 23 h 61"/>
                <a:gd name="T94" fmla="*/ 9 w 94"/>
                <a:gd name="T95" fmla="*/ 19 h 61"/>
                <a:gd name="T96" fmla="*/ 25 w 94"/>
                <a:gd name="T97" fmla="*/ 21 h 61"/>
                <a:gd name="T98" fmla="*/ 32 w 94"/>
                <a:gd name="T99" fmla="*/ 44 h 61"/>
                <a:gd name="T100" fmla="*/ 23 w 94"/>
                <a:gd name="T101" fmla="*/ 54 h 61"/>
                <a:gd name="T102" fmla="*/ 84 w 94"/>
                <a:gd name="T103" fmla="*/ 36 h 61"/>
                <a:gd name="T104" fmla="*/ 13 w 94"/>
                <a:gd name="T105" fmla="*/ 42 h 61"/>
                <a:gd name="T106" fmla="*/ 17 w 94"/>
                <a:gd name="T107" fmla="*/ 25 h 61"/>
                <a:gd name="T108" fmla="*/ 2 w 94"/>
                <a:gd name="T109" fmla="*/ 36 h 61"/>
                <a:gd name="T110" fmla="*/ 19 w 94"/>
                <a:gd name="T111" fmla="*/ 19 h 61"/>
                <a:gd name="T112" fmla="*/ 11 w 94"/>
                <a:gd name="T113" fmla="*/ 42 h 61"/>
                <a:gd name="T114" fmla="*/ 21 w 94"/>
                <a:gd name="T115" fmla="*/ 35 h 61"/>
                <a:gd name="T116" fmla="*/ 23 w 94"/>
                <a:gd name="T117" fmla="*/ 35 h 61"/>
                <a:gd name="T118" fmla="*/ 19 w 94"/>
                <a:gd name="T119" fmla="*/ 23 h 61"/>
                <a:gd name="T120" fmla="*/ 17 w 94"/>
                <a:gd name="T121" fmla="*/ 38 h 61"/>
                <a:gd name="T122" fmla="*/ 17 w 94"/>
                <a:gd name="T123"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 h="61">
                  <a:moveTo>
                    <a:pt x="92" y="6"/>
                  </a:moveTo>
                  <a:lnTo>
                    <a:pt x="92" y="8"/>
                  </a:lnTo>
                  <a:lnTo>
                    <a:pt x="94" y="8"/>
                  </a:lnTo>
                  <a:lnTo>
                    <a:pt x="94" y="10"/>
                  </a:lnTo>
                  <a:lnTo>
                    <a:pt x="94" y="12"/>
                  </a:lnTo>
                  <a:lnTo>
                    <a:pt x="92" y="12"/>
                  </a:lnTo>
                  <a:lnTo>
                    <a:pt x="90" y="12"/>
                  </a:lnTo>
                  <a:lnTo>
                    <a:pt x="90" y="13"/>
                  </a:lnTo>
                  <a:lnTo>
                    <a:pt x="90" y="15"/>
                  </a:lnTo>
                  <a:lnTo>
                    <a:pt x="88" y="15"/>
                  </a:lnTo>
                  <a:lnTo>
                    <a:pt x="88" y="17"/>
                  </a:lnTo>
                  <a:lnTo>
                    <a:pt x="88" y="19"/>
                  </a:lnTo>
                  <a:lnTo>
                    <a:pt x="86" y="19"/>
                  </a:lnTo>
                  <a:lnTo>
                    <a:pt x="84" y="19"/>
                  </a:lnTo>
                  <a:lnTo>
                    <a:pt x="82" y="19"/>
                  </a:lnTo>
                  <a:lnTo>
                    <a:pt x="80" y="19"/>
                  </a:lnTo>
                  <a:lnTo>
                    <a:pt x="80" y="21"/>
                  </a:lnTo>
                  <a:lnTo>
                    <a:pt x="78" y="21"/>
                  </a:lnTo>
                  <a:lnTo>
                    <a:pt x="77" y="21"/>
                  </a:lnTo>
                  <a:lnTo>
                    <a:pt x="77" y="23"/>
                  </a:lnTo>
                  <a:lnTo>
                    <a:pt x="77" y="25"/>
                  </a:lnTo>
                  <a:lnTo>
                    <a:pt x="77" y="27"/>
                  </a:lnTo>
                  <a:lnTo>
                    <a:pt x="78" y="27"/>
                  </a:lnTo>
                  <a:lnTo>
                    <a:pt x="78" y="29"/>
                  </a:lnTo>
                  <a:lnTo>
                    <a:pt x="78" y="31"/>
                  </a:lnTo>
                  <a:lnTo>
                    <a:pt x="80" y="31"/>
                  </a:lnTo>
                  <a:lnTo>
                    <a:pt x="80" y="33"/>
                  </a:lnTo>
                  <a:lnTo>
                    <a:pt x="80" y="35"/>
                  </a:lnTo>
                  <a:lnTo>
                    <a:pt x="80" y="36"/>
                  </a:lnTo>
                  <a:lnTo>
                    <a:pt x="82" y="36"/>
                  </a:lnTo>
                  <a:lnTo>
                    <a:pt x="82" y="38"/>
                  </a:lnTo>
                  <a:lnTo>
                    <a:pt x="82" y="40"/>
                  </a:lnTo>
                  <a:lnTo>
                    <a:pt x="84" y="40"/>
                  </a:lnTo>
                  <a:lnTo>
                    <a:pt x="84" y="42"/>
                  </a:lnTo>
                  <a:lnTo>
                    <a:pt x="84" y="44"/>
                  </a:lnTo>
                  <a:lnTo>
                    <a:pt x="84" y="46"/>
                  </a:lnTo>
                  <a:lnTo>
                    <a:pt x="86" y="46"/>
                  </a:lnTo>
                  <a:lnTo>
                    <a:pt x="86" y="48"/>
                  </a:lnTo>
                  <a:lnTo>
                    <a:pt x="86" y="50"/>
                  </a:lnTo>
                  <a:lnTo>
                    <a:pt x="88" y="50"/>
                  </a:lnTo>
                  <a:lnTo>
                    <a:pt x="86" y="50"/>
                  </a:lnTo>
                  <a:lnTo>
                    <a:pt x="88" y="50"/>
                  </a:lnTo>
                  <a:lnTo>
                    <a:pt x="88" y="52"/>
                  </a:lnTo>
                  <a:lnTo>
                    <a:pt x="86" y="52"/>
                  </a:lnTo>
                  <a:lnTo>
                    <a:pt x="84" y="52"/>
                  </a:lnTo>
                  <a:lnTo>
                    <a:pt x="84" y="54"/>
                  </a:lnTo>
                  <a:lnTo>
                    <a:pt x="84" y="56"/>
                  </a:lnTo>
                  <a:lnTo>
                    <a:pt x="82" y="56"/>
                  </a:lnTo>
                  <a:lnTo>
                    <a:pt x="82" y="58"/>
                  </a:lnTo>
                  <a:lnTo>
                    <a:pt x="82" y="60"/>
                  </a:lnTo>
                  <a:lnTo>
                    <a:pt x="82" y="61"/>
                  </a:lnTo>
                  <a:lnTo>
                    <a:pt x="80" y="61"/>
                  </a:lnTo>
                  <a:lnTo>
                    <a:pt x="80" y="60"/>
                  </a:lnTo>
                  <a:lnTo>
                    <a:pt x="80" y="61"/>
                  </a:lnTo>
                  <a:lnTo>
                    <a:pt x="80" y="60"/>
                  </a:lnTo>
                  <a:lnTo>
                    <a:pt x="78" y="60"/>
                  </a:lnTo>
                  <a:lnTo>
                    <a:pt x="77" y="60"/>
                  </a:lnTo>
                  <a:lnTo>
                    <a:pt x="77" y="58"/>
                  </a:lnTo>
                  <a:lnTo>
                    <a:pt x="77" y="60"/>
                  </a:lnTo>
                  <a:lnTo>
                    <a:pt x="77" y="58"/>
                  </a:lnTo>
                  <a:lnTo>
                    <a:pt x="75" y="58"/>
                  </a:lnTo>
                  <a:lnTo>
                    <a:pt x="75" y="60"/>
                  </a:lnTo>
                  <a:lnTo>
                    <a:pt x="73" y="60"/>
                  </a:lnTo>
                  <a:lnTo>
                    <a:pt x="75" y="60"/>
                  </a:lnTo>
                  <a:lnTo>
                    <a:pt x="73" y="60"/>
                  </a:lnTo>
                  <a:lnTo>
                    <a:pt x="71" y="60"/>
                  </a:lnTo>
                  <a:lnTo>
                    <a:pt x="71" y="61"/>
                  </a:lnTo>
                  <a:lnTo>
                    <a:pt x="71" y="60"/>
                  </a:lnTo>
                  <a:lnTo>
                    <a:pt x="71" y="61"/>
                  </a:lnTo>
                  <a:lnTo>
                    <a:pt x="71" y="60"/>
                  </a:lnTo>
                  <a:lnTo>
                    <a:pt x="71" y="61"/>
                  </a:lnTo>
                  <a:lnTo>
                    <a:pt x="69" y="61"/>
                  </a:lnTo>
                  <a:lnTo>
                    <a:pt x="69" y="60"/>
                  </a:lnTo>
                  <a:lnTo>
                    <a:pt x="67" y="60"/>
                  </a:lnTo>
                  <a:lnTo>
                    <a:pt x="67" y="58"/>
                  </a:lnTo>
                  <a:lnTo>
                    <a:pt x="65" y="58"/>
                  </a:lnTo>
                  <a:lnTo>
                    <a:pt x="65" y="56"/>
                  </a:lnTo>
                  <a:lnTo>
                    <a:pt x="65" y="54"/>
                  </a:lnTo>
                  <a:lnTo>
                    <a:pt x="63" y="54"/>
                  </a:lnTo>
                  <a:lnTo>
                    <a:pt x="63" y="52"/>
                  </a:lnTo>
                  <a:lnTo>
                    <a:pt x="61" y="52"/>
                  </a:lnTo>
                  <a:lnTo>
                    <a:pt x="59" y="52"/>
                  </a:lnTo>
                  <a:lnTo>
                    <a:pt x="59" y="50"/>
                  </a:lnTo>
                  <a:lnTo>
                    <a:pt x="57" y="50"/>
                  </a:lnTo>
                  <a:lnTo>
                    <a:pt x="55" y="50"/>
                  </a:lnTo>
                  <a:lnTo>
                    <a:pt x="55" y="48"/>
                  </a:lnTo>
                  <a:lnTo>
                    <a:pt x="54" y="48"/>
                  </a:lnTo>
                  <a:lnTo>
                    <a:pt x="54" y="46"/>
                  </a:lnTo>
                  <a:lnTo>
                    <a:pt x="52" y="46"/>
                  </a:lnTo>
                  <a:lnTo>
                    <a:pt x="52" y="48"/>
                  </a:lnTo>
                  <a:lnTo>
                    <a:pt x="52" y="46"/>
                  </a:lnTo>
                  <a:lnTo>
                    <a:pt x="50" y="46"/>
                  </a:lnTo>
                  <a:lnTo>
                    <a:pt x="52" y="46"/>
                  </a:lnTo>
                  <a:lnTo>
                    <a:pt x="50" y="46"/>
                  </a:lnTo>
                  <a:lnTo>
                    <a:pt x="48" y="46"/>
                  </a:lnTo>
                  <a:lnTo>
                    <a:pt x="48" y="48"/>
                  </a:lnTo>
                  <a:lnTo>
                    <a:pt x="46" y="48"/>
                  </a:lnTo>
                  <a:lnTo>
                    <a:pt x="44" y="48"/>
                  </a:lnTo>
                  <a:lnTo>
                    <a:pt x="44" y="50"/>
                  </a:lnTo>
                  <a:lnTo>
                    <a:pt x="42" y="50"/>
                  </a:lnTo>
                  <a:lnTo>
                    <a:pt x="42" y="48"/>
                  </a:lnTo>
                  <a:lnTo>
                    <a:pt x="42" y="50"/>
                  </a:lnTo>
                  <a:lnTo>
                    <a:pt x="42" y="48"/>
                  </a:lnTo>
                  <a:lnTo>
                    <a:pt x="42" y="50"/>
                  </a:lnTo>
                  <a:lnTo>
                    <a:pt x="40" y="50"/>
                  </a:lnTo>
                  <a:lnTo>
                    <a:pt x="40" y="52"/>
                  </a:lnTo>
                  <a:lnTo>
                    <a:pt x="38" y="52"/>
                  </a:lnTo>
                  <a:lnTo>
                    <a:pt x="38" y="50"/>
                  </a:lnTo>
                  <a:lnTo>
                    <a:pt x="38" y="48"/>
                  </a:lnTo>
                  <a:lnTo>
                    <a:pt x="40" y="48"/>
                  </a:lnTo>
                  <a:lnTo>
                    <a:pt x="40" y="46"/>
                  </a:lnTo>
                  <a:lnTo>
                    <a:pt x="40" y="44"/>
                  </a:lnTo>
                  <a:lnTo>
                    <a:pt x="40" y="42"/>
                  </a:lnTo>
                  <a:lnTo>
                    <a:pt x="40" y="40"/>
                  </a:lnTo>
                  <a:lnTo>
                    <a:pt x="42" y="40"/>
                  </a:lnTo>
                  <a:lnTo>
                    <a:pt x="42" y="38"/>
                  </a:lnTo>
                  <a:lnTo>
                    <a:pt x="40" y="38"/>
                  </a:lnTo>
                  <a:lnTo>
                    <a:pt x="40" y="36"/>
                  </a:lnTo>
                  <a:lnTo>
                    <a:pt x="38" y="36"/>
                  </a:lnTo>
                  <a:lnTo>
                    <a:pt x="38" y="38"/>
                  </a:lnTo>
                  <a:lnTo>
                    <a:pt x="36" y="38"/>
                  </a:lnTo>
                  <a:lnTo>
                    <a:pt x="38" y="38"/>
                  </a:lnTo>
                  <a:lnTo>
                    <a:pt x="36" y="38"/>
                  </a:lnTo>
                  <a:lnTo>
                    <a:pt x="38" y="38"/>
                  </a:lnTo>
                  <a:lnTo>
                    <a:pt x="36" y="38"/>
                  </a:lnTo>
                  <a:lnTo>
                    <a:pt x="38" y="38"/>
                  </a:lnTo>
                  <a:lnTo>
                    <a:pt x="36" y="38"/>
                  </a:lnTo>
                  <a:lnTo>
                    <a:pt x="38" y="38"/>
                  </a:lnTo>
                  <a:lnTo>
                    <a:pt x="36" y="38"/>
                  </a:lnTo>
                  <a:lnTo>
                    <a:pt x="36" y="40"/>
                  </a:lnTo>
                  <a:lnTo>
                    <a:pt x="34" y="40"/>
                  </a:lnTo>
                  <a:lnTo>
                    <a:pt x="36" y="40"/>
                  </a:lnTo>
                  <a:lnTo>
                    <a:pt x="34" y="40"/>
                  </a:lnTo>
                  <a:lnTo>
                    <a:pt x="34" y="42"/>
                  </a:lnTo>
                  <a:lnTo>
                    <a:pt x="34" y="40"/>
                  </a:lnTo>
                  <a:lnTo>
                    <a:pt x="32" y="40"/>
                  </a:lnTo>
                  <a:lnTo>
                    <a:pt x="32" y="38"/>
                  </a:lnTo>
                  <a:lnTo>
                    <a:pt x="32" y="40"/>
                  </a:lnTo>
                  <a:lnTo>
                    <a:pt x="32" y="38"/>
                  </a:lnTo>
                  <a:lnTo>
                    <a:pt x="30" y="38"/>
                  </a:lnTo>
                  <a:lnTo>
                    <a:pt x="29" y="38"/>
                  </a:lnTo>
                  <a:lnTo>
                    <a:pt x="30" y="38"/>
                  </a:lnTo>
                  <a:lnTo>
                    <a:pt x="29" y="38"/>
                  </a:lnTo>
                  <a:lnTo>
                    <a:pt x="30" y="38"/>
                  </a:lnTo>
                  <a:lnTo>
                    <a:pt x="29" y="38"/>
                  </a:lnTo>
                  <a:lnTo>
                    <a:pt x="30" y="38"/>
                  </a:lnTo>
                  <a:lnTo>
                    <a:pt x="29" y="38"/>
                  </a:lnTo>
                  <a:lnTo>
                    <a:pt x="30" y="38"/>
                  </a:lnTo>
                  <a:lnTo>
                    <a:pt x="29" y="38"/>
                  </a:lnTo>
                  <a:lnTo>
                    <a:pt x="30" y="38"/>
                  </a:lnTo>
                  <a:lnTo>
                    <a:pt x="29" y="38"/>
                  </a:lnTo>
                  <a:lnTo>
                    <a:pt x="30" y="38"/>
                  </a:lnTo>
                  <a:lnTo>
                    <a:pt x="29" y="38"/>
                  </a:lnTo>
                  <a:lnTo>
                    <a:pt x="30" y="38"/>
                  </a:lnTo>
                  <a:lnTo>
                    <a:pt x="29" y="38"/>
                  </a:lnTo>
                  <a:lnTo>
                    <a:pt x="29" y="36"/>
                  </a:lnTo>
                  <a:lnTo>
                    <a:pt x="29" y="35"/>
                  </a:lnTo>
                  <a:lnTo>
                    <a:pt x="29" y="33"/>
                  </a:lnTo>
                  <a:lnTo>
                    <a:pt x="27" y="33"/>
                  </a:lnTo>
                  <a:lnTo>
                    <a:pt x="27" y="31"/>
                  </a:lnTo>
                  <a:lnTo>
                    <a:pt x="27" y="33"/>
                  </a:lnTo>
                  <a:lnTo>
                    <a:pt x="25" y="33"/>
                  </a:lnTo>
                  <a:lnTo>
                    <a:pt x="27" y="33"/>
                  </a:lnTo>
                  <a:lnTo>
                    <a:pt x="25" y="33"/>
                  </a:lnTo>
                  <a:lnTo>
                    <a:pt x="27" y="33"/>
                  </a:lnTo>
                  <a:lnTo>
                    <a:pt x="27" y="31"/>
                  </a:lnTo>
                  <a:lnTo>
                    <a:pt x="27" y="33"/>
                  </a:lnTo>
                  <a:lnTo>
                    <a:pt x="27" y="31"/>
                  </a:lnTo>
                  <a:lnTo>
                    <a:pt x="27" y="29"/>
                  </a:lnTo>
                  <a:lnTo>
                    <a:pt x="25" y="29"/>
                  </a:lnTo>
                  <a:lnTo>
                    <a:pt x="27" y="29"/>
                  </a:lnTo>
                  <a:lnTo>
                    <a:pt x="25" y="29"/>
                  </a:lnTo>
                  <a:lnTo>
                    <a:pt x="27" y="29"/>
                  </a:lnTo>
                  <a:lnTo>
                    <a:pt x="25" y="29"/>
                  </a:lnTo>
                  <a:lnTo>
                    <a:pt x="27" y="29"/>
                  </a:lnTo>
                  <a:lnTo>
                    <a:pt x="25" y="29"/>
                  </a:lnTo>
                  <a:lnTo>
                    <a:pt x="27" y="29"/>
                  </a:lnTo>
                  <a:lnTo>
                    <a:pt x="27" y="27"/>
                  </a:lnTo>
                  <a:lnTo>
                    <a:pt x="27" y="29"/>
                  </a:lnTo>
                  <a:lnTo>
                    <a:pt x="27" y="27"/>
                  </a:lnTo>
                  <a:lnTo>
                    <a:pt x="29" y="27"/>
                  </a:lnTo>
                  <a:lnTo>
                    <a:pt x="29" y="25"/>
                  </a:lnTo>
                  <a:lnTo>
                    <a:pt x="29" y="27"/>
                  </a:lnTo>
                  <a:lnTo>
                    <a:pt x="29" y="25"/>
                  </a:lnTo>
                  <a:lnTo>
                    <a:pt x="27" y="25"/>
                  </a:lnTo>
                  <a:lnTo>
                    <a:pt x="27" y="27"/>
                  </a:lnTo>
                  <a:lnTo>
                    <a:pt x="25" y="27"/>
                  </a:lnTo>
                  <a:lnTo>
                    <a:pt x="25" y="25"/>
                  </a:lnTo>
                  <a:lnTo>
                    <a:pt x="27" y="25"/>
                  </a:lnTo>
                  <a:lnTo>
                    <a:pt x="25" y="25"/>
                  </a:lnTo>
                  <a:lnTo>
                    <a:pt x="25" y="23"/>
                  </a:lnTo>
                  <a:lnTo>
                    <a:pt x="25" y="21"/>
                  </a:lnTo>
                  <a:lnTo>
                    <a:pt x="27" y="21"/>
                  </a:lnTo>
                  <a:lnTo>
                    <a:pt x="29" y="21"/>
                  </a:lnTo>
                  <a:lnTo>
                    <a:pt x="29" y="19"/>
                  </a:lnTo>
                  <a:lnTo>
                    <a:pt x="27" y="19"/>
                  </a:lnTo>
                  <a:lnTo>
                    <a:pt x="27" y="21"/>
                  </a:lnTo>
                  <a:lnTo>
                    <a:pt x="27" y="19"/>
                  </a:lnTo>
                  <a:lnTo>
                    <a:pt x="27" y="21"/>
                  </a:lnTo>
                  <a:lnTo>
                    <a:pt x="25" y="21"/>
                  </a:lnTo>
                  <a:lnTo>
                    <a:pt x="25" y="19"/>
                  </a:lnTo>
                  <a:lnTo>
                    <a:pt x="25" y="17"/>
                  </a:lnTo>
                  <a:lnTo>
                    <a:pt x="27" y="17"/>
                  </a:lnTo>
                  <a:lnTo>
                    <a:pt x="27" y="15"/>
                  </a:lnTo>
                  <a:lnTo>
                    <a:pt x="25" y="15"/>
                  </a:lnTo>
                  <a:lnTo>
                    <a:pt x="25" y="13"/>
                  </a:lnTo>
                  <a:lnTo>
                    <a:pt x="27" y="13"/>
                  </a:lnTo>
                  <a:lnTo>
                    <a:pt x="29" y="13"/>
                  </a:lnTo>
                  <a:lnTo>
                    <a:pt x="29" y="12"/>
                  </a:lnTo>
                  <a:lnTo>
                    <a:pt x="30" y="12"/>
                  </a:lnTo>
                  <a:lnTo>
                    <a:pt x="32" y="12"/>
                  </a:lnTo>
                  <a:lnTo>
                    <a:pt x="34" y="12"/>
                  </a:lnTo>
                  <a:lnTo>
                    <a:pt x="34" y="10"/>
                  </a:lnTo>
                  <a:lnTo>
                    <a:pt x="36" y="10"/>
                  </a:lnTo>
                  <a:lnTo>
                    <a:pt x="36" y="8"/>
                  </a:lnTo>
                  <a:lnTo>
                    <a:pt x="38" y="8"/>
                  </a:lnTo>
                  <a:lnTo>
                    <a:pt x="38" y="6"/>
                  </a:lnTo>
                  <a:lnTo>
                    <a:pt x="40" y="6"/>
                  </a:lnTo>
                  <a:lnTo>
                    <a:pt x="40" y="8"/>
                  </a:lnTo>
                  <a:lnTo>
                    <a:pt x="42" y="8"/>
                  </a:lnTo>
                  <a:lnTo>
                    <a:pt x="42" y="6"/>
                  </a:lnTo>
                  <a:lnTo>
                    <a:pt x="42" y="8"/>
                  </a:lnTo>
                  <a:lnTo>
                    <a:pt x="42" y="6"/>
                  </a:lnTo>
                  <a:lnTo>
                    <a:pt x="44" y="6"/>
                  </a:lnTo>
                  <a:lnTo>
                    <a:pt x="44" y="8"/>
                  </a:lnTo>
                  <a:lnTo>
                    <a:pt x="44" y="6"/>
                  </a:lnTo>
                  <a:lnTo>
                    <a:pt x="44" y="8"/>
                  </a:lnTo>
                  <a:lnTo>
                    <a:pt x="44" y="6"/>
                  </a:lnTo>
                  <a:lnTo>
                    <a:pt x="46" y="6"/>
                  </a:lnTo>
                  <a:lnTo>
                    <a:pt x="44" y="6"/>
                  </a:lnTo>
                  <a:lnTo>
                    <a:pt x="44" y="4"/>
                  </a:lnTo>
                  <a:lnTo>
                    <a:pt x="46" y="4"/>
                  </a:lnTo>
                  <a:lnTo>
                    <a:pt x="46" y="6"/>
                  </a:lnTo>
                  <a:lnTo>
                    <a:pt x="48" y="6"/>
                  </a:lnTo>
                  <a:lnTo>
                    <a:pt x="50" y="6"/>
                  </a:lnTo>
                  <a:lnTo>
                    <a:pt x="50" y="4"/>
                  </a:lnTo>
                  <a:lnTo>
                    <a:pt x="50" y="6"/>
                  </a:lnTo>
                  <a:lnTo>
                    <a:pt x="52" y="6"/>
                  </a:lnTo>
                  <a:lnTo>
                    <a:pt x="52" y="4"/>
                  </a:lnTo>
                  <a:lnTo>
                    <a:pt x="52" y="6"/>
                  </a:lnTo>
                  <a:lnTo>
                    <a:pt x="54" y="6"/>
                  </a:lnTo>
                  <a:lnTo>
                    <a:pt x="55" y="6"/>
                  </a:lnTo>
                  <a:lnTo>
                    <a:pt x="55" y="4"/>
                  </a:lnTo>
                  <a:lnTo>
                    <a:pt x="55" y="2"/>
                  </a:lnTo>
                  <a:lnTo>
                    <a:pt x="57" y="2"/>
                  </a:lnTo>
                  <a:lnTo>
                    <a:pt x="57" y="4"/>
                  </a:lnTo>
                  <a:lnTo>
                    <a:pt x="57" y="2"/>
                  </a:lnTo>
                  <a:lnTo>
                    <a:pt x="57" y="0"/>
                  </a:lnTo>
                  <a:lnTo>
                    <a:pt x="57" y="2"/>
                  </a:lnTo>
                  <a:lnTo>
                    <a:pt x="57" y="0"/>
                  </a:lnTo>
                  <a:lnTo>
                    <a:pt x="59" y="0"/>
                  </a:lnTo>
                  <a:lnTo>
                    <a:pt x="59" y="2"/>
                  </a:lnTo>
                  <a:lnTo>
                    <a:pt x="59" y="0"/>
                  </a:lnTo>
                  <a:lnTo>
                    <a:pt x="59" y="2"/>
                  </a:lnTo>
                  <a:lnTo>
                    <a:pt x="59" y="4"/>
                  </a:lnTo>
                  <a:lnTo>
                    <a:pt x="61" y="4"/>
                  </a:lnTo>
                  <a:lnTo>
                    <a:pt x="61" y="2"/>
                  </a:lnTo>
                  <a:lnTo>
                    <a:pt x="59" y="2"/>
                  </a:lnTo>
                  <a:lnTo>
                    <a:pt x="61" y="2"/>
                  </a:lnTo>
                  <a:lnTo>
                    <a:pt x="61" y="4"/>
                  </a:lnTo>
                  <a:lnTo>
                    <a:pt x="61" y="2"/>
                  </a:lnTo>
                  <a:lnTo>
                    <a:pt x="63" y="2"/>
                  </a:lnTo>
                  <a:lnTo>
                    <a:pt x="63" y="4"/>
                  </a:lnTo>
                  <a:lnTo>
                    <a:pt x="65" y="4"/>
                  </a:lnTo>
                  <a:lnTo>
                    <a:pt x="67" y="4"/>
                  </a:lnTo>
                  <a:lnTo>
                    <a:pt x="69" y="4"/>
                  </a:lnTo>
                  <a:lnTo>
                    <a:pt x="69" y="6"/>
                  </a:lnTo>
                  <a:lnTo>
                    <a:pt x="71" y="6"/>
                  </a:lnTo>
                  <a:lnTo>
                    <a:pt x="71" y="4"/>
                  </a:lnTo>
                  <a:lnTo>
                    <a:pt x="71" y="6"/>
                  </a:lnTo>
                  <a:lnTo>
                    <a:pt x="71" y="4"/>
                  </a:lnTo>
                  <a:lnTo>
                    <a:pt x="73" y="4"/>
                  </a:lnTo>
                  <a:lnTo>
                    <a:pt x="73" y="6"/>
                  </a:lnTo>
                  <a:lnTo>
                    <a:pt x="75" y="6"/>
                  </a:lnTo>
                  <a:lnTo>
                    <a:pt x="75" y="8"/>
                  </a:lnTo>
                  <a:lnTo>
                    <a:pt x="77" y="8"/>
                  </a:lnTo>
                  <a:lnTo>
                    <a:pt x="78" y="8"/>
                  </a:lnTo>
                  <a:lnTo>
                    <a:pt x="80" y="8"/>
                  </a:lnTo>
                  <a:lnTo>
                    <a:pt x="82" y="8"/>
                  </a:lnTo>
                  <a:lnTo>
                    <a:pt x="84" y="8"/>
                  </a:lnTo>
                  <a:lnTo>
                    <a:pt x="86" y="8"/>
                  </a:lnTo>
                  <a:lnTo>
                    <a:pt x="88" y="8"/>
                  </a:lnTo>
                  <a:lnTo>
                    <a:pt x="90" y="8"/>
                  </a:lnTo>
                  <a:lnTo>
                    <a:pt x="92" y="8"/>
                  </a:lnTo>
                  <a:lnTo>
                    <a:pt x="92" y="6"/>
                  </a:lnTo>
                  <a:close/>
                  <a:moveTo>
                    <a:pt x="21" y="29"/>
                  </a:moveTo>
                  <a:lnTo>
                    <a:pt x="23" y="29"/>
                  </a:lnTo>
                  <a:lnTo>
                    <a:pt x="23" y="31"/>
                  </a:lnTo>
                  <a:lnTo>
                    <a:pt x="23" y="29"/>
                  </a:lnTo>
                  <a:lnTo>
                    <a:pt x="23" y="31"/>
                  </a:lnTo>
                  <a:lnTo>
                    <a:pt x="25" y="31"/>
                  </a:lnTo>
                  <a:lnTo>
                    <a:pt x="25" y="33"/>
                  </a:lnTo>
                  <a:lnTo>
                    <a:pt x="23" y="33"/>
                  </a:lnTo>
                  <a:lnTo>
                    <a:pt x="25" y="33"/>
                  </a:lnTo>
                  <a:lnTo>
                    <a:pt x="25" y="35"/>
                  </a:lnTo>
                  <a:lnTo>
                    <a:pt x="25" y="33"/>
                  </a:lnTo>
                  <a:lnTo>
                    <a:pt x="25" y="35"/>
                  </a:lnTo>
                  <a:lnTo>
                    <a:pt x="23" y="35"/>
                  </a:lnTo>
                  <a:lnTo>
                    <a:pt x="23" y="33"/>
                  </a:lnTo>
                  <a:lnTo>
                    <a:pt x="21" y="33"/>
                  </a:lnTo>
                  <a:lnTo>
                    <a:pt x="21" y="35"/>
                  </a:lnTo>
                  <a:lnTo>
                    <a:pt x="21" y="33"/>
                  </a:lnTo>
                  <a:lnTo>
                    <a:pt x="21" y="35"/>
                  </a:lnTo>
                  <a:lnTo>
                    <a:pt x="21" y="33"/>
                  </a:lnTo>
                  <a:lnTo>
                    <a:pt x="21" y="35"/>
                  </a:lnTo>
                  <a:lnTo>
                    <a:pt x="23" y="35"/>
                  </a:lnTo>
                  <a:lnTo>
                    <a:pt x="23" y="36"/>
                  </a:lnTo>
                  <a:lnTo>
                    <a:pt x="23" y="35"/>
                  </a:lnTo>
                  <a:lnTo>
                    <a:pt x="21" y="35"/>
                  </a:lnTo>
                  <a:lnTo>
                    <a:pt x="23" y="35"/>
                  </a:lnTo>
                  <a:lnTo>
                    <a:pt x="21" y="35"/>
                  </a:lnTo>
                  <a:lnTo>
                    <a:pt x="23" y="35"/>
                  </a:lnTo>
                  <a:lnTo>
                    <a:pt x="23" y="36"/>
                  </a:lnTo>
                  <a:lnTo>
                    <a:pt x="23" y="35"/>
                  </a:lnTo>
                  <a:lnTo>
                    <a:pt x="23" y="36"/>
                  </a:lnTo>
                  <a:lnTo>
                    <a:pt x="23" y="35"/>
                  </a:lnTo>
                  <a:lnTo>
                    <a:pt x="23" y="36"/>
                  </a:lnTo>
                  <a:lnTo>
                    <a:pt x="21" y="36"/>
                  </a:lnTo>
                  <a:lnTo>
                    <a:pt x="21" y="35"/>
                  </a:lnTo>
                  <a:lnTo>
                    <a:pt x="21" y="36"/>
                  </a:lnTo>
                  <a:lnTo>
                    <a:pt x="21" y="35"/>
                  </a:lnTo>
                  <a:lnTo>
                    <a:pt x="21" y="36"/>
                  </a:lnTo>
                  <a:lnTo>
                    <a:pt x="21" y="35"/>
                  </a:lnTo>
                  <a:lnTo>
                    <a:pt x="21" y="36"/>
                  </a:lnTo>
                  <a:lnTo>
                    <a:pt x="21" y="35"/>
                  </a:lnTo>
                  <a:lnTo>
                    <a:pt x="21" y="36"/>
                  </a:lnTo>
                  <a:lnTo>
                    <a:pt x="21" y="35"/>
                  </a:lnTo>
                  <a:lnTo>
                    <a:pt x="21" y="36"/>
                  </a:lnTo>
                  <a:lnTo>
                    <a:pt x="21" y="35"/>
                  </a:lnTo>
                  <a:lnTo>
                    <a:pt x="21" y="36"/>
                  </a:lnTo>
                  <a:lnTo>
                    <a:pt x="21" y="35"/>
                  </a:lnTo>
                  <a:lnTo>
                    <a:pt x="21" y="36"/>
                  </a:lnTo>
                  <a:lnTo>
                    <a:pt x="19" y="36"/>
                  </a:lnTo>
                  <a:lnTo>
                    <a:pt x="21" y="36"/>
                  </a:lnTo>
                  <a:lnTo>
                    <a:pt x="19" y="36"/>
                  </a:lnTo>
                  <a:lnTo>
                    <a:pt x="21" y="36"/>
                  </a:lnTo>
                  <a:lnTo>
                    <a:pt x="19" y="36"/>
                  </a:lnTo>
                  <a:lnTo>
                    <a:pt x="19" y="38"/>
                  </a:lnTo>
                  <a:lnTo>
                    <a:pt x="17" y="38"/>
                  </a:lnTo>
                  <a:lnTo>
                    <a:pt x="19" y="38"/>
                  </a:lnTo>
                  <a:lnTo>
                    <a:pt x="17" y="36"/>
                  </a:lnTo>
                  <a:lnTo>
                    <a:pt x="19" y="36"/>
                  </a:lnTo>
                  <a:lnTo>
                    <a:pt x="17" y="36"/>
                  </a:lnTo>
                  <a:lnTo>
                    <a:pt x="17" y="38"/>
                  </a:lnTo>
                  <a:lnTo>
                    <a:pt x="17" y="40"/>
                  </a:lnTo>
                  <a:lnTo>
                    <a:pt x="17" y="38"/>
                  </a:lnTo>
                  <a:lnTo>
                    <a:pt x="17" y="40"/>
                  </a:lnTo>
                  <a:lnTo>
                    <a:pt x="17" y="38"/>
                  </a:lnTo>
                  <a:lnTo>
                    <a:pt x="15" y="38"/>
                  </a:lnTo>
                  <a:lnTo>
                    <a:pt x="17" y="38"/>
                  </a:lnTo>
                  <a:lnTo>
                    <a:pt x="15" y="38"/>
                  </a:lnTo>
                  <a:lnTo>
                    <a:pt x="15" y="40"/>
                  </a:lnTo>
                  <a:lnTo>
                    <a:pt x="17" y="40"/>
                  </a:lnTo>
                  <a:lnTo>
                    <a:pt x="15" y="40"/>
                  </a:lnTo>
                  <a:lnTo>
                    <a:pt x="13" y="40"/>
                  </a:lnTo>
                  <a:lnTo>
                    <a:pt x="15" y="40"/>
                  </a:lnTo>
                  <a:lnTo>
                    <a:pt x="15" y="42"/>
                  </a:lnTo>
                  <a:lnTo>
                    <a:pt x="13" y="42"/>
                  </a:lnTo>
                  <a:lnTo>
                    <a:pt x="13" y="40"/>
                  </a:lnTo>
                  <a:lnTo>
                    <a:pt x="13" y="42"/>
                  </a:lnTo>
                  <a:lnTo>
                    <a:pt x="13" y="40"/>
                  </a:lnTo>
                  <a:lnTo>
                    <a:pt x="13" y="42"/>
                  </a:lnTo>
                  <a:lnTo>
                    <a:pt x="13" y="40"/>
                  </a:lnTo>
                  <a:lnTo>
                    <a:pt x="13" y="42"/>
                  </a:lnTo>
                  <a:lnTo>
                    <a:pt x="13" y="40"/>
                  </a:lnTo>
                  <a:lnTo>
                    <a:pt x="13" y="42"/>
                  </a:lnTo>
                  <a:lnTo>
                    <a:pt x="11" y="42"/>
                  </a:lnTo>
                  <a:lnTo>
                    <a:pt x="11" y="40"/>
                  </a:lnTo>
                  <a:lnTo>
                    <a:pt x="11" y="42"/>
                  </a:lnTo>
                  <a:lnTo>
                    <a:pt x="11" y="40"/>
                  </a:lnTo>
                  <a:lnTo>
                    <a:pt x="11" y="42"/>
                  </a:lnTo>
                  <a:lnTo>
                    <a:pt x="11" y="40"/>
                  </a:lnTo>
                  <a:lnTo>
                    <a:pt x="11" y="42"/>
                  </a:lnTo>
                  <a:lnTo>
                    <a:pt x="11" y="40"/>
                  </a:lnTo>
                  <a:lnTo>
                    <a:pt x="9" y="40"/>
                  </a:lnTo>
                  <a:lnTo>
                    <a:pt x="11" y="40"/>
                  </a:lnTo>
                  <a:lnTo>
                    <a:pt x="11" y="42"/>
                  </a:lnTo>
                  <a:lnTo>
                    <a:pt x="9" y="42"/>
                  </a:lnTo>
                  <a:lnTo>
                    <a:pt x="7" y="42"/>
                  </a:lnTo>
                  <a:lnTo>
                    <a:pt x="7" y="44"/>
                  </a:lnTo>
                  <a:lnTo>
                    <a:pt x="7" y="46"/>
                  </a:lnTo>
                  <a:lnTo>
                    <a:pt x="7" y="48"/>
                  </a:lnTo>
                  <a:lnTo>
                    <a:pt x="6" y="48"/>
                  </a:lnTo>
                  <a:lnTo>
                    <a:pt x="7" y="48"/>
                  </a:lnTo>
                  <a:lnTo>
                    <a:pt x="6" y="48"/>
                  </a:lnTo>
                  <a:lnTo>
                    <a:pt x="7" y="48"/>
                  </a:lnTo>
                  <a:lnTo>
                    <a:pt x="6" y="48"/>
                  </a:lnTo>
                  <a:lnTo>
                    <a:pt x="6" y="50"/>
                  </a:lnTo>
                  <a:lnTo>
                    <a:pt x="4" y="50"/>
                  </a:lnTo>
                  <a:lnTo>
                    <a:pt x="4" y="48"/>
                  </a:lnTo>
                  <a:lnTo>
                    <a:pt x="4" y="50"/>
                  </a:lnTo>
                  <a:lnTo>
                    <a:pt x="4" y="48"/>
                  </a:lnTo>
                  <a:lnTo>
                    <a:pt x="4" y="46"/>
                  </a:lnTo>
                  <a:lnTo>
                    <a:pt x="4" y="48"/>
                  </a:lnTo>
                  <a:lnTo>
                    <a:pt x="4" y="46"/>
                  </a:lnTo>
                  <a:lnTo>
                    <a:pt x="6" y="46"/>
                  </a:lnTo>
                  <a:lnTo>
                    <a:pt x="4" y="46"/>
                  </a:lnTo>
                  <a:lnTo>
                    <a:pt x="6" y="46"/>
                  </a:lnTo>
                  <a:lnTo>
                    <a:pt x="6" y="44"/>
                  </a:lnTo>
                  <a:lnTo>
                    <a:pt x="7" y="44"/>
                  </a:lnTo>
                  <a:lnTo>
                    <a:pt x="6" y="44"/>
                  </a:lnTo>
                  <a:lnTo>
                    <a:pt x="7" y="44"/>
                  </a:lnTo>
                  <a:lnTo>
                    <a:pt x="6" y="44"/>
                  </a:lnTo>
                  <a:lnTo>
                    <a:pt x="6" y="42"/>
                  </a:lnTo>
                  <a:lnTo>
                    <a:pt x="4" y="42"/>
                  </a:lnTo>
                  <a:lnTo>
                    <a:pt x="4" y="40"/>
                  </a:lnTo>
                  <a:lnTo>
                    <a:pt x="2" y="40"/>
                  </a:lnTo>
                  <a:lnTo>
                    <a:pt x="2" y="38"/>
                  </a:lnTo>
                  <a:lnTo>
                    <a:pt x="2" y="40"/>
                  </a:lnTo>
                  <a:lnTo>
                    <a:pt x="2" y="38"/>
                  </a:lnTo>
                  <a:lnTo>
                    <a:pt x="2" y="40"/>
                  </a:lnTo>
                  <a:lnTo>
                    <a:pt x="2" y="38"/>
                  </a:lnTo>
                  <a:lnTo>
                    <a:pt x="4" y="38"/>
                  </a:lnTo>
                  <a:lnTo>
                    <a:pt x="2" y="38"/>
                  </a:lnTo>
                  <a:lnTo>
                    <a:pt x="4" y="38"/>
                  </a:lnTo>
                  <a:lnTo>
                    <a:pt x="4" y="36"/>
                  </a:lnTo>
                  <a:lnTo>
                    <a:pt x="4" y="38"/>
                  </a:lnTo>
                  <a:lnTo>
                    <a:pt x="4" y="36"/>
                  </a:lnTo>
                  <a:lnTo>
                    <a:pt x="4" y="38"/>
                  </a:lnTo>
                  <a:lnTo>
                    <a:pt x="4" y="36"/>
                  </a:lnTo>
                  <a:lnTo>
                    <a:pt x="2" y="36"/>
                  </a:lnTo>
                  <a:lnTo>
                    <a:pt x="2" y="35"/>
                  </a:lnTo>
                  <a:lnTo>
                    <a:pt x="2" y="33"/>
                  </a:lnTo>
                  <a:lnTo>
                    <a:pt x="4" y="33"/>
                  </a:lnTo>
                  <a:lnTo>
                    <a:pt x="4" y="35"/>
                  </a:lnTo>
                  <a:lnTo>
                    <a:pt x="4" y="36"/>
                  </a:lnTo>
                  <a:lnTo>
                    <a:pt x="6" y="36"/>
                  </a:lnTo>
                  <a:lnTo>
                    <a:pt x="6" y="35"/>
                  </a:lnTo>
                  <a:lnTo>
                    <a:pt x="6" y="33"/>
                  </a:lnTo>
                  <a:lnTo>
                    <a:pt x="7" y="33"/>
                  </a:lnTo>
                  <a:lnTo>
                    <a:pt x="7" y="35"/>
                  </a:lnTo>
                  <a:lnTo>
                    <a:pt x="7" y="33"/>
                  </a:lnTo>
                  <a:lnTo>
                    <a:pt x="7" y="35"/>
                  </a:lnTo>
                  <a:lnTo>
                    <a:pt x="7" y="33"/>
                  </a:lnTo>
                  <a:lnTo>
                    <a:pt x="9" y="33"/>
                  </a:lnTo>
                  <a:lnTo>
                    <a:pt x="11" y="33"/>
                  </a:lnTo>
                  <a:lnTo>
                    <a:pt x="11" y="31"/>
                  </a:lnTo>
                  <a:lnTo>
                    <a:pt x="13" y="31"/>
                  </a:lnTo>
                  <a:lnTo>
                    <a:pt x="13" y="33"/>
                  </a:lnTo>
                  <a:lnTo>
                    <a:pt x="13" y="31"/>
                  </a:lnTo>
                  <a:lnTo>
                    <a:pt x="13" y="33"/>
                  </a:lnTo>
                  <a:lnTo>
                    <a:pt x="13" y="31"/>
                  </a:lnTo>
                  <a:lnTo>
                    <a:pt x="13" y="33"/>
                  </a:lnTo>
                  <a:lnTo>
                    <a:pt x="13" y="31"/>
                  </a:lnTo>
                  <a:lnTo>
                    <a:pt x="13" y="33"/>
                  </a:lnTo>
                  <a:lnTo>
                    <a:pt x="13" y="31"/>
                  </a:lnTo>
                  <a:lnTo>
                    <a:pt x="13" y="33"/>
                  </a:lnTo>
                  <a:lnTo>
                    <a:pt x="13" y="31"/>
                  </a:lnTo>
                  <a:lnTo>
                    <a:pt x="13" y="33"/>
                  </a:lnTo>
                  <a:lnTo>
                    <a:pt x="13" y="31"/>
                  </a:lnTo>
                  <a:lnTo>
                    <a:pt x="13" y="33"/>
                  </a:lnTo>
                  <a:lnTo>
                    <a:pt x="13" y="31"/>
                  </a:lnTo>
                  <a:lnTo>
                    <a:pt x="15" y="31"/>
                  </a:lnTo>
                  <a:lnTo>
                    <a:pt x="13" y="31"/>
                  </a:lnTo>
                  <a:lnTo>
                    <a:pt x="15" y="31"/>
                  </a:lnTo>
                  <a:lnTo>
                    <a:pt x="15" y="33"/>
                  </a:lnTo>
                  <a:lnTo>
                    <a:pt x="15" y="31"/>
                  </a:lnTo>
                  <a:lnTo>
                    <a:pt x="15" y="33"/>
                  </a:lnTo>
                  <a:lnTo>
                    <a:pt x="15" y="31"/>
                  </a:lnTo>
                  <a:lnTo>
                    <a:pt x="17" y="31"/>
                  </a:lnTo>
                  <a:lnTo>
                    <a:pt x="15" y="31"/>
                  </a:lnTo>
                  <a:lnTo>
                    <a:pt x="17" y="31"/>
                  </a:lnTo>
                  <a:lnTo>
                    <a:pt x="19" y="31"/>
                  </a:lnTo>
                  <a:lnTo>
                    <a:pt x="19" y="33"/>
                  </a:lnTo>
                  <a:lnTo>
                    <a:pt x="21" y="33"/>
                  </a:lnTo>
                  <a:lnTo>
                    <a:pt x="21" y="31"/>
                  </a:lnTo>
                  <a:lnTo>
                    <a:pt x="21" y="33"/>
                  </a:lnTo>
                  <a:lnTo>
                    <a:pt x="21" y="31"/>
                  </a:lnTo>
                  <a:lnTo>
                    <a:pt x="19" y="31"/>
                  </a:lnTo>
                  <a:lnTo>
                    <a:pt x="21" y="31"/>
                  </a:lnTo>
                  <a:lnTo>
                    <a:pt x="21" y="29"/>
                  </a:lnTo>
                  <a:close/>
                  <a:moveTo>
                    <a:pt x="13" y="17"/>
                  </a:moveTo>
                  <a:lnTo>
                    <a:pt x="13" y="19"/>
                  </a:lnTo>
                  <a:lnTo>
                    <a:pt x="15" y="19"/>
                  </a:lnTo>
                  <a:lnTo>
                    <a:pt x="17" y="19"/>
                  </a:lnTo>
                  <a:lnTo>
                    <a:pt x="15" y="19"/>
                  </a:lnTo>
                  <a:lnTo>
                    <a:pt x="17" y="19"/>
                  </a:lnTo>
                  <a:lnTo>
                    <a:pt x="17" y="21"/>
                  </a:lnTo>
                  <a:lnTo>
                    <a:pt x="17" y="19"/>
                  </a:lnTo>
                  <a:lnTo>
                    <a:pt x="17" y="21"/>
                  </a:lnTo>
                  <a:lnTo>
                    <a:pt x="17" y="23"/>
                  </a:lnTo>
                  <a:lnTo>
                    <a:pt x="19" y="23"/>
                  </a:lnTo>
                  <a:lnTo>
                    <a:pt x="17" y="23"/>
                  </a:lnTo>
                  <a:lnTo>
                    <a:pt x="19" y="23"/>
                  </a:lnTo>
                  <a:lnTo>
                    <a:pt x="19" y="25"/>
                  </a:lnTo>
                  <a:lnTo>
                    <a:pt x="17" y="25"/>
                  </a:lnTo>
                  <a:lnTo>
                    <a:pt x="15" y="25"/>
                  </a:lnTo>
                  <a:lnTo>
                    <a:pt x="17" y="25"/>
                  </a:lnTo>
                  <a:lnTo>
                    <a:pt x="15" y="25"/>
                  </a:lnTo>
                  <a:lnTo>
                    <a:pt x="17" y="27"/>
                  </a:lnTo>
                  <a:lnTo>
                    <a:pt x="15" y="27"/>
                  </a:lnTo>
                  <a:lnTo>
                    <a:pt x="15" y="25"/>
                  </a:lnTo>
                  <a:lnTo>
                    <a:pt x="15" y="27"/>
                  </a:lnTo>
                  <a:lnTo>
                    <a:pt x="15" y="25"/>
                  </a:lnTo>
                  <a:lnTo>
                    <a:pt x="15" y="27"/>
                  </a:lnTo>
                  <a:lnTo>
                    <a:pt x="13" y="27"/>
                  </a:lnTo>
                  <a:lnTo>
                    <a:pt x="15" y="27"/>
                  </a:lnTo>
                  <a:lnTo>
                    <a:pt x="13" y="27"/>
                  </a:lnTo>
                  <a:lnTo>
                    <a:pt x="15" y="27"/>
                  </a:lnTo>
                  <a:lnTo>
                    <a:pt x="13" y="27"/>
                  </a:lnTo>
                  <a:lnTo>
                    <a:pt x="13" y="29"/>
                  </a:lnTo>
                  <a:lnTo>
                    <a:pt x="11" y="29"/>
                  </a:lnTo>
                  <a:lnTo>
                    <a:pt x="11" y="27"/>
                  </a:lnTo>
                  <a:lnTo>
                    <a:pt x="11" y="29"/>
                  </a:lnTo>
                  <a:lnTo>
                    <a:pt x="11" y="27"/>
                  </a:lnTo>
                  <a:lnTo>
                    <a:pt x="11" y="25"/>
                  </a:lnTo>
                  <a:lnTo>
                    <a:pt x="9" y="25"/>
                  </a:lnTo>
                  <a:lnTo>
                    <a:pt x="11" y="25"/>
                  </a:lnTo>
                  <a:lnTo>
                    <a:pt x="9" y="25"/>
                  </a:lnTo>
                  <a:lnTo>
                    <a:pt x="11" y="25"/>
                  </a:lnTo>
                  <a:lnTo>
                    <a:pt x="9" y="25"/>
                  </a:lnTo>
                  <a:lnTo>
                    <a:pt x="11" y="25"/>
                  </a:lnTo>
                  <a:lnTo>
                    <a:pt x="9" y="25"/>
                  </a:lnTo>
                  <a:lnTo>
                    <a:pt x="11" y="25"/>
                  </a:lnTo>
                  <a:lnTo>
                    <a:pt x="9" y="25"/>
                  </a:lnTo>
                  <a:lnTo>
                    <a:pt x="9" y="23"/>
                  </a:lnTo>
                  <a:lnTo>
                    <a:pt x="7" y="23"/>
                  </a:lnTo>
                  <a:lnTo>
                    <a:pt x="9" y="23"/>
                  </a:lnTo>
                  <a:lnTo>
                    <a:pt x="7" y="23"/>
                  </a:lnTo>
                  <a:lnTo>
                    <a:pt x="6" y="23"/>
                  </a:lnTo>
                  <a:lnTo>
                    <a:pt x="6" y="21"/>
                  </a:lnTo>
                  <a:lnTo>
                    <a:pt x="4" y="21"/>
                  </a:lnTo>
                  <a:lnTo>
                    <a:pt x="6" y="21"/>
                  </a:lnTo>
                  <a:lnTo>
                    <a:pt x="7" y="21"/>
                  </a:lnTo>
                  <a:lnTo>
                    <a:pt x="9" y="21"/>
                  </a:lnTo>
                  <a:lnTo>
                    <a:pt x="11" y="21"/>
                  </a:lnTo>
                  <a:lnTo>
                    <a:pt x="9" y="21"/>
                  </a:lnTo>
                  <a:lnTo>
                    <a:pt x="9" y="19"/>
                  </a:lnTo>
                  <a:lnTo>
                    <a:pt x="11" y="19"/>
                  </a:lnTo>
                  <a:lnTo>
                    <a:pt x="11" y="21"/>
                  </a:lnTo>
                  <a:lnTo>
                    <a:pt x="11" y="19"/>
                  </a:lnTo>
                  <a:lnTo>
                    <a:pt x="11" y="17"/>
                  </a:lnTo>
                  <a:lnTo>
                    <a:pt x="13" y="17"/>
                  </a:lnTo>
                  <a:lnTo>
                    <a:pt x="11" y="17"/>
                  </a:lnTo>
                  <a:lnTo>
                    <a:pt x="13" y="17"/>
                  </a:lnTo>
                  <a:close/>
                  <a:moveTo>
                    <a:pt x="21" y="19"/>
                  </a:moveTo>
                  <a:lnTo>
                    <a:pt x="23" y="19"/>
                  </a:lnTo>
                  <a:lnTo>
                    <a:pt x="25" y="19"/>
                  </a:lnTo>
                  <a:lnTo>
                    <a:pt x="25" y="21"/>
                  </a:lnTo>
                  <a:lnTo>
                    <a:pt x="23" y="21"/>
                  </a:lnTo>
                  <a:lnTo>
                    <a:pt x="21" y="21"/>
                  </a:lnTo>
                  <a:lnTo>
                    <a:pt x="21" y="19"/>
                  </a:lnTo>
                  <a:close/>
                  <a:moveTo>
                    <a:pt x="40" y="2"/>
                  </a:moveTo>
                  <a:lnTo>
                    <a:pt x="42" y="2"/>
                  </a:lnTo>
                  <a:lnTo>
                    <a:pt x="42" y="4"/>
                  </a:lnTo>
                  <a:lnTo>
                    <a:pt x="40" y="4"/>
                  </a:lnTo>
                  <a:lnTo>
                    <a:pt x="40" y="2"/>
                  </a:lnTo>
                  <a:close/>
                  <a:moveTo>
                    <a:pt x="32" y="44"/>
                  </a:moveTo>
                  <a:lnTo>
                    <a:pt x="32" y="46"/>
                  </a:lnTo>
                  <a:lnTo>
                    <a:pt x="32" y="44"/>
                  </a:lnTo>
                  <a:close/>
                  <a:moveTo>
                    <a:pt x="32" y="10"/>
                  </a:moveTo>
                  <a:lnTo>
                    <a:pt x="32" y="12"/>
                  </a:lnTo>
                  <a:lnTo>
                    <a:pt x="32" y="10"/>
                  </a:lnTo>
                  <a:close/>
                  <a:moveTo>
                    <a:pt x="30" y="10"/>
                  </a:moveTo>
                  <a:lnTo>
                    <a:pt x="32" y="10"/>
                  </a:lnTo>
                  <a:lnTo>
                    <a:pt x="32" y="12"/>
                  </a:lnTo>
                  <a:lnTo>
                    <a:pt x="30" y="12"/>
                  </a:lnTo>
                  <a:lnTo>
                    <a:pt x="30" y="10"/>
                  </a:lnTo>
                  <a:close/>
                  <a:moveTo>
                    <a:pt x="21" y="52"/>
                  </a:moveTo>
                  <a:lnTo>
                    <a:pt x="23" y="52"/>
                  </a:lnTo>
                  <a:lnTo>
                    <a:pt x="23" y="54"/>
                  </a:lnTo>
                  <a:lnTo>
                    <a:pt x="21" y="54"/>
                  </a:lnTo>
                  <a:lnTo>
                    <a:pt x="21" y="52"/>
                  </a:lnTo>
                  <a:close/>
                  <a:moveTo>
                    <a:pt x="2" y="36"/>
                  </a:moveTo>
                  <a:lnTo>
                    <a:pt x="2" y="38"/>
                  </a:lnTo>
                  <a:lnTo>
                    <a:pt x="2" y="36"/>
                  </a:lnTo>
                  <a:close/>
                  <a:moveTo>
                    <a:pt x="11" y="42"/>
                  </a:moveTo>
                  <a:lnTo>
                    <a:pt x="11" y="44"/>
                  </a:lnTo>
                  <a:lnTo>
                    <a:pt x="11" y="42"/>
                  </a:lnTo>
                  <a:close/>
                  <a:moveTo>
                    <a:pt x="84" y="36"/>
                  </a:moveTo>
                  <a:lnTo>
                    <a:pt x="84" y="38"/>
                  </a:lnTo>
                  <a:lnTo>
                    <a:pt x="84" y="36"/>
                  </a:lnTo>
                  <a:close/>
                  <a:moveTo>
                    <a:pt x="23" y="12"/>
                  </a:moveTo>
                  <a:lnTo>
                    <a:pt x="25" y="12"/>
                  </a:lnTo>
                  <a:lnTo>
                    <a:pt x="23" y="12"/>
                  </a:lnTo>
                  <a:close/>
                  <a:moveTo>
                    <a:pt x="19" y="21"/>
                  </a:moveTo>
                  <a:lnTo>
                    <a:pt x="19" y="23"/>
                  </a:lnTo>
                  <a:lnTo>
                    <a:pt x="19" y="21"/>
                  </a:lnTo>
                  <a:close/>
                  <a:moveTo>
                    <a:pt x="44" y="2"/>
                  </a:moveTo>
                  <a:lnTo>
                    <a:pt x="44" y="4"/>
                  </a:lnTo>
                  <a:lnTo>
                    <a:pt x="44" y="2"/>
                  </a:lnTo>
                  <a:close/>
                  <a:moveTo>
                    <a:pt x="11" y="42"/>
                  </a:moveTo>
                  <a:lnTo>
                    <a:pt x="13" y="42"/>
                  </a:lnTo>
                  <a:lnTo>
                    <a:pt x="11" y="42"/>
                  </a:lnTo>
                  <a:close/>
                  <a:moveTo>
                    <a:pt x="0" y="38"/>
                  </a:moveTo>
                  <a:lnTo>
                    <a:pt x="2" y="38"/>
                  </a:lnTo>
                  <a:lnTo>
                    <a:pt x="0" y="38"/>
                  </a:lnTo>
                  <a:close/>
                  <a:moveTo>
                    <a:pt x="50" y="4"/>
                  </a:moveTo>
                  <a:lnTo>
                    <a:pt x="52" y="4"/>
                  </a:lnTo>
                  <a:lnTo>
                    <a:pt x="50" y="4"/>
                  </a:lnTo>
                  <a:close/>
                  <a:moveTo>
                    <a:pt x="19" y="25"/>
                  </a:moveTo>
                  <a:lnTo>
                    <a:pt x="19" y="27"/>
                  </a:lnTo>
                  <a:lnTo>
                    <a:pt x="19" y="25"/>
                  </a:lnTo>
                  <a:close/>
                  <a:moveTo>
                    <a:pt x="17" y="25"/>
                  </a:moveTo>
                  <a:lnTo>
                    <a:pt x="17" y="27"/>
                  </a:lnTo>
                  <a:lnTo>
                    <a:pt x="17" y="25"/>
                  </a:lnTo>
                  <a:close/>
                  <a:moveTo>
                    <a:pt x="4" y="40"/>
                  </a:moveTo>
                  <a:lnTo>
                    <a:pt x="4" y="42"/>
                  </a:lnTo>
                  <a:lnTo>
                    <a:pt x="4" y="40"/>
                  </a:lnTo>
                  <a:close/>
                  <a:moveTo>
                    <a:pt x="2" y="36"/>
                  </a:moveTo>
                  <a:lnTo>
                    <a:pt x="4" y="36"/>
                  </a:lnTo>
                  <a:lnTo>
                    <a:pt x="4" y="38"/>
                  </a:lnTo>
                  <a:lnTo>
                    <a:pt x="2" y="38"/>
                  </a:lnTo>
                  <a:lnTo>
                    <a:pt x="2" y="36"/>
                  </a:lnTo>
                  <a:close/>
                  <a:moveTo>
                    <a:pt x="2" y="36"/>
                  </a:moveTo>
                  <a:lnTo>
                    <a:pt x="2" y="38"/>
                  </a:lnTo>
                  <a:lnTo>
                    <a:pt x="2" y="36"/>
                  </a:lnTo>
                  <a:close/>
                  <a:moveTo>
                    <a:pt x="27" y="35"/>
                  </a:moveTo>
                  <a:lnTo>
                    <a:pt x="29" y="35"/>
                  </a:lnTo>
                  <a:lnTo>
                    <a:pt x="27" y="35"/>
                  </a:lnTo>
                  <a:close/>
                  <a:moveTo>
                    <a:pt x="11" y="42"/>
                  </a:moveTo>
                  <a:lnTo>
                    <a:pt x="13" y="42"/>
                  </a:lnTo>
                  <a:lnTo>
                    <a:pt x="11" y="42"/>
                  </a:lnTo>
                  <a:close/>
                  <a:moveTo>
                    <a:pt x="19" y="19"/>
                  </a:moveTo>
                  <a:lnTo>
                    <a:pt x="19" y="21"/>
                  </a:lnTo>
                  <a:lnTo>
                    <a:pt x="19" y="19"/>
                  </a:lnTo>
                  <a:close/>
                  <a:moveTo>
                    <a:pt x="82" y="38"/>
                  </a:moveTo>
                  <a:lnTo>
                    <a:pt x="84" y="38"/>
                  </a:lnTo>
                  <a:lnTo>
                    <a:pt x="82" y="38"/>
                  </a:lnTo>
                  <a:close/>
                  <a:moveTo>
                    <a:pt x="25" y="31"/>
                  </a:moveTo>
                  <a:lnTo>
                    <a:pt x="27" y="31"/>
                  </a:lnTo>
                  <a:lnTo>
                    <a:pt x="25" y="31"/>
                  </a:lnTo>
                  <a:close/>
                  <a:moveTo>
                    <a:pt x="52" y="4"/>
                  </a:moveTo>
                  <a:lnTo>
                    <a:pt x="52" y="6"/>
                  </a:lnTo>
                  <a:lnTo>
                    <a:pt x="52" y="4"/>
                  </a:lnTo>
                  <a:close/>
                  <a:moveTo>
                    <a:pt x="11" y="40"/>
                  </a:moveTo>
                  <a:lnTo>
                    <a:pt x="11" y="42"/>
                  </a:lnTo>
                  <a:lnTo>
                    <a:pt x="11" y="40"/>
                  </a:lnTo>
                  <a:close/>
                  <a:moveTo>
                    <a:pt x="11" y="29"/>
                  </a:moveTo>
                  <a:lnTo>
                    <a:pt x="11" y="31"/>
                  </a:lnTo>
                  <a:lnTo>
                    <a:pt x="11" y="29"/>
                  </a:lnTo>
                  <a:close/>
                  <a:moveTo>
                    <a:pt x="17" y="25"/>
                  </a:moveTo>
                  <a:lnTo>
                    <a:pt x="19" y="25"/>
                  </a:lnTo>
                  <a:lnTo>
                    <a:pt x="17" y="25"/>
                  </a:lnTo>
                  <a:close/>
                  <a:moveTo>
                    <a:pt x="19" y="21"/>
                  </a:moveTo>
                  <a:lnTo>
                    <a:pt x="19" y="23"/>
                  </a:lnTo>
                  <a:lnTo>
                    <a:pt x="19" y="21"/>
                  </a:lnTo>
                  <a:close/>
                  <a:moveTo>
                    <a:pt x="21" y="35"/>
                  </a:moveTo>
                  <a:lnTo>
                    <a:pt x="21" y="36"/>
                  </a:lnTo>
                  <a:lnTo>
                    <a:pt x="21" y="35"/>
                  </a:lnTo>
                  <a:close/>
                  <a:moveTo>
                    <a:pt x="2" y="38"/>
                  </a:moveTo>
                  <a:lnTo>
                    <a:pt x="4" y="38"/>
                  </a:lnTo>
                  <a:lnTo>
                    <a:pt x="2" y="38"/>
                  </a:lnTo>
                  <a:close/>
                  <a:moveTo>
                    <a:pt x="6" y="44"/>
                  </a:moveTo>
                  <a:lnTo>
                    <a:pt x="6" y="46"/>
                  </a:lnTo>
                  <a:lnTo>
                    <a:pt x="6" y="44"/>
                  </a:lnTo>
                  <a:close/>
                  <a:moveTo>
                    <a:pt x="23" y="35"/>
                  </a:moveTo>
                  <a:lnTo>
                    <a:pt x="25" y="35"/>
                  </a:lnTo>
                  <a:lnTo>
                    <a:pt x="23" y="35"/>
                  </a:lnTo>
                  <a:close/>
                  <a:moveTo>
                    <a:pt x="2" y="36"/>
                  </a:moveTo>
                  <a:lnTo>
                    <a:pt x="2" y="38"/>
                  </a:lnTo>
                  <a:lnTo>
                    <a:pt x="2" y="36"/>
                  </a:lnTo>
                  <a:close/>
                  <a:moveTo>
                    <a:pt x="2" y="38"/>
                  </a:moveTo>
                  <a:lnTo>
                    <a:pt x="4" y="38"/>
                  </a:lnTo>
                  <a:lnTo>
                    <a:pt x="2" y="38"/>
                  </a:lnTo>
                  <a:close/>
                  <a:moveTo>
                    <a:pt x="4" y="36"/>
                  </a:moveTo>
                  <a:lnTo>
                    <a:pt x="4" y="38"/>
                  </a:lnTo>
                  <a:lnTo>
                    <a:pt x="4" y="36"/>
                  </a:lnTo>
                  <a:close/>
                  <a:moveTo>
                    <a:pt x="19" y="21"/>
                  </a:moveTo>
                  <a:lnTo>
                    <a:pt x="19" y="23"/>
                  </a:lnTo>
                  <a:lnTo>
                    <a:pt x="19" y="21"/>
                  </a:lnTo>
                  <a:close/>
                  <a:moveTo>
                    <a:pt x="71" y="0"/>
                  </a:moveTo>
                  <a:lnTo>
                    <a:pt x="71" y="2"/>
                  </a:lnTo>
                  <a:lnTo>
                    <a:pt x="71" y="0"/>
                  </a:lnTo>
                  <a:close/>
                  <a:moveTo>
                    <a:pt x="82" y="38"/>
                  </a:moveTo>
                  <a:lnTo>
                    <a:pt x="84" y="38"/>
                  </a:lnTo>
                  <a:lnTo>
                    <a:pt x="82" y="38"/>
                  </a:lnTo>
                  <a:close/>
                  <a:moveTo>
                    <a:pt x="23" y="25"/>
                  </a:moveTo>
                  <a:lnTo>
                    <a:pt x="25" y="25"/>
                  </a:lnTo>
                  <a:lnTo>
                    <a:pt x="23" y="25"/>
                  </a:lnTo>
                  <a:close/>
                  <a:moveTo>
                    <a:pt x="17" y="38"/>
                  </a:moveTo>
                  <a:lnTo>
                    <a:pt x="17" y="40"/>
                  </a:lnTo>
                  <a:lnTo>
                    <a:pt x="17" y="38"/>
                  </a:lnTo>
                  <a:close/>
                  <a:moveTo>
                    <a:pt x="11" y="42"/>
                  </a:moveTo>
                  <a:lnTo>
                    <a:pt x="13" y="42"/>
                  </a:lnTo>
                  <a:lnTo>
                    <a:pt x="11" y="42"/>
                  </a:lnTo>
                  <a:close/>
                  <a:moveTo>
                    <a:pt x="23" y="35"/>
                  </a:moveTo>
                  <a:lnTo>
                    <a:pt x="23" y="36"/>
                  </a:lnTo>
                  <a:lnTo>
                    <a:pt x="23" y="35"/>
                  </a:lnTo>
                  <a:close/>
                  <a:moveTo>
                    <a:pt x="17" y="38"/>
                  </a:moveTo>
                  <a:lnTo>
                    <a:pt x="17" y="40"/>
                  </a:lnTo>
                  <a:lnTo>
                    <a:pt x="17" y="38"/>
                  </a:lnTo>
                  <a:close/>
                  <a:moveTo>
                    <a:pt x="21" y="35"/>
                  </a:moveTo>
                  <a:lnTo>
                    <a:pt x="23" y="35"/>
                  </a:lnTo>
                  <a:lnTo>
                    <a:pt x="21" y="3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397">
              <a:extLst>
                <a:ext uri="{FF2B5EF4-FFF2-40B4-BE49-F238E27FC236}">
                  <a16:creationId xmlns:a16="http://schemas.microsoft.com/office/drawing/2014/main" id="{41B5B5EF-D785-4742-9555-284C9ED16708}"/>
                </a:ext>
              </a:extLst>
            </p:cNvPr>
            <p:cNvSpPr>
              <a:spLocks noEditPoints="1"/>
            </p:cNvSpPr>
            <p:nvPr/>
          </p:nvSpPr>
          <p:spPr bwMode="gray">
            <a:xfrm>
              <a:off x="3554100" y="2578483"/>
              <a:ext cx="221975" cy="445175"/>
            </a:xfrm>
            <a:custGeom>
              <a:avLst/>
              <a:gdLst>
                <a:gd name="T0" fmla="*/ 158 w 181"/>
                <a:gd name="T1" fmla="*/ 204 h 363"/>
                <a:gd name="T2" fmla="*/ 131 w 181"/>
                <a:gd name="T3" fmla="*/ 332 h 363"/>
                <a:gd name="T4" fmla="*/ 98 w 181"/>
                <a:gd name="T5" fmla="*/ 342 h 363"/>
                <a:gd name="T6" fmla="*/ 81 w 181"/>
                <a:gd name="T7" fmla="*/ 350 h 363"/>
                <a:gd name="T8" fmla="*/ 56 w 181"/>
                <a:gd name="T9" fmla="*/ 355 h 363"/>
                <a:gd name="T10" fmla="*/ 41 w 181"/>
                <a:gd name="T11" fmla="*/ 338 h 363"/>
                <a:gd name="T12" fmla="*/ 35 w 181"/>
                <a:gd name="T13" fmla="*/ 309 h 363"/>
                <a:gd name="T14" fmla="*/ 29 w 181"/>
                <a:gd name="T15" fmla="*/ 267 h 363"/>
                <a:gd name="T16" fmla="*/ 50 w 181"/>
                <a:gd name="T17" fmla="*/ 240 h 363"/>
                <a:gd name="T18" fmla="*/ 79 w 181"/>
                <a:gd name="T19" fmla="*/ 202 h 363"/>
                <a:gd name="T20" fmla="*/ 77 w 181"/>
                <a:gd name="T21" fmla="*/ 169 h 363"/>
                <a:gd name="T22" fmla="*/ 27 w 181"/>
                <a:gd name="T23" fmla="*/ 52 h 363"/>
                <a:gd name="T24" fmla="*/ 102 w 181"/>
                <a:gd name="T25" fmla="*/ 13 h 363"/>
                <a:gd name="T26" fmla="*/ 14 w 181"/>
                <a:gd name="T27" fmla="*/ 355 h 363"/>
                <a:gd name="T28" fmla="*/ 27 w 181"/>
                <a:gd name="T29" fmla="*/ 254 h 363"/>
                <a:gd name="T30" fmla="*/ 37 w 181"/>
                <a:gd name="T31" fmla="*/ 342 h 363"/>
                <a:gd name="T32" fmla="*/ 37 w 181"/>
                <a:gd name="T33" fmla="*/ 350 h 363"/>
                <a:gd name="T34" fmla="*/ 18 w 181"/>
                <a:gd name="T35" fmla="*/ 353 h 363"/>
                <a:gd name="T36" fmla="*/ 46 w 181"/>
                <a:gd name="T37" fmla="*/ 357 h 363"/>
                <a:gd name="T38" fmla="*/ 8 w 181"/>
                <a:gd name="T39" fmla="*/ 344 h 363"/>
                <a:gd name="T40" fmla="*/ 41 w 181"/>
                <a:gd name="T41" fmla="*/ 346 h 363"/>
                <a:gd name="T42" fmla="*/ 35 w 181"/>
                <a:gd name="T43" fmla="*/ 344 h 363"/>
                <a:gd name="T44" fmla="*/ 29 w 181"/>
                <a:gd name="T45" fmla="*/ 330 h 363"/>
                <a:gd name="T46" fmla="*/ 41 w 181"/>
                <a:gd name="T47" fmla="*/ 348 h 363"/>
                <a:gd name="T48" fmla="*/ 44 w 181"/>
                <a:gd name="T49" fmla="*/ 359 h 363"/>
                <a:gd name="T50" fmla="*/ 41 w 181"/>
                <a:gd name="T51" fmla="*/ 357 h 363"/>
                <a:gd name="T52" fmla="*/ 43 w 181"/>
                <a:gd name="T53" fmla="*/ 357 h 363"/>
                <a:gd name="T54" fmla="*/ 29 w 181"/>
                <a:gd name="T55" fmla="*/ 328 h 363"/>
                <a:gd name="T56" fmla="*/ 46 w 181"/>
                <a:gd name="T57" fmla="*/ 244 h 363"/>
                <a:gd name="T58" fmla="*/ 89 w 181"/>
                <a:gd name="T59" fmla="*/ 184 h 363"/>
                <a:gd name="T60" fmla="*/ 39 w 181"/>
                <a:gd name="T61" fmla="*/ 340 h 363"/>
                <a:gd name="T62" fmla="*/ 81 w 181"/>
                <a:gd name="T63" fmla="*/ 177 h 363"/>
                <a:gd name="T64" fmla="*/ 12 w 181"/>
                <a:gd name="T65" fmla="*/ 353 h 363"/>
                <a:gd name="T66" fmla="*/ 37 w 181"/>
                <a:gd name="T67" fmla="*/ 357 h 363"/>
                <a:gd name="T68" fmla="*/ 52 w 181"/>
                <a:gd name="T69" fmla="*/ 355 h 363"/>
                <a:gd name="T70" fmla="*/ 50 w 181"/>
                <a:gd name="T71" fmla="*/ 355 h 363"/>
                <a:gd name="T72" fmla="*/ 46 w 181"/>
                <a:gd name="T73" fmla="*/ 350 h 363"/>
                <a:gd name="T74" fmla="*/ 69 w 181"/>
                <a:gd name="T75" fmla="*/ 357 h 363"/>
                <a:gd name="T76" fmla="*/ 27 w 181"/>
                <a:gd name="T77" fmla="*/ 334 h 363"/>
                <a:gd name="T78" fmla="*/ 50 w 181"/>
                <a:gd name="T79" fmla="*/ 357 h 363"/>
                <a:gd name="T80" fmla="*/ 16 w 181"/>
                <a:gd name="T81" fmla="*/ 342 h 363"/>
                <a:gd name="T82" fmla="*/ 66 w 181"/>
                <a:gd name="T83" fmla="*/ 357 h 363"/>
                <a:gd name="T84" fmla="*/ 2 w 181"/>
                <a:gd name="T85" fmla="*/ 348 h 363"/>
                <a:gd name="T86" fmla="*/ 18 w 181"/>
                <a:gd name="T87" fmla="*/ 346 h 363"/>
                <a:gd name="T88" fmla="*/ 87 w 181"/>
                <a:gd name="T89" fmla="*/ 348 h 363"/>
                <a:gd name="T90" fmla="*/ 31 w 181"/>
                <a:gd name="T91" fmla="*/ 288 h 363"/>
                <a:gd name="T92" fmla="*/ 37 w 181"/>
                <a:gd name="T93" fmla="*/ 357 h 363"/>
                <a:gd name="T94" fmla="*/ 25 w 181"/>
                <a:gd name="T95" fmla="*/ 265 h 363"/>
                <a:gd name="T96" fmla="*/ 96 w 181"/>
                <a:gd name="T97" fmla="*/ 348 h 363"/>
                <a:gd name="T98" fmla="*/ 23 w 181"/>
                <a:gd name="T99" fmla="*/ 353 h 363"/>
                <a:gd name="T100" fmla="*/ 50 w 181"/>
                <a:gd name="T101" fmla="*/ 232 h 363"/>
                <a:gd name="T102" fmla="*/ 102 w 181"/>
                <a:gd name="T103" fmla="*/ 344 h 363"/>
                <a:gd name="T104" fmla="*/ 50 w 181"/>
                <a:gd name="T105" fmla="*/ 357 h 363"/>
                <a:gd name="T106" fmla="*/ 29 w 181"/>
                <a:gd name="T107" fmla="*/ 330 h 363"/>
                <a:gd name="T108" fmla="*/ 31 w 181"/>
                <a:gd name="T109" fmla="*/ 284 h 363"/>
                <a:gd name="T110" fmla="*/ 8 w 181"/>
                <a:gd name="T111" fmla="*/ 344 h 363"/>
                <a:gd name="T112" fmla="*/ 41 w 181"/>
                <a:gd name="T113" fmla="*/ 250 h 363"/>
                <a:gd name="T114" fmla="*/ 18 w 181"/>
                <a:gd name="T115" fmla="*/ 359 h 363"/>
                <a:gd name="T116" fmla="*/ 94 w 181"/>
                <a:gd name="T117" fmla="*/ 348 h 363"/>
                <a:gd name="T118" fmla="*/ 31 w 181"/>
                <a:gd name="T119" fmla="*/ 348 h 363"/>
                <a:gd name="T120" fmla="*/ 29 w 181"/>
                <a:gd name="T121" fmla="*/ 357 h 363"/>
                <a:gd name="T122" fmla="*/ 21 w 181"/>
                <a:gd name="T123" fmla="*/ 353 h 363"/>
                <a:gd name="T124" fmla="*/ 14 w 181"/>
                <a:gd name="T125" fmla="*/ 357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363">
                  <a:moveTo>
                    <a:pt x="142" y="42"/>
                  </a:moveTo>
                  <a:lnTo>
                    <a:pt x="138" y="44"/>
                  </a:lnTo>
                  <a:lnTo>
                    <a:pt x="137" y="48"/>
                  </a:lnTo>
                  <a:lnTo>
                    <a:pt x="135" y="48"/>
                  </a:lnTo>
                  <a:lnTo>
                    <a:pt x="135" y="50"/>
                  </a:lnTo>
                  <a:lnTo>
                    <a:pt x="137" y="50"/>
                  </a:lnTo>
                  <a:lnTo>
                    <a:pt x="138" y="50"/>
                  </a:lnTo>
                  <a:lnTo>
                    <a:pt x="140" y="50"/>
                  </a:lnTo>
                  <a:lnTo>
                    <a:pt x="140" y="52"/>
                  </a:lnTo>
                  <a:lnTo>
                    <a:pt x="140" y="54"/>
                  </a:lnTo>
                  <a:lnTo>
                    <a:pt x="138" y="54"/>
                  </a:lnTo>
                  <a:lnTo>
                    <a:pt x="138" y="56"/>
                  </a:lnTo>
                  <a:lnTo>
                    <a:pt x="138" y="58"/>
                  </a:lnTo>
                  <a:lnTo>
                    <a:pt x="137" y="59"/>
                  </a:lnTo>
                  <a:lnTo>
                    <a:pt x="137" y="61"/>
                  </a:lnTo>
                  <a:lnTo>
                    <a:pt x="135" y="61"/>
                  </a:lnTo>
                  <a:lnTo>
                    <a:pt x="135" y="63"/>
                  </a:lnTo>
                  <a:lnTo>
                    <a:pt x="135" y="65"/>
                  </a:lnTo>
                  <a:lnTo>
                    <a:pt x="135" y="67"/>
                  </a:lnTo>
                  <a:lnTo>
                    <a:pt x="137" y="67"/>
                  </a:lnTo>
                  <a:lnTo>
                    <a:pt x="137" y="69"/>
                  </a:lnTo>
                  <a:lnTo>
                    <a:pt x="137" y="71"/>
                  </a:lnTo>
                  <a:lnTo>
                    <a:pt x="137" y="73"/>
                  </a:lnTo>
                  <a:lnTo>
                    <a:pt x="137" y="75"/>
                  </a:lnTo>
                  <a:lnTo>
                    <a:pt x="138" y="75"/>
                  </a:lnTo>
                  <a:lnTo>
                    <a:pt x="138" y="77"/>
                  </a:lnTo>
                  <a:lnTo>
                    <a:pt x="140" y="79"/>
                  </a:lnTo>
                  <a:lnTo>
                    <a:pt x="142" y="79"/>
                  </a:lnTo>
                  <a:lnTo>
                    <a:pt x="144" y="81"/>
                  </a:lnTo>
                  <a:lnTo>
                    <a:pt x="146" y="81"/>
                  </a:lnTo>
                  <a:lnTo>
                    <a:pt x="148" y="83"/>
                  </a:lnTo>
                  <a:lnTo>
                    <a:pt x="148" y="84"/>
                  </a:lnTo>
                  <a:lnTo>
                    <a:pt x="150" y="84"/>
                  </a:lnTo>
                  <a:lnTo>
                    <a:pt x="150" y="86"/>
                  </a:lnTo>
                  <a:lnTo>
                    <a:pt x="152" y="90"/>
                  </a:lnTo>
                  <a:lnTo>
                    <a:pt x="152" y="92"/>
                  </a:lnTo>
                  <a:lnTo>
                    <a:pt x="154" y="94"/>
                  </a:lnTo>
                  <a:lnTo>
                    <a:pt x="156" y="94"/>
                  </a:lnTo>
                  <a:lnTo>
                    <a:pt x="156" y="96"/>
                  </a:lnTo>
                  <a:lnTo>
                    <a:pt x="158" y="96"/>
                  </a:lnTo>
                  <a:lnTo>
                    <a:pt x="158" y="98"/>
                  </a:lnTo>
                  <a:lnTo>
                    <a:pt x="158" y="100"/>
                  </a:lnTo>
                  <a:lnTo>
                    <a:pt x="158" y="102"/>
                  </a:lnTo>
                  <a:lnTo>
                    <a:pt x="158" y="104"/>
                  </a:lnTo>
                  <a:lnTo>
                    <a:pt x="156" y="104"/>
                  </a:lnTo>
                  <a:lnTo>
                    <a:pt x="156" y="106"/>
                  </a:lnTo>
                  <a:lnTo>
                    <a:pt x="154" y="108"/>
                  </a:lnTo>
                  <a:lnTo>
                    <a:pt x="154" y="109"/>
                  </a:lnTo>
                  <a:lnTo>
                    <a:pt x="152" y="109"/>
                  </a:lnTo>
                  <a:lnTo>
                    <a:pt x="152" y="111"/>
                  </a:lnTo>
                  <a:lnTo>
                    <a:pt x="150" y="111"/>
                  </a:lnTo>
                  <a:lnTo>
                    <a:pt x="150" y="113"/>
                  </a:lnTo>
                  <a:lnTo>
                    <a:pt x="150" y="115"/>
                  </a:lnTo>
                  <a:lnTo>
                    <a:pt x="148" y="115"/>
                  </a:lnTo>
                  <a:lnTo>
                    <a:pt x="148" y="117"/>
                  </a:lnTo>
                  <a:lnTo>
                    <a:pt x="146" y="119"/>
                  </a:lnTo>
                  <a:lnTo>
                    <a:pt x="146" y="121"/>
                  </a:lnTo>
                  <a:lnTo>
                    <a:pt x="144" y="123"/>
                  </a:lnTo>
                  <a:lnTo>
                    <a:pt x="144" y="125"/>
                  </a:lnTo>
                  <a:lnTo>
                    <a:pt x="144" y="127"/>
                  </a:lnTo>
                  <a:lnTo>
                    <a:pt x="144" y="129"/>
                  </a:lnTo>
                  <a:lnTo>
                    <a:pt x="144" y="131"/>
                  </a:lnTo>
                  <a:lnTo>
                    <a:pt x="146" y="131"/>
                  </a:lnTo>
                  <a:lnTo>
                    <a:pt x="146" y="132"/>
                  </a:lnTo>
                  <a:lnTo>
                    <a:pt x="148" y="136"/>
                  </a:lnTo>
                  <a:lnTo>
                    <a:pt x="148" y="138"/>
                  </a:lnTo>
                  <a:lnTo>
                    <a:pt x="150" y="138"/>
                  </a:lnTo>
                  <a:lnTo>
                    <a:pt x="150" y="140"/>
                  </a:lnTo>
                  <a:lnTo>
                    <a:pt x="150" y="142"/>
                  </a:lnTo>
                  <a:lnTo>
                    <a:pt x="152" y="144"/>
                  </a:lnTo>
                  <a:lnTo>
                    <a:pt x="152" y="146"/>
                  </a:lnTo>
                  <a:lnTo>
                    <a:pt x="152" y="148"/>
                  </a:lnTo>
                  <a:lnTo>
                    <a:pt x="154" y="150"/>
                  </a:lnTo>
                  <a:lnTo>
                    <a:pt x="154" y="152"/>
                  </a:lnTo>
                  <a:lnTo>
                    <a:pt x="156" y="152"/>
                  </a:lnTo>
                  <a:lnTo>
                    <a:pt x="156" y="154"/>
                  </a:lnTo>
                  <a:lnTo>
                    <a:pt x="156" y="156"/>
                  </a:lnTo>
                  <a:lnTo>
                    <a:pt x="158" y="157"/>
                  </a:lnTo>
                  <a:lnTo>
                    <a:pt x="158" y="159"/>
                  </a:lnTo>
                  <a:lnTo>
                    <a:pt x="158" y="161"/>
                  </a:lnTo>
                  <a:lnTo>
                    <a:pt x="158" y="163"/>
                  </a:lnTo>
                  <a:lnTo>
                    <a:pt x="160" y="163"/>
                  </a:lnTo>
                  <a:lnTo>
                    <a:pt x="160" y="165"/>
                  </a:lnTo>
                  <a:lnTo>
                    <a:pt x="160" y="167"/>
                  </a:lnTo>
                  <a:lnTo>
                    <a:pt x="160" y="169"/>
                  </a:lnTo>
                  <a:lnTo>
                    <a:pt x="160" y="171"/>
                  </a:lnTo>
                  <a:lnTo>
                    <a:pt x="158" y="171"/>
                  </a:lnTo>
                  <a:lnTo>
                    <a:pt x="156" y="171"/>
                  </a:lnTo>
                  <a:lnTo>
                    <a:pt x="154" y="173"/>
                  </a:lnTo>
                  <a:lnTo>
                    <a:pt x="156" y="175"/>
                  </a:lnTo>
                  <a:lnTo>
                    <a:pt x="154" y="177"/>
                  </a:lnTo>
                  <a:lnTo>
                    <a:pt x="154" y="179"/>
                  </a:lnTo>
                  <a:lnTo>
                    <a:pt x="154" y="182"/>
                  </a:lnTo>
                  <a:lnTo>
                    <a:pt x="152" y="184"/>
                  </a:lnTo>
                  <a:lnTo>
                    <a:pt x="152" y="186"/>
                  </a:lnTo>
                  <a:lnTo>
                    <a:pt x="154" y="186"/>
                  </a:lnTo>
                  <a:lnTo>
                    <a:pt x="156" y="188"/>
                  </a:lnTo>
                  <a:lnTo>
                    <a:pt x="156" y="190"/>
                  </a:lnTo>
                  <a:lnTo>
                    <a:pt x="156" y="192"/>
                  </a:lnTo>
                  <a:lnTo>
                    <a:pt x="154" y="192"/>
                  </a:lnTo>
                  <a:lnTo>
                    <a:pt x="152" y="192"/>
                  </a:lnTo>
                  <a:lnTo>
                    <a:pt x="152" y="194"/>
                  </a:lnTo>
                  <a:lnTo>
                    <a:pt x="152" y="196"/>
                  </a:lnTo>
                  <a:lnTo>
                    <a:pt x="152" y="198"/>
                  </a:lnTo>
                  <a:lnTo>
                    <a:pt x="152" y="200"/>
                  </a:lnTo>
                  <a:lnTo>
                    <a:pt x="154" y="200"/>
                  </a:lnTo>
                  <a:lnTo>
                    <a:pt x="154" y="202"/>
                  </a:lnTo>
                  <a:lnTo>
                    <a:pt x="156" y="202"/>
                  </a:lnTo>
                  <a:lnTo>
                    <a:pt x="158" y="202"/>
                  </a:lnTo>
                  <a:lnTo>
                    <a:pt x="160" y="204"/>
                  </a:lnTo>
                  <a:lnTo>
                    <a:pt x="158" y="204"/>
                  </a:lnTo>
                  <a:lnTo>
                    <a:pt x="158" y="205"/>
                  </a:lnTo>
                  <a:lnTo>
                    <a:pt x="160" y="207"/>
                  </a:lnTo>
                  <a:lnTo>
                    <a:pt x="158" y="207"/>
                  </a:lnTo>
                  <a:lnTo>
                    <a:pt x="158" y="209"/>
                  </a:lnTo>
                  <a:lnTo>
                    <a:pt x="158" y="211"/>
                  </a:lnTo>
                  <a:lnTo>
                    <a:pt x="158" y="213"/>
                  </a:lnTo>
                  <a:lnTo>
                    <a:pt x="158" y="215"/>
                  </a:lnTo>
                  <a:lnTo>
                    <a:pt x="160" y="217"/>
                  </a:lnTo>
                  <a:lnTo>
                    <a:pt x="162" y="217"/>
                  </a:lnTo>
                  <a:lnTo>
                    <a:pt x="162" y="219"/>
                  </a:lnTo>
                  <a:lnTo>
                    <a:pt x="163" y="219"/>
                  </a:lnTo>
                  <a:lnTo>
                    <a:pt x="163" y="221"/>
                  </a:lnTo>
                  <a:lnTo>
                    <a:pt x="165" y="221"/>
                  </a:lnTo>
                  <a:lnTo>
                    <a:pt x="165" y="223"/>
                  </a:lnTo>
                  <a:lnTo>
                    <a:pt x="165" y="225"/>
                  </a:lnTo>
                  <a:lnTo>
                    <a:pt x="165" y="227"/>
                  </a:lnTo>
                  <a:lnTo>
                    <a:pt x="165" y="229"/>
                  </a:lnTo>
                  <a:lnTo>
                    <a:pt x="163" y="230"/>
                  </a:lnTo>
                  <a:lnTo>
                    <a:pt x="162" y="232"/>
                  </a:lnTo>
                  <a:lnTo>
                    <a:pt x="162" y="234"/>
                  </a:lnTo>
                  <a:lnTo>
                    <a:pt x="160" y="236"/>
                  </a:lnTo>
                  <a:lnTo>
                    <a:pt x="158" y="236"/>
                  </a:lnTo>
                  <a:lnTo>
                    <a:pt x="158" y="238"/>
                  </a:lnTo>
                  <a:lnTo>
                    <a:pt x="160" y="238"/>
                  </a:lnTo>
                  <a:lnTo>
                    <a:pt x="160" y="240"/>
                  </a:lnTo>
                  <a:lnTo>
                    <a:pt x="162" y="242"/>
                  </a:lnTo>
                  <a:lnTo>
                    <a:pt x="162" y="244"/>
                  </a:lnTo>
                  <a:lnTo>
                    <a:pt x="163" y="244"/>
                  </a:lnTo>
                  <a:lnTo>
                    <a:pt x="163" y="246"/>
                  </a:lnTo>
                  <a:lnTo>
                    <a:pt x="165" y="246"/>
                  </a:lnTo>
                  <a:lnTo>
                    <a:pt x="165" y="248"/>
                  </a:lnTo>
                  <a:lnTo>
                    <a:pt x="167" y="248"/>
                  </a:lnTo>
                  <a:lnTo>
                    <a:pt x="169" y="248"/>
                  </a:lnTo>
                  <a:lnTo>
                    <a:pt x="169" y="250"/>
                  </a:lnTo>
                  <a:lnTo>
                    <a:pt x="171" y="250"/>
                  </a:lnTo>
                  <a:lnTo>
                    <a:pt x="171" y="252"/>
                  </a:lnTo>
                  <a:lnTo>
                    <a:pt x="173" y="252"/>
                  </a:lnTo>
                  <a:lnTo>
                    <a:pt x="173" y="254"/>
                  </a:lnTo>
                  <a:lnTo>
                    <a:pt x="175" y="254"/>
                  </a:lnTo>
                  <a:lnTo>
                    <a:pt x="175" y="255"/>
                  </a:lnTo>
                  <a:lnTo>
                    <a:pt x="177" y="255"/>
                  </a:lnTo>
                  <a:lnTo>
                    <a:pt x="177" y="257"/>
                  </a:lnTo>
                  <a:lnTo>
                    <a:pt x="177" y="259"/>
                  </a:lnTo>
                  <a:lnTo>
                    <a:pt x="179" y="259"/>
                  </a:lnTo>
                  <a:lnTo>
                    <a:pt x="179" y="261"/>
                  </a:lnTo>
                  <a:lnTo>
                    <a:pt x="181" y="263"/>
                  </a:lnTo>
                  <a:lnTo>
                    <a:pt x="181" y="265"/>
                  </a:lnTo>
                  <a:lnTo>
                    <a:pt x="181" y="267"/>
                  </a:lnTo>
                  <a:lnTo>
                    <a:pt x="179" y="267"/>
                  </a:lnTo>
                  <a:lnTo>
                    <a:pt x="179" y="269"/>
                  </a:lnTo>
                  <a:lnTo>
                    <a:pt x="179" y="271"/>
                  </a:lnTo>
                  <a:lnTo>
                    <a:pt x="179" y="273"/>
                  </a:lnTo>
                  <a:lnTo>
                    <a:pt x="177" y="273"/>
                  </a:lnTo>
                  <a:lnTo>
                    <a:pt x="177" y="277"/>
                  </a:lnTo>
                  <a:lnTo>
                    <a:pt x="175" y="277"/>
                  </a:lnTo>
                  <a:lnTo>
                    <a:pt x="177" y="277"/>
                  </a:lnTo>
                  <a:lnTo>
                    <a:pt x="175" y="277"/>
                  </a:lnTo>
                  <a:lnTo>
                    <a:pt x="175" y="278"/>
                  </a:lnTo>
                  <a:lnTo>
                    <a:pt x="175" y="280"/>
                  </a:lnTo>
                  <a:lnTo>
                    <a:pt x="173" y="280"/>
                  </a:lnTo>
                  <a:lnTo>
                    <a:pt x="173" y="282"/>
                  </a:lnTo>
                  <a:lnTo>
                    <a:pt x="171" y="282"/>
                  </a:lnTo>
                  <a:lnTo>
                    <a:pt x="171" y="284"/>
                  </a:lnTo>
                  <a:lnTo>
                    <a:pt x="169" y="284"/>
                  </a:lnTo>
                  <a:lnTo>
                    <a:pt x="169" y="286"/>
                  </a:lnTo>
                  <a:lnTo>
                    <a:pt x="167" y="286"/>
                  </a:lnTo>
                  <a:lnTo>
                    <a:pt x="167" y="288"/>
                  </a:lnTo>
                  <a:lnTo>
                    <a:pt x="167" y="290"/>
                  </a:lnTo>
                  <a:lnTo>
                    <a:pt x="165" y="290"/>
                  </a:lnTo>
                  <a:lnTo>
                    <a:pt x="165" y="292"/>
                  </a:lnTo>
                  <a:lnTo>
                    <a:pt x="163" y="292"/>
                  </a:lnTo>
                  <a:lnTo>
                    <a:pt x="163" y="294"/>
                  </a:lnTo>
                  <a:lnTo>
                    <a:pt x="162" y="294"/>
                  </a:lnTo>
                  <a:lnTo>
                    <a:pt x="162" y="296"/>
                  </a:lnTo>
                  <a:lnTo>
                    <a:pt x="162" y="298"/>
                  </a:lnTo>
                  <a:lnTo>
                    <a:pt x="160" y="298"/>
                  </a:lnTo>
                  <a:lnTo>
                    <a:pt x="162" y="298"/>
                  </a:lnTo>
                  <a:lnTo>
                    <a:pt x="160" y="298"/>
                  </a:lnTo>
                  <a:lnTo>
                    <a:pt x="160" y="300"/>
                  </a:lnTo>
                  <a:lnTo>
                    <a:pt x="158" y="302"/>
                  </a:lnTo>
                  <a:lnTo>
                    <a:pt x="156" y="302"/>
                  </a:lnTo>
                  <a:lnTo>
                    <a:pt x="156" y="303"/>
                  </a:lnTo>
                  <a:lnTo>
                    <a:pt x="156" y="305"/>
                  </a:lnTo>
                  <a:lnTo>
                    <a:pt x="154" y="305"/>
                  </a:lnTo>
                  <a:lnTo>
                    <a:pt x="154" y="307"/>
                  </a:lnTo>
                  <a:lnTo>
                    <a:pt x="152" y="307"/>
                  </a:lnTo>
                  <a:lnTo>
                    <a:pt x="152" y="309"/>
                  </a:lnTo>
                  <a:lnTo>
                    <a:pt x="150" y="309"/>
                  </a:lnTo>
                  <a:lnTo>
                    <a:pt x="150" y="311"/>
                  </a:lnTo>
                  <a:lnTo>
                    <a:pt x="148" y="313"/>
                  </a:lnTo>
                  <a:lnTo>
                    <a:pt x="148" y="315"/>
                  </a:lnTo>
                  <a:lnTo>
                    <a:pt x="146" y="315"/>
                  </a:lnTo>
                  <a:lnTo>
                    <a:pt x="146" y="317"/>
                  </a:lnTo>
                  <a:lnTo>
                    <a:pt x="144" y="317"/>
                  </a:lnTo>
                  <a:lnTo>
                    <a:pt x="144" y="319"/>
                  </a:lnTo>
                  <a:lnTo>
                    <a:pt x="142" y="319"/>
                  </a:lnTo>
                  <a:lnTo>
                    <a:pt x="142" y="321"/>
                  </a:lnTo>
                  <a:lnTo>
                    <a:pt x="140" y="321"/>
                  </a:lnTo>
                  <a:lnTo>
                    <a:pt x="140" y="323"/>
                  </a:lnTo>
                  <a:lnTo>
                    <a:pt x="138" y="323"/>
                  </a:lnTo>
                  <a:lnTo>
                    <a:pt x="138" y="325"/>
                  </a:lnTo>
                  <a:lnTo>
                    <a:pt x="138" y="326"/>
                  </a:lnTo>
                  <a:lnTo>
                    <a:pt x="137" y="326"/>
                  </a:lnTo>
                  <a:lnTo>
                    <a:pt x="137" y="325"/>
                  </a:lnTo>
                  <a:lnTo>
                    <a:pt x="137" y="326"/>
                  </a:lnTo>
                  <a:lnTo>
                    <a:pt x="135" y="326"/>
                  </a:lnTo>
                  <a:lnTo>
                    <a:pt x="135" y="328"/>
                  </a:lnTo>
                  <a:lnTo>
                    <a:pt x="133" y="328"/>
                  </a:lnTo>
                  <a:lnTo>
                    <a:pt x="133" y="330"/>
                  </a:lnTo>
                  <a:lnTo>
                    <a:pt x="131" y="330"/>
                  </a:lnTo>
                  <a:lnTo>
                    <a:pt x="131" y="332"/>
                  </a:lnTo>
                  <a:lnTo>
                    <a:pt x="129" y="332"/>
                  </a:lnTo>
                  <a:lnTo>
                    <a:pt x="129" y="334"/>
                  </a:lnTo>
                  <a:lnTo>
                    <a:pt x="127" y="336"/>
                  </a:lnTo>
                  <a:lnTo>
                    <a:pt x="127" y="338"/>
                  </a:lnTo>
                  <a:lnTo>
                    <a:pt x="125" y="338"/>
                  </a:lnTo>
                  <a:lnTo>
                    <a:pt x="125" y="336"/>
                  </a:lnTo>
                  <a:lnTo>
                    <a:pt x="125" y="338"/>
                  </a:lnTo>
                  <a:lnTo>
                    <a:pt x="125" y="340"/>
                  </a:lnTo>
                  <a:lnTo>
                    <a:pt x="123" y="340"/>
                  </a:lnTo>
                  <a:lnTo>
                    <a:pt x="123" y="338"/>
                  </a:lnTo>
                  <a:lnTo>
                    <a:pt x="123" y="340"/>
                  </a:lnTo>
                  <a:lnTo>
                    <a:pt x="121" y="340"/>
                  </a:lnTo>
                  <a:lnTo>
                    <a:pt x="123" y="340"/>
                  </a:lnTo>
                  <a:lnTo>
                    <a:pt x="121" y="340"/>
                  </a:lnTo>
                  <a:lnTo>
                    <a:pt x="121" y="338"/>
                  </a:lnTo>
                  <a:lnTo>
                    <a:pt x="121" y="340"/>
                  </a:lnTo>
                  <a:lnTo>
                    <a:pt x="121" y="338"/>
                  </a:lnTo>
                  <a:lnTo>
                    <a:pt x="121" y="340"/>
                  </a:lnTo>
                  <a:lnTo>
                    <a:pt x="119" y="340"/>
                  </a:lnTo>
                  <a:lnTo>
                    <a:pt x="119" y="338"/>
                  </a:lnTo>
                  <a:lnTo>
                    <a:pt x="119" y="340"/>
                  </a:lnTo>
                  <a:lnTo>
                    <a:pt x="119" y="338"/>
                  </a:lnTo>
                  <a:lnTo>
                    <a:pt x="119" y="340"/>
                  </a:lnTo>
                  <a:lnTo>
                    <a:pt x="119" y="338"/>
                  </a:lnTo>
                  <a:lnTo>
                    <a:pt x="119" y="340"/>
                  </a:lnTo>
                  <a:lnTo>
                    <a:pt x="119" y="338"/>
                  </a:lnTo>
                  <a:lnTo>
                    <a:pt x="119" y="340"/>
                  </a:lnTo>
                  <a:lnTo>
                    <a:pt x="119" y="338"/>
                  </a:lnTo>
                  <a:lnTo>
                    <a:pt x="117" y="338"/>
                  </a:lnTo>
                  <a:lnTo>
                    <a:pt x="119" y="338"/>
                  </a:lnTo>
                  <a:lnTo>
                    <a:pt x="117" y="338"/>
                  </a:lnTo>
                  <a:lnTo>
                    <a:pt x="119" y="338"/>
                  </a:lnTo>
                  <a:lnTo>
                    <a:pt x="117" y="338"/>
                  </a:lnTo>
                  <a:lnTo>
                    <a:pt x="117" y="340"/>
                  </a:lnTo>
                  <a:lnTo>
                    <a:pt x="117" y="338"/>
                  </a:lnTo>
                  <a:lnTo>
                    <a:pt x="117" y="340"/>
                  </a:lnTo>
                  <a:lnTo>
                    <a:pt x="117" y="338"/>
                  </a:lnTo>
                  <a:lnTo>
                    <a:pt x="115" y="338"/>
                  </a:lnTo>
                  <a:lnTo>
                    <a:pt x="117" y="338"/>
                  </a:lnTo>
                  <a:lnTo>
                    <a:pt x="115" y="338"/>
                  </a:lnTo>
                  <a:lnTo>
                    <a:pt x="114" y="338"/>
                  </a:lnTo>
                  <a:lnTo>
                    <a:pt x="115" y="338"/>
                  </a:lnTo>
                  <a:lnTo>
                    <a:pt x="114" y="338"/>
                  </a:lnTo>
                  <a:lnTo>
                    <a:pt x="115" y="338"/>
                  </a:lnTo>
                  <a:lnTo>
                    <a:pt x="114" y="338"/>
                  </a:lnTo>
                  <a:lnTo>
                    <a:pt x="115" y="338"/>
                  </a:lnTo>
                  <a:lnTo>
                    <a:pt x="114" y="338"/>
                  </a:lnTo>
                  <a:lnTo>
                    <a:pt x="115" y="338"/>
                  </a:lnTo>
                  <a:lnTo>
                    <a:pt x="114" y="338"/>
                  </a:lnTo>
                  <a:lnTo>
                    <a:pt x="114" y="340"/>
                  </a:lnTo>
                  <a:lnTo>
                    <a:pt x="114" y="338"/>
                  </a:lnTo>
                  <a:lnTo>
                    <a:pt x="114" y="340"/>
                  </a:lnTo>
                  <a:lnTo>
                    <a:pt x="112" y="340"/>
                  </a:lnTo>
                  <a:lnTo>
                    <a:pt x="114" y="340"/>
                  </a:lnTo>
                  <a:lnTo>
                    <a:pt x="112" y="340"/>
                  </a:lnTo>
                  <a:lnTo>
                    <a:pt x="110" y="340"/>
                  </a:lnTo>
                  <a:lnTo>
                    <a:pt x="110" y="342"/>
                  </a:lnTo>
                  <a:lnTo>
                    <a:pt x="108" y="342"/>
                  </a:lnTo>
                  <a:lnTo>
                    <a:pt x="108" y="340"/>
                  </a:lnTo>
                  <a:lnTo>
                    <a:pt x="108" y="342"/>
                  </a:lnTo>
                  <a:lnTo>
                    <a:pt x="108" y="340"/>
                  </a:lnTo>
                  <a:lnTo>
                    <a:pt x="106" y="340"/>
                  </a:lnTo>
                  <a:lnTo>
                    <a:pt x="106" y="342"/>
                  </a:lnTo>
                  <a:lnTo>
                    <a:pt x="106" y="340"/>
                  </a:lnTo>
                  <a:lnTo>
                    <a:pt x="106" y="342"/>
                  </a:lnTo>
                  <a:lnTo>
                    <a:pt x="106" y="344"/>
                  </a:lnTo>
                  <a:lnTo>
                    <a:pt x="106" y="342"/>
                  </a:lnTo>
                  <a:lnTo>
                    <a:pt x="106" y="344"/>
                  </a:lnTo>
                  <a:lnTo>
                    <a:pt x="108" y="344"/>
                  </a:lnTo>
                  <a:lnTo>
                    <a:pt x="106" y="344"/>
                  </a:lnTo>
                  <a:lnTo>
                    <a:pt x="108" y="344"/>
                  </a:lnTo>
                  <a:lnTo>
                    <a:pt x="106" y="344"/>
                  </a:lnTo>
                  <a:lnTo>
                    <a:pt x="104" y="344"/>
                  </a:lnTo>
                  <a:lnTo>
                    <a:pt x="106" y="344"/>
                  </a:lnTo>
                  <a:lnTo>
                    <a:pt x="104" y="344"/>
                  </a:lnTo>
                  <a:lnTo>
                    <a:pt x="106" y="344"/>
                  </a:lnTo>
                  <a:lnTo>
                    <a:pt x="104" y="344"/>
                  </a:lnTo>
                  <a:lnTo>
                    <a:pt x="104" y="342"/>
                  </a:lnTo>
                  <a:lnTo>
                    <a:pt x="106" y="342"/>
                  </a:lnTo>
                  <a:lnTo>
                    <a:pt x="106" y="344"/>
                  </a:lnTo>
                  <a:lnTo>
                    <a:pt x="106" y="342"/>
                  </a:lnTo>
                  <a:lnTo>
                    <a:pt x="104" y="342"/>
                  </a:lnTo>
                  <a:lnTo>
                    <a:pt x="106" y="342"/>
                  </a:lnTo>
                  <a:lnTo>
                    <a:pt x="104" y="342"/>
                  </a:lnTo>
                  <a:lnTo>
                    <a:pt x="104" y="344"/>
                  </a:lnTo>
                  <a:lnTo>
                    <a:pt x="104" y="342"/>
                  </a:lnTo>
                  <a:lnTo>
                    <a:pt x="102" y="342"/>
                  </a:lnTo>
                  <a:lnTo>
                    <a:pt x="104" y="342"/>
                  </a:lnTo>
                  <a:lnTo>
                    <a:pt x="104" y="340"/>
                  </a:lnTo>
                  <a:lnTo>
                    <a:pt x="102" y="340"/>
                  </a:lnTo>
                  <a:lnTo>
                    <a:pt x="102" y="342"/>
                  </a:lnTo>
                  <a:lnTo>
                    <a:pt x="104" y="342"/>
                  </a:lnTo>
                  <a:lnTo>
                    <a:pt x="102" y="342"/>
                  </a:lnTo>
                  <a:lnTo>
                    <a:pt x="104" y="342"/>
                  </a:lnTo>
                  <a:lnTo>
                    <a:pt x="102" y="342"/>
                  </a:lnTo>
                  <a:lnTo>
                    <a:pt x="104" y="342"/>
                  </a:lnTo>
                  <a:lnTo>
                    <a:pt x="102" y="342"/>
                  </a:lnTo>
                  <a:lnTo>
                    <a:pt x="102" y="344"/>
                  </a:lnTo>
                  <a:lnTo>
                    <a:pt x="102" y="342"/>
                  </a:lnTo>
                  <a:lnTo>
                    <a:pt x="102" y="344"/>
                  </a:lnTo>
                  <a:lnTo>
                    <a:pt x="102" y="342"/>
                  </a:lnTo>
                  <a:lnTo>
                    <a:pt x="100" y="342"/>
                  </a:lnTo>
                  <a:lnTo>
                    <a:pt x="100" y="340"/>
                  </a:lnTo>
                  <a:lnTo>
                    <a:pt x="98" y="340"/>
                  </a:lnTo>
                  <a:lnTo>
                    <a:pt x="100" y="340"/>
                  </a:lnTo>
                  <a:lnTo>
                    <a:pt x="100" y="342"/>
                  </a:lnTo>
                  <a:lnTo>
                    <a:pt x="98" y="342"/>
                  </a:lnTo>
                  <a:lnTo>
                    <a:pt x="100" y="342"/>
                  </a:lnTo>
                  <a:lnTo>
                    <a:pt x="98" y="342"/>
                  </a:lnTo>
                  <a:lnTo>
                    <a:pt x="100" y="342"/>
                  </a:lnTo>
                  <a:lnTo>
                    <a:pt x="98" y="342"/>
                  </a:lnTo>
                  <a:lnTo>
                    <a:pt x="100" y="342"/>
                  </a:lnTo>
                  <a:lnTo>
                    <a:pt x="100" y="344"/>
                  </a:lnTo>
                  <a:lnTo>
                    <a:pt x="100" y="346"/>
                  </a:lnTo>
                  <a:lnTo>
                    <a:pt x="100" y="344"/>
                  </a:lnTo>
                  <a:lnTo>
                    <a:pt x="100" y="346"/>
                  </a:lnTo>
                  <a:lnTo>
                    <a:pt x="100" y="344"/>
                  </a:lnTo>
                  <a:lnTo>
                    <a:pt x="98" y="344"/>
                  </a:lnTo>
                  <a:lnTo>
                    <a:pt x="98" y="342"/>
                  </a:lnTo>
                  <a:lnTo>
                    <a:pt x="96" y="342"/>
                  </a:lnTo>
                  <a:lnTo>
                    <a:pt x="98" y="342"/>
                  </a:lnTo>
                  <a:lnTo>
                    <a:pt x="98" y="344"/>
                  </a:lnTo>
                  <a:lnTo>
                    <a:pt x="96" y="344"/>
                  </a:lnTo>
                  <a:lnTo>
                    <a:pt x="98" y="344"/>
                  </a:lnTo>
                  <a:lnTo>
                    <a:pt x="98" y="346"/>
                  </a:lnTo>
                  <a:lnTo>
                    <a:pt x="98" y="348"/>
                  </a:lnTo>
                  <a:lnTo>
                    <a:pt x="98" y="346"/>
                  </a:lnTo>
                  <a:lnTo>
                    <a:pt x="96" y="346"/>
                  </a:lnTo>
                  <a:lnTo>
                    <a:pt x="98" y="346"/>
                  </a:lnTo>
                  <a:lnTo>
                    <a:pt x="96" y="346"/>
                  </a:lnTo>
                  <a:lnTo>
                    <a:pt x="98" y="346"/>
                  </a:lnTo>
                  <a:lnTo>
                    <a:pt x="96" y="346"/>
                  </a:lnTo>
                  <a:lnTo>
                    <a:pt x="96" y="344"/>
                  </a:lnTo>
                  <a:lnTo>
                    <a:pt x="96" y="346"/>
                  </a:lnTo>
                  <a:lnTo>
                    <a:pt x="96" y="344"/>
                  </a:lnTo>
                  <a:lnTo>
                    <a:pt x="96" y="346"/>
                  </a:lnTo>
                  <a:lnTo>
                    <a:pt x="96" y="348"/>
                  </a:lnTo>
                  <a:lnTo>
                    <a:pt x="96" y="346"/>
                  </a:lnTo>
                  <a:lnTo>
                    <a:pt x="96" y="348"/>
                  </a:lnTo>
                  <a:lnTo>
                    <a:pt x="96" y="346"/>
                  </a:lnTo>
                  <a:lnTo>
                    <a:pt x="94" y="346"/>
                  </a:lnTo>
                  <a:lnTo>
                    <a:pt x="94" y="344"/>
                  </a:lnTo>
                  <a:lnTo>
                    <a:pt x="92" y="344"/>
                  </a:lnTo>
                  <a:lnTo>
                    <a:pt x="92" y="346"/>
                  </a:lnTo>
                  <a:lnTo>
                    <a:pt x="92" y="344"/>
                  </a:lnTo>
                  <a:lnTo>
                    <a:pt x="92" y="346"/>
                  </a:lnTo>
                  <a:lnTo>
                    <a:pt x="92" y="344"/>
                  </a:lnTo>
                  <a:lnTo>
                    <a:pt x="92" y="346"/>
                  </a:lnTo>
                  <a:lnTo>
                    <a:pt x="92" y="348"/>
                  </a:lnTo>
                  <a:lnTo>
                    <a:pt x="91" y="348"/>
                  </a:lnTo>
                  <a:lnTo>
                    <a:pt x="91" y="346"/>
                  </a:lnTo>
                  <a:lnTo>
                    <a:pt x="91" y="348"/>
                  </a:lnTo>
                  <a:lnTo>
                    <a:pt x="91" y="346"/>
                  </a:lnTo>
                  <a:lnTo>
                    <a:pt x="91" y="348"/>
                  </a:lnTo>
                  <a:lnTo>
                    <a:pt x="91" y="346"/>
                  </a:lnTo>
                  <a:lnTo>
                    <a:pt x="91" y="348"/>
                  </a:lnTo>
                  <a:lnTo>
                    <a:pt x="91" y="346"/>
                  </a:lnTo>
                  <a:lnTo>
                    <a:pt x="92" y="346"/>
                  </a:lnTo>
                  <a:lnTo>
                    <a:pt x="92" y="348"/>
                  </a:lnTo>
                  <a:lnTo>
                    <a:pt x="92" y="346"/>
                  </a:lnTo>
                  <a:lnTo>
                    <a:pt x="92" y="348"/>
                  </a:lnTo>
                  <a:lnTo>
                    <a:pt x="92" y="346"/>
                  </a:lnTo>
                  <a:lnTo>
                    <a:pt x="91" y="346"/>
                  </a:lnTo>
                  <a:lnTo>
                    <a:pt x="89" y="346"/>
                  </a:lnTo>
                  <a:lnTo>
                    <a:pt x="91" y="346"/>
                  </a:lnTo>
                  <a:lnTo>
                    <a:pt x="89" y="346"/>
                  </a:lnTo>
                  <a:lnTo>
                    <a:pt x="87" y="346"/>
                  </a:lnTo>
                  <a:lnTo>
                    <a:pt x="89" y="346"/>
                  </a:lnTo>
                  <a:lnTo>
                    <a:pt x="89" y="348"/>
                  </a:lnTo>
                  <a:lnTo>
                    <a:pt x="89" y="346"/>
                  </a:lnTo>
                  <a:lnTo>
                    <a:pt x="89" y="348"/>
                  </a:lnTo>
                  <a:lnTo>
                    <a:pt x="87" y="348"/>
                  </a:lnTo>
                  <a:lnTo>
                    <a:pt x="89" y="348"/>
                  </a:lnTo>
                  <a:lnTo>
                    <a:pt x="87" y="348"/>
                  </a:lnTo>
                  <a:lnTo>
                    <a:pt x="85" y="348"/>
                  </a:lnTo>
                  <a:lnTo>
                    <a:pt x="85" y="350"/>
                  </a:lnTo>
                  <a:lnTo>
                    <a:pt x="87" y="350"/>
                  </a:lnTo>
                  <a:lnTo>
                    <a:pt x="85" y="350"/>
                  </a:lnTo>
                  <a:lnTo>
                    <a:pt x="87" y="350"/>
                  </a:lnTo>
                  <a:lnTo>
                    <a:pt x="85" y="350"/>
                  </a:lnTo>
                  <a:lnTo>
                    <a:pt x="85" y="348"/>
                  </a:lnTo>
                  <a:lnTo>
                    <a:pt x="85" y="350"/>
                  </a:lnTo>
                  <a:lnTo>
                    <a:pt x="85" y="348"/>
                  </a:lnTo>
                  <a:lnTo>
                    <a:pt x="85" y="350"/>
                  </a:lnTo>
                  <a:lnTo>
                    <a:pt x="85" y="348"/>
                  </a:lnTo>
                  <a:lnTo>
                    <a:pt x="85" y="350"/>
                  </a:lnTo>
                  <a:lnTo>
                    <a:pt x="85" y="348"/>
                  </a:lnTo>
                  <a:lnTo>
                    <a:pt x="85" y="350"/>
                  </a:lnTo>
                  <a:lnTo>
                    <a:pt x="83" y="350"/>
                  </a:lnTo>
                  <a:lnTo>
                    <a:pt x="85" y="350"/>
                  </a:lnTo>
                  <a:lnTo>
                    <a:pt x="83" y="350"/>
                  </a:lnTo>
                  <a:lnTo>
                    <a:pt x="85" y="350"/>
                  </a:lnTo>
                  <a:lnTo>
                    <a:pt x="83" y="350"/>
                  </a:lnTo>
                  <a:lnTo>
                    <a:pt x="83" y="348"/>
                  </a:lnTo>
                  <a:lnTo>
                    <a:pt x="83" y="350"/>
                  </a:lnTo>
                  <a:lnTo>
                    <a:pt x="83" y="348"/>
                  </a:lnTo>
                  <a:lnTo>
                    <a:pt x="83" y="350"/>
                  </a:lnTo>
                  <a:lnTo>
                    <a:pt x="83" y="348"/>
                  </a:lnTo>
                  <a:lnTo>
                    <a:pt x="83" y="350"/>
                  </a:lnTo>
                  <a:lnTo>
                    <a:pt x="81" y="350"/>
                  </a:lnTo>
                  <a:lnTo>
                    <a:pt x="83" y="350"/>
                  </a:lnTo>
                  <a:lnTo>
                    <a:pt x="81" y="350"/>
                  </a:lnTo>
                  <a:lnTo>
                    <a:pt x="83" y="350"/>
                  </a:lnTo>
                  <a:lnTo>
                    <a:pt x="81" y="350"/>
                  </a:lnTo>
                  <a:lnTo>
                    <a:pt x="81" y="351"/>
                  </a:lnTo>
                  <a:lnTo>
                    <a:pt x="81" y="350"/>
                  </a:lnTo>
                  <a:lnTo>
                    <a:pt x="81" y="351"/>
                  </a:lnTo>
                  <a:lnTo>
                    <a:pt x="81" y="350"/>
                  </a:lnTo>
                  <a:lnTo>
                    <a:pt x="81" y="351"/>
                  </a:lnTo>
                  <a:lnTo>
                    <a:pt x="81" y="350"/>
                  </a:lnTo>
                  <a:lnTo>
                    <a:pt x="81" y="351"/>
                  </a:lnTo>
                  <a:lnTo>
                    <a:pt x="79" y="351"/>
                  </a:lnTo>
                  <a:lnTo>
                    <a:pt x="81" y="351"/>
                  </a:lnTo>
                  <a:lnTo>
                    <a:pt x="81" y="350"/>
                  </a:lnTo>
                  <a:lnTo>
                    <a:pt x="81" y="351"/>
                  </a:lnTo>
                  <a:lnTo>
                    <a:pt x="79" y="351"/>
                  </a:lnTo>
                  <a:lnTo>
                    <a:pt x="81" y="351"/>
                  </a:lnTo>
                  <a:lnTo>
                    <a:pt x="79" y="351"/>
                  </a:lnTo>
                  <a:lnTo>
                    <a:pt x="81" y="351"/>
                  </a:lnTo>
                  <a:lnTo>
                    <a:pt x="81" y="350"/>
                  </a:lnTo>
                  <a:lnTo>
                    <a:pt x="79" y="350"/>
                  </a:lnTo>
                  <a:lnTo>
                    <a:pt x="81" y="350"/>
                  </a:lnTo>
                  <a:lnTo>
                    <a:pt x="79" y="351"/>
                  </a:lnTo>
                  <a:lnTo>
                    <a:pt x="79" y="350"/>
                  </a:lnTo>
                  <a:lnTo>
                    <a:pt x="77" y="350"/>
                  </a:lnTo>
                  <a:lnTo>
                    <a:pt x="79" y="350"/>
                  </a:lnTo>
                  <a:lnTo>
                    <a:pt x="79" y="351"/>
                  </a:lnTo>
                  <a:lnTo>
                    <a:pt x="79" y="350"/>
                  </a:lnTo>
                  <a:lnTo>
                    <a:pt x="79" y="351"/>
                  </a:lnTo>
                  <a:lnTo>
                    <a:pt x="79" y="350"/>
                  </a:lnTo>
                  <a:lnTo>
                    <a:pt x="79" y="351"/>
                  </a:lnTo>
                  <a:lnTo>
                    <a:pt x="79" y="353"/>
                  </a:lnTo>
                  <a:lnTo>
                    <a:pt x="77" y="353"/>
                  </a:lnTo>
                  <a:lnTo>
                    <a:pt x="77" y="355"/>
                  </a:lnTo>
                  <a:lnTo>
                    <a:pt x="77" y="353"/>
                  </a:lnTo>
                  <a:lnTo>
                    <a:pt x="77" y="355"/>
                  </a:lnTo>
                  <a:lnTo>
                    <a:pt x="77" y="353"/>
                  </a:lnTo>
                  <a:lnTo>
                    <a:pt x="77" y="355"/>
                  </a:lnTo>
                  <a:lnTo>
                    <a:pt x="75" y="355"/>
                  </a:lnTo>
                  <a:lnTo>
                    <a:pt x="77" y="355"/>
                  </a:lnTo>
                  <a:lnTo>
                    <a:pt x="75" y="355"/>
                  </a:lnTo>
                  <a:lnTo>
                    <a:pt x="75" y="353"/>
                  </a:lnTo>
                  <a:lnTo>
                    <a:pt x="77" y="353"/>
                  </a:lnTo>
                  <a:lnTo>
                    <a:pt x="75" y="353"/>
                  </a:lnTo>
                  <a:lnTo>
                    <a:pt x="77" y="353"/>
                  </a:lnTo>
                  <a:lnTo>
                    <a:pt x="77" y="351"/>
                  </a:lnTo>
                  <a:lnTo>
                    <a:pt x="77" y="353"/>
                  </a:lnTo>
                  <a:lnTo>
                    <a:pt x="75" y="353"/>
                  </a:lnTo>
                  <a:lnTo>
                    <a:pt x="77" y="353"/>
                  </a:lnTo>
                  <a:lnTo>
                    <a:pt x="75" y="353"/>
                  </a:lnTo>
                  <a:lnTo>
                    <a:pt x="75" y="351"/>
                  </a:lnTo>
                  <a:lnTo>
                    <a:pt x="73" y="351"/>
                  </a:lnTo>
                  <a:lnTo>
                    <a:pt x="75" y="351"/>
                  </a:lnTo>
                  <a:lnTo>
                    <a:pt x="73" y="351"/>
                  </a:lnTo>
                  <a:lnTo>
                    <a:pt x="73" y="353"/>
                  </a:lnTo>
                  <a:lnTo>
                    <a:pt x="73" y="351"/>
                  </a:lnTo>
                  <a:lnTo>
                    <a:pt x="73" y="353"/>
                  </a:lnTo>
                  <a:lnTo>
                    <a:pt x="73" y="351"/>
                  </a:lnTo>
                  <a:lnTo>
                    <a:pt x="73" y="353"/>
                  </a:lnTo>
                  <a:lnTo>
                    <a:pt x="71" y="353"/>
                  </a:lnTo>
                  <a:lnTo>
                    <a:pt x="71" y="351"/>
                  </a:lnTo>
                  <a:lnTo>
                    <a:pt x="71" y="353"/>
                  </a:lnTo>
                  <a:lnTo>
                    <a:pt x="69" y="353"/>
                  </a:lnTo>
                  <a:lnTo>
                    <a:pt x="67" y="353"/>
                  </a:lnTo>
                  <a:lnTo>
                    <a:pt x="69" y="353"/>
                  </a:lnTo>
                  <a:lnTo>
                    <a:pt x="67" y="353"/>
                  </a:lnTo>
                  <a:lnTo>
                    <a:pt x="67" y="355"/>
                  </a:lnTo>
                  <a:lnTo>
                    <a:pt x="66" y="355"/>
                  </a:lnTo>
                  <a:lnTo>
                    <a:pt x="67" y="355"/>
                  </a:lnTo>
                  <a:lnTo>
                    <a:pt x="66" y="355"/>
                  </a:lnTo>
                  <a:lnTo>
                    <a:pt x="64" y="355"/>
                  </a:lnTo>
                  <a:lnTo>
                    <a:pt x="66" y="355"/>
                  </a:lnTo>
                  <a:lnTo>
                    <a:pt x="64" y="355"/>
                  </a:lnTo>
                  <a:lnTo>
                    <a:pt x="62" y="355"/>
                  </a:lnTo>
                  <a:lnTo>
                    <a:pt x="62" y="357"/>
                  </a:lnTo>
                  <a:lnTo>
                    <a:pt x="62" y="355"/>
                  </a:lnTo>
                  <a:lnTo>
                    <a:pt x="62" y="357"/>
                  </a:lnTo>
                  <a:lnTo>
                    <a:pt x="62" y="355"/>
                  </a:lnTo>
                  <a:lnTo>
                    <a:pt x="62" y="357"/>
                  </a:lnTo>
                  <a:lnTo>
                    <a:pt x="60" y="357"/>
                  </a:lnTo>
                  <a:lnTo>
                    <a:pt x="60" y="355"/>
                  </a:lnTo>
                  <a:lnTo>
                    <a:pt x="62" y="355"/>
                  </a:lnTo>
                  <a:lnTo>
                    <a:pt x="64" y="355"/>
                  </a:lnTo>
                  <a:lnTo>
                    <a:pt x="64" y="353"/>
                  </a:lnTo>
                  <a:lnTo>
                    <a:pt x="64" y="355"/>
                  </a:lnTo>
                  <a:lnTo>
                    <a:pt x="64" y="353"/>
                  </a:lnTo>
                  <a:lnTo>
                    <a:pt x="64" y="355"/>
                  </a:lnTo>
                  <a:lnTo>
                    <a:pt x="62" y="355"/>
                  </a:lnTo>
                  <a:lnTo>
                    <a:pt x="62" y="353"/>
                  </a:lnTo>
                  <a:lnTo>
                    <a:pt x="62" y="355"/>
                  </a:lnTo>
                  <a:lnTo>
                    <a:pt x="62" y="353"/>
                  </a:lnTo>
                  <a:lnTo>
                    <a:pt x="64" y="353"/>
                  </a:lnTo>
                  <a:lnTo>
                    <a:pt x="64" y="351"/>
                  </a:lnTo>
                  <a:lnTo>
                    <a:pt x="62" y="351"/>
                  </a:lnTo>
                  <a:lnTo>
                    <a:pt x="62" y="353"/>
                  </a:lnTo>
                  <a:lnTo>
                    <a:pt x="62" y="355"/>
                  </a:lnTo>
                  <a:lnTo>
                    <a:pt x="60" y="355"/>
                  </a:lnTo>
                  <a:lnTo>
                    <a:pt x="60" y="357"/>
                  </a:lnTo>
                  <a:lnTo>
                    <a:pt x="58" y="357"/>
                  </a:lnTo>
                  <a:lnTo>
                    <a:pt x="60" y="357"/>
                  </a:lnTo>
                  <a:lnTo>
                    <a:pt x="58" y="357"/>
                  </a:lnTo>
                  <a:lnTo>
                    <a:pt x="60" y="357"/>
                  </a:lnTo>
                  <a:lnTo>
                    <a:pt x="58" y="357"/>
                  </a:lnTo>
                  <a:lnTo>
                    <a:pt x="58" y="359"/>
                  </a:lnTo>
                  <a:lnTo>
                    <a:pt x="60" y="359"/>
                  </a:lnTo>
                  <a:lnTo>
                    <a:pt x="58" y="359"/>
                  </a:lnTo>
                  <a:lnTo>
                    <a:pt x="60" y="359"/>
                  </a:lnTo>
                  <a:lnTo>
                    <a:pt x="58" y="359"/>
                  </a:lnTo>
                  <a:lnTo>
                    <a:pt x="56" y="359"/>
                  </a:lnTo>
                  <a:lnTo>
                    <a:pt x="54" y="359"/>
                  </a:lnTo>
                  <a:lnTo>
                    <a:pt x="56" y="359"/>
                  </a:lnTo>
                  <a:lnTo>
                    <a:pt x="56" y="357"/>
                  </a:lnTo>
                  <a:lnTo>
                    <a:pt x="58" y="357"/>
                  </a:lnTo>
                  <a:lnTo>
                    <a:pt x="58" y="355"/>
                  </a:lnTo>
                  <a:lnTo>
                    <a:pt x="58" y="357"/>
                  </a:lnTo>
                  <a:lnTo>
                    <a:pt x="58" y="355"/>
                  </a:lnTo>
                  <a:lnTo>
                    <a:pt x="60" y="355"/>
                  </a:lnTo>
                  <a:lnTo>
                    <a:pt x="60" y="353"/>
                  </a:lnTo>
                  <a:lnTo>
                    <a:pt x="60" y="355"/>
                  </a:lnTo>
                  <a:lnTo>
                    <a:pt x="58" y="355"/>
                  </a:lnTo>
                  <a:lnTo>
                    <a:pt x="60" y="355"/>
                  </a:lnTo>
                  <a:lnTo>
                    <a:pt x="58" y="355"/>
                  </a:lnTo>
                  <a:lnTo>
                    <a:pt x="58" y="357"/>
                  </a:lnTo>
                  <a:lnTo>
                    <a:pt x="58" y="355"/>
                  </a:lnTo>
                  <a:lnTo>
                    <a:pt x="58" y="357"/>
                  </a:lnTo>
                  <a:lnTo>
                    <a:pt x="58" y="355"/>
                  </a:lnTo>
                  <a:lnTo>
                    <a:pt x="56" y="355"/>
                  </a:lnTo>
                  <a:lnTo>
                    <a:pt x="58" y="355"/>
                  </a:lnTo>
                  <a:lnTo>
                    <a:pt x="56" y="355"/>
                  </a:lnTo>
                  <a:lnTo>
                    <a:pt x="58" y="355"/>
                  </a:lnTo>
                  <a:lnTo>
                    <a:pt x="56" y="355"/>
                  </a:lnTo>
                  <a:lnTo>
                    <a:pt x="58" y="355"/>
                  </a:lnTo>
                  <a:lnTo>
                    <a:pt x="56" y="355"/>
                  </a:lnTo>
                  <a:lnTo>
                    <a:pt x="56" y="353"/>
                  </a:lnTo>
                  <a:lnTo>
                    <a:pt x="58" y="353"/>
                  </a:lnTo>
                  <a:lnTo>
                    <a:pt x="56" y="353"/>
                  </a:lnTo>
                  <a:lnTo>
                    <a:pt x="56" y="355"/>
                  </a:lnTo>
                  <a:lnTo>
                    <a:pt x="56" y="357"/>
                  </a:lnTo>
                  <a:lnTo>
                    <a:pt x="56" y="355"/>
                  </a:lnTo>
                  <a:lnTo>
                    <a:pt x="54" y="355"/>
                  </a:lnTo>
                  <a:lnTo>
                    <a:pt x="56" y="355"/>
                  </a:lnTo>
                  <a:lnTo>
                    <a:pt x="54" y="355"/>
                  </a:lnTo>
                  <a:lnTo>
                    <a:pt x="56" y="355"/>
                  </a:lnTo>
                  <a:lnTo>
                    <a:pt x="54" y="355"/>
                  </a:lnTo>
                  <a:lnTo>
                    <a:pt x="56" y="355"/>
                  </a:lnTo>
                  <a:lnTo>
                    <a:pt x="56" y="357"/>
                  </a:lnTo>
                  <a:lnTo>
                    <a:pt x="56" y="355"/>
                  </a:lnTo>
                  <a:lnTo>
                    <a:pt x="56" y="357"/>
                  </a:lnTo>
                  <a:lnTo>
                    <a:pt x="56" y="355"/>
                  </a:lnTo>
                  <a:lnTo>
                    <a:pt x="54" y="355"/>
                  </a:lnTo>
                  <a:lnTo>
                    <a:pt x="54" y="357"/>
                  </a:lnTo>
                  <a:lnTo>
                    <a:pt x="54" y="355"/>
                  </a:lnTo>
                  <a:lnTo>
                    <a:pt x="54" y="357"/>
                  </a:lnTo>
                  <a:lnTo>
                    <a:pt x="56" y="357"/>
                  </a:lnTo>
                  <a:lnTo>
                    <a:pt x="54" y="357"/>
                  </a:lnTo>
                  <a:lnTo>
                    <a:pt x="54" y="355"/>
                  </a:lnTo>
                  <a:lnTo>
                    <a:pt x="52" y="355"/>
                  </a:lnTo>
                  <a:lnTo>
                    <a:pt x="52" y="353"/>
                  </a:lnTo>
                  <a:lnTo>
                    <a:pt x="54" y="353"/>
                  </a:lnTo>
                  <a:lnTo>
                    <a:pt x="52" y="353"/>
                  </a:lnTo>
                  <a:lnTo>
                    <a:pt x="52" y="355"/>
                  </a:lnTo>
                  <a:lnTo>
                    <a:pt x="54" y="355"/>
                  </a:lnTo>
                  <a:lnTo>
                    <a:pt x="54" y="353"/>
                  </a:lnTo>
                  <a:lnTo>
                    <a:pt x="54" y="355"/>
                  </a:lnTo>
                  <a:lnTo>
                    <a:pt x="56" y="355"/>
                  </a:lnTo>
                  <a:lnTo>
                    <a:pt x="56" y="353"/>
                  </a:lnTo>
                  <a:lnTo>
                    <a:pt x="56" y="355"/>
                  </a:lnTo>
                  <a:lnTo>
                    <a:pt x="56" y="353"/>
                  </a:lnTo>
                  <a:lnTo>
                    <a:pt x="58" y="353"/>
                  </a:lnTo>
                  <a:lnTo>
                    <a:pt x="56" y="353"/>
                  </a:lnTo>
                  <a:lnTo>
                    <a:pt x="58" y="353"/>
                  </a:lnTo>
                  <a:lnTo>
                    <a:pt x="58" y="351"/>
                  </a:lnTo>
                  <a:lnTo>
                    <a:pt x="58" y="353"/>
                  </a:lnTo>
                  <a:lnTo>
                    <a:pt x="58" y="351"/>
                  </a:lnTo>
                  <a:lnTo>
                    <a:pt x="58" y="353"/>
                  </a:lnTo>
                  <a:lnTo>
                    <a:pt x="60" y="353"/>
                  </a:lnTo>
                  <a:lnTo>
                    <a:pt x="60" y="351"/>
                  </a:lnTo>
                  <a:lnTo>
                    <a:pt x="58" y="351"/>
                  </a:lnTo>
                  <a:lnTo>
                    <a:pt x="56" y="351"/>
                  </a:lnTo>
                  <a:lnTo>
                    <a:pt x="56" y="353"/>
                  </a:lnTo>
                  <a:lnTo>
                    <a:pt x="56" y="351"/>
                  </a:lnTo>
                  <a:lnTo>
                    <a:pt x="56" y="353"/>
                  </a:lnTo>
                  <a:lnTo>
                    <a:pt x="56" y="351"/>
                  </a:lnTo>
                  <a:lnTo>
                    <a:pt x="56" y="353"/>
                  </a:lnTo>
                  <a:lnTo>
                    <a:pt x="56" y="351"/>
                  </a:lnTo>
                  <a:lnTo>
                    <a:pt x="56" y="350"/>
                  </a:lnTo>
                  <a:lnTo>
                    <a:pt x="56" y="351"/>
                  </a:lnTo>
                  <a:lnTo>
                    <a:pt x="54" y="351"/>
                  </a:lnTo>
                  <a:lnTo>
                    <a:pt x="56" y="351"/>
                  </a:lnTo>
                  <a:lnTo>
                    <a:pt x="56" y="350"/>
                  </a:lnTo>
                  <a:lnTo>
                    <a:pt x="54" y="350"/>
                  </a:lnTo>
                  <a:lnTo>
                    <a:pt x="54" y="348"/>
                  </a:lnTo>
                  <a:lnTo>
                    <a:pt x="54" y="346"/>
                  </a:lnTo>
                  <a:lnTo>
                    <a:pt x="56" y="346"/>
                  </a:lnTo>
                  <a:lnTo>
                    <a:pt x="54" y="346"/>
                  </a:lnTo>
                  <a:lnTo>
                    <a:pt x="56" y="346"/>
                  </a:lnTo>
                  <a:lnTo>
                    <a:pt x="56" y="344"/>
                  </a:lnTo>
                  <a:lnTo>
                    <a:pt x="54" y="344"/>
                  </a:lnTo>
                  <a:lnTo>
                    <a:pt x="54" y="346"/>
                  </a:lnTo>
                  <a:lnTo>
                    <a:pt x="52" y="346"/>
                  </a:lnTo>
                  <a:lnTo>
                    <a:pt x="52" y="348"/>
                  </a:lnTo>
                  <a:lnTo>
                    <a:pt x="50" y="348"/>
                  </a:lnTo>
                  <a:lnTo>
                    <a:pt x="48" y="348"/>
                  </a:lnTo>
                  <a:lnTo>
                    <a:pt x="50" y="348"/>
                  </a:lnTo>
                  <a:lnTo>
                    <a:pt x="50" y="346"/>
                  </a:lnTo>
                  <a:lnTo>
                    <a:pt x="50" y="348"/>
                  </a:lnTo>
                  <a:lnTo>
                    <a:pt x="50" y="346"/>
                  </a:lnTo>
                  <a:lnTo>
                    <a:pt x="48" y="346"/>
                  </a:lnTo>
                  <a:lnTo>
                    <a:pt x="50" y="346"/>
                  </a:lnTo>
                  <a:lnTo>
                    <a:pt x="48" y="346"/>
                  </a:lnTo>
                  <a:lnTo>
                    <a:pt x="48" y="348"/>
                  </a:lnTo>
                  <a:lnTo>
                    <a:pt x="48" y="346"/>
                  </a:lnTo>
                  <a:lnTo>
                    <a:pt x="48" y="344"/>
                  </a:lnTo>
                  <a:lnTo>
                    <a:pt x="50" y="344"/>
                  </a:lnTo>
                  <a:lnTo>
                    <a:pt x="50" y="342"/>
                  </a:lnTo>
                  <a:lnTo>
                    <a:pt x="50" y="344"/>
                  </a:lnTo>
                  <a:lnTo>
                    <a:pt x="48" y="344"/>
                  </a:lnTo>
                  <a:lnTo>
                    <a:pt x="48" y="342"/>
                  </a:lnTo>
                  <a:lnTo>
                    <a:pt x="48" y="344"/>
                  </a:lnTo>
                  <a:lnTo>
                    <a:pt x="48" y="342"/>
                  </a:lnTo>
                  <a:lnTo>
                    <a:pt x="46" y="342"/>
                  </a:lnTo>
                  <a:lnTo>
                    <a:pt x="48" y="342"/>
                  </a:lnTo>
                  <a:lnTo>
                    <a:pt x="46" y="342"/>
                  </a:lnTo>
                  <a:lnTo>
                    <a:pt x="48" y="342"/>
                  </a:lnTo>
                  <a:lnTo>
                    <a:pt x="46" y="342"/>
                  </a:lnTo>
                  <a:lnTo>
                    <a:pt x="46" y="344"/>
                  </a:lnTo>
                  <a:lnTo>
                    <a:pt x="44" y="344"/>
                  </a:lnTo>
                  <a:lnTo>
                    <a:pt x="44" y="342"/>
                  </a:lnTo>
                  <a:lnTo>
                    <a:pt x="46" y="342"/>
                  </a:lnTo>
                  <a:lnTo>
                    <a:pt x="44" y="342"/>
                  </a:lnTo>
                  <a:lnTo>
                    <a:pt x="44" y="340"/>
                  </a:lnTo>
                  <a:lnTo>
                    <a:pt x="44" y="342"/>
                  </a:lnTo>
                  <a:lnTo>
                    <a:pt x="44" y="340"/>
                  </a:lnTo>
                  <a:lnTo>
                    <a:pt x="43" y="340"/>
                  </a:lnTo>
                  <a:lnTo>
                    <a:pt x="43" y="342"/>
                  </a:lnTo>
                  <a:lnTo>
                    <a:pt x="43" y="340"/>
                  </a:lnTo>
                  <a:lnTo>
                    <a:pt x="43" y="342"/>
                  </a:lnTo>
                  <a:lnTo>
                    <a:pt x="43" y="340"/>
                  </a:lnTo>
                  <a:lnTo>
                    <a:pt x="43" y="342"/>
                  </a:lnTo>
                  <a:lnTo>
                    <a:pt x="43" y="340"/>
                  </a:lnTo>
                  <a:lnTo>
                    <a:pt x="43" y="342"/>
                  </a:lnTo>
                  <a:lnTo>
                    <a:pt x="43" y="340"/>
                  </a:lnTo>
                  <a:lnTo>
                    <a:pt x="41" y="340"/>
                  </a:lnTo>
                  <a:lnTo>
                    <a:pt x="41" y="338"/>
                  </a:lnTo>
                  <a:lnTo>
                    <a:pt x="41" y="340"/>
                  </a:lnTo>
                  <a:lnTo>
                    <a:pt x="41" y="338"/>
                  </a:lnTo>
                  <a:lnTo>
                    <a:pt x="39" y="338"/>
                  </a:lnTo>
                  <a:lnTo>
                    <a:pt x="39" y="340"/>
                  </a:lnTo>
                  <a:lnTo>
                    <a:pt x="37" y="340"/>
                  </a:lnTo>
                  <a:lnTo>
                    <a:pt x="39" y="340"/>
                  </a:lnTo>
                  <a:lnTo>
                    <a:pt x="39" y="338"/>
                  </a:lnTo>
                  <a:lnTo>
                    <a:pt x="37" y="338"/>
                  </a:lnTo>
                  <a:lnTo>
                    <a:pt x="39" y="338"/>
                  </a:lnTo>
                  <a:lnTo>
                    <a:pt x="39" y="336"/>
                  </a:lnTo>
                  <a:lnTo>
                    <a:pt x="37" y="336"/>
                  </a:lnTo>
                  <a:lnTo>
                    <a:pt x="37" y="338"/>
                  </a:lnTo>
                  <a:lnTo>
                    <a:pt x="35" y="338"/>
                  </a:lnTo>
                  <a:lnTo>
                    <a:pt x="35" y="340"/>
                  </a:lnTo>
                  <a:lnTo>
                    <a:pt x="35" y="338"/>
                  </a:lnTo>
                  <a:lnTo>
                    <a:pt x="33" y="338"/>
                  </a:lnTo>
                  <a:lnTo>
                    <a:pt x="33" y="336"/>
                  </a:lnTo>
                  <a:lnTo>
                    <a:pt x="33" y="334"/>
                  </a:lnTo>
                  <a:lnTo>
                    <a:pt x="33" y="336"/>
                  </a:lnTo>
                  <a:lnTo>
                    <a:pt x="33" y="334"/>
                  </a:lnTo>
                  <a:lnTo>
                    <a:pt x="33" y="336"/>
                  </a:lnTo>
                  <a:lnTo>
                    <a:pt x="33" y="334"/>
                  </a:lnTo>
                  <a:lnTo>
                    <a:pt x="31" y="334"/>
                  </a:lnTo>
                  <a:lnTo>
                    <a:pt x="33" y="334"/>
                  </a:lnTo>
                  <a:lnTo>
                    <a:pt x="31" y="334"/>
                  </a:lnTo>
                  <a:lnTo>
                    <a:pt x="31" y="332"/>
                  </a:lnTo>
                  <a:lnTo>
                    <a:pt x="33" y="332"/>
                  </a:lnTo>
                  <a:lnTo>
                    <a:pt x="31" y="332"/>
                  </a:lnTo>
                  <a:lnTo>
                    <a:pt x="33" y="332"/>
                  </a:lnTo>
                  <a:lnTo>
                    <a:pt x="31" y="330"/>
                  </a:lnTo>
                  <a:lnTo>
                    <a:pt x="33" y="330"/>
                  </a:lnTo>
                  <a:lnTo>
                    <a:pt x="31" y="330"/>
                  </a:lnTo>
                  <a:lnTo>
                    <a:pt x="33" y="330"/>
                  </a:lnTo>
                  <a:lnTo>
                    <a:pt x="31" y="330"/>
                  </a:lnTo>
                  <a:lnTo>
                    <a:pt x="33" y="330"/>
                  </a:lnTo>
                  <a:lnTo>
                    <a:pt x="31" y="330"/>
                  </a:lnTo>
                  <a:lnTo>
                    <a:pt x="31" y="328"/>
                  </a:lnTo>
                  <a:lnTo>
                    <a:pt x="31" y="330"/>
                  </a:lnTo>
                  <a:lnTo>
                    <a:pt x="31" y="328"/>
                  </a:lnTo>
                  <a:lnTo>
                    <a:pt x="33" y="328"/>
                  </a:lnTo>
                  <a:lnTo>
                    <a:pt x="33" y="326"/>
                  </a:lnTo>
                  <a:lnTo>
                    <a:pt x="31" y="326"/>
                  </a:lnTo>
                  <a:lnTo>
                    <a:pt x="29" y="326"/>
                  </a:lnTo>
                  <a:lnTo>
                    <a:pt x="31" y="326"/>
                  </a:lnTo>
                  <a:lnTo>
                    <a:pt x="31" y="328"/>
                  </a:lnTo>
                  <a:lnTo>
                    <a:pt x="31" y="326"/>
                  </a:lnTo>
                  <a:lnTo>
                    <a:pt x="31" y="328"/>
                  </a:lnTo>
                  <a:lnTo>
                    <a:pt x="31" y="326"/>
                  </a:lnTo>
                  <a:lnTo>
                    <a:pt x="29" y="326"/>
                  </a:lnTo>
                  <a:lnTo>
                    <a:pt x="29" y="328"/>
                  </a:lnTo>
                  <a:lnTo>
                    <a:pt x="29" y="326"/>
                  </a:lnTo>
                  <a:lnTo>
                    <a:pt x="31" y="326"/>
                  </a:lnTo>
                  <a:lnTo>
                    <a:pt x="31" y="325"/>
                  </a:lnTo>
                  <a:lnTo>
                    <a:pt x="29" y="325"/>
                  </a:lnTo>
                  <a:lnTo>
                    <a:pt x="31" y="325"/>
                  </a:lnTo>
                  <a:lnTo>
                    <a:pt x="29" y="325"/>
                  </a:lnTo>
                  <a:lnTo>
                    <a:pt x="31" y="325"/>
                  </a:lnTo>
                  <a:lnTo>
                    <a:pt x="31" y="326"/>
                  </a:lnTo>
                  <a:lnTo>
                    <a:pt x="33" y="326"/>
                  </a:lnTo>
                  <a:lnTo>
                    <a:pt x="31" y="326"/>
                  </a:lnTo>
                  <a:lnTo>
                    <a:pt x="33" y="326"/>
                  </a:lnTo>
                  <a:lnTo>
                    <a:pt x="31" y="326"/>
                  </a:lnTo>
                  <a:lnTo>
                    <a:pt x="33" y="326"/>
                  </a:lnTo>
                  <a:lnTo>
                    <a:pt x="33" y="325"/>
                  </a:lnTo>
                  <a:lnTo>
                    <a:pt x="33" y="326"/>
                  </a:lnTo>
                  <a:lnTo>
                    <a:pt x="33" y="325"/>
                  </a:lnTo>
                  <a:lnTo>
                    <a:pt x="33" y="326"/>
                  </a:lnTo>
                  <a:lnTo>
                    <a:pt x="33" y="325"/>
                  </a:lnTo>
                  <a:lnTo>
                    <a:pt x="31" y="325"/>
                  </a:lnTo>
                  <a:lnTo>
                    <a:pt x="33" y="325"/>
                  </a:lnTo>
                  <a:lnTo>
                    <a:pt x="31" y="325"/>
                  </a:lnTo>
                  <a:lnTo>
                    <a:pt x="33" y="325"/>
                  </a:lnTo>
                  <a:lnTo>
                    <a:pt x="31" y="325"/>
                  </a:lnTo>
                  <a:lnTo>
                    <a:pt x="33" y="325"/>
                  </a:lnTo>
                  <a:lnTo>
                    <a:pt x="31" y="325"/>
                  </a:lnTo>
                  <a:lnTo>
                    <a:pt x="33" y="325"/>
                  </a:lnTo>
                  <a:lnTo>
                    <a:pt x="31" y="325"/>
                  </a:lnTo>
                  <a:lnTo>
                    <a:pt x="31" y="323"/>
                  </a:lnTo>
                  <a:lnTo>
                    <a:pt x="31" y="321"/>
                  </a:lnTo>
                  <a:lnTo>
                    <a:pt x="31" y="323"/>
                  </a:lnTo>
                  <a:lnTo>
                    <a:pt x="33" y="323"/>
                  </a:lnTo>
                  <a:lnTo>
                    <a:pt x="31" y="323"/>
                  </a:lnTo>
                  <a:lnTo>
                    <a:pt x="33" y="323"/>
                  </a:lnTo>
                  <a:lnTo>
                    <a:pt x="31" y="323"/>
                  </a:lnTo>
                  <a:lnTo>
                    <a:pt x="31" y="321"/>
                  </a:lnTo>
                  <a:lnTo>
                    <a:pt x="33" y="321"/>
                  </a:lnTo>
                  <a:lnTo>
                    <a:pt x="33" y="323"/>
                  </a:lnTo>
                  <a:lnTo>
                    <a:pt x="33" y="321"/>
                  </a:lnTo>
                  <a:lnTo>
                    <a:pt x="33" y="319"/>
                  </a:lnTo>
                  <a:lnTo>
                    <a:pt x="33" y="317"/>
                  </a:lnTo>
                  <a:lnTo>
                    <a:pt x="35" y="317"/>
                  </a:lnTo>
                  <a:lnTo>
                    <a:pt x="33" y="317"/>
                  </a:lnTo>
                  <a:lnTo>
                    <a:pt x="33" y="315"/>
                  </a:lnTo>
                  <a:lnTo>
                    <a:pt x="35" y="315"/>
                  </a:lnTo>
                  <a:lnTo>
                    <a:pt x="33" y="315"/>
                  </a:lnTo>
                  <a:lnTo>
                    <a:pt x="35" y="315"/>
                  </a:lnTo>
                  <a:lnTo>
                    <a:pt x="33" y="315"/>
                  </a:lnTo>
                  <a:lnTo>
                    <a:pt x="35" y="315"/>
                  </a:lnTo>
                  <a:lnTo>
                    <a:pt x="35" y="313"/>
                  </a:lnTo>
                  <a:lnTo>
                    <a:pt x="33" y="313"/>
                  </a:lnTo>
                  <a:lnTo>
                    <a:pt x="35" y="313"/>
                  </a:lnTo>
                  <a:lnTo>
                    <a:pt x="33" y="313"/>
                  </a:lnTo>
                  <a:lnTo>
                    <a:pt x="35" y="313"/>
                  </a:lnTo>
                  <a:lnTo>
                    <a:pt x="33" y="313"/>
                  </a:lnTo>
                  <a:lnTo>
                    <a:pt x="35" y="313"/>
                  </a:lnTo>
                  <a:lnTo>
                    <a:pt x="33" y="313"/>
                  </a:lnTo>
                  <a:lnTo>
                    <a:pt x="35" y="313"/>
                  </a:lnTo>
                  <a:lnTo>
                    <a:pt x="33" y="313"/>
                  </a:lnTo>
                  <a:lnTo>
                    <a:pt x="33" y="311"/>
                  </a:lnTo>
                  <a:lnTo>
                    <a:pt x="35" y="311"/>
                  </a:lnTo>
                  <a:lnTo>
                    <a:pt x="35" y="309"/>
                  </a:lnTo>
                  <a:lnTo>
                    <a:pt x="33" y="309"/>
                  </a:lnTo>
                  <a:lnTo>
                    <a:pt x="35" y="309"/>
                  </a:lnTo>
                  <a:lnTo>
                    <a:pt x="33" y="309"/>
                  </a:lnTo>
                  <a:lnTo>
                    <a:pt x="35" y="309"/>
                  </a:lnTo>
                  <a:lnTo>
                    <a:pt x="35" y="307"/>
                  </a:lnTo>
                  <a:lnTo>
                    <a:pt x="33" y="307"/>
                  </a:lnTo>
                  <a:lnTo>
                    <a:pt x="33" y="305"/>
                  </a:lnTo>
                  <a:lnTo>
                    <a:pt x="35" y="305"/>
                  </a:lnTo>
                  <a:lnTo>
                    <a:pt x="33" y="305"/>
                  </a:lnTo>
                  <a:lnTo>
                    <a:pt x="35" y="305"/>
                  </a:lnTo>
                  <a:lnTo>
                    <a:pt x="35" y="307"/>
                  </a:lnTo>
                  <a:lnTo>
                    <a:pt x="37" y="307"/>
                  </a:lnTo>
                  <a:lnTo>
                    <a:pt x="35" y="307"/>
                  </a:lnTo>
                  <a:lnTo>
                    <a:pt x="37" y="307"/>
                  </a:lnTo>
                  <a:lnTo>
                    <a:pt x="35" y="307"/>
                  </a:lnTo>
                  <a:lnTo>
                    <a:pt x="35" y="305"/>
                  </a:lnTo>
                  <a:lnTo>
                    <a:pt x="35" y="303"/>
                  </a:lnTo>
                  <a:lnTo>
                    <a:pt x="33" y="303"/>
                  </a:lnTo>
                  <a:lnTo>
                    <a:pt x="35" y="303"/>
                  </a:lnTo>
                  <a:lnTo>
                    <a:pt x="33" y="303"/>
                  </a:lnTo>
                  <a:lnTo>
                    <a:pt x="35" y="303"/>
                  </a:lnTo>
                  <a:lnTo>
                    <a:pt x="33" y="303"/>
                  </a:lnTo>
                  <a:lnTo>
                    <a:pt x="35" y="303"/>
                  </a:lnTo>
                  <a:lnTo>
                    <a:pt x="33" y="303"/>
                  </a:lnTo>
                  <a:lnTo>
                    <a:pt x="35" y="303"/>
                  </a:lnTo>
                  <a:lnTo>
                    <a:pt x="33" y="303"/>
                  </a:lnTo>
                  <a:lnTo>
                    <a:pt x="33" y="302"/>
                  </a:lnTo>
                  <a:lnTo>
                    <a:pt x="35" y="302"/>
                  </a:lnTo>
                  <a:lnTo>
                    <a:pt x="35" y="303"/>
                  </a:lnTo>
                  <a:lnTo>
                    <a:pt x="35" y="302"/>
                  </a:lnTo>
                  <a:lnTo>
                    <a:pt x="33" y="302"/>
                  </a:lnTo>
                  <a:lnTo>
                    <a:pt x="33" y="300"/>
                  </a:lnTo>
                  <a:lnTo>
                    <a:pt x="33" y="302"/>
                  </a:lnTo>
                  <a:lnTo>
                    <a:pt x="35" y="302"/>
                  </a:lnTo>
                  <a:lnTo>
                    <a:pt x="33" y="302"/>
                  </a:lnTo>
                  <a:lnTo>
                    <a:pt x="33" y="300"/>
                  </a:lnTo>
                  <a:lnTo>
                    <a:pt x="33" y="298"/>
                  </a:lnTo>
                  <a:lnTo>
                    <a:pt x="33" y="300"/>
                  </a:lnTo>
                  <a:lnTo>
                    <a:pt x="33" y="298"/>
                  </a:lnTo>
                  <a:lnTo>
                    <a:pt x="33" y="296"/>
                  </a:lnTo>
                  <a:lnTo>
                    <a:pt x="31" y="296"/>
                  </a:lnTo>
                  <a:lnTo>
                    <a:pt x="33" y="296"/>
                  </a:lnTo>
                  <a:lnTo>
                    <a:pt x="31" y="296"/>
                  </a:lnTo>
                  <a:lnTo>
                    <a:pt x="31" y="294"/>
                  </a:lnTo>
                  <a:lnTo>
                    <a:pt x="31" y="292"/>
                  </a:lnTo>
                  <a:lnTo>
                    <a:pt x="31" y="290"/>
                  </a:lnTo>
                  <a:lnTo>
                    <a:pt x="31" y="288"/>
                  </a:lnTo>
                  <a:lnTo>
                    <a:pt x="31" y="290"/>
                  </a:lnTo>
                  <a:lnTo>
                    <a:pt x="31" y="288"/>
                  </a:lnTo>
                  <a:lnTo>
                    <a:pt x="31" y="290"/>
                  </a:lnTo>
                  <a:lnTo>
                    <a:pt x="31" y="288"/>
                  </a:lnTo>
                  <a:lnTo>
                    <a:pt x="31" y="290"/>
                  </a:lnTo>
                  <a:lnTo>
                    <a:pt x="31" y="288"/>
                  </a:lnTo>
                  <a:lnTo>
                    <a:pt x="31" y="290"/>
                  </a:lnTo>
                  <a:lnTo>
                    <a:pt x="31" y="288"/>
                  </a:lnTo>
                  <a:lnTo>
                    <a:pt x="33" y="288"/>
                  </a:lnTo>
                  <a:lnTo>
                    <a:pt x="33" y="286"/>
                  </a:lnTo>
                  <a:lnTo>
                    <a:pt x="33" y="288"/>
                  </a:lnTo>
                  <a:lnTo>
                    <a:pt x="31" y="288"/>
                  </a:lnTo>
                  <a:lnTo>
                    <a:pt x="31" y="286"/>
                  </a:lnTo>
                  <a:lnTo>
                    <a:pt x="31" y="288"/>
                  </a:lnTo>
                  <a:lnTo>
                    <a:pt x="31" y="286"/>
                  </a:lnTo>
                  <a:lnTo>
                    <a:pt x="33" y="286"/>
                  </a:lnTo>
                  <a:lnTo>
                    <a:pt x="31" y="286"/>
                  </a:lnTo>
                  <a:lnTo>
                    <a:pt x="31" y="284"/>
                  </a:lnTo>
                  <a:lnTo>
                    <a:pt x="31" y="286"/>
                  </a:lnTo>
                  <a:lnTo>
                    <a:pt x="31" y="284"/>
                  </a:lnTo>
                  <a:lnTo>
                    <a:pt x="31" y="282"/>
                  </a:lnTo>
                  <a:lnTo>
                    <a:pt x="31" y="284"/>
                  </a:lnTo>
                  <a:lnTo>
                    <a:pt x="31" y="282"/>
                  </a:lnTo>
                  <a:lnTo>
                    <a:pt x="31" y="284"/>
                  </a:lnTo>
                  <a:lnTo>
                    <a:pt x="31" y="282"/>
                  </a:lnTo>
                  <a:lnTo>
                    <a:pt x="31" y="280"/>
                  </a:lnTo>
                  <a:lnTo>
                    <a:pt x="29" y="280"/>
                  </a:lnTo>
                  <a:lnTo>
                    <a:pt x="29" y="282"/>
                  </a:lnTo>
                  <a:lnTo>
                    <a:pt x="29" y="280"/>
                  </a:lnTo>
                  <a:lnTo>
                    <a:pt x="29" y="282"/>
                  </a:lnTo>
                  <a:lnTo>
                    <a:pt x="29" y="280"/>
                  </a:lnTo>
                  <a:lnTo>
                    <a:pt x="29" y="278"/>
                  </a:lnTo>
                  <a:lnTo>
                    <a:pt x="27" y="278"/>
                  </a:lnTo>
                  <a:lnTo>
                    <a:pt x="29" y="278"/>
                  </a:lnTo>
                  <a:lnTo>
                    <a:pt x="27" y="278"/>
                  </a:lnTo>
                  <a:lnTo>
                    <a:pt x="27" y="277"/>
                  </a:lnTo>
                  <a:lnTo>
                    <a:pt x="29" y="277"/>
                  </a:lnTo>
                  <a:lnTo>
                    <a:pt x="27" y="277"/>
                  </a:lnTo>
                  <a:lnTo>
                    <a:pt x="29" y="277"/>
                  </a:lnTo>
                  <a:lnTo>
                    <a:pt x="29" y="275"/>
                  </a:lnTo>
                  <a:lnTo>
                    <a:pt x="29" y="277"/>
                  </a:lnTo>
                  <a:lnTo>
                    <a:pt x="29" y="275"/>
                  </a:lnTo>
                  <a:lnTo>
                    <a:pt x="27" y="275"/>
                  </a:lnTo>
                  <a:lnTo>
                    <a:pt x="29" y="275"/>
                  </a:lnTo>
                  <a:lnTo>
                    <a:pt x="27" y="275"/>
                  </a:lnTo>
                  <a:lnTo>
                    <a:pt x="29" y="275"/>
                  </a:lnTo>
                  <a:lnTo>
                    <a:pt x="27" y="275"/>
                  </a:lnTo>
                  <a:lnTo>
                    <a:pt x="29" y="275"/>
                  </a:lnTo>
                  <a:lnTo>
                    <a:pt x="27" y="275"/>
                  </a:lnTo>
                  <a:lnTo>
                    <a:pt x="27" y="273"/>
                  </a:lnTo>
                  <a:lnTo>
                    <a:pt x="29" y="273"/>
                  </a:lnTo>
                  <a:lnTo>
                    <a:pt x="27" y="273"/>
                  </a:lnTo>
                  <a:lnTo>
                    <a:pt x="27" y="275"/>
                  </a:lnTo>
                  <a:lnTo>
                    <a:pt x="27" y="273"/>
                  </a:lnTo>
                  <a:lnTo>
                    <a:pt x="27" y="271"/>
                  </a:lnTo>
                  <a:lnTo>
                    <a:pt x="29" y="271"/>
                  </a:lnTo>
                  <a:lnTo>
                    <a:pt x="29" y="269"/>
                  </a:lnTo>
                  <a:lnTo>
                    <a:pt x="29" y="271"/>
                  </a:lnTo>
                  <a:lnTo>
                    <a:pt x="29" y="269"/>
                  </a:lnTo>
                  <a:lnTo>
                    <a:pt x="27" y="269"/>
                  </a:lnTo>
                  <a:lnTo>
                    <a:pt x="27" y="267"/>
                  </a:lnTo>
                  <a:lnTo>
                    <a:pt x="29" y="267"/>
                  </a:lnTo>
                  <a:lnTo>
                    <a:pt x="29" y="269"/>
                  </a:lnTo>
                  <a:lnTo>
                    <a:pt x="29" y="267"/>
                  </a:lnTo>
                  <a:lnTo>
                    <a:pt x="29" y="265"/>
                  </a:lnTo>
                  <a:lnTo>
                    <a:pt x="31" y="265"/>
                  </a:lnTo>
                  <a:lnTo>
                    <a:pt x="33" y="265"/>
                  </a:lnTo>
                  <a:lnTo>
                    <a:pt x="33" y="263"/>
                  </a:lnTo>
                  <a:lnTo>
                    <a:pt x="33" y="261"/>
                  </a:lnTo>
                  <a:lnTo>
                    <a:pt x="31" y="261"/>
                  </a:lnTo>
                  <a:lnTo>
                    <a:pt x="33" y="261"/>
                  </a:lnTo>
                  <a:lnTo>
                    <a:pt x="33" y="259"/>
                  </a:lnTo>
                  <a:lnTo>
                    <a:pt x="31" y="259"/>
                  </a:lnTo>
                  <a:lnTo>
                    <a:pt x="33" y="259"/>
                  </a:lnTo>
                  <a:lnTo>
                    <a:pt x="31" y="259"/>
                  </a:lnTo>
                  <a:lnTo>
                    <a:pt x="33" y="259"/>
                  </a:lnTo>
                  <a:lnTo>
                    <a:pt x="31" y="259"/>
                  </a:lnTo>
                  <a:lnTo>
                    <a:pt x="33" y="259"/>
                  </a:lnTo>
                  <a:lnTo>
                    <a:pt x="31" y="259"/>
                  </a:lnTo>
                  <a:lnTo>
                    <a:pt x="33" y="259"/>
                  </a:lnTo>
                  <a:lnTo>
                    <a:pt x="31" y="259"/>
                  </a:lnTo>
                  <a:lnTo>
                    <a:pt x="33" y="259"/>
                  </a:lnTo>
                  <a:lnTo>
                    <a:pt x="31" y="259"/>
                  </a:lnTo>
                  <a:lnTo>
                    <a:pt x="33" y="259"/>
                  </a:lnTo>
                  <a:lnTo>
                    <a:pt x="33" y="261"/>
                  </a:lnTo>
                  <a:lnTo>
                    <a:pt x="33" y="259"/>
                  </a:lnTo>
                  <a:lnTo>
                    <a:pt x="35" y="259"/>
                  </a:lnTo>
                  <a:lnTo>
                    <a:pt x="35" y="261"/>
                  </a:lnTo>
                  <a:lnTo>
                    <a:pt x="37" y="261"/>
                  </a:lnTo>
                  <a:lnTo>
                    <a:pt x="37" y="259"/>
                  </a:lnTo>
                  <a:lnTo>
                    <a:pt x="35" y="259"/>
                  </a:lnTo>
                  <a:lnTo>
                    <a:pt x="35" y="257"/>
                  </a:lnTo>
                  <a:lnTo>
                    <a:pt x="35" y="259"/>
                  </a:lnTo>
                  <a:lnTo>
                    <a:pt x="35" y="257"/>
                  </a:lnTo>
                  <a:lnTo>
                    <a:pt x="35" y="255"/>
                  </a:lnTo>
                  <a:lnTo>
                    <a:pt x="33" y="255"/>
                  </a:lnTo>
                  <a:lnTo>
                    <a:pt x="35" y="255"/>
                  </a:lnTo>
                  <a:lnTo>
                    <a:pt x="33" y="255"/>
                  </a:lnTo>
                  <a:lnTo>
                    <a:pt x="33" y="257"/>
                  </a:lnTo>
                  <a:lnTo>
                    <a:pt x="35" y="257"/>
                  </a:lnTo>
                  <a:lnTo>
                    <a:pt x="33" y="257"/>
                  </a:lnTo>
                  <a:lnTo>
                    <a:pt x="33" y="255"/>
                  </a:lnTo>
                  <a:lnTo>
                    <a:pt x="33" y="257"/>
                  </a:lnTo>
                  <a:lnTo>
                    <a:pt x="33" y="255"/>
                  </a:lnTo>
                  <a:lnTo>
                    <a:pt x="35" y="255"/>
                  </a:lnTo>
                  <a:lnTo>
                    <a:pt x="33" y="255"/>
                  </a:lnTo>
                  <a:lnTo>
                    <a:pt x="33" y="254"/>
                  </a:lnTo>
                  <a:lnTo>
                    <a:pt x="35" y="254"/>
                  </a:lnTo>
                  <a:lnTo>
                    <a:pt x="35" y="252"/>
                  </a:lnTo>
                  <a:lnTo>
                    <a:pt x="35" y="254"/>
                  </a:lnTo>
                  <a:lnTo>
                    <a:pt x="35" y="255"/>
                  </a:lnTo>
                  <a:lnTo>
                    <a:pt x="35" y="254"/>
                  </a:lnTo>
                  <a:lnTo>
                    <a:pt x="35" y="255"/>
                  </a:lnTo>
                  <a:lnTo>
                    <a:pt x="37" y="255"/>
                  </a:lnTo>
                  <a:lnTo>
                    <a:pt x="37" y="254"/>
                  </a:lnTo>
                  <a:lnTo>
                    <a:pt x="37" y="255"/>
                  </a:lnTo>
                  <a:lnTo>
                    <a:pt x="37" y="254"/>
                  </a:lnTo>
                  <a:lnTo>
                    <a:pt x="39" y="254"/>
                  </a:lnTo>
                  <a:lnTo>
                    <a:pt x="37" y="254"/>
                  </a:lnTo>
                  <a:lnTo>
                    <a:pt x="39" y="254"/>
                  </a:lnTo>
                  <a:lnTo>
                    <a:pt x="37" y="254"/>
                  </a:lnTo>
                  <a:lnTo>
                    <a:pt x="39" y="254"/>
                  </a:lnTo>
                  <a:lnTo>
                    <a:pt x="37" y="254"/>
                  </a:lnTo>
                  <a:lnTo>
                    <a:pt x="39" y="254"/>
                  </a:lnTo>
                  <a:lnTo>
                    <a:pt x="41" y="254"/>
                  </a:lnTo>
                  <a:lnTo>
                    <a:pt x="39" y="254"/>
                  </a:lnTo>
                  <a:lnTo>
                    <a:pt x="41" y="254"/>
                  </a:lnTo>
                  <a:lnTo>
                    <a:pt x="41" y="255"/>
                  </a:lnTo>
                  <a:lnTo>
                    <a:pt x="39" y="255"/>
                  </a:lnTo>
                  <a:lnTo>
                    <a:pt x="41" y="255"/>
                  </a:lnTo>
                  <a:lnTo>
                    <a:pt x="41" y="257"/>
                  </a:lnTo>
                  <a:lnTo>
                    <a:pt x="41" y="255"/>
                  </a:lnTo>
                  <a:lnTo>
                    <a:pt x="41" y="257"/>
                  </a:lnTo>
                  <a:lnTo>
                    <a:pt x="41" y="255"/>
                  </a:lnTo>
                  <a:lnTo>
                    <a:pt x="41" y="254"/>
                  </a:lnTo>
                  <a:lnTo>
                    <a:pt x="43" y="254"/>
                  </a:lnTo>
                  <a:lnTo>
                    <a:pt x="43" y="255"/>
                  </a:lnTo>
                  <a:lnTo>
                    <a:pt x="43" y="254"/>
                  </a:lnTo>
                  <a:lnTo>
                    <a:pt x="44" y="254"/>
                  </a:lnTo>
                  <a:lnTo>
                    <a:pt x="44" y="252"/>
                  </a:lnTo>
                  <a:lnTo>
                    <a:pt x="46" y="252"/>
                  </a:lnTo>
                  <a:lnTo>
                    <a:pt x="46" y="250"/>
                  </a:lnTo>
                  <a:lnTo>
                    <a:pt x="44" y="250"/>
                  </a:lnTo>
                  <a:lnTo>
                    <a:pt x="44" y="248"/>
                  </a:lnTo>
                  <a:lnTo>
                    <a:pt x="44" y="246"/>
                  </a:lnTo>
                  <a:lnTo>
                    <a:pt x="46" y="246"/>
                  </a:lnTo>
                  <a:lnTo>
                    <a:pt x="46" y="248"/>
                  </a:lnTo>
                  <a:lnTo>
                    <a:pt x="46" y="246"/>
                  </a:lnTo>
                  <a:lnTo>
                    <a:pt x="46" y="248"/>
                  </a:lnTo>
                  <a:lnTo>
                    <a:pt x="46" y="246"/>
                  </a:lnTo>
                  <a:lnTo>
                    <a:pt x="44" y="246"/>
                  </a:lnTo>
                  <a:lnTo>
                    <a:pt x="44" y="244"/>
                  </a:lnTo>
                  <a:lnTo>
                    <a:pt x="46" y="244"/>
                  </a:lnTo>
                  <a:lnTo>
                    <a:pt x="46" y="242"/>
                  </a:lnTo>
                  <a:lnTo>
                    <a:pt x="46" y="244"/>
                  </a:lnTo>
                  <a:lnTo>
                    <a:pt x="46" y="246"/>
                  </a:lnTo>
                  <a:lnTo>
                    <a:pt x="48" y="246"/>
                  </a:lnTo>
                  <a:lnTo>
                    <a:pt x="46" y="246"/>
                  </a:lnTo>
                  <a:lnTo>
                    <a:pt x="48" y="246"/>
                  </a:lnTo>
                  <a:lnTo>
                    <a:pt x="46" y="246"/>
                  </a:lnTo>
                  <a:lnTo>
                    <a:pt x="48" y="246"/>
                  </a:lnTo>
                  <a:lnTo>
                    <a:pt x="48" y="244"/>
                  </a:lnTo>
                  <a:lnTo>
                    <a:pt x="48" y="242"/>
                  </a:lnTo>
                  <a:lnTo>
                    <a:pt x="46" y="242"/>
                  </a:lnTo>
                  <a:lnTo>
                    <a:pt x="48" y="242"/>
                  </a:lnTo>
                  <a:lnTo>
                    <a:pt x="48" y="240"/>
                  </a:lnTo>
                  <a:lnTo>
                    <a:pt x="50" y="240"/>
                  </a:lnTo>
                  <a:lnTo>
                    <a:pt x="50" y="238"/>
                  </a:lnTo>
                  <a:lnTo>
                    <a:pt x="50" y="240"/>
                  </a:lnTo>
                  <a:lnTo>
                    <a:pt x="50" y="238"/>
                  </a:lnTo>
                  <a:lnTo>
                    <a:pt x="50" y="240"/>
                  </a:lnTo>
                  <a:lnTo>
                    <a:pt x="50" y="238"/>
                  </a:lnTo>
                  <a:lnTo>
                    <a:pt x="50" y="240"/>
                  </a:lnTo>
                  <a:lnTo>
                    <a:pt x="50" y="238"/>
                  </a:lnTo>
                  <a:lnTo>
                    <a:pt x="50" y="240"/>
                  </a:lnTo>
                  <a:lnTo>
                    <a:pt x="50" y="238"/>
                  </a:lnTo>
                  <a:lnTo>
                    <a:pt x="52" y="238"/>
                  </a:lnTo>
                  <a:lnTo>
                    <a:pt x="52" y="240"/>
                  </a:lnTo>
                  <a:lnTo>
                    <a:pt x="54" y="240"/>
                  </a:lnTo>
                  <a:lnTo>
                    <a:pt x="52" y="240"/>
                  </a:lnTo>
                  <a:lnTo>
                    <a:pt x="52" y="238"/>
                  </a:lnTo>
                  <a:lnTo>
                    <a:pt x="54" y="238"/>
                  </a:lnTo>
                  <a:lnTo>
                    <a:pt x="54" y="240"/>
                  </a:lnTo>
                  <a:lnTo>
                    <a:pt x="54" y="238"/>
                  </a:lnTo>
                  <a:lnTo>
                    <a:pt x="54" y="240"/>
                  </a:lnTo>
                  <a:lnTo>
                    <a:pt x="52" y="240"/>
                  </a:lnTo>
                  <a:lnTo>
                    <a:pt x="54" y="240"/>
                  </a:lnTo>
                  <a:lnTo>
                    <a:pt x="54" y="238"/>
                  </a:lnTo>
                  <a:lnTo>
                    <a:pt x="54" y="240"/>
                  </a:lnTo>
                  <a:lnTo>
                    <a:pt x="54" y="238"/>
                  </a:lnTo>
                  <a:lnTo>
                    <a:pt x="54" y="236"/>
                  </a:lnTo>
                  <a:lnTo>
                    <a:pt x="54" y="238"/>
                  </a:lnTo>
                  <a:lnTo>
                    <a:pt x="54" y="236"/>
                  </a:lnTo>
                  <a:lnTo>
                    <a:pt x="54" y="238"/>
                  </a:lnTo>
                  <a:lnTo>
                    <a:pt x="54" y="236"/>
                  </a:lnTo>
                  <a:lnTo>
                    <a:pt x="52" y="236"/>
                  </a:lnTo>
                  <a:lnTo>
                    <a:pt x="54" y="236"/>
                  </a:lnTo>
                  <a:lnTo>
                    <a:pt x="52" y="236"/>
                  </a:lnTo>
                  <a:lnTo>
                    <a:pt x="50" y="236"/>
                  </a:lnTo>
                  <a:lnTo>
                    <a:pt x="50" y="234"/>
                  </a:lnTo>
                  <a:lnTo>
                    <a:pt x="52" y="234"/>
                  </a:lnTo>
                  <a:lnTo>
                    <a:pt x="54" y="234"/>
                  </a:lnTo>
                  <a:lnTo>
                    <a:pt x="52" y="234"/>
                  </a:lnTo>
                  <a:lnTo>
                    <a:pt x="54" y="234"/>
                  </a:lnTo>
                  <a:lnTo>
                    <a:pt x="52" y="234"/>
                  </a:lnTo>
                  <a:lnTo>
                    <a:pt x="52" y="232"/>
                  </a:lnTo>
                  <a:lnTo>
                    <a:pt x="54" y="232"/>
                  </a:lnTo>
                  <a:lnTo>
                    <a:pt x="54" y="234"/>
                  </a:lnTo>
                  <a:lnTo>
                    <a:pt x="56" y="234"/>
                  </a:lnTo>
                  <a:lnTo>
                    <a:pt x="56" y="236"/>
                  </a:lnTo>
                  <a:lnTo>
                    <a:pt x="56" y="234"/>
                  </a:lnTo>
                  <a:lnTo>
                    <a:pt x="56" y="232"/>
                  </a:lnTo>
                  <a:lnTo>
                    <a:pt x="56" y="234"/>
                  </a:lnTo>
                  <a:lnTo>
                    <a:pt x="56" y="232"/>
                  </a:lnTo>
                  <a:lnTo>
                    <a:pt x="56" y="234"/>
                  </a:lnTo>
                  <a:lnTo>
                    <a:pt x="58" y="234"/>
                  </a:lnTo>
                  <a:lnTo>
                    <a:pt x="58" y="232"/>
                  </a:lnTo>
                  <a:lnTo>
                    <a:pt x="58" y="234"/>
                  </a:lnTo>
                  <a:lnTo>
                    <a:pt x="58" y="232"/>
                  </a:lnTo>
                  <a:lnTo>
                    <a:pt x="56" y="232"/>
                  </a:lnTo>
                  <a:lnTo>
                    <a:pt x="58" y="232"/>
                  </a:lnTo>
                  <a:lnTo>
                    <a:pt x="60" y="232"/>
                  </a:lnTo>
                  <a:lnTo>
                    <a:pt x="60" y="230"/>
                  </a:lnTo>
                  <a:lnTo>
                    <a:pt x="60" y="232"/>
                  </a:lnTo>
                  <a:lnTo>
                    <a:pt x="62" y="232"/>
                  </a:lnTo>
                  <a:lnTo>
                    <a:pt x="60" y="232"/>
                  </a:lnTo>
                  <a:lnTo>
                    <a:pt x="60" y="230"/>
                  </a:lnTo>
                  <a:lnTo>
                    <a:pt x="62" y="230"/>
                  </a:lnTo>
                  <a:lnTo>
                    <a:pt x="60" y="230"/>
                  </a:lnTo>
                  <a:lnTo>
                    <a:pt x="62" y="230"/>
                  </a:lnTo>
                  <a:lnTo>
                    <a:pt x="60" y="230"/>
                  </a:lnTo>
                  <a:lnTo>
                    <a:pt x="62" y="230"/>
                  </a:lnTo>
                  <a:lnTo>
                    <a:pt x="62" y="229"/>
                  </a:lnTo>
                  <a:lnTo>
                    <a:pt x="62" y="227"/>
                  </a:lnTo>
                  <a:lnTo>
                    <a:pt x="64" y="227"/>
                  </a:lnTo>
                  <a:lnTo>
                    <a:pt x="64" y="229"/>
                  </a:lnTo>
                  <a:lnTo>
                    <a:pt x="64" y="227"/>
                  </a:lnTo>
                  <a:lnTo>
                    <a:pt x="64" y="225"/>
                  </a:lnTo>
                  <a:lnTo>
                    <a:pt x="66" y="225"/>
                  </a:lnTo>
                  <a:lnTo>
                    <a:pt x="64" y="225"/>
                  </a:lnTo>
                  <a:lnTo>
                    <a:pt x="66" y="225"/>
                  </a:lnTo>
                  <a:lnTo>
                    <a:pt x="64" y="225"/>
                  </a:lnTo>
                  <a:lnTo>
                    <a:pt x="64" y="223"/>
                  </a:lnTo>
                  <a:lnTo>
                    <a:pt x="64" y="225"/>
                  </a:lnTo>
                  <a:lnTo>
                    <a:pt x="66" y="225"/>
                  </a:lnTo>
                  <a:lnTo>
                    <a:pt x="66" y="223"/>
                  </a:lnTo>
                  <a:lnTo>
                    <a:pt x="66" y="221"/>
                  </a:lnTo>
                  <a:lnTo>
                    <a:pt x="66" y="223"/>
                  </a:lnTo>
                  <a:lnTo>
                    <a:pt x="66" y="221"/>
                  </a:lnTo>
                  <a:lnTo>
                    <a:pt x="66" y="223"/>
                  </a:lnTo>
                  <a:lnTo>
                    <a:pt x="66" y="221"/>
                  </a:lnTo>
                  <a:lnTo>
                    <a:pt x="67" y="221"/>
                  </a:lnTo>
                  <a:lnTo>
                    <a:pt x="67" y="219"/>
                  </a:lnTo>
                  <a:lnTo>
                    <a:pt x="67" y="221"/>
                  </a:lnTo>
                  <a:lnTo>
                    <a:pt x="67" y="219"/>
                  </a:lnTo>
                  <a:lnTo>
                    <a:pt x="69" y="219"/>
                  </a:lnTo>
                  <a:lnTo>
                    <a:pt x="69" y="217"/>
                  </a:lnTo>
                  <a:lnTo>
                    <a:pt x="69" y="215"/>
                  </a:lnTo>
                  <a:lnTo>
                    <a:pt x="71" y="215"/>
                  </a:lnTo>
                  <a:lnTo>
                    <a:pt x="71" y="213"/>
                  </a:lnTo>
                  <a:lnTo>
                    <a:pt x="71" y="215"/>
                  </a:lnTo>
                  <a:lnTo>
                    <a:pt x="71" y="213"/>
                  </a:lnTo>
                  <a:lnTo>
                    <a:pt x="71" y="215"/>
                  </a:lnTo>
                  <a:lnTo>
                    <a:pt x="71" y="213"/>
                  </a:lnTo>
                  <a:lnTo>
                    <a:pt x="73" y="213"/>
                  </a:lnTo>
                  <a:lnTo>
                    <a:pt x="73" y="211"/>
                  </a:lnTo>
                  <a:lnTo>
                    <a:pt x="73" y="213"/>
                  </a:lnTo>
                  <a:lnTo>
                    <a:pt x="73" y="211"/>
                  </a:lnTo>
                  <a:lnTo>
                    <a:pt x="73" y="213"/>
                  </a:lnTo>
                  <a:lnTo>
                    <a:pt x="73" y="211"/>
                  </a:lnTo>
                  <a:lnTo>
                    <a:pt x="75" y="211"/>
                  </a:lnTo>
                  <a:lnTo>
                    <a:pt x="73" y="211"/>
                  </a:lnTo>
                  <a:lnTo>
                    <a:pt x="75" y="211"/>
                  </a:lnTo>
                  <a:lnTo>
                    <a:pt x="73" y="211"/>
                  </a:lnTo>
                  <a:lnTo>
                    <a:pt x="75" y="211"/>
                  </a:lnTo>
                  <a:lnTo>
                    <a:pt x="75" y="209"/>
                  </a:lnTo>
                  <a:lnTo>
                    <a:pt x="75" y="207"/>
                  </a:lnTo>
                  <a:lnTo>
                    <a:pt x="77" y="207"/>
                  </a:lnTo>
                  <a:lnTo>
                    <a:pt x="75" y="207"/>
                  </a:lnTo>
                  <a:lnTo>
                    <a:pt x="75" y="205"/>
                  </a:lnTo>
                  <a:lnTo>
                    <a:pt x="75" y="207"/>
                  </a:lnTo>
                  <a:lnTo>
                    <a:pt x="75" y="205"/>
                  </a:lnTo>
                  <a:lnTo>
                    <a:pt x="77" y="205"/>
                  </a:lnTo>
                  <a:lnTo>
                    <a:pt x="79" y="205"/>
                  </a:lnTo>
                  <a:lnTo>
                    <a:pt x="79" y="204"/>
                  </a:lnTo>
                  <a:lnTo>
                    <a:pt x="79" y="202"/>
                  </a:lnTo>
                  <a:lnTo>
                    <a:pt x="77" y="202"/>
                  </a:lnTo>
                  <a:lnTo>
                    <a:pt x="79" y="202"/>
                  </a:lnTo>
                  <a:lnTo>
                    <a:pt x="79" y="200"/>
                  </a:lnTo>
                  <a:lnTo>
                    <a:pt x="81" y="200"/>
                  </a:lnTo>
                  <a:lnTo>
                    <a:pt x="83" y="200"/>
                  </a:lnTo>
                  <a:lnTo>
                    <a:pt x="85" y="200"/>
                  </a:lnTo>
                  <a:lnTo>
                    <a:pt x="85" y="198"/>
                  </a:lnTo>
                  <a:lnTo>
                    <a:pt x="87" y="198"/>
                  </a:lnTo>
                  <a:lnTo>
                    <a:pt x="87" y="200"/>
                  </a:lnTo>
                  <a:lnTo>
                    <a:pt x="89" y="200"/>
                  </a:lnTo>
                  <a:lnTo>
                    <a:pt x="87" y="200"/>
                  </a:lnTo>
                  <a:lnTo>
                    <a:pt x="89" y="200"/>
                  </a:lnTo>
                  <a:lnTo>
                    <a:pt x="89" y="202"/>
                  </a:lnTo>
                  <a:lnTo>
                    <a:pt x="89" y="200"/>
                  </a:lnTo>
                  <a:lnTo>
                    <a:pt x="91" y="200"/>
                  </a:lnTo>
                  <a:lnTo>
                    <a:pt x="89" y="200"/>
                  </a:lnTo>
                  <a:lnTo>
                    <a:pt x="91" y="200"/>
                  </a:lnTo>
                  <a:lnTo>
                    <a:pt x="91" y="198"/>
                  </a:lnTo>
                  <a:lnTo>
                    <a:pt x="89" y="198"/>
                  </a:lnTo>
                  <a:lnTo>
                    <a:pt x="89" y="196"/>
                  </a:lnTo>
                  <a:lnTo>
                    <a:pt x="87" y="196"/>
                  </a:lnTo>
                  <a:lnTo>
                    <a:pt x="89" y="196"/>
                  </a:lnTo>
                  <a:lnTo>
                    <a:pt x="87" y="196"/>
                  </a:lnTo>
                  <a:lnTo>
                    <a:pt x="89" y="196"/>
                  </a:lnTo>
                  <a:lnTo>
                    <a:pt x="89" y="194"/>
                  </a:lnTo>
                  <a:lnTo>
                    <a:pt x="87" y="194"/>
                  </a:lnTo>
                  <a:lnTo>
                    <a:pt x="89" y="194"/>
                  </a:lnTo>
                  <a:lnTo>
                    <a:pt x="89" y="196"/>
                  </a:lnTo>
                  <a:lnTo>
                    <a:pt x="89" y="194"/>
                  </a:lnTo>
                  <a:lnTo>
                    <a:pt x="89" y="196"/>
                  </a:lnTo>
                  <a:lnTo>
                    <a:pt x="89" y="194"/>
                  </a:lnTo>
                  <a:lnTo>
                    <a:pt x="89" y="196"/>
                  </a:lnTo>
                  <a:lnTo>
                    <a:pt x="91" y="196"/>
                  </a:lnTo>
                  <a:lnTo>
                    <a:pt x="91" y="198"/>
                  </a:lnTo>
                  <a:lnTo>
                    <a:pt x="91" y="196"/>
                  </a:lnTo>
                  <a:lnTo>
                    <a:pt x="91" y="198"/>
                  </a:lnTo>
                  <a:lnTo>
                    <a:pt x="91" y="196"/>
                  </a:lnTo>
                  <a:lnTo>
                    <a:pt x="92" y="196"/>
                  </a:lnTo>
                  <a:lnTo>
                    <a:pt x="91" y="196"/>
                  </a:lnTo>
                  <a:lnTo>
                    <a:pt x="91" y="194"/>
                  </a:lnTo>
                  <a:lnTo>
                    <a:pt x="92" y="194"/>
                  </a:lnTo>
                  <a:lnTo>
                    <a:pt x="91" y="194"/>
                  </a:lnTo>
                  <a:lnTo>
                    <a:pt x="91" y="192"/>
                  </a:lnTo>
                  <a:lnTo>
                    <a:pt x="89" y="192"/>
                  </a:lnTo>
                  <a:lnTo>
                    <a:pt x="89" y="190"/>
                  </a:lnTo>
                  <a:lnTo>
                    <a:pt x="89" y="188"/>
                  </a:lnTo>
                  <a:lnTo>
                    <a:pt x="91" y="188"/>
                  </a:lnTo>
                  <a:lnTo>
                    <a:pt x="89" y="188"/>
                  </a:lnTo>
                  <a:lnTo>
                    <a:pt x="89" y="186"/>
                  </a:lnTo>
                  <a:lnTo>
                    <a:pt x="91" y="186"/>
                  </a:lnTo>
                  <a:lnTo>
                    <a:pt x="89" y="186"/>
                  </a:lnTo>
                  <a:lnTo>
                    <a:pt x="89" y="184"/>
                  </a:lnTo>
                  <a:lnTo>
                    <a:pt x="89" y="182"/>
                  </a:lnTo>
                  <a:lnTo>
                    <a:pt x="89" y="184"/>
                  </a:lnTo>
                  <a:lnTo>
                    <a:pt x="91" y="184"/>
                  </a:lnTo>
                  <a:lnTo>
                    <a:pt x="91" y="182"/>
                  </a:lnTo>
                  <a:lnTo>
                    <a:pt x="91" y="184"/>
                  </a:lnTo>
                  <a:lnTo>
                    <a:pt x="89" y="184"/>
                  </a:lnTo>
                  <a:lnTo>
                    <a:pt x="89" y="182"/>
                  </a:lnTo>
                  <a:lnTo>
                    <a:pt x="89" y="181"/>
                  </a:lnTo>
                  <a:lnTo>
                    <a:pt x="91" y="181"/>
                  </a:lnTo>
                  <a:lnTo>
                    <a:pt x="89" y="181"/>
                  </a:lnTo>
                  <a:lnTo>
                    <a:pt x="91" y="181"/>
                  </a:lnTo>
                  <a:lnTo>
                    <a:pt x="91" y="179"/>
                  </a:lnTo>
                  <a:lnTo>
                    <a:pt x="89" y="179"/>
                  </a:lnTo>
                  <a:lnTo>
                    <a:pt x="89" y="181"/>
                  </a:lnTo>
                  <a:lnTo>
                    <a:pt x="89" y="179"/>
                  </a:lnTo>
                  <a:lnTo>
                    <a:pt x="91" y="179"/>
                  </a:lnTo>
                  <a:lnTo>
                    <a:pt x="89" y="179"/>
                  </a:lnTo>
                  <a:lnTo>
                    <a:pt x="89" y="177"/>
                  </a:lnTo>
                  <a:lnTo>
                    <a:pt x="87" y="177"/>
                  </a:lnTo>
                  <a:lnTo>
                    <a:pt x="89" y="177"/>
                  </a:lnTo>
                  <a:lnTo>
                    <a:pt x="89" y="175"/>
                  </a:lnTo>
                  <a:lnTo>
                    <a:pt x="87" y="175"/>
                  </a:lnTo>
                  <a:lnTo>
                    <a:pt x="89" y="175"/>
                  </a:lnTo>
                  <a:lnTo>
                    <a:pt x="87" y="175"/>
                  </a:lnTo>
                  <a:lnTo>
                    <a:pt x="87" y="177"/>
                  </a:lnTo>
                  <a:lnTo>
                    <a:pt x="87" y="175"/>
                  </a:lnTo>
                  <a:lnTo>
                    <a:pt x="87" y="177"/>
                  </a:lnTo>
                  <a:lnTo>
                    <a:pt x="87" y="175"/>
                  </a:lnTo>
                  <a:lnTo>
                    <a:pt x="85" y="175"/>
                  </a:lnTo>
                  <a:lnTo>
                    <a:pt x="87" y="175"/>
                  </a:lnTo>
                  <a:lnTo>
                    <a:pt x="85" y="175"/>
                  </a:lnTo>
                  <a:lnTo>
                    <a:pt x="85" y="173"/>
                  </a:lnTo>
                  <a:lnTo>
                    <a:pt x="83" y="173"/>
                  </a:lnTo>
                  <a:lnTo>
                    <a:pt x="83" y="171"/>
                  </a:lnTo>
                  <a:lnTo>
                    <a:pt x="83" y="173"/>
                  </a:lnTo>
                  <a:lnTo>
                    <a:pt x="83" y="171"/>
                  </a:lnTo>
                  <a:lnTo>
                    <a:pt x="81" y="171"/>
                  </a:lnTo>
                  <a:lnTo>
                    <a:pt x="83" y="171"/>
                  </a:lnTo>
                  <a:lnTo>
                    <a:pt x="83" y="173"/>
                  </a:lnTo>
                  <a:lnTo>
                    <a:pt x="81" y="171"/>
                  </a:lnTo>
                  <a:lnTo>
                    <a:pt x="81" y="173"/>
                  </a:lnTo>
                  <a:lnTo>
                    <a:pt x="81" y="171"/>
                  </a:lnTo>
                  <a:lnTo>
                    <a:pt x="81" y="173"/>
                  </a:lnTo>
                  <a:lnTo>
                    <a:pt x="81" y="171"/>
                  </a:lnTo>
                  <a:lnTo>
                    <a:pt x="81" y="173"/>
                  </a:lnTo>
                  <a:lnTo>
                    <a:pt x="79" y="173"/>
                  </a:lnTo>
                  <a:lnTo>
                    <a:pt x="79" y="171"/>
                  </a:lnTo>
                  <a:lnTo>
                    <a:pt x="79" y="169"/>
                  </a:lnTo>
                  <a:lnTo>
                    <a:pt x="79" y="171"/>
                  </a:lnTo>
                  <a:lnTo>
                    <a:pt x="79" y="169"/>
                  </a:lnTo>
                  <a:lnTo>
                    <a:pt x="77" y="169"/>
                  </a:lnTo>
                  <a:lnTo>
                    <a:pt x="79" y="169"/>
                  </a:lnTo>
                  <a:lnTo>
                    <a:pt x="77" y="169"/>
                  </a:lnTo>
                  <a:lnTo>
                    <a:pt x="79" y="169"/>
                  </a:lnTo>
                  <a:lnTo>
                    <a:pt x="77" y="169"/>
                  </a:lnTo>
                  <a:lnTo>
                    <a:pt x="79" y="169"/>
                  </a:lnTo>
                  <a:lnTo>
                    <a:pt x="77" y="169"/>
                  </a:lnTo>
                  <a:lnTo>
                    <a:pt x="79" y="169"/>
                  </a:lnTo>
                  <a:lnTo>
                    <a:pt x="77" y="169"/>
                  </a:lnTo>
                  <a:lnTo>
                    <a:pt x="77" y="167"/>
                  </a:lnTo>
                  <a:lnTo>
                    <a:pt x="79" y="167"/>
                  </a:lnTo>
                  <a:lnTo>
                    <a:pt x="79" y="165"/>
                  </a:lnTo>
                  <a:lnTo>
                    <a:pt x="79" y="167"/>
                  </a:lnTo>
                  <a:lnTo>
                    <a:pt x="77" y="167"/>
                  </a:lnTo>
                  <a:lnTo>
                    <a:pt x="75" y="167"/>
                  </a:lnTo>
                  <a:lnTo>
                    <a:pt x="73" y="167"/>
                  </a:lnTo>
                  <a:lnTo>
                    <a:pt x="73" y="165"/>
                  </a:lnTo>
                  <a:lnTo>
                    <a:pt x="73" y="167"/>
                  </a:lnTo>
                  <a:lnTo>
                    <a:pt x="73" y="165"/>
                  </a:lnTo>
                  <a:lnTo>
                    <a:pt x="71" y="165"/>
                  </a:lnTo>
                  <a:lnTo>
                    <a:pt x="73" y="165"/>
                  </a:lnTo>
                  <a:lnTo>
                    <a:pt x="71" y="165"/>
                  </a:lnTo>
                  <a:lnTo>
                    <a:pt x="71" y="163"/>
                  </a:lnTo>
                  <a:lnTo>
                    <a:pt x="71" y="161"/>
                  </a:lnTo>
                  <a:lnTo>
                    <a:pt x="71" y="159"/>
                  </a:lnTo>
                  <a:lnTo>
                    <a:pt x="69" y="159"/>
                  </a:lnTo>
                  <a:lnTo>
                    <a:pt x="69" y="157"/>
                  </a:lnTo>
                  <a:lnTo>
                    <a:pt x="69" y="156"/>
                  </a:lnTo>
                  <a:lnTo>
                    <a:pt x="69" y="154"/>
                  </a:lnTo>
                  <a:lnTo>
                    <a:pt x="67" y="154"/>
                  </a:lnTo>
                  <a:lnTo>
                    <a:pt x="66" y="154"/>
                  </a:lnTo>
                  <a:lnTo>
                    <a:pt x="66" y="152"/>
                  </a:lnTo>
                  <a:lnTo>
                    <a:pt x="66" y="150"/>
                  </a:lnTo>
                  <a:lnTo>
                    <a:pt x="66" y="148"/>
                  </a:lnTo>
                  <a:lnTo>
                    <a:pt x="66" y="146"/>
                  </a:lnTo>
                  <a:lnTo>
                    <a:pt x="66" y="144"/>
                  </a:lnTo>
                  <a:lnTo>
                    <a:pt x="66" y="142"/>
                  </a:lnTo>
                  <a:lnTo>
                    <a:pt x="67" y="140"/>
                  </a:lnTo>
                  <a:lnTo>
                    <a:pt x="67" y="138"/>
                  </a:lnTo>
                  <a:lnTo>
                    <a:pt x="67" y="136"/>
                  </a:lnTo>
                  <a:lnTo>
                    <a:pt x="67" y="134"/>
                  </a:lnTo>
                  <a:lnTo>
                    <a:pt x="69" y="134"/>
                  </a:lnTo>
                  <a:lnTo>
                    <a:pt x="69" y="132"/>
                  </a:lnTo>
                  <a:lnTo>
                    <a:pt x="67" y="132"/>
                  </a:lnTo>
                  <a:lnTo>
                    <a:pt x="69" y="132"/>
                  </a:lnTo>
                  <a:lnTo>
                    <a:pt x="69" y="131"/>
                  </a:lnTo>
                  <a:lnTo>
                    <a:pt x="69" y="129"/>
                  </a:lnTo>
                  <a:lnTo>
                    <a:pt x="69" y="127"/>
                  </a:lnTo>
                  <a:lnTo>
                    <a:pt x="67" y="127"/>
                  </a:lnTo>
                  <a:lnTo>
                    <a:pt x="67" y="125"/>
                  </a:lnTo>
                  <a:lnTo>
                    <a:pt x="67" y="123"/>
                  </a:lnTo>
                  <a:lnTo>
                    <a:pt x="66" y="123"/>
                  </a:lnTo>
                  <a:lnTo>
                    <a:pt x="66" y="121"/>
                  </a:lnTo>
                  <a:lnTo>
                    <a:pt x="66" y="119"/>
                  </a:lnTo>
                  <a:lnTo>
                    <a:pt x="64" y="119"/>
                  </a:lnTo>
                  <a:lnTo>
                    <a:pt x="64" y="117"/>
                  </a:lnTo>
                  <a:lnTo>
                    <a:pt x="64" y="115"/>
                  </a:lnTo>
                  <a:lnTo>
                    <a:pt x="64" y="113"/>
                  </a:lnTo>
                  <a:lnTo>
                    <a:pt x="66" y="113"/>
                  </a:lnTo>
                  <a:lnTo>
                    <a:pt x="66" y="111"/>
                  </a:lnTo>
                  <a:lnTo>
                    <a:pt x="66" y="113"/>
                  </a:lnTo>
                  <a:lnTo>
                    <a:pt x="66" y="111"/>
                  </a:lnTo>
                  <a:lnTo>
                    <a:pt x="67" y="111"/>
                  </a:lnTo>
                  <a:lnTo>
                    <a:pt x="67" y="109"/>
                  </a:lnTo>
                  <a:lnTo>
                    <a:pt x="66" y="109"/>
                  </a:lnTo>
                  <a:lnTo>
                    <a:pt x="66" y="108"/>
                  </a:lnTo>
                  <a:lnTo>
                    <a:pt x="66" y="106"/>
                  </a:lnTo>
                  <a:lnTo>
                    <a:pt x="64" y="106"/>
                  </a:lnTo>
                  <a:lnTo>
                    <a:pt x="62" y="106"/>
                  </a:lnTo>
                  <a:lnTo>
                    <a:pt x="62" y="104"/>
                  </a:lnTo>
                  <a:lnTo>
                    <a:pt x="62" y="102"/>
                  </a:lnTo>
                  <a:lnTo>
                    <a:pt x="64" y="102"/>
                  </a:lnTo>
                  <a:lnTo>
                    <a:pt x="64" y="100"/>
                  </a:lnTo>
                  <a:lnTo>
                    <a:pt x="64" y="98"/>
                  </a:lnTo>
                  <a:lnTo>
                    <a:pt x="62" y="98"/>
                  </a:lnTo>
                  <a:lnTo>
                    <a:pt x="62" y="96"/>
                  </a:lnTo>
                  <a:lnTo>
                    <a:pt x="62" y="94"/>
                  </a:lnTo>
                  <a:lnTo>
                    <a:pt x="62" y="92"/>
                  </a:lnTo>
                  <a:lnTo>
                    <a:pt x="62" y="90"/>
                  </a:lnTo>
                  <a:lnTo>
                    <a:pt x="64" y="90"/>
                  </a:lnTo>
                  <a:lnTo>
                    <a:pt x="64" y="88"/>
                  </a:lnTo>
                  <a:lnTo>
                    <a:pt x="66" y="88"/>
                  </a:lnTo>
                  <a:lnTo>
                    <a:pt x="66" y="86"/>
                  </a:lnTo>
                  <a:lnTo>
                    <a:pt x="64" y="86"/>
                  </a:lnTo>
                  <a:lnTo>
                    <a:pt x="64" y="84"/>
                  </a:lnTo>
                  <a:lnTo>
                    <a:pt x="62" y="84"/>
                  </a:lnTo>
                  <a:lnTo>
                    <a:pt x="62" y="83"/>
                  </a:lnTo>
                  <a:lnTo>
                    <a:pt x="60" y="83"/>
                  </a:lnTo>
                  <a:lnTo>
                    <a:pt x="60" y="81"/>
                  </a:lnTo>
                  <a:lnTo>
                    <a:pt x="60" y="79"/>
                  </a:lnTo>
                  <a:lnTo>
                    <a:pt x="58" y="79"/>
                  </a:lnTo>
                  <a:lnTo>
                    <a:pt x="58" y="77"/>
                  </a:lnTo>
                  <a:lnTo>
                    <a:pt x="58" y="75"/>
                  </a:lnTo>
                  <a:lnTo>
                    <a:pt x="56" y="75"/>
                  </a:lnTo>
                  <a:lnTo>
                    <a:pt x="56" y="73"/>
                  </a:lnTo>
                  <a:lnTo>
                    <a:pt x="54" y="71"/>
                  </a:lnTo>
                  <a:lnTo>
                    <a:pt x="52" y="71"/>
                  </a:lnTo>
                  <a:lnTo>
                    <a:pt x="52" y="69"/>
                  </a:lnTo>
                  <a:lnTo>
                    <a:pt x="50" y="69"/>
                  </a:lnTo>
                  <a:lnTo>
                    <a:pt x="50" y="67"/>
                  </a:lnTo>
                  <a:lnTo>
                    <a:pt x="48" y="67"/>
                  </a:lnTo>
                  <a:lnTo>
                    <a:pt x="46" y="67"/>
                  </a:lnTo>
                  <a:lnTo>
                    <a:pt x="46" y="65"/>
                  </a:lnTo>
                  <a:lnTo>
                    <a:pt x="44" y="65"/>
                  </a:lnTo>
                  <a:lnTo>
                    <a:pt x="43" y="65"/>
                  </a:lnTo>
                  <a:lnTo>
                    <a:pt x="41" y="65"/>
                  </a:lnTo>
                  <a:lnTo>
                    <a:pt x="41" y="63"/>
                  </a:lnTo>
                  <a:lnTo>
                    <a:pt x="41" y="61"/>
                  </a:lnTo>
                  <a:lnTo>
                    <a:pt x="39" y="61"/>
                  </a:lnTo>
                  <a:lnTo>
                    <a:pt x="37" y="61"/>
                  </a:lnTo>
                  <a:lnTo>
                    <a:pt x="37" y="59"/>
                  </a:lnTo>
                  <a:lnTo>
                    <a:pt x="35" y="59"/>
                  </a:lnTo>
                  <a:lnTo>
                    <a:pt x="35" y="58"/>
                  </a:lnTo>
                  <a:lnTo>
                    <a:pt x="33" y="58"/>
                  </a:lnTo>
                  <a:lnTo>
                    <a:pt x="33" y="56"/>
                  </a:lnTo>
                  <a:lnTo>
                    <a:pt x="31" y="56"/>
                  </a:lnTo>
                  <a:lnTo>
                    <a:pt x="31" y="54"/>
                  </a:lnTo>
                  <a:lnTo>
                    <a:pt x="29" y="54"/>
                  </a:lnTo>
                  <a:lnTo>
                    <a:pt x="29" y="52"/>
                  </a:lnTo>
                  <a:lnTo>
                    <a:pt x="27" y="52"/>
                  </a:lnTo>
                  <a:lnTo>
                    <a:pt x="27" y="50"/>
                  </a:lnTo>
                  <a:lnTo>
                    <a:pt x="25" y="50"/>
                  </a:lnTo>
                  <a:lnTo>
                    <a:pt x="25" y="48"/>
                  </a:lnTo>
                  <a:lnTo>
                    <a:pt x="23" y="48"/>
                  </a:lnTo>
                  <a:lnTo>
                    <a:pt x="25" y="48"/>
                  </a:lnTo>
                  <a:lnTo>
                    <a:pt x="25" y="46"/>
                  </a:lnTo>
                  <a:lnTo>
                    <a:pt x="23" y="46"/>
                  </a:lnTo>
                  <a:lnTo>
                    <a:pt x="23" y="44"/>
                  </a:lnTo>
                  <a:lnTo>
                    <a:pt x="21" y="44"/>
                  </a:lnTo>
                  <a:lnTo>
                    <a:pt x="21" y="42"/>
                  </a:lnTo>
                  <a:lnTo>
                    <a:pt x="19" y="42"/>
                  </a:lnTo>
                  <a:lnTo>
                    <a:pt x="21" y="40"/>
                  </a:lnTo>
                  <a:lnTo>
                    <a:pt x="25" y="42"/>
                  </a:lnTo>
                  <a:lnTo>
                    <a:pt x="27" y="44"/>
                  </a:lnTo>
                  <a:lnTo>
                    <a:pt x="27" y="42"/>
                  </a:lnTo>
                  <a:lnTo>
                    <a:pt x="27" y="40"/>
                  </a:lnTo>
                  <a:lnTo>
                    <a:pt x="27" y="38"/>
                  </a:lnTo>
                  <a:lnTo>
                    <a:pt x="25" y="38"/>
                  </a:lnTo>
                  <a:lnTo>
                    <a:pt x="25" y="36"/>
                  </a:lnTo>
                  <a:lnTo>
                    <a:pt x="27" y="35"/>
                  </a:lnTo>
                  <a:lnTo>
                    <a:pt x="29" y="33"/>
                  </a:lnTo>
                  <a:lnTo>
                    <a:pt x="31" y="33"/>
                  </a:lnTo>
                  <a:lnTo>
                    <a:pt x="33" y="33"/>
                  </a:lnTo>
                  <a:lnTo>
                    <a:pt x="35" y="33"/>
                  </a:lnTo>
                  <a:lnTo>
                    <a:pt x="35" y="35"/>
                  </a:lnTo>
                  <a:lnTo>
                    <a:pt x="37" y="36"/>
                  </a:lnTo>
                  <a:lnTo>
                    <a:pt x="37" y="38"/>
                  </a:lnTo>
                  <a:lnTo>
                    <a:pt x="39" y="38"/>
                  </a:lnTo>
                  <a:lnTo>
                    <a:pt x="39" y="40"/>
                  </a:lnTo>
                  <a:lnTo>
                    <a:pt x="41" y="42"/>
                  </a:lnTo>
                  <a:lnTo>
                    <a:pt x="41" y="44"/>
                  </a:lnTo>
                  <a:lnTo>
                    <a:pt x="43" y="46"/>
                  </a:lnTo>
                  <a:lnTo>
                    <a:pt x="43" y="48"/>
                  </a:lnTo>
                  <a:lnTo>
                    <a:pt x="44" y="48"/>
                  </a:lnTo>
                  <a:lnTo>
                    <a:pt x="44" y="50"/>
                  </a:lnTo>
                  <a:lnTo>
                    <a:pt x="46" y="52"/>
                  </a:lnTo>
                  <a:lnTo>
                    <a:pt x="46" y="54"/>
                  </a:lnTo>
                  <a:lnTo>
                    <a:pt x="46" y="56"/>
                  </a:lnTo>
                  <a:lnTo>
                    <a:pt x="48" y="56"/>
                  </a:lnTo>
                  <a:lnTo>
                    <a:pt x="50" y="56"/>
                  </a:lnTo>
                  <a:lnTo>
                    <a:pt x="50" y="58"/>
                  </a:lnTo>
                  <a:lnTo>
                    <a:pt x="52" y="58"/>
                  </a:lnTo>
                  <a:lnTo>
                    <a:pt x="54" y="58"/>
                  </a:lnTo>
                  <a:lnTo>
                    <a:pt x="56" y="58"/>
                  </a:lnTo>
                  <a:lnTo>
                    <a:pt x="58" y="59"/>
                  </a:lnTo>
                  <a:lnTo>
                    <a:pt x="62" y="58"/>
                  </a:lnTo>
                  <a:lnTo>
                    <a:pt x="64" y="58"/>
                  </a:lnTo>
                  <a:lnTo>
                    <a:pt x="66" y="58"/>
                  </a:lnTo>
                  <a:lnTo>
                    <a:pt x="66" y="56"/>
                  </a:lnTo>
                  <a:lnTo>
                    <a:pt x="66" y="54"/>
                  </a:lnTo>
                  <a:lnTo>
                    <a:pt x="67" y="52"/>
                  </a:lnTo>
                  <a:lnTo>
                    <a:pt x="69" y="52"/>
                  </a:lnTo>
                  <a:lnTo>
                    <a:pt x="71" y="54"/>
                  </a:lnTo>
                  <a:lnTo>
                    <a:pt x="71" y="56"/>
                  </a:lnTo>
                  <a:lnTo>
                    <a:pt x="73" y="56"/>
                  </a:lnTo>
                  <a:lnTo>
                    <a:pt x="75" y="56"/>
                  </a:lnTo>
                  <a:lnTo>
                    <a:pt x="77" y="58"/>
                  </a:lnTo>
                  <a:lnTo>
                    <a:pt x="79" y="58"/>
                  </a:lnTo>
                  <a:lnTo>
                    <a:pt x="81" y="59"/>
                  </a:lnTo>
                  <a:lnTo>
                    <a:pt x="81" y="61"/>
                  </a:lnTo>
                  <a:lnTo>
                    <a:pt x="83" y="63"/>
                  </a:lnTo>
                  <a:lnTo>
                    <a:pt x="83" y="61"/>
                  </a:lnTo>
                  <a:lnTo>
                    <a:pt x="85" y="61"/>
                  </a:lnTo>
                  <a:lnTo>
                    <a:pt x="85" y="59"/>
                  </a:lnTo>
                  <a:lnTo>
                    <a:pt x="83" y="59"/>
                  </a:lnTo>
                  <a:lnTo>
                    <a:pt x="85" y="59"/>
                  </a:lnTo>
                  <a:lnTo>
                    <a:pt x="85" y="61"/>
                  </a:lnTo>
                  <a:lnTo>
                    <a:pt x="85" y="59"/>
                  </a:lnTo>
                  <a:lnTo>
                    <a:pt x="85" y="61"/>
                  </a:lnTo>
                  <a:lnTo>
                    <a:pt x="85" y="59"/>
                  </a:lnTo>
                  <a:lnTo>
                    <a:pt x="87" y="59"/>
                  </a:lnTo>
                  <a:lnTo>
                    <a:pt x="87" y="58"/>
                  </a:lnTo>
                  <a:lnTo>
                    <a:pt x="87" y="56"/>
                  </a:lnTo>
                  <a:lnTo>
                    <a:pt x="87" y="54"/>
                  </a:lnTo>
                  <a:lnTo>
                    <a:pt x="87" y="52"/>
                  </a:lnTo>
                  <a:lnTo>
                    <a:pt x="89" y="52"/>
                  </a:lnTo>
                  <a:lnTo>
                    <a:pt x="89" y="50"/>
                  </a:lnTo>
                  <a:lnTo>
                    <a:pt x="91" y="50"/>
                  </a:lnTo>
                  <a:lnTo>
                    <a:pt x="91" y="48"/>
                  </a:lnTo>
                  <a:lnTo>
                    <a:pt x="92" y="48"/>
                  </a:lnTo>
                  <a:lnTo>
                    <a:pt x="92" y="50"/>
                  </a:lnTo>
                  <a:lnTo>
                    <a:pt x="94" y="50"/>
                  </a:lnTo>
                  <a:lnTo>
                    <a:pt x="94" y="48"/>
                  </a:lnTo>
                  <a:lnTo>
                    <a:pt x="94" y="46"/>
                  </a:lnTo>
                  <a:lnTo>
                    <a:pt x="94" y="44"/>
                  </a:lnTo>
                  <a:lnTo>
                    <a:pt x="96" y="44"/>
                  </a:lnTo>
                  <a:lnTo>
                    <a:pt x="96" y="42"/>
                  </a:lnTo>
                  <a:lnTo>
                    <a:pt x="94" y="42"/>
                  </a:lnTo>
                  <a:lnTo>
                    <a:pt x="94" y="40"/>
                  </a:lnTo>
                  <a:lnTo>
                    <a:pt x="96" y="40"/>
                  </a:lnTo>
                  <a:lnTo>
                    <a:pt x="96" y="38"/>
                  </a:lnTo>
                  <a:lnTo>
                    <a:pt x="94" y="38"/>
                  </a:lnTo>
                  <a:lnTo>
                    <a:pt x="94" y="36"/>
                  </a:lnTo>
                  <a:lnTo>
                    <a:pt x="94" y="35"/>
                  </a:lnTo>
                  <a:lnTo>
                    <a:pt x="94" y="33"/>
                  </a:lnTo>
                  <a:lnTo>
                    <a:pt x="96" y="33"/>
                  </a:lnTo>
                  <a:lnTo>
                    <a:pt x="96" y="31"/>
                  </a:lnTo>
                  <a:lnTo>
                    <a:pt x="96" y="29"/>
                  </a:lnTo>
                  <a:lnTo>
                    <a:pt x="96" y="27"/>
                  </a:lnTo>
                  <a:lnTo>
                    <a:pt x="96" y="25"/>
                  </a:lnTo>
                  <a:lnTo>
                    <a:pt x="96" y="23"/>
                  </a:lnTo>
                  <a:lnTo>
                    <a:pt x="98" y="23"/>
                  </a:lnTo>
                  <a:lnTo>
                    <a:pt x="96" y="23"/>
                  </a:lnTo>
                  <a:lnTo>
                    <a:pt x="96" y="21"/>
                  </a:lnTo>
                  <a:lnTo>
                    <a:pt x="98" y="21"/>
                  </a:lnTo>
                  <a:lnTo>
                    <a:pt x="98" y="19"/>
                  </a:lnTo>
                  <a:lnTo>
                    <a:pt x="98" y="17"/>
                  </a:lnTo>
                  <a:lnTo>
                    <a:pt x="98" y="15"/>
                  </a:lnTo>
                  <a:lnTo>
                    <a:pt x="100" y="15"/>
                  </a:lnTo>
                  <a:lnTo>
                    <a:pt x="100" y="13"/>
                  </a:lnTo>
                  <a:lnTo>
                    <a:pt x="102" y="13"/>
                  </a:lnTo>
                  <a:lnTo>
                    <a:pt x="102" y="11"/>
                  </a:lnTo>
                  <a:lnTo>
                    <a:pt x="104" y="11"/>
                  </a:lnTo>
                  <a:lnTo>
                    <a:pt x="104" y="10"/>
                  </a:lnTo>
                  <a:lnTo>
                    <a:pt x="106" y="10"/>
                  </a:lnTo>
                  <a:lnTo>
                    <a:pt x="106" y="8"/>
                  </a:lnTo>
                  <a:lnTo>
                    <a:pt x="106" y="6"/>
                  </a:lnTo>
                  <a:lnTo>
                    <a:pt x="108" y="6"/>
                  </a:lnTo>
                  <a:lnTo>
                    <a:pt x="108" y="4"/>
                  </a:lnTo>
                  <a:lnTo>
                    <a:pt x="110" y="4"/>
                  </a:lnTo>
                  <a:lnTo>
                    <a:pt x="110" y="6"/>
                  </a:lnTo>
                  <a:lnTo>
                    <a:pt x="112" y="6"/>
                  </a:lnTo>
                  <a:lnTo>
                    <a:pt x="112" y="4"/>
                  </a:lnTo>
                  <a:lnTo>
                    <a:pt x="112" y="6"/>
                  </a:lnTo>
                  <a:lnTo>
                    <a:pt x="112" y="4"/>
                  </a:lnTo>
                  <a:lnTo>
                    <a:pt x="112" y="6"/>
                  </a:lnTo>
                  <a:lnTo>
                    <a:pt x="114" y="6"/>
                  </a:lnTo>
                  <a:lnTo>
                    <a:pt x="114" y="8"/>
                  </a:lnTo>
                  <a:lnTo>
                    <a:pt x="115" y="8"/>
                  </a:lnTo>
                  <a:lnTo>
                    <a:pt x="115" y="6"/>
                  </a:lnTo>
                  <a:lnTo>
                    <a:pt x="117" y="6"/>
                  </a:lnTo>
                  <a:lnTo>
                    <a:pt x="117" y="4"/>
                  </a:lnTo>
                  <a:lnTo>
                    <a:pt x="119" y="4"/>
                  </a:lnTo>
                  <a:lnTo>
                    <a:pt x="119" y="2"/>
                  </a:lnTo>
                  <a:lnTo>
                    <a:pt x="121" y="2"/>
                  </a:lnTo>
                  <a:lnTo>
                    <a:pt x="121" y="0"/>
                  </a:lnTo>
                  <a:lnTo>
                    <a:pt x="123" y="0"/>
                  </a:lnTo>
                  <a:lnTo>
                    <a:pt x="125" y="0"/>
                  </a:lnTo>
                  <a:lnTo>
                    <a:pt x="127" y="0"/>
                  </a:lnTo>
                  <a:lnTo>
                    <a:pt x="129" y="0"/>
                  </a:lnTo>
                  <a:lnTo>
                    <a:pt x="129" y="2"/>
                  </a:lnTo>
                  <a:lnTo>
                    <a:pt x="129" y="4"/>
                  </a:lnTo>
                  <a:lnTo>
                    <a:pt x="131" y="6"/>
                  </a:lnTo>
                  <a:lnTo>
                    <a:pt x="133" y="8"/>
                  </a:lnTo>
                  <a:lnTo>
                    <a:pt x="133" y="10"/>
                  </a:lnTo>
                  <a:lnTo>
                    <a:pt x="135" y="10"/>
                  </a:lnTo>
                  <a:lnTo>
                    <a:pt x="135" y="11"/>
                  </a:lnTo>
                  <a:lnTo>
                    <a:pt x="137" y="11"/>
                  </a:lnTo>
                  <a:lnTo>
                    <a:pt x="138" y="13"/>
                  </a:lnTo>
                  <a:lnTo>
                    <a:pt x="140" y="13"/>
                  </a:lnTo>
                  <a:lnTo>
                    <a:pt x="142" y="13"/>
                  </a:lnTo>
                  <a:lnTo>
                    <a:pt x="142" y="15"/>
                  </a:lnTo>
                  <a:lnTo>
                    <a:pt x="144" y="15"/>
                  </a:lnTo>
                  <a:lnTo>
                    <a:pt x="146" y="19"/>
                  </a:lnTo>
                  <a:lnTo>
                    <a:pt x="146" y="21"/>
                  </a:lnTo>
                  <a:lnTo>
                    <a:pt x="148" y="23"/>
                  </a:lnTo>
                  <a:lnTo>
                    <a:pt x="148" y="25"/>
                  </a:lnTo>
                  <a:lnTo>
                    <a:pt x="148" y="27"/>
                  </a:lnTo>
                  <a:lnTo>
                    <a:pt x="146" y="29"/>
                  </a:lnTo>
                  <a:lnTo>
                    <a:pt x="144" y="31"/>
                  </a:lnTo>
                  <a:lnTo>
                    <a:pt x="142" y="35"/>
                  </a:lnTo>
                  <a:lnTo>
                    <a:pt x="140" y="35"/>
                  </a:lnTo>
                  <a:lnTo>
                    <a:pt x="140" y="36"/>
                  </a:lnTo>
                  <a:lnTo>
                    <a:pt x="140" y="38"/>
                  </a:lnTo>
                  <a:lnTo>
                    <a:pt x="140" y="40"/>
                  </a:lnTo>
                  <a:lnTo>
                    <a:pt x="140" y="42"/>
                  </a:lnTo>
                  <a:lnTo>
                    <a:pt x="142" y="42"/>
                  </a:lnTo>
                  <a:close/>
                  <a:moveTo>
                    <a:pt x="10" y="342"/>
                  </a:moveTo>
                  <a:lnTo>
                    <a:pt x="12" y="342"/>
                  </a:lnTo>
                  <a:lnTo>
                    <a:pt x="10" y="342"/>
                  </a:lnTo>
                  <a:lnTo>
                    <a:pt x="12" y="342"/>
                  </a:lnTo>
                  <a:lnTo>
                    <a:pt x="10" y="342"/>
                  </a:lnTo>
                  <a:lnTo>
                    <a:pt x="10" y="344"/>
                  </a:lnTo>
                  <a:lnTo>
                    <a:pt x="12" y="344"/>
                  </a:lnTo>
                  <a:lnTo>
                    <a:pt x="10" y="344"/>
                  </a:lnTo>
                  <a:lnTo>
                    <a:pt x="12" y="344"/>
                  </a:lnTo>
                  <a:lnTo>
                    <a:pt x="10" y="342"/>
                  </a:lnTo>
                  <a:lnTo>
                    <a:pt x="10" y="344"/>
                  </a:lnTo>
                  <a:lnTo>
                    <a:pt x="10" y="342"/>
                  </a:lnTo>
                  <a:lnTo>
                    <a:pt x="12" y="342"/>
                  </a:lnTo>
                  <a:lnTo>
                    <a:pt x="10" y="342"/>
                  </a:lnTo>
                  <a:lnTo>
                    <a:pt x="12" y="342"/>
                  </a:lnTo>
                  <a:lnTo>
                    <a:pt x="12" y="344"/>
                  </a:lnTo>
                  <a:lnTo>
                    <a:pt x="12" y="342"/>
                  </a:lnTo>
                  <a:lnTo>
                    <a:pt x="12" y="344"/>
                  </a:lnTo>
                  <a:lnTo>
                    <a:pt x="14" y="344"/>
                  </a:lnTo>
                  <a:lnTo>
                    <a:pt x="14" y="346"/>
                  </a:lnTo>
                  <a:lnTo>
                    <a:pt x="16" y="346"/>
                  </a:lnTo>
                  <a:lnTo>
                    <a:pt x="16" y="348"/>
                  </a:lnTo>
                  <a:lnTo>
                    <a:pt x="14" y="348"/>
                  </a:lnTo>
                  <a:lnTo>
                    <a:pt x="14" y="346"/>
                  </a:lnTo>
                  <a:lnTo>
                    <a:pt x="14" y="348"/>
                  </a:lnTo>
                  <a:lnTo>
                    <a:pt x="16" y="348"/>
                  </a:lnTo>
                  <a:lnTo>
                    <a:pt x="14" y="348"/>
                  </a:lnTo>
                  <a:lnTo>
                    <a:pt x="14" y="350"/>
                  </a:lnTo>
                  <a:lnTo>
                    <a:pt x="14" y="348"/>
                  </a:lnTo>
                  <a:lnTo>
                    <a:pt x="12" y="348"/>
                  </a:lnTo>
                  <a:lnTo>
                    <a:pt x="12" y="346"/>
                  </a:lnTo>
                  <a:lnTo>
                    <a:pt x="12" y="344"/>
                  </a:lnTo>
                  <a:lnTo>
                    <a:pt x="12" y="346"/>
                  </a:lnTo>
                  <a:lnTo>
                    <a:pt x="12" y="348"/>
                  </a:lnTo>
                  <a:lnTo>
                    <a:pt x="12" y="350"/>
                  </a:lnTo>
                  <a:lnTo>
                    <a:pt x="12" y="348"/>
                  </a:lnTo>
                  <a:lnTo>
                    <a:pt x="12" y="350"/>
                  </a:lnTo>
                  <a:lnTo>
                    <a:pt x="12" y="351"/>
                  </a:lnTo>
                  <a:lnTo>
                    <a:pt x="14" y="351"/>
                  </a:lnTo>
                  <a:lnTo>
                    <a:pt x="16" y="351"/>
                  </a:lnTo>
                  <a:lnTo>
                    <a:pt x="14" y="351"/>
                  </a:lnTo>
                  <a:lnTo>
                    <a:pt x="16" y="351"/>
                  </a:lnTo>
                  <a:lnTo>
                    <a:pt x="14" y="351"/>
                  </a:lnTo>
                  <a:lnTo>
                    <a:pt x="14" y="353"/>
                  </a:lnTo>
                  <a:lnTo>
                    <a:pt x="16" y="353"/>
                  </a:lnTo>
                  <a:lnTo>
                    <a:pt x="14" y="353"/>
                  </a:lnTo>
                  <a:lnTo>
                    <a:pt x="16" y="353"/>
                  </a:lnTo>
                  <a:lnTo>
                    <a:pt x="14" y="353"/>
                  </a:lnTo>
                  <a:lnTo>
                    <a:pt x="16" y="353"/>
                  </a:lnTo>
                  <a:lnTo>
                    <a:pt x="14" y="353"/>
                  </a:lnTo>
                  <a:lnTo>
                    <a:pt x="14" y="355"/>
                  </a:lnTo>
                  <a:lnTo>
                    <a:pt x="14" y="353"/>
                  </a:lnTo>
                  <a:lnTo>
                    <a:pt x="14" y="355"/>
                  </a:lnTo>
                  <a:lnTo>
                    <a:pt x="14" y="353"/>
                  </a:lnTo>
                  <a:lnTo>
                    <a:pt x="14" y="355"/>
                  </a:lnTo>
                  <a:lnTo>
                    <a:pt x="14" y="353"/>
                  </a:lnTo>
                  <a:lnTo>
                    <a:pt x="14" y="355"/>
                  </a:lnTo>
                  <a:lnTo>
                    <a:pt x="14" y="353"/>
                  </a:lnTo>
                  <a:lnTo>
                    <a:pt x="12" y="353"/>
                  </a:lnTo>
                  <a:lnTo>
                    <a:pt x="12" y="351"/>
                  </a:lnTo>
                  <a:lnTo>
                    <a:pt x="10" y="351"/>
                  </a:lnTo>
                  <a:lnTo>
                    <a:pt x="12" y="351"/>
                  </a:lnTo>
                  <a:lnTo>
                    <a:pt x="10" y="351"/>
                  </a:lnTo>
                  <a:lnTo>
                    <a:pt x="8" y="351"/>
                  </a:lnTo>
                  <a:lnTo>
                    <a:pt x="8" y="350"/>
                  </a:lnTo>
                  <a:lnTo>
                    <a:pt x="6" y="348"/>
                  </a:lnTo>
                  <a:lnTo>
                    <a:pt x="8" y="348"/>
                  </a:lnTo>
                  <a:lnTo>
                    <a:pt x="6" y="348"/>
                  </a:lnTo>
                  <a:lnTo>
                    <a:pt x="6" y="346"/>
                  </a:lnTo>
                  <a:lnTo>
                    <a:pt x="8" y="346"/>
                  </a:lnTo>
                  <a:lnTo>
                    <a:pt x="6" y="346"/>
                  </a:lnTo>
                  <a:lnTo>
                    <a:pt x="8" y="346"/>
                  </a:lnTo>
                  <a:lnTo>
                    <a:pt x="8" y="344"/>
                  </a:lnTo>
                  <a:lnTo>
                    <a:pt x="8" y="346"/>
                  </a:lnTo>
                  <a:lnTo>
                    <a:pt x="8" y="344"/>
                  </a:lnTo>
                  <a:lnTo>
                    <a:pt x="8" y="346"/>
                  </a:lnTo>
                  <a:lnTo>
                    <a:pt x="8" y="348"/>
                  </a:lnTo>
                  <a:lnTo>
                    <a:pt x="8" y="346"/>
                  </a:lnTo>
                  <a:lnTo>
                    <a:pt x="8" y="348"/>
                  </a:lnTo>
                  <a:lnTo>
                    <a:pt x="10" y="348"/>
                  </a:lnTo>
                  <a:lnTo>
                    <a:pt x="8" y="348"/>
                  </a:lnTo>
                  <a:lnTo>
                    <a:pt x="8" y="346"/>
                  </a:lnTo>
                  <a:lnTo>
                    <a:pt x="10" y="346"/>
                  </a:lnTo>
                  <a:lnTo>
                    <a:pt x="8" y="346"/>
                  </a:lnTo>
                  <a:lnTo>
                    <a:pt x="10" y="346"/>
                  </a:lnTo>
                  <a:lnTo>
                    <a:pt x="8" y="346"/>
                  </a:lnTo>
                  <a:lnTo>
                    <a:pt x="10" y="346"/>
                  </a:lnTo>
                  <a:lnTo>
                    <a:pt x="8" y="346"/>
                  </a:lnTo>
                  <a:lnTo>
                    <a:pt x="10" y="346"/>
                  </a:lnTo>
                  <a:lnTo>
                    <a:pt x="8" y="346"/>
                  </a:lnTo>
                  <a:lnTo>
                    <a:pt x="10" y="346"/>
                  </a:lnTo>
                  <a:lnTo>
                    <a:pt x="10" y="348"/>
                  </a:lnTo>
                  <a:lnTo>
                    <a:pt x="10" y="346"/>
                  </a:lnTo>
                  <a:lnTo>
                    <a:pt x="10" y="348"/>
                  </a:lnTo>
                  <a:lnTo>
                    <a:pt x="10" y="346"/>
                  </a:lnTo>
                  <a:lnTo>
                    <a:pt x="10" y="344"/>
                  </a:lnTo>
                  <a:lnTo>
                    <a:pt x="10" y="346"/>
                  </a:lnTo>
                  <a:lnTo>
                    <a:pt x="10" y="344"/>
                  </a:lnTo>
                  <a:lnTo>
                    <a:pt x="8" y="344"/>
                  </a:lnTo>
                  <a:lnTo>
                    <a:pt x="10" y="344"/>
                  </a:lnTo>
                  <a:lnTo>
                    <a:pt x="8" y="344"/>
                  </a:lnTo>
                  <a:lnTo>
                    <a:pt x="8" y="342"/>
                  </a:lnTo>
                  <a:lnTo>
                    <a:pt x="8" y="344"/>
                  </a:lnTo>
                  <a:lnTo>
                    <a:pt x="8" y="342"/>
                  </a:lnTo>
                  <a:lnTo>
                    <a:pt x="10" y="342"/>
                  </a:lnTo>
                  <a:close/>
                  <a:moveTo>
                    <a:pt x="56" y="344"/>
                  </a:moveTo>
                  <a:lnTo>
                    <a:pt x="56" y="346"/>
                  </a:lnTo>
                  <a:lnTo>
                    <a:pt x="54" y="346"/>
                  </a:lnTo>
                  <a:lnTo>
                    <a:pt x="56" y="346"/>
                  </a:lnTo>
                  <a:lnTo>
                    <a:pt x="54" y="346"/>
                  </a:lnTo>
                  <a:lnTo>
                    <a:pt x="54" y="348"/>
                  </a:lnTo>
                  <a:lnTo>
                    <a:pt x="52" y="348"/>
                  </a:lnTo>
                  <a:lnTo>
                    <a:pt x="54" y="348"/>
                  </a:lnTo>
                  <a:lnTo>
                    <a:pt x="54" y="350"/>
                  </a:lnTo>
                  <a:lnTo>
                    <a:pt x="52" y="350"/>
                  </a:lnTo>
                  <a:lnTo>
                    <a:pt x="54" y="350"/>
                  </a:lnTo>
                  <a:lnTo>
                    <a:pt x="52" y="350"/>
                  </a:lnTo>
                  <a:lnTo>
                    <a:pt x="54" y="350"/>
                  </a:lnTo>
                  <a:lnTo>
                    <a:pt x="54" y="351"/>
                  </a:lnTo>
                  <a:lnTo>
                    <a:pt x="52" y="351"/>
                  </a:lnTo>
                  <a:lnTo>
                    <a:pt x="52" y="353"/>
                  </a:lnTo>
                  <a:lnTo>
                    <a:pt x="50" y="353"/>
                  </a:lnTo>
                  <a:lnTo>
                    <a:pt x="48" y="353"/>
                  </a:lnTo>
                  <a:lnTo>
                    <a:pt x="50" y="353"/>
                  </a:lnTo>
                  <a:lnTo>
                    <a:pt x="50" y="351"/>
                  </a:lnTo>
                  <a:lnTo>
                    <a:pt x="50" y="353"/>
                  </a:lnTo>
                  <a:lnTo>
                    <a:pt x="48" y="353"/>
                  </a:lnTo>
                  <a:lnTo>
                    <a:pt x="46" y="353"/>
                  </a:lnTo>
                  <a:lnTo>
                    <a:pt x="48" y="353"/>
                  </a:lnTo>
                  <a:lnTo>
                    <a:pt x="46" y="353"/>
                  </a:lnTo>
                  <a:lnTo>
                    <a:pt x="48" y="353"/>
                  </a:lnTo>
                  <a:lnTo>
                    <a:pt x="48" y="355"/>
                  </a:lnTo>
                  <a:lnTo>
                    <a:pt x="46" y="355"/>
                  </a:lnTo>
                  <a:lnTo>
                    <a:pt x="46" y="353"/>
                  </a:lnTo>
                  <a:lnTo>
                    <a:pt x="46" y="351"/>
                  </a:lnTo>
                  <a:lnTo>
                    <a:pt x="48" y="351"/>
                  </a:lnTo>
                  <a:lnTo>
                    <a:pt x="46" y="351"/>
                  </a:lnTo>
                  <a:lnTo>
                    <a:pt x="46" y="350"/>
                  </a:lnTo>
                  <a:lnTo>
                    <a:pt x="46" y="351"/>
                  </a:lnTo>
                  <a:lnTo>
                    <a:pt x="46" y="350"/>
                  </a:lnTo>
                  <a:lnTo>
                    <a:pt x="48" y="350"/>
                  </a:lnTo>
                  <a:lnTo>
                    <a:pt x="46" y="350"/>
                  </a:lnTo>
                  <a:lnTo>
                    <a:pt x="48" y="350"/>
                  </a:lnTo>
                  <a:lnTo>
                    <a:pt x="50" y="350"/>
                  </a:lnTo>
                  <a:lnTo>
                    <a:pt x="48" y="350"/>
                  </a:lnTo>
                  <a:lnTo>
                    <a:pt x="46" y="350"/>
                  </a:lnTo>
                  <a:lnTo>
                    <a:pt x="48" y="350"/>
                  </a:lnTo>
                  <a:lnTo>
                    <a:pt x="46" y="350"/>
                  </a:lnTo>
                  <a:lnTo>
                    <a:pt x="46" y="348"/>
                  </a:lnTo>
                  <a:lnTo>
                    <a:pt x="48" y="348"/>
                  </a:lnTo>
                  <a:lnTo>
                    <a:pt x="50" y="348"/>
                  </a:lnTo>
                  <a:lnTo>
                    <a:pt x="52" y="348"/>
                  </a:lnTo>
                  <a:lnTo>
                    <a:pt x="54" y="348"/>
                  </a:lnTo>
                  <a:lnTo>
                    <a:pt x="54" y="346"/>
                  </a:lnTo>
                  <a:lnTo>
                    <a:pt x="54" y="344"/>
                  </a:lnTo>
                  <a:lnTo>
                    <a:pt x="54" y="346"/>
                  </a:lnTo>
                  <a:lnTo>
                    <a:pt x="54" y="344"/>
                  </a:lnTo>
                  <a:lnTo>
                    <a:pt x="56" y="344"/>
                  </a:lnTo>
                  <a:close/>
                  <a:moveTo>
                    <a:pt x="29" y="250"/>
                  </a:moveTo>
                  <a:lnTo>
                    <a:pt x="29" y="252"/>
                  </a:lnTo>
                  <a:lnTo>
                    <a:pt x="29" y="250"/>
                  </a:lnTo>
                  <a:lnTo>
                    <a:pt x="29" y="252"/>
                  </a:lnTo>
                  <a:lnTo>
                    <a:pt x="29" y="250"/>
                  </a:lnTo>
                  <a:lnTo>
                    <a:pt x="29" y="252"/>
                  </a:lnTo>
                  <a:lnTo>
                    <a:pt x="27" y="252"/>
                  </a:lnTo>
                  <a:lnTo>
                    <a:pt x="27" y="254"/>
                  </a:lnTo>
                  <a:lnTo>
                    <a:pt x="27" y="252"/>
                  </a:lnTo>
                  <a:lnTo>
                    <a:pt x="27" y="254"/>
                  </a:lnTo>
                  <a:lnTo>
                    <a:pt x="29" y="254"/>
                  </a:lnTo>
                  <a:lnTo>
                    <a:pt x="29" y="252"/>
                  </a:lnTo>
                  <a:lnTo>
                    <a:pt x="29" y="254"/>
                  </a:lnTo>
                  <a:lnTo>
                    <a:pt x="29" y="252"/>
                  </a:lnTo>
                  <a:lnTo>
                    <a:pt x="29" y="254"/>
                  </a:lnTo>
                  <a:lnTo>
                    <a:pt x="29" y="252"/>
                  </a:lnTo>
                  <a:lnTo>
                    <a:pt x="31" y="252"/>
                  </a:lnTo>
                  <a:lnTo>
                    <a:pt x="29" y="252"/>
                  </a:lnTo>
                  <a:lnTo>
                    <a:pt x="31" y="252"/>
                  </a:lnTo>
                  <a:lnTo>
                    <a:pt x="29" y="252"/>
                  </a:lnTo>
                  <a:lnTo>
                    <a:pt x="31" y="252"/>
                  </a:lnTo>
                  <a:lnTo>
                    <a:pt x="29" y="252"/>
                  </a:lnTo>
                  <a:lnTo>
                    <a:pt x="29" y="254"/>
                  </a:lnTo>
                  <a:lnTo>
                    <a:pt x="31" y="254"/>
                  </a:lnTo>
                  <a:lnTo>
                    <a:pt x="29" y="254"/>
                  </a:lnTo>
                  <a:lnTo>
                    <a:pt x="31" y="254"/>
                  </a:lnTo>
                  <a:lnTo>
                    <a:pt x="33" y="254"/>
                  </a:lnTo>
                  <a:lnTo>
                    <a:pt x="31" y="254"/>
                  </a:lnTo>
                  <a:lnTo>
                    <a:pt x="33" y="254"/>
                  </a:lnTo>
                  <a:lnTo>
                    <a:pt x="31" y="254"/>
                  </a:lnTo>
                  <a:lnTo>
                    <a:pt x="33" y="254"/>
                  </a:lnTo>
                  <a:lnTo>
                    <a:pt x="33" y="252"/>
                  </a:lnTo>
                  <a:lnTo>
                    <a:pt x="31" y="252"/>
                  </a:lnTo>
                  <a:lnTo>
                    <a:pt x="31" y="254"/>
                  </a:lnTo>
                  <a:lnTo>
                    <a:pt x="31" y="252"/>
                  </a:lnTo>
                  <a:lnTo>
                    <a:pt x="33" y="252"/>
                  </a:lnTo>
                  <a:lnTo>
                    <a:pt x="33" y="254"/>
                  </a:lnTo>
                  <a:lnTo>
                    <a:pt x="33" y="255"/>
                  </a:lnTo>
                  <a:lnTo>
                    <a:pt x="31" y="255"/>
                  </a:lnTo>
                  <a:lnTo>
                    <a:pt x="31" y="257"/>
                  </a:lnTo>
                  <a:lnTo>
                    <a:pt x="29" y="257"/>
                  </a:lnTo>
                  <a:lnTo>
                    <a:pt x="31" y="257"/>
                  </a:lnTo>
                  <a:lnTo>
                    <a:pt x="29" y="257"/>
                  </a:lnTo>
                  <a:lnTo>
                    <a:pt x="29" y="255"/>
                  </a:lnTo>
                  <a:lnTo>
                    <a:pt x="27" y="255"/>
                  </a:lnTo>
                  <a:lnTo>
                    <a:pt x="29" y="255"/>
                  </a:lnTo>
                  <a:lnTo>
                    <a:pt x="27" y="255"/>
                  </a:lnTo>
                  <a:lnTo>
                    <a:pt x="29" y="255"/>
                  </a:lnTo>
                  <a:lnTo>
                    <a:pt x="27" y="255"/>
                  </a:lnTo>
                  <a:lnTo>
                    <a:pt x="29" y="255"/>
                  </a:lnTo>
                  <a:lnTo>
                    <a:pt x="27" y="255"/>
                  </a:lnTo>
                  <a:lnTo>
                    <a:pt x="29" y="255"/>
                  </a:lnTo>
                  <a:lnTo>
                    <a:pt x="27" y="255"/>
                  </a:lnTo>
                  <a:lnTo>
                    <a:pt x="29" y="255"/>
                  </a:lnTo>
                  <a:lnTo>
                    <a:pt x="27" y="255"/>
                  </a:lnTo>
                  <a:lnTo>
                    <a:pt x="27" y="254"/>
                  </a:lnTo>
                  <a:lnTo>
                    <a:pt x="29" y="254"/>
                  </a:lnTo>
                  <a:lnTo>
                    <a:pt x="29" y="255"/>
                  </a:lnTo>
                  <a:lnTo>
                    <a:pt x="29" y="254"/>
                  </a:lnTo>
                  <a:lnTo>
                    <a:pt x="27" y="254"/>
                  </a:lnTo>
                  <a:lnTo>
                    <a:pt x="27" y="252"/>
                  </a:lnTo>
                  <a:lnTo>
                    <a:pt x="29" y="252"/>
                  </a:lnTo>
                  <a:lnTo>
                    <a:pt x="29" y="250"/>
                  </a:lnTo>
                  <a:lnTo>
                    <a:pt x="29" y="252"/>
                  </a:lnTo>
                  <a:lnTo>
                    <a:pt x="29" y="250"/>
                  </a:lnTo>
                  <a:close/>
                  <a:moveTo>
                    <a:pt x="83" y="192"/>
                  </a:moveTo>
                  <a:lnTo>
                    <a:pt x="85" y="192"/>
                  </a:lnTo>
                  <a:lnTo>
                    <a:pt x="85" y="194"/>
                  </a:lnTo>
                  <a:lnTo>
                    <a:pt x="83" y="194"/>
                  </a:lnTo>
                  <a:lnTo>
                    <a:pt x="81" y="194"/>
                  </a:lnTo>
                  <a:lnTo>
                    <a:pt x="83" y="194"/>
                  </a:lnTo>
                  <a:lnTo>
                    <a:pt x="81" y="194"/>
                  </a:lnTo>
                  <a:lnTo>
                    <a:pt x="83" y="194"/>
                  </a:lnTo>
                  <a:lnTo>
                    <a:pt x="81" y="194"/>
                  </a:lnTo>
                  <a:lnTo>
                    <a:pt x="83" y="194"/>
                  </a:lnTo>
                  <a:lnTo>
                    <a:pt x="81" y="194"/>
                  </a:lnTo>
                  <a:lnTo>
                    <a:pt x="81" y="196"/>
                  </a:lnTo>
                  <a:lnTo>
                    <a:pt x="81" y="194"/>
                  </a:lnTo>
                  <a:lnTo>
                    <a:pt x="81" y="196"/>
                  </a:lnTo>
                  <a:lnTo>
                    <a:pt x="81" y="194"/>
                  </a:lnTo>
                  <a:lnTo>
                    <a:pt x="81" y="196"/>
                  </a:lnTo>
                  <a:lnTo>
                    <a:pt x="81" y="194"/>
                  </a:lnTo>
                  <a:lnTo>
                    <a:pt x="81" y="196"/>
                  </a:lnTo>
                  <a:lnTo>
                    <a:pt x="81" y="194"/>
                  </a:lnTo>
                  <a:lnTo>
                    <a:pt x="81" y="196"/>
                  </a:lnTo>
                  <a:lnTo>
                    <a:pt x="81" y="194"/>
                  </a:lnTo>
                  <a:lnTo>
                    <a:pt x="81" y="196"/>
                  </a:lnTo>
                  <a:lnTo>
                    <a:pt x="83" y="196"/>
                  </a:lnTo>
                  <a:lnTo>
                    <a:pt x="81" y="196"/>
                  </a:lnTo>
                  <a:lnTo>
                    <a:pt x="83" y="196"/>
                  </a:lnTo>
                  <a:lnTo>
                    <a:pt x="81" y="196"/>
                  </a:lnTo>
                  <a:lnTo>
                    <a:pt x="81" y="198"/>
                  </a:lnTo>
                  <a:lnTo>
                    <a:pt x="81" y="196"/>
                  </a:lnTo>
                  <a:lnTo>
                    <a:pt x="79" y="196"/>
                  </a:lnTo>
                  <a:lnTo>
                    <a:pt x="79" y="194"/>
                  </a:lnTo>
                  <a:lnTo>
                    <a:pt x="77" y="194"/>
                  </a:lnTo>
                  <a:lnTo>
                    <a:pt x="79" y="194"/>
                  </a:lnTo>
                  <a:lnTo>
                    <a:pt x="79" y="192"/>
                  </a:lnTo>
                  <a:lnTo>
                    <a:pt x="81" y="192"/>
                  </a:lnTo>
                  <a:lnTo>
                    <a:pt x="83" y="192"/>
                  </a:lnTo>
                  <a:close/>
                  <a:moveTo>
                    <a:pt x="39" y="340"/>
                  </a:moveTo>
                  <a:lnTo>
                    <a:pt x="41" y="340"/>
                  </a:lnTo>
                  <a:lnTo>
                    <a:pt x="41" y="342"/>
                  </a:lnTo>
                  <a:lnTo>
                    <a:pt x="39" y="342"/>
                  </a:lnTo>
                  <a:lnTo>
                    <a:pt x="41" y="342"/>
                  </a:lnTo>
                  <a:lnTo>
                    <a:pt x="41" y="344"/>
                  </a:lnTo>
                  <a:lnTo>
                    <a:pt x="39" y="344"/>
                  </a:lnTo>
                  <a:lnTo>
                    <a:pt x="41" y="344"/>
                  </a:lnTo>
                  <a:lnTo>
                    <a:pt x="39" y="344"/>
                  </a:lnTo>
                  <a:lnTo>
                    <a:pt x="39" y="342"/>
                  </a:lnTo>
                  <a:lnTo>
                    <a:pt x="37" y="342"/>
                  </a:lnTo>
                  <a:lnTo>
                    <a:pt x="39" y="342"/>
                  </a:lnTo>
                  <a:lnTo>
                    <a:pt x="37" y="342"/>
                  </a:lnTo>
                  <a:lnTo>
                    <a:pt x="39" y="342"/>
                  </a:lnTo>
                  <a:lnTo>
                    <a:pt x="37" y="342"/>
                  </a:lnTo>
                  <a:lnTo>
                    <a:pt x="39" y="342"/>
                  </a:lnTo>
                  <a:lnTo>
                    <a:pt x="39" y="340"/>
                  </a:lnTo>
                  <a:lnTo>
                    <a:pt x="39" y="342"/>
                  </a:lnTo>
                  <a:lnTo>
                    <a:pt x="37" y="342"/>
                  </a:lnTo>
                  <a:lnTo>
                    <a:pt x="39" y="342"/>
                  </a:lnTo>
                  <a:lnTo>
                    <a:pt x="37" y="342"/>
                  </a:lnTo>
                  <a:lnTo>
                    <a:pt x="39" y="342"/>
                  </a:lnTo>
                  <a:lnTo>
                    <a:pt x="37" y="342"/>
                  </a:lnTo>
                  <a:lnTo>
                    <a:pt x="39" y="342"/>
                  </a:lnTo>
                  <a:lnTo>
                    <a:pt x="37" y="342"/>
                  </a:lnTo>
                  <a:lnTo>
                    <a:pt x="37" y="340"/>
                  </a:lnTo>
                  <a:lnTo>
                    <a:pt x="39" y="340"/>
                  </a:lnTo>
                  <a:lnTo>
                    <a:pt x="37" y="340"/>
                  </a:lnTo>
                  <a:lnTo>
                    <a:pt x="39" y="340"/>
                  </a:lnTo>
                  <a:close/>
                  <a:moveTo>
                    <a:pt x="31" y="334"/>
                  </a:moveTo>
                  <a:lnTo>
                    <a:pt x="31" y="336"/>
                  </a:lnTo>
                  <a:lnTo>
                    <a:pt x="31" y="334"/>
                  </a:lnTo>
                  <a:lnTo>
                    <a:pt x="31" y="336"/>
                  </a:lnTo>
                  <a:lnTo>
                    <a:pt x="31" y="334"/>
                  </a:lnTo>
                  <a:lnTo>
                    <a:pt x="31" y="336"/>
                  </a:lnTo>
                  <a:lnTo>
                    <a:pt x="31" y="334"/>
                  </a:lnTo>
                  <a:lnTo>
                    <a:pt x="31" y="336"/>
                  </a:lnTo>
                  <a:lnTo>
                    <a:pt x="31" y="334"/>
                  </a:lnTo>
                  <a:lnTo>
                    <a:pt x="31" y="336"/>
                  </a:lnTo>
                  <a:lnTo>
                    <a:pt x="33" y="336"/>
                  </a:lnTo>
                  <a:lnTo>
                    <a:pt x="31" y="336"/>
                  </a:lnTo>
                  <a:lnTo>
                    <a:pt x="33" y="336"/>
                  </a:lnTo>
                  <a:lnTo>
                    <a:pt x="33" y="338"/>
                  </a:lnTo>
                  <a:lnTo>
                    <a:pt x="33" y="336"/>
                  </a:lnTo>
                  <a:lnTo>
                    <a:pt x="33" y="338"/>
                  </a:lnTo>
                  <a:lnTo>
                    <a:pt x="35" y="338"/>
                  </a:lnTo>
                  <a:lnTo>
                    <a:pt x="33" y="338"/>
                  </a:lnTo>
                  <a:lnTo>
                    <a:pt x="35" y="338"/>
                  </a:lnTo>
                  <a:lnTo>
                    <a:pt x="33" y="338"/>
                  </a:lnTo>
                  <a:lnTo>
                    <a:pt x="33" y="340"/>
                  </a:lnTo>
                  <a:lnTo>
                    <a:pt x="33" y="338"/>
                  </a:lnTo>
                  <a:lnTo>
                    <a:pt x="33" y="340"/>
                  </a:lnTo>
                  <a:lnTo>
                    <a:pt x="33" y="338"/>
                  </a:lnTo>
                  <a:lnTo>
                    <a:pt x="31" y="338"/>
                  </a:lnTo>
                  <a:lnTo>
                    <a:pt x="31" y="336"/>
                  </a:lnTo>
                  <a:lnTo>
                    <a:pt x="31" y="338"/>
                  </a:lnTo>
                  <a:lnTo>
                    <a:pt x="31" y="336"/>
                  </a:lnTo>
                  <a:lnTo>
                    <a:pt x="31" y="338"/>
                  </a:lnTo>
                  <a:lnTo>
                    <a:pt x="31" y="336"/>
                  </a:lnTo>
                  <a:lnTo>
                    <a:pt x="29" y="336"/>
                  </a:lnTo>
                  <a:lnTo>
                    <a:pt x="29" y="334"/>
                  </a:lnTo>
                  <a:lnTo>
                    <a:pt x="29" y="336"/>
                  </a:lnTo>
                  <a:lnTo>
                    <a:pt x="29" y="334"/>
                  </a:lnTo>
                  <a:lnTo>
                    <a:pt x="31" y="334"/>
                  </a:lnTo>
                  <a:lnTo>
                    <a:pt x="29" y="334"/>
                  </a:lnTo>
                  <a:lnTo>
                    <a:pt x="31" y="334"/>
                  </a:lnTo>
                  <a:close/>
                  <a:moveTo>
                    <a:pt x="41" y="250"/>
                  </a:moveTo>
                  <a:lnTo>
                    <a:pt x="43" y="250"/>
                  </a:lnTo>
                  <a:lnTo>
                    <a:pt x="41" y="250"/>
                  </a:lnTo>
                  <a:lnTo>
                    <a:pt x="41" y="252"/>
                  </a:lnTo>
                  <a:lnTo>
                    <a:pt x="41" y="250"/>
                  </a:lnTo>
                  <a:lnTo>
                    <a:pt x="41" y="252"/>
                  </a:lnTo>
                  <a:lnTo>
                    <a:pt x="41" y="250"/>
                  </a:lnTo>
                  <a:lnTo>
                    <a:pt x="41" y="252"/>
                  </a:lnTo>
                  <a:lnTo>
                    <a:pt x="43" y="252"/>
                  </a:lnTo>
                  <a:lnTo>
                    <a:pt x="41" y="252"/>
                  </a:lnTo>
                  <a:lnTo>
                    <a:pt x="43" y="252"/>
                  </a:lnTo>
                  <a:lnTo>
                    <a:pt x="44" y="252"/>
                  </a:lnTo>
                  <a:lnTo>
                    <a:pt x="43" y="252"/>
                  </a:lnTo>
                  <a:lnTo>
                    <a:pt x="44" y="252"/>
                  </a:lnTo>
                  <a:lnTo>
                    <a:pt x="43" y="252"/>
                  </a:lnTo>
                  <a:lnTo>
                    <a:pt x="44" y="252"/>
                  </a:lnTo>
                  <a:lnTo>
                    <a:pt x="44" y="250"/>
                  </a:lnTo>
                  <a:lnTo>
                    <a:pt x="44" y="252"/>
                  </a:lnTo>
                  <a:lnTo>
                    <a:pt x="44" y="254"/>
                  </a:lnTo>
                  <a:lnTo>
                    <a:pt x="43" y="254"/>
                  </a:lnTo>
                  <a:lnTo>
                    <a:pt x="43" y="252"/>
                  </a:lnTo>
                  <a:lnTo>
                    <a:pt x="43" y="254"/>
                  </a:lnTo>
                  <a:lnTo>
                    <a:pt x="43" y="252"/>
                  </a:lnTo>
                  <a:lnTo>
                    <a:pt x="43" y="254"/>
                  </a:lnTo>
                  <a:lnTo>
                    <a:pt x="41" y="254"/>
                  </a:lnTo>
                  <a:lnTo>
                    <a:pt x="43" y="254"/>
                  </a:lnTo>
                  <a:lnTo>
                    <a:pt x="41" y="254"/>
                  </a:lnTo>
                  <a:lnTo>
                    <a:pt x="41" y="252"/>
                  </a:lnTo>
                  <a:lnTo>
                    <a:pt x="41" y="254"/>
                  </a:lnTo>
                  <a:lnTo>
                    <a:pt x="41" y="252"/>
                  </a:lnTo>
                  <a:lnTo>
                    <a:pt x="41" y="250"/>
                  </a:lnTo>
                  <a:lnTo>
                    <a:pt x="41" y="252"/>
                  </a:lnTo>
                  <a:lnTo>
                    <a:pt x="41" y="250"/>
                  </a:lnTo>
                  <a:close/>
                  <a:moveTo>
                    <a:pt x="4" y="344"/>
                  </a:moveTo>
                  <a:lnTo>
                    <a:pt x="6" y="344"/>
                  </a:lnTo>
                  <a:lnTo>
                    <a:pt x="6" y="350"/>
                  </a:lnTo>
                  <a:lnTo>
                    <a:pt x="4" y="350"/>
                  </a:lnTo>
                  <a:lnTo>
                    <a:pt x="4" y="344"/>
                  </a:lnTo>
                  <a:close/>
                  <a:moveTo>
                    <a:pt x="44" y="344"/>
                  </a:moveTo>
                  <a:lnTo>
                    <a:pt x="46" y="344"/>
                  </a:lnTo>
                  <a:lnTo>
                    <a:pt x="46" y="346"/>
                  </a:lnTo>
                  <a:lnTo>
                    <a:pt x="44" y="346"/>
                  </a:lnTo>
                  <a:lnTo>
                    <a:pt x="46" y="346"/>
                  </a:lnTo>
                  <a:lnTo>
                    <a:pt x="44" y="346"/>
                  </a:lnTo>
                  <a:lnTo>
                    <a:pt x="43" y="346"/>
                  </a:lnTo>
                  <a:lnTo>
                    <a:pt x="44" y="346"/>
                  </a:lnTo>
                  <a:lnTo>
                    <a:pt x="43" y="346"/>
                  </a:lnTo>
                  <a:lnTo>
                    <a:pt x="43" y="344"/>
                  </a:lnTo>
                  <a:lnTo>
                    <a:pt x="44" y="344"/>
                  </a:lnTo>
                  <a:lnTo>
                    <a:pt x="43" y="344"/>
                  </a:lnTo>
                  <a:lnTo>
                    <a:pt x="44" y="344"/>
                  </a:lnTo>
                  <a:close/>
                  <a:moveTo>
                    <a:pt x="39" y="348"/>
                  </a:moveTo>
                  <a:lnTo>
                    <a:pt x="41" y="348"/>
                  </a:lnTo>
                  <a:lnTo>
                    <a:pt x="41" y="350"/>
                  </a:lnTo>
                  <a:lnTo>
                    <a:pt x="39" y="350"/>
                  </a:lnTo>
                  <a:lnTo>
                    <a:pt x="39" y="348"/>
                  </a:lnTo>
                  <a:lnTo>
                    <a:pt x="39" y="350"/>
                  </a:lnTo>
                  <a:lnTo>
                    <a:pt x="39" y="348"/>
                  </a:lnTo>
                  <a:lnTo>
                    <a:pt x="39" y="350"/>
                  </a:lnTo>
                  <a:lnTo>
                    <a:pt x="39" y="348"/>
                  </a:lnTo>
                  <a:lnTo>
                    <a:pt x="39" y="350"/>
                  </a:lnTo>
                  <a:lnTo>
                    <a:pt x="39" y="348"/>
                  </a:lnTo>
                  <a:lnTo>
                    <a:pt x="39" y="350"/>
                  </a:lnTo>
                  <a:lnTo>
                    <a:pt x="37" y="350"/>
                  </a:lnTo>
                  <a:lnTo>
                    <a:pt x="39" y="350"/>
                  </a:lnTo>
                  <a:lnTo>
                    <a:pt x="37" y="350"/>
                  </a:lnTo>
                  <a:lnTo>
                    <a:pt x="37" y="348"/>
                  </a:lnTo>
                  <a:lnTo>
                    <a:pt x="39" y="348"/>
                  </a:lnTo>
                  <a:close/>
                  <a:moveTo>
                    <a:pt x="33" y="348"/>
                  </a:moveTo>
                  <a:lnTo>
                    <a:pt x="37" y="348"/>
                  </a:lnTo>
                  <a:lnTo>
                    <a:pt x="37" y="351"/>
                  </a:lnTo>
                  <a:lnTo>
                    <a:pt x="33" y="351"/>
                  </a:lnTo>
                  <a:lnTo>
                    <a:pt x="33" y="348"/>
                  </a:lnTo>
                  <a:close/>
                  <a:moveTo>
                    <a:pt x="29" y="250"/>
                  </a:moveTo>
                  <a:lnTo>
                    <a:pt x="33" y="250"/>
                  </a:lnTo>
                  <a:lnTo>
                    <a:pt x="33" y="252"/>
                  </a:lnTo>
                  <a:lnTo>
                    <a:pt x="29" y="252"/>
                  </a:lnTo>
                  <a:lnTo>
                    <a:pt x="29" y="250"/>
                  </a:lnTo>
                  <a:close/>
                  <a:moveTo>
                    <a:pt x="44" y="344"/>
                  </a:moveTo>
                  <a:lnTo>
                    <a:pt x="48" y="344"/>
                  </a:lnTo>
                  <a:lnTo>
                    <a:pt x="48" y="346"/>
                  </a:lnTo>
                  <a:lnTo>
                    <a:pt x="44" y="346"/>
                  </a:lnTo>
                  <a:lnTo>
                    <a:pt x="44" y="344"/>
                  </a:lnTo>
                  <a:close/>
                  <a:moveTo>
                    <a:pt x="43" y="346"/>
                  </a:moveTo>
                  <a:lnTo>
                    <a:pt x="46" y="346"/>
                  </a:lnTo>
                  <a:lnTo>
                    <a:pt x="46" y="348"/>
                  </a:lnTo>
                  <a:lnTo>
                    <a:pt x="43" y="348"/>
                  </a:lnTo>
                  <a:lnTo>
                    <a:pt x="43" y="346"/>
                  </a:lnTo>
                  <a:close/>
                  <a:moveTo>
                    <a:pt x="50" y="236"/>
                  </a:moveTo>
                  <a:lnTo>
                    <a:pt x="52" y="236"/>
                  </a:lnTo>
                  <a:lnTo>
                    <a:pt x="52" y="238"/>
                  </a:lnTo>
                  <a:lnTo>
                    <a:pt x="50" y="238"/>
                  </a:lnTo>
                  <a:lnTo>
                    <a:pt x="50" y="236"/>
                  </a:lnTo>
                  <a:close/>
                  <a:moveTo>
                    <a:pt x="41" y="348"/>
                  </a:moveTo>
                  <a:lnTo>
                    <a:pt x="43" y="348"/>
                  </a:lnTo>
                  <a:lnTo>
                    <a:pt x="43" y="350"/>
                  </a:lnTo>
                  <a:lnTo>
                    <a:pt x="41" y="350"/>
                  </a:lnTo>
                  <a:lnTo>
                    <a:pt x="41" y="348"/>
                  </a:lnTo>
                  <a:close/>
                  <a:moveTo>
                    <a:pt x="29" y="348"/>
                  </a:moveTo>
                  <a:lnTo>
                    <a:pt x="33" y="348"/>
                  </a:lnTo>
                  <a:lnTo>
                    <a:pt x="33" y="350"/>
                  </a:lnTo>
                  <a:lnTo>
                    <a:pt x="29" y="350"/>
                  </a:lnTo>
                  <a:lnTo>
                    <a:pt x="29" y="348"/>
                  </a:lnTo>
                  <a:close/>
                  <a:moveTo>
                    <a:pt x="14" y="350"/>
                  </a:moveTo>
                  <a:lnTo>
                    <a:pt x="16" y="350"/>
                  </a:lnTo>
                  <a:lnTo>
                    <a:pt x="16" y="351"/>
                  </a:lnTo>
                  <a:lnTo>
                    <a:pt x="14" y="351"/>
                  </a:lnTo>
                  <a:lnTo>
                    <a:pt x="14" y="350"/>
                  </a:lnTo>
                  <a:close/>
                  <a:moveTo>
                    <a:pt x="35" y="252"/>
                  </a:moveTo>
                  <a:lnTo>
                    <a:pt x="37" y="252"/>
                  </a:lnTo>
                  <a:lnTo>
                    <a:pt x="37" y="254"/>
                  </a:lnTo>
                  <a:lnTo>
                    <a:pt x="35" y="254"/>
                  </a:lnTo>
                  <a:lnTo>
                    <a:pt x="35" y="252"/>
                  </a:lnTo>
                  <a:close/>
                  <a:moveTo>
                    <a:pt x="44" y="344"/>
                  </a:moveTo>
                  <a:lnTo>
                    <a:pt x="48" y="344"/>
                  </a:lnTo>
                  <a:lnTo>
                    <a:pt x="48" y="348"/>
                  </a:lnTo>
                  <a:lnTo>
                    <a:pt x="44" y="348"/>
                  </a:lnTo>
                  <a:lnTo>
                    <a:pt x="44" y="344"/>
                  </a:lnTo>
                  <a:close/>
                  <a:moveTo>
                    <a:pt x="92" y="344"/>
                  </a:moveTo>
                  <a:lnTo>
                    <a:pt x="94" y="344"/>
                  </a:lnTo>
                  <a:lnTo>
                    <a:pt x="94" y="348"/>
                  </a:lnTo>
                  <a:lnTo>
                    <a:pt x="92" y="348"/>
                  </a:lnTo>
                  <a:lnTo>
                    <a:pt x="92" y="344"/>
                  </a:lnTo>
                  <a:close/>
                  <a:moveTo>
                    <a:pt x="29" y="336"/>
                  </a:moveTo>
                  <a:lnTo>
                    <a:pt x="31" y="336"/>
                  </a:lnTo>
                  <a:lnTo>
                    <a:pt x="31" y="340"/>
                  </a:lnTo>
                  <a:lnTo>
                    <a:pt x="29" y="340"/>
                  </a:lnTo>
                  <a:lnTo>
                    <a:pt x="29" y="336"/>
                  </a:lnTo>
                  <a:close/>
                  <a:moveTo>
                    <a:pt x="29" y="326"/>
                  </a:moveTo>
                  <a:lnTo>
                    <a:pt x="31" y="326"/>
                  </a:lnTo>
                  <a:lnTo>
                    <a:pt x="31" y="330"/>
                  </a:lnTo>
                  <a:lnTo>
                    <a:pt x="29" y="330"/>
                  </a:lnTo>
                  <a:lnTo>
                    <a:pt x="29" y="326"/>
                  </a:lnTo>
                  <a:close/>
                  <a:moveTo>
                    <a:pt x="67" y="353"/>
                  </a:moveTo>
                  <a:lnTo>
                    <a:pt x="69" y="353"/>
                  </a:lnTo>
                  <a:lnTo>
                    <a:pt x="69" y="355"/>
                  </a:lnTo>
                  <a:lnTo>
                    <a:pt x="67" y="355"/>
                  </a:lnTo>
                  <a:lnTo>
                    <a:pt x="67" y="353"/>
                  </a:lnTo>
                  <a:close/>
                  <a:moveTo>
                    <a:pt x="43" y="342"/>
                  </a:moveTo>
                  <a:lnTo>
                    <a:pt x="44" y="342"/>
                  </a:lnTo>
                  <a:lnTo>
                    <a:pt x="44" y="344"/>
                  </a:lnTo>
                  <a:lnTo>
                    <a:pt x="43" y="344"/>
                  </a:lnTo>
                  <a:lnTo>
                    <a:pt x="43" y="342"/>
                  </a:lnTo>
                  <a:close/>
                  <a:moveTo>
                    <a:pt x="71" y="165"/>
                  </a:moveTo>
                  <a:lnTo>
                    <a:pt x="73" y="165"/>
                  </a:lnTo>
                  <a:lnTo>
                    <a:pt x="73" y="169"/>
                  </a:lnTo>
                  <a:lnTo>
                    <a:pt x="71" y="169"/>
                  </a:lnTo>
                  <a:lnTo>
                    <a:pt x="71" y="165"/>
                  </a:lnTo>
                  <a:close/>
                  <a:moveTo>
                    <a:pt x="98" y="344"/>
                  </a:moveTo>
                  <a:lnTo>
                    <a:pt x="100" y="344"/>
                  </a:lnTo>
                  <a:lnTo>
                    <a:pt x="100" y="346"/>
                  </a:lnTo>
                  <a:lnTo>
                    <a:pt x="98" y="346"/>
                  </a:lnTo>
                  <a:lnTo>
                    <a:pt x="98" y="344"/>
                  </a:lnTo>
                  <a:close/>
                  <a:moveTo>
                    <a:pt x="16" y="346"/>
                  </a:moveTo>
                  <a:lnTo>
                    <a:pt x="18" y="346"/>
                  </a:lnTo>
                  <a:lnTo>
                    <a:pt x="18" y="348"/>
                  </a:lnTo>
                  <a:lnTo>
                    <a:pt x="16" y="348"/>
                  </a:lnTo>
                  <a:lnTo>
                    <a:pt x="16" y="346"/>
                  </a:lnTo>
                  <a:close/>
                  <a:moveTo>
                    <a:pt x="39" y="340"/>
                  </a:moveTo>
                  <a:lnTo>
                    <a:pt x="43" y="340"/>
                  </a:lnTo>
                  <a:lnTo>
                    <a:pt x="43" y="342"/>
                  </a:lnTo>
                  <a:lnTo>
                    <a:pt x="39" y="342"/>
                  </a:lnTo>
                  <a:lnTo>
                    <a:pt x="39" y="340"/>
                  </a:lnTo>
                  <a:close/>
                  <a:moveTo>
                    <a:pt x="37" y="338"/>
                  </a:moveTo>
                  <a:lnTo>
                    <a:pt x="39" y="338"/>
                  </a:lnTo>
                  <a:lnTo>
                    <a:pt x="39" y="340"/>
                  </a:lnTo>
                  <a:lnTo>
                    <a:pt x="37" y="340"/>
                  </a:lnTo>
                  <a:lnTo>
                    <a:pt x="37" y="338"/>
                  </a:lnTo>
                  <a:close/>
                  <a:moveTo>
                    <a:pt x="19" y="351"/>
                  </a:moveTo>
                  <a:lnTo>
                    <a:pt x="21" y="351"/>
                  </a:lnTo>
                  <a:lnTo>
                    <a:pt x="21" y="353"/>
                  </a:lnTo>
                  <a:lnTo>
                    <a:pt x="19" y="353"/>
                  </a:lnTo>
                  <a:lnTo>
                    <a:pt x="19" y="351"/>
                  </a:lnTo>
                  <a:close/>
                  <a:moveTo>
                    <a:pt x="16" y="353"/>
                  </a:moveTo>
                  <a:lnTo>
                    <a:pt x="18" y="353"/>
                  </a:lnTo>
                  <a:lnTo>
                    <a:pt x="18" y="355"/>
                  </a:lnTo>
                  <a:lnTo>
                    <a:pt x="16" y="355"/>
                  </a:lnTo>
                  <a:lnTo>
                    <a:pt x="16" y="353"/>
                  </a:lnTo>
                  <a:close/>
                  <a:moveTo>
                    <a:pt x="27" y="261"/>
                  </a:moveTo>
                  <a:lnTo>
                    <a:pt x="29" y="261"/>
                  </a:lnTo>
                  <a:lnTo>
                    <a:pt x="29" y="263"/>
                  </a:lnTo>
                  <a:lnTo>
                    <a:pt x="27" y="263"/>
                  </a:lnTo>
                  <a:lnTo>
                    <a:pt x="27" y="261"/>
                  </a:lnTo>
                  <a:close/>
                  <a:moveTo>
                    <a:pt x="27" y="265"/>
                  </a:moveTo>
                  <a:lnTo>
                    <a:pt x="29" y="265"/>
                  </a:lnTo>
                  <a:lnTo>
                    <a:pt x="29" y="267"/>
                  </a:lnTo>
                  <a:lnTo>
                    <a:pt x="27" y="267"/>
                  </a:lnTo>
                  <a:lnTo>
                    <a:pt x="27" y="265"/>
                  </a:lnTo>
                  <a:close/>
                  <a:moveTo>
                    <a:pt x="21" y="346"/>
                  </a:moveTo>
                  <a:lnTo>
                    <a:pt x="23" y="346"/>
                  </a:lnTo>
                  <a:lnTo>
                    <a:pt x="23" y="348"/>
                  </a:lnTo>
                  <a:lnTo>
                    <a:pt x="21" y="348"/>
                  </a:lnTo>
                  <a:lnTo>
                    <a:pt x="21" y="346"/>
                  </a:lnTo>
                  <a:close/>
                  <a:moveTo>
                    <a:pt x="43" y="342"/>
                  </a:moveTo>
                  <a:lnTo>
                    <a:pt x="44" y="342"/>
                  </a:lnTo>
                  <a:lnTo>
                    <a:pt x="43" y="342"/>
                  </a:lnTo>
                  <a:close/>
                  <a:moveTo>
                    <a:pt x="106" y="340"/>
                  </a:moveTo>
                  <a:lnTo>
                    <a:pt x="110" y="340"/>
                  </a:lnTo>
                  <a:lnTo>
                    <a:pt x="110" y="344"/>
                  </a:lnTo>
                  <a:lnTo>
                    <a:pt x="106" y="344"/>
                  </a:lnTo>
                  <a:lnTo>
                    <a:pt x="106" y="340"/>
                  </a:lnTo>
                  <a:close/>
                  <a:moveTo>
                    <a:pt x="52" y="350"/>
                  </a:moveTo>
                  <a:lnTo>
                    <a:pt x="54" y="350"/>
                  </a:lnTo>
                  <a:lnTo>
                    <a:pt x="54" y="351"/>
                  </a:lnTo>
                  <a:lnTo>
                    <a:pt x="52" y="351"/>
                  </a:lnTo>
                  <a:lnTo>
                    <a:pt x="52" y="350"/>
                  </a:lnTo>
                  <a:close/>
                  <a:moveTo>
                    <a:pt x="48" y="234"/>
                  </a:moveTo>
                  <a:lnTo>
                    <a:pt x="50" y="234"/>
                  </a:lnTo>
                  <a:lnTo>
                    <a:pt x="50" y="238"/>
                  </a:lnTo>
                  <a:lnTo>
                    <a:pt x="48" y="238"/>
                  </a:lnTo>
                  <a:lnTo>
                    <a:pt x="48" y="234"/>
                  </a:lnTo>
                  <a:close/>
                  <a:moveTo>
                    <a:pt x="44" y="348"/>
                  </a:moveTo>
                  <a:lnTo>
                    <a:pt x="46" y="348"/>
                  </a:lnTo>
                  <a:lnTo>
                    <a:pt x="46" y="350"/>
                  </a:lnTo>
                  <a:lnTo>
                    <a:pt x="44" y="350"/>
                  </a:lnTo>
                  <a:lnTo>
                    <a:pt x="44" y="348"/>
                  </a:lnTo>
                  <a:close/>
                  <a:moveTo>
                    <a:pt x="62" y="355"/>
                  </a:moveTo>
                  <a:lnTo>
                    <a:pt x="64" y="355"/>
                  </a:lnTo>
                  <a:lnTo>
                    <a:pt x="64" y="357"/>
                  </a:lnTo>
                  <a:lnTo>
                    <a:pt x="62" y="357"/>
                  </a:lnTo>
                  <a:lnTo>
                    <a:pt x="62" y="355"/>
                  </a:lnTo>
                  <a:close/>
                  <a:moveTo>
                    <a:pt x="39" y="344"/>
                  </a:moveTo>
                  <a:lnTo>
                    <a:pt x="41" y="344"/>
                  </a:lnTo>
                  <a:lnTo>
                    <a:pt x="41" y="346"/>
                  </a:lnTo>
                  <a:lnTo>
                    <a:pt x="39" y="346"/>
                  </a:lnTo>
                  <a:lnTo>
                    <a:pt x="39" y="344"/>
                  </a:lnTo>
                  <a:close/>
                  <a:moveTo>
                    <a:pt x="54" y="351"/>
                  </a:moveTo>
                  <a:lnTo>
                    <a:pt x="54" y="353"/>
                  </a:lnTo>
                  <a:lnTo>
                    <a:pt x="54" y="351"/>
                  </a:lnTo>
                  <a:close/>
                  <a:moveTo>
                    <a:pt x="35" y="346"/>
                  </a:moveTo>
                  <a:lnTo>
                    <a:pt x="35" y="348"/>
                  </a:lnTo>
                  <a:lnTo>
                    <a:pt x="35" y="346"/>
                  </a:lnTo>
                  <a:close/>
                  <a:moveTo>
                    <a:pt x="29" y="263"/>
                  </a:moveTo>
                  <a:lnTo>
                    <a:pt x="29" y="267"/>
                  </a:lnTo>
                  <a:lnTo>
                    <a:pt x="29" y="263"/>
                  </a:lnTo>
                  <a:close/>
                  <a:moveTo>
                    <a:pt x="18" y="351"/>
                  </a:moveTo>
                  <a:lnTo>
                    <a:pt x="18" y="353"/>
                  </a:lnTo>
                  <a:lnTo>
                    <a:pt x="18" y="351"/>
                  </a:lnTo>
                  <a:close/>
                  <a:moveTo>
                    <a:pt x="112" y="340"/>
                  </a:moveTo>
                  <a:lnTo>
                    <a:pt x="114" y="340"/>
                  </a:lnTo>
                  <a:lnTo>
                    <a:pt x="114" y="342"/>
                  </a:lnTo>
                  <a:lnTo>
                    <a:pt x="112" y="342"/>
                  </a:lnTo>
                  <a:lnTo>
                    <a:pt x="112" y="340"/>
                  </a:lnTo>
                  <a:close/>
                  <a:moveTo>
                    <a:pt x="96" y="348"/>
                  </a:moveTo>
                  <a:lnTo>
                    <a:pt x="98" y="348"/>
                  </a:lnTo>
                  <a:lnTo>
                    <a:pt x="96" y="348"/>
                  </a:lnTo>
                  <a:close/>
                  <a:moveTo>
                    <a:pt x="18" y="351"/>
                  </a:moveTo>
                  <a:lnTo>
                    <a:pt x="19" y="351"/>
                  </a:lnTo>
                  <a:lnTo>
                    <a:pt x="19" y="353"/>
                  </a:lnTo>
                  <a:lnTo>
                    <a:pt x="18" y="353"/>
                  </a:lnTo>
                  <a:lnTo>
                    <a:pt x="18" y="351"/>
                  </a:lnTo>
                  <a:close/>
                  <a:moveTo>
                    <a:pt x="25" y="355"/>
                  </a:moveTo>
                  <a:lnTo>
                    <a:pt x="25" y="357"/>
                  </a:lnTo>
                  <a:lnTo>
                    <a:pt x="25" y="355"/>
                  </a:lnTo>
                  <a:close/>
                  <a:moveTo>
                    <a:pt x="31" y="346"/>
                  </a:moveTo>
                  <a:lnTo>
                    <a:pt x="33" y="346"/>
                  </a:lnTo>
                  <a:lnTo>
                    <a:pt x="33" y="348"/>
                  </a:lnTo>
                  <a:lnTo>
                    <a:pt x="31" y="348"/>
                  </a:lnTo>
                  <a:lnTo>
                    <a:pt x="31" y="346"/>
                  </a:lnTo>
                  <a:close/>
                  <a:moveTo>
                    <a:pt x="46" y="357"/>
                  </a:moveTo>
                  <a:lnTo>
                    <a:pt x="48" y="357"/>
                  </a:lnTo>
                  <a:lnTo>
                    <a:pt x="48" y="359"/>
                  </a:lnTo>
                  <a:lnTo>
                    <a:pt x="46" y="359"/>
                  </a:lnTo>
                  <a:lnTo>
                    <a:pt x="46" y="357"/>
                  </a:lnTo>
                  <a:close/>
                  <a:moveTo>
                    <a:pt x="39" y="344"/>
                  </a:moveTo>
                  <a:lnTo>
                    <a:pt x="41" y="344"/>
                  </a:lnTo>
                  <a:lnTo>
                    <a:pt x="41" y="346"/>
                  </a:lnTo>
                  <a:lnTo>
                    <a:pt x="39" y="346"/>
                  </a:lnTo>
                  <a:lnTo>
                    <a:pt x="39" y="344"/>
                  </a:lnTo>
                  <a:close/>
                  <a:moveTo>
                    <a:pt x="33" y="303"/>
                  </a:moveTo>
                  <a:lnTo>
                    <a:pt x="33" y="305"/>
                  </a:lnTo>
                  <a:lnTo>
                    <a:pt x="33" y="303"/>
                  </a:lnTo>
                  <a:close/>
                  <a:moveTo>
                    <a:pt x="21" y="344"/>
                  </a:moveTo>
                  <a:lnTo>
                    <a:pt x="23" y="344"/>
                  </a:lnTo>
                  <a:lnTo>
                    <a:pt x="23" y="346"/>
                  </a:lnTo>
                  <a:lnTo>
                    <a:pt x="21" y="346"/>
                  </a:lnTo>
                  <a:lnTo>
                    <a:pt x="21" y="344"/>
                  </a:lnTo>
                  <a:close/>
                  <a:moveTo>
                    <a:pt x="31" y="263"/>
                  </a:moveTo>
                  <a:lnTo>
                    <a:pt x="33" y="263"/>
                  </a:lnTo>
                  <a:lnTo>
                    <a:pt x="33" y="265"/>
                  </a:lnTo>
                  <a:lnTo>
                    <a:pt x="31" y="265"/>
                  </a:lnTo>
                  <a:lnTo>
                    <a:pt x="31" y="263"/>
                  </a:lnTo>
                  <a:close/>
                  <a:moveTo>
                    <a:pt x="46" y="353"/>
                  </a:moveTo>
                  <a:lnTo>
                    <a:pt x="48" y="353"/>
                  </a:lnTo>
                  <a:lnTo>
                    <a:pt x="48" y="357"/>
                  </a:lnTo>
                  <a:lnTo>
                    <a:pt x="46" y="357"/>
                  </a:lnTo>
                  <a:lnTo>
                    <a:pt x="46" y="353"/>
                  </a:lnTo>
                  <a:close/>
                  <a:moveTo>
                    <a:pt x="77" y="171"/>
                  </a:moveTo>
                  <a:lnTo>
                    <a:pt x="79" y="171"/>
                  </a:lnTo>
                  <a:lnTo>
                    <a:pt x="79" y="173"/>
                  </a:lnTo>
                  <a:lnTo>
                    <a:pt x="77" y="173"/>
                  </a:lnTo>
                  <a:lnTo>
                    <a:pt x="77" y="171"/>
                  </a:lnTo>
                  <a:close/>
                  <a:moveTo>
                    <a:pt x="18" y="351"/>
                  </a:moveTo>
                  <a:lnTo>
                    <a:pt x="19" y="351"/>
                  </a:lnTo>
                  <a:lnTo>
                    <a:pt x="18" y="351"/>
                  </a:lnTo>
                  <a:close/>
                  <a:moveTo>
                    <a:pt x="64" y="355"/>
                  </a:moveTo>
                  <a:lnTo>
                    <a:pt x="66" y="355"/>
                  </a:lnTo>
                  <a:lnTo>
                    <a:pt x="66" y="357"/>
                  </a:lnTo>
                  <a:lnTo>
                    <a:pt x="64" y="357"/>
                  </a:lnTo>
                  <a:lnTo>
                    <a:pt x="64" y="355"/>
                  </a:lnTo>
                  <a:close/>
                  <a:moveTo>
                    <a:pt x="48" y="353"/>
                  </a:moveTo>
                  <a:lnTo>
                    <a:pt x="48" y="355"/>
                  </a:lnTo>
                  <a:lnTo>
                    <a:pt x="48" y="353"/>
                  </a:lnTo>
                  <a:close/>
                  <a:moveTo>
                    <a:pt x="50" y="353"/>
                  </a:moveTo>
                  <a:lnTo>
                    <a:pt x="50" y="355"/>
                  </a:lnTo>
                  <a:lnTo>
                    <a:pt x="50" y="353"/>
                  </a:lnTo>
                  <a:close/>
                  <a:moveTo>
                    <a:pt x="23" y="355"/>
                  </a:moveTo>
                  <a:lnTo>
                    <a:pt x="25" y="355"/>
                  </a:lnTo>
                  <a:lnTo>
                    <a:pt x="25" y="357"/>
                  </a:lnTo>
                  <a:lnTo>
                    <a:pt x="23" y="357"/>
                  </a:lnTo>
                  <a:lnTo>
                    <a:pt x="23" y="355"/>
                  </a:lnTo>
                  <a:close/>
                  <a:moveTo>
                    <a:pt x="16" y="344"/>
                  </a:moveTo>
                  <a:lnTo>
                    <a:pt x="18" y="344"/>
                  </a:lnTo>
                  <a:lnTo>
                    <a:pt x="16" y="344"/>
                  </a:lnTo>
                  <a:close/>
                  <a:moveTo>
                    <a:pt x="39" y="350"/>
                  </a:moveTo>
                  <a:lnTo>
                    <a:pt x="41" y="350"/>
                  </a:lnTo>
                  <a:lnTo>
                    <a:pt x="41" y="351"/>
                  </a:lnTo>
                  <a:lnTo>
                    <a:pt x="39" y="351"/>
                  </a:lnTo>
                  <a:lnTo>
                    <a:pt x="39" y="350"/>
                  </a:lnTo>
                  <a:close/>
                  <a:moveTo>
                    <a:pt x="31" y="317"/>
                  </a:moveTo>
                  <a:lnTo>
                    <a:pt x="33" y="317"/>
                  </a:lnTo>
                  <a:lnTo>
                    <a:pt x="33" y="319"/>
                  </a:lnTo>
                  <a:lnTo>
                    <a:pt x="31" y="319"/>
                  </a:lnTo>
                  <a:lnTo>
                    <a:pt x="31" y="317"/>
                  </a:lnTo>
                  <a:close/>
                  <a:moveTo>
                    <a:pt x="31" y="342"/>
                  </a:moveTo>
                  <a:lnTo>
                    <a:pt x="31" y="344"/>
                  </a:lnTo>
                  <a:lnTo>
                    <a:pt x="31" y="342"/>
                  </a:lnTo>
                  <a:close/>
                  <a:moveTo>
                    <a:pt x="27" y="275"/>
                  </a:moveTo>
                  <a:lnTo>
                    <a:pt x="27" y="277"/>
                  </a:lnTo>
                  <a:lnTo>
                    <a:pt x="27" y="275"/>
                  </a:lnTo>
                  <a:close/>
                  <a:moveTo>
                    <a:pt x="31" y="261"/>
                  </a:moveTo>
                  <a:lnTo>
                    <a:pt x="33" y="261"/>
                  </a:lnTo>
                  <a:lnTo>
                    <a:pt x="33" y="263"/>
                  </a:lnTo>
                  <a:lnTo>
                    <a:pt x="31" y="263"/>
                  </a:lnTo>
                  <a:lnTo>
                    <a:pt x="31" y="261"/>
                  </a:lnTo>
                  <a:close/>
                  <a:moveTo>
                    <a:pt x="31" y="330"/>
                  </a:moveTo>
                  <a:lnTo>
                    <a:pt x="33" y="330"/>
                  </a:lnTo>
                  <a:lnTo>
                    <a:pt x="33" y="332"/>
                  </a:lnTo>
                  <a:lnTo>
                    <a:pt x="31" y="332"/>
                  </a:lnTo>
                  <a:lnTo>
                    <a:pt x="31" y="330"/>
                  </a:lnTo>
                  <a:close/>
                  <a:moveTo>
                    <a:pt x="46" y="342"/>
                  </a:moveTo>
                  <a:lnTo>
                    <a:pt x="48" y="342"/>
                  </a:lnTo>
                  <a:lnTo>
                    <a:pt x="48" y="344"/>
                  </a:lnTo>
                  <a:lnTo>
                    <a:pt x="46" y="344"/>
                  </a:lnTo>
                  <a:lnTo>
                    <a:pt x="46" y="342"/>
                  </a:lnTo>
                  <a:close/>
                  <a:moveTo>
                    <a:pt x="100" y="346"/>
                  </a:moveTo>
                  <a:lnTo>
                    <a:pt x="102" y="346"/>
                  </a:lnTo>
                  <a:lnTo>
                    <a:pt x="100" y="346"/>
                  </a:lnTo>
                  <a:close/>
                  <a:moveTo>
                    <a:pt x="54" y="351"/>
                  </a:moveTo>
                  <a:lnTo>
                    <a:pt x="54" y="353"/>
                  </a:lnTo>
                  <a:lnTo>
                    <a:pt x="54" y="351"/>
                  </a:lnTo>
                  <a:close/>
                  <a:moveTo>
                    <a:pt x="43" y="340"/>
                  </a:moveTo>
                  <a:lnTo>
                    <a:pt x="44" y="340"/>
                  </a:lnTo>
                  <a:lnTo>
                    <a:pt x="44" y="342"/>
                  </a:lnTo>
                  <a:lnTo>
                    <a:pt x="43" y="342"/>
                  </a:lnTo>
                  <a:lnTo>
                    <a:pt x="43" y="340"/>
                  </a:lnTo>
                  <a:close/>
                  <a:moveTo>
                    <a:pt x="29" y="261"/>
                  </a:moveTo>
                  <a:lnTo>
                    <a:pt x="29" y="263"/>
                  </a:lnTo>
                  <a:lnTo>
                    <a:pt x="29" y="261"/>
                  </a:lnTo>
                  <a:close/>
                  <a:moveTo>
                    <a:pt x="21" y="350"/>
                  </a:moveTo>
                  <a:lnTo>
                    <a:pt x="21" y="351"/>
                  </a:lnTo>
                  <a:lnTo>
                    <a:pt x="21" y="350"/>
                  </a:lnTo>
                  <a:close/>
                  <a:moveTo>
                    <a:pt x="29" y="280"/>
                  </a:moveTo>
                  <a:lnTo>
                    <a:pt x="29" y="282"/>
                  </a:lnTo>
                  <a:lnTo>
                    <a:pt x="29" y="280"/>
                  </a:lnTo>
                  <a:close/>
                  <a:moveTo>
                    <a:pt x="31" y="348"/>
                  </a:moveTo>
                  <a:lnTo>
                    <a:pt x="33" y="348"/>
                  </a:lnTo>
                  <a:lnTo>
                    <a:pt x="31" y="348"/>
                  </a:lnTo>
                  <a:close/>
                  <a:moveTo>
                    <a:pt x="60" y="357"/>
                  </a:moveTo>
                  <a:lnTo>
                    <a:pt x="62" y="357"/>
                  </a:lnTo>
                  <a:lnTo>
                    <a:pt x="60" y="357"/>
                  </a:lnTo>
                  <a:close/>
                  <a:moveTo>
                    <a:pt x="114" y="340"/>
                  </a:moveTo>
                  <a:lnTo>
                    <a:pt x="114" y="342"/>
                  </a:lnTo>
                  <a:lnTo>
                    <a:pt x="114" y="340"/>
                  </a:lnTo>
                  <a:close/>
                  <a:moveTo>
                    <a:pt x="16" y="348"/>
                  </a:moveTo>
                  <a:lnTo>
                    <a:pt x="16" y="350"/>
                  </a:lnTo>
                  <a:lnTo>
                    <a:pt x="16" y="348"/>
                  </a:lnTo>
                  <a:close/>
                  <a:moveTo>
                    <a:pt x="114" y="342"/>
                  </a:moveTo>
                  <a:lnTo>
                    <a:pt x="115" y="342"/>
                  </a:lnTo>
                  <a:lnTo>
                    <a:pt x="115" y="344"/>
                  </a:lnTo>
                  <a:lnTo>
                    <a:pt x="114" y="344"/>
                  </a:lnTo>
                  <a:lnTo>
                    <a:pt x="114" y="342"/>
                  </a:lnTo>
                  <a:close/>
                  <a:moveTo>
                    <a:pt x="87" y="190"/>
                  </a:moveTo>
                  <a:lnTo>
                    <a:pt x="89" y="190"/>
                  </a:lnTo>
                  <a:lnTo>
                    <a:pt x="89" y="192"/>
                  </a:lnTo>
                  <a:lnTo>
                    <a:pt x="87" y="192"/>
                  </a:lnTo>
                  <a:lnTo>
                    <a:pt x="87" y="190"/>
                  </a:lnTo>
                  <a:close/>
                  <a:moveTo>
                    <a:pt x="25" y="340"/>
                  </a:moveTo>
                  <a:lnTo>
                    <a:pt x="27" y="340"/>
                  </a:lnTo>
                  <a:lnTo>
                    <a:pt x="27" y="342"/>
                  </a:lnTo>
                  <a:lnTo>
                    <a:pt x="25" y="342"/>
                  </a:lnTo>
                  <a:lnTo>
                    <a:pt x="25" y="340"/>
                  </a:lnTo>
                  <a:close/>
                  <a:moveTo>
                    <a:pt x="8" y="344"/>
                  </a:moveTo>
                  <a:lnTo>
                    <a:pt x="10" y="344"/>
                  </a:lnTo>
                  <a:lnTo>
                    <a:pt x="10" y="346"/>
                  </a:lnTo>
                  <a:lnTo>
                    <a:pt x="8" y="346"/>
                  </a:lnTo>
                  <a:lnTo>
                    <a:pt x="8" y="344"/>
                  </a:lnTo>
                  <a:close/>
                  <a:moveTo>
                    <a:pt x="31" y="342"/>
                  </a:moveTo>
                  <a:lnTo>
                    <a:pt x="33" y="342"/>
                  </a:lnTo>
                  <a:lnTo>
                    <a:pt x="33" y="344"/>
                  </a:lnTo>
                  <a:lnTo>
                    <a:pt x="31" y="344"/>
                  </a:lnTo>
                  <a:lnTo>
                    <a:pt x="31" y="342"/>
                  </a:lnTo>
                  <a:close/>
                  <a:moveTo>
                    <a:pt x="35" y="340"/>
                  </a:moveTo>
                  <a:lnTo>
                    <a:pt x="35" y="342"/>
                  </a:lnTo>
                  <a:lnTo>
                    <a:pt x="35" y="340"/>
                  </a:lnTo>
                  <a:close/>
                  <a:moveTo>
                    <a:pt x="31" y="346"/>
                  </a:moveTo>
                  <a:lnTo>
                    <a:pt x="33" y="346"/>
                  </a:lnTo>
                  <a:lnTo>
                    <a:pt x="31" y="346"/>
                  </a:lnTo>
                  <a:close/>
                  <a:moveTo>
                    <a:pt x="33" y="338"/>
                  </a:moveTo>
                  <a:lnTo>
                    <a:pt x="35" y="338"/>
                  </a:lnTo>
                  <a:lnTo>
                    <a:pt x="35" y="340"/>
                  </a:lnTo>
                  <a:lnTo>
                    <a:pt x="33" y="340"/>
                  </a:lnTo>
                  <a:lnTo>
                    <a:pt x="33" y="338"/>
                  </a:lnTo>
                  <a:close/>
                  <a:moveTo>
                    <a:pt x="64" y="221"/>
                  </a:moveTo>
                  <a:lnTo>
                    <a:pt x="66" y="221"/>
                  </a:lnTo>
                  <a:lnTo>
                    <a:pt x="66" y="223"/>
                  </a:lnTo>
                  <a:lnTo>
                    <a:pt x="64" y="223"/>
                  </a:lnTo>
                  <a:lnTo>
                    <a:pt x="64" y="221"/>
                  </a:lnTo>
                  <a:close/>
                  <a:moveTo>
                    <a:pt x="25" y="340"/>
                  </a:moveTo>
                  <a:lnTo>
                    <a:pt x="25" y="342"/>
                  </a:lnTo>
                  <a:lnTo>
                    <a:pt x="25" y="340"/>
                  </a:lnTo>
                  <a:close/>
                  <a:moveTo>
                    <a:pt x="44" y="348"/>
                  </a:moveTo>
                  <a:lnTo>
                    <a:pt x="46" y="348"/>
                  </a:lnTo>
                  <a:lnTo>
                    <a:pt x="44" y="348"/>
                  </a:lnTo>
                  <a:close/>
                  <a:moveTo>
                    <a:pt x="50" y="353"/>
                  </a:moveTo>
                  <a:lnTo>
                    <a:pt x="50" y="355"/>
                  </a:lnTo>
                  <a:lnTo>
                    <a:pt x="50" y="353"/>
                  </a:lnTo>
                  <a:close/>
                  <a:moveTo>
                    <a:pt x="37" y="340"/>
                  </a:moveTo>
                  <a:lnTo>
                    <a:pt x="37" y="342"/>
                  </a:lnTo>
                  <a:lnTo>
                    <a:pt x="37" y="340"/>
                  </a:lnTo>
                  <a:close/>
                  <a:moveTo>
                    <a:pt x="35" y="344"/>
                  </a:moveTo>
                  <a:lnTo>
                    <a:pt x="37" y="344"/>
                  </a:lnTo>
                  <a:lnTo>
                    <a:pt x="35" y="344"/>
                  </a:lnTo>
                  <a:close/>
                  <a:moveTo>
                    <a:pt x="33" y="346"/>
                  </a:moveTo>
                  <a:lnTo>
                    <a:pt x="35" y="346"/>
                  </a:lnTo>
                  <a:lnTo>
                    <a:pt x="33" y="346"/>
                  </a:lnTo>
                  <a:close/>
                  <a:moveTo>
                    <a:pt x="23" y="261"/>
                  </a:moveTo>
                  <a:lnTo>
                    <a:pt x="23" y="263"/>
                  </a:lnTo>
                  <a:lnTo>
                    <a:pt x="23" y="261"/>
                  </a:lnTo>
                  <a:close/>
                  <a:moveTo>
                    <a:pt x="25" y="344"/>
                  </a:moveTo>
                  <a:lnTo>
                    <a:pt x="25" y="346"/>
                  </a:lnTo>
                  <a:lnTo>
                    <a:pt x="25" y="344"/>
                  </a:lnTo>
                  <a:close/>
                  <a:moveTo>
                    <a:pt x="25" y="344"/>
                  </a:moveTo>
                  <a:lnTo>
                    <a:pt x="25" y="346"/>
                  </a:lnTo>
                  <a:lnTo>
                    <a:pt x="25" y="344"/>
                  </a:lnTo>
                  <a:close/>
                  <a:moveTo>
                    <a:pt x="29" y="280"/>
                  </a:moveTo>
                  <a:lnTo>
                    <a:pt x="29" y="282"/>
                  </a:lnTo>
                  <a:lnTo>
                    <a:pt x="29" y="280"/>
                  </a:lnTo>
                  <a:close/>
                  <a:moveTo>
                    <a:pt x="37" y="248"/>
                  </a:moveTo>
                  <a:lnTo>
                    <a:pt x="39" y="248"/>
                  </a:lnTo>
                  <a:lnTo>
                    <a:pt x="37" y="248"/>
                  </a:lnTo>
                  <a:close/>
                  <a:moveTo>
                    <a:pt x="43" y="350"/>
                  </a:moveTo>
                  <a:lnTo>
                    <a:pt x="44" y="350"/>
                  </a:lnTo>
                  <a:lnTo>
                    <a:pt x="43" y="350"/>
                  </a:lnTo>
                  <a:close/>
                  <a:moveTo>
                    <a:pt x="35" y="351"/>
                  </a:moveTo>
                  <a:lnTo>
                    <a:pt x="37" y="351"/>
                  </a:lnTo>
                  <a:lnTo>
                    <a:pt x="35" y="351"/>
                  </a:lnTo>
                  <a:close/>
                  <a:moveTo>
                    <a:pt x="4" y="344"/>
                  </a:moveTo>
                  <a:lnTo>
                    <a:pt x="6" y="344"/>
                  </a:lnTo>
                  <a:lnTo>
                    <a:pt x="4" y="344"/>
                  </a:lnTo>
                  <a:close/>
                  <a:moveTo>
                    <a:pt x="35" y="348"/>
                  </a:moveTo>
                  <a:lnTo>
                    <a:pt x="37" y="348"/>
                  </a:lnTo>
                  <a:lnTo>
                    <a:pt x="35" y="348"/>
                  </a:lnTo>
                  <a:close/>
                  <a:moveTo>
                    <a:pt x="31" y="342"/>
                  </a:moveTo>
                  <a:lnTo>
                    <a:pt x="33" y="342"/>
                  </a:lnTo>
                  <a:lnTo>
                    <a:pt x="31" y="342"/>
                  </a:lnTo>
                  <a:close/>
                  <a:moveTo>
                    <a:pt x="91" y="194"/>
                  </a:moveTo>
                  <a:lnTo>
                    <a:pt x="91" y="196"/>
                  </a:lnTo>
                  <a:lnTo>
                    <a:pt x="91" y="194"/>
                  </a:lnTo>
                  <a:close/>
                  <a:moveTo>
                    <a:pt x="67" y="353"/>
                  </a:moveTo>
                  <a:lnTo>
                    <a:pt x="69" y="353"/>
                  </a:lnTo>
                  <a:lnTo>
                    <a:pt x="67" y="353"/>
                  </a:lnTo>
                  <a:close/>
                  <a:moveTo>
                    <a:pt x="31" y="305"/>
                  </a:moveTo>
                  <a:lnTo>
                    <a:pt x="33" y="305"/>
                  </a:lnTo>
                  <a:lnTo>
                    <a:pt x="31" y="305"/>
                  </a:lnTo>
                  <a:close/>
                  <a:moveTo>
                    <a:pt x="89" y="192"/>
                  </a:moveTo>
                  <a:lnTo>
                    <a:pt x="91" y="192"/>
                  </a:lnTo>
                  <a:lnTo>
                    <a:pt x="89" y="192"/>
                  </a:lnTo>
                  <a:close/>
                  <a:moveTo>
                    <a:pt x="46" y="242"/>
                  </a:moveTo>
                  <a:lnTo>
                    <a:pt x="48" y="242"/>
                  </a:lnTo>
                  <a:lnTo>
                    <a:pt x="48" y="244"/>
                  </a:lnTo>
                  <a:lnTo>
                    <a:pt x="46" y="244"/>
                  </a:lnTo>
                  <a:lnTo>
                    <a:pt x="46" y="242"/>
                  </a:lnTo>
                  <a:close/>
                  <a:moveTo>
                    <a:pt x="39" y="350"/>
                  </a:moveTo>
                  <a:lnTo>
                    <a:pt x="39" y="351"/>
                  </a:lnTo>
                  <a:lnTo>
                    <a:pt x="39" y="350"/>
                  </a:lnTo>
                  <a:close/>
                  <a:moveTo>
                    <a:pt x="56" y="355"/>
                  </a:moveTo>
                  <a:lnTo>
                    <a:pt x="58" y="355"/>
                  </a:lnTo>
                  <a:lnTo>
                    <a:pt x="58" y="357"/>
                  </a:lnTo>
                  <a:lnTo>
                    <a:pt x="56" y="357"/>
                  </a:lnTo>
                  <a:lnTo>
                    <a:pt x="56" y="355"/>
                  </a:lnTo>
                  <a:close/>
                  <a:moveTo>
                    <a:pt x="33" y="338"/>
                  </a:moveTo>
                  <a:lnTo>
                    <a:pt x="35" y="338"/>
                  </a:lnTo>
                  <a:lnTo>
                    <a:pt x="33" y="338"/>
                  </a:lnTo>
                  <a:close/>
                  <a:moveTo>
                    <a:pt x="31" y="330"/>
                  </a:moveTo>
                  <a:lnTo>
                    <a:pt x="31" y="332"/>
                  </a:lnTo>
                  <a:lnTo>
                    <a:pt x="31" y="330"/>
                  </a:lnTo>
                  <a:close/>
                  <a:moveTo>
                    <a:pt x="77" y="169"/>
                  </a:moveTo>
                  <a:lnTo>
                    <a:pt x="77" y="171"/>
                  </a:lnTo>
                  <a:lnTo>
                    <a:pt x="77" y="169"/>
                  </a:lnTo>
                  <a:close/>
                  <a:moveTo>
                    <a:pt x="33" y="257"/>
                  </a:moveTo>
                  <a:lnTo>
                    <a:pt x="35" y="257"/>
                  </a:lnTo>
                  <a:lnTo>
                    <a:pt x="33" y="257"/>
                  </a:lnTo>
                  <a:close/>
                  <a:moveTo>
                    <a:pt x="41" y="346"/>
                  </a:moveTo>
                  <a:lnTo>
                    <a:pt x="43" y="346"/>
                  </a:lnTo>
                  <a:lnTo>
                    <a:pt x="43" y="348"/>
                  </a:lnTo>
                  <a:lnTo>
                    <a:pt x="41" y="348"/>
                  </a:lnTo>
                  <a:lnTo>
                    <a:pt x="41" y="346"/>
                  </a:lnTo>
                  <a:close/>
                  <a:moveTo>
                    <a:pt x="25" y="342"/>
                  </a:moveTo>
                  <a:lnTo>
                    <a:pt x="27" y="342"/>
                  </a:lnTo>
                  <a:lnTo>
                    <a:pt x="27" y="344"/>
                  </a:lnTo>
                  <a:lnTo>
                    <a:pt x="25" y="344"/>
                  </a:lnTo>
                  <a:lnTo>
                    <a:pt x="25" y="342"/>
                  </a:lnTo>
                  <a:close/>
                  <a:moveTo>
                    <a:pt x="60" y="357"/>
                  </a:moveTo>
                  <a:lnTo>
                    <a:pt x="62" y="357"/>
                  </a:lnTo>
                  <a:lnTo>
                    <a:pt x="60" y="357"/>
                  </a:lnTo>
                  <a:close/>
                  <a:moveTo>
                    <a:pt x="35" y="346"/>
                  </a:moveTo>
                  <a:lnTo>
                    <a:pt x="37" y="346"/>
                  </a:lnTo>
                  <a:lnTo>
                    <a:pt x="35" y="346"/>
                  </a:lnTo>
                  <a:close/>
                  <a:moveTo>
                    <a:pt x="85" y="350"/>
                  </a:moveTo>
                  <a:lnTo>
                    <a:pt x="87" y="350"/>
                  </a:lnTo>
                  <a:lnTo>
                    <a:pt x="85" y="350"/>
                  </a:lnTo>
                  <a:close/>
                  <a:moveTo>
                    <a:pt x="18" y="348"/>
                  </a:moveTo>
                  <a:lnTo>
                    <a:pt x="18" y="350"/>
                  </a:lnTo>
                  <a:lnTo>
                    <a:pt x="18" y="348"/>
                  </a:lnTo>
                  <a:close/>
                  <a:moveTo>
                    <a:pt x="79" y="351"/>
                  </a:moveTo>
                  <a:lnTo>
                    <a:pt x="79" y="353"/>
                  </a:lnTo>
                  <a:lnTo>
                    <a:pt x="79" y="351"/>
                  </a:lnTo>
                  <a:close/>
                  <a:moveTo>
                    <a:pt x="25" y="355"/>
                  </a:moveTo>
                  <a:lnTo>
                    <a:pt x="25" y="357"/>
                  </a:lnTo>
                  <a:lnTo>
                    <a:pt x="25" y="355"/>
                  </a:lnTo>
                  <a:close/>
                  <a:moveTo>
                    <a:pt x="29" y="280"/>
                  </a:moveTo>
                  <a:lnTo>
                    <a:pt x="29" y="282"/>
                  </a:lnTo>
                  <a:lnTo>
                    <a:pt x="29" y="280"/>
                  </a:lnTo>
                  <a:close/>
                  <a:moveTo>
                    <a:pt x="10" y="353"/>
                  </a:moveTo>
                  <a:lnTo>
                    <a:pt x="12" y="353"/>
                  </a:lnTo>
                  <a:lnTo>
                    <a:pt x="10" y="353"/>
                  </a:lnTo>
                  <a:close/>
                  <a:moveTo>
                    <a:pt x="110" y="344"/>
                  </a:moveTo>
                  <a:lnTo>
                    <a:pt x="112" y="344"/>
                  </a:lnTo>
                  <a:lnTo>
                    <a:pt x="110" y="344"/>
                  </a:lnTo>
                  <a:close/>
                  <a:moveTo>
                    <a:pt x="8" y="342"/>
                  </a:moveTo>
                  <a:lnTo>
                    <a:pt x="8" y="344"/>
                  </a:lnTo>
                  <a:lnTo>
                    <a:pt x="8" y="342"/>
                  </a:lnTo>
                  <a:close/>
                  <a:moveTo>
                    <a:pt x="43" y="348"/>
                  </a:moveTo>
                  <a:lnTo>
                    <a:pt x="43" y="350"/>
                  </a:lnTo>
                  <a:lnTo>
                    <a:pt x="43" y="348"/>
                  </a:lnTo>
                  <a:close/>
                  <a:moveTo>
                    <a:pt x="33" y="348"/>
                  </a:moveTo>
                  <a:lnTo>
                    <a:pt x="33" y="350"/>
                  </a:lnTo>
                  <a:lnTo>
                    <a:pt x="33" y="348"/>
                  </a:lnTo>
                  <a:close/>
                  <a:moveTo>
                    <a:pt x="91" y="348"/>
                  </a:moveTo>
                  <a:lnTo>
                    <a:pt x="92" y="348"/>
                  </a:lnTo>
                  <a:lnTo>
                    <a:pt x="92" y="350"/>
                  </a:lnTo>
                  <a:lnTo>
                    <a:pt x="91" y="350"/>
                  </a:lnTo>
                  <a:lnTo>
                    <a:pt x="91" y="348"/>
                  </a:lnTo>
                  <a:close/>
                  <a:moveTo>
                    <a:pt x="89" y="346"/>
                  </a:moveTo>
                  <a:lnTo>
                    <a:pt x="91" y="346"/>
                  </a:lnTo>
                  <a:lnTo>
                    <a:pt x="91" y="348"/>
                  </a:lnTo>
                  <a:lnTo>
                    <a:pt x="89" y="348"/>
                  </a:lnTo>
                  <a:lnTo>
                    <a:pt x="89" y="346"/>
                  </a:lnTo>
                  <a:close/>
                  <a:moveTo>
                    <a:pt x="37" y="350"/>
                  </a:moveTo>
                  <a:lnTo>
                    <a:pt x="37" y="351"/>
                  </a:lnTo>
                  <a:lnTo>
                    <a:pt x="37" y="350"/>
                  </a:lnTo>
                  <a:close/>
                  <a:moveTo>
                    <a:pt x="56" y="344"/>
                  </a:moveTo>
                  <a:lnTo>
                    <a:pt x="56" y="346"/>
                  </a:lnTo>
                  <a:lnTo>
                    <a:pt x="56" y="344"/>
                  </a:lnTo>
                  <a:close/>
                  <a:moveTo>
                    <a:pt x="66" y="355"/>
                  </a:moveTo>
                  <a:lnTo>
                    <a:pt x="67" y="355"/>
                  </a:lnTo>
                  <a:lnTo>
                    <a:pt x="66" y="355"/>
                  </a:lnTo>
                  <a:close/>
                  <a:moveTo>
                    <a:pt x="27" y="330"/>
                  </a:moveTo>
                  <a:lnTo>
                    <a:pt x="29" y="330"/>
                  </a:lnTo>
                  <a:lnTo>
                    <a:pt x="27" y="330"/>
                  </a:lnTo>
                  <a:close/>
                  <a:moveTo>
                    <a:pt x="66" y="355"/>
                  </a:moveTo>
                  <a:lnTo>
                    <a:pt x="66" y="357"/>
                  </a:lnTo>
                  <a:lnTo>
                    <a:pt x="66" y="355"/>
                  </a:lnTo>
                  <a:close/>
                  <a:moveTo>
                    <a:pt x="18" y="351"/>
                  </a:moveTo>
                  <a:lnTo>
                    <a:pt x="19" y="351"/>
                  </a:lnTo>
                  <a:lnTo>
                    <a:pt x="18" y="351"/>
                  </a:lnTo>
                  <a:close/>
                  <a:moveTo>
                    <a:pt x="12" y="342"/>
                  </a:moveTo>
                  <a:lnTo>
                    <a:pt x="14" y="342"/>
                  </a:lnTo>
                  <a:lnTo>
                    <a:pt x="12" y="342"/>
                  </a:lnTo>
                  <a:close/>
                  <a:moveTo>
                    <a:pt x="31" y="342"/>
                  </a:moveTo>
                  <a:lnTo>
                    <a:pt x="33" y="342"/>
                  </a:lnTo>
                  <a:lnTo>
                    <a:pt x="31" y="342"/>
                  </a:lnTo>
                  <a:close/>
                  <a:moveTo>
                    <a:pt x="41" y="252"/>
                  </a:moveTo>
                  <a:lnTo>
                    <a:pt x="41" y="254"/>
                  </a:lnTo>
                  <a:lnTo>
                    <a:pt x="41" y="252"/>
                  </a:lnTo>
                  <a:close/>
                  <a:moveTo>
                    <a:pt x="31" y="338"/>
                  </a:moveTo>
                  <a:lnTo>
                    <a:pt x="31" y="340"/>
                  </a:lnTo>
                  <a:lnTo>
                    <a:pt x="31" y="338"/>
                  </a:lnTo>
                  <a:close/>
                  <a:moveTo>
                    <a:pt x="46" y="353"/>
                  </a:moveTo>
                  <a:lnTo>
                    <a:pt x="46" y="355"/>
                  </a:lnTo>
                  <a:lnTo>
                    <a:pt x="46" y="353"/>
                  </a:lnTo>
                  <a:close/>
                  <a:moveTo>
                    <a:pt x="41" y="342"/>
                  </a:moveTo>
                  <a:lnTo>
                    <a:pt x="43" y="342"/>
                  </a:lnTo>
                  <a:lnTo>
                    <a:pt x="41" y="342"/>
                  </a:lnTo>
                  <a:close/>
                  <a:moveTo>
                    <a:pt x="37" y="342"/>
                  </a:moveTo>
                  <a:lnTo>
                    <a:pt x="37" y="344"/>
                  </a:lnTo>
                  <a:lnTo>
                    <a:pt x="37" y="342"/>
                  </a:lnTo>
                  <a:close/>
                  <a:moveTo>
                    <a:pt x="33" y="317"/>
                  </a:moveTo>
                  <a:lnTo>
                    <a:pt x="33" y="319"/>
                  </a:lnTo>
                  <a:lnTo>
                    <a:pt x="33" y="317"/>
                  </a:lnTo>
                  <a:close/>
                  <a:moveTo>
                    <a:pt x="35" y="250"/>
                  </a:moveTo>
                  <a:lnTo>
                    <a:pt x="37" y="250"/>
                  </a:lnTo>
                  <a:lnTo>
                    <a:pt x="35" y="250"/>
                  </a:lnTo>
                  <a:close/>
                  <a:moveTo>
                    <a:pt x="25" y="342"/>
                  </a:moveTo>
                  <a:lnTo>
                    <a:pt x="27" y="342"/>
                  </a:lnTo>
                  <a:lnTo>
                    <a:pt x="25" y="342"/>
                  </a:lnTo>
                  <a:close/>
                  <a:moveTo>
                    <a:pt x="35" y="340"/>
                  </a:moveTo>
                  <a:lnTo>
                    <a:pt x="37" y="340"/>
                  </a:lnTo>
                  <a:lnTo>
                    <a:pt x="35" y="340"/>
                  </a:lnTo>
                  <a:close/>
                  <a:moveTo>
                    <a:pt x="27" y="342"/>
                  </a:moveTo>
                  <a:lnTo>
                    <a:pt x="27" y="344"/>
                  </a:lnTo>
                  <a:lnTo>
                    <a:pt x="27" y="342"/>
                  </a:lnTo>
                  <a:close/>
                  <a:moveTo>
                    <a:pt x="83" y="173"/>
                  </a:moveTo>
                  <a:lnTo>
                    <a:pt x="85" y="173"/>
                  </a:lnTo>
                  <a:lnTo>
                    <a:pt x="85" y="175"/>
                  </a:lnTo>
                  <a:lnTo>
                    <a:pt x="83" y="175"/>
                  </a:lnTo>
                  <a:lnTo>
                    <a:pt x="83" y="173"/>
                  </a:lnTo>
                  <a:close/>
                  <a:moveTo>
                    <a:pt x="35" y="344"/>
                  </a:moveTo>
                  <a:lnTo>
                    <a:pt x="37" y="344"/>
                  </a:lnTo>
                  <a:lnTo>
                    <a:pt x="35" y="344"/>
                  </a:lnTo>
                  <a:close/>
                  <a:moveTo>
                    <a:pt x="21" y="346"/>
                  </a:moveTo>
                  <a:lnTo>
                    <a:pt x="23" y="346"/>
                  </a:lnTo>
                  <a:lnTo>
                    <a:pt x="23" y="348"/>
                  </a:lnTo>
                  <a:lnTo>
                    <a:pt x="21" y="348"/>
                  </a:lnTo>
                  <a:lnTo>
                    <a:pt x="21" y="346"/>
                  </a:lnTo>
                  <a:close/>
                  <a:moveTo>
                    <a:pt x="16" y="346"/>
                  </a:moveTo>
                  <a:lnTo>
                    <a:pt x="16" y="348"/>
                  </a:lnTo>
                  <a:lnTo>
                    <a:pt x="16" y="346"/>
                  </a:lnTo>
                  <a:close/>
                  <a:moveTo>
                    <a:pt x="19" y="342"/>
                  </a:moveTo>
                  <a:lnTo>
                    <a:pt x="21" y="342"/>
                  </a:lnTo>
                  <a:lnTo>
                    <a:pt x="19" y="342"/>
                  </a:lnTo>
                  <a:close/>
                  <a:moveTo>
                    <a:pt x="81" y="181"/>
                  </a:moveTo>
                  <a:lnTo>
                    <a:pt x="83" y="181"/>
                  </a:lnTo>
                  <a:lnTo>
                    <a:pt x="83" y="182"/>
                  </a:lnTo>
                  <a:lnTo>
                    <a:pt x="81" y="182"/>
                  </a:lnTo>
                  <a:lnTo>
                    <a:pt x="81" y="181"/>
                  </a:lnTo>
                  <a:close/>
                  <a:moveTo>
                    <a:pt x="31" y="288"/>
                  </a:moveTo>
                  <a:lnTo>
                    <a:pt x="31" y="290"/>
                  </a:lnTo>
                  <a:lnTo>
                    <a:pt x="31" y="288"/>
                  </a:lnTo>
                  <a:close/>
                  <a:moveTo>
                    <a:pt x="37" y="336"/>
                  </a:moveTo>
                  <a:lnTo>
                    <a:pt x="37" y="338"/>
                  </a:lnTo>
                  <a:lnTo>
                    <a:pt x="37" y="336"/>
                  </a:lnTo>
                  <a:close/>
                  <a:moveTo>
                    <a:pt x="31" y="255"/>
                  </a:moveTo>
                  <a:lnTo>
                    <a:pt x="33" y="255"/>
                  </a:lnTo>
                  <a:lnTo>
                    <a:pt x="33" y="257"/>
                  </a:lnTo>
                  <a:lnTo>
                    <a:pt x="31" y="257"/>
                  </a:lnTo>
                  <a:lnTo>
                    <a:pt x="31" y="255"/>
                  </a:lnTo>
                  <a:close/>
                  <a:moveTo>
                    <a:pt x="37" y="346"/>
                  </a:moveTo>
                  <a:lnTo>
                    <a:pt x="37" y="348"/>
                  </a:lnTo>
                  <a:lnTo>
                    <a:pt x="37" y="346"/>
                  </a:lnTo>
                  <a:close/>
                  <a:moveTo>
                    <a:pt x="35" y="342"/>
                  </a:moveTo>
                  <a:lnTo>
                    <a:pt x="37" y="342"/>
                  </a:lnTo>
                  <a:lnTo>
                    <a:pt x="37" y="344"/>
                  </a:lnTo>
                  <a:lnTo>
                    <a:pt x="35" y="344"/>
                  </a:lnTo>
                  <a:lnTo>
                    <a:pt x="35" y="342"/>
                  </a:lnTo>
                  <a:close/>
                  <a:moveTo>
                    <a:pt x="39" y="350"/>
                  </a:moveTo>
                  <a:lnTo>
                    <a:pt x="41" y="350"/>
                  </a:lnTo>
                  <a:lnTo>
                    <a:pt x="39" y="350"/>
                  </a:lnTo>
                  <a:close/>
                  <a:moveTo>
                    <a:pt x="31" y="259"/>
                  </a:moveTo>
                  <a:lnTo>
                    <a:pt x="31" y="261"/>
                  </a:lnTo>
                  <a:lnTo>
                    <a:pt x="31" y="259"/>
                  </a:lnTo>
                  <a:close/>
                  <a:moveTo>
                    <a:pt x="18" y="351"/>
                  </a:moveTo>
                  <a:lnTo>
                    <a:pt x="18" y="353"/>
                  </a:lnTo>
                  <a:lnTo>
                    <a:pt x="18" y="351"/>
                  </a:lnTo>
                  <a:close/>
                  <a:moveTo>
                    <a:pt x="29" y="254"/>
                  </a:moveTo>
                  <a:lnTo>
                    <a:pt x="31" y="254"/>
                  </a:lnTo>
                  <a:lnTo>
                    <a:pt x="29" y="254"/>
                  </a:lnTo>
                  <a:close/>
                  <a:moveTo>
                    <a:pt x="52" y="232"/>
                  </a:moveTo>
                  <a:lnTo>
                    <a:pt x="52" y="234"/>
                  </a:lnTo>
                  <a:lnTo>
                    <a:pt x="52" y="232"/>
                  </a:lnTo>
                  <a:close/>
                  <a:moveTo>
                    <a:pt x="33" y="346"/>
                  </a:moveTo>
                  <a:lnTo>
                    <a:pt x="35" y="346"/>
                  </a:lnTo>
                  <a:lnTo>
                    <a:pt x="35" y="348"/>
                  </a:lnTo>
                  <a:lnTo>
                    <a:pt x="33" y="348"/>
                  </a:lnTo>
                  <a:lnTo>
                    <a:pt x="33" y="346"/>
                  </a:lnTo>
                  <a:close/>
                  <a:moveTo>
                    <a:pt x="23" y="346"/>
                  </a:moveTo>
                  <a:lnTo>
                    <a:pt x="23" y="348"/>
                  </a:lnTo>
                  <a:lnTo>
                    <a:pt x="23" y="346"/>
                  </a:lnTo>
                  <a:close/>
                  <a:moveTo>
                    <a:pt x="85" y="173"/>
                  </a:moveTo>
                  <a:lnTo>
                    <a:pt x="85" y="175"/>
                  </a:lnTo>
                  <a:lnTo>
                    <a:pt x="85" y="173"/>
                  </a:lnTo>
                  <a:close/>
                  <a:moveTo>
                    <a:pt x="39" y="348"/>
                  </a:moveTo>
                  <a:lnTo>
                    <a:pt x="41" y="348"/>
                  </a:lnTo>
                  <a:lnTo>
                    <a:pt x="39" y="348"/>
                  </a:lnTo>
                  <a:close/>
                  <a:moveTo>
                    <a:pt x="100" y="342"/>
                  </a:moveTo>
                  <a:lnTo>
                    <a:pt x="100" y="344"/>
                  </a:lnTo>
                  <a:lnTo>
                    <a:pt x="100" y="342"/>
                  </a:lnTo>
                  <a:close/>
                  <a:moveTo>
                    <a:pt x="35" y="338"/>
                  </a:moveTo>
                  <a:lnTo>
                    <a:pt x="37" y="338"/>
                  </a:lnTo>
                  <a:lnTo>
                    <a:pt x="37" y="340"/>
                  </a:lnTo>
                  <a:lnTo>
                    <a:pt x="35" y="340"/>
                  </a:lnTo>
                  <a:lnTo>
                    <a:pt x="35" y="338"/>
                  </a:lnTo>
                  <a:close/>
                  <a:moveTo>
                    <a:pt x="33" y="342"/>
                  </a:moveTo>
                  <a:lnTo>
                    <a:pt x="33" y="344"/>
                  </a:lnTo>
                  <a:lnTo>
                    <a:pt x="33" y="342"/>
                  </a:lnTo>
                  <a:close/>
                  <a:moveTo>
                    <a:pt x="52" y="238"/>
                  </a:moveTo>
                  <a:lnTo>
                    <a:pt x="54" y="238"/>
                  </a:lnTo>
                  <a:lnTo>
                    <a:pt x="52" y="238"/>
                  </a:lnTo>
                  <a:close/>
                  <a:moveTo>
                    <a:pt x="92" y="346"/>
                  </a:moveTo>
                  <a:lnTo>
                    <a:pt x="92" y="348"/>
                  </a:lnTo>
                  <a:lnTo>
                    <a:pt x="92" y="346"/>
                  </a:lnTo>
                  <a:close/>
                  <a:moveTo>
                    <a:pt x="37" y="252"/>
                  </a:moveTo>
                  <a:lnTo>
                    <a:pt x="39" y="252"/>
                  </a:lnTo>
                  <a:lnTo>
                    <a:pt x="37" y="252"/>
                  </a:lnTo>
                  <a:close/>
                  <a:moveTo>
                    <a:pt x="44" y="350"/>
                  </a:moveTo>
                  <a:lnTo>
                    <a:pt x="46" y="350"/>
                  </a:lnTo>
                  <a:lnTo>
                    <a:pt x="44" y="350"/>
                  </a:lnTo>
                  <a:close/>
                  <a:moveTo>
                    <a:pt x="91" y="182"/>
                  </a:moveTo>
                  <a:lnTo>
                    <a:pt x="91" y="184"/>
                  </a:lnTo>
                  <a:lnTo>
                    <a:pt x="91" y="182"/>
                  </a:lnTo>
                  <a:close/>
                  <a:moveTo>
                    <a:pt x="14" y="342"/>
                  </a:moveTo>
                  <a:lnTo>
                    <a:pt x="14" y="344"/>
                  </a:lnTo>
                  <a:lnTo>
                    <a:pt x="14" y="342"/>
                  </a:lnTo>
                  <a:close/>
                  <a:moveTo>
                    <a:pt x="39" y="344"/>
                  </a:moveTo>
                  <a:lnTo>
                    <a:pt x="41" y="344"/>
                  </a:lnTo>
                  <a:lnTo>
                    <a:pt x="39" y="344"/>
                  </a:lnTo>
                  <a:close/>
                  <a:moveTo>
                    <a:pt x="6" y="342"/>
                  </a:moveTo>
                  <a:lnTo>
                    <a:pt x="8" y="342"/>
                  </a:lnTo>
                  <a:lnTo>
                    <a:pt x="8" y="344"/>
                  </a:lnTo>
                  <a:lnTo>
                    <a:pt x="6" y="344"/>
                  </a:lnTo>
                  <a:lnTo>
                    <a:pt x="6" y="342"/>
                  </a:lnTo>
                  <a:close/>
                  <a:moveTo>
                    <a:pt x="33" y="257"/>
                  </a:moveTo>
                  <a:lnTo>
                    <a:pt x="33" y="259"/>
                  </a:lnTo>
                  <a:lnTo>
                    <a:pt x="33" y="257"/>
                  </a:lnTo>
                  <a:close/>
                  <a:moveTo>
                    <a:pt x="29" y="330"/>
                  </a:moveTo>
                  <a:lnTo>
                    <a:pt x="31" y="330"/>
                  </a:lnTo>
                  <a:lnTo>
                    <a:pt x="31" y="332"/>
                  </a:lnTo>
                  <a:lnTo>
                    <a:pt x="29" y="332"/>
                  </a:lnTo>
                  <a:lnTo>
                    <a:pt x="29" y="330"/>
                  </a:lnTo>
                  <a:close/>
                  <a:moveTo>
                    <a:pt x="21" y="346"/>
                  </a:moveTo>
                  <a:lnTo>
                    <a:pt x="23" y="346"/>
                  </a:lnTo>
                  <a:lnTo>
                    <a:pt x="21" y="346"/>
                  </a:lnTo>
                  <a:close/>
                  <a:moveTo>
                    <a:pt x="46" y="357"/>
                  </a:moveTo>
                  <a:lnTo>
                    <a:pt x="46" y="359"/>
                  </a:lnTo>
                  <a:lnTo>
                    <a:pt x="46" y="357"/>
                  </a:lnTo>
                  <a:close/>
                  <a:moveTo>
                    <a:pt x="23" y="259"/>
                  </a:moveTo>
                  <a:lnTo>
                    <a:pt x="23" y="261"/>
                  </a:lnTo>
                  <a:lnTo>
                    <a:pt x="23" y="259"/>
                  </a:lnTo>
                  <a:close/>
                  <a:moveTo>
                    <a:pt x="27" y="344"/>
                  </a:moveTo>
                  <a:lnTo>
                    <a:pt x="29" y="344"/>
                  </a:lnTo>
                  <a:lnTo>
                    <a:pt x="27" y="344"/>
                  </a:lnTo>
                  <a:close/>
                  <a:moveTo>
                    <a:pt x="31" y="334"/>
                  </a:moveTo>
                  <a:lnTo>
                    <a:pt x="33" y="334"/>
                  </a:lnTo>
                  <a:lnTo>
                    <a:pt x="33" y="336"/>
                  </a:lnTo>
                  <a:lnTo>
                    <a:pt x="31" y="336"/>
                  </a:lnTo>
                  <a:lnTo>
                    <a:pt x="31" y="334"/>
                  </a:lnTo>
                  <a:close/>
                  <a:moveTo>
                    <a:pt x="48" y="236"/>
                  </a:moveTo>
                  <a:lnTo>
                    <a:pt x="48" y="238"/>
                  </a:lnTo>
                  <a:lnTo>
                    <a:pt x="48" y="236"/>
                  </a:lnTo>
                  <a:close/>
                  <a:moveTo>
                    <a:pt x="44" y="359"/>
                  </a:moveTo>
                  <a:lnTo>
                    <a:pt x="46" y="359"/>
                  </a:lnTo>
                  <a:lnTo>
                    <a:pt x="44" y="359"/>
                  </a:lnTo>
                  <a:close/>
                  <a:moveTo>
                    <a:pt x="52" y="230"/>
                  </a:moveTo>
                  <a:lnTo>
                    <a:pt x="52" y="232"/>
                  </a:lnTo>
                  <a:lnTo>
                    <a:pt x="52" y="230"/>
                  </a:lnTo>
                  <a:close/>
                  <a:moveTo>
                    <a:pt x="46" y="353"/>
                  </a:moveTo>
                  <a:lnTo>
                    <a:pt x="46" y="355"/>
                  </a:lnTo>
                  <a:lnTo>
                    <a:pt x="46" y="353"/>
                  </a:lnTo>
                  <a:close/>
                  <a:moveTo>
                    <a:pt x="46" y="355"/>
                  </a:moveTo>
                  <a:lnTo>
                    <a:pt x="46" y="357"/>
                  </a:lnTo>
                  <a:lnTo>
                    <a:pt x="46" y="355"/>
                  </a:lnTo>
                  <a:close/>
                  <a:moveTo>
                    <a:pt x="10" y="351"/>
                  </a:moveTo>
                  <a:lnTo>
                    <a:pt x="12" y="351"/>
                  </a:lnTo>
                  <a:lnTo>
                    <a:pt x="12" y="353"/>
                  </a:lnTo>
                  <a:lnTo>
                    <a:pt x="10" y="353"/>
                  </a:lnTo>
                  <a:lnTo>
                    <a:pt x="10" y="351"/>
                  </a:lnTo>
                  <a:close/>
                  <a:moveTo>
                    <a:pt x="44" y="342"/>
                  </a:moveTo>
                  <a:lnTo>
                    <a:pt x="44" y="344"/>
                  </a:lnTo>
                  <a:lnTo>
                    <a:pt x="44" y="342"/>
                  </a:lnTo>
                  <a:close/>
                  <a:moveTo>
                    <a:pt x="6" y="344"/>
                  </a:moveTo>
                  <a:lnTo>
                    <a:pt x="8" y="344"/>
                  </a:lnTo>
                  <a:lnTo>
                    <a:pt x="6" y="344"/>
                  </a:lnTo>
                  <a:close/>
                  <a:moveTo>
                    <a:pt x="23" y="342"/>
                  </a:moveTo>
                  <a:lnTo>
                    <a:pt x="25" y="342"/>
                  </a:lnTo>
                  <a:lnTo>
                    <a:pt x="25" y="344"/>
                  </a:lnTo>
                  <a:lnTo>
                    <a:pt x="23" y="344"/>
                  </a:lnTo>
                  <a:lnTo>
                    <a:pt x="23" y="342"/>
                  </a:lnTo>
                  <a:close/>
                  <a:moveTo>
                    <a:pt x="33" y="311"/>
                  </a:moveTo>
                  <a:lnTo>
                    <a:pt x="33" y="313"/>
                  </a:lnTo>
                  <a:lnTo>
                    <a:pt x="33" y="311"/>
                  </a:lnTo>
                  <a:close/>
                  <a:moveTo>
                    <a:pt x="18" y="344"/>
                  </a:moveTo>
                  <a:lnTo>
                    <a:pt x="18" y="346"/>
                  </a:lnTo>
                  <a:lnTo>
                    <a:pt x="18" y="344"/>
                  </a:lnTo>
                  <a:close/>
                  <a:moveTo>
                    <a:pt x="33" y="317"/>
                  </a:moveTo>
                  <a:lnTo>
                    <a:pt x="33" y="319"/>
                  </a:lnTo>
                  <a:lnTo>
                    <a:pt x="33" y="317"/>
                  </a:lnTo>
                  <a:close/>
                  <a:moveTo>
                    <a:pt x="43" y="357"/>
                  </a:moveTo>
                  <a:lnTo>
                    <a:pt x="44" y="357"/>
                  </a:lnTo>
                  <a:lnTo>
                    <a:pt x="43" y="357"/>
                  </a:lnTo>
                  <a:close/>
                  <a:moveTo>
                    <a:pt x="29" y="344"/>
                  </a:moveTo>
                  <a:lnTo>
                    <a:pt x="29" y="346"/>
                  </a:lnTo>
                  <a:lnTo>
                    <a:pt x="29" y="344"/>
                  </a:lnTo>
                  <a:close/>
                  <a:moveTo>
                    <a:pt x="48" y="355"/>
                  </a:moveTo>
                  <a:lnTo>
                    <a:pt x="48" y="357"/>
                  </a:lnTo>
                  <a:lnTo>
                    <a:pt x="48" y="355"/>
                  </a:lnTo>
                  <a:close/>
                  <a:moveTo>
                    <a:pt x="6" y="348"/>
                  </a:moveTo>
                  <a:lnTo>
                    <a:pt x="6" y="350"/>
                  </a:lnTo>
                  <a:lnTo>
                    <a:pt x="6" y="348"/>
                  </a:lnTo>
                  <a:close/>
                  <a:moveTo>
                    <a:pt x="43" y="348"/>
                  </a:moveTo>
                  <a:lnTo>
                    <a:pt x="43" y="350"/>
                  </a:lnTo>
                  <a:lnTo>
                    <a:pt x="43" y="348"/>
                  </a:lnTo>
                  <a:close/>
                  <a:moveTo>
                    <a:pt x="18" y="351"/>
                  </a:moveTo>
                  <a:lnTo>
                    <a:pt x="19" y="351"/>
                  </a:lnTo>
                  <a:lnTo>
                    <a:pt x="18" y="351"/>
                  </a:lnTo>
                  <a:close/>
                  <a:moveTo>
                    <a:pt x="23" y="338"/>
                  </a:moveTo>
                  <a:lnTo>
                    <a:pt x="25" y="338"/>
                  </a:lnTo>
                  <a:lnTo>
                    <a:pt x="23" y="338"/>
                  </a:lnTo>
                  <a:close/>
                  <a:moveTo>
                    <a:pt x="29" y="330"/>
                  </a:moveTo>
                  <a:lnTo>
                    <a:pt x="31" y="330"/>
                  </a:lnTo>
                  <a:lnTo>
                    <a:pt x="31" y="332"/>
                  </a:lnTo>
                  <a:lnTo>
                    <a:pt x="29" y="332"/>
                  </a:lnTo>
                  <a:lnTo>
                    <a:pt x="29" y="330"/>
                  </a:lnTo>
                  <a:close/>
                  <a:moveTo>
                    <a:pt x="46" y="355"/>
                  </a:moveTo>
                  <a:lnTo>
                    <a:pt x="46" y="357"/>
                  </a:lnTo>
                  <a:lnTo>
                    <a:pt x="46" y="355"/>
                  </a:lnTo>
                  <a:close/>
                  <a:moveTo>
                    <a:pt x="6" y="344"/>
                  </a:moveTo>
                  <a:lnTo>
                    <a:pt x="8" y="344"/>
                  </a:lnTo>
                  <a:lnTo>
                    <a:pt x="6" y="344"/>
                  </a:lnTo>
                  <a:close/>
                  <a:moveTo>
                    <a:pt x="37" y="355"/>
                  </a:moveTo>
                  <a:lnTo>
                    <a:pt x="37" y="357"/>
                  </a:lnTo>
                  <a:lnTo>
                    <a:pt x="37" y="355"/>
                  </a:lnTo>
                  <a:close/>
                  <a:moveTo>
                    <a:pt x="39" y="344"/>
                  </a:moveTo>
                  <a:lnTo>
                    <a:pt x="41" y="344"/>
                  </a:lnTo>
                  <a:lnTo>
                    <a:pt x="39" y="344"/>
                  </a:lnTo>
                  <a:close/>
                  <a:moveTo>
                    <a:pt x="33" y="346"/>
                  </a:moveTo>
                  <a:lnTo>
                    <a:pt x="35" y="346"/>
                  </a:lnTo>
                  <a:lnTo>
                    <a:pt x="35" y="348"/>
                  </a:lnTo>
                  <a:lnTo>
                    <a:pt x="33" y="348"/>
                  </a:lnTo>
                  <a:lnTo>
                    <a:pt x="33" y="346"/>
                  </a:lnTo>
                  <a:close/>
                  <a:moveTo>
                    <a:pt x="25" y="332"/>
                  </a:moveTo>
                  <a:lnTo>
                    <a:pt x="27" y="332"/>
                  </a:lnTo>
                  <a:lnTo>
                    <a:pt x="25" y="332"/>
                  </a:lnTo>
                  <a:close/>
                  <a:moveTo>
                    <a:pt x="29" y="336"/>
                  </a:moveTo>
                  <a:lnTo>
                    <a:pt x="29" y="338"/>
                  </a:lnTo>
                  <a:lnTo>
                    <a:pt x="29" y="336"/>
                  </a:lnTo>
                  <a:close/>
                  <a:moveTo>
                    <a:pt x="23" y="257"/>
                  </a:moveTo>
                  <a:lnTo>
                    <a:pt x="23" y="259"/>
                  </a:lnTo>
                  <a:lnTo>
                    <a:pt x="23" y="257"/>
                  </a:lnTo>
                  <a:close/>
                  <a:moveTo>
                    <a:pt x="41" y="346"/>
                  </a:moveTo>
                  <a:lnTo>
                    <a:pt x="41" y="348"/>
                  </a:lnTo>
                  <a:lnTo>
                    <a:pt x="41" y="346"/>
                  </a:lnTo>
                  <a:close/>
                  <a:moveTo>
                    <a:pt x="115" y="340"/>
                  </a:moveTo>
                  <a:lnTo>
                    <a:pt x="117" y="340"/>
                  </a:lnTo>
                  <a:lnTo>
                    <a:pt x="115" y="340"/>
                  </a:lnTo>
                  <a:close/>
                  <a:moveTo>
                    <a:pt x="39" y="252"/>
                  </a:moveTo>
                  <a:lnTo>
                    <a:pt x="39" y="254"/>
                  </a:lnTo>
                  <a:lnTo>
                    <a:pt x="39" y="252"/>
                  </a:lnTo>
                  <a:close/>
                  <a:moveTo>
                    <a:pt x="67" y="355"/>
                  </a:moveTo>
                  <a:lnTo>
                    <a:pt x="67" y="357"/>
                  </a:lnTo>
                  <a:lnTo>
                    <a:pt x="67" y="355"/>
                  </a:lnTo>
                  <a:close/>
                  <a:moveTo>
                    <a:pt x="33" y="261"/>
                  </a:moveTo>
                  <a:lnTo>
                    <a:pt x="33" y="263"/>
                  </a:lnTo>
                  <a:lnTo>
                    <a:pt x="33" y="261"/>
                  </a:lnTo>
                  <a:close/>
                  <a:moveTo>
                    <a:pt x="39" y="350"/>
                  </a:moveTo>
                  <a:lnTo>
                    <a:pt x="41" y="350"/>
                  </a:lnTo>
                  <a:lnTo>
                    <a:pt x="39" y="350"/>
                  </a:lnTo>
                  <a:close/>
                  <a:moveTo>
                    <a:pt x="48" y="346"/>
                  </a:moveTo>
                  <a:lnTo>
                    <a:pt x="48" y="348"/>
                  </a:lnTo>
                  <a:lnTo>
                    <a:pt x="48" y="346"/>
                  </a:lnTo>
                  <a:close/>
                  <a:moveTo>
                    <a:pt x="12" y="342"/>
                  </a:moveTo>
                  <a:lnTo>
                    <a:pt x="12" y="344"/>
                  </a:lnTo>
                  <a:lnTo>
                    <a:pt x="12" y="342"/>
                  </a:lnTo>
                  <a:close/>
                  <a:moveTo>
                    <a:pt x="14" y="340"/>
                  </a:moveTo>
                  <a:lnTo>
                    <a:pt x="16" y="340"/>
                  </a:lnTo>
                  <a:lnTo>
                    <a:pt x="14" y="340"/>
                  </a:lnTo>
                  <a:close/>
                  <a:moveTo>
                    <a:pt x="37" y="355"/>
                  </a:moveTo>
                  <a:lnTo>
                    <a:pt x="37" y="357"/>
                  </a:lnTo>
                  <a:lnTo>
                    <a:pt x="37" y="355"/>
                  </a:lnTo>
                  <a:close/>
                  <a:moveTo>
                    <a:pt x="29" y="344"/>
                  </a:moveTo>
                  <a:lnTo>
                    <a:pt x="29" y="346"/>
                  </a:lnTo>
                  <a:lnTo>
                    <a:pt x="29" y="344"/>
                  </a:lnTo>
                  <a:close/>
                  <a:moveTo>
                    <a:pt x="85" y="173"/>
                  </a:moveTo>
                  <a:lnTo>
                    <a:pt x="85" y="175"/>
                  </a:lnTo>
                  <a:lnTo>
                    <a:pt x="85" y="173"/>
                  </a:lnTo>
                  <a:close/>
                  <a:moveTo>
                    <a:pt x="43" y="246"/>
                  </a:moveTo>
                  <a:lnTo>
                    <a:pt x="43" y="248"/>
                  </a:lnTo>
                  <a:lnTo>
                    <a:pt x="43" y="246"/>
                  </a:lnTo>
                  <a:close/>
                  <a:moveTo>
                    <a:pt x="31" y="319"/>
                  </a:moveTo>
                  <a:lnTo>
                    <a:pt x="33" y="319"/>
                  </a:lnTo>
                  <a:lnTo>
                    <a:pt x="31" y="319"/>
                  </a:lnTo>
                  <a:close/>
                  <a:moveTo>
                    <a:pt x="98" y="346"/>
                  </a:moveTo>
                  <a:lnTo>
                    <a:pt x="98" y="348"/>
                  </a:lnTo>
                  <a:lnTo>
                    <a:pt x="98" y="346"/>
                  </a:lnTo>
                  <a:close/>
                  <a:moveTo>
                    <a:pt x="25" y="328"/>
                  </a:moveTo>
                  <a:lnTo>
                    <a:pt x="27" y="328"/>
                  </a:lnTo>
                  <a:lnTo>
                    <a:pt x="25" y="328"/>
                  </a:lnTo>
                  <a:close/>
                  <a:moveTo>
                    <a:pt x="54" y="234"/>
                  </a:moveTo>
                  <a:lnTo>
                    <a:pt x="56" y="234"/>
                  </a:lnTo>
                  <a:lnTo>
                    <a:pt x="54" y="234"/>
                  </a:lnTo>
                  <a:close/>
                  <a:moveTo>
                    <a:pt x="54" y="357"/>
                  </a:moveTo>
                  <a:lnTo>
                    <a:pt x="56" y="357"/>
                  </a:lnTo>
                  <a:lnTo>
                    <a:pt x="54" y="357"/>
                  </a:lnTo>
                  <a:close/>
                  <a:moveTo>
                    <a:pt x="108" y="342"/>
                  </a:moveTo>
                  <a:lnTo>
                    <a:pt x="110" y="342"/>
                  </a:lnTo>
                  <a:lnTo>
                    <a:pt x="110" y="344"/>
                  </a:lnTo>
                  <a:lnTo>
                    <a:pt x="108" y="344"/>
                  </a:lnTo>
                  <a:lnTo>
                    <a:pt x="108" y="342"/>
                  </a:lnTo>
                  <a:close/>
                  <a:moveTo>
                    <a:pt x="52" y="232"/>
                  </a:moveTo>
                  <a:lnTo>
                    <a:pt x="52" y="234"/>
                  </a:lnTo>
                  <a:lnTo>
                    <a:pt x="52" y="232"/>
                  </a:lnTo>
                  <a:close/>
                  <a:moveTo>
                    <a:pt x="41" y="252"/>
                  </a:moveTo>
                  <a:lnTo>
                    <a:pt x="43" y="252"/>
                  </a:lnTo>
                  <a:lnTo>
                    <a:pt x="41" y="252"/>
                  </a:lnTo>
                  <a:close/>
                  <a:moveTo>
                    <a:pt x="37" y="248"/>
                  </a:moveTo>
                  <a:lnTo>
                    <a:pt x="39" y="248"/>
                  </a:lnTo>
                  <a:lnTo>
                    <a:pt x="39" y="250"/>
                  </a:lnTo>
                  <a:lnTo>
                    <a:pt x="37" y="250"/>
                  </a:lnTo>
                  <a:lnTo>
                    <a:pt x="37" y="248"/>
                  </a:lnTo>
                  <a:close/>
                  <a:moveTo>
                    <a:pt x="85" y="348"/>
                  </a:moveTo>
                  <a:lnTo>
                    <a:pt x="85" y="350"/>
                  </a:lnTo>
                  <a:lnTo>
                    <a:pt x="85" y="348"/>
                  </a:lnTo>
                  <a:close/>
                  <a:moveTo>
                    <a:pt x="29" y="346"/>
                  </a:moveTo>
                  <a:lnTo>
                    <a:pt x="29" y="348"/>
                  </a:lnTo>
                  <a:lnTo>
                    <a:pt x="29" y="346"/>
                  </a:lnTo>
                  <a:close/>
                  <a:moveTo>
                    <a:pt x="29" y="348"/>
                  </a:moveTo>
                  <a:lnTo>
                    <a:pt x="31" y="348"/>
                  </a:lnTo>
                  <a:lnTo>
                    <a:pt x="29" y="348"/>
                  </a:lnTo>
                  <a:close/>
                  <a:moveTo>
                    <a:pt x="43" y="350"/>
                  </a:moveTo>
                  <a:lnTo>
                    <a:pt x="44" y="350"/>
                  </a:lnTo>
                  <a:lnTo>
                    <a:pt x="43" y="350"/>
                  </a:lnTo>
                  <a:close/>
                  <a:moveTo>
                    <a:pt x="48" y="357"/>
                  </a:moveTo>
                  <a:lnTo>
                    <a:pt x="50" y="357"/>
                  </a:lnTo>
                  <a:lnTo>
                    <a:pt x="48" y="357"/>
                  </a:lnTo>
                  <a:close/>
                  <a:moveTo>
                    <a:pt x="48" y="355"/>
                  </a:moveTo>
                  <a:lnTo>
                    <a:pt x="50" y="355"/>
                  </a:lnTo>
                  <a:lnTo>
                    <a:pt x="48" y="355"/>
                  </a:lnTo>
                  <a:close/>
                  <a:moveTo>
                    <a:pt x="69" y="353"/>
                  </a:moveTo>
                  <a:lnTo>
                    <a:pt x="71" y="353"/>
                  </a:lnTo>
                  <a:lnTo>
                    <a:pt x="69" y="353"/>
                  </a:lnTo>
                  <a:close/>
                  <a:moveTo>
                    <a:pt x="18" y="350"/>
                  </a:moveTo>
                  <a:lnTo>
                    <a:pt x="19" y="350"/>
                  </a:lnTo>
                  <a:lnTo>
                    <a:pt x="18" y="350"/>
                  </a:lnTo>
                  <a:close/>
                  <a:moveTo>
                    <a:pt x="71" y="167"/>
                  </a:moveTo>
                  <a:lnTo>
                    <a:pt x="73" y="167"/>
                  </a:lnTo>
                  <a:lnTo>
                    <a:pt x="71" y="167"/>
                  </a:lnTo>
                  <a:close/>
                  <a:moveTo>
                    <a:pt x="50" y="236"/>
                  </a:moveTo>
                  <a:lnTo>
                    <a:pt x="50" y="238"/>
                  </a:lnTo>
                  <a:lnTo>
                    <a:pt x="50" y="236"/>
                  </a:lnTo>
                  <a:close/>
                  <a:moveTo>
                    <a:pt x="31" y="336"/>
                  </a:moveTo>
                  <a:lnTo>
                    <a:pt x="33" y="336"/>
                  </a:lnTo>
                  <a:lnTo>
                    <a:pt x="31" y="336"/>
                  </a:lnTo>
                  <a:close/>
                  <a:moveTo>
                    <a:pt x="29" y="342"/>
                  </a:moveTo>
                  <a:lnTo>
                    <a:pt x="29" y="344"/>
                  </a:lnTo>
                  <a:lnTo>
                    <a:pt x="29" y="342"/>
                  </a:lnTo>
                  <a:close/>
                  <a:moveTo>
                    <a:pt x="89" y="194"/>
                  </a:moveTo>
                  <a:lnTo>
                    <a:pt x="89" y="196"/>
                  </a:lnTo>
                  <a:lnTo>
                    <a:pt x="89" y="194"/>
                  </a:lnTo>
                  <a:close/>
                  <a:moveTo>
                    <a:pt x="44" y="357"/>
                  </a:moveTo>
                  <a:lnTo>
                    <a:pt x="46" y="357"/>
                  </a:lnTo>
                  <a:lnTo>
                    <a:pt x="46" y="359"/>
                  </a:lnTo>
                  <a:lnTo>
                    <a:pt x="44" y="359"/>
                  </a:lnTo>
                  <a:lnTo>
                    <a:pt x="44" y="357"/>
                  </a:lnTo>
                  <a:close/>
                  <a:moveTo>
                    <a:pt x="75" y="169"/>
                  </a:moveTo>
                  <a:lnTo>
                    <a:pt x="77" y="169"/>
                  </a:lnTo>
                  <a:lnTo>
                    <a:pt x="75" y="169"/>
                  </a:lnTo>
                  <a:close/>
                  <a:moveTo>
                    <a:pt x="25" y="342"/>
                  </a:moveTo>
                  <a:lnTo>
                    <a:pt x="25" y="344"/>
                  </a:lnTo>
                  <a:lnTo>
                    <a:pt x="25" y="342"/>
                  </a:lnTo>
                  <a:close/>
                  <a:moveTo>
                    <a:pt x="67" y="355"/>
                  </a:moveTo>
                  <a:lnTo>
                    <a:pt x="67" y="357"/>
                  </a:lnTo>
                  <a:lnTo>
                    <a:pt x="67" y="355"/>
                  </a:lnTo>
                  <a:close/>
                  <a:moveTo>
                    <a:pt x="25" y="346"/>
                  </a:moveTo>
                  <a:lnTo>
                    <a:pt x="25" y="348"/>
                  </a:lnTo>
                  <a:lnTo>
                    <a:pt x="25" y="346"/>
                  </a:lnTo>
                  <a:close/>
                  <a:moveTo>
                    <a:pt x="18" y="348"/>
                  </a:moveTo>
                  <a:lnTo>
                    <a:pt x="18" y="350"/>
                  </a:lnTo>
                  <a:lnTo>
                    <a:pt x="18" y="348"/>
                  </a:lnTo>
                  <a:close/>
                  <a:moveTo>
                    <a:pt x="44" y="248"/>
                  </a:moveTo>
                  <a:lnTo>
                    <a:pt x="44" y="250"/>
                  </a:lnTo>
                  <a:lnTo>
                    <a:pt x="44" y="248"/>
                  </a:lnTo>
                  <a:close/>
                  <a:moveTo>
                    <a:pt x="25" y="338"/>
                  </a:moveTo>
                  <a:lnTo>
                    <a:pt x="27" y="338"/>
                  </a:lnTo>
                  <a:lnTo>
                    <a:pt x="25" y="338"/>
                  </a:lnTo>
                  <a:close/>
                  <a:moveTo>
                    <a:pt x="29" y="342"/>
                  </a:moveTo>
                  <a:lnTo>
                    <a:pt x="31" y="342"/>
                  </a:lnTo>
                  <a:lnTo>
                    <a:pt x="29" y="342"/>
                  </a:lnTo>
                  <a:close/>
                  <a:moveTo>
                    <a:pt x="31" y="330"/>
                  </a:moveTo>
                  <a:lnTo>
                    <a:pt x="31" y="332"/>
                  </a:lnTo>
                  <a:lnTo>
                    <a:pt x="31" y="330"/>
                  </a:lnTo>
                  <a:close/>
                  <a:moveTo>
                    <a:pt x="46" y="350"/>
                  </a:moveTo>
                  <a:lnTo>
                    <a:pt x="46" y="351"/>
                  </a:lnTo>
                  <a:lnTo>
                    <a:pt x="46" y="350"/>
                  </a:lnTo>
                  <a:close/>
                  <a:moveTo>
                    <a:pt x="27" y="261"/>
                  </a:moveTo>
                  <a:lnTo>
                    <a:pt x="27" y="263"/>
                  </a:lnTo>
                  <a:lnTo>
                    <a:pt x="27" y="261"/>
                  </a:lnTo>
                  <a:close/>
                  <a:moveTo>
                    <a:pt x="31" y="332"/>
                  </a:moveTo>
                  <a:lnTo>
                    <a:pt x="31" y="334"/>
                  </a:lnTo>
                  <a:lnTo>
                    <a:pt x="31" y="332"/>
                  </a:lnTo>
                  <a:close/>
                  <a:moveTo>
                    <a:pt x="27" y="338"/>
                  </a:moveTo>
                  <a:lnTo>
                    <a:pt x="27" y="340"/>
                  </a:lnTo>
                  <a:lnTo>
                    <a:pt x="27" y="338"/>
                  </a:lnTo>
                  <a:close/>
                  <a:moveTo>
                    <a:pt x="37" y="344"/>
                  </a:moveTo>
                  <a:lnTo>
                    <a:pt x="39" y="344"/>
                  </a:lnTo>
                  <a:lnTo>
                    <a:pt x="37" y="344"/>
                  </a:lnTo>
                  <a:close/>
                  <a:moveTo>
                    <a:pt x="16" y="348"/>
                  </a:moveTo>
                  <a:lnTo>
                    <a:pt x="18" y="348"/>
                  </a:lnTo>
                  <a:lnTo>
                    <a:pt x="16" y="348"/>
                  </a:lnTo>
                  <a:close/>
                  <a:moveTo>
                    <a:pt x="50" y="236"/>
                  </a:moveTo>
                  <a:lnTo>
                    <a:pt x="50" y="238"/>
                  </a:lnTo>
                  <a:lnTo>
                    <a:pt x="50" y="236"/>
                  </a:lnTo>
                  <a:close/>
                  <a:moveTo>
                    <a:pt x="96" y="346"/>
                  </a:moveTo>
                  <a:lnTo>
                    <a:pt x="96" y="348"/>
                  </a:lnTo>
                  <a:lnTo>
                    <a:pt x="96" y="346"/>
                  </a:lnTo>
                  <a:close/>
                  <a:moveTo>
                    <a:pt x="89" y="350"/>
                  </a:moveTo>
                  <a:lnTo>
                    <a:pt x="91" y="350"/>
                  </a:lnTo>
                  <a:lnTo>
                    <a:pt x="89" y="350"/>
                  </a:lnTo>
                  <a:close/>
                  <a:moveTo>
                    <a:pt x="75" y="351"/>
                  </a:moveTo>
                  <a:lnTo>
                    <a:pt x="75" y="353"/>
                  </a:lnTo>
                  <a:lnTo>
                    <a:pt x="75" y="351"/>
                  </a:lnTo>
                  <a:close/>
                  <a:moveTo>
                    <a:pt x="29" y="342"/>
                  </a:moveTo>
                  <a:lnTo>
                    <a:pt x="31" y="342"/>
                  </a:lnTo>
                  <a:lnTo>
                    <a:pt x="29" y="342"/>
                  </a:lnTo>
                  <a:close/>
                  <a:moveTo>
                    <a:pt x="37" y="351"/>
                  </a:moveTo>
                  <a:lnTo>
                    <a:pt x="39" y="351"/>
                  </a:lnTo>
                  <a:lnTo>
                    <a:pt x="37" y="351"/>
                  </a:lnTo>
                  <a:close/>
                  <a:moveTo>
                    <a:pt x="43" y="357"/>
                  </a:moveTo>
                  <a:lnTo>
                    <a:pt x="44" y="357"/>
                  </a:lnTo>
                  <a:lnTo>
                    <a:pt x="44" y="359"/>
                  </a:lnTo>
                  <a:lnTo>
                    <a:pt x="43" y="359"/>
                  </a:lnTo>
                  <a:lnTo>
                    <a:pt x="43" y="357"/>
                  </a:lnTo>
                  <a:close/>
                  <a:moveTo>
                    <a:pt x="77" y="353"/>
                  </a:moveTo>
                  <a:lnTo>
                    <a:pt x="77" y="355"/>
                  </a:lnTo>
                  <a:lnTo>
                    <a:pt x="77" y="353"/>
                  </a:lnTo>
                  <a:close/>
                  <a:moveTo>
                    <a:pt x="67" y="355"/>
                  </a:moveTo>
                  <a:lnTo>
                    <a:pt x="67" y="357"/>
                  </a:lnTo>
                  <a:lnTo>
                    <a:pt x="67" y="355"/>
                  </a:lnTo>
                  <a:close/>
                  <a:moveTo>
                    <a:pt x="25" y="348"/>
                  </a:moveTo>
                  <a:lnTo>
                    <a:pt x="27" y="348"/>
                  </a:lnTo>
                  <a:lnTo>
                    <a:pt x="25" y="348"/>
                  </a:lnTo>
                  <a:close/>
                  <a:moveTo>
                    <a:pt x="48" y="357"/>
                  </a:moveTo>
                  <a:lnTo>
                    <a:pt x="48" y="359"/>
                  </a:lnTo>
                  <a:lnTo>
                    <a:pt x="48" y="357"/>
                  </a:lnTo>
                  <a:close/>
                  <a:moveTo>
                    <a:pt x="31" y="334"/>
                  </a:moveTo>
                  <a:lnTo>
                    <a:pt x="31" y="336"/>
                  </a:lnTo>
                  <a:lnTo>
                    <a:pt x="31" y="334"/>
                  </a:lnTo>
                  <a:close/>
                  <a:moveTo>
                    <a:pt x="16" y="348"/>
                  </a:moveTo>
                  <a:lnTo>
                    <a:pt x="16" y="350"/>
                  </a:lnTo>
                  <a:lnTo>
                    <a:pt x="16" y="348"/>
                  </a:lnTo>
                  <a:close/>
                  <a:moveTo>
                    <a:pt x="31" y="290"/>
                  </a:moveTo>
                  <a:lnTo>
                    <a:pt x="31" y="292"/>
                  </a:lnTo>
                  <a:lnTo>
                    <a:pt x="31" y="290"/>
                  </a:lnTo>
                  <a:close/>
                  <a:moveTo>
                    <a:pt x="44" y="357"/>
                  </a:moveTo>
                  <a:lnTo>
                    <a:pt x="46" y="357"/>
                  </a:lnTo>
                  <a:lnTo>
                    <a:pt x="46" y="359"/>
                  </a:lnTo>
                  <a:lnTo>
                    <a:pt x="44" y="359"/>
                  </a:lnTo>
                  <a:lnTo>
                    <a:pt x="44" y="357"/>
                  </a:lnTo>
                  <a:close/>
                  <a:moveTo>
                    <a:pt x="117" y="346"/>
                  </a:moveTo>
                  <a:lnTo>
                    <a:pt x="119" y="346"/>
                  </a:lnTo>
                  <a:lnTo>
                    <a:pt x="117" y="346"/>
                  </a:lnTo>
                  <a:close/>
                  <a:moveTo>
                    <a:pt x="10" y="351"/>
                  </a:moveTo>
                  <a:lnTo>
                    <a:pt x="12" y="351"/>
                  </a:lnTo>
                  <a:lnTo>
                    <a:pt x="12" y="353"/>
                  </a:lnTo>
                  <a:lnTo>
                    <a:pt x="10" y="353"/>
                  </a:lnTo>
                  <a:lnTo>
                    <a:pt x="10" y="351"/>
                  </a:lnTo>
                  <a:close/>
                  <a:moveTo>
                    <a:pt x="87" y="184"/>
                  </a:moveTo>
                  <a:lnTo>
                    <a:pt x="89" y="184"/>
                  </a:lnTo>
                  <a:lnTo>
                    <a:pt x="89" y="186"/>
                  </a:lnTo>
                  <a:lnTo>
                    <a:pt x="87" y="186"/>
                  </a:lnTo>
                  <a:lnTo>
                    <a:pt x="87" y="184"/>
                  </a:lnTo>
                  <a:close/>
                  <a:moveTo>
                    <a:pt x="41" y="357"/>
                  </a:moveTo>
                  <a:lnTo>
                    <a:pt x="43" y="357"/>
                  </a:lnTo>
                  <a:lnTo>
                    <a:pt x="41" y="357"/>
                  </a:lnTo>
                  <a:close/>
                  <a:moveTo>
                    <a:pt x="85" y="348"/>
                  </a:moveTo>
                  <a:lnTo>
                    <a:pt x="87" y="348"/>
                  </a:lnTo>
                  <a:lnTo>
                    <a:pt x="87" y="350"/>
                  </a:lnTo>
                  <a:lnTo>
                    <a:pt x="85" y="350"/>
                  </a:lnTo>
                  <a:lnTo>
                    <a:pt x="85" y="348"/>
                  </a:lnTo>
                  <a:close/>
                  <a:moveTo>
                    <a:pt x="33" y="336"/>
                  </a:moveTo>
                  <a:lnTo>
                    <a:pt x="33" y="338"/>
                  </a:lnTo>
                  <a:lnTo>
                    <a:pt x="33" y="336"/>
                  </a:lnTo>
                  <a:close/>
                  <a:moveTo>
                    <a:pt x="16" y="340"/>
                  </a:moveTo>
                  <a:lnTo>
                    <a:pt x="16" y="342"/>
                  </a:lnTo>
                  <a:lnTo>
                    <a:pt x="16" y="340"/>
                  </a:lnTo>
                  <a:close/>
                  <a:moveTo>
                    <a:pt x="104" y="344"/>
                  </a:moveTo>
                  <a:lnTo>
                    <a:pt x="104" y="346"/>
                  </a:lnTo>
                  <a:lnTo>
                    <a:pt x="104" y="344"/>
                  </a:lnTo>
                  <a:close/>
                  <a:moveTo>
                    <a:pt x="31" y="344"/>
                  </a:moveTo>
                  <a:lnTo>
                    <a:pt x="33" y="344"/>
                  </a:lnTo>
                  <a:lnTo>
                    <a:pt x="31" y="344"/>
                  </a:lnTo>
                  <a:close/>
                  <a:moveTo>
                    <a:pt x="54" y="344"/>
                  </a:moveTo>
                  <a:lnTo>
                    <a:pt x="56" y="344"/>
                  </a:lnTo>
                  <a:lnTo>
                    <a:pt x="54" y="344"/>
                  </a:lnTo>
                  <a:close/>
                  <a:moveTo>
                    <a:pt x="29" y="338"/>
                  </a:moveTo>
                  <a:lnTo>
                    <a:pt x="29" y="340"/>
                  </a:lnTo>
                  <a:lnTo>
                    <a:pt x="29" y="338"/>
                  </a:lnTo>
                  <a:close/>
                  <a:moveTo>
                    <a:pt x="21" y="346"/>
                  </a:moveTo>
                  <a:lnTo>
                    <a:pt x="21" y="348"/>
                  </a:lnTo>
                  <a:lnTo>
                    <a:pt x="21" y="346"/>
                  </a:lnTo>
                  <a:close/>
                  <a:moveTo>
                    <a:pt x="21" y="348"/>
                  </a:moveTo>
                  <a:lnTo>
                    <a:pt x="23" y="348"/>
                  </a:lnTo>
                  <a:lnTo>
                    <a:pt x="21" y="348"/>
                  </a:lnTo>
                  <a:close/>
                  <a:moveTo>
                    <a:pt x="46" y="355"/>
                  </a:moveTo>
                  <a:lnTo>
                    <a:pt x="48" y="355"/>
                  </a:lnTo>
                  <a:lnTo>
                    <a:pt x="46" y="355"/>
                  </a:lnTo>
                  <a:close/>
                  <a:moveTo>
                    <a:pt x="87" y="186"/>
                  </a:moveTo>
                  <a:lnTo>
                    <a:pt x="89" y="186"/>
                  </a:lnTo>
                  <a:lnTo>
                    <a:pt x="87" y="186"/>
                  </a:lnTo>
                  <a:close/>
                  <a:moveTo>
                    <a:pt x="54" y="346"/>
                  </a:moveTo>
                  <a:lnTo>
                    <a:pt x="54" y="348"/>
                  </a:lnTo>
                  <a:lnTo>
                    <a:pt x="54" y="346"/>
                  </a:lnTo>
                  <a:close/>
                  <a:moveTo>
                    <a:pt x="73" y="171"/>
                  </a:moveTo>
                  <a:lnTo>
                    <a:pt x="75" y="171"/>
                  </a:lnTo>
                  <a:lnTo>
                    <a:pt x="73" y="171"/>
                  </a:lnTo>
                  <a:close/>
                  <a:moveTo>
                    <a:pt x="33" y="317"/>
                  </a:moveTo>
                  <a:lnTo>
                    <a:pt x="33" y="319"/>
                  </a:lnTo>
                  <a:lnTo>
                    <a:pt x="33" y="317"/>
                  </a:lnTo>
                  <a:close/>
                  <a:moveTo>
                    <a:pt x="18" y="340"/>
                  </a:moveTo>
                  <a:lnTo>
                    <a:pt x="18" y="342"/>
                  </a:lnTo>
                  <a:lnTo>
                    <a:pt x="18" y="340"/>
                  </a:lnTo>
                  <a:close/>
                  <a:moveTo>
                    <a:pt x="71" y="353"/>
                  </a:moveTo>
                  <a:lnTo>
                    <a:pt x="71" y="355"/>
                  </a:lnTo>
                  <a:lnTo>
                    <a:pt x="71" y="353"/>
                  </a:lnTo>
                  <a:close/>
                  <a:moveTo>
                    <a:pt x="44" y="346"/>
                  </a:moveTo>
                  <a:lnTo>
                    <a:pt x="46" y="346"/>
                  </a:lnTo>
                  <a:lnTo>
                    <a:pt x="44" y="346"/>
                  </a:lnTo>
                  <a:close/>
                  <a:moveTo>
                    <a:pt x="35" y="351"/>
                  </a:moveTo>
                  <a:lnTo>
                    <a:pt x="37" y="351"/>
                  </a:lnTo>
                  <a:lnTo>
                    <a:pt x="35" y="351"/>
                  </a:lnTo>
                  <a:close/>
                  <a:moveTo>
                    <a:pt x="62" y="357"/>
                  </a:moveTo>
                  <a:lnTo>
                    <a:pt x="64" y="357"/>
                  </a:lnTo>
                  <a:lnTo>
                    <a:pt x="62" y="357"/>
                  </a:lnTo>
                  <a:close/>
                  <a:moveTo>
                    <a:pt x="75" y="167"/>
                  </a:moveTo>
                  <a:lnTo>
                    <a:pt x="75" y="169"/>
                  </a:lnTo>
                  <a:lnTo>
                    <a:pt x="75" y="167"/>
                  </a:lnTo>
                  <a:close/>
                  <a:moveTo>
                    <a:pt x="33" y="351"/>
                  </a:moveTo>
                  <a:lnTo>
                    <a:pt x="35" y="351"/>
                  </a:lnTo>
                  <a:lnTo>
                    <a:pt x="33" y="351"/>
                  </a:lnTo>
                  <a:close/>
                  <a:moveTo>
                    <a:pt x="33" y="317"/>
                  </a:moveTo>
                  <a:lnTo>
                    <a:pt x="33" y="319"/>
                  </a:lnTo>
                  <a:lnTo>
                    <a:pt x="33" y="317"/>
                  </a:lnTo>
                  <a:close/>
                  <a:moveTo>
                    <a:pt x="8" y="342"/>
                  </a:moveTo>
                  <a:lnTo>
                    <a:pt x="8" y="344"/>
                  </a:lnTo>
                  <a:lnTo>
                    <a:pt x="8" y="342"/>
                  </a:lnTo>
                  <a:close/>
                  <a:moveTo>
                    <a:pt x="43" y="357"/>
                  </a:moveTo>
                  <a:lnTo>
                    <a:pt x="43" y="359"/>
                  </a:lnTo>
                  <a:lnTo>
                    <a:pt x="43" y="357"/>
                  </a:lnTo>
                  <a:close/>
                  <a:moveTo>
                    <a:pt x="77" y="167"/>
                  </a:moveTo>
                  <a:lnTo>
                    <a:pt x="77" y="169"/>
                  </a:lnTo>
                  <a:lnTo>
                    <a:pt x="77" y="167"/>
                  </a:lnTo>
                  <a:close/>
                  <a:moveTo>
                    <a:pt x="119" y="342"/>
                  </a:moveTo>
                  <a:lnTo>
                    <a:pt x="121" y="342"/>
                  </a:lnTo>
                  <a:lnTo>
                    <a:pt x="119" y="342"/>
                  </a:lnTo>
                  <a:close/>
                  <a:moveTo>
                    <a:pt x="31" y="261"/>
                  </a:moveTo>
                  <a:lnTo>
                    <a:pt x="31" y="263"/>
                  </a:lnTo>
                  <a:lnTo>
                    <a:pt x="31" y="261"/>
                  </a:lnTo>
                  <a:close/>
                  <a:moveTo>
                    <a:pt x="35" y="340"/>
                  </a:moveTo>
                  <a:lnTo>
                    <a:pt x="35" y="342"/>
                  </a:lnTo>
                  <a:lnTo>
                    <a:pt x="35" y="340"/>
                  </a:lnTo>
                  <a:close/>
                  <a:moveTo>
                    <a:pt x="29" y="330"/>
                  </a:moveTo>
                  <a:lnTo>
                    <a:pt x="31" y="330"/>
                  </a:lnTo>
                  <a:lnTo>
                    <a:pt x="29" y="330"/>
                  </a:lnTo>
                  <a:close/>
                  <a:moveTo>
                    <a:pt x="37" y="336"/>
                  </a:moveTo>
                  <a:lnTo>
                    <a:pt x="37" y="338"/>
                  </a:lnTo>
                  <a:lnTo>
                    <a:pt x="37" y="336"/>
                  </a:lnTo>
                  <a:close/>
                  <a:moveTo>
                    <a:pt x="100" y="340"/>
                  </a:moveTo>
                  <a:lnTo>
                    <a:pt x="100" y="342"/>
                  </a:lnTo>
                  <a:lnTo>
                    <a:pt x="100" y="340"/>
                  </a:lnTo>
                  <a:close/>
                  <a:moveTo>
                    <a:pt x="6" y="344"/>
                  </a:moveTo>
                  <a:lnTo>
                    <a:pt x="6" y="346"/>
                  </a:lnTo>
                  <a:lnTo>
                    <a:pt x="6" y="344"/>
                  </a:lnTo>
                  <a:close/>
                  <a:moveTo>
                    <a:pt x="39" y="338"/>
                  </a:moveTo>
                  <a:lnTo>
                    <a:pt x="41" y="338"/>
                  </a:lnTo>
                  <a:lnTo>
                    <a:pt x="39" y="338"/>
                  </a:lnTo>
                  <a:close/>
                  <a:moveTo>
                    <a:pt x="27" y="342"/>
                  </a:moveTo>
                  <a:lnTo>
                    <a:pt x="27" y="344"/>
                  </a:lnTo>
                  <a:lnTo>
                    <a:pt x="27" y="342"/>
                  </a:lnTo>
                  <a:close/>
                  <a:moveTo>
                    <a:pt x="39" y="348"/>
                  </a:moveTo>
                  <a:lnTo>
                    <a:pt x="41" y="348"/>
                  </a:lnTo>
                  <a:lnTo>
                    <a:pt x="39" y="348"/>
                  </a:lnTo>
                  <a:close/>
                  <a:moveTo>
                    <a:pt x="43" y="355"/>
                  </a:moveTo>
                  <a:lnTo>
                    <a:pt x="44" y="355"/>
                  </a:lnTo>
                  <a:lnTo>
                    <a:pt x="44" y="357"/>
                  </a:lnTo>
                  <a:lnTo>
                    <a:pt x="43" y="357"/>
                  </a:lnTo>
                  <a:lnTo>
                    <a:pt x="43" y="355"/>
                  </a:lnTo>
                  <a:close/>
                  <a:moveTo>
                    <a:pt x="25" y="342"/>
                  </a:moveTo>
                  <a:lnTo>
                    <a:pt x="25" y="344"/>
                  </a:lnTo>
                  <a:lnTo>
                    <a:pt x="25" y="342"/>
                  </a:lnTo>
                  <a:close/>
                  <a:moveTo>
                    <a:pt x="33" y="257"/>
                  </a:moveTo>
                  <a:lnTo>
                    <a:pt x="35" y="257"/>
                  </a:lnTo>
                  <a:lnTo>
                    <a:pt x="33" y="257"/>
                  </a:lnTo>
                  <a:close/>
                  <a:moveTo>
                    <a:pt x="29" y="284"/>
                  </a:moveTo>
                  <a:lnTo>
                    <a:pt x="31" y="284"/>
                  </a:lnTo>
                  <a:lnTo>
                    <a:pt x="29" y="284"/>
                  </a:lnTo>
                  <a:close/>
                  <a:moveTo>
                    <a:pt x="46" y="355"/>
                  </a:moveTo>
                  <a:lnTo>
                    <a:pt x="48" y="355"/>
                  </a:lnTo>
                  <a:lnTo>
                    <a:pt x="48" y="357"/>
                  </a:lnTo>
                  <a:lnTo>
                    <a:pt x="46" y="357"/>
                  </a:lnTo>
                  <a:lnTo>
                    <a:pt x="46" y="355"/>
                  </a:lnTo>
                  <a:close/>
                  <a:moveTo>
                    <a:pt x="29" y="325"/>
                  </a:moveTo>
                  <a:lnTo>
                    <a:pt x="29" y="326"/>
                  </a:lnTo>
                  <a:lnTo>
                    <a:pt x="29" y="325"/>
                  </a:lnTo>
                  <a:close/>
                  <a:moveTo>
                    <a:pt x="29" y="344"/>
                  </a:moveTo>
                  <a:lnTo>
                    <a:pt x="31" y="344"/>
                  </a:lnTo>
                  <a:lnTo>
                    <a:pt x="29" y="344"/>
                  </a:lnTo>
                  <a:close/>
                  <a:moveTo>
                    <a:pt x="43" y="350"/>
                  </a:moveTo>
                  <a:lnTo>
                    <a:pt x="44" y="350"/>
                  </a:lnTo>
                  <a:lnTo>
                    <a:pt x="43" y="350"/>
                  </a:lnTo>
                  <a:close/>
                  <a:moveTo>
                    <a:pt x="6" y="346"/>
                  </a:moveTo>
                  <a:lnTo>
                    <a:pt x="8" y="346"/>
                  </a:lnTo>
                  <a:lnTo>
                    <a:pt x="6" y="346"/>
                  </a:lnTo>
                  <a:close/>
                  <a:moveTo>
                    <a:pt x="33" y="311"/>
                  </a:moveTo>
                  <a:lnTo>
                    <a:pt x="33" y="313"/>
                  </a:lnTo>
                  <a:lnTo>
                    <a:pt x="33" y="311"/>
                  </a:lnTo>
                  <a:close/>
                  <a:moveTo>
                    <a:pt x="35" y="340"/>
                  </a:moveTo>
                  <a:lnTo>
                    <a:pt x="37" y="340"/>
                  </a:lnTo>
                  <a:lnTo>
                    <a:pt x="35" y="340"/>
                  </a:lnTo>
                  <a:close/>
                  <a:moveTo>
                    <a:pt x="48" y="357"/>
                  </a:moveTo>
                  <a:lnTo>
                    <a:pt x="48" y="359"/>
                  </a:lnTo>
                  <a:lnTo>
                    <a:pt x="48" y="357"/>
                  </a:lnTo>
                  <a:close/>
                  <a:moveTo>
                    <a:pt x="12" y="342"/>
                  </a:moveTo>
                  <a:lnTo>
                    <a:pt x="14" y="342"/>
                  </a:lnTo>
                  <a:lnTo>
                    <a:pt x="12" y="342"/>
                  </a:lnTo>
                  <a:close/>
                  <a:moveTo>
                    <a:pt x="48" y="353"/>
                  </a:moveTo>
                  <a:lnTo>
                    <a:pt x="48" y="355"/>
                  </a:lnTo>
                  <a:lnTo>
                    <a:pt x="48" y="353"/>
                  </a:lnTo>
                  <a:close/>
                  <a:moveTo>
                    <a:pt x="14" y="340"/>
                  </a:moveTo>
                  <a:lnTo>
                    <a:pt x="14" y="342"/>
                  </a:lnTo>
                  <a:lnTo>
                    <a:pt x="14" y="340"/>
                  </a:lnTo>
                  <a:close/>
                  <a:moveTo>
                    <a:pt x="21" y="348"/>
                  </a:moveTo>
                  <a:lnTo>
                    <a:pt x="23" y="348"/>
                  </a:lnTo>
                  <a:lnTo>
                    <a:pt x="21" y="348"/>
                  </a:lnTo>
                  <a:close/>
                  <a:moveTo>
                    <a:pt x="31" y="263"/>
                  </a:moveTo>
                  <a:lnTo>
                    <a:pt x="33" y="263"/>
                  </a:lnTo>
                  <a:lnTo>
                    <a:pt x="31" y="263"/>
                  </a:lnTo>
                  <a:close/>
                  <a:moveTo>
                    <a:pt x="18" y="350"/>
                  </a:moveTo>
                  <a:lnTo>
                    <a:pt x="19" y="350"/>
                  </a:lnTo>
                  <a:lnTo>
                    <a:pt x="18" y="350"/>
                  </a:lnTo>
                  <a:close/>
                  <a:moveTo>
                    <a:pt x="96" y="348"/>
                  </a:moveTo>
                  <a:lnTo>
                    <a:pt x="98" y="348"/>
                  </a:lnTo>
                  <a:lnTo>
                    <a:pt x="96" y="348"/>
                  </a:lnTo>
                  <a:close/>
                  <a:moveTo>
                    <a:pt x="29" y="338"/>
                  </a:moveTo>
                  <a:lnTo>
                    <a:pt x="29" y="340"/>
                  </a:lnTo>
                  <a:lnTo>
                    <a:pt x="29" y="338"/>
                  </a:lnTo>
                  <a:close/>
                  <a:moveTo>
                    <a:pt x="35" y="346"/>
                  </a:moveTo>
                  <a:lnTo>
                    <a:pt x="37" y="346"/>
                  </a:lnTo>
                  <a:lnTo>
                    <a:pt x="37" y="348"/>
                  </a:lnTo>
                  <a:lnTo>
                    <a:pt x="35" y="348"/>
                  </a:lnTo>
                  <a:lnTo>
                    <a:pt x="35" y="346"/>
                  </a:lnTo>
                  <a:close/>
                  <a:moveTo>
                    <a:pt x="35" y="346"/>
                  </a:moveTo>
                  <a:lnTo>
                    <a:pt x="37" y="346"/>
                  </a:lnTo>
                  <a:lnTo>
                    <a:pt x="35" y="346"/>
                  </a:lnTo>
                  <a:close/>
                  <a:moveTo>
                    <a:pt x="39" y="348"/>
                  </a:moveTo>
                  <a:lnTo>
                    <a:pt x="41" y="348"/>
                  </a:lnTo>
                  <a:lnTo>
                    <a:pt x="39" y="348"/>
                  </a:lnTo>
                  <a:close/>
                  <a:moveTo>
                    <a:pt x="29" y="280"/>
                  </a:moveTo>
                  <a:lnTo>
                    <a:pt x="29" y="282"/>
                  </a:lnTo>
                  <a:lnTo>
                    <a:pt x="29" y="280"/>
                  </a:lnTo>
                  <a:close/>
                  <a:moveTo>
                    <a:pt x="52" y="346"/>
                  </a:moveTo>
                  <a:lnTo>
                    <a:pt x="54" y="346"/>
                  </a:lnTo>
                  <a:lnTo>
                    <a:pt x="52" y="346"/>
                  </a:lnTo>
                  <a:close/>
                  <a:moveTo>
                    <a:pt x="37" y="351"/>
                  </a:moveTo>
                  <a:lnTo>
                    <a:pt x="39" y="351"/>
                  </a:lnTo>
                  <a:lnTo>
                    <a:pt x="39" y="353"/>
                  </a:lnTo>
                  <a:lnTo>
                    <a:pt x="37" y="353"/>
                  </a:lnTo>
                  <a:lnTo>
                    <a:pt x="37" y="351"/>
                  </a:lnTo>
                  <a:close/>
                  <a:moveTo>
                    <a:pt x="41" y="351"/>
                  </a:moveTo>
                  <a:lnTo>
                    <a:pt x="43" y="351"/>
                  </a:lnTo>
                  <a:lnTo>
                    <a:pt x="41" y="351"/>
                  </a:lnTo>
                  <a:close/>
                  <a:moveTo>
                    <a:pt x="85" y="173"/>
                  </a:moveTo>
                  <a:lnTo>
                    <a:pt x="85" y="175"/>
                  </a:lnTo>
                  <a:lnTo>
                    <a:pt x="85" y="173"/>
                  </a:lnTo>
                  <a:close/>
                  <a:moveTo>
                    <a:pt x="18" y="353"/>
                  </a:moveTo>
                  <a:lnTo>
                    <a:pt x="18" y="355"/>
                  </a:lnTo>
                  <a:lnTo>
                    <a:pt x="18" y="353"/>
                  </a:lnTo>
                  <a:close/>
                  <a:moveTo>
                    <a:pt x="69" y="355"/>
                  </a:moveTo>
                  <a:lnTo>
                    <a:pt x="69" y="357"/>
                  </a:lnTo>
                  <a:lnTo>
                    <a:pt x="69" y="355"/>
                  </a:lnTo>
                  <a:close/>
                  <a:moveTo>
                    <a:pt x="48" y="355"/>
                  </a:moveTo>
                  <a:lnTo>
                    <a:pt x="50" y="355"/>
                  </a:lnTo>
                  <a:lnTo>
                    <a:pt x="48" y="355"/>
                  </a:lnTo>
                  <a:close/>
                  <a:moveTo>
                    <a:pt x="35" y="353"/>
                  </a:moveTo>
                  <a:lnTo>
                    <a:pt x="35" y="355"/>
                  </a:lnTo>
                  <a:lnTo>
                    <a:pt x="35" y="353"/>
                  </a:lnTo>
                  <a:close/>
                  <a:moveTo>
                    <a:pt x="112" y="344"/>
                  </a:moveTo>
                  <a:lnTo>
                    <a:pt x="112" y="346"/>
                  </a:lnTo>
                  <a:lnTo>
                    <a:pt x="112" y="344"/>
                  </a:lnTo>
                  <a:close/>
                  <a:moveTo>
                    <a:pt x="114" y="340"/>
                  </a:moveTo>
                  <a:lnTo>
                    <a:pt x="115" y="340"/>
                  </a:lnTo>
                  <a:lnTo>
                    <a:pt x="115" y="342"/>
                  </a:lnTo>
                  <a:lnTo>
                    <a:pt x="114" y="342"/>
                  </a:lnTo>
                  <a:lnTo>
                    <a:pt x="114" y="340"/>
                  </a:lnTo>
                  <a:close/>
                  <a:moveTo>
                    <a:pt x="29" y="328"/>
                  </a:moveTo>
                  <a:lnTo>
                    <a:pt x="31" y="328"/>
                  </a:lnTo>
                  <a:lnTo>
                    <a:pt x="29" y="328"/>
                  </a:lnTo>
                  <a:close/>
                  <a:moveTo>
                    <a:pt x="31" y="303"/>
                  </a:moveTo>
                  <a:lnTo>
                    <a:pt x="33" y="303"/>
                  </a:lnTo>
                  <a:lnTo>
                    <a:pt x="33" y="305"/>
                  </a:lnTo>
                  <a:lnTo>
                    <a:pt x="31" y="305"/>
                  </a:lnTo>
                  <a:lnTo>
                    <a:pt x="31" y="303"/>
                  </a:lnTo>
                  <a:close/>
                  <a:moveTo>
                    <a:pt x="50" y="355"/>
                  </a:moveTo>
                  <a:lnTo>
                    <a:pt x="52" y="355"/>
                  </a:lnTo>
                  <a:lnTo>
                    <a:pt x="50" y="355"/>
                  </a:lnTo>
                  <a:close/>
                  <a:moveTo>
                    <a:pt x="16" y="342"/>
                  </a:moveTo>
                  <a:lnTo>
                    <a:pt x="18" y="342"/>
                  </a:lnTo>
                  <a:lnTo>
                    <a:pt x="18" y="344"/>
                  </a:lnTo>
                  <a:lnTo>
                    <a:pt x="16" y="344"/>
                  </a:lnTo>
                  <a:lnTo>
                    <a:pt x="16" y="342"/>
                  </a:lnTo>
                  <a:close/>
                  <a:moveTo>
                    <a:pt x="29" y="353"/>
                  </a:moveTo>
                  <a:lnTo>
                    <a:pt x="29" y="355"/>
                  </a:lnTo>
                  <a:lnTo>
                    <a:pt x="29" y="353"/>
                  </a:lnTo>
                  <a:close/>
                  <a:moveTo>
                    <a:pt x="62" y="355"/>
                  </a:moveTo>
                  <a:lnTo>
                    <a:pt x="64" y="355"/>
                  </a:lnTo>
                  <a:lnTo>
                    <a:pt x="62" y="355"/>
                  </a:lnTo>
                  <a:close/>
                  <a:moveTo>
                    <a:pt x="2" y="346"/>
                  </a:moveTo>
                  <a:lnTo>
                    <a:pt x="2" y="348"/>
                  </a:lnTo>
                  <a:lnTo>
                    <a:pt x="2" y="346"/>
                  </a:lnTo>
                  <a:close/>
                  <a:moveTo>
                    <a:pt x="37" y="357"/>
                  </a:moveTo>
                  <a:lnTo>
                    <a:pt x="39" y="357"/>
                  </a:lnTo>
                  <a:lnTo>
                    <a:pt x="37" y="357"/>
                  </a:lnTo>
                  <a:close/>
                  <a:moveTo>
                    <a:pt x="52" y="346"/>
                  </a:moveTo>
                  <a:lnTo>
                    <a:pt x="54" y="346"/>
                  </a:lnTo>
                  <a:lnTo>
                    <a:pt x="52" y="346"/>
                  </a:lnTo>
                  <a:close/>
                  <a:moveTo>
                    <a:pt x="31" y="340"/>
                  </a:moveTo>
                  <a:lnTo>
                    <a:pt x="33" y="340"/>
                  </a:lnTo>
                  <a:lnTo>
                    <a:pt x="31" y="340"/>
                  </a:lnTo>
                  <a:close/>
                  <a:moveTo>
                    <a:pt x="21" y="351"/>
                  </a:moveTo>
                  <a:lnTo>
                    <a:pt x="23" y="351"/>
                  </a:lnTo>
                  <a:lnTo>
                    <a:pt x="21" y="351"/>
                  </a:lnTo>
                  <a:close/>
                  <a:moveTo>
                    <a:pt x="73" y="173"/>
                  </a:moveTo>
                  <a:lnTo>
                    <a:pt x="73" y="175"/>
                  </a:lnTo>
                  <a:lnTo>
                    <a:pt x="73" y="173"/>
                  </a:lnTo>
                  <a:close/>
                  <a:moveTo>
                    <a:pt x="73" y="353"/>
                  </a:moveTo>
                  <a:lnTo>
                    <a:pt x="73" y="355"/>
                  </a:lnTo>
                  <a:lnTo>
                    <a:pt x="73" y="353"/>
                  </a:lnTo>
                  <a:close/>
                  <a:moveTo>
                    <a:pt x="33" y="302"/>
                  </a:moveTo>
                  <a:lnTo>
                    <a:pt x="35" y="302"/>
                  </a:lnTo>
                  <a:lnTo>
                    <a:pt x="33" y="302"/>
                  </a:lnTo>
                  <a:close/>
                  <a:moveTo>
                    <a:pt x="25" y="346"/>
                  </a:moveTo>
                  <a:lnTo>
                    <a:pt x="27" y="346"/>
                  </a:lnTo>
                  <a:lnTo>
                    <a:pt x="25" y="346"/>
                  </a:lnTo>
                  <a:close/>
                  <a:moveTo>
                    <a:pt x="4" y="344"/>
                  </a:moveTo>
                  <a:lnTo>
                    <a:pt x="6" y="344"/>
                  </a:lnTo>
                  <a:lnTo>
                    <a:pt x="4" y="344"/>
                  </a:lnTo>
                  <a:close/>
                  <a:moveTo>
                    <a:pt x="35" y="344"/>
                  </a:moveTo>
                  <a:lnTo>
                    <a:pt x="37" y="344"/>
                  </a:lnTo>
                  <a:lnTo>
                    <a:pt x="35" y="344"/>
                  </a:lnTo>
                  <a:close/>
                  <a:moveTo>
                    <a:pt x="6" y="342"/>
                  </a:moveTo>
                  <a:lnTo>
                    <a:pt x="8" y="342"/>
                  </a:lnTo>
                  <a:lnTo>
                    <a:pt x="6" y="342"/>
                  </a:lnTo>
                  <a:close/>
                  <a:moveTo>
                    <a:pt x="31" y="330"/>
                  </a:moveTo>
                  <a:lnTo>
                    <a:pt x="31" y="332"/>
                  </a:lnTo>
                  <a:lnTo>
                    <a:pt x="31" y="330"/>
                  </a:lnTo>
                  <a:close/>
                  <a:moveTo>
                    <a:pt x="29" y="332"/>
                  </a:moveTo>
                  <a:lnTo>
                    <a:pt x="31" y="332"/>
                  </a:lnTo>
                  <a:lnTo>
                    <a:pt x="29" y="332"/>
                  </a:lnTo>
                  <a:close/>
                  <a:moveTo>
                    <a:pt x="31" y="340"/>
                  </a:moveTo>
                  <a:lnTo>
                    <a:pt x="31" y="342"/>
                  </a:lnTo>
                  <a:lnTo>
                    <a:pt x="31" y="340"/>
                  </a:lnTo>
                  <a:close/>
                  <a:moveTo>
                    <a:pt x="35" y="340"/>
                  </a:moveTo>
                  <a:lnTo>
                    <a:pt x="37" y="340"/>
                  </a:lnTo>
                  <a:lnTo>
                    <a:pt x="35" y="340"/>
                  </a:lnTo>
                  <a:close/>
                  <a:moveTo>
                    <a:pt x="62" y="357"/>
                  </a:moveTo>
                  <a:lnTo>
                    <a:pt x="62" y="359"/>
                  </a:lnTo>
                  <a:lnTo>
                    <a:pt x="62" y="357"/>
                  </a:lnTo>
                  <a:close/>
                  <a:moveTo>
                    <a:pt x="83" y="348"/>
                  </a:moveTo>
                  <a:lnTo>
                    <a:pt x="83" y="350"/>
                  </a:lnTo>
                  <a:lnTo>
                    <a:pt x="83" y="348"/>
                  </a:lnTo>
                  <a:close/>
                  <a:moveTo>
                    <a:pt x="29" y="344"/>
                  </a:moveTo>
                  <a:lnTo>
                    <a:pt x="31" y="344"/>
                  </a:lnTo>
                  <a:lnTo>
                    <a:pt x="31" y="346"/>
                  </a:lnTo>
                  <a:lnTo>
                    <a:pt x="29" y="346"/>
                  </a:lnTo>
                  <a:lnTo>
                    <a:pt x="29" y="344"/>
                  </a:lnTo>
                  <a:close/>
                  <a:moveTo>
                    <a:pt x="6" y="344"/>
                  </a:moveTo>
                  <a:lnTo>
                    <a:pt x="6" y="346"/>
                  </a:lnTo>
                  <a:lnTo>
                    <a:pt x="6" y="344"/>
                  </a:lnTo>
                  <a:close/>
                  <a:moveTo>
                    <a:pt x="23" y="342"/>
                  </a:moveTo>
                  <a:lnTo>
                    <a:pt x="25" y="342"/>
                  </a:lnTo>
                  <a:lnTo>
                    <a:pt x="23" y="342"/>
                  </a:lnTo>
                  <a:close/>
                  <a:moveTo>
                    <a:pt x="29" y="342"/>
                  </a:moveTo>
                  <a:lnTo>
                    <a:pt x="29" y="344"/>
                  </a:lnTo>
                  <a:lnTo>
                    <a:pt x="29" y="342"/>
                  </a:lnTo>
                  <a:close/>
                  <a:moveTo>
                    <a:pt x="39" y="344"/>
                  </a:moveTo>
                  <a:lnTo>
                    <a:pt x="41" y="344"/>
                  </a:lnTo>
                  <a:lnTo>
                    <a:pt x="39" y="344"/>
                  </a:lnTo>
                  <a:close/>
                  <a:moveTo>
                    <a:pt x="29" y="328"/>
                  </a:moveTo>
                  <a:lnTo>
                    <a:pt x="29" y="330"/>
                  </a:lnTo>
                  <a:lnTo>
                    <a:pt x="29" y="328"/>
                  </a:lnTo>
                  <a:close/>
                  <a:moveTo>
                    <a:pt x="31" y="351"/>
                  </a:moveTo>
                  <a:lnTo>
                    <a:pt x="33" y="351"/>
                  </a:lnTo>
                  <a:lnTo>
                    <a:pt x="31" y="351"/>
                  </a:lnTo>
                  <a:close/>
                  <a:moveTo>
                    <a:pt x="50" y="348"/>
                  </a:moveTo>
                  <a:lnTo>
                    <a:pt x="52" y="348"/>
                  </a:lnTo>
                  <a:lnTo>
                    <a:pt x="50" y="348"/>
                  </a:lnTo>
                  <a:close/>
                  <a:moveTo>
                    <a:pt x="115" y="338"/>
                  </a:moveTo>
                  <a:lnTo>
                    <a:pt x="115" y="340"/>
                  </a:lnTo>
                  <a:lnTo>
                    <a:pt x="115" y="338"/>
                  </a:lnTo>
                  <a:close/>
                  <a:moveTo>
                    <a:pt x="33" y="346"/>
                  </a:moveTo>
                  <a:lnTo>
                    <a:pt x="33" y="348"/>
                  </a:lnTo>
                  <a:lnTo>
                    <a:pt x="33" y="346"/>
                  </a:lnTo>
                  <a:close/>
                  <a:moveTo>
                    <a:pt x="16" y="351"/>
                  </a:moveTo>
                  <a:lnTo>
                    <a:pt x="18" y="351"/>
                  </a:lnTo>
                  <a:lnTo>
                    <a:pt x="16" y="351"/>
                  </a:lnTo>
                  <a:close/>
                  <a:moveTo>
                    <a:pt x="46" y="244"/>
                  </a:moveTo>
                  <a:lnTo>
                    <a:pt x="46" y="246"/>
                  </a:lnTo>
                  <a:lnTo>
                    <a:pt x="46" y="244"/>
                  </a:lnTo>
                  <a:close/>
                  <a:moveTo>
                    <a:pt x="66" y="355"/>
                  </a:moveTo>
                  <a:lnTo>
                    <a:pt x="67" y="355"/>
                  </a:lnTo>
                  <a:lnTo>
                    <a:pt x="66" y="355"/>
                  </a:lnTo>
                  <a:close/>
                  <a:moveTo>
                    <a:pt x="27" y="338"/>
                  </a:moveTo>
                  <a:lnTo>
                    <a:pt x="27" y="340"/>
                  </a:lnTo>
                  <a:lnTo>
                    <a:pt x="27" y="338"/>
                  </a:lnTo>
                  <a:close/>
                  <a:moveTo>
                    <a:pt x="12" y="348"/>
                  </a:moveTo>
                  <a:lnTo>
                    <a:pt x="12" y="350"/>
                  </a:lnTo>
                  <a:lnTo>
                    <a:pt x="12" y="348"/>
                  </a:lnTo>
                  <a:close/>
                  <a:moveTo>
                    <a:pt x="29" y="344"/>
                  </a:moveTo>
                  <a:lnTo>
                    <a:pt x="29" y="346"/>
                  </a:lnTo>
                  <a:lnTo>
                    <a:pt x="29" y="344"/>
                  </a:lnTo>
                  <a:close/>
                  <a:moveTo>
                    <a:pt x="27" y="255"/>
                  </a:moveTo>
                  <a:lnTo>
                    <a:pt x="29" y="255"/>
                  </a:lnTo>
                  <a:lnTo>
                    <a:pt x="27" y="255"/>
                  </a:lnTo>
                  <a:close/>
                  <a:moveTo>
                    <a:pt x="12" y="353"/>
                  </a:moveTo>
                  <a:lnTo>
                    <a:pt x="14" y="353"/>
                  </a:lnTo>
                  <a:lnTo>
                    <a:pt x="12" y="353"/>
                  </a:lnTo>
                  <a:close/>
                  <a:moveTo>
                    <a:pt x="16" y="340"/>
                  </a:moveTo>
                  <a:lnTo>
                    <a:pt x="16" y="342"/>
                  </a:lnTo>
                  <a:lnTo>
                    <a:pt x="16" y="340"/>
                  </a:lnTo>
                  <a:close/>
                  <a:moveTo>
                    <a:pt x="29" y="342"/>
                  </a:moveTo>
                  <a:lnTo>
                    <a:pt x="31" y="342"/>
                  </a:lnTo>
                  <a:lnTo>
                    <a:pt x="29" y="342"/>
                  </a:lnTo>
                  <a:close/>
                  <a:moveTo>
                    <a:pt x="29" y="344"/>
                  </a:moveTo>
                  <a:lnTo>
                    <a:pt x="31" y="344"/>
                  </a:lnTo>
                  <a:lnTo>
                    <a:pt x="29" y="344"/>
                  </a:lnTo>
                  <a:close/>
                  <a:moveTo>
                    <a:pt x="31" y="359"/>
                  </a:moveTo>
                  <a:lnTo>
                    <a:pt x="31" y="361"/>
                  </a:lnTo>
                  <a:lnTo>
                    <a:pt x="31" y="359"/>
                  </a:lnTo>
                  <a:close/>
                  <a:moveTo>
                    <a:pt x="60" y="359"/>
                  </a:moveTo>
                  <a:lnTo>
                    <a:pt x="62" y="359"/>
                  </a:lnTo>
                  <a:lnTo>
                    <a:pt x="60" y="359"/>
                  </a:lnTo>
                  <a:close/>
                  <a:moveTo>
                    <a:pt x="19" y="353"/>
                  </a:moveTo>
                  <a:lnTo>
                    <a:pt x="19" y="355"/>
                  </a:lnTo>
                  <a:lnTo>
                    <a:pt x="19" y="353"/>
                  </a:lnTo>
                  <a:close/>
                  <a:moveTo>
                    <a:pt x="48" y="236"/>
                  </a:moveTo>
                  <a:lnTo>
                    <a:pt x="50" y="236"/>
                  </a:lnTo>
                  <a:lnTo>
                    <a:pt x="50" y="238"/>
                  </a:lnTo>
                  <a:lnTo>
                    <a:pt x="48" y="238"/>
                  </a:lnTo>
                  <a:lnTo>
                    <a:pt x="48" y="236"/>
                  </a:lnTo>
                  <a:close/>
                  <a:moveTo>
                    <a:pt x="31" y="334"/>
                  </a:moveTo>
                  <a:lnTo>
                    <a:pt x="33" y="334"/>
                  </a:lnTo>
                  <a:lnTo>
                    <a:pt x="31" y="334"/>
                  </a:lnTo>
                  <a:close/>
                  <a:moveTo>
                    <a:pt x="125" y="336"/>
                  </a:moveTo>
                  <a:lnTo>
                    <a:pt x="125" y="338"/>
                  </a:lnTo>
                  <a:lnTo>
                    <a:pt x="125" y="336"/>
                  </a:lnTo>
                  <a:close/>
                  <a:moveTo>
                    <a:pt x="60" y="355"/>
                  </a:moveTo>
                  <a:lnTo>
                    <a:pt x="60" y="357"/>
                  </a:lnTo>
                  <a:lnTo>
                    <a:pt x="60" y="355"/>
                  </a:lnTo>
                  <a:close/>
                  <a:moveTo>
                    <a:pt x="39" y="344"/>
                  </a:moveTo>
                  <a:lnTo>
                    <a:pt x="39" y="346"/>
                  </a:lnTo>
                  <a:lnTo>
                    <a:pt x="39" y="344"/>
                  </a:lnTo>
                  <a:close/>
                  <a:moveTo>
                    <a:pt x="73" y="165"/>
                  </a:moveTo>
                  <a:lnTo>
                    <a:pt x="73" y="167"/>
                  </a:lnTo>
                  <a:lnTo>
                    <a:pt x="73" y="165"/>
                  </a:lnTo>
                  <a:close/>
                  <a:moveTo>
                    <a:pt x="75" y="355"/>
                  </a:moveTo>
                  <a:lnTo>
                    <a:pt x="75" y="357"/>
                  </a:lnTo>
                  <a:lnTo>
                    <a:pt x="75" y="355"/>
                  </a:lnTo>
                  <a:close/>
                  <a:moveTo>
                    <a:pt x="27" y="340"/>
                  </a:moveTo>
                  <a:lnTo>
                    <a:pt x="27" y="342"/>
                  </a:lnTo>
                  <a:lnTo>
                    <a:pt x="27" y="340"/>
                  </a:lnTo>
                  <a:close/>
                  <a:moveTo>
                    <a:pt x="64" y="357"/>
                  </a:moveTo>
                  <a:lnTo>
                    <a:pt x="66" y="357"/>
                  </a:lnTo>
                  <a:lnTo>
                    <a:pt x="64" y="357"/>
                  </a:lnTo>
                  <a:close/>
                  <a:moveTo>
                    <a:pt x="31" y="311"/>
                  </a:moveTo>
                  <a:lnTo>
                    <a:pt x="33" y="311"/>
                  </a:lnTo>
                  <a:lnTo>
                    <a:pt x="33" y="313"/>
                  </a:lnTo>
                  <a:lnTo>
                    <a:pt x="31" y="313"/>
                  </a:lnTo>
                  <a:lnTo>
                    <a:pt x="31" y="311"/>
                  </a:lnTo>
                  <a:close/>
                  <a:moveTo>
                    <a:pt x="29" y="346"/>
                  </a:moveTo>
                  <a:lnTo>
                    <a:pt x="31" y="346"/>
                  </a:lnTo>
                  <a:lnTo>
                    <a:pt x="31" y="348"/>
                  </a:lnTo>
                  <a:lnTo>
                    <a:pt x="29" y="348"/>
                  </a:lnTo>
                  <a:lnTo>
                    <a:pt x="29" y="346"/>
                  </a:lnTo>
                  <a:close/>
                  <a:moveTo>
                    <a:pt x="35" y="254"/>
                  </a:moveTo>
                  <a:lnTo>
                    <a:pt x="37" y="254"/>
                  </a:lnTo>
                  <a:lnTo>
                    <a:pt x="35" y="254"/>
                  </a:lnTo>
                  <a:close/>
                  <a:moveTo>
                    <a:pt x="35" y="346"/>
                  </a:moveTo>
                  <a:lnTo>
                    <a:pt x="37" y="346"/>
                  </a:lnTo>
                  <a:lnTo>
                    <a:pt x="35" y="346"/>
                  </a:lnTo>
                  <a:close/>
                  <a:moveTo>
                    <a:pt x="114" y="342"/>
                  </a:moveTo>
                  <a:lnTo>
                    <a:pt x="114" y="344"/>
                  </a:lnTo>
                  <a:lnTo>
                    <a:pt x="114" y="342"/>
                  </a:lnTo>
                  <a:close/>
                  <a:moveTo>
                    <a:pt x="33" y="353"/>
                  </a:moveTo>
                  <a:lnTo>
                    <a:pt x="35" y="353"/>
                  </a:lnTo>
                  <a:lnTo>
                    <a:pt x="33" y="353"/>
                  </a:lnTo>
                  <a:close/>
                  <a:moveTo>
                    <a:pt x="31" y="255"/>
                  </a:moveTo>
                  <a:lnTo>
                    <a:pt x="31" y="257"/>
                  </a:lnTo>
                  <a:lnTo>
                    <a:pt x="31" y="255"/>
                  </a:lnTo>
                  <a:close/>
                  <a:moveTo>
                    <a:pt x="50" y="355"/>
                  </a:moveTo>
                  <a:lnTo>
                    <a:pt x="52" y="355"/>
                  </a:lnTo>
                  <a:lnTo>
                    <a:pt x="50" y="355"/>
                  </a:lnTo>
                  <a:close/>
                  <a:moveTo>
                    <a:pt x="52" y="238"/>
                  </a:moveTo>
                  <a:lnTo>
                    <a:pt x="52" y="240"/>
                  </a:lnTo>
                  <a:lnTo>
                    <a:pt x="52" y="238"/>
                  </a:lnTo>
                  <a:close/>
                  <a:moveTo>
                    <a:pt x="10" y="355"/>
                  </a:moveTo>
                  <a:lnTo>
                    <a:pt x="12" y="355"/>
                  </a:lnTo>
                  <a:lnTo>
                    <a:pt x="10" y="355"/>
                  </a:lnTo>
                  <a:close/>
                  <a:moveTo>
                    <a:pt x="41" y="342"/>
                  </a:moveTo>
                  <a:lnTo>
                    <a:pt x="43" y="342"/>
                  </a:lnTo>
                  <a:lnTo>
                    <a:pt x="43" y="344"/>
                  </a:lnTo>
                  <a:lnTo>
                    <a:pt x="41" y="344"/>
                  </a:lnTo>
                  <a:lnTo>
                    <a:pt x="41" y="342"/>
                  </a:lnTo>
                  <a:close/>
                  <a:moveTo>
                    <a:pt x="37" y="351"/>
                  </a:moveTo>
                  <a:lnTo>
                    <a:pt x="39" y="351"/>
                  </a:lnTo>
                  <a:lnTo>
                    <a:pt x="37" y="351"/>
                  </a:lnTo>
                  <a:close/>
                  <a:moveTo>
                    <a:pt x="43" y="248"/>
                  </a:moveTo>
                  <a:lnTo>
                    <a:pt x="44" y="248"/>
                  </a:lnTo>
                  <a:lnTo>
                    <a:pt x="43" y="248"/>
                  </a:lnTo>
                  <a:close/>
                  <a:moveTo>
                    <a:pt x="89" y="184"/>
                  </a:moveTo>
                  <a:lnTo>
                    <a:pt x="91" y="184"/>
                  </a:lnTo>
                  <a:lnTo>
                    <a:pt x="89" y="184"/>
                  </a:lnTo>
                  <a:close/>
                  <a:moveTo>
                    <a:pt x="33" y="348"/>
                  </a:moveTo>
                  <a:lnTo>
                    <a:pt x="33" y="350"/>
                  </a:lnTo>
                  <a:lnTo>
                    <a:pt x="33" y="348"/>
                  </a:lnTo>
                  <a:close/>
                  <a:moveTo>
                    <a:pt x="33" y="302"/>
                  </a:moveTo>
                  <a:lnTo>
                    <a:pt x="33" y="303"/>
                  </a:lnTo>
                  <a:lnTo>
                    <a:pt x="33" y="302"/>
                  </a:lnTo>
                  <a:close/>
                  <a:moveTo>
                    <a:pt x="33" y="348"/>
                  </a:moveTo>
                  <a:lnTo>
                    <a:pt x="35" y="348"/>
                  </a:lnTo>
                  <a:lnTo>
                    <a:pt x="33" y="348"/>
                  </a:lnTo>
                  <a:close/>
                  <a:moveTo>
                    <a:pt x="27" y="248"/>
                  </a:moveTo>
                  <a:lnTo>
                    <a:pt x="29" y="248"/>
                  </a:lnTo>
                  <a:lnTo>
                    <a:pt x="27" y="248"/>
                  </a:lnTo>
                  <a:close/>
                  <a:moveTo>
                    <a:pt x="33" y="344"/>
                  </a:moveTo>
                  <a:lnTo>
                    <a:pt x="33" y="346"/>
                  </a:lnTo>
                  <a:lnTo>
                    <a:pt x="33" y="344"/>
                  </a:lnTo>
                  <a:close/>
                  <a:moveTo>
                    <a:pt x="18" y="353"/>
                  </a:moveTo>
                  <a:lnTo>
                    <a:pt x="18" y="355"/>
                  </a:lnTo>
                  <a:lnTo>
                    <a:pt x="18" y="353"/>
                  </a:lnTo>
                  <a:close/>
                  <a:moveTo>
                    <a:pt x="44" y="353"/>
                  </a:moveTo>
                  <a:lnTo>
                    <a:pt x="46" y="353"/>
                  </a:lnTo>
                  <a:lnTo>
                    <a:pt x="44" y="353"/>
                  </a:lnTo>
                  <a:close/>
                  <a:moveTo>
                    <a:pt x="33" y="317"/>
                  </a:moveTo>
                  <a:lnTo>
                    <a:pt x="33" y="319"/>
                  </a:lnTo>
                  <a:lnTo>
                    <a:pt x="33" y="317"/>
                  </a:lnTo>
                  <a:close/>
                  <a:moveTo>
                    <a:pt x="60" y="357"/>
                  </a:moveTo>
                  <a:lnTo>
                    <a:pt x="60" y="359"/>
                  </a:lnTo>
                  <a:lnTo>
                    <a:pt x="60" y="357"/>
                  </a:lnTo>
                  <a:close/>
                  <a:moveTo>
                    <a:pt x="23" y="261"/>
                  </a:moveTo>
                  <a:lnTo>
                    <a:pt x="25" y="261"/>
                  </a:lnTo>
                  <a:lnTo>
                    <a:pt x="23" y="261"/>
                  </a:lnTo>
                  <a:close/>
                  <a:moveTo>
                    <a:pt x="35" y="342"/>
                  </a:moveTo>
                  <a:lnTo>
                    <a:pt x="37" y="342"/>
                  </a:lnTo>
                  <a:lnTo>
                    <a:pt x="35" y="342"/>
                  </a:lnTo>
                  <a:close/>
                  <a:moveTo>
                    <a:pt x="33" y="317"/>
                  </a:moveTo>
                  <a:lnTo>
                    <a:pt x="35" y="317"/>
                  </a:lnTo>
                  <a:lnTo>
                    <a:pt x="33" y="317"/>
                  </a:lnTo>
                  <a:close/>
                  <a:moveTo>
                    <a:pt x="85" y="348"/>
                  </a:moveTo>
                  <a:lnTo>
                    <a:pt x="85" y="350"/>
                  </a:lnTo>
                  <a:lnTo>
                    <a:pt x="85" y="348"/>
                  </a:lnTo>
                  <a:close/>
                  <a:moveTo>
                    <a:pt x="39" y="351"/>
                  </a:moveTo>
                  <a:lnTo>
                    <a:pt x="39" y="353"/>
                  </a:lnTo>
                  <a:lnTo>
                    <a:pt x="39" y="351"/>
                  </a:lnTo>
                  <a:close/>
                  <a:moveTo>
                    <a:pt x="31" y="344"/>
                  </a:moveTo>
                  <a:lnTo>
                    <a:pt x="33" y="344"/>
                  </a:lnTo>
                  <a:lnTo>
                    <a:pt x="31" y="344"/>
                  </a:lnTo>
                  <a:close/>
                  <a:moveTo>
                    <a:pt x="37" y="250"/>
                  </a:moveTo>
                  <a:lnTo>
                    <a:pt x="39" y="250"/>
                  </a:lnTo>
                  <a:lnTo>
                    <a:pt x="37" y="250"/>
                  </a:lnTo>
                  <a:close/>
                  <a:moveTo>
                    <a:pt x="77" y="167"/>
                  </a:moveTo>
                  <a:lnTo>
                    <a:pt x="77" y="169"/>
                  </a:lnTo>
                  <a:lnTo>
                    <a:pt x="77" y="167"/>
                  </a:lnTo>
                  <a:close/>
                  <a:moveTo>
                    <a:pt x="110" y="340"/>
                  </a:moveTo>
                  <a:lnTo>
                    <a:pt x="110" y="342"/>
                  </a:lnTo>
                  <a:lnTo>
                    <a:pt x="110" y="340"/>
                  </a:lnTo>
                  <a:close/>
                  <a:moveTo>
                    <a:pt x="35" y="351"/>
                  </a:moveTo>
                  <a:lnTo>
                    <a:pt x="37" y="351"/>
                  </a:lnTo>
                  <a:lnTo>
                    <a:pt x="35" y="351"/>
                  </a:lnTo>
                  <a:close/>
                  <a:moveTo>
                    <a:pt x="14" y="355"/>
                  </a:moveTo>
                  <a:lnTo>
                    <a:pt x="16" y="355"/>
                  </a:lnTo>
                  <a:lnTo>
                    <a:pt x="14" y="355"/>
                  </a:lnTo>
                  <a:close/>
                  <a:moveTo>
                    <a:pt x="77" y="353"/>
                  </a:moveTo>
                  <a:lnTo>
                    <a:pt x="79" y="353"/>
                  </a:lnTo>
                  <a:lnTo>
                    <a:pt x="77" y="353"/>
                  </a:lnTo>
                  <a:close/>
                  <a:moveTo>
                    <a:pt x="91" y="346"/>
                  </a:moveTo>
                  <a:lnTo>
                    <a:pt x="91" y="348"/>
                  </a:lnTo>
                  <a:lnTo>
                    <a:pt x="91" y="346"/>
                  </a:lnTo>
                  <a:close/>
                  <a:moveTo>
                    <a:pt x="83" y="348"/>
                  </a:moveTo>
                  <a:lnTo>
                    <a:pt x="83" y="350"/>
                  </a:lnTo>
                  <a:lnTo>
                    <a:pt x="83" y="348"/>
                  </a:lnTo>
                  <a:close/>
                  <a:moveTo>
                    <a:pt x="21" y="351"/>
                  </a:moveTo>
                  <a:lnTo>
                    <a:pt x="23" y="351"/>
                  </a:lnTo>
                  <a:lnTo>
                    <a:pt x="21" y="351"/>
                  </a:lnTo>
                  <a:close/>
                  <a:moveTo>
                    <a:pt x="37" y="346"/>
                  </a:moveTo>
                  <a:lnTo>
                    <a:pt x="37" y="348"/>
                  </a:lnTo>
                  <a:lnTo>
                    <a:pt x="37" y="346"/>
                  </a:lnTo>
                  <a:close/>
                  <a:moveTo>
                    <a:pt x="21" y="351"/>
                  </a:moveTo>
                  <a:lnTo>
                    <a:pt x="23" y="351"/>
                  </a:lnTo>
                  <a:lnTo>
                    <a:pt x="21" y="351"/>
                  </a:lnTo>
                  <a:close/>
                  <a:moveTo>
                    <a:pt x="18" y="350"/>
                  </a:moveTo>
                  <a:lnTo>
                    <a:pt x="18" y="351"/>
                  </a:lnTo>
                  <a:lnTo>
                    <a:pt x="18" y="350"/>
                  </a:lnTo>
                  <a:close/>
                  <a:moveTo>
                    <a:pt x="18" y="342"/>
                  </a:moveTo>
                  <a:lnTo>
                    <a:pt x="19" y="342"/>
                  </a:lnTo>
                  <a:lnTo>
                    <a:pt x="18" y="342"/>
                  </a:lnTo>
                  <a:close/>
                  <a:moveTo>
                    <a:pt x="48" y="238"/>
                  </a:moveTo>
                  <a:lnTo>
                    <a:pt x="50" y="238"/>
                  </a:lnTo>
                  <a:lnTo>
                    <a:pt x="48" y="238"/>
                  </a:lnTo>
                  <a:close/>
                  <a:moveTo>
                    <a:pt x="33" y="351"/>
                  </a:moveTo>
                  <a:lnTo>
                    <a:pt x="35" y="351"/>
                  </a:lnTo>
                  <a:lnTo>
                    <a:pt x="33" y="351"/>
                  </a:lnTo>
                  <a:close/>
                  <a:moveTo>
                    <a:pt x="62" y="355"/>
                  </a:moveTo>
                  <a:lnTo>
                    <a:pt x="62" y="357"/>
                  </a:lnTo>
                  <a:lnTo>
                    <a:pt x="62" y="355"/>
                  </a:lnTo>
                  <a:close/>
                  <a:moveTo>
                    <a:pt x="18" y="351"/>
                  </a:moveTo>
                  <a:lnTo>
                    <a:pt x="19" y="351"/>
                  </a:lnTo>
                  <a:lnTo>
                    <a:pt x="18" y="351"/>
                  </a:lnTo>
                  <a:close/>
                  <a:moveTo>
                    <a:pt x="14" y="353"/>
                  </a:moveTo>
                  <a:lnTo>
                    <a:pt x="14" y="355"/>
                  </a:lnTo>
                  <a:lnTo>
                    <a:pt x="14" y="353"/>
                  </a:lnTo>
                  <a:close/>
                  <a:moveTo>
                    <a:pt x="43" y="250"/>
                  </a:moveTo>
                  <a:lnTo>
                    <a:pt x="44" y="250"/>
                  </a:lnTo>
                  <a:lnTo>
                    <a:pt x="43" y="250"/>
                  </a:lnTo>
                  <a:close/>
                  <a:moveTo>
                    <a:pt x="75" y="169"/>
                  </a:moveTo>
                  <a:lnTo>
                    <a:pt x="77" y="169"/>
                  </a:lnTo>
                  <a:lnTo>
                    <a:pt x="75" y="169"/>
                  </a:lnTo>
                  <a:close/>
                  <a:moveTo>
                    <a:pt x="39" y="338"/>
                  </a:moveTo>
                  <a:lnTo>
                    <a:pt x="41" y="338"/>
                  </a:lnTo>
                  <a:lnTo>
                    <a:pt x="41" y="340"/>
                  </a:lnTo>
                  <a:lnTo>
                    <a:pt x="39" y="340"/>
                  </a:lnTo>
                  <a:lnTo>
                    <a:pt x="39" y="338"/>
                  </a:lnTo>
                  <a:close/>
                  <a:moveTo>
                    <a:pt x="6" y="350"/>
                  </a:moveTo>
                  <a:lnTo>
                    <a:pt x="8" y="350"/>
                  </a:lnTo>
                  <a:lnTo>
                    <a:pt x="6" y="350"/>
                  </a:lnTo>
                  <a:close/>
                  <a:moveTo>
                    <a:pt x="14" y="353"/>
                  </a:moveTo>
                  <a:lnTo>
                    <a:pt x="14" y="355"/>
                  </a:lnTo>
                  <a:lnTo>
                    <a:pt x="14" y="353"/>
                  </a:lnTo>
                  <a:close/>
                  <a:moveTo>
                    <a:pt x="108" y="346"/>
                  </a:moveTo>
                  <a:lnTo>
                    <a:pt x="110" y="346"/>
                  </a:lnTo>
                  <a:lnTo>
                    <a:pt x="108" y="346"/>
                  </a:lnTo>
                  <a:close/>
                  <a:moveTo>
                    <a:pt x="33" y="319"/>
                  </a:moveTo>
                  <a:lnTo>
                    <a:pt x="33" y="321"/>
                  </a:lnTo>
                  <a:lnTo>
                    <a:pt x="33" y="319"/>
                  </a:lnTo>
                  <a:close/>
                  <a:moveTo>
                    <a:pt x="29" y="328"/>
                  </a:moveTo>
                  <a:lnTo>
                    <a:pt x="31" y="328"/>
                  </a:lnTo>
                  <a:lnTo>
                    <a:pt x="29" y="328"/>
                  </a:lnTo>
                  <a:close/>
                  <a:moveTo>
                    <a:pt x="71" y="353"/>
                  </a:moveTo>
                  <a:lnTo>
                    <a:pt x="73" y="353"/>
                  </a:lnTo>
                  <a:lnTo>
                    <a:pt x="73" y="355"/>
                  </a:lnTo>
                  <a:lnTo>
                    <a:pt x="71" y="355"/>
                  </a:lnTo>
                  <a:lnTo>
                    <a:pt x="71" y="353"/>
                  </a:lnTo>
                  <a:close/>
                  <a:moveTo>
                    <a:pt x="18" y="348"/>
                  </a:moveTo>
                  <a:lnTo>
                    <a:pt x="19" y="348"/>
                  </a:lnTo>
                  <a:lnTo>
                    <a:pt x="18" y="348"/>
                  </a:lnTo>
                  <a:close/>
                  <a:moveTo>
                    <a:pt x="23" y="344"/>
                  </a:moveTo>
                  <a:lnTo>
                    <a:pt x="23" y="346"/>
                  </a:lnTo>
                  <a:lnTo>
                    <a:pt x="23" y="344"/>
                  </a:lnTo>
                  <a:close/>
                  <a:moveTo>
                    <a:pt x="44" y="342"/>
                  </a:moveTo>
                  <a:lnTo>
                    <a:pt x="44" y="344"/>
                  </a:lnTo>
                  <a:lnTo>
                    <a:pt x="44" y="342"/>
                  </a:lnTo>
                  <a:close/>
                  <a:moveTo>
                    <a:pt x="52" y="238"/>
                  </a:moveTo>
                  <a:lnTo>
                    <a:pt x="52" y="240"/>
                  </a:lnTo>
                  <a:lnTo>
                    <a:pt x="52" y="238"/>
                  </a:lnTo>
                  <a:close/>
                  <a:moveTo>
                    <a:pt x="31" y="255"/>
                  </a:moveTo>
                  <a:lnTo>
                    <a:pt x="31" y="257"/>
                  </a:lnTo>
                  <a:lnTo>
                    <a:pt x="31" y="255"/>
                  </a:lnTo>
                  <a:close/>
                  <a:moveTo>
                    <a:pt x="37" y="344"/>
                  </a:moveTo>
                  <a:lnTo>
                    <a:pt x="37" y="346"/>
                  </a:lnTo>
                  <a:lnTo>
                    <a:pt x="37" y="344"/>
                  </a:lnTo>
                  <a:close/>
                  <a:moveTo>
                    <a:pt x="46" y="350"/>
                  </a:moveTo>
                  <a:lnTo>
                    <a:pt x="46" y="351"/>
                  </a:lnTo>
                  <a:lnTo>
                    <a:pt x="46" y="350"/>
                  </a:lnTo>
                  <a:close/>
                  <a:moveTo>
                    <a:pt x="29" y="346"/>
                  </a:moveTo>
                  <a:lnTo>
                    <a:pt x="31" y="346"/>
                  </a:lnTo>
                  <a:lnTo>
                    <a:pt x="29" y="346"/>
                  </a:lnTo>
                  <a:close/>
                  <a:moveTo>
                    <a:pt x="114" y="342"/>
                  </a:moveTo>
                  <a:lnTo>
                    <a:pt x="115" y="342"/>
                  </a:lnTo>
                  <a:lnTo>
                    <a:pt x="114" y="342"/>
                  </a:lnTo>
                  <a:close/>
                  <a:moveTo>
                    <a:pt x="25" y="355"/>
                  </a:moveTo>
                  <a:lnTo>
                    <a:pt x="27" y="355"/>
                  </a:lnTo>
                  <a:lnTo>
                    <a:pt x="25" y="355"/>
                  </a:lnTo>
                  <a:close/>
                  <a:moveTo>
                    <a:pt x="43" y="248"/>
                  </a:moveTo>
                  <a:lnTo>
                    <a:pt x="44" y="248"/>
                  </a:lnTo>
                  <a:lnTo>
                    <a:pt x="43" y="248"/>
                  </a:lnTo>
                  <a:close/>
                  <a:moveTo>
                    <a:pt x="31" y="252"/>
                  </a:moveTo>
                  <a:lnTo>
                    <a:pt x="33" y="252"/>
                  </a:lnTo>
                  <a:lnTo>
                    <a:pt x="31" y="252"/>
                  </a:lnTo>
                  <a:close/>
                  <a:moveTo>
                    <a:pt x="12" y="353"/>
                  </a:moveTo>
                  <a:lnTo>
                    <a:pt x="14" y="353"/>
                  </a:lnTo>
                  <a:lnTo>
                    <a:pt x="12" y="353"/>
                  </a:lnTo>
                  <a:close/>
                  <a:moveTo>
                    <a:pt x="14" y="340"/>
                  </a:moveTo>
                  <a:lnTo>
                    <a:pt x="16" y="340"/>
                  </a:lnTo>
                  <a:lnTo>
                    <a:pt x="16" y="342"/>
                  </a:lnTo>
                  <a:lnTo>
                    <a:pt x="14" y="342"/>
                  </a:lnTo>
                  <a:lnTo>
                    <a:pt x="14" y="340"/>
                  </a:lnTo>
                  <a:close/>
                  <a:moveTo>
                    <a:pt x="117" y="342"/>
                  </a:moveTo>
                  <a:lnTo>
                    <a:pt x="119" y="342"/>
                  </a:lnTo>
                  <a:lnTo>
                    <a:pt x="117" y="342"/>
                  </a:lnTo>
                  <a:close/>
                  <a:moveTo>
                    <a:pt x="37" y="340"/>
                  </a:moveTo>
                  <a:lnTo>
                    <a:pt x="39" y="340"/>
                  </a:lnTo>
                  <a:lnTo>
                    <a:pt x="37" y="340"/>
                  </a:lnTo>
                  <a:close/>
                  <a:moveTo>
                    <a:pt x="62" y="359"/>
                  </a:moveTo>
                  <a:lnTo>
                    <a:pt x="64" y="359"/>
                  </a:lnTo>
                  <a:lnTo>
                    <a:pt x="62" y="359"/>
                  </a:lnTo>
                  <a:close/>
                  <a:moveTo>
                    <a:pt x="10" y="353"/>
                  </a:moveTo>
                  <a:lnTo>
                    <a:pt x="12" y="353"/>
                  </a:lnTo>
                  <a:lnTo>
                    <a:pt x="10" y="353"/>
                  </a:lnTo>
                  <a:close/>
                  <a:moveTo>
                    <a:pt x="41" y="351"/>
                  </a:moveTo>
                  <a:lnTo>
                    <a:pt x="43" y="351"/>
                  </a:lnTo>
                  <a:lnTo>
                    <a:pt x="41" y="351"/>
                  </a:lnTo>
                  <a:close/>
                  <a:moveTo>
                    <a:pt x="73" y="167"/>
                  </a:moveTo>
                  <a:lnTo>
                    <a:pt x="73" y="169"/>
                  </a:lnTo>
                  <a:lnTo>
                    <a:pt x="73" y="167"/>
                  </a:lnTo>
                  <a:close/>
                  <a:moveTo>
                    <a:pt x="43" y="344"/>
                  </a:moveTo>
                  <a:lnTo>
                    <a:pt x="44" y="344"/>
                  </a:lnTo>
                  <a:lnTo>
                    <a:pt x="43" y="344"/>
                  </a:lnTo>
                  <a:close/>
                  <a:moveTo>
                    <a:pt x="6" y="342"/>
                  </a:moveTo>
                  <a:lnTo>
                    <a:pt x="6" y="344"/>
                  </a:lnTo>
                  <a:lnTo>
                    <a:pt x="6" y="342"/>
                  </a:lnTo>
                  <a:close/>
                  <a:moveTo>
                    <a:pt x="31" y="350"/>
                  </a:moveTo>
                  <a:lnTo>
                    <a:pt x="33" y="350"/>
                  </a:lnTo>
                  <a:lnTo>
                    <a:pt x="31" y="350"/>
                  </a:lnTo>
                  <a:close/>
                  <a:moveTo>
                    <a:pt x="12" y="353"/>
                  </a:moveTo>
                  <a:lnTo>
                    <a:pt x="14" y="353"/>
                  </a:lnTo>
                  <a:lnTo>
                    <a:pt x="12" y="353"/>
                  </a:lnTo>
                  <a:close/>
                  <a:moveTo>
                    <a:pt x="12" y="342"/>
                  </a:moveTo>
                  <a:lnTo>
                    <a:pt x="12" y="344"/>
                  </a:lnTo>
                  <a:lnTo>
                    <a:pt x="12" y="342"/>
                  </a:lnTo>
                  <a:close/>
                  <a:moveTo>
                    <a:pt x="27" y="338"/>
                  </a:moveTo>
                  <a:lnTo>
                    <a:pt x="27" y="340"/>
                  </a:lnTo>
                  <a:lnTo>
                    <a:pt x="27" y="338"/>
                  </a:lnTo>
                  <a:close/>
                  <a:moveTo>
                    <a:pt x="87" y="348"/>
                  </a:moveTo>
                  <a:lnTo>
                    <a:pt x="89" y="348"/>
                  </a:lnTo>
                  <a:lnTo>
                    <a:pt x="87" y="348"/>
                  </a:lnTo>
                  <a:close/>
                  <a:moveTo>
                    <a:pt x="2" y="346"/>
                  </a:moveTo>
                  <a:lnTo>
                    <a:pt x="4" y="346"/>
                  </a:lnTo>
                  <a:lnTo>
                    <a:pt x="2" y="346"/>
                  </a:lnTo>
                  <a:close/>
                  <a:moveTo>
                    <a:pt x="81" y="175"/>
                  </a:moveTo>
                  <a:lnTo>
                    <a:pt x="83" y="175"/>
                  </a:lnTo>
                  <a:lnTo>
                    <a:pt x="83" y="177"/>
                  </a:lnTo>
                  <a:lnTo>
                    <a:pt x="81" y="177"/>
                  </a:lnTo>
                  <a:lnTo>
                    <a:pt x="81" y="175"/>
                  </a:lnTo>
                  <a:close/>
                  <a:moveTo>
                    <a:pt x="125" y="338"/>
                  </a:moveTo>
                  <a:lnTo>
                    <a:pt x="125" y="340"/>
                  </a:lnTo>
                  <a:lnTo>
                    <a:pt x="125" y="338"/>
                  </a:lnTo>
                  <a:close/>
                  <a:moveTo>
                    <a:pt x="115" y="346"/>
                  </a:moveTo>
                  <a:lnTo>
                    <a:pt x="117" y="346"/>
                  </a:lnTo>
                  <a:lnTo>
                    <a:pt x="115" y="346"/>
                  </a:lnTo>
                  <a:close/>
                  <a:moveTo>
                    <a:pt x="31" y="323"/>
                  </a:moveTo>
                  <a:lnTo>
                    <a:pt x="33" y="323"/>
                  </a:lnTo>
                  <a:lnTo>
                    <a:pt x="31" y="323"/>
                  </a:lnTo>
                  <a:close/>
                  <a:moveTo>
                    <a:pt x="56" y="351"/>
                  </a:moveTo>
                  <a:lnTo>
                    <a:pt x="56" y="353"/>
                  </a:lnTo>
                  <a:lnTo>
                    <a:pt x="56" y="351"/>
                  </a:lnTo>
                  <a:close/>
                  <a:moveTo>
                    <a:pt x="33" y="351"/>
                  </a:moveTo>
                  <a:lnTo>
                    <a:pt x="35" y="351"/>
                  </a:lnTo>
                  <a:lnTo>
                    <a:pt x="33" y="351"/>
                  </a:lnTo>
                  <a:close/>
                  <a:moveTo>
                    <a:pt x="39" y="346"/>
                  </a:moveTo>
                  <a:lnTo>
                    <a:pt x="39" y="348"/>
                  </a:lnTo>
                  <a:lnTo>
                    <a:pt x="39" y="346"/>
                  </a:lnTo>
                  <a:close/>
                  <a:moveTo>
                    <a:pt x="14" y="342"/>
                  </a:moveTo>
                  <a:lnTo>
                    <a:pt x="16" y="342"/>
                  </a:lnTo>
                  <a:lnTo>
                    <a:pt x="14" y="342"/>
                  </a:lnTo>
                  <a:close/>
                  <a:moveTo>
                    <a:pt x="44" y="252"/>
                  </a:moveTo>
                  <a:lnTo>
                    <a:pt x="44" y="254"/>
                  </a:lnTo>
                  <a:lnTo>
                    <a:pt x="44" y="252"/>
                  </a:lnTo>
                  <a:close/>
                  <a:moveTo>
                    <a:pt x="69" y="355"/>
                  </a:moveTo>
                  <a:lnTo>
                    <a:pt x="69" y="357"/>
                  </a:lnTo>
                  <a:lnTo>
                    <a:pt x="69" y="355"/>
                  </a:lnTo>
                  <a:close/>
                  <a:moveTo>
                    <a:pt x="41" y="346"/>
                  </a:moveTo>
                  <a:lnTo>
                    <a:pt x="41" y="348"/>
                  </a:lnTo>
                  <a:lnTo>
                    <a:pt x="41" y="346"/>
                  </a:lnTo>
                  <a:close/>
                  <a:moveTo>
                    <a:pt x="64" y="357"/>
                  </a:moveTo>
                  <a:lnTo>
                    <a:pt x="64" y="359"/>
                  </a:lnTo>
                  <a:lnTo>
                    <a:pt x="64" y="357"/>
                  </a:lnTo>
                  <a:close/>
                  <a:moveTo>
                    <a:pt x="115" y="338"/>
                  </a:moveTo>
                  <a:lnTo>
                    <a:pt x="117" y="338"/>
                  </a:lnTo>
                  <a:lnTo>
                    <a:pt x="117" y="340"/>
                  </a:lnTo>
                  <a:lnTo>
                    <a:pt x="115" y="340"/>
                  </a:lnTo>
                  <a:lnTo>
                    <a:pt x="115" y="338"/>
                  </a:lnTo>
                  <a:close/>
                  <a:moveTo>
                    <a:pt x="121" y="340"/>
                  </a:moveTo>
                  <a:lnTo>
                    <a:pt x="123" y="340"/>
                  </a:lnTo>
                  <a:lnTo>
                    <a:pt x="121" y="340"/>
                  </a:lnTo>
                  <a:close/>
                  <a:moveTo>
                    <a:pt x="29" y="278"/>
                  </a:moveTo>
                  <a:lnTo>
                    <a:pt x="29" y="280"/>
                  </a:lnTo>
                  <a:lnTo>
                    <a:pt x="29" y="278"/>
                  </a:lnTo>
                  <a:close/>
                  <a:moveTo>
                    <a:pt x="52" y="359"/>
                  </a:moveTo>
                  <a:lnTo>
                    <a:pt x="54" y="359"/>
                  </a:lnTo>
                  <a:lnTo>
                    <a:pt x="52" y="359"/>
                  </a:lnTo>
                  <a:close/>
                  <a:moveTo>
                    <a:pt x="10" y="353"/>
                  </a:moveTo>
                  <a:lnTo>
                    <a:pt x="12" y="353"/>
                  </a:lnTo>
                  <a:lnTo>
                    <a:pt x="10" y="353"/>
                  </a:lnTo>
                  <a:close/>
                  <a:moveTo>
                    <a:pt x="10" y="353"/>
                  </a:moveTo>
                  <a:lnTo>
                    <a:pt x="12" y="353"/>
                  </a:lnTo>
                  <a:lnTo>
                    <a:pt x="10" y="353"/>
                  </a:lnTo>
                  <a:close/>
                  <a:moveTo>
                    <a:pt x="19" y="342"/>
                  </a:moveTo>
                  <a:lnTo>
                    <a:pt x="19" y="344"/>
                  </a:lnTo>
                  <a:lnTo>
                    <a:pt x="19" y="342"/>
                  </a:lnTo>
                  <a:close/>
                  <a:moveTo>
                    <a:pt x="31" y="344"/>
                  </a:moveTo>
                  <a:lnTo>
                    <a:pt x="33" y="344"/>
                  </a:lnTo>
                  <a:lnTo>
                    <a:pt x="31" y="344"/>
                  </a:lnTo>
                  <a:close/>
                  <a:moveTo>
                    <a:pt x="35" y="344"/>
                  </a:moveTo>
                  <a:lnTo>
                    <a:pt x="35" y="346"/>
                  </a:lnTo>
                  <a:lnTo>
                    <a:pt x="35" y="344"/>
                  </a:lnTo>
                  <a:close/>
                  <a:moveTo>
                    <a:pt x="123" y="340"/>
                  </a:moveTo>
                  <a:lnTo>
                    <a:pt x="125" y="340"/>
                  </a:lnTo>
                  <a:lnTo>
                    <a:pt x="123" y="340"/>
                  </a:lnTo>
                  <a:close/>
                  <a:moveTo>
                    <a:pt x="19" y="348"/>
                  </a:moveTo>
                  <a:lnTo>
                    <a:pt x="19" y="350"/>
                  </a:lnTo>
                  <a:lnTo>
                    <a:pt x="19" y="348"/>
                  </a:lnTo>
                  <a:close/>
                  <a:moveTo>
                    <a:pt x="16" y="342"/>
                  </a:moveTo>
                  <a:lnTo>
                    <a:pt x="16" y="344"/>
                  </a:lnTo>
                  <a:lnTo>
                    <a:pt x="16" y="342"/>
                  </a:lnTo>
                  <a:close/>
                  <a:moveTo>
                    <a:pt x="35" y="351"/>
                  </a:moveTo>
                  <a:lnTo>
                    <a:pt x="35" y="353"/>
                  </a:lnTo>
                  <a:lnTo>
                    <a:pt x="35" y="351"/>
                  </a:lnTo>
                  <a:close/>
                  <a:moveTo>
                    <a:pt x="25" y="355"/>
                  </a:moveTo>
                  <a:lnTo>
                    <a:pt x="25" y="357"/>
                  </a:lnTo>
                  <a:lnTo>
                    <a:pt x="25" y="355"/>
                  </a:lnTo>
                  <a:close/>
                  <a:moveTo>
                    <a:pt x="29" y="326"/>
                  </a:moveTo>
                  <a:lnTo>
                    <a:pt x="31" y="326"/>
                  </a:lnTo>
                  <a:lnTo>
                    <a:pt x="29" y="326"/>
                  </a:lnTo>
                  <a:close/>
                  <a:moveTo>
                    <a:pt x="25" y="340"/>
                  </a:moveTo>
                  <a:lnTo>
                    <a:pt x="27" y="340"/>
                  </a:lnTo>
                  <a:lnTo>
                    <a:pt x="25" y="340"/>
                  </a:lnTo>
                  <a:close/>
                  <a:moveTo>
                    <a:pt x="41" y="357"/>
                  </a:moveTo>
                  <a:lnTo>
                    <a:pt x="43" y="357"/>
                  </a:lnTo>
                  <a:lnTo>
                    <a:pt x="41" y="357"/>
                  </a:lnTo>
                  <a:close/>
                  <a:moveTo>
                    <a:pt x="87" y="186"/>
                  </a:moveTo>
                  <a:lnTo>
                    <a:pt x="89" y="186"/>
                  </a:lnTo>
                  <a:lnTo>
                    <a:pt x="87" y="186"/>
                  </a:lnTo>
                  <a:close/>
                  <a:moveTo>
                    <a:pt x="71" y="167"/>
                  </a:moveTo>
                  <a:lnTo>
                    <a:pt x="73" y="167"/>
                  </a:lnTo>
                  <a:lnTo>
                    <a:pt x="71" y="167"/>
                  </a:lnTo>
                  <a:close/>
                  <a:moveTo>
                    <a:pt x="31" y="351"/>
                  </a:moveTo>
                  <a:lnTo>
                    <a:pt x="31" y="353"/>
                  </a:lnTo>
                  <a:lnTo>
                    <a:pt x="31" y="351"/>
                  </a:lnTo>
                  <a:close/>
                  <a:moveTo>
                    <a:pt x="54" y="359"/>
                  </a:moveTo>
                  <a:lnTo>
                    <a:pt x="54" y="361"/>
                  </a:lnTo>
                  <a:lnTo>
                    <a:pt x="54" y="359"/>
                  </a:lnTo>
                  <a:close/>
                  <a:moveTo>
                    <a:pt x="114" y="342"/>
                  </a:moveTo>
                  <a:lnTo>
                    <a:pt x="115" y="342"/>
                  </a:lnTo>
                  <a:lnTo>
                    <a:pt x="114" y="342"/>
                  </a:lnTo>
                  <a:close/>
                  <a:moveTo>
                    <a:pt x="37" y="252"/>
                  </a:moveTo>
                  <a:lnTo>
                    <a:pt x="39" y="252"/>
                  </a:lnTo>
                  <a:lnTo>
                    <a:pt x="37" y="252"/>
                  </a:lnTo>
                  <a:close/>
                  <a:moveTo>
                    <a:pt x="71" y="353"/>
                  </a:moveTo>
                  <a:lnTo>
                    <a:pt x="71" y="355"/>
                  </a:lnTo>
                  <a:lnTo>
                    <a:pt x="71" y="353"/>
                  </a:lnTo>
                  <a:close/>
                  <a:moveTo>
                    <a:pt x="12" y="353"/>
                  </a:moveTo>
                  <a:lnTo>
                    <a:pt x="12" y="355"/>
                  </a:lnTo>
                  <a:lnTo>
                    <a:pt x="12" y="353"/>
                  </a:lnTo>
                  <a:close/>
                  <a:moveTo>
                    <a:pt x="25" y="355"/>
                  </a:moveTo>
                  <a:lnTo>
                    <a:pt x="27" y="355"/>
                  </a:lnTo>
                  <a:lnTo>
                    <a:pt x="25" y="355"/>
                  </a:lnTo>
                  <a:close/>
                  <a:moveTo>
                    <a:pt x="0" y="348"/>
                  </a:moveTo>
                  <a:lnTo>
                    <a:pt x="2" y="348"/>
                  </a:lnTo>
                  <a:lnTo>
                    <a:pt x="2" y="350"/>
                  </a:lnTo>
                  <a:lnTo>
                    <a:pt x="0" y="350"/>
                  </a:lnTo>
                  <a:lnTo>
                    <a:pt x="0" y="348"/>
                  </a:lnTo>
                  <a:close/>
                  <a:moveTo>
                    <a:pt x="44" y="357"/>
                  </a:moveTo>
                  <a:lnTo>
                    <a:pt x="46" y="357"/>
                  </a:lnTo>
                  <a:lnTo>
                    <a:pt x="44" y="357"/>
                  </a:lnTo>
                  <a:close/>
                  <a:moveTo>
                    <a:pt x="35" y="348"/>
                  </a:moveTo>
                  <a:lnTo>
                    <a:pt x="35" y="350"/>
                  </a:lnTo>
                  <a:lnTo>
                    <a:pt x="35" y="348"/>
                  </a:lnTo>
                  <a:close/>
                  <a:moveTo>
                    <a:pt x="31" y="257"/>
                  </a:moveTo>
                  <a:lnTo>
                    <a:pt x="31" y="259"/>
                  </a:lnTo>
                  <a:lnTo>
                    <a:pt x="31" y="257"/>
                  </a:lnTo>
                  <a:close/>
                  <a:moveTo>
                    <a:pt x="43" y="350"/>
                  </a:moveTo>
                  <a:lnTo>
                    <a:pt x="44" y="350"/>
                  </a:lnTo>
                  <a:lnTo>
                    <a:pt x="43" y="350"/>
                  </a:lnTo>
                  <a:close/>
                  <a:moveTo>
                    <a:pt x="50" y="236"/>
                  </a:moveTo>
                  <a:lnTo>
                    <a:pt x="50" y="238"/>
                  </a:lnTo>
                  <a:lnTo>
                    <a:pt x="50" y="236"/>
                  </a:lnTo>
                  <a:close/>
                  <a:moveTo>
                    <a:pt x="46" y="353"/>
                  </a:moveTo>
                  <a:lnTo>
                    <a:pt x="46" y="355"/>
                  </a:lnTo>
                  <a:lnTo>
                    <a:pt x="46" y="353"/>
                  </a:lnTo>
                  <a:close/>
                  <a:moveTo>
                    <a:pt x="56" y="344"/>
                  </a:moveTo>
                  <a:lnTo>
                    <a:pt x="56" y="346"/>
                  </a:lnTo>
                  <a:lnTo>
                    <a:pt x="56" y="344"/>
                  </a:lnTo>
                  <a:close/>
                  <a:moveTo>
                    <a:pt x="48" y="346"/>
                  </a:moveTo>
                  <a:lnTo>
                    <a:pt x="48" y="348"/>
                  </a:lnTo>
                  <a:lnTo>
                    <a:pt x="48" y="346"/>
                  </a:lnTo>
                  <a:close/>
                  <a:moveTo>
                    <a:pt x="29" y="344"/>
                  </a:moveTo>
                  <a:lnTo>
                    <a:pt x="29" y="346"/>
                  </a:lnTo>
                  <a:lnTo>
                    <a:pt x="29" y="344"/>
                  </a:lnTo>
                  <a:close/>
                  <a:moveTo>
                    <a:pt x="33" y="348"/>
                  </a:moveTo>
                  <a:lnTo>
                    <a:pt x="33" y="350"/>
                  </a:lnTo>
                  <a:lnTo>
                    <a:pt x="33" y="348"/>
                  </a:lnTo>
                  <a:close/>
                  <a:moveTo>
                    <a:pt x="58" y="359"/>
                  </a:moveTo>
                  <a:lnTo>
                    <a:pt x="60" y="359"/>
                  </a:lnTo>
                  <a:lnTo>
                    <a:pt x="58" y="359"/>
                  </a:lnTo>
                  <a:close/>
                  <a:moveTo>
                    <a:pt x="37" y="250"/>
                  </a:moveTo>
                  <a:lnTo>
                    <a:pt x="37" y="252"/>
                  </a:lnTo>
                  <a:lnTo>
                    <a:pt x="37" y="250"/>
                  </a:lnTo>
                  <a:close/>
                  <a:moveTo>
                    <a:pt x="75" y="205"/>
                  </a:moveTo>
                  <a:lnTo>
                    <a:pt x="77" y="205"/>
                  </a:lnTo>
                  <a:lnTo>
                    <a:pt x="75" y="205"/>
                  </a:lnTo>
                  <a:close/>
                  <a:moveTo>
                    <a:pt x="41" y="350"/>
                  </a:moveTo>
                  <a:lnTo>
                    <a:pt x="41" y="351"/>
                  </a:lnTo>
                  <a:lnTo>
                    <a:pt x="41" y="350"/>
                  </a:lnTo>
                  <a:close/>
                  <a:moveTo>
                    <a:pt x="35" y="353"/>
                  </a:moveTo>
                  <a:lnTo>
                    <a:pt x="37" y="353"/>
                  </a:lnTo>
                  <a:lnTo>
                    <a:pt x="35" y="353"/>
                  </a:lnTo>
                  <a:close/>
                  <a:moveTo>
                    <a:pt x="25" y="340"/>
                  </a:moveTo>
                  <a:lnTo>
                    <a:pt x="25" y="342"/>
                  </a:lnTo>
                  <a:lnTo>
                    <a:pt x="25" y="340"/>
                  </a:lnTo>
                  <a:close/>
                  <a:moveTo>
                    <a:pt x="41" y="357"/>
                  </a:moveTo>
                  <a:lnTo>
                    <a:pt x="41" y="359"/>
                  </a:lnTo>
                  <a:lnTo>
                    <a:pt x="41" y="357"/>
                  </a:lnTo>
                  <a:close/>
                  <a:moveTo>
                    <a:pt x="35" y="344"/>
                  </a:moveTo>
                  <a:lnTo>
                    <a:pt x="35" y="346"/>
                  </a:lnTo>
                  <a:lnTo>
                    <a:pt x="35" y="344"/>
                  </a:lnTo>
                  <a:close/>
                  <a:moveTo>
                    <a:pt x="23" y="336"/>
                  </a:moveTo>
                  <a:lnTo>
                    <a:pt x="23" y="338"/>
                  </a:lnTo>
                  <a:lnTo>
                    <a:pt x="23" y="336"/>
                  </a:lnTo>
                  <a:close/>
                  <a:moveTo>
                    <a:pt x="27" y="280"/>
                  </a:moveTo>
                  <a:lnTo>
                    <a:pt x="29" y="280"/>
                  </a:lnTo>
                  <a:lnTo>
                    <a:pt x="27" y="280"/>
                  </a:lnTo>
                  <a:close/>
                  <a:moveTo>
                    <a:pt x="100" y="342"/>
                  </a:moveTo>
                  <a:lnTo>
                    <a:pt x="100" y="344"/>
                  </a:lnTo>
                  <a:lnTo>
                    <a:pt x="100" y="342"/>
                  </a:lnTo>
                  <a:close/>
                  <a:moveTo>
                    <a:pt x="27" y="248"/>
                  </a:moveTo>
                  <a:lnTo>
                    <a:pt x="29" y="248"/>
                  </a:lnTo>
                  <a:lnTo>
                    <a:pt x="27" y="248"/>
                  </a:lnTo>
                  <a:close/>
                  <a:moveTo>
                    <a:pt x="43" y="244"/>
                  </a:moveTo>
                  <a:lnTo>
                    <a:pt x="43" y="246"/>
                  </a:lnTo>
                  <a:lnTo>
                    <a:pt x="43" y="244"/>
                  </a:lnTo>
                  <a:close/>
                  <a:moveTo>
                    <a:pt x="27" y="340"/>
                  </a:moveTo>
                  <a:lnTo>
                    <a:pt x="27" y="342"/>
                  </a:lnTo>
                  <a:lnTo>
                    <a:pt x="27" y="340"/>
                  </a:lnTo>
                  <a:close/>
                  <a:moveTo>
                    <a:pt x="71" y="353"/>
                  </a:moveTo>
                  <a:lnTo>
                    <a:pt x="73" y="353"/>
                  </a:lnTo>
                  <a:lnTo>
                    <a:pt x="71" y="353"/>
                  </a:lnTo>
                  <a:close/>
                  <a:moveTo>
                    <a:pt x="31" y="336"/>
                  </a:moveTo>
                  <a:lnTo>
                    <a:pt x="33" y="336"/>
                  </a:lnTo>
                  <a:lnTo>
                    <a:pt x="31" y="336"/>
                  </a:lnTo>
                  <a:close/>
                  <a:moveTo>
                    <a:pt x="33" y="340"/>
                  </a:moveTo>
                  <a:lnTo>
                    <a:pt x="33" y="342"/>
                  </a:lnTo>
                  <a:lnTo>
                    <a:pt x="33" y="340"/>
                  </a:lnTo>
                  <a:close/>
                  <a:moveTo>
                    <a:pt x="33" y="340"/>
                  </a:moveTo>
                  <a:lnTo>
                    <a:pt x="35" y="340"/>
                  </a:lnTo>
                  <a:lnTo>
                    <a:pt x="33" y="340"/>
                  </a:lnTo>
                  <a:close/>
                  <a:moveTo>
                    <a:pt x="104" y="342"/>
                  </a:moveTo>
                  <a:lnTo>
                    <a:pt x="104" y="344"/>
                  </a:lnTo>
                  <a:lnTo>
                    <a:pt x="104" y="342"/>
                  </a:lnTo>
                  <a:close/>
                  <a:moveTo>
                    <a:pt x="79" y="169"/>
                  </a:moveTo>
                  <a:lnTo>
                    <a:pt x="79" y="171"/>
                  </a:lnTo>
                  <a:lnTo>
                    <a:pt x="79" y="169"/>
                  </a:lnTo>
                  <a:close/>
                  <a:moveTo>
                    <a:pt x="56" y="351"/>
                  </a:moveTo>
                  <a:lnTo>
                    <a:pt x="58" y="351"/>
                  </a:lnTo>
                  <a:lnTo>
                    <a:pt x="58" y="353"/>
                  </a:lnTo>
                  <a:lnTo>
                    <a:pt x="56" y="353"/>
                  </a:lnTo>
                  <a:lnTo>
                    <a:pt x="56" y="351"/>
                  </a:lnTo>
                  <a:close/>
                  <a:moveTo>
                    <a:pt x="10" y="351"/>
                  </a:moveTo>
                  <a:lnTo>
                    <a:pt x="10" y="353"/>
                  </a:lnTo>
                  <a:lnTo>
                    <a:pt x="10" y="351"/>
                  </a:lnTo>
                  <a:close/>
                  <a:moveTo>
                    <a:pt x="31" y="302"/>
                  </a:moveTo>
                  <a:lnTo>
                    <a:pt x="33" y="302"/>
                  </a:lnTo>
                  <a:lnTo>
                    <a:pt x="31" y="302"/>
                  </a:lnTo>
                  <a:close/>
                  <a:moveTo>
                    <a:pt x="35" y="357"/>
                  </a:moveTo>
                  <a:lnTo>
                    <a:pt x="37" y="357"/>
                  </a:lnTo>
                  <a:lnTo>
                    <a:pt x="35" y="357"/>
                  </a:lnTo>
                  <a:close/>
                  <a:moveTo>
                    <a:pt x="75" y="353"/>
                  </a:moveTo>
                  <a:lnTo>
                    <a:pt x="77" y="353"/>
                  </a:lnTo>
                  <a:lnTo>
                    <a:pt x="75" y="353"/>
                  </a:lnTo>
                  <a:close/>
                  <a:moveTo>
                    <a:pt x="33" y="259"/>
                  </a:moveTo>
                  <a:lnTo>
                    <a:pt x="35" y="259"/>
                  </a:lnTo>
                  <a:lnTo>
                    <a:pt x="33" y="259"/>
                  </a:lnTo>
                  <a:close/>
                  <a:moveTo>
                    <a:pt x="48" y="353"/>
                  </a:moveTo>
                  <a:lnTo>
                    <a:pt x="48" y="355"/>
                  </a:lnTo>
                  <a:lnTo>
                    <a:pt x="48" y="353"/>
                  </a:lnTo>
                  <a:close/>
                  <a:moveTo>
                    <a:pt x="92" y="348"/>
                  </a:moveTo>
                  <a:lnTo>
                    <a:pt x="92" y="350"/>
                  </a:lnTo>
                  <a:lnTo>
                    <a:pt x="92" y="348"/>
                  </a:lnTo>
                  <a:close/>
                  <a:moveTo>
                    <a:pt x="27" y="357"/>
                  </a:moveTo>
                  <a:lnTo>
                    <a:pt x="29" y="357"/>
                  </a:lnTo>
                  <a:lnTo>
                    <a:pt x="27" y="357"/>
                  </a:lnTo>
                  <a:close/>
                  <a:moveTo>
                    <a:pt x="48" y="346"/>
                  </a:moveTo>
                  <a:lnTo>
                    <a:pt x="48" y="348"/>
                  </a:lnTo>
                  <a:lnTo>
                    <a:pt x="48" y="346"/>
                  </a:lnTo>
                  <a:close/>
                  <a:moveTo>
                    <a:pt x="31" y="359"/>
                  </a:moveTo>
                  <a:lnTo>
                    <a:pt x="31" y="361"/>
                  </a:lnTo>
                  <a:lnTo>
                    <a:pt x="31" y="359"/>
                  </a:lnTo>
                  <a:close/>
                  <a:moveTo>
                    <a:pt x="52" y="230"/>
                  </a:moveTo>
                  <a:lnTo>
                    <a:pt x="54" y="230"/>
                  </a:lnTo>
                  <a:lnTo>
                    <a:pt x="52" y="230"/>
                  </a:lnTo>
                  <a:close/>
                  <a:moveTo>
                    <a:pt x="37" y="359"/>
                  </a:moveTo>
                  <a:lnTo>
                    <a:pt x="39" y="359"/>
                  </a:lnTo>
                  <a:lnTo>
                    <a:pt x="37" y="359"/>
                  </a:lnTo>
                  <a:close/>
                  <a:moveTo>
                    <a:pt x="123" y="340"/>
                  </a:moveTo>
                  <a:lnTo>
                    <a:pt x="123" y="342"/>
                  </a:lnTo>
                  <a:lnTo>
                    <a:pt x="123" y="340"/>
                  </a:lnTo>
                  <a:close/>
                  <a:moveTo>
                    <a:pt x="100" y="344"/>
                  </a:moveTo>
                  <a:lnTo>
                    <a:pt x="102" y="344"/>
                  </a:lnTo>
                  <a:lnTo>
                    <a:pt x="100" y="344"/>
                  </a:lnTo>
                  <a:close/>
                  <a:moveTo>
                    <a:pt x="75" y="169"/>
                  </a:moveTo>
                  <a:lnTo>
                    <a:pt x="77" y="169"/>
                  </a:lnTo>
                  <a:lnTo>
                    <a:pt x="75" y="169"/>
                  </a:lnTo>
                  <a:close/>
                  <a:moveTo>
                    <a:pt x="33" y="334"/>
                  </a:moveTo>
                  <a:lnTo>
                    <a:pt x="33" y="336"/>
                  </a:lnTo>
                  <a:lnTo>
                    <a:pt x="33" y="334"/>
                  </a:lnTo>
                  <a:close/>
                  <a:moveTo>
                    <a:pt x="44" y="344"/>
                  </a:moveTo>
                  <a:lnTo>
                    <a:pt x="46" y="344"/>
                  </a:lnTo>
                  <a:lnTo>
                    <a:pt x="44" y="344"/>
                  </a:lnTo>
                  <a:close/>
                  <a:moveTo>
                    <a:pt x="25" y="346"/>
                  </a:moveTo>
                  <a:lnTo>
                    <a:pt x="27" y="346"/>
                  </a:lnTo>
                  <a:lnTo>
                    <a:pt x="25" y="346"/>
                  </a:lnTo>
                  <a:close/>
                  <a:moveTo>
                    <a:pt x="25" y="355"/>
                  </a:moveTo>
                  <a:lnTo>
                    <a:pt x="27" y="355"/>
                  </a:lnTo>
                  <a:lnTo>
                    <a:pt x="25" y="355"/>
                  </a:lnTo>
                  <a:close/>
                  <a:moveTo>
                    <a:pt x="31" y="319"/>
                  </a:moveTo>
                  <a:lnTo>
                    <a:pt x="31" y="321"/>
                  </a:lnTo>
                  <a:lnTo>
                    <a:pt x="31" y="319"/>
                  </a:lnTo>
                  <a:close/>
                  <a:moveTo>
                    <a:pt x="35" y="340"/>
                  </a:moveTo>
                  <a:lnTo>
                    <a:pt x="35" y="342"/>
                  </a:lnTo>
                  <a:lnTo>
                    <a:pt x="35" y="340"/>
                  </a:lnTo>
                  <a:close/>
                  <a:moveTo>
                    <a:pt x="39" y="355"/>
                  </a:moveTo>
                  <a:lnTo>
                    <a:pt x="41" y="355"/>
                  </a:lnTo>
                  <a:lnTo>
                    <a:pt x="39" y="355"/>
                  </a:lnTo>
                  <a:close/>
                  <a:moveTo>
                    <a:pt x="43" y="359"/>
                  </a:moveTo>
                  <a:lnTo>
                    <a:pt x="44" y="359"/>
                  </a:lnTo>
                  <a:lnTo>
                    <a:pt x="43" y="359"/>
                  </a:lnTo>
                  <a:close/>
                  <a:moveTo>
                    <a:pt x="62" y="357"/>
                  </a:moveTo>
                  <a:lnTo>
                    <a:pt x="64" y="357"/>
                  </a:lnTo>
                  <a:lnTo>
                    <a:pt x="62" y="357"/>
                  </a:lnTo>
                  <a:close/>
                  <a:moveTo>
                    <a:pt x="98" y="344"/>
                  </a:moveTo>
                  <a:lnTo>
                    <a:pt x="98" y="346"/>
                  </a:lnTo>
                  <a:lnTo>
                    <a:pt x="98" y="344"/>
                  </a:lnTo>
                  <a:close/>
                  <a:moveTo>
                    <a:pt x="27" y="271"/>
                  </a:moveTo>
                  <a:lnTo>
                    <a:pt x="29" y="271"/>
                  </a:lnTo>
                  <a:lnTo>
                    <a:pt x="27" y="271"/>
                  </a:lnTo>
                  <a:close/>
                  <a:moveTo>
                    <a:pt x="117" y="340"/>
                  </a:moveTo>
                  <a:lnTo>
                    <a:pt x="119" y="340"/>
                  </a:lnTo>
                  <a:lnTo>
                    <a:pt x="117" y="340"/>
                  </a:lnTo>
                  <a:close/>
                  <a:moveTo>
                    <a:pt x="46" y="355"/>
                  </a:moveTo>
                  <a:lnTo>
                    <a:pt x="46" y="357"/>
                  </a:lnTo>
                  <a:lnTo>
                    <a:pt x="46" y="355"/>
                  </a:lnTo>
                  <a:close/>
                  <a:moveTo>
                    <a:pt x="31" y="353"/>
                  </a:moveTo>
                  <a:lnTo>
                    <a:pt x="31" y="355"/>
                  </a:lnTo>
                  <a:lnTo>
                    <a:pt x="31" y="353"/>
                  </a:lnTo>
                  <a:close/>
                  <a:moveTo>
                    <a:pt x="33" y="344"/>
                  </a:moveTo>
                  <a:lnTo>
                    <a:pt x="33" y="346"/>
                  </a:lnTo>
                  <a:lnTo>
                    <a:pt x="33" y="344"/>
                  </a:lnTo>
                  <a:close/>
                  <a:moveTo>
                    <a:pt x="31" y="257"/>
                  </a:moveTo>
                  <a:lnTo>
                    <a:pt x="33" y="257"/>
                  </a:lnTo>
                  <a:lnTo>
                    <a:pt x="31" y="257"/>
                  </a:lnTo>
                  <a:close/>
                  <a:moveTo>
                    <a:pt x="21" y="351"/>
                  </a:moveTo>
                  <a:lnTo>
                    <a:pt x="23" y="351"/>
                  </a:lnTo>
                  <a:lnTo>
                    <a:pt x="21" y="351"/>
                  </a:lnTo>
                  <a:close/>
                  <a:moveTo>
                    <a:pt x="43" y="254"/>
                  </a:moveTo>
                  <a:lnTo>
                    <a:pt x="44" y="254"/>
                  </a:lnTo>
                  <a:lnTo>
                    <a:pt x="43" y="254"/>
                  </a:lnTo>
                  <a:close/>
                  <a:moveTo>
                    <a:pt x="114" y="342"/>
                  </a:moveTo>
                  <a:lnTo>
                    <a:pt x="114" y="344"/>
                  </a:lnTo>
                  <a:lnTo>
                    <a:pt x="114" y="342"/>
                  </a:lnTo>
                  <a:close/>
                  <a:moveTo>
                    <a:pt x="25" y="342"/>
                  </a:moveTo>
                  <a:lnTo>
                    <a:pt x="25" y="344"/>
                  </a:lnTo>
                  <a:lnTo>
                    <a:pt x="25" y="342"/>
                  </a:lnTo>
                  <a:close/>
                  <a:moveTo>
                    <a:pt x="81" y="350"/>
                  </a:moveTo>
                  <a:lnTo>
                    <a:pt x="83" y="350"/>
                  </a:lnTo>
                  <a:lnTo>
                    <a:pt x="81" y="350"/>
                  </a:lnTo>
                  <a:close/>
                  <a:moveTo>
                    <a:pt x="25" y="342"/>
                  </a:moveTo>
                  <a:lnTo>
                    <a:pt x="27" y="342"/>
                  </a:lnTo>
                  <a:lnTo>
                    <a:pt x="25" y="342"/>
                  </a:lnTo>
                  <a:close/>
                  <a:moveTo>
                    <a:pt x="43" y="355"/>
                  </a:moveTo>
                  <a:lnTo>
                    <a:pt x="44" y="355"/>
                  </a:lnTo>
                  <a:lnTo>
                    <a:pt x="43" y="355"/>
                  </a:lnTo>
                  <a:close/>
                  <a:moveTo>
                    <a:pt x="46" y="359"/>
                  </a:moveTo>
                  <a:lnTo>
                    <a:pt x="46" y="361"/>
                  </a:lnTo>
                  <a:lnTo>
                    <a:pt x="46" y="359"/>
                  </a:lnTo>
                  <a:close/>
                  <a:moveTo>
                    <a:pt x="50" y="355"/>
                  </a:moveTo>
                  <a:lnTo>
                    <a:pt x="52" y="355"/>
                  </a:lnTo>
                  <a:lnTo>
                    <a:pt x="50" y="355"/>
                  </a:lnTo>
                  <a:close/>
                  <a:moveTo>
                    <a:pt x="96" y="348"/>
                  </a:moveTo>
                  <a:lnTo>
                    <a:pt x="96" y="350"/>
                  </a:lnTo>
                  <a:lnTo>
                    <a:pt x="96" y="348"/>
                  </a:lnTo>
                  <a:close/>
                  <a:moveTo>
                    <a:pt x="46" y="357"/>
                  </a:moveTo>
                  <a:lnTo>
                    <a:pt x="46" y="359"/>
                  </a:lnTo>
                  <a:lnTo>
                    <a:pt x="46" y="357"/>
                  </a:lnTo>
                  <a:close/>
                  <a:moveTo>
                    <a:pt x="12" y="353"/>
                  </a:moveTo>
                  <a:lnTo>
                    <a:pt x="12" y="355"/>
                  </a:lnTo>
                  <a:lnTo>
                    <a:pt x="12" y="353"/>
                  </a:lnTo>
                  <a:close/>
                  <a:moveTo>
                    <a:pt x="29" y="328"/>
                  </a:moveTo>
                  <a:lnTo>
                    <a:pt x="29" y="330"/>
                  </a:lnTo>
                  <a:lnTo>
                    <a:pt x="29" y="328"/>
                  </a:lnTo>
                  <a:close/>
                  <a:moveTo>
                    <a:pt x="18" y="353"/>
                  </a:moveTo>
                  <a:lnTo>
                    <a:pt x="19" y="353"/>
                  </a:lnTo>
                  <a:lnTo>
                    <a:pt x="18" y="353"/>
                  </a:lnTo>
                  <a:close/>
                  <a:moveTo>
                    <a:pt x="21" y="346"/>
                  </a:moveTo>
                  <a:lnTo>
                    <a:pt x="23" y="346"/>
                  </a:lnTo>
                  <a:lnTo>
                    <a:pt x="21" y="346"/>
                  </a:lnTo>
                  <a:close/>
                  <a:moveTo>
                    <a:pt x="117" y="344"/>
                  </a:moveTo>
                  <a:lnTo>
                    <a:pt x="119" y="344"/>
                  </a:lnTo>
                  <a:lnTo>
                    <a:pt x="117" y="344"/>
                  </a:lnTo>
                  <a:close/>
                  <a:moveTo>
                    <a:pt x="29" y="342"/>
                  </a:moveTo>
                  <a:lnTo>
                    <a:pt x="31" y="342"/>
                  </a:lnTo>
                  <a:lnTo>
                    <a:pt x="29" y="342"/>
                  </a:lnTo>
                  <a:close/>
                  <a:moveTo>
                    <a:pt x="35" y="346"/>
                  </a:moveTo>
                  <a:lnTo>
                    <a:pt x="37" y="346"/>
                  </a:lnTo>
                  <a:lnTo>
                    <a:pt x="35" y="346"/>
                  </a:lnTo>
                  <a:close/>
                  <a:moveTo>
                    <a:pt x="48" y="355"/>
                  </a:moveTo>
                  <a:lnTo>
                    <a:pt x="50" y="355"/>
                  </a:lnTo>
                  <a:lnTo>
                    <a:pt x="48" y="355"/>
                  </a:lnTo>
                  <a:close/>
                  <a:moveTo>
                    <a:pt x="21" y="346"/>
                  </a:moveTo>
                  <a:lnTo>
                    <a:pt x="23" y="346"/>
                  </a:lnTo>
                  <a:lnTo>
                    <a:pt x="23" y="348"/>
                  </a:lnTo>
                  <a:lnTo>
                    <a:pt x="21" y="348"/>
                  </a:lnTo>
                  <a:lnTo>
                    <a:pt x="21" y="346"/>
                  </a:lnTo>
                  <a:close/>
                  <a:moveTo>
                    <a:pt x="33" y="346"/>
                  </a:moveTo>
                  <a:lnTo>
                    <a:pt x="35" y="346"/>
                  </a:lnTo>
                  <a:lnTo>
                    <a:pt x="33" y="346"/>
                  </a:lnTo>
                  <a:close/>
                  <a:moveTo>
                    <a:pt x="31" y="328"/>
                  </a:moveTo>
                  <a:lnTo>
                    <a:pt x="31" y="330"/>
                  </a:lnTo>
                  <a:lnTo>
                    <a:pt x="31" y="328"/>
                  </a:lnTo>
                  <a:close/>
                  <a:moveTo>
                    <a:pt x="69" y="355"/>
                  </a:moveTo>
                  <a:lnTo>
                    <a:pt x="69" y="357"/>
                  </a:lnTo>
                  <a:lnTo>
                    <a:pt x="69" y="355"/>
                  </a:lnTo>
                  <a:close/>
                  <a:moveTo>
                    <a:pt x="77" y="353"/>
                  </a:moveTo>
                  <a:lnTo>
                    <a:pt x="79" y="353"/>
                  </a:lnTo>
                  <a:lnTo>
                    <a:pt x="77" y="353"/>
                  </a:lnTo>
                  <a:close/>
                  <a:moveTo>
                    <a:pt x="54" y="236"/>
                  </a:moveTo>
                  <a:lnTo>
                    <a:pt x="54" y="238"/>
                  </a:lnTo>
                  <a:lnTo>
                    <a:pt x="54" y="236"/>
                  </a:lnTo>
                  <a:close/>
                  <a:moveTo>
                    <a:pt x="39" y="348"/>
                  </a:moveTo>
                  <a:lnTo>
                    <a:pt x="41" y="348"/>
                  </a:lnTo>
                  <a:lnTo>
                    <a:pt x="39" y="348"/>
                  </a:lnTo>
                  <a:close/>
                  <a:moveTo>
                    <a:pt x="39" y="355"/>
                  </a:moveTo>
                  <a:lnTo>
                    <a:pt x="39" y="357"/>
                  </a:lnTo>
                  <a:lnTo>
                    <a:pt x="39" y="355"/>
                  </a:lnTo>
                  <a:close/>
                  <a:moveTo>
                    <a:pt x="43" y="353"/>
                  </a:moveTo>
                  <a:lnTo>
                    <a:pt x="43" y="355"/>
                  </a:lnTo>
                  <a:lnTo>
                    <a:pt x="43" y="353"/>
                  </a:lnTo>
                  <a:close/>
                  <a:moveTo>
                    <a:pt x="14" y="348"/>
                  </a:moveTo>
                  <a:lnTo>
                    <a:pt x="16" y="348"/>
                  </a:lnTo>
                  <a:lnTo>
                    <a:pt x="14" y="348"/>
                  </a:lnTo>
                  <a:close/>
                  <a:moveTo>
                    <a:pt x="100" y="346"/>
                  </a:moveTo>
                  <a:lnTo>
                    <a:pt x="100" y="348"/>
                  </a:lnTo>
                  <a:lnTo>
                    <a:pt x="100" y="346"/>
                  </a:lnTo>
                  <a:close/>
                  <a:moveTo>
                    <a:pt x="102" y="344"/>
                  </a:moveTo>
                  <a:lnTo>
                    <a:pt x="102" y="346"/>
                  </a:lnTo>
                  <a:lnTo>
                    <a:pt x="102" y="344"/>
                  </a:lnTo>
                  <a:close/>
                  <a:moveTo>
                    <a:pt x="41" y="351"/>
                  </a:moveTo>
                  <a:lnTo>
                    <a:pt x="41" y="353"/>
                  </a:lnTo>
                  <a:lnTo>
                    <a:pt x="41" y="351"/>
                  </a:lnTo>
                  <a:close/>
                  <a:moveTo>
                    <a:pt x="29" y="348"/>
                  </a:moveTo>
                  <a:lnTo>
                    <a:pt x="31" y="348"/>
                  </a:lnTo>
                  <a:lnTo>
                    <a:pt x="29" y="348"/>
                  </a:lnTo>
                  <a:close/>
                  <a:moveTo>
                    <a:pt x="25" y="342"/>
                  </a:moveTo>
                  <a:lnTo>
                    <a:pt x="27" y="342"/>
                  </a:lnTo>
                  <a:lnTo>
                    <a:pt x="25" y="342"/>
                  </a:lnTo>
                  <a:close/>
                  <a:moveTo>
                    <a:pt x="18" y="350"/>
                  </a:moveTo>
                  <a:lnTo>
                    <a:pt x="19" y="350"/>
                  </a:lnTo>
                  <a:lnTo>
                    <a:pt x="18" y="350"/>
                  </a:lnTo>
                  <a:close/>
                  <a:moveTo>
                    <a:pt x="60" y="357"/>
                  </a:moveTo>
                  <a:lnTo>
                    <a:pt x="62" y="357"/>
                  </a:lnTo>
                  <a:lnTo>
                    <a:pt x="60" y="357"/>
                  </a:lnTo>
                  <a:close/>
                  <a:moveTo>
                    <a:pt x="16" y="353"/>
                  </a:moveTo>
                  <a:lnTo>
                    <a:pt x="18" y="353"/>
                  </a:lnTo>
                  <a:lnTo>
                    <a:pt x="18" y="355"/>
                  </a:lnTo>
                  <a:lnTo>
                    <a:pt x="16" y="355"/>
                  </a:lnTo>
                  <a:lnTo>
                    <a:pt x="16" y="353"/>
                  </a:lnTo>
                  <a:close/>
                  <a:moveTo>
                    <a:pt x="37" y="340"/>
                  </a:moveTo>
                  <a:lnTo>
                    <a:pt x="39" y="340"/>
                  </a:lnTo>
                  <a:lnTo>
                    <a:pt x="37" y="340"/>
                  </a:lnTo>
                  <a:close/>
                  <a:moveTo>
                    <a:pt x="48" y="355"/>
                  </a:moveTo>
                  <a:lnTo>
                    <a:pt x="48" y="357"/>
                  </a:lnTo>
                  <a:lnTo>
                    <a:pt x="48" y="355"/>
                  </a:lnTo>
                  <a:close/>
                  <a:moveTo>
                    <a:pt x="37" y="353"/>
                  </a:moveTo>
                  <a:lnTo>
                    <a:pt x="39" y="353"/>
                  </a:lnTo>
                  <a:lnTo>
                    <a:pt x="37" y="353"/>
                  </a:lnTo>
                  <a:close/>
                  <a:moveTo>
                    <a:pt x="46" y="359"/>
                  </a:moveTo>
                  <a:lnTo>
                    <a:pt x="48" y="359"/>
                  </a:lnTo>
                  <a:lnTo>
                    <a:pt x="46" y="359"/>
                  </a:lnTo>
                  <a:close/>
                  <a:moveTo>
                    <a:pt x="10" y="355"/>
                  </a:moveTo>
                  <a:lnTo>
                    <a:pt x="12" y="355"/>
                  </a:lnTo>
                  <a:lnTo>
                    <a:pt x="10" y="355"/>
                  </a:lnTo>
                  <a:close/>
                  <a:moveTo>
                    <a:pt x="114" y="342"/>
                  </a:moveTo>
                  <a:lnTo>
                    <a:pt x="115" y="342"/>
                  </a:lnTo>
                  <a:lnTo>
                    <a:pt x="114" y="342"/>
                  </a:lnTo>
                  <a:close/>
                  <a:moveTo>
                    <a:pt x="102" y="346"/>
                  </a:moveTo>
                  <a:lnTo>
                    <a:pt x="104" y="346"/>
                  </a:lnTo>
                  <a:lnTo>
                    <a:pt x="102" y="346"/>
                  </a:lnTo>
                  <a:close/>
                  <a:moveTo>
                    <a:pt x="50" y="355"/>
                  </a:moveTo>
                  <a:lnTo>
                    <a:pt x="52" y="355"/>
                  </a:lnTo>
                  <a:lnTo>
                    <a:pt x="50" y="355"/>
                  </a:lnTo>
                  <a:close/>
                  <a:moveTo>
                    <a:pt x="77" y="169"/>
                  </a:moveTo>
                  <a:lnTo>
                    <a:pt x="77" y="171"/>
                  </a:lnTo>
                  <a:lnTo>
                    <a:pt x="77" y="169"/>
                  </a:lnTo>
                  <a:close/>
                  <a:moveTo>
                    <a:pt x="50" y="355"/>
                  </a:moveTo>
                  <a:lnTo>
                    <a:pt x="52" y="355"/>
                  </a:lnTo>
                  <a:lnTo>
                    <a:pt x="50" y="355"/>
                  </a:lnTo>
                  <a:close/>
                  <a:moveTo>
                    <a:pt x="35" y="351"/>
                  </a:moveTo>
                  <a:lnTo>
                    <a:pt x="35" y="353"/>
                  </a:lnTo>
                  <a:lnTo>
                    <a:pt x="35" y="351"/>
                  </a:lnTo>
                  <a:close/>
                  <a:moveTo>
                    <a:pt x="54" y="353"/>
                  </a:moveTo>
                  <a:lnTo>
                    <a:pt x="56" y="353"/>
                  </a:lnTo>
                  <a:lnTo>
                    <a:pt x="56" y="355"/>
                  </a:lnTo>
                  <a:lnTo>
                    <a:pt x="54" y="355"/>
                  </a:lnTo>
                  <a:lnTo>
                    <a:pt x="54" y="353"/>
                  </a:lnTo>
                  <a:close/>
                  <a:moveTo>
                    <a:pt x="46" y="244"/>
                  </a:moveTo>
                  <a:lnTo>
                    <a:pt x="48" y="244"/>
                  </a:lnTo>
                  <a:lnTo>
                    <a:pt x="46" y="244"/>
                  </a:lnTo>
                  <a:close/>
                  <a:moveTo>
                    <a:pt x="48" y="355"/>
                  </a:moveTo>
                  <a:lnTo>
                    <a:pt x="48" y="357"/>
                  </a:lnTo>
                  <a:lnTo>
                    <a:pt x="48" y="355"/>
                  </a:lnTo>
                  <a:close/>
                  <a:moveTo>
                    <a:pt x="43" y="357"/>
                  </a:moveTo>
                  <a:lnTo>
                    <a:pt x="43" y="359"/>
                  </a:lnTo>
                  <a:lnTo>
                    <a:pt x="43" y="357"/>
                  </a:lnTo>
                  <a:close/>
                  <a:moveTo>
                    <a:pt x="31" y="344"/>
                  </a:moveTo>
                  <a:lnTo>
                    <a:pt x="31" y="346"/>
                  </a:lnTo>
                  <a:lnTo>
                    <a:pt x="31" y="344"/>
                  </a:lnTo>
                  <a:close/>
                  <a:moveTo>
                    <a:pt x="52" y="238"/>
                  </a:moveTo>
                  <a:lnTo>
                    <a:pt x="54" y="238"/>
                  </a:lnTo>
                  <a:lnTo>
                    <a:pt x="52" y="238"/>
                  </a:lnTo>
                  <a:close/>
                  <a:moveTo>
                    <a:pt x="39" y="351"/>
                  </a:moveTo>
                  <a:lnTo>
                    <a:pt x="41" y="351"/>
                  </a:lnTo>
                  <a:lnTo>
                    <a:pt x="39" y="351"/>
                  </a:lnTo>
                  <a:close/>
                  <a:moveTo>
                    <a:pt x="46" y="240"/>
                  </a:moveTo>
                  <a:lnTo>
                    <a:pt x="46" y="242"/>
                  </a:lnTo>
                  <a:lnTo>
                    <a:pt x="46" y="240"/>
                  </a:lnTo>
                  <a:close/>
                  <a:moveTo>
                    <a:pt x="25" y="353"/>
                  </a:moveTo>
                  <a:lnTo>
                    <a:pt x="25" y="355"/>
                  </a:lnTo>
                  <a:lnTo>
                    <a:pt x="25" y="353"/>
                  </a:lnTo>
                  <a:close/>
                  <a:moveTo>
                    <a:pt x="37" y="246"/>
                  </a:moveTo>
                  <a:lnTo>
                    <a:pt x="37" y="248"/>
                  </a:lnTo>
                  <a:lnTo>
                    <a:pt x="37" y="246"/>
                  </a:lnTo>
                  <a:close/>
                  <a:moveTo>
                    <a:pt x="31" y="323"/>
                  </a:moveTo>
                  <a:lnTo>
                    <a:pt x="33" y="323"/>
                  </a:lnTo>
                  <a:lnTo>
                    <a:pt x="31" y="323"/>
                  </a:lnTo>
                  <a:close/>
                  <a:moveTo>
                    <a:pt x="39" y="348"/>
                  </a:moveTo>
                  <a:lnTo>
                    <a:pt x="41" y="348"/>
                  </a:lnTo>
                  <a:lnTo>
                    <a:pt x="39" y="348"/>
                  </a:lnTo>
                  <a:close/>
                  <a:moveTo>
                    <a:pt x="52" y="238"/>
                  </a:moveTo>
                  <a:lnTo>
                    <a:pt x="54" y="238"/>
                  </a:lnTo>
                  <a:lnTo>
                    <a:pt x="52" y="238"/>
                  </a:lnTo>
                  <a:close/>
                  <a:moveTo>
                    <a:pt x="41" y="350"/>
                  </a:moveTo>
                  <a:lnTo>
                    <a:pt x="43" y="350"/>
                  </a:lnTo>
                  <a:lnTo>
                    <a:pt x="41" y="350"/>
                  </a:lnTo>
                  <a:close/>
                  <a:moveTo>
                    <a:pt x="100" y="346"/>
                  </a:moveTo>
                  <a:lnTo>
                    <a:pt x="102" y="346"/>
                  </a:lnTo>
                  <a:lnTo>
                    <a:pt x="100" y="346"/>
                  </a:lnTo>
                  <a:close/>
                  <a:moveTo>
                    <a:pt x="41" y="346"/>
                  </a:moveTo>
                  <a:lnTo>
                    <a:pt x="43" y="346"/>
                  </a:lnTo>
                  <a:lnTo>
                    <a:pt x="41" y="346"/>
                  </a:lnTo>
                  <a:close/>
                  <a:moveTo>
                    <a:pt x="29" y="252"/>
                  </a:moveTo>
                  <a:lnTo>
                    <a:pt x="29" y="254"/>
                  </a:lnTo>
                  <a:lnTo>
                    <a:pt x="29" y="252"/>
                  </a:lnTo>
                  <a:close/>
                  <a:moveTo>
                    <a:pt x="56" y="353"/>
                  </a:moveTo>
                  <a:lnTo>
                    <a:pt x="56" y="355"/>
                  </a:lnTo>
                  <a:lnTo>
                    <a:pt x="56" y="353"/>
                  </a:lnTo>
                  <a:close/>
                  <a:moveTo>
                    <a:pt x="46" y="359"/>
                  </a:moveTo>
                  <a:lnTo>
                    <a:pt x="48" y="359"/>
                  </a:lnTo>
                  <a:lnTo>
                    <a:pt x="46" y="359"/>
                  </a:lnTo>
                  <a:close/>
                  <a:moveTo>
                    <a:pt x="67" y="355"/>
                  </a:moveTo>
                  <a:lnTo>
                    <a:pt x="69" y="355"/>
                  </a:lnTo>
                  <a:lnTo>
                    <a:pt x="67" y="355"/>
                  </a:lnTo>
                  <a:close/>
                  <a:moveTo>
                    <a:pt x="23" y="346"/>
                  </a:moveTo>
                  <a:lnTo>
                    <a:pt x="25" y="346"/>
                  </a:lnTo>
                  <a:lnTo>
                    <a:pt x="23" y="346"/>
                  </a:lnTo>
                  <a:close/>
                  <a:moveTo>
                    <a:pt x="31" y="252"/>
                  </a:moveTo>
                  <a:lnTo>
                    <a:pt x="31" y="254"/>
                  </a:lnTo>
                  <a:lnTo>
                    <a:pt x="31" y="252"/>
                  </a:lnTo>
                  <a:close/>
                  <a:moveTo>
                    <a:pt x="18" y="348"/>
                  </a:moveTo>
                  <a:lnTo>
                    <a:pt x="19" y="348"/>
                  </a:lnTo>
                  <a:lnTo>
                    <a:pt x="18" y="348"/>
                  </a:lnTo>
                  <a:close/>
                  <a:moveTo>
                    <a:pt x="29" y="334"/>
                  </a:moveTo>
                  <a:lnTo>
                    <a:pt x="31" y="334"/>
                  </a:lnTo>
                  <a:lnTo>
                    <a:pt x="29" y="334"/>
                  </a:lnTo>
                  <a:close/>
                  <a:moveTo>
                    <a:pt x="29" y="359"/>
                  </a:moveTo>
                  <a:lnTo>
                    <a:pt x="29" y="361"/>
                  </a:lnTo>
                  <a:lnTo>
                    <a:pt x="29" y="359"/>
                  </a:lnTo>
                  <a:close/>
                  <a:moveTo>
                    <a:pt x="39" y="355"/>
                  </a:moveTo>
                  <a:lnTo>
                    <a:pt x="41" y="355"/>
                  </a:lnTo>
                  <a:lnTo>
                    <a:pt x="39" y="355"/>
                  </a:lnTo>
                  <a:close/>
                  <a:moveTo>
                    <a:pt x="29" y="278"/>
                  </a:moveTo>
                  <a:lnTo>
                    <a:pt x="29" y="280"/>
                  </a:lnTo>
                  <a:lnTo>
                    <a:pt x="29" y="278"/>
                  </a:lnTo>
                  <a:close/>
                  <a:moveTo>
                    <a:pt x="35" y="344"/>
                  </a:moveTo>
                  <a:lnTo>
                    <a:pt x="37" y="344"/>
                  </a:lnTo>
                  <a:lnTo>
                    <a:pt x="37" y="346"/>
                  </a:lnTo>
                  <a:lnTo>
                    <a:pt x="35" y="346"/>
                  </a:lnTo>
                  <a:lnTo>
                    <a:pt x="35" y="344"/>
                  </a:lnTo>
                  <a:close/>
                  <a:moveTo>
                    <a:pt x="110" y="342"/>
                  </a:moveTo>
                  <a:lnTo>
                    <a:pt x="112" y="342"/>
                  </a:lnTo>
                  <a:lnTo>
                    <a:pt x="110" y="342"/>
                  </a:lnTo>
                  <a:close/>
                  <a:moveTo>
                    <a:pt x="31" y="348"/>
                  </a:moveTo>
                  <a:lnTo>
                    <a:pt x="33" y="348"/>
                  </a:lnTo>
                  <a:lnTo>
                    <a:pt x="31" y="348"/>
                  </a:lnTo>
                  <a:close/>
                  <a:moveTo>
                    <a:pt x="23" y="353"/>
                  </a:moveTo>
                  <a:lnTo>
                    <a:pt x="25" y="353"/>
                  </a:lnTo>
                  <a:lnTo>
                    <a:pt x="23" y="353"/>
                  </a:lnTo>
                  <a:close/>
                  <a:moveTo>
                    <a:pt x="46" y="350"/>
                  </a:moveTo>
                  <a:lnTo>
                    <a:pt x="48" y="350"/>
                  </a:lnTo>
                  <a:lnTo>
                    <a:pt x="46" y="350"/>
                  </a:lnTo>
                  <a:close/>
                  <a:moveTo>
                    <a:pt x="31" y="265"/>
                  </a:moveTo>
                  <a:lnTo>
                    <a:pt x="33" y="265"/>
                  </a:lnTo>
                  <a:lnTo>
                    <a:pt x="31" y="265"/>
                  </a:lnTo>
                  <a:close/>
                  <a:moveTo>
                    <a:pt x="31" y="336"/>
                  </a:moveTo>
                  <a:lnTo>
                    <a:pt x="33" y="336"/>
                  </a:lnTo>
                  <a:lnTo>
                    <a:pt x="31" y="336"/>
                  </a:lnTo>
                  <a:close/>
                  <a:moveTo>
                    <a:pt x="27" y="350"/>
                  </a:moveTo>
                  <a:lnTo>
                    <a:pt x="29" y="350"/>
                  </a:lnTo>
                  <a:lnTo>
                    <a:pt x="29" y="351"/>
                  </a:lnTo>
                  <a:lnTo>
                    <a:pt x="27" y="351"/>
                  </a:lnTo>
                  <a:lnTo>
                    <a:pt x="27" y="350"/>
                  </a:lnTo>
                  <a:close/>
                  <a:moveTo>
                    <a:pt x="37" y="351"/>
                  </a:moveTo>
                  <a:lnTo>
                    <a:pt x="39" y="351"/>
                  </a:lnTo>
                  <a:lnTo>
                    <a:pt x="37" y="351"/>
                  </a:lnTo>
                  <a:close/>
                  <a:moveTo>
                    <a:pt x="35" y="348"/>
                  </a:moveTo>
                  <a:lnTo>
                    <a:pt x="35" y="350"/>
                  </a:lnTo>
                  <a:lnTo>
                    <a:pt x="35" y="348"/>
                  </a:lnTo>
                  <a:close/>
                  <a:moveTo>
                    <a:pt x="19" y="351"/>
                  </a:moveTo>
                  <a:lnTo>
                    <a:pt x="21" y="351"/>
                  </a:lnTo>
                  <a:lnTo>
                    <a:pt x="21" y="353"/>
                  </a:lnTo>
                  <a:lnTo>
                    <a:pt x="19" y="353"/>
                  </a:lnTo>
                  <a:lnTo>
                    <a:pt x="19" y="351"/>
                  </a:lnTo>
                  <a:close/>
                  <a:moveTo>
                    <a:pt x="48" y="236"/>
                  </a:moveTo>
                  <a:lnTo>
                    <a:pt x="48" y="238"/>
                  </a:lnTo>
                  <a:lnTo>
                    <a:pt x="48" y="236"/>
                  </a:lnTo>
                  <a:close/>
                  <a:moveTo>
                    <a:pt x="25" y="355"/>
                  </a:moveTo>
                  <a:lnTo>
                    <a:pt x="27" y="355"/>
                  </a:lnTo>
                  <a:lnTo>
                    <a:pt x="25" y="355"/>
                  </a:lnTo>
                  <a:close/>
                  <a:moveTo>
                    <a:pt x="27" y="275"/>
                  </a:moveTo>
                  <a:lnTo>
                    <a:pt x="27" y="277"/>
                  </a:lnTo>
                  <a:lnTo>
                    <a:pt x="27" y="275"/>
                  </a:lnTo>
                  <a:close/>
                  <a:moveTo>
                    <a:pt x="29" y="336"/>
                  </a:moveTo>
                  <a:lnTo>
                    <a:pt x="29" y="338"/>
                  </a:lnTo>
                  <a:lnTo>
                    <a:pt x="29" y="336"/>
                  </a:lnTo>
                  <a:close/>
                  <a:moveTo>
                    <a:pt x="44" y="351"/>
                  </a:moveTo>
                  <a:lnTo>
                    <a:pt x="46" y="351"/>
                  </a:lnTo>
                  <a:lnTo>
                    <a:pt x="44" y="351"/>
                  </a:lnTo>
                  <a:close/>
                  <a:moveTo>
                    <a:pt x="73" y="165"/>
                  </a:moveTo>
                  <a:lnTo>
                    <a:pt x="73" y="167"/>
                  </a:lnTo>
                  <a:lnTo>
                    <a:pt x="73" y="165"/>
                  </a:lnTo>
                  <a:close/>
                  <a:moveTo>
                    <a:pt x="27" y="275"/>
                  </a:moveTo>
                  <a:lnTo>
                    <a:pt x="29" y="275"/>
                  </a:lnTo>
                  <a:lnTo>
                    <a:pt x="27" y="275"/>
                  </a:lnTo>
                  <a:close/>
                  <a:moveTo>
                    <a:pt x="12" y="342"/>
                  </a:moveTo>
                  <a:lnTo>
                    <a:pt x="12" y="344"/>
                  </a:lnTo>
                  <a:lnTo>
                    <a:pt x="12" y="342"/>
                  </a:lnTo>
                  <a:close/>
                  <a:moveTo>
                    <a:pt x="21" y="350"/>
                  </a:moveTo>
                  <a:lnTo>
                    <a:pt x="21" y="351"/>
                  </a:lnTo>
                  <a:lnTo>
                    <a:pt x="21" y="350"/>
                  </a:lnTo>
                  <a:close/>
                  <a:moveTo>
                    <a:pt x="62" y="357"/>
                  </a:moveTo>
                  <a:lnTo>
                    <a:pt x="62" y="359"/>
                  </a:lnTo>
                  <a:lnTo>
                    <a:pt x="62" y="357"/>
                  </a:lnTo>
                  <a:close/>
                  <a:moveTo>
                    <a:pt x="62" y="357"/>
                  </a:moveTo>
                  <a:lnTo>
                    <a:pt x="62" y="359"/>
                  </a:lnTo>
                  <a:lnTo>
                    <a:pt x="62" y="357"/>
                  </a:lnTo>
                  <a:close/>
                  <a:moveTo>
                    <a:pt x="46" y="350"/>
                  </a:moveTo>
                  <a:lnTo>
                    <a:pt x="46" y="351"/>
                  </a:lnTo>
                  <a:lnTo>
                    <a:pt x="46" y="350"/>
                  </a:lnTo>
                  <a:close/>
                  <a:moveTo>
                    <a:pt x="37" y="342"/>
                  </a:moveTo>
                  <a:lnTo>
                    <a:pt x="37" y="344"/>
                  </a:lnTo>
                  <a:lnTo>
                    <a:pt x="37" y="342"/>
                  </a:lnTo>
                  <a:close/>
                  <a:moveTo>
                    <a:pt x="121" y="342"/>
                  </a:moveTo>
                  <a:lnTo>
                    <a:pt x="121" y="344"/>
                  </a:lnTo>
                  <a:lnTo>
                    <a:pt x="121" y="342"/>
                  </a:lnTo>
                  <a:close/>
                  <a:moveTo>
                    <a:pt x="29" y="342"/>
                  </a:moveTo>
                  <a:lnTo>
                    <a:pt x="31" y="342"/>
                  </a:lnTo>
                  <a:lnTo>
                    <a:pt x="29" y="342"/>
                  </a:lnTo>
                  <a:close/>
                  <a:moveTo>
                    <a:pt x="8" y="342"/>
                  </a:moveTo>
                  <a:lnTo>
                    <a:pt x="8" y="344"/>
                  </a:lnTo>
                  <a:lnTo>
                    <a:pt x="8" y="342"/>
                  </a:lnTo>
                  <a:close/>
                  <a:moveTo>
                    <a:pt x="50" y="355"/>
                  </a:moveTo>
                  <a:lnTo>
                    <a:pt x="52" y="355"/>
                  </a:lnTo>
                  <a:lnTo>
                    <a:pt x="50" y="355"/>
                  </a:lnTo>
                  <a:close/>
                  <a:moveTo>
                    <a:pt x="14" y="350"/>
                  </a:moveTo>
                  <a:lnTo>
                    <a:pt x="14" y="351"/>
                  </a:lnTo>
                  <a:lnTo>
                    <a:pt x="14" y="350"/>
                  </a:lnTo>
                  <a:close/>
                  <a:moveTo>
                    <a:pt x="73" y="167"/>
                  </a:moveTo>
                  <a:lnTo>
                    <a:pt x="75" y="167"/>
                  </a:lnTo>
                  <a:lnTo>
                    <a:pt x="73" y="167"/>
                  </a:lnTo>
                  <a:close/>
                  <a:moveTo>
                    <a:pt x="39" y="350"/>
                  </a:moveTo>
                  <a:lnTo>
                    <a:pt x="39" y="351"/>
                  </a:lnTo>
                  <a:lnTo>
                    <a:pt x="39" y="350"/>
                  </a:lnTo>
                  <a:close/>
                  <a:moveTo>
                    <a:pt x="100" y="346"/>
                  </a:moveTo>
                  <a:lnTo>
                    <a:pt x="100" y="348"/>
                  </a:lnTo>
                  <a:lnTo>
                    <a:pt x="100" y="346"/>
                  </a:lnTo>
                  <a:close/>
                  <a:moveTo>
                    <a:pt x="21" y="342"/>
                  </a:moveTo>
                  <a:lnTo>
                    <a:pt x="21" y="344"/>
                  </a:lnTo>
                  <a:lnTo>
                    <a:pt x="21" y="342"/>
                  </a:lnTo>
                  <a:close/>
                  <a:moveTo>
                    <a:pt x="89" y="348"/>
                  </a:moveTo>
                  <a:lnTo>
                    <a:pt x="91" y="348"/>
                  </a:lnTo>
                  <a:lnTo>
                    <a:pt x="89" y="348"/>
                  </a:lnTo>
                  <a:close/>
                  <a:moveTo>
                    <a:pt x="92" y="346"/>
                  </a:moveTo>
                  <a:lnTo>
                    <a:pt x="92" y="348"/>
                  </a:lnTo>
                  <a:lnTo>
                    <a:pt x="92" y="346"/>
                  </a:lnTo>
                  <a:close/>
                  <a:moveTo>
                    <a:pt x="54" y="355"/>
                  </a:moveTo>
                  <a:lnTo>
                    <a:pt x="56" y="355"/>
                  </a:lnTo>
                  <a:lnTo>
                    <a:pt x="54" y="355"/>
                  </a:lnTo>
                  <a:close/>
                  <a:moveTo>
                    <a:pt x="27" y="334"/>
                  </a:moveTo>
                  <a:lnTo>
                    <a:pt x="29" y="334"/>
                  </a:lnTo>
                  <a:lnTo>
                    <a:pt x="27" y="334"/>
                  </a:lnTo>
                  <a:close/>
                  <a:moveTo>
                    <a:pt x="125" y="338"/>
                  </a:moveTo>
                  <a:lnTo>
                    <a:pt x="125" y="340"/>
                  </a:lnTo>
                  <a:lnTo>
                    <a:pt x="125" y="338"/>
                  </a:lnTo>
                  <a:close/>
                  <a:moveTo>
                    <a:pt x="69" y="353"/>
                  </a:moveTo>
                  <a:lnTo>
                    <a:pt x="71" y="353"/>
                  </a:lnTo>
                  <a:lnTo>
                    <a:pt x="69" y="353"/>
                  </a:lnTo>
                  <a:close/>
                  <a:moveTo>
                    <a:pt x="29" y="259"/>
                  </a:moveTo>
                  <a:lnTo>
                    <a:pt x="29" y="261"/>
                  </a:lnTo>
                  <a:lnTo>
                    <a:pt x="29" y="259"/>
                  </a:lnTo>
                  <a:close/>
                  <a:moveTo>
                    <a:pt x="69" y="355"/>
                  </a:moveTo>
                  <a:lnTo>
                    <a:pt x="69" y="357"/>
                  </a:lnTo>
                  <a:lnTo>
                    <a:pt x="69" y="355"/>
                  </a:lnTo>
                  <a:close/>
                  <a:moveTo>
                    <a:pt x="27" y="355"/>
                  </a:moveTo>
                  <a:lnTo>
                    <a:pt x="27" y="357"/>
                  </a:lnTo>
                  <a:lnTo>
                    <a:pt x="27" y="355"/>
                  </a:lnTo>
                  <a:close/>
                  <a:moveTo>
                    <a:pt x="67" y="355"/>
                  </a:moveTo>
                  <a:lnTo>
                    <a:pt x="69" y="355"/>
                  </a:lnTo>
                  <a:lnTo>
                    <a:pt x="67" y="355"/>
                  </a:lnTo>
                  <a:close/>
                  <a:moveTo>
                    <a:pt x="31" y="325"/>
                  </a:moveTo>
                  <a:lnTo>
                    <a:pt x="31" y="326"/>
                  </a:lnTo>
                  <a:lnTo>
                    <a:pt x="31" y="325"/>
                  </a:lnTo>
                  <a:close/>
                  <a:moveTo>
                    <a:pt x="41" y="351"/>
                  </a:moveTo>
                  <a:lnTo>
                    <a:pt x="43" y="351"/>
                  </a:lnTo>
                  <a:lnTo>
                    <a:pt x="41" y="351"/>
                  </a:lnTo>
                  <a:close/>
                  <a:moveTo>
                    <a:pt x="19" y="348"/>
                  </a:moveTo>
                  <a:lnTo>
                    <a:pt x="19" y="350"/>
                  </a:lnTo>
                  <a:lnTo>
                    <a:pt x="19" y="348"/>
                  </a:lnTo>
                  <a:close/>
                  <a:moveTo>
                    <a:pt x="35" y="307"/>
                  </a:moveTo>
                  <a:lnTo>
                    <a:pt x="37" y="307"/>
                  </a:lnTo>
                  <a:lnTo>
                    <a:pt x="35" y="307"/>
                  </a:lnTo>
                  <a:close/>
                  <a:moveTo>
                    <a:pt x="54" y="355"/>
                  </a:moveTo>
                  <a:lnTo>
                    <a:pt x="56" y="355"/>
                  </a:lnTo>
                  <a:lnTo>
                    <a:pt x="54" y="355"/>
                  </a:lnTo>
                  <a:close/>
                  <a:moveTo>
                    <a:pt x="25" y="265"/>
                  </a:moveTo>
                  <a:lnTo>
                    <a:pt x="27" y="265"/>
                  </a:lnTo>
                  <a:lnTo>
                    <a:pt x="25" y="265"/>
                  </a:lnTo>
                  <a:close/>
                  <a:moveTo>
                    <a:pt x="46" y="344"/>
                  </a:moveTo>
                  <a:lnTo>
                    <a:pt x="46" y="346"/>
                  </a:lnTo>
                  <a:lnTo>
                    <a:pt x="46" y="344"/>
                  </a:lnTo>
                  <a:close/>
                  <a:moveTo>
                    <a:pt x="29" y="348"/>
                  </a:moveTo>
                  <a:lnTo>
                    <a:pt x="31" y="348"/>
                  </a:lnTo>
                  <a:lnTo>
                    <a:pt x="29" y="348"/>
                  </a:lnTo>
                  <a:close/>
                  <a:moveTo>
                    <a:pt x="27" y="350"/>
                  </a:moveTo>
                  <a:lnTo>
                    <a:pt x="29" y="350"/>
                  </a:lnTo>
                  <a:lnTo>
                    <a:pt x="27" y="350"/>
                  </a:lnTo>
                  <a:close/>
                  <a:moveTo>
                    <a:pt x="43" y="350"/>
                  </a:moveTo>
                  <a:lnTo>
                    <a:pt x="44" y="350"/>
                  </a:lnTo>
                  <a:lnTo>
                    <a:pt x="43" y="350"/>
                  </a:lnTo>
                  <a:close/>
                  <a:moveTo>
                    <a:pt x="89" y="346"/>
                  </a:moveTo>
                  <a:lnTo>
                    <a:pt x="89" y="348"/>
                  </a:lnTo>
                  <a:lnTo>
                    <a:pt x="89" y="346"/>
                  </a:lnTo>
                  <a:close/>
                  <a:moveTo>
                    <a:pt x="25" y="338"/>
                  </a:moveTo>
                  <a:lnTo>
                    <a:pt x="27" y="338"/>
                  </a:lnTo>
                  <a:lnTo>
                    <a:pt x="25" y="338"/>
                  </a:lnTo>
                  <a:close/>
                  <a:moveTo>
                    <a:pt x="29" y="350"/>
                  </a:moveTo>
                  <a:lnTo>
                    <a:pt x="31" y="350"/>
                  </a:lnTo>
                  <a:lnTo>
                    <a:pt x="29" y="350"/>
                  </a:lnTo>
                  <a:close/>
                  <a:moveTo>
                    <a:pt x="10" y="344"/>
                  </a:moveTo>
                  <a:lnTo>
                    <a:pt x="10" y="346"/>
                  </a:lnTo>
                  <a:lnTo>
                    <a:pt x="10" y="344"/>
                  </a:lnTo>
                  <a:close/>
                  <a:moveTo>
                    <a:pt x="98" y="348"/>
                  </a:moveTo>
                  <a:lnTo>
                    <a:pt x="100" y="348"/>
                  </a:lnTo>
                  <a:lnTo>
                    <a:pt x="98" y="348"/>
                  </a:lnTo>
                  <a:close/>
                  <a:moveTo>
                    <a:pt x="31" y="321"/>
                  </a:moveTo>
                  <a:lnTo>
                    <a:pt x="33" y="321"/>
                  </a:lnTo>
                  <a:lnTo>
                    <a:pt x="31" y="321"/>
                  </a:lnTo>
                  <a:close/>
                  <a:moveTo>
                    <a:pt x="23" y="340"/>
                  </a:moveTo>
                  <a:lnTo>
                    <a:pt x="25" y="340"/>
                  </a:lnTo>
                  <a:lnTo>
                    <a:pt x="23" y="340"/>
                  </a:lnTo>
                  <a:close/>
                  <a:moveTo>
                    <a:pt x="25" y="342"/>
                  </a:moveTo>
                  <a:lnTo>
                    <a:pt x="27" y="342"/>
                  </a:lnTo>
                  <a:lnTo>
                    <a:pt x="27" y="344"/>
                  </a:lnTo>
                  <a:lnTo>
                    <a:pt x="25" y="344"/>
                  </a:lnTo>
                  <a:lnTo>
                    <a:pt x="25" y="342"/>
                  </a:lnTo>
                  <a:close/>
                  <a:moveTo>
                    <a:pt x="23" y="348"/>
                  </a:moveTo>
                  <a:lnTo>
                    <a:pt x="23" y="350"/>
                  </a:lnTo>
                  <a:lnTo>
                    <a:pt x="23" y="348"/>
                  </a:lnTo>
                  <a:close/>
                  <a:moveTo>
                    <a:pt x="23" y="344"/>
                  </a:moveTo>
                  <a:lnTo>
                    <a:pt x="25" y="344"/>
                  </a:lnTo>
                  <a:lnTo>
                    <a:pt x="23" y="344"/>
                  </a:lnTo>
                  <a:close/>
                  <a:moveTo>
                    <a:pt x="52" y="230"/>
                  </a:moveTo>
                  <a:lnTo>
                    <a:pt x="54" y="230"/>
                  </a:lnTo>
                  <a:lnTo>
                    <a:pt x="52" y="230"/>
                  </a:lnTo>
                  <a:close/>
                  <a:moveTo>
                    <a:pt x="41" y="351"/>
                  </a:moveTo>
                  <a:lnTo>
                    <a:pt x="43" y="351"/>
                  </a:lnTo>
                  <a:lnTo>
                    <a:pt x="41" y="351"/>
                  </a:lnTo>
                  <a:close/>
                  <a:moveTo>
                    <a:pt x="39" y="338"/>
                  </a:moveTo>
                  <a:lnTo>
                    <a:pt x="39" y="340"/>
                  </a:lnTo>
                  <a:lnTo>
                    <a:pt x="39" y="338"/>
                  </a:lnTo>
                  <a:close/>
                  <a:moveTo>
                    <a:pt x="29" y="255"/>
                  </a:moveTo>
                  <a:lnTo>
                    <a:pt x="29" y="257"/>
                  </a:lnTo>
                  <a:lnTo>
                    <a:pt x="29" y="255"/>
                  </a:lnTo>
                  <a:close/>
                  <a:moveTo>
                    <a:pt x="48" y="355"/>
                  </a:moveTo>
                  <a:lnTo>
                    <a:pt x="48" y="357"/>
                  </a:lnTo>
                  <a:lnTo>
                    <a:pt x="48" y="355"/>
                  </a:lnTo>
                  <a:close/>
                  <a:moveTo>
                    <a:pt x="27" y="328"/>
                  </a:moveTo>
                  <a:lnTo>
                    <a:pt x="29" y="328"/>
                  </a:lnTo>
                  <a:lnTo>
                    <a:pt x="27" y="328"/>
                  </a:lnTo>
                  <a:close/>
                  <a:moveTo>
                    <a:pt x="39" y="252"/>
                  </a:moveTo>
                  <a:lnTo>
                    <a:pt x="39" y="254"/>
                  </a:lnTo>
                  <a:lnTo>
                    <a:pt x="39" y="252"/>
                  </a:lnTo>
                  <a:close/>
                  <a:moveTo>
                    <a:pt x="10" y="353"/>
                  </a:moveTo>
                  <a:lnTo>
                    <a:pt x="10" y="355"/>
                  </a:lnTo>
                  <a:lnTo>
                    <a:pt x="10" y="353"/>
                  </a:lnTo>
                  <a:close/>
                  <a:moveTo>
                    <a:pt x="33" y="344"/>
                  </a:moveTo>
                  <a:lnTo>
                    <a:pt x="35" y="344"/>
                  </a:lnTo>
                  <a:lnTo>
                    <a:pt x="33" y="344"/>
                  </a:lnTo>
                  <a:close/>
                  <a:moveTo>
                    <a:pt x="29" y="342"/>
                  </a:moveTo>
                  <a:lnTo>
                    <a:pt x="31" y="342"/>
                  </a:lnTo>
                  <a:lnTo>
                    <a:pt x="29" y="342"/>
                  </a:lnTo>
                  <a:close/>
                  <a:moveTo>
                    <a:pt x="12" y="342"/>
                  </a:moveTo>
                  <a:lnTo>
                    <a:pt x="12" y="344"/>
                  </a:lnTo>
                  <a:lnTo>
                    <a:pt x="12" y="342"/>
                  </a:lnTo>
                  <a:close/>
                  <a:moveTo>
                    <a:pt x="4" y="344"/>
                  </a:moveTo>
                  <a:lnTo>
                    <a:pt x="4" y="346"/>
                  </a:lnTo>
                  <a:lnTo>
                    <a:pt x="4" y="344"/>
                  </a:lnTo>
                  <a:close/>
                  <a:moveTo>
                    <a:pt x="16" y="353"/>
                  </a:moveTo>
                  <a:lnTo>
                    <a:pt x="18" y="353"/>
                  </a:lnTo>
                  <a:lnTo>
                    <a:pt x="16" y="353"/>
                  </a:lnTo>
                  <a:close/>
                  <a:moveTo>
                    <a:pt x="27" y="334"/>
                  </a:moveTo>
                  <a:lnTo>
                    <a:pt x="29" y="334"/>
                  </a:lnTo>
                  <a:lnTo>
                    <a:pt x="27" y="334"/>
                  </a:lnTo>
                  <a:close/>
                  <a:moveTo>
                    <a:pt x="25" y="344"/>
                  </a:moveTo>
                  <a:lnTo>
                    <a:pt x="27" y="344"/>
                  </a:lnTo>
                  <a:lnTo>
                    <a:pt x="25" y="344"/>
                  </a:lnTo>
                  <a:close/>
                  <a:moveTo>
                    <a:pt x="35" y="353"/>
                  </a:moveTo>
                  <a:lnTo>
                    <a:pt x="37" y="353"/>
                  </a:lnTo>
                  <a:lnTo>
                    <a:pt x="35" y="353"/>
                  </a:lnTo>
                  <a:close/>
                  <a:moveTo>
                    <a:pt x="52" y="359"/>
                  </a:moveTo>
                  <a:lnTo>
                    <a:pt x="54" y="359"/>
                  </a:lnTo>
                  <a:lnTo>
                    <a:pt x="52" y="359"/>
                  </a:lnTo>
                  <a:close/>
                  <a:moveTo>
                    <a:pt x="66" y="355"/>
                  </a:moveTo>
                  <a:lnTo>
                    <a:pt x="66" y="357"/>
                  </a:lnTo>
                  <a:lnTo>
                    <a:pt x="66" y="355"/>
                  </a:lnTo>
                  <a:close/>
                  <a:moveTo>
                    <a:pt x="27" y="344"/>
                  </a:moveTo>
                  <a:lnTo>
                    <a:pt x="29" y="344"/>
                  </a:lnTo>
                  <a:lnTo>
                    <a:pt x="27" y="344"/>
                  </a:lnTo>
                  <a:close/>
                  <a:moveTo>
                    <a:pt x="37" y="348"/>
                  </a:moveTo>
                  <a:lnTo>
                    <a:pt x="39" y="348"/>
                  </a:lnTo>
                  <a:lnTo>
                    <a:pt x="37" y="348"/>
                  </a:lnTo>
                  <a:close/>
                  <a:moveTo>
                    <a:pt x="29" y="342"/>
                  </a:moveTo>
                  <a:lnTo>
                    <a:pt x="31" y="342"/>
                  </a:lnTo>
                  <a:lnTo>
                    <a:pt x="29" y="342"/>
                  </a:lnTo>
                  <a:close/>
                  <a:moveTo>
                    <a:pt x="58" y="232"/>
                  </a:moveTo>
                  <a:lnTo>
                    <a:pt x="60" y="232"/>
                  </a:lnTo>
                  <a:lnTo>
                    <a:pt x="58" y="232"/>
                  </a:lnTo>
                  <a:close/>
                  <a:moveTo>
                    <a:pt x="102" y="342"/>
                  </a:moveTo>
                  <a:lnTo>
                    <a:pt x="104" y="342"/>
                  </a:lnTo>
                  <a:lnTo>
                    <a:pt x="102" y="342"/>
                  </a:lnTo>
                  <a:close/>
                  <a:moveTo>
                    <a:pt x="33" y="342"/>
                  </a:moveTo>
                  <a:lnTo>
                    <a:pt x="33" y="344"/>
                  </a:lnTo>
                  <a:lnTo>
                    <a:pt x="33" y="342"/>
                  </a:lnTo>
                  <a:close/>
                  <a:moveTo>
                    <a:pt x="71" y="353"/>
                  </a:moveTo>
                  <a:lnTo>
                    <a:pt x="73" y="353"/>
                  </a:lnTo>
                  <a:lnTo>
                    <a:pt x="73" y="355"/>
                  </a:lnTo>
                  <a:lnTo>
                    <a:pt x="71" y="355"/>
                  </a:lnTo>
                  <a:lnTo>
                    <a:pt x="71" y="353"/>
                  </a:lnTo>
                  <a:close/>
                  <a:moveTo>
                    <a:pt x="18" y="344"/>
                  </a:moveTo>
                  <a:lnTo>
                    <a:pt x="18" y="346"/>
                  </a:lnTo>
                  <a:lnTo>
                    <a:pt x="18" y="344"/>
                  </a:lnTo>
                  <a:close/>
                  <a:moveTo>
                    <a:pt x="50" y="234"/>
                  </a:moveTo>
                  <a:lnTo>
                    <a:pt x="52" y="234"/>
                  </a:lnTo>
                  <a:lnTo>
                    <a:pt x="50" y="234"/>
                  </a:lnTo>
                  <a:close/>
                  <a:moveTo>
                    <a:pt x="29" y="342"/>
                  </a:moveTo>
                  <a:lnTo>
                    <a:pt x="29" y="344"/>
                  </a:lnTo>
                  <a:lnTo>
                    <a:pt x="29" y="342"/>
                  </a:lnTo>
                  <a:close/>
                  <a:moveTo>
                    <a:pt x="31" y="336"/>
                  </a:moveTo>
                  <a:lnTo>
                    <a:pt x="31" y="338"/>
                  </a:lnTo>
                  <a:lnTo>
                    <a:pt x="31" y="336"/>
                  </a:lnTo>
                  <a:close/>
                  <a:moveTo>
                    <a:pt x="19" y="342"/>
                  </a:moveTo>
                  <a:lnTo>
                    <a:pt x="19" y="344"/>
                  </a:lnTo>
                  <a:lnTo>
                    <a:pt x="19" y="342"/>
                  </a:lnTo>
                  <a:close/>
                  <a:moveTo>
                    <a:pt x="37" y="346"/>
                  </a:moveTo>
                  <a:lnTo>
                    <a:pt x="39" y="346"/>
                  </a:lnTo>
                  <a:lnTo>
                    <a:pt x="37" y="346"/>
                  </a:lnTo>
                  <a:close/>
                  <a:moveTo>
                    <a:pt x="12" y="342"/>
                  </a:moveTo>
                  <a:lnTo>
                    <a:pt x="12" y="344"/>
                  </a:lnTo>
                  <a:lnTo>
                    <a:pt x="12" y="342"/>
                  </a:lnTo>
                  <a:close/>
                  <a:moveTo>
                    <a:pt x="39" y="357"/>
                  </a:moveTo>
                  <a:lnTo>
                    <a:pt x="41" y="357"/>
                  </a:lnTo>
                  <a:lnTo>
                    <a:pt x="39" y="357"/>
                  </a:lnTo>
                  <a:close/>
                  <a:moveTo>
                    <a:pt x="16" y="344"/>
                  </a:moveTo>
                  <a:lnTo>
                    <a:pt x="16" y="346"/>
                  </a:lnTo>
                  <a:lnTo>
                    <a:pt x="16" y="344"/>
                  </a:lnTo>
                  <a:close/>
                  <a:moveTo>
                    <a:pt x="75" y="355"/>
                  </a:moveTo>
                  <a:lnTo>
                    <a:pt x="77" y="355"/>
                  </a:lnTo>
                  <a:lnTo>
                    <a:pt x="75" y="355"/>
                  </a:lnTo>
                  <a:close/>
                  <a:moveTo>
                    <a:pt x="41" y="351"/>
                  </a:moveTo>
                  <a:lnTo>
                    <a:pt x="41" y="353"/>
                  </a:lnTo>
                  <a:lnTo>
                    <a:pt x="41" y="351"/>
                  </a:lnTo>
                  <a:close/>
                  <a:moveTo>
                    <a:pt x="23" y="340"/>
                  </a:moveTo>
                  <a:lnTo>
                    <a:pt x="25" y="340"/>
                  </a:lnTo>
                  <a:lnTo>
                    <a:pt x="23" y="340"/>
                  </a:lnTo>
                  <a:close/>
                  <a:moveTo>
                    <a:pt x="18" y="348"/>
                  </a:moveTo>
                  <a:lnTo>
                    <a:pt x="19" y="348"/>
                  </a:lnTo>
                  <a:lnTo>
                    <a:pt x="18" y="348"/>
                  </a:lnTo>
                  <a:close/>
                  <a:moveTo>
                    <a:pt x="25" y="355"/>
                  </a:moveTo>
                  <a:lnTo>
                    <a:pt x="27" y="355"/>
                  </a:lnTo>
                  <a:lnTo>
                    <a:pt x="25" y="355"/>
                  </a:lnTo>
                  <a:close/>
                  <a:moveTo>
                    <a:pt x="64" y="357"/>
                  </a:moveTo>
                  <a:lnTo>
                    <a:pt x="64" y="359"/>
                  </a:lnTo>
                  <a:lnTo>
                    <a:pt x="64" y="357"/>
                  </a:lnTo>
                  <a:close/>
                  <a:moveTo>
                    <a:pt x="33" y="313"/>
                  </a:moveTo>
                  <a:lnTo>
                    <a:pt x="35" y="313"/>
                  </a:lnTo>
                  <a:lnTo>
                    <a:pt x="33" y="313"/>
                  </a:lnTo>
                  <a:close/>
                  <a:moveTo>
                    <a:pt x="12" y="348"/>
                  </a:moveTo>
                  <a:lnTo>
                    <a:pt x="14" y="348"/>
                  </a:lnTo>
                  <a:lnTo>
                    <a:pt x="14" y="350"/>
                  </a:lnTo>
                  <a:lnTo>
                    <a:pt x="12" y="350"/>
                  </a:lnTo>
                  <a:lnTo>
                    <a:pt x="12" y="348"/>
                  </a:lnTo>
                  <a:close/>
                  <a:moveTo>
                    <a:pt x="37" y="344"/>
                  </a:moveTo>
                  <a:lnTo>
                    <a:pt x="39" y="344"/>
                  </a:lnTo>
                  <a:lnTo>
                    <a:pt x="37" y="344"/>
                  </a:lnTo>
                  <a:close/>
                  <a:moveTo>
                    <a:pt x="31" y="326"/>
                  </a:moveTo>
                  <a:lnTo>
                    <a:pt x="33" y="326"/>
                  </a:lnTo>
                  <a:lnTo>
                    <a:pt x="31" y="326"/>
                  </a:lnTo>
                  <a:close/>
                  <a:moveTo>
                    <a:pt x="87" y="184"/>
                  </a:moveTo>
                  <a:lnTo>
                    <a:pt x="89" y="184"/>
                  </a:lnTo>
                  <a:lnTo>
                    <a:pt x="87" y="184"/>
                  </a:lnTo>
                  <a:close/>
                  <a:moveTo>
                    <a:pt x="115" y="346"/>
                  </a:moveTo>
                  <a:lnTo>
                    <a:pt x="117" y="346"/>
                  </a:lnTo>
                  <a:lnTo>
                    <a:pt x="115" y="346"/>
                  </a:lnTo>
                  <a:close/>
                  <a:moveTo>
                    <a:pt x="44" y="250"/>
                  </a:moveTo>
                  <a:lnTo>
                    <a:pt x="44" y="252"/>
                  </a:lnTo>
                  <a:lnTo>
                    <a:pt x="44" y="250"/>
                  </a:lnTo>
                  <a:close/>
                  <a:moveTo>
                    <a:pt x="39" y="350"/>
                  </a:moveTo>
                  <a:lnTo>
                    <a:pt x="41" y="350"/>
                  </a:lnTo>
                  <a:lnTo>
                    <a:pt x="39" y="350"/>
                  </a:lnTo>
                  <a:close/>
                  <a:moveTo>
                    <a:pt x="44" y="351"/>
                  </a:moveTo>
                  <a:lnTo>
                    <a:pt x="46" y="351"/>
                  </a:lnTo>
                  <a:lnTo>
                    <a:pt x="44" y="351"/>
                  </a:lnTo>
                  <a:close/>
                  <a:moveTo>
                    <a:pt x="48" y="357"/>
                  </a:moveTo>
                  <a:lnTo>
                    <a:pt x="50" y="357"/>
                  </a:lnTo>
                  <a:lnTo>
                    <a:pt x="48" y="357"/>
                  </a:lnTo>
                  <a:close/>
                  <a:moveTo>
                    <a:pt x="2" y="342"/>
                  </a:moveTo>
                  <a:lnTo>
                    <a:pt x="2" y="344"/>
                  </a:lnTo>
                  <a:lnTo>
                    <a:pt x="2" y="342"/>
                  </a:lnTo>
                  <a:close/>
                  <a:moveTo>
                    <a:pt x="48" y="240"/>
                  </a:moveTo>
                  <a:lnTo>
                    <a:pt x="48" y="242"/>
                  </a:lnTo>
                  <a:lnTo>
                    <a:pt x="48" y="240"/>
                  </a:lnTo>
                  <a:close/>
                  <a:moveTo>
                    <a:pt x="64" y="357"/>
                  </a:moveTo>
                  <a:lnTo>
                    <a:pt x="66" y="357"/>
                  </a:lnTo>
                  <a:lnTo>
                    <a:pt x="64" y="357"/>
                  </a:lnTo>
                  <a:close/>
                  <a:moveTo>
                    <a:pt x="115" y="338"/>
                  </a:moveTo>
                  <a:lnTo>
                    <a:pt x="117" y="338"/>
                  </a:lnTo>
                  <a:lnTo>
                    <a:pt x="115" y="338"/>
                  </a:lnTo>
                  <a:close/>
                  <a:moveTo>
                    <a:pt x="29" y="355"/>
                  </a:moveTo>
                  <a:lnTo>
                    <a:pt x="31" y="355"/>
                  </a:lnTo>
                  <a:lnTo>
                    <a:pt x="29" y="355"/>
                  </a:lnTo>
                  <a:close/>
                  <a:moveTo>
                    <a:pt x="33" y="300"/>
                  </a:moveTo>
                  <a:lnTo>
                    <a:pt x="33" y="302"/>
                  </a:lnTo>
                  <a:lnTo>
                    <a:pt x="33" y="300"/>
                  </a:lnTo>
                  <a:close/>
                  <a:moveTo>
                    <a:pt x="31" y="252"/>
                  </a:moveTo>
                  <a:lnTo>
                    <a:pt x="33" y="252"/>
                  </a:lnTo>
                  <a:lnTo>
                    <a:pt x="31" y="252"/>
                  </a:lnTo>
                  <a:close/>
                  <a:moveTo>
                    <a:pt x="19" y="353"/>
                  </a:moveTo>
                  <a:lnTo>
                    <a:pt x="19" y="355"/>
                  </a:lnTo>
                  <a:lnTo>
                    <a:pt x="19" y="353"/>
                  </a:lnTo>
                  <a:close/>
                  <a:moveTo>
                    <a:pt x="33" y="338"/>
                  </a:moveTo>
                  <a:lnTo>
                    <a:pt x="35" y="338"/>
                  </a:lnTo>
                  <a:lnTo>
                    <a:pt x="33" y="338"/>
                  </a:lnTo>
                  <a:close/>
                  <a:moveTo>
                    <a:pt x="33" y="315"/>
                  </a:moveTo>
                  <a:lnTo>
                    <a:pt x="35" y="315"/>
                  </a:lnTo>
                  <a:lnTo>
                    <a:pt x="33" y="315"/>
                  </a:lnTo>
                  <a:close/>
                  <a:moveTo>
                    <a:pt x="31" y="319"/>
                  </a:moveTo>
                  <a:lnTo>
                    <a:pt x="31" y="321"/>
                  </a:lnTo>
                  <a:lnTo>
                    <a:pt x="31" y="319"/>
                  </a:lnTo>
                  <a:close/>
                  <a:moveTo>
                    <a:pt x="35" y="351"/>
                  </a:moveTo>
                  <a:lnTo>
                    <a:pt x="35" y="353"/>
                  </a:lnTo>
                  <a:lnTo>
                    <a:pt x="35" y="351"/>
                  </a:lnTo>
                  <a:close/>
                  <a:moveTo>
                    <a:pt x="25" y="265"/>
                  </a:moveTo>
                  <a:lnTo>
                    <a:pt x="27" y="265"/>
                  </a:lnTo>
                  <a:lnTo>
                    <a:pt x="25" y="265"/>
                  </a:lnTo>
                  <a:close/>
                  <a:moveTo>
                    <a:pt x="29" y="250"/>
                  </a:moveTo>
                  <a:lnTo>
                    <a:pt x="31" y="250"/>
                  </a:lnTo>
                  <a:lnTo>
                    <a:pt x="29" y="250"/>
                  </a:lnTo>
                  <a:close/>
                  <a:moveTo>
                    <a:pt x="79" y="351"/>
                  </a:moveTo>
                  <a:lnTo>
                    <a:pt x="81" y="351"/>
                  </a:lnTo>
                  <a:lnTo>
                    <a:pt x="79" y="351"/>
                  </a:lnTo>
                  <a:close/>
                  <a:moveTo>
                    <a:pt x="39" y="340"/>
                  </a:moveTo>
                  <a:lnTo>
                    <a:pt x="41" y="340"/>
                  </a:lnTo>
                  <a:lnTo>
                    <a:pt x="39" y="340"/>
                  </a:lnTo>
                  <a:close/>
                  <a:moveTo>
                    <a:pt x="27" y="346"/>
                  </a:moveTo>
                  <a:lnTo>
                    <a:pt x="29" y="346"/>
                  </a:lnTo>
                  <a:lnTo>
                    <a:pt x="27" y="346"/>
                  </a:lnTo>
                  <a:close/>
                  <a:moveTo>
                    <a:pt x="98" y="348"/>
                  </a:moveTo>
                  <a:lnTo>
                    <a:pt x="100" y="348"/>
                  </a:lnTo>
                  <a:lnTo>
                    <a:pt x="98" y="348"/>
                  </a:lnTo>
                  <a:close/>
                  <a:moveTo>
                    <a:pt x="33" y="259"/>
                  </a:moveTo>
                  <a:lnTo>
                    <a:pt x="35" y="259"/>
                  </a:lnTo>
                  <a:lnTo>
                    <a:pt x="33" y="259"/>
                  </a:lnTo>
                  <a:close/>
                  <a:moveTo>
                    <a:pt x="25" y="340"/>
                  </a:moveTo>
                  <a:lnTo>
                    <a:pt x="25" y="342"/>
                  </a:lnTo>
                  <a:lnTo>
                    <a:pt x="25" y="340"/>
                  </a:lnTo>
                  <a:close/>
                  <a:moveTo>
                    <a:pt x="43" y="359"/>
                  </a:moveTo>
                  <a:lnTo>
                    <a:pt x="44" y="359"/>
                  </a:lnTo>
                  <a:lnTo>
                    <a:pt x="43" y="359"/>
                  </a:lnTo>
                  <a:close/>
                  <a:moveTo>
                    <a:pt x="75" y="167"/>
                  </a:moveTo>
                  <a:lnTo>
                    <a:pt x="75" y="169"/>
                  </a:lnTo>
                  <a:lnTo>
                    <a:pt x="75" y="167"/>
                  </a:lnTo>
                  <a:close/>
                  <a:moveTo>
                    <a:pt x="117" y="340"/>
                  </a:moveTo>
                  <a:lnTo>
                    <a:pt x="119" y="340"/>
                  </a:lnTo>
                  <a:lnTo>
                    <a:pt x="117" y="340"/>
                  </a:lnTo>
                  <a:close/>
                  <a:moveTo>
                    <a:pt x="31" y="302"/>
                  </a:moveTo>
                  <a:lnTo>
                    <a:pt x="31" y="303"/>
                  </a:lnTo>
                  <a:lnTo>
                    <a:pt x="31" y="302"/>
                  </a:lnTo>
                  <a:close/>
                  <a:moveTo>
                    <a:pt x="37" y="348"/>
                  </a:moveTo>
                  <a:lnTo>
                    <a:pt x="39" y="348"/>
                  </a:lnTo>
                  <a:lnTo>
                    <a:pt x="37" y="348"/>
                  </a:lnTo>
                  <a:close/>
                  <a:moveTo>
                    <a:pt x="69" y="353"/>
                  </a:moveTo>
                  <a:lnTo>
                    <a:pt x="71" y="353"/>
                  </a:lnTo>
                  <a:lnTo>
                    <a:pt x="69" y="353"/>
                  </a:lnTo>
                  <a:close/>
                  <a:moveTo>
                    <a:pt x="75" y="167"/>
                  </a:moveTo>
                  <a:lnTo>
                    <a:pt x="75" y="169"/>
                  </a:lnTo>
                  <a:lnTo>
                    <a:pt x="75" y="167"/>
                  </a:lnTo>
                  <a:close/>
                  <a:moveTo>
                    <a:pt x="31" y="355"/>
                  </a:moveTo>
                  <a:lnTo>
                    <a:pt x="31" y="357"/>
                  </a:lnTo>
                  <a:lnTo>
                    <a:pt x="31" y="355"/>
                  </a:lnTo>
                  <a:close/>
                  <a:moveTo>
                    <a:pt x="27" y="336"/>
                  </a:moveTo>
                  <a:lnTo>
                    <a:pt x="27" y="338"/>
                  </a:lnTo>
                  <a:lnTo>
                    <a:pt x="27" y="336"/>
                  </a:lnTo>
                  <a:close/>
                  <a:moveTo>
                    <a:pt x="19" y="355"/>
                  </a:moveTo>
                  <a:lnTo>
                    <a:pt x="21" y="355"/>
                  </a:lnTo>
                  <a:lnTo>
                    <a:pt x="19" y="355"/>
                  </a:lnTo>
                  <a:close/>
                  <a:moveTo>
                    <a:pt x="69" y="353"/>
                  </a:moveTo>
                  <a:lnTo>
                    <a:pt x="71" y="353"/>
                  </a:lnTo>
                  <a:lnTo>
                    <a:pt x="69" y="353"/>
                  </a:lnTo>
                  <a:close/>
                  <a:moveTo>
                    <a:pt x="18" y="355"/>
                  </a:moveTo>
                  <a:lnTo>
                    <a:pt x="19" y="355"/>
                  </a:lnTo>
                  <a:lnTo>
                    <a:pt x="18" y="355"/>
                  </a:lnTo>
                  <a:close/>
                  <a:moveTo>
                    <a:pt x="39" y="355"/>
                  </a:moveTo>
                  <a:lnTo>
                    <a:pt x="39" y="357"/>
                  </a:lnTo>
                  <a:lnTo>
                    <a:pt x="39" y="355"/>
                  </a:lnTo>
                  <a:close/>
                  <a:moveTo>
                    <a:pt x="33" y="348"/>
                  </a:moveTo>
                  <a:lnTo>
                    <a:pt x="33" y="350"/>
                  </a:lnTo>
                  <a:lnTo>
                    <a:pt x="33" y="348"/>
                  </a:lnTo>
                  <a:close/>
                  <a:moveTo>
                    <a:pt x="33" y="359"/>
                  </a:moveTo>
                  <a:lnTo>
                    <a:pt x="33" y="361"/>
                  </a:lnTo>
                  <a:lnTo>
                    <a:pt x="33" y="359"/>
                  </a:lnTo>
                  <a:close/>
                  <a:moveTo>
                    <a:pt x="98" y="346"/>
                  </a:moveTo>
                  <a:lnTo>
                    <a:pt x="100" y="346"/>
                  </a:lnTo>
                  <a:lnTo>
                    <a:pt x="98" y="346"/>
                  </a:lnTo>
                  <a:close/>
                  <a:moveTo>
                    <a:pt x="16" y="340"/>
                  </a:moveTo>
                  <a:lnTo>
                    <a:pt x="16" y="342"/>
                  </a:lnTo>
                  <a:lnTo>
                    <a:pt x="16" y="340"/>
                  </a:lnTo>
                  <a:close/>
                  <a:moveTo>
                    <a:pt x="23" y="351"/>
                  </a:moveTo>
                  <a:lnTo>
                    <a:pt x="23" y="353"/>
                  </a:lnTo>
                  <a:lnTo>
                    <a:pt x="23" y="351"/>
                  </a:lnTo>
                  <a:close/>
                  <a:moveTo>
                    <a:pt x="35" y="357"/>
                  </a:moveTo>
                  <a:lnTo>
                    <a:pt x="37" y="357"/>
                  </a:lnTo>
                  <a:lnTo>
                    <a:pt x="35" y="357"/>
                  </a:lnTo>
                  <a:close/>
                  <a:moveTo>
                    <a:pt x="27" y="326"/>
                  </a:moveTo>
                  <a:lnTo>
                    <a:pt x="29" y="326"/>
                  </a:lnTo>
                  <a:lnTo>
                    <a:pt x="27" y="326"/>
                  </a:lnTo>
                  <a:close/>
                  <a:moveTo>
                    <a:pt x="43" y="357"/>
                  </a:moveTo>
                  <a:lnTo>
                    <a:pt x="44" y="357"/>
                  </a:lnTo>
                  <a:lnTo>
                    <a:pt x="43" y="357"/>
                  </a:lnTo>
                  <a:close/>
                  <a:moveTo>
                    <a:pt x="31" y="342"/>
                  </a:moveTo>
                  <a:lnTo>
                    <a:pt x="33" y="342"/>
                  </a:lnTo>
                  <a:lnTo>
                    <a:pt x="31" y="342"/>
                  </a:lnTo>
                  <a:close/>
                  <a:moveTo>
                    <a:pt x="33" y="300"/>
                  </a:moveTo>
                  <a:lnTo>
                    <a:pt x="33" y="302"/>
                  </a:lnTo>
                  <a:lnTo>
                    <a:pt x="33" y="300"/>
                  </a:lnTo>
                  <a:close/>
                  <a:moveTo>
                    <a:pt x="114" y="346"/>
                  </a:moveTo>
                  <a:lnTo>
                    <a:pt x="115" y="346"/>
                  </a:lnTo>
                  <a:lnTo>
                    <a:pt x="114" y="346"/>
                  </a:lnTo>
                  <a:close/>
                  <a:moveTo>
                    <a:pt x="18" y="344"/>
                  </a:moveTo>
                  <a:lnTo>
                    <a:pt x="18" y="346"/>
                  </a:lnTo>
                  <a:lnTo>
                    <a:pt x="18" y="344"/>
                  </a:lnTo>
                  <a:close/>
                  <a:moveTo>
                    <a:pt x="100" y="344"/>
                  </a:moveTo>
                  <a:lnTo>
                    <a:pt x="100" y="346"/>
                  </a:lnTo>
                  <a:lnTo>
                    <a:pt x="100" y="344"/>
                  </a:lnTo>
                  <a:close/>
                  <a:moveTo>
                    <a:pt x="29" y="255"/>
                  </a:moveTo>
                  <a:lnTo>
                    <a:pt x="29" y="257"/>
                  </a:lnTo>
                  <a:lnTo>
                    <a:pt x="29" y="255"/>
                  </a:lnTo>
                  <a:close/>
                  <a:moveTo>
                    <a:pt x="94" y="344"/>
                  </a:moveTo>
                  <a:lnTo>
                    <a:pt x="94" y="346"/>
                  </a:lnTo>
                  <a:lnTo>
                    <a:pt x="94" y="344"/>
                  </a:lnTo>
                  <a:close/>
                  <a:moveTo>
                    <a:pt x="77" y="353"/>
                  </a:moveTo>
                  <a:lnTo>
                    <a:pt x="77" y="355"/>
                  </a:lnTo>
                  <a:lnTo>
                    <a:pt x="77" y="353"/>
                  </a:lnTo>
                  <a:close/>
                  <a:moveTo>
                    <a:pt x="62" y="227"/>
                  </a:moveTo>
                  <a:lnTo>
                    <a:pt x="64" y="227"/>
                  </a:lnTo>
                  <a:lnTo>
                    <a:pt x="62" y="227"/>
                  </a:lnTo>
                  <a:close/>
                  <a:moveTo>
                    <a:pt x="29" y="346"/>
                  </a:moveTo>
                  <a:lnTo>
                    <a:pt x="31" y="346"/>
                  </a:lnTo>
                  <a:lnTo>
                    <a:pt x="29" y="346"/>
                  </a:lnTo>
                  <a:close/>
                  <a:moveTo>
                    <a:pt x="33" y="303"/>
                  </a:moveTo>
                  <a:lnTo>
                    <a:pt x="33" y="305"/>
                  </a:lnTo>
                  <a:lnTo>
                    <a:pt x="33" y="303"/>
                  </a:lnTo>
                  <a:close/>
                  <a:moveTo>
                    <a:pt x="60" y="357"/>
                  </a:moveTo>
                  <a:lnTo>
                    <a:pt x="62" y="357"/>
                  </a:lnTo>
                  <a:lnTo>
                    <a:pt x="62" y="359"/>
                  </a:lnTo>
                  <a:lnTo>
                    <a:pt x="60" y="359"/>
                  </a:lnTo>
                  <a:lnTo>
                    <a:pt x="60" y="357"/>
                  </a:lnTo>
                  <a:close/>
                  <a:moveTo>
                    <a:pt x="31" y="298"/>
                  </a:moveTo>
                  <a:lnTo>
                    <a:pt x="31" y="300"/>
                  </a:lnTo>
                  <a:lnTo>
                    <a:pt x="31" y="298"/>
                  </a:lnTo>
                  <a:close/>
                  <a:moveTo>
                    <a:pt x="21" y="348"/>
                  </a:moveTo>
                  <a:lnTo>
                    <a:pt x="21" y="350"/>
                  </a:lnTo>
                  <a:lnTo>
                    <a:pt x="21" y="348"/>
                  </a:lnTo>
                  <a:close/>
                  <a:moveTo>
                    <a:pt x="35" y="353"/>
                  </a:moveTo>
                  <a:lnTo>
                    <a:pt x="35" y="355"/>
                  </a:lnTo>
                  <a:lnTo>
                    <a:pt x="35" y="353"/>
                  </a:lnTo>
                  <a:close/>
                  <a:moveTo>
                    <a:pt x="75" y="171"/>
                  </a:moveTo>
                  <a:lnTo>
                    <a:pt x="77" y="171"/>
                  </a:lnTo>
                  <a:lnTo>
                    <a:pt x="75" y="171"/>
                  </a:lnTo>
                  <a:close/>
                  <a:moveTo>
                    <a:pt x="98" y="340"/>
                  </a:moveTo>
                  <a:lnTo>
                    <a:pt x="100" y="340"/>
                  </a:lnTo>
                  <a:lnTo>
                    <a:pt x="98" y="340"/>
                  </a:lnTo>
                  <a:close/>
                  <a:moveTo>
                    <a:pt x="33" y="257"/>
                  </a:moveTo>
                  <a:lnTo>
                    <a:pt x="33" y="259"/>
                  </a:lnTo>
                  <a:lnTo>
                    <a:pt x="33" y="257"/>
                  </a:lnTo>
                  <a:close/>
                  <a:moveTo>
                    <a:pt x="31" y="350"/>
                  </a:moveTo>
                  <a:lnTo>
                    <a:pt x="33" y="350"/>
                  </a:lnTo>
                  <a:lnTo>
                    <a:pt x="31" y="350"/>
                  </a:lnTo>
                  <a:close/>
                  <a:moveTo>
                    <a:pt x="73" y="353"/>
                  </a:moveTo>
                  <a:lnTo>
                    <a:pt x="75" y="353"/>
                  </a:lnTo>
                  <a:lnTo>
                    <a:pt x="73" y="353"/>
                  </a:lnTo>
                  <a:close/>
                  <a:moveTo>
                    <a:pt x="25" y="353"/>
                  </a:moveTo>
                  <a:lnTo>
                    <a:pt x="27" y="353"/>
                  </a:lnTo>
                  <a:lnTo>
                    <a:pt x="27" y="355"/>
                  </a:lnTo>
                  <a:lnTo>
                    <a:pt x="25" y="355"/>
                  </a:lnTo>
                  <a:lnTo>
                    <a:pt x="25" y="353"/>
                  </a:lnTo>
                  <a:close/>
                  <a:moveTo>
                    <a:pt x="91" y="194"/>
                  </a:moveTo>
                  <a:lnTo>
                    <a:pt x="92" y="194"/>
                  </a:lnTo>
                  <a:lnTo>
                    <a:pt x="91" y="194"/>
                  </a:lnTo>
                  <a:close/>
                  <a:moveTo>
                    <a:pt x="98" y="344"/>
                  </a:moveTo>
                  <a:lnTo>
                    <a:pt x="98" y="346"/>
                  </a:lnTo>
                  <a:lnTo>
                    <a:pt x="98" y="344"/>
                  </a:lnTo>
                  <a:close/>
                  <a:moveTo>
                    <a:pt x="33" y="348"/>
                  </a:moveTo>
                  <a:lnTo>
                    <a:pt x="35" y="348"/>
                  </a:lnTo>
                  <a:lnTo>
                    <a:pt x="33" y="348"/>
                  </a:lnTo>
                  <a:close/>
                  <a:moveTo>
                    <a:pt x="52" y="346"/>
                  </a:moveTo>
                  <a:lnTo>
                    <a:pt x="52" y="348"/>
                  </a:lnTo>
                  <a:lnTo>
                    <a:pt x="52" y="346"/>
                  </a:lnTo>
                  <a:close/>
                  <a:moveTo>
                    <a:pt x="102" y="344"/>
                  </a:moveTo>
                  <a:lnTo>
                    <a:pt x="104" y="344"/>
                  </a:lnTo>
                  <a:lnTo>
                    <a:pt x="102" y="344"/>
                  </a:lnTo>
                  <a:close/>
                  <a:moveTo>
                    <a:pt x="16" y="351"/>
                  </a:moveTo>
                  <a:lnTo>
                    <a:pt x="16" y="353"/>
                  </a:lnTo>
                  <a:lnTo>
                    <a:pt x="16" y="351"/>
                  </a:lnTo>
                  <a:close/>
                  <a:moveTo>
                    <a:pt x="14" y="353"/>
                  </a:moveTo>
                  <a:lnTo>
                    <a:pt x="14" y="355"/>
                  </a:lnTo>
                  <a:lnTo>
                    <a:pt x="14" y="353"/>
                  </a:lnTo>
                  <a:close/>
                  <a:moveTo>
                    <a:pt x="31" y="336"/>
                  </a:moveTo>
                  <a:lnTo>
                    <a:pt x="33" y="336"/>
                  </a:lnTo>
                  <a:lnTo>
                    <a:pt x="31" y="336"/>
                  </a:lnTo>
                  <a:close/>
                  <a:moveTo>
                    <a:pt x="52" y="238"/>
                  </a:moveTo>
                  <a:lnTo>
                    <a:pt x="54" y="238"/>
                  </a:lnTo>
                  <a:lnTo>
                    <a:pt x="52" y="238"/>
                  </a:lnTo>
                  <a:close/>
                  <a:moveTo>
                    <a:pt x="29" y="344"/>
                  </a:moveTo>
                  <a:lnTo>
                    <a:pt x="31" y="344"/>
                  </a:lnTo>
                  <a:lnTo>
                    <a:pt x="29" y="344"/>
                  </a:lnTo>
                  <a:close/>
                  <a:moveTo>
                    <a:pt x="66" y="357"/>
                  </a:moveTo>
                  <a:lnTo>
                    <a:pt x="67" y="357"/>
                  </a:lnTo>
                  <a:lnTo>
                    <a:pt x="66" y="357"/>
                  </a:lnTo>
                  <a:close/>
                  <a:moveTo>
                    <a:pt x="31" y="263"/>
                  </a:moveTo>
                  <a:lnTo>
                    <a:pt x="31" y="265"/>
                  </a:lnTo>
                  <a:lnTo>
                    <a:pt x="31" y="263"/>
                  </a:lnTo>
                  <a:close/>
                  <a:moveTo>
                    <a:pt x="64" y="351"/>
                  </a:moveTo>
                  <a:lnTo>
                    <a:pt x="64" y="353"/>
                  </a:lnTo>
                  <a:lnTo>
                    <a:pt x="64" y="351"/>
                  </a:lnTo>
                  <a:close/>
                  <a:moveTo>
                    <a:pt x="25" y="342"/>
                  </a:moveTo>
                  <a:lnTo>
                    <a:pt x="25" y="344"/>
                  </a:lnTo>
                  <a:lnTo>
                    <a:pt x="25" y="342"/>
                  </a:lnTo>
                  <a:close/>
                  <a:moveTo>
                    <a:pt x="27" y="359"/>
                  </a:moveTo>
                  <a:lnTo>
                    <a:pt x="29" y="359"/>
                  </a:lnTo>
                  <a:lnTo>
                    <a:pt x="27" y="359"/>
                  </a:lnTo>
                  <a:close/>
                  <a:moveTo>
                    <a:pt x="27" y="355"/>
                  </a:moveTo>
                  <a:lnTo>
                    <a:pt x="29" y="355"/>
                  </a:lnTo>
                  <a:lnTo>
                    <a:pt x="27" y="355"/>
                  </a:lnTo>
                  <a:close/>
                  <a:moveTo>
                    <a:pt x="21" y="351"/>
                  </a:moveTo>
                  <a:lnTo>
                    <a:pt x="21" y="353"/>
                  </a:lnTo>
                  <a:lnTo>
                    <a:pt x="21" y="351"/>
                  </a:lnTo>
                  <a:close/>
                  <a:moveTo>
                    <a:pt x="44" y="359"/>
                  </a:moveTo>
                  <a:lnTo>
                    <a:pt x="44" y="361"/>
                  </a:lnTo>
                  <a:lnTo>
                    <a:pt x="44" y="359"/>
                  </a:lnTo>
                  <a:close/>
                  <a:moveTo>
                    <a:pt x="25" y="336"/>
                  </a:moveTo>
                  <a:lnTo>
                    <a:pt x="25" y="338"/>
                  </a:lnTo>
                  <a:lnTo>
                    <a:pt x="25" y="336"/>
                  </a:lnTo>
                  <a:close/>
                  <a:moveTo>
                    <a:pt x="31" y="263"/>
                  </a:moveTo>
                  <a:lnTo>
                    <a:pt x="31" y="265"/>
                  </a:lnTo>
                  <a:lnTo>
                    <a:pt x="31" y="263"/>
                  </a:lnTo>
                  <a:close/>
                  <a:moveTo>
                    <a:pt x="39" y="353"/>
                  </a:moveTo>
                  <a:lnTo>
                    <a:pt x="41" y="353"/>
                  </a:lnTo>
                  <a:lnTo>
                    <a:pt x="39" y="353"/>
                  </a:lnTo>
                  <a:close/>
                  <a:moveTo>
                    <a:pt x="23" y="353"/>
                  </a:moveTo>
                  <a:lnTo>
                    <a:pt x="23" y="355"/>
                  </a:lnTo>
                  <a:lnTo>
                    <a:pt x="23" y="353"/>
                  </a:lnTo>
                  <a:close/>
                  <a:moveTo>
                    <a:pt x="79" y="350"/>
                  </a:moveTo>
                  <a:lnTo>
                    <a:pt x="79" y="351"/>
                  </a:lnTo>
                  <a:lnTo>
                    <a:pt x="79" y="350"/>
                  </a:lnTo>
                  <a:close/>
                  <a:moveTo>
                    <a:pt x="43" y="246"/>
                  </a:moveTo>
                  <a:lnTo>
                    <a:pt x="44" y="246"/>
                  </a:lnTo>
                  <a:lnTo>
                    <a:pt x="43" y="246"/>
                  </a:lnTo>
                  <a:close/>
                  <a:moveTo>
                    <a:pt x="39" y="357"/>
                  </a:moveTo>
                  <a:lnTo>
                    <a:pt x="41" y="357"/>
                  </a:lnTo>
                  <a:lnTo>
                    <a:pt x="39" y="357"/>
                  </a:lnTo>
                  <a:close/>
                  <a:moveTo>
                    <a:pt x="35" y="348"/>
                  </a:moveTo>
                  <a:lnTo>
                    <a:pt x="37" y="348"/>
                  </a:lnTo>
                  <a:lnTo>
                    <a:pt x="35" y="348"/>
                  </a:lnTo>
                  <a:close/>
                  <a:moveTo>
                    <a:pt x="12" y="346"/>
                  </a:moveTo>
                  <a:lnTo>
                    <a:pt x="12" y="348"/>
                  </a:lnTo>
                  <a:lnTo>
                    <a:pt x="12" y="346"/>
                  </a:lnTo>
                  <a:close/>
                  <a:moveTo>
                    <a:pt x="31" y="342"/>
                  </a:moveTo>
                  <a:lnTo>
                    <a:pt x="33" y="342"/>
                  </a:lnTo>
                  <a:lnTo>
                    <a:pt x="31" y="342"/>
                  </a:lnTo>
                  <a:close/>
                  <a:moveTo>
                    <a:pt x="12" y="355"/>
                  </a:moveTo>
                  <a:lnTo>
                    <a:pt x="14" y="355"/>
                  </a:lnTo>
                  <a:lnTo>
                    <a:pt x="12" y="355"/>
                  </a:lnTo>
                  <a:close/>
                  <a:moveTo>
                    <a:pt x="8" y="351"/>
                  </a:moveTo>
                  <a:lnTo>
                    <a:pt x="10" y="351"/>
                  </a:lnTo>
                  <a:lnTo>
                    <a:pt x="8" y="351"/>
                  </a:lnTo>
                  <a:close/>
                  <a:moveTo>
                    <a:pt x="58" y="351"/>
                  </a:moveTo>
                  <a:lnTo>
                    <a:pt x="58" y="353"/>
                  </a:lnTo>
                  <a:lnTo>
                    <a:pt x="58" y="351"/>
                  </a:lnTo>
                  <a:close/>
                  <a:moveTo>
                    <a:pt x="62" y="357"/>
                  </a:moveTo>
                  <a:lnTo>
                    <a:pt x="64" y="357"/>
                  </a:lnTo>
                  <a:lnTo>
                    <a:pt x="64" y="359"/>
                  </a:lnTo>
                  <a:lnTo>
                    <a:pt x="62" y="359"/>
                  </a:lnTo>
                  <a:lnTo>
                    <a:pt x="62" y="357"/>
                  </a:lnTo>
                  <a:close/>
                  <a:moveTo>
                    <a:pt x="31" y="311"/>
                  </a:moveTo>
                  <a:lnTo>
                    <a:pt x="31" y="313"/>
                  </a:lnTo>
                  <a:lnTo>
                    <a:pt x="31" y="311"/>
                  </a:lnTo>
                  <a:close/>
                  <a:moveTo>
                    <a:pt x="33" y="342"/>
                  </a:moveTo>
                  <a:lnTo>
                    <a:pt x="35" y="342"/>
                  </a:lnTo>
                  <a:lnTo>
                    <a:pt x="33" y="342"/>
                  </a:lnTo>
                  <a:close/>
                  <a:moveTo>
                    <a:pt x="64" y="351"/>
                  </a:moveTo>
                  <a:lnTo>
                    <a:pt x="64" y="353"/>
                  </a:lnTo>
                  <a:lnTo>
                    <a:pt x="64" y="351"/>
                  </a:lnTo>
                  <a:close/>
                  <a:moveTo>
                    <a:pt x="123" y="342"/>
                  </a:moveTo>
                  <a:lnTo>
                    <a:pt x="125" y="342"/>
                  </a:lnTo>
                  <a:lnTo>
                    <a:pt x="123" y="342"/>
                  </a:lnTo>
                  <a:close/>
                  <a:moveTo>
                    <a:pt x="29" y="278"/>
                  </a:moveTo>
                  <a:lnTo>
                    <a:pt x="29" y="280"/>
                  </a:lnTo>
                  <a:lnTo>
                    <a:pt x="29" y="278"/>
                  </a:lnTo>
                  <a:close/>
                  <a:moveTo>
                    <a:pt x="31" y="350"/>
                  </a:moveTo>
                  <a:lnTo>
                    <a:pt x="33" y="350"/>
                  </a:lnTo>
                  <a:lnTo>
                    <a:pt x="31" y="350"/>
                  </a:lnTo>
                  <a:close/>
                  <a:moveTo>
                    <a:pt x="27" y="359"/>
                  </a:moveTo>
                  <a:lnTo>
                    <a:pt x="29" y="359"/>
                  </a:lnTo>
                  <a:lnTo>
                    <a:pt x="27" y="359"/>
                  </a:lnTo>
                  <a:close/>
                  <a:moveTo>
                    <a:pt x="35" y="250"/>
                  </a:moveTo>
                  <a:lnTo>
                    <a:pt x="35" y="252"/>
                  </a:lnTo>
                  <a:lnTo>
                    <a:pt x="35" y="250"/>
                  </a:lnTo>
                  <a:close/>
                  <a:moveTo>
                    <a:pt x="18" y="340"/>
                  </a:moveTo>
                  <a:lnTo>
                    <a:pt x="18" y="342"/>
                  </a:lnTo>
                  <a:lnTo>
                    <a:pt x="18" y="340"/>
                  </a:lnTo>
                  <a:close/>
                  <a:moveTo>
                    <a:pt x="91" y="350"/>
                  </a:moveTo>
                  <a:lnTo>
                    <a:pt x="91" y="351"/>
                  </a:lnTo>
                  <a:lnTo>
                    <a:pt x="91" y="350"/>
                  </a:lnTo>
                  <a:close/>
                  <a:moveTo>
                    <a:pt x="33" y="254"/>
                  </a:moveTo>
                  <a:lnTo>
                    <a:pt x="33" y="255"/>
                  </a:lnTo>
                  <a:lnTo>
                    <a:pt x="33" y="254"/>
                  </a:lnTo>
                  <a:close/>
                  <a:moveTo>
                    <a:pt x="37" y="350"/>
                  </a:moveTo>
                  <a:lnTo>
                    <a:pt x="37" y="351"/>
                  </a:lnTo>
                  <a:lnTo>
                    <a:pt x="37" y="350"/>
                  </a:lnTo>
                  <a:close/>
                  <a:moveTo>
                    <a:pt x="18" y="344"/>
                  </a:moveTo>
                  <a:lnTo>
                    <a:pt x="19" y="344"/>
                  </a:lnTo>
                  <a:lnTo>
                    <a:pt x="18" y="344"/>
                  </a:lnTo>
                  <a:close/>
                  <a:moveTo>
                    <a:pt x="27" y="275"/>
                  </a:moveTo>
                  <a:lnTo>
                    <a:pt x="29" y="275"/>
                  </a:lnTo>
                  <a:lnTo>
                    <a:pt x="27" y="275"/>
                  </a:lnTo>
                  <a:close/>
                  <a:moveTo>
                    <a:pt x="0" y="348"/>
                  </a:moveTo>
                  <a:lnTo>
                    <a:pt x="2" y="348"/>
                  </a:lnTo>
                  <a:lnTo>
                    <a:pt x="0" y="348"/>
                  </a:lnTo>
                  <a:close/>
                  <a:moveTo>
                    <a:pt x="33" y="350"/>
                  </a:moveTo>
                  <a:lnTo>
                    <a:pt x="33" y="351"/>
                  </a:lnTo>
                  <a:lnTo>
                    <a:pt x="33" y="350"/>
                  </a:lnTo>
                  <a:close/>
                  <a:moveTo>
                    <a:pt x="25" y="353"/>
                  </a:moveTo>
                  <a:lnTo>
                    <a:pt x="25" y="355"/>
                  </a:lnTo>
                  <a:lnTo>
                    <a:pt x="25" y="353"/>
                  </a:lnTo>
                  <a:close/>
                  <a:moveTo>
                    <a:pt x="37" y="351"/>
                  </a:moveTo>
                  <a:lnTo>
                    <a:pt x="39" y="351"/>
                  </a:lnTo>
                  <a:lnTo>
                    <a:pt x="37" y="351"/>
                  </a:lnTo>
                  <a:close/>
                  <a:moveTo>
                    <a:pt x="16" y="344"/>
                  </a:moveTo>
                  <a:lnTo>
                    <a:pt x="16" y="346"/>
                  </a:lnTo>
                  <a:lnTo>
                    <a:pt x="16" y="344"/>
                  </a:lnTo>
                  <a:close/>
                  <a:moveTo>
                    <a:pt x="18" y="353"/>
                  </a:moveTo>
                  <a:lnTo>
                    <a:pt x="19" y="353"/>
                  </a:lnTo>
                  <a:lnTo>
                    <a:pt x="18" y="353"/>
                  </a:lnTo>
                  <a:close/>
                  <a:moveTo>
                    <a:pt x="21" y="254"/>
                  </a:moveTo>
                  <a:lnTo>
                    <a:pt x="21" y="255"/>
                  </a:lnTo>
                  <a:lnTo>
                    <a:pt x="21" y="254"/>
                  </a:lnTo>
                  <a:close/>
                  <a:moveTo>
                    <a:pt x="33" y="257"/>
                  </a:moveTo>
                  <a:lnTo>
                    <a:pt x="33" y="259"/>
                  </a:lnTo>
                  <a:lnTo>
                    <a:pt x="33" y="257"/>
                  </a:lnTo>
                  <a:close/>
                  <a:moveTo>
                    <a:pt x="52" y="238"/>
                  </a:moveTo>
                  <a:lnTo>
                    <a:pt x="52" y="240"/>
                  </a:lnTo>
                  <a:lnTo>
                    <a:pt x="52" y="238"/>
                  </a:lnTo>
                  <a:close/>
                  <a:moveTo>
                    <a:pt x="41" y="357"/>
                  </a:moveTo>
                  <a:lnTo>
                    <a:pt x="41" y="359"/>
                  </a:lnTo>
                  <a:lnTo>
                    <a:pt x="41" y="357"/>
                  </a:lnTo>
                  <a:close/>
                  <a:moveTo>
                    <a:pt x="18" y="342"/>
                  </a:moveTo>
                  <a:lnTo>
                    <a:pt x="19" y="342"/>
                  </a:lnTo>
                  <a:lnTo>
                    <a:pt x="18" y="342"/>
                  </a:lnTo>
                  <a:close/>
                  <a:moveTo>
                    <a:pt x="21" y="353"/>
                  </a:moveTo>
                  <a:lnTo>
                    <a:pt x="23" y="353"/>
                  </a:lnTo>
                  <a:lnTo>
                    <a:pt x="21" y="353"/>
                  </a:lnTo>
                  <a:close/>
                  <a:moveTo>
                    <a:pt x="25" y="340"/>
                  </a:moveTo>
                  <a:lnTo>
                    <a:pt x="27" y="340"/>
                  </a:lnTo>
                  <a:lnTo>
                    <a:pt x="25" y="340"/>
                  </a:lnTo>
                  <a:close/>
                  <a:moveTo>
                    <a:pt x="33" y="252"/>
                  </a:moveTo>
                  <a:lnTo>
                    <a:pt x="35" y="252"/>
                  </a:lnTo>
                  <a:lnTo>
                    <a:pt x="35" y="254"/>
                  </a:lnTo>
                  <a:lnTo>
                    <a:pt x="33" y="254"/>
                  </a:lnTo>
                  <a:lnTo>
                    <a:pt x="33" y="252"/>
                  </a:lnTo>
                  <a:close/>
                  <a:moveTo>
                    <a:pt x="27" y="255"/>
                  </a:moveTo>
                  <a:lnTo>
                    <a:pt x="29" y="255"/>
                  </a:lnTo>
                  <a:lnTo>
                    <a:pt x="27" y="255"/>
                  </a:lnTo>
                  <a:close/>
                  <a:moveTo>
                    <a:pt x="27" y="275"/>
                  </a:moveTo>
                  <a:lnTo>
                    <a:pt x="29" y="275"/>
                  </a:lnTo>
                  <a:lnTo>
                    <a:pt x="27" y="275"/>
                  </a:lnTo>
                  <a:close/>
                  <a:moveTo>
                    <a:pt x="14" y="340"/>
                  </a:moveTo>
                  <a:lnTo>
                    <a:pt x="14" y="342"/>
                  </a:lnTo>
                  <a:lnTo>
                    <a:pt x="14" y="340"/>
                  </a:lnTo>
                  <a:close/>
                  <a:moveTo>
                    <a:pt x="43" y="252"/>
                  </a:moveTo>
                  <a:lnTo>
                    <a:pt x="44" y="252"/>
                  </a:lnTo>
                  <a:lnTo>
                    <a:pt x="43" y="252"/>
                  </a:lnTo>
                  <a:close/>
                  <a:moveTo>
                    <a:pt x="52" y="238"/>
                  </a:moveTo>
                  <a:lnTo>
                    <a:pt x="54" y="238"/>
                  </a:lnTo>
                  <a:lnTo>
                    <a:pt x="52" y="238"/>
                  </a:lnTo>
                  <a:close/>
                  <a:moveTo>
                    <a:pt x="67" y="355"/>
                  </a:moveTo>
                  <a:lnTo>
                    <a:pt x="67" y="357"/>
                  </a:lnTo>
                  <a:lnTo>
                    <a:pt x="67" y="355"/>
                  </a:lnTo>
                  <a:close/>
                  <a:moveTo>
                    <a:pt x="39" y="248"/>
                  </a:moveTo>
                  <a:lnTo>
                    <a:pt x="39" y="250"/>
                  </a:lnTo>
                  <a:lnTo>
                    <a:pt x="39" y="248"/>
                  </a:lnTo>
                  <a:close/>
                  <a:moveTo>
                    <a:pt x="94" y="344"/>
                  </a:moveTo>
                  <a:lnTo>
                    <a:pt x="94" y="346"/>
                  </a:lnTo>
                  <a:lnTo>
                    <a:pt x="94" y="344"/>
                  </a:lnTo>
                  <a:close/>
                  <a:moveTo>
                    <a:pt x="35" y="346"/>
                  </a:moveTo>
                  <a:lnTo>
                    <a:pt x="37" y="346"/>
                  </a:lnTo>
                  <a:lnTo>
                    <a:pt x="35" y="346"/>
                  </a:lnTo>
                  <a:close/>
                  <a:moveTo>
                    <a:pt x="77" y="353"/>
                  </a:moveTo>
                  <a:lnTo>
                    <a:pt x="79" y="353"/>
                  </a:lnTo>
                  <a:lnTo>
                    <a:pt x="77" y="353"/>
                  </a:lnTo>
                  <a:close/>
                  <a:moveTo>
                    <a:pt x="16" y="340"/>
                  </a:moveTo>
                  <a:lnTo>
                    <a:pt x="16" y="342"/>
                  </a:lnTo>
                  <a:lnTo>
                    <a:pt x="16" y="340"/>
                  </a:lnTo>
                  <a:close/>
                  <a:moveTo>
                    <a:pt x="25" y="338"/>
                  </a:moveTo>
                  <a:lnTo>
                    <a:pt x="27" y="338"/>
                  </a:lnTo>
                  <a:lnTo>
                    <a:pt x="25" y="338"/>
                  </a:lnTo>
                  <a:close/>
                  <a:moveTo>
                    <a:pt x="50" y="355"/>
                  </a:moveTo>
                  <a:lnTo>
                    <a:pt x="50" y="357"/>
                  </a:lnTo>
                  <a:lnTo>
                    <a:pt x="50" y="355"/>
                  </a:lnTo>
                  <a:close/>
                  <a:moveTo>
                    <a:pt x="23" y="357"/>
                  </a:moveTo>
                  <a:lnTo>
                    <a:pt x="25" y="357"/>
                  </a:lnTo>
                  <a:lnTo>
                    <a:pt x="23" y="357"/>
                  </a:lnTo>
                  <a:close/>
                  <a:moveTo>
                    <a:pt x="121" y="340"/>
                  </a:moveTo>
                  <a:lnTo>
                    <a:pt x="123" y="340"/>
                  </a:lnTo>
                  <a:lnTo>
                    <a:pt x="121" y="340"/>
                  </a:lnTo>
                  <a:close/>
                  <a:moveTo>
                    <a:pt x="19" y="353"/>
                  </a:moveTo>
                  <a:lnTo>
                    <a:pt x="19" y="355"/>
                  </a:lnTo>
                  <a:lnTo>
                    <a:pt x="19" y="353"/>
                  </a:lnTo>
                  <a:close/>
                  <a:moveTo>
                    <a:pt x="6" y="344"/>
                  </a:moveTo>
                  <a:lnTo>
                    <a:pt x="6" y="346"/>
                  </a:lnTo>
                  <a:lnTo>
                    <a:pt x="6" y="344"/>
                  </a:lnTo>
                  <a:close/>
                  <a:moveTo>
                    <a:pt x="27" y="355"/>
                  </a:moveTo>
                  <a:lnTo>
                    <a:pt x="29" y="355"/>
                  </a:lnTo>
                  <a:lnTo>
                    <a:pt x="27" y="355"/>
                  </a:lnTo>
                  <a:close/>
                  <a:moveTo>
                    <a:pt x="29" y="338"/>
                  </a:moveTo>
                  <a:lnTo>
                    <a:pt x="31" y="338"/>
                  </a:lnTo>
                  <a:lnTo>
                    <a:pt x="29" y="338"/>
                  </a:lnTo>
                  <a:close/>
                  <a:moveTo>
                    <a:pt x="29" y="350"/>
                  </a:moveTo>
                  <a:lnTo>
                    <a:pt x="31" y="350"/>
                  </a:lnTo>
                  <a:lnTo>
                    <a:pt x="29" y="350"/>
                  </a:lnTo>
                  <a:close/>
                  <a:moveTo>
                    <a:pt x="104" y="342"/>
                  </a:moveTo>
                  <a:lnTo>
                    <a:pt x="104" y="344"/>
                  </a:lnTo>
                  <a:lnTo>
                    <a:pt x="104" y="342"/>
                  </a:lnTo>
                  <a:close/>
                  <a:moveTo>
                    <a:pt x="98" y="340"/>
                  </a:moveTo>
                  <a:lnTo>
                    <a:pt x="100" y="340"/>
                  </a:lnTo>
                  <a:lnTo>
                    <a:pt x="98" y="340"/>
                  </a:lnTo>
                  <a:close/>
                  <a:moveTo>
                    <a:pt x="16" y="344"/>
                  </a:moveTo>
                  <a:lnTo>
                    <a:pt x="18" y="344"/>
                  </a:lnTo>
                  <a:lnTo>
                    <a:pt x="18" y="346"/>
                  </a:lnTo>
                  <a:lnTo>
                    <a:pt x="16" y="346"/>
                  </a:lnTo>
                  <a:lnTo>
                    <a:pt x="16" y="344"/>
                  </a:lnTo>
                  <a:close/>
                  <a:moveTo>
                    <a:pt x="14" y="353"/>
                  </a:moveTo>
                  <a:lnTo>
                    <a:pt x="14" y="355"/>
                  </a:lnTo>
                  <a:lnTo>
                    <a:pt x="14" y="353"/>
                  </a:lnTo>
                  <a:close/>
                  <a:moveTo>
                    <a:pt x="12" y="342"/>
                  </a:moveTo>
                  <a:lnTo>
                    <a:pt x="12" y="344"/>
                  </a:lnTo>
                  <a:lnTo>
                    <a:pt x="12" y="342"/>
                  </a:lnTo>
                  <a:close/>
                  <a:moveTo>
                    <a:pt x="48" y="353"/>
                  </a:moveTo>
                  <a:lnTo>
                    <a:pt x="48" y="355"/>
                  </a:lnTo>
                  <a:lnTo>
                    <a:pt x="48" y="353"/>
                  </a:lnTo>
                  <a:close/>
                  <a:moveTo>
                    <a:pt x="41" y="357"/>
                  </a:moveTo>
                  <a:lnTo>
                    <a:pt x="41" y="359"/>
                  </a:lnTo>
                  <a:lnTo>
                    <a:pt x="41" y="357"/>
                  </a:lnTo>
                  <a:close/>
                  <a:moveTo>
                    <a:pt x="27" y="344"/>
                  </a:moveTo>
                  <a:lnTo>
                    <a:pt x="27" y="346"/>
                  </a:lnTo>
                  <a:lnTo>
                    <a:pt x="27" y="344"/>
                  </a:lnTo>
                  <a:close/>
                  <a:moveTo>
                    <a:pt x="37" y="348"/>
                  </a:moveTo>
                  <a:lnTo>
                    <a:pt x="37" y="350"/>
                  </a:lnTo>
                  <a:lnTo>
                    <a:pt x="37" y="348"/>
                  </a:lnTo>
                  <a:close/>
                  <a:moveTo>
                    <a:pt x="62" y="357"/>
                  </a:moveTo>
                  <a:lnTo>
                    <a:pt x="62" y="359"/>
                  </a:lnTo>
                  <a:lnTo>
                    <a:pt x="62" y="357"/>
                  </a:lnTo>
                  <a:close/>
                  <a:moveTo>
                    <a:pt x="27" y="252"/>
                  </a:moveTo>
                  <a:lnTo>
                    <a:pt x="27" y="254"/>
                  </a:lnTo>
                  <a:lnTo>
                    <a:pt x="27" y="252"/>
                  </a:lnTo>
                  <a:close/>
                  <a:moveTo>
                    <a:pt x="23" y="348"/>
                  </a:moveTo>
                  <a:lnTo>
                    <a:pt x="25" y="348"/>
                  </a:lnTo>
                  <a:lnTo>
                    <a:pt x="23" y="348"/>
                  </a:lnTo>
                  <a:close/>
                  <a:moveTo>
                    <a:pt x="6" y="350"/>
                  </a:moveTo>
                  <a:lnTo>
                    <a:pt x="6" y="351"/>
                  </a:lnTo>
                  <a:lnTo>
                    <a:pt x="6" y="350"/>
                  </a:lnTo>
                  <a:close/>
                  <a:moveTo>
                    <a:pt x="67" y="355"/>
                  </a:moveTo>
                  <a:lnTo>
                    <a:pt x="69" y="355"/>
                  </a:lnTo>
                  <a:lnTo>
                    <a:pt x="67" y="355"/>
                  </a:lnTo>
                  <a:close/>
                  <a:moveTo>
                    <a:pt x="43" y="357"/>
                  </a:moveTo>
                  <a:lnTo>
                    <a:pt x="44" y="357"/>
                  </a:lnTo>
                  <a:lnTo>
                    <a:pt x="43" y="357"/>
                  </a:lnTo>
                  <a:close/>
                  <a:moveTo>
                    <a:pt x="23" y="338"/>
                  </a:moveTo>
                  <a:lnTo>
                    <a:pt x="23" y="340"/>
                  </a:lnTo>
                  <a:lnTo>
                    <a:pt x="23" y="338"/>
                  </a:lnTo>
                  <a:close/>
                  <a:moveTo>
                    <a:pt x="46" y="355"/>
                  </a:moveTo>
                  <a:lnTo>
                    <a:pt x="46" y="357"/>
                  </a:lnTo>
                  <a:lnTo>
                    <a:pt x="46" y="355"/>
                  </a:lnTo>
                  <a:close/>
                  <a:moveTo>
                    <a:pt x="23" y="353"/>
                  </a:moveTo>
                  <a:lnTo>
                    <a:pt x="25" y="353"/>
                  </a:lnTo>
                  <a:lnTo>
                    <a:pt x="23" y="353"/>
                  </a:lnTo>
                  <a:close/>
                  <a:moveTo>
                    <a:pt x="48" y="357"/>
                  </a:moveTo>
                  <a:lnTo>
                    <a:pt x="48" y="359"/>
                  </a:lnTo>
                  <a:lnTo>
                    <a:pt x="48" y="357"/>
                  </a:lnTo>
                  <a:close/>
                  <a:moveTo>
                    <a:pt x="29" y="265"/>
                  </a:moveTo>
                  <a:lnTo>
                    <a:pt x="31" y="265"/>
                  </a:lnTo>
                  <a:lnTo>
                    <a:pt x="29" y="265"/>
                  </a:lnTo>
                  <a:close/>
                  <a:moveTo>
                    <a:pt x="35" y="355"/>
                  </a:moveTo>
                  <a:lnTo>
                    <a:pt x="37" y="355"/>
                  </a:lnTo>
                  <a:lnTo>
                    <a:pt x="35" y="355"/>
                  </a:lnTo>
                  <a:close/>
                  <a:moveTo>
                    <a:pt x="33" y="334"/>
                  </a:moveTo>
                  <a:lnTo>
                    <a:pt x="33" y="336"/>
                  </a:lnTo>
                  <a:lnTo>
                    <a:pt x="33" y="334"/>
                  </a:lnTo>
                  <a:close/>
                  <a:moveTo>
                    <a:pt x="39" y="355"/>
                  </a:moveTo>
                  <a:lnTo>
                    <a:pt x="39" y="357"/>
                  </a:lnTo>
                  <a:lnTo>
                    <a:pt x="39" y="355"/>
                  </a:lnTo>
                  <a:close/>
                  <a:moveTo>
                    <a:pt x="31" y="359"/>
                  </a:moveTo>
                  <a:lnTo>
                    <a:pt x="31" y="361"/>
                  </a:lnTo>
                  <a:lnTo>
                    <a:pt x="31" y="359"/>
                  </a:lnTo>
                  <a:close/>
                  <a:moveTo>
                    <a:pt x="8" y="340"/>
                  </a:moveTo>
                  <a:lnTo>
                    <a:pt x="8" y="342"/>
                  </a:lnTo>
                  <a:lnTo>
                    <a:pt x="8" y="340"/>
                  </a:lnTo>
                  <a:close/>
                  <a:moveTo>
                    <a:pt x="33" y="255"/>
                  </a:moveTo>
                  <a:lnTo>
                    <a:pt x="33" y="257"/>
                  </a:lnTo>
                  <a:lnTo>
                    <a:pt x="33" y="255"/>
                  </a:lnTo>
                  <a:close/>
                  <a:moveTo>
                    <a:pt x="79" y="173"/>
                  </a:moveTo>
                  <a:lnTo>
                    <a:pt x="81" y="173"/>
                  </a:lnTo>
                  <a:lnTo>
                    <a:pt x="79" y="173"/>
                  </a:lnTo>
                  <a:close/>
                  <a:moveTo>
                    <a:pt x="25" y="344"/>
                  </a:moveTo>
                  <a:lnTo>
                    <a:pt x="25" y="346"/>
                  </a:lnTo>
                  <a:lnTo>
                    <a:pt x="25" y="344"/>
                  </a:lnTo>
                  <a:close/>
                  <a:moveTo>
                    <a:pt x="27" y="348"/>
                  </a:moveTo>
                  <a:lnTo>
                    <a:pt x="27" y="350"/>
                  </a:lnTo>
                  <a:lnTo>
                    <a:pt x="27" y="348"/>
                  </a:lnTo>
                  <a:close/>
                  <a:moveTo>
                    <a:pt x="31" y="303"/>
                  </a:moveTo>
                  <a:lnTo>
                    <a:pt x="33" y="303"/>
                  </a:lnTo>
                  <a:lnTo>
                    <a:pt x="31" y="303"/>
                  </a:lnTo>
                  <a:close/>
                  <a:moveTo>
                    <a:pt x="37" y="357"/>
                  </a:moveTo>
                  <a:lnTo>
                    <a:pt x="39" y="357"/>
                  </a:lnTo>
                  <a:lnTo>
                    <a:pt x="37" y="357"/>
                  </a:lnTo>
                  <a:close/>
                  <a:moveTo>
                    <a:pt x="33" y="313"/>
                  </a:moveTo>
                  <a:lnTo>
                    <a:pt x="33" y="315"/>
                  </a:lnTo>
                  <a:lnTo>
                    <a:pt x="33" y="313"/>
                  </a:lnTo>
                  <a:close/>
                  <a:moveTo>
                    <a:pt x="39" y="346"/>
                  </a:moveTo>
                  <a:lnTo>
                    <a:pt x="41" y="346"/>
                  </a:lnTo>
                  <a:lnTo>
                    <a:pt x="39" y="346"/>
                  </a:lnTo>
                  <a:close/>
                  <a:moveTo>
                    <a:pt x="31" y="319"/>
                  </a:moveTo>
                  <a:lnTo>
                    <a:pt x="33" y="319"/>
                  </a:lnTo>
                  <a:lnTo>
                    <a:pt x="31" y="319"/>
                  </a:lnTo>
                  <a:close/>
                  <a:moveTo>
                    <a:pt x="41" y="359"/>
                  </a:moveTo>
                  <a:lnTo>
                    <a:pt x="43" y="359"/>
                  </a:lnTo>
                  <a:lnTo>
                    <a:pt x="41" y="359"/>
                  </a:lnTo>
                  <a:close/>
                  <a:moveTo>
                    <a:pt x="83" y="171"/>
                  </a:moveTo>
                  <a:lnTo>
                    <a:pt x="83" y="173"/>
                  </a:lnTo>
                  <a:lnTo>
                    <a:pt x="83" y="171"/>
                  </a:lnTo>
                  <a:close/>
                  <a:moveTo>
                    <a:pt x="27" y="275"/>
                  </a:moveTo>
                  <a:lnTo>
                    <a:pt x="29" y="275"/>
                  </a:lnTo>
                  <a:lnTo>
                    <a:pt x="27" y="275"/>
                  </a:lnTo>
                  <a:close/>
                  <a:moveTo>
                    <a:pt x="66" y="355"/>
                  </a:moveTo>
                  <a:lnTo>
                    <a:pt x="67" y="355"/>
                  </a:lnTo>
                  <a:lnTo>
                    <a:pt x="66" y="355"/>
                  </a:lnTo>
                  <a:close/>
                  <a:moveTo>
                    <a:pt x="31" y="353"/>
                  </a:moveTo>
                  <a:lnTo>
                    <a:pt x="31" y="355"/>
                  </a:lnTo>
                  <a:lnTo>
                    <a:pt x="31" y="353"/>
                  </a:lnTo>
                  <a:close/>
                  <a:moveTo>
                    <a:pt x="87" y="348"/>
                  </a:moveTo>
                  <a:lnTo>
                    <a:pt x="87" y="350"/>
                  </a:lnTo>
                  <a:lnTo>
                    <a:pt x="87" y="348"/>
                  </a:lnTo>
                  <a:close/>
                  <a:moveTo>
                    <a:pt x="29" y="250"/>
                  </a:moveTo>
                  <a:lnTo>
                    <a:pt x="31" y="250"/>
                  </a:lnTo>
                  <a:lnTo>
                    <a:pt x="29" y="250"/>
                  </a:lnTo>
                  <a:close/>
                  <a:moveTo>
                    <a:pt x="25" y="357"/>
                  </a:moveTo>
                  <a:lnTo>
                    <a:pt x="27" y="357"/>
                  </a:lnTo>
                  <a:lnTo>
                    <a:pt x="25" y="357"/>
                  </a:lnTo>
                  <a:close/>
                  <a:moveTo>
                    <a:pt x="46" y="242"/>
                  </a:moveTo>
                  <a:lnTo>
                    <a:pt x="46" y="244"/>
                  </a:lnTo>
                  <a:lnTo>
                    <a:pt x="46" y="242"/>
                  </a:lnTo>
                  <a:close/>
                  <a:moveTo>
                    <a:pt x="43" y="246"/>
                  </a:moveTo>
                  <a:lnTo>
                    <a:pt x="43" y="248"/>
                  </a:lnTo>
                  <a:lnTo>
                    <a:pt x="43" y="246"/>
                  </a:lnTo>
                  <a:close/>
                  <a:moveTo>
                    <a:pt x="23" y="342"/>
                  </a:moveTo>
                  <a:lnTo>
                    <a:pt x="23" y="344"/>
                  </a:lnTo>
                  <a:lnTo>
                    <a:pt x="23" y="342"/>
                  </a:lnTo>
                  <a:close/>
                  <a:moveTo>
                    <a:pt x="29" y="325"/>
                  </a:moveTo>
                  <a:lnTo>
                    <a:pt x="31" y="325"/>
                  </a:lnTo>
                  <a:lnTo>
                    <a:pt x="29" y="325"/>
                  </a:lnTo>
                  <a:close/>
                  <a:moveTo>
                    <a:pt x="33" y="254"/>
                  </a:moveTo>
                  <a:lnTo>
                    <a:pt x="35" y="254"/>
                  </a:lnTo>
                  <a:lnTo>
                    <a:pt x="33" y="254"/>
                  </a:lnTo>
                  <a:close/>
                  <a:moveTo>
                    <a:pt x="48" y="344"/>
                  </a:moveTo>
                  <a:lnTo>
                    <a:pt x="48" y="346"/>
                  </a:lnTo>
                  <a:lnTo>
                    <a:pt x="48" y="344"/>
                  </a:lnTo>
                  <a:close/>
                  <a:moveTo>
                    <a:pt x="29" y="328"/>
                  </a:moveTo>
                  <a:lnTo>
                    <a:pt x="31" y="328"/>
                  </a:lnTo>
                  <a:lnTo>
                    <a:pt x="29" y="328"/>
                  </a:lnTo>
                  <a:close/>
                  <a:moveTo>
                    <a:pt x="41" y="350"/>
                  </a:moveTo>
                  <a:lnTo>
                    <a:pt x="41" y="351"/>
                  </a:lnTo>
                  <a:lnTo>
                    <a:pt x="41" y="350"/>
                  </a:lnTo>
                  <a:close/>
                  <a:moveTo>
                    <a:pt x="100" y="346"/>
                  </a:moveTo>
                  <a:lnTo>
                    <a:pt x="100" y="348"/>
                  </a:lnTo>
                  <a:lnTo>
                    <a:pt x="100" y="346"/>
                  </a:lnTo>
                  <a:close/>
                  <a:moveTo>
                    <a:pt x="75" y="205"/>
                  </a:moveTo>
                  <a:lnTo>
                    <a:pt x="75" y="207"/>
                  </a:lnTo>
                  <a:lnTo>
                    <a:pt x="75" y="205"/>
                  </a:lnTo>
                  <a:close/>
                  <a:moveTo>
                    <a:pt x="35" y="250"/>
                  </a:moveTo>
                  <a:lnTo>
                    <a:pt x="35" y="252"/>
                  </a:lnTo>
                  <a:lnTo>
                    <a:pt x="35" y="250"/>
                  </a:lnTo>
                  <a:close/>
                  <a:moveTo>
                    <a:pt x="27" y="348"/>
                  </a:moveTo>
                  <a:lnTo>
                    <a:pt x="27" y="350"/>
                  </a:lnTo>
                  <a:lnTo>
                    <a:pt x="27" y="348"/>
                  </a:lnTo>
                  <a:close/>
                  <a:moveTo>
                    <a:pt x="14" y="351"/>
                  </a:moveTo>
                  <a:lnTo>
                    <a:pt x="16" y="351"/>
                  </a:lnTo>
                  <a:lnTo>
                    <a:pt x="16" y="353"/>
                  </a:lnTo>
                  <a:lnTo>
                    <a:pt x="14" y="353"/>
                  </a:lnTo>
                  <a:lnTo>
                    <a:pt x="14" y="351"/>
                  </a:lnTo>
                  <a:close/>
                  <a:moveTo>
                    <a:pt x="12" y="355"/>
                  </a:moveTo>
                  <a:lnTo>
                    <a:pt x="12" y="357"/>
                  </a:lnTo>
                  <a:lnTo>
                    <a:pt x="12" y="355"/>
                  </a:lnTo>
                  <a:close/>
                  <a:moveTo>
                    <a:pt x="31" y="298"/>
                  </a:moveTo>
                  <a:lnTo>
                    <a:pt x="31" y="300"/>
                  </a:lnTo>
                  <a:lnTo>
                    <a:pt x="31" y="298"/>
                  </a:lnTo>
                  <a:close/>
                  <a:moveTo>
                    <a:pt x="18" y="344"/>
                  </a:moveTo>
                  <a:lnTo>
                    <a:pt x="18" y="346"/>
                  </a:lnTo>
                  <a:lnTo>
                    <a:pt x="18" y="344"/>
                  </a:lnTo>
                  <a:close/>
                  <a:moveTo>
                    <a:pt x="46" y="346"/>
                  </a:moveTo>
                  <a:lnTo>
                    <a:pt x="48" y="346"/>
                  </a:lnTo>
                  <a:lnTo>
                    <a:pt x="46" y="346"/>
                  </a:lnTo>
                  <a:close/>
                  <a:moveTo>
                    <a:pt x="123" y="342"/>
                  </a:moveTo>
                  <a:lnTo>
                    <a:pt x="125" y="342"/>
                  </a:lnTo>
                  <a:lnTo>
                    <a:pt x="123" y="342"/>
                  </a:lnTo>
                  <a:close/>
                  <a:moveTo>
                    <a:pt x="41" y="351"/>
                  </a:moveTo>
                  <a:lnTo>
                    <a:pt x="43" y="351"/>
                  </a:lnTo>
                  <a:lnTo>
                    <a:pt x="41" y="351"/>
                  </a:lnTo>
                  <a:close/>
                  <a:moveTo>
                    <a:pt x="6" y="344"/>
                  </a:moveTo>
                  <a:lnTo>
                    <a:pt x="8" y="344"/>
                  </a:lnTo>
                  <a:lnTo>
                    <a:pt x="6" y="344"/>
                  </a:lnTo>
                  <a:close/>
                  <a:moveTo>
                    <a:pt x="25" y="348"/>
                  </a:moveTo>
                  <a:lnTo>
                    <a:pt x="25" y="350"/>
                  </a:lnTo>
                  <a:lnTo>
                    <a:pt x="25" y="348"/>
                  </a:lnTo>
                  <a:close/>
                  <a:moveTo>
                    <a:pt x="48" y="355"/>
                  </a:moveTo>
                  <a:lnTo>
                    <a:pt x="48" y="357"/>
                  </a:lnTo>
                  <a:lnTo>
                    <a:pt x="48" y="355"/>
                  </a:lnTo>
                  <a:close/>
                  <a:moveTo>
                    <a:pt x="19" y="355"/>
                  </a:moveTo>
                  <a:lnTo>
                    <a:pt x="21" y="355"/>
                  </a:lnTo>
                  <a:lnTo>
                    <a:pt x="19" y="355"/>
                  </a:lnTo>
                  <a:close/>
                  <a:moveTo>
                    <a:pt x="50" y="232"/>
                  </a:moveTo>
                  <a:lnTo>
                    <a:pt x="52" y="232"/>
                  </a:lnTo>
                  <a:lnTo>
                    <a:pt x="50" y="232"/>
                  </a:lnTo>
                  <a:close/>
                  <a:moveTo>
                    <a:pt x="114" y="346"/>
                  </a:moveTo>
                  <a:lnTo>
                    <a:pt x="115" y="346"/>
                  </a:lnTo>
                  <a:lnTo>
                    <a:pt x="114" y="346"/>
                  </a:lnTo>
                  <a:close/>
                  <a:moveTo>
                    <a:pt x="94" y="348"/>
                  </a:moveTo>
                  <a:lnTo>
                    <a:pt x="96" y="348"/>
                  </a:lnTo>
                  <a:lnTo>
                    <a:pt x="94" y="348"/>
                  </a:lnTo>
                  <a:close/>
                  <a:moveTo>
                    <a:pt x="56" y="355"/>
                  </a:moveTo>
                  <a:lnTo>
                    <a:pt x="56" y="357"/>
                  </a:lnTo>
                  <a:lnTo>
                    <a:pt x="56" y="355"/>
                  </a:lnTo>
                  <a:close/>
                  <a:moveTo>
                    <a:pt x="114" y="348"/>
                  </a:moveTo>
                  <a:lnTo>
                    <a:pt x="115" y="348"/>
                  </a:lnTo>
                  <a:lnTo>
                    <a:pt x="114" y="348"/>
                  </a:lnTo>
                  <a:close/>
                  <a:moveTo>
                    <a:pt x="37" y="340"/>
                  </a:moveTo>
                  <a:lnTo>
                    <a:pt x="37" y="342"/>
                  </a:lnTo>
                  <a:lnTo>
                    <a:pt x="37" y="340"/>
                  </a:lnTo>
                  <a:close/>
                  <a:moveTo>
                    <a:pt x="31" y="313"/>
                  </a:moveTo>
                  <a:lnTo>
                    <a:pt x="33" y="313"/>
                  </a:lnTo>
                  <a:lnTo>
                    <a:pt x="31" y="313"/>
                  </a:lnTo>
                  <a:close/>
                  <a:moveTo>
                    <a:pt x="29" y="334"/>
                  </a:moveTo>
                  <a:lnTo>
                    <a:pt x="29" y="336"/>
                  </a:lnTo>
                  <a:lnTo>
                    <a:pt x="29" y="334"/>
                  </a:lnTo>
                  <a:close/>
                  <a:moveTo>
                    <a:pt x="110" y="342"/>
                  </a:moveTo>
                  <a:lnTo>
                    <a:pt x="110" y="344"/>
                  </a:lnTo>
                  <a:lnTo>
                    <a:pt x="110" y="342"/>
                  </a:lnTo>
                  <a:close/>
                  <a:moveTo>
                    <a:pt x="48" y="353"/>
                  </a:moveTo>
                  <a:lnTo>
                    <a:pt x="48" y="355"/>
                  </a:lnTo>
                  <a:lnTo>
                    <a:pt x="48" y="353"/>
                  </a:lnTo>
                  <a:close/>
                  <a:moveTo>
                    <a:pt x="31" y="286"/>
                  </a:moveTo>
                  <a:lnTo>
                    <a:pt x="31" y="288"/>
                  </a:lnTo>
                  <a:lnTo>
                    <a:pt x="31" y="286"/>
                  </a:lnTo>
                  <a:close/>
                  <a:moveTo>
                    <a:pt x="77" y="353"/>
                  </a:moveTo>
                  <a:lnTo>
                    <a:pt x="77" y="355"/>
                  </a:lnTo>
                  <a:lnTo>
                    <a:pt x="77" y="353"/>
                  </a:lnTo>
                  <a:close/>
                  <a:moveTo>
                    <a:pt x="27" y="248"/>
                  </a:moveTo>
                  <a:lnTo>
                    <a:pt x="29" y="248"/>
                  </a:lnTo>
                  <a:lnTo>
                    <a:pt x="27" y="248"/>
                  </a:lnTo>
                  <a:close/>
                  <a:moveTo>
                    <a:pt x="89" y="346"/>
                  </a:moveTo>
                  <a:lnTo>
                    <a:pt x="91" y="346"/>
                  </a:lnTo>
                  <a:lnTo>
                    <a:pt x="89" y="346"/>
                  </a:lnTo>
                  <a:close/>
                  <a:moveTo>
                    <a:pt x="44" y="359"/>
                  </a:moveTo>
                  <a:lnTo>
                    <a:pt x="46" y="359"/>
                  </a:lnTo>
                  <a:lnTo>
                    <a:pt x="44" y="359"/>
                  </a:lnTo>
                  <a:close/>
                  <a:moveTo>
                    <a:pt x="37" y="344"/>
                  </a:moveTo>
                  <a:lnTo>
                    <a:pt x="37" y="346"/>
                  </a:lnTo>
                  <a:lnTo>
                    <a:pt x="37" y="344"/>
                  </a:lnTo>
                  <a:close/>
                  <a:moveTo>
                    <a:pt x="91" y="350"/>
                  </a:moveTo>
                  <a:lnTo>
                    <a:pt x="91" y="351"/>
                  </a:lnTo>
                  <a:lnTo>
                    <a:pt x="91" y="350"/>
                  </a:lnTo>
                  <a:close/>
                  <a:moveTo>
                    <a:pt x="18" y="355"/>
                  </a:moveTo>
                  <a:lnTo>
                    <a:pt x="18" y="357"/>
                  </a:lnTo>
                  <a:lnTo>
                    <a:pt x="18" y="355"/>
                  </a:lnTo>
                  <a:close/>
                  <a:moveTo>
                    <a:pt x="33" y="351"/>
                  </a:moveTo>
                  <a:lnTo>
                    <a:pt x="35" y="351"/>
                  </a:lnTo>
                  <a:lnTo>
                    <a:pt x="33" y="351"/>
                  </a:lnTo>
                  <a:close/>
                  <a:moveTo>
                    <a:pt x="31" y="342"/>
                  </a:moveTo>
                  <a:lnTo>
                    <a:pt x="33" y="342"/>
                  </a:lnTo>
                  <a:lnTo>
                    <a:pt x="31" y="342"/>
                  </a:lnTo>
                  <a:close/>
                  <a:moveTo>
                    <a:pt x="19" y="340"/>
                  </a:moveTo>
                  <a:lnTo>
                    <a:pt x="21" y="340"/>
                  </a:lnTo>
                  <a:lnTo>
                    <a:pt x="19" y="340"/>
                  </a:lnTo>
                  <a:close/>
                  <a:moveTo>
                    <a:pt x="50" y="238"/>
                  </a:moveTo>
                  <a:lnTo>
                    <a:pt x="50" y="240"/>
                  </a:lnTo>
                  <a:lnTo>
                    <a:pt x="50" y="238"/>
                  </a:lnTo>
                  <a:close/>
                  <a:moveTo>
                    <a:pt x="23" y="351"/>
                  </a:moveTo>
                  <a:lnTo>
                    <a:pt x="23" y="353"/>
                  </a:lnTo>
                  <a:lnTo>
                    <a:pt x="23" y="351"/>
                  </a:lnTo>
                  <a:close/>
                  <a:moveTo>
                    <a:pt x="29" y="350"/>
                  </a:moveTo>
                  <a:lnTo>
                    <a:pt x="31" y="350"/>
                  </a:lnTo>
                  <a:lnTo>
                    <a:pt x="29" y="350"/>
                  </a:lnTo>
                  <a:close/>
                  <a:moveTo>
                    <a:pt x="69" y="355"/>
                  </a:moveTo>
                  <a:lnTo>
                    <a:pt x="69" y="357"/>
                  </a:lnTo>
                  <a:lnTo>
                    <a:pt x="69" y="355"/>
                  </a:lnTo>
                  <a:close/>
                  <a:moveTo>
                    <a:pt x="73" y="167"/>
                  </a:moveTo>
                  <a:lnTo>
                    <a:pt x="75" y="167"/>
                  </a:lnTo>
                  <a:lnTo>
                    <a:pt x="73" y="167"/>
                  </a:lnTo>
                  <a:close/>
                  <a:moveTo>
                    <a:pt x="37" y="248"/>
                  </a:moveTo>
                  <a:lnTo>
                    <a:pt x="37" y="250"/>
                  </a:lnTo>
                  <a:lnTo>
                    <a:pt x="37" y="248"/>
                  </a:lnTo>
                  <a:close/>
                  <a:moveTo>
                    <a:pt x="14" y="353"/>
                  </a:moveTo>
                  <a:lnTo>
                    <a:pt x="14" y="355"/>
                  </a:lnTo>
                  <a:lnTo>
                    <a:pt x="14" y="353"/>
                  </a:lnTo>
                  <a:close/>
                  <a:moveTo>
                    <a:pt x="25" y="359"/>
                  </a:moveTo>
                  <a:lnTo>
                    <a:pt x="27" y="359"/>
                  </a:lnTo>
                  <a:lnTo>
                    <a:pt x="25" y="359"/>
                  </a:lnTo>
                  <a:close/>
                  <a:moveTo>
                    <a:pt x="35" y="254"/>
                  </a:moveTo>
                  <a:lnTo>
                    <a:pt x="37" y="254"/>
                  </a:lnTo>
                  <a:lnTo>
                    <a:pt x="35" y="254"/>
                  </a:lnTo>
                  <a:close/>
                  <a:moveTo>
                    <a:pt x="37" y="353"/>
                  </a:moveTo>
                  <a:lnTo>
                    <a:pt x="37" y="355"/>
                  </a:lnTo>
                  <a:lnTo>
                    <a:pt x="37" y="353"/>
                  </a:lnTo>
                  <a:close/>
                  <a:moveTo>
                    <a:pt x="33" y="302"/>
                  </a:moveTo>
                  <a:lnTo>
                    <a:pt x="33" y="303"/>
                  </a:lnTo>
                  <a:lnTo>
                    <a:pt x="33" y="302"/>
                  </a:lnTo>
                  <a:close/>
                  <a:moveTo>
                    <a:pt x="31" y="353"/>
                  </a:moveTo>
                  <a:lnTo>
                    <a:pt x="31" y="355"/>
                  </a:lnTo>
                  <a:lnTo>
                    <a:pt x="31" y="353"/>
                  </a:lnTo>
                  <a:close/>
                  <a:moveTo>
                    <a:pt x="2" y="342"/>
                  </a:moveTo>
                  <a:lnTo>
                    <a:pt x="4" y="342"/>
                  </a:lnTo>
                  <a:lnTo>
                    <a:pt x="2" y="342"/>
                  </a:lnTo>
                  <a:close/>
                  <a:moveTo>
                    <a:pt x="43" y="248"/>
                  </a:moveTo>
                  <a:lnTo>
                    <a:pt x="44" y="248"/>
                  </a:lnTo>
                  <a:lnTo>
                    <a:pt x="44" y="250"/>
                  </a:lnTo>
                  <a:lnTo>
                    <a:pt x="43" y="250"/>
                  </a:lnTo>
                  <a:lnTo>
                    <a:pt x="43" y="248"/>
                  </a:lnTo>
                  <a:close/>
                  <a:moveTo>
                    <a:pt x="25" y="342"/>
                  </a:moveTo>
                  <a:lnTo>
                    <a:pt x="25" y="344"/>
                  </a:lnTo>
                  <a:lnTo>
                    <a:pt x="25" y="342"/>
                  </a:lnTo>
                  <a:close/>
                  <a:moveTo>
                    <a:pt x="41" y="254"/>
                  </a:moveTo>
                  <a:lnTo>
                    <a:pt x="43" y="254"/>
                  </a:lnTo>
                  <a:lnTo>
                    <a:pt x="41" y="254"/>
                  </a:lnTo>
                  <a:close/>
                  <a:moveTo>
                    <a:pt x="52" y="351"/>
                  </a:moveTo>
                  <a:lnTo>
                    <a:pt x="52" y="353"/>
                  </a:lnTo>
                  <a:lnTo>
                    <a:pt x="52" y="351"/>
                  </a:lnTo>
                  <a:close/>
                  <a:moveTo>
                    <a:pt x="12" y="342"/>
                  </a:moveTo>
                  <a:lnTo>
                    <a:pt x="12" y="344"/>
                  </a:lnTo>
                  <a:lnTo>
                    <a:pt x="12" y="342"/>
                  </a:lnTo>
                  <a:close/>
                  <a:moveTo>
                    <a:pt x="33" y="255"/>
                  </a:moveTo>
                  <a:lnTo>
                    <a:pt x="33" y="257"/>
                  </a:lnTo>
                  <a:lnTo>
                    <a:pt x="33" y="255"/>
                  </a:lnTo>
                  <a:close/>
                  <a:moveTo>
                    <a:pt x="23" y="340"/>
                  </a:moveTo>
                  <a:lnTo>
                    <a:pt x="25" y="340"/>
                  </a:lnTo>
                  <a:lnTo>
                    <a:pt x="23" y="340"/>
                  </a:lnTo>
                  <a:close/>
                  <a:moveTo>
                    <a:pt x="96" y="346"/>
                  </a:moveTo>
                  <a:lnTo>
                    <a:pt x="96" y="348"/>
                  </a:lnTo>
                  <a:lnTo>
                    <a:pt x="96" y="346"/>
                  </a:lnTo>
                  <a:close/>
                  <a:moveTo>
                    <a:pt x="56" y="357"/>
                  </a:moveTo>
                  <a:lnTo>
                    <a:pt x="58" y="357"/>
                  </a:lnTo>
                  <a:lnTo>
                    <a:pt x="56" y="357"/>
                  </a:lnTo>
                  <a:close/>
                  <a:moveTo>
                    <a:pt x="10" y="353"/>
                  </a:moveTo>
                  <a:lnTo>
                    <a:pt x="12" y="353"/>
                  </a:lnTo>
                  <a:lnTo>
                    <a:pt x="10" y="353"/>
                  </a:lnTo>
                  <a:close/>
                  <a:moveTo>
                    <a:pt x="43" y="250"/>
                  </a:moveTo>
                  <a:lnTo>
                    <a:pt x="43" y="252"/>
                  </a:lnTo>
                  <a:lnTo>
                    <a:pt x="43" y="250"/>
                  </a:lnTo>
                  <a:close/>
                  <a:moveTo>
                    <a:pt x="71" y="353"/>
                  </a:moveTo>
                  <a:lnTo>
                    <a:pt x="71" y="355"/>
                  </a:lnTo>
                  <a:lnTo>
                    <a:pt x="71" y="353"/>
                  </a:lnTo>
                  <a:close/>
                  <a:moveTo>
                    <a:pt x="37" y="357"/>
                  </a:moveTo>
                  <a:lnTo>
                    <a:pt x="39" y="357"/>
                  </a:lnTo>
                  <a:lnTo>
                    <a:pt x="37" y="357"/>
                  </a:lnTo>
                  <a:close/>
                  <a:moveTo>
                    <a:pt x="67" y="355"/>
                  </a:moveTo>
                  <a:lnTo>
                    <a:pt x="69" y="355"/>
                  </a:lnTo>
                  <a:lnTo>
                    <a:pt x="67" y="355"/>
                  </a:lnTo>
                  <a:close/>
                  <a:moveTo>
                    <a:pt x="35" y="340"/>
                  </a:moveTo>
                  <a:lnTo>
                    <a:pt x="35" y="342"/>
                  </a:lnTo>
                  <a:lnTo>
                    <a:pt x="35" y="340"/>
                  </a:lnTo>
                  <a:close/>
                  <a:moveTo>
                    <a:pt x="85" y="348"/>
                  </a:moveTo>
                  <a:lnTo>
                    <a:pt x="87" y="348"/>
                  </a:lnTo>
                  <a:lnTo>
                    <a:pt x="85" y="348"/>
                  </a:lnTo>
                  <a:close/>
                  <a:moveTo>
                    <a:pt x="31" y="319"/>
                  </a:moveTo>
                  <a:lnTo>
                    <a:pt x="33" y="319"/>
                  </a:lnTo>
                  <a:lnTo>
                    <a:pt x="31" y="319"/>
                  </a:lnTo>
                  <a:close/>
                  <a:moveTo>
                    <a:pt x="35" y="351"/>
                  </a:moveTo>
                  <a:lnTo>
                    <a:pt x="37" y="351"/>
                  </a:lnTo>
                  <a:lnTo>
                    <a:pt x="35" y="351"/>
                  </a:lnTo>
                  <a:close/>
                  <a:moveTo>
                    <a:pt x="75" y="351"/>
                  </a:moveTo>
                  <a:lnTo>
                    <a:pt x="75" y="353"/>
                  </a:lnTo>
                  <a:lnTo>
                    <a:pt x="75" y="351"/>
                  </a:lnTo>
                  <a:close/>
                  <a:moveTo>
                    <a:pt x="37" y="248"/>
                  </a:moveTo>
                  <a:lnTo>
                    <a:pt x="39" y="248"/>
                  </a:lnTo>
                  <a:lnTo>
                    <a:pt x="37" y="248"/>
                  </a:lnTo>
                  <a:close/>
                  <a:moveTo>
                    <a:pt x="31" y="313"/>
                  </a:moveTo>
                  <a:lnTo>
                    <a:pt x="33" y="313"/>
                  </a:lnTo>
                  <a:lnTo>
                    <a:pt x="31" y="313"/>
                  </a:lnTo>
                  <a:close/>
                  <a:moveTo>
                    <a:pt x="46" y="348"/>
                  </a:moveTo>
                  <a:lnTo>
                    <a:pt x="48" y="348"/>
                  </a:lnTo>
                  <a:lnTo>
                    <a:pt x="46" y="348"/>
                  </a:lnTo>
                  <a:close/>
                  <a:moveTo>
                    <a:pt x="92" y="346"/>
                  </a:moveTo>
                  <a:lnTo>
                    <a:pt x="92" y="348"/>
                  </a:lnTo>
                  <a:lnTo>
                    <a:pt x="92" y="346"/>
                  </a:lnTo>
                  <a:close/>
                  <a:moveTo>
                    <a:pt x="29" y="336"/>
                  </a:moveTo>
                  <a:lnTo>
                    <a:pt x="31" y="336"/>
                  </a:lnTo>
                  <a:lnTo>
                    <a:pt x="29" y="336"/>
                  </a:lnTo>
                  <a:close/>
                  <a:moveTo>
                    <a:pt x="46" y="357"/>
                  </a:moveTo>
                  <a:lnTo>
                    <a:pt x="46" y="359"/>
                  </a:lnTo>
                  <a:lnTo>
                    <a:pt x="46" y="357"/>
                  </a:lnTo>
                  <a:close/>
                  <a:moveTo>
                    <a:pt x="39" y="355"/>
                  </a:moveTo>
                  <a:lnTo>
                    <a:pt x="39" y="357"/>
                  </a:lnTo>
                  <a:lnTo>
                    <a:pt x="39" y="355"/>
                  </a:lnTo>
                  <a:close/>
                  <a:moveTo>
                    <a:pt x="85" y="348"/>
                  </a:moveTo>
                  <a:lnTo>
                    <a:pt x="85" y="350"/>
                  </a:lnTo>
                  <a:lnTo>
                    <a:pt x="85" y="348"/>
                  </a:lnTo>
                  <a:close/>
                  <a:moveTo>
                    <a:pt x="27" y="355"/>
                  </a:moveTo>
                  <a:lnTo>
                    <a:pt x="27" y="357"/>
                  </a:lnTo>
                  <a:lnTo>
                    <a:pt x="27" y="355"/>
                  </a:lnTo>
                  <a:close/>
                  <a:moveTo>
                    <a:pt x="83" y="350"/>
                  </a:moveTo>
                  <a:lnTo>
                    <a:pt x="83" y="351"/>
                  </a:lnTo>
                  <a:lnTo>
                    <a:pt x="83" y="350"/>
                  </a:lnTo>
                  <a:close/>
                  <a:moveTo>
                    <a:pt x="31" y="282"/>
                  </a:moveTo>
                  <a:lnTo>
                    <a:pt x="31" y="284"/>
                  </a:lnTo>
                  <a:lnTo>
                    <a:pt x="31" y="282"/>
                  </a:lnTo>
                  <a:close/>
                  <a:moveTo>
                    <a:pt x="27" y="357"/>
                  </a:moveTo>
                  <a:lnTo>
                    <a:pt x="27" y="359"/>
                  </a:lnTo>
                  <a:lnTo>
                    <a:pt x="27" y="357"/>
                  </a:lnTo>
                  <a:close/>
                  <a:moveTo>
                    <a:pt x="33" y="315"/>
                  </a:moveTo>
                  <a:lnTo>
                    <a:pt x="35" y="315"/>
                  </a:lnTo>
                  <a:lnTo>
                    <a:pt x="33" y="315"/>
                  </a:lnTo>
                  <a:close/>
                  <a:moveTo>
                    <a:pt x="29" y="332"/>
                  </a:moveTo>
                  <a:lnTo>
                    <a:pt x="29" y="334"/>
                  </a:lnTo>
                  <a:lnTo>
                    <a:pt x="29" y="332"/>
                  </a:lnTo>
                  <a:close/>
                  <a:moveTo>
                    <a:pt x="39" y="346"/>
                  </a:moveTo>
                  <a:lnTo>
                    <a:pt x="39" y="348"/>
                  </a:lnTo>
                  <a:lnTo>
                    <a:pt x="39" y="346"/>
                  </a:lnTo>
                  <a:close/>
                  <a:moveTo>
                    <a:pt x="27" y="355"/>
                  </a:moveTo>
                  <a:lnTo>
                    <a:pt x="27" y="357"/>
                  </a:lnTo>
                  <a:lnTo>
                    <a:pt x="27" y="355"/>
                  </a:lnTo>
                  <a:close/>
                  <a:moveTo>
                    <a:pt x="29" y="342"/>
                  </a:moveTo>
                  <a:lnTo>
                    <a:pt x="29" y="344"/>
                  </a:lnTo>
                  <a:lnTo>
                    <a:pt x="29" y="342"/>
                  </a:lnTo>
                  <a:close/>
                  <a:moveTo>
                    <a:pt x="29" y="250"/>
                  </a:moveTo>
                  <a:lnTo>
                    <a:pt x="31" y="250"/>
                  </a:lnTo>
                  <a:lnTo>
                    <a:pt x="29" y="250"/>
                  </a:lnTo>
                  <a:close/>
                  <a:moveTo>
                    <a:pt x="44" y="348"/>
                  </a:moveTo>
                  <a:lnTo>
                    <a:pt x="44" y="350"/>
                  </a:lnTo>
                  <a:lnTo>
                    <a:pt x="44" y="348"/>
                  </a:lnTo>
                  <a:close/>
                  <a:moveTo>
                    <a:pt x="37" y="344"/>
                  </a:moveTo>
                  <a:lnTo>
                    <a:pt x="39" y="344"/>
                  </a:lnTo>
                  <a:lnTo>
                    <a:pt x="37" y="344"/>
                  </a:lnTo>
                  <a:close/>
                  <a:moveTo>
                    <a:pt x="23" y="348"/>
                  </a:moveTo>
                  <a:lnTo>
                    <a:pt x="23" y="350"/>
                  </a:lnTo>
                  <a:lnTo>
                    <a:pt x="23" y="348"/>
                  </a:lnTo>
                  <a:close/>
                  <a:moveTo>
                    <a:pt x="31" y="334"/>
                  </a:moveTo>
                  <a:lnTo>
                    <a:pt x="31" y="336"/>
                  </a:lnTo>
                  <a:lnTo>
                    <a:pt x="31" y="334"/>
                  </a:lnTo>
                  <a:close/>
                  <a:moveTo>
                    <a:pt x="39" y="346"/>
                  </a:moveTo>
                  <a:lnTo>
                    <a:pt x="39" y="348"/>
                  </a:lnTo>
                  <a:lnTo>
                    <a:pt x="39" y="346"/>
                  </a:lnTo>
                  <a:close/>
                  <a:moveTo>
                    <a:pt x="44" y="359"/>
                  </a:moveTo>
                  <a:lnTo>
                    <a:pt x="44" y="361"/>
                  </a:lnTo>
                  <a:lnTo>
                    <a:pt x="44" y="359"/>
                  </a:lnTo>
                  <a:close/>
                  <a:moveTo>
                    <a:pt x="54" y="357"/>
                  </a:moveTo>
                  <a:lnTo>
                    <a:pt x="56" y="357"/>
                  </a:lnTo>
                  <a:lnTo>
                    <a:pt x="54" y="357"/>
                  </a:lnTo>
                  <a:close/>
                  <a:moveTo>
                    <a:pt x="46" y="242"/>
                  </a:moveTo>
                  <a:lnTo>
                    <a:pt x="48" y="242"/>
                  </a:lnTo>
                  <a:lnTo>
                    <a:pt x="46" y="242"/>
                  </a:lnTo>
                  <a:close/>
                  <a:moveTo>
                    <a:pt x="29" y="348"/>
                  </a:moveTo>
                  <a:lnTo>
                    <a:pt x="31" y="348"/>
                  </a:lnTo>
                  <a:lnTo>
                    <a:pt x="29" y="348"/>
                  </a:lnTo>
                  <a:close/>
                  <a:moveTo>
                    <a:pt x="6" y="344"/>
                  </a:moveTo>
                  <a:lnTo>
                    <a:pt x="6" y="346"/>
                  </a:lnTo>
                  <a:lnTo>
                    <a:pt x="6" y="344"/>
                  </a:lnTo>
                  <a:close/>
                  <a:moveTo>
                    <a:pt x="33" y="336"/>
                  </a:moveTo>
                  <a:lnTo>
                    <a:pt x="33" y="338"/>
                  </a:lnTo>
                  <a:lnTo>
                    <a:pt x="33" y="336"/>
                  </a:lnTo>
                  <a:close/>
                  <a:moveTo>
                    <a:pt x="23" y="357"/>
                  </a:moveTo>
                  <a:lnTo>
                    <a:pt x="25" y="357"/>
                  </a:lnTo>
                  <a:lnTo>
                    <a:pt x="23" y="357"/>
                  </a:lnTo>
                  <a:close/>
                  <a:moveTo>
                    <a:pt x="25" y="265"/>
                  </a:moveTo>
                  <a:lnTo>
                    <a:pt x="27" y="265"/>
                  </a:lnTo>
                  <a:lnTo>
                    <a:pt x="25" y="265"/>
                  </a:lnTo>
                  <a:close/>
                  <a:moveTo>
                    <a:pt x="35" y="353"/>
                  </a:moveTo>
                  <a:lnTo>
                    <a:pt x="37" y="353"/>
                  </a:lnTo>
                  <a:lnTo>
                    <a:pt x="37" y="355"/>
                  </a:lnTo>
                  <a:lnTo>
                    <a:pt x="35" y="355"/>
                  </a:lnTo>
                  <a:lnTo>
                    <a:pt x="35" y="353"/>
                  </a:lnTo>
                  <a:close/>
                  <a:moveTo>
                    <a:pt x="29" y="248"/>
                  </a:moveTo>
                  <a:lnTo>
                    <a:pt x="29" y="250"/>
                  </a:lnTo>
                  <a:lnTo>
                    <a:pt x="29" y="248"/>
                  </a:lnTo>
                  <a:close/>
                  <a:moveTo>
                    <a:pt x="50" y="355"/>
                  </a:moveTo>
                  <a:lnTo>
                    <a:pt x="52" y="355"/>
                  </a:lnTo>
                  <a:lnTo>
                    <a:pt x="50" y="355"/>
                  </a:lnTo>
                  <a:close/>
                  <a:moveTo>
                    <a:pt x="52" y="359"/>
                  </a:moveTo>
                  <a:lnTo>
                    <a:pt x="54" y="359"/>
                  </a:lnTo>
                  <a:lnTo>
                    <a:pt x="52" y="359"/>
                  </a:lnTo>
                  <a:close/>
                  <a:moveTo>
                    <a:pt x="23" y="261"/>
                  </a:moveTo>
                  <a:lnTo>
                    <a:pt x="23" y="263"/>
                  </a:lnTo>
                  <a:lnTo>
                    <a:pt x="23" y="261"/>
                  </a:lnTo>
                  <a:close/>
                  <a:moveTo>
                    <a:pt x="21" y="350"/>
                  </a:moveTo>
                  <a:lnTo>
                    <a:pt x="23" y="350"/>
                  </a:lnTo>
                  <a:lnTo>
                    <a:pt x="21" y="350"/>
                  </a:lnTo>
                  <a:close/>
                  <a:moveTo>
                    <a:pt x="43" y="355"/>
                  </a:moveTo>
                  <a:lnTo>
                    <a:pt x="44" y="355"/>
                  </a:lnTo>
                  <a:lnTo>
                    <a:pt x="43" y="355"/>
                  </a:lnTo>
                  <a:close/>
                  <a:moveTo>
                    <a:pt x="50" y="355"/>
                  </a:moveTo>
                  <a:lnTo>
                    <a:pt x="52" y="355"/>
                  </a:lnTo>
                  <a:lnTo>
                    <a:pt x="50" y="355"/>
                  </a:lnTo>
                  <a:close/>
                  <a:moveTo>
                    <a:pt x="48" y="355"/>
                  </a:moveTo>
                  <a:lnTo>
                    <a:pt x="50" y="355"/>
                  </a:lnTo>
                  <a:lnTo>
                    <a:pt x="48" y="355"/>
                  </a:lnTo>
                  <a:close/>
                  <a:moveTo>
                    <a:pt x="96" y="346"/>
                  </a:moveTo>
                  <a:lnTo>
                    <a:pt x="96" y="348"/>
                  </a:lnTo>
                  <a:lnTo>
                    <a:pt x="96" y="346"/>
                  </a:lnTo>
                  <a:close/>
                  <a:moveTo>
                    <a:pt x="29" y="261"/>
                  </a:moveTo>
                  <a:lnTo>
                    <a:pt x="31" y="261"/>
                  </a:lnTo>
                  <a:lnTo>
                    <a:pt x="29" y="261"/>
                  </a:lnTo>
                  <a:close/>
                  <a:moveTo>
                    <a:pt x="27" y="278"/>
                  </a:moveTo>
                  <a:lnTo>
                    <a:pt x="29" y="278"/>
                  </a:lnTo>
                  <a:lnTo>
                    <a:pt x="29" y="280"/>
                  </a:lnTo>
                  <a:lnTo>
                    <a:pt x="27" y="280"/>
                  </a:lnTo>
                  <a:lnTo>
                    <a:pt x="27" y="278"/>
                  </a:lnTo>
                  <a:close/>
                  <a:moveTo>
                    <a:pt x="35" y="353"/>
                  </a:moveTo>
                  <a:lnTo>
                    <a:pt x="37" y="353"/>
                  </a:lnTo>
                  <a:lnTo>
                    <a:pt x="35" y="353"/>
                  </a:lnTo>
                  <a:close/>
                  <a:moveTo>
                    <a:pt x="33" y="254"/>
                  </a:moveTo>
                  <a:lnTo>
                    <a:pt x="35" y="254"/>
                  </a:lnTo>
                  <a:lnTo>
                    <a:pt x="33" y="254"/>
                  </a:lnTo>
                  <a:close/>
                  <a:moveTo>
                    <a:pt x="44" y="359"/>
                  </a:moveTo>
                  <a:lnTo>
                    <a:pt x="46" y="359"/>
                  </a:lnTo>
                  <a:lnTo>
                    <a:pt x="46" y="361"/>
                  </a:lnTo>
                  <a:lnTo>
                    <a:pt x="44" y="361"/>
                  </a:lnTo>
                  <a:lnTo>
                    <a:pt x="44" y="359"/>
                  </a:lnTo>
                  <a:close/>
                  <a:moveTo>
                    <a:pt x="79" y="353"/>
                  </a:moveTo>
                  <a:lnTo>
                    <a:pt x="81" y="353"/>
                  </a:lnTo>
                  <a:lnTo>
                    <a:pt x="79" y="353"/>
                  </a:lnTo>
                  <a:close/>
                  <a:moveTo>
                    <a:pt x="54" y="236"/>
                  </a:moveTo>
                  <a:lnTo>
                    <a:pt x="54" y="238"/>
                  </a:lnTo>
                  <a:lnTo>
                    <a:pt x="54" y="236"/>
                  </a:lnTo>
                  <a:close/>
                  <a:moveTo>
                    <a:pt x="67" y="355"/>
                  </a:moveTo>
                  <a:lnTo>
                    <a:pt x="67" y="357"/>
                  </a:lnTo>
                  <a:lnTo>
                    <a:pt x="67" y="355"/>
                  </a:lnTo>
                  <a:close/>
                  <a:moveTo>
                    <a:pt x="108" y="344"/>
                  </a:moveTo>
                  <a:lnTo>
                    <a:pt x="108" y="346"/>
                  </a:lnTo>
                  <a:lnTo>
                    <a:pt x="108" y="344"/>
                  </a:lnTo>
                  <a:close/>
                  <a:moveTo>
                    <a:pt x="79" y="351"/>
                  </a:moveTo>
                  <a:lnTo>
                    <a:pt x="81" y="351"/>
                  </a:lnTo>
                  <a:lnTo>
                    <a:pt x="79" y="351"/>
                  </a:lnTo>
                  <a:close/>
                  <a:moveTo>
                    <a:pt x="33" y="255"/>
                  </a:moveTo>
                  <a:lnTo>
                    <a:pt x="33" y="257"/>
                  </a:lnTo>
                  <a:lnTo>
                    <a:pt x="33" y="255"/>
                  </a:lnTo>
                  <a:close/>
                  <a:moveTo>
                    <a:pt x="58" y="230"/>
                  </a:moveTo>
                  <a:lnTo>
                    <a:pt x="60" y="230"/>
                  </a:lnTo>
                  <a:lnTo>
                    <a:pt x="58" y="230"/>
                  </a:lnTo>
                  <a:close/>
                  <a:moveTo>
                    <a:pt x="39" y="359"/>
                  </a:moveTo>
                  <a:lnTo>
                    <a:pt x="41" y="359"/>
                  </a:lnTo>
                  <a:lnTo>
                    <a:pt x="39" y="359"/>
                  </a:lnTo>
                  <a:close/>
                  <a:moveTo>
                    <a:pt x="16" y="344"/>
                  </a:moveTo>
                  <a:lnTo>
                    <a:pt x="18" y="344"/>
                  </a:lnTo>
                  <a:lnTo>
                    <a:pt x="16" y="344"/>
                  </a:lnTo>
                  <a:close/>
                  <a:moveTo>
                    <a:pt x="115" y="346"/>
                  </a:moveTo>
                  <a:lnTo>
                    <a:pt x="115" y="348"/>
                  </a:lnTo>
                  <a:lnTo>
                    <a:pt x="115" y="346"/>
                  </a:lnTo>
                  <a:close/>
                  <a:moveTo>
                    <a:pt x="37" y="351"/>
                  </a:moveTo>
                  <a:lnTo>
                    <a:pt x="39" y="351"/>
                  </a:lnTo>
                  <a:lnTo>
                    <a:pt x="37" y="351"/>
                  </a:lnTo>
                  <a:close/>
                  <a:moveTo>
                    <a:pt x="43" y="348"/>
                  </a:moveTo>
                  <a:lnTo>
                    <a:pt x="43" y="350"/>
                  </a:lnTo>
                  <a:lnTo>
                    <a:pt x="43" y="348"/>
                  </a:lnTo>
                  <a:close/>
                  <a:moveTo>
                    <a:pt x="21" y="350"/>
                  </a:moveTo>
                  <a:lnTo>
                    <a:pt x="23" y="350"/>
                  </a:lnTo>
                  <a:lnTo>
                    <a:pt x="21" y="350"/>
                  </a:lnTo>
                  <a:close/>
                  <a:moveTo>
                    <a:pt x="12" y="342"/>
                  </a:moveTo>
                  <a:lnTo>
                    <a:pt x="14" y="342"/>
                  </a:lnTo>
                  <a:lnTo>
                    <a:pt x="12" y="342"/>
                  </a:lnTo>
                  <a:close/>
                  <a:moveTo>
                    <a:pt x="4" y="344"/>
                  </a:moveTo>
                  <a:lnTo>
                    <a:pt x="4" y="346"/>
                  </a:lnTo>
                  <a:lnTo>
                    <a:pt x="4" y="344"/>
                  </a:lnTo>
                  <a:close/>
                  <a:moveTo>
                    <a:pt x="27" y="355"/>
                  </a:moveTo>
                  <a:lnTo>
                    <a:pt x="27" y="357"/>
                  </a:lnTo>
                  <a:lnTo>
                    <a:pt x="27" y="355"/>
                  </a:lnTo>
                  <a:close/>
                  <a:moveTo>
                    <a:pt x="48" y="355"/>
                  </a:moveTo>
                  <a:lnTo>
                    <a:pt x="48" y="357"/>
                  </a:lnTo>
                  <a:lnTo>
                    <a:pt x="48" y="355"/>
                  </a:lnTo>
                  <a:close/>
                  <a:moveTo>
                    <a:pt x="33" y="340"/>
                  </a:moveTo>
                  <a:lnTo>
                    <a:pt x="33" y="342"/>
                  </a:lnTo>
                  <a:lnTo>
                    <a:pt x="33" y="340"/>
                  </a:lnTo>
                  <a:close/>
                  <a:moveTo>
                    <a:pt x="87" y="350"/>
                  </a:moveTo>
                  <a:lnTo>
                    <a:pt x="89" y="350"/>
                  </a:lnTo>
                  <a:lnTo>
                    <a:pt x="87" y="350"/>
                  </a:lnTo>
                  <a:close/>
                  <a:moveTo>
                    <a:pt x="96" y="348"/>
                  </a:moveTo>
                  <a:lnTo>
                    <a:pt x="98" y="348"/>
                  </a:lnTo>
                  <a:lnTo>
                    <a:pt x="96" y="348"/>
                  </a:lnTo>
                  <a:close/>
                  <a:moveTo>
                    <a:pt x="19" y="353"/>
                  </a:moveTo>
                  <a:lnTo>
                    <a:pt x="19" y="355"/>
                  </a:lnTo>
                  <a:lnTo>
                    <a:pt x="19" y="353"/>
                  </a:lnTo>
                  <a:close/>
                  <a:moveTo>
                    <a:pt x="25" y="344"/>
                  </a:moveTo>
                  <a:lnTo>
                    <a:pt x="27" y="344"/>
                  </a:lnTo>
                  <a:lnTo>
                    <a:pt x="25" y="344"/>
                  </a:lnTo>
                  <a:close/>
                  <a:moveTo>
                    <a:pt x="31" y="319"/>
                  </a:moveTo>
                  <a:lnTo>
                    <a:pt x="31" y="321"/>
                  </a:lnTo>
                  <a:lnTo>
                    <a:pt x="31" y="319"/>
                  </a:lnTo>
                  <a:close/>
                  <a:moveTo>
                    <a:pt x="16" y="350"/>
                  </a:moveTo>
                  <a:lnTo>
                    <a:pt x="16" y="351"/>
                  </a:lnTo>
                  <a:lnTo>
                    <a:pt x="16" y="350"/>
                  </a:lnTo>
                  <a:close/>
                  <a:moveTo>
                    <a:pt x="54" y="353"/>
                  </a:moveTo>
                  <a:lnTo>
                    <a:pt x="54" y="355"/>
                  </a:lnTo>
                  <a:lnTo>
                    <a:pt x="54" y="353"/>
                  </a:lnTo>
                  <a:close/>
                  <a:moveTo>
                    <a:pt x="31" y="351"/>
                  </a:moveTo>
                  <a:lnTo>
                    <a:pt x="31" y="353"/>
                  </a:lnTo>
                  <a:lnTo>
                    <a:pt x="31" y="351"/>
                  </a:lnTo>
                  <a:close/>
                  <a:moveTo>
                    <a:pt x="25" y="353"/>
                  </a:moveTo>
                  <a:lnTo>
                    <a:pt x="27" y="353"/>
                  </a:lnTo>
                  <a:lnTo>
                    <a:pt x="25" y="353"/>
                  </a:lnTo>
                  <a:close/>
                  <a:moveTo>
                    <a:pt x="33" y="305"/>
                  </a:moveTo>
                  <a:lnTo>
                    <a:pt x="35" y="305"/>
                  </a:lnTo>
                  <a:lnTo>
                    <a:pt x="33" y="305"/>
                  </a:lnTo>
                  <a:close/>
                  <a:moveTo>
                    <a:pt x="25" y="338"/>
                  </a:moveTo>
                  <a:lnTo>
                    <a:pt x="27" y="338"/>
                  </a:lnTo>
                  <a:lnTo>
                    <a:pt x="25" y="338"/>
                  </a:lnTo>
                  <a:close/>
                  <a:moveTo>
                    <a:pt x="52" y="238"/>
                  </a:moveTo>
                  <a:lnTo>
                    <a:pt x="52" y="240"/>
                  </a:lnTo>
                  <a:lnTo>
                    <a:pt x="52" y="238"/>
                  </a:lnTo>
                  <a:close/>
                  <a:moveTo>
                    <a:pt x="31" y="298"/>
                  </a:moveTo>
                  <a:lnTo>
                    <a:pt x="33" y="298"/>
                  </a:lnTo>
                  <a:lnTo>
                    <a:pt x="31" y="298"/>
                  </a:lnTo>
                  <a:close/>
                  <a:moveTo>
                    <a:pt x="21" y="348"/>
                  </a:moveTo>
                  <a:lnTo>
                    <a:pt x="23" y="348"/>
                  </a:lnTo>
                  <a:lnTo>
                    <a:pt x="21" y="348"/>
                  </a:lnTo>
                  <a:close/>
                  <a:moveTo>
                    <a:pt x="27" y="344"/>
                  </a:moveTo>
                  <a:lnTo>
                    <a:pt x="29" y="344"/>
                  </a:lnTo>
                  <a:lnTo>
                    <a:pt x="27" y="344"/>
                  </a:lnTo>
                  <a:close/>
                  <a:moveTo>
                    <a:pt x="104" y="344"/>
                  </a:moveTo>
                  <a:lnTo>
                    <a:pt x="104" y="346"/>
                  </a:lnTo>
                  <a:lnTo>
                    <a:pt x="104" y="344"/>
                  </a:lnTo>
                  <a:close/>
                  <a:moveTo>
                    <a:pt x="31" y="323"/>
                  </a:moveTo>
                  <a:lnTo>
                    <a:pt x="31" y="325"/>
                  </a:lnTo>
                  <a:lnTo>
                    <a:pt x="31" y="323"/>
                  </a:lnTo>
                  <a:close/>
                  <a:moveTo>
                    <a:pt x="37" y="346"/>
                  </a:moveTo>
                  <a:lnTo>
                    <a:pt x="39" y="346"/>
                  </a:lnTo>
                  <a:lnTo>
                    <a:pt x="37" y="346"/>
                  </a:lnTo>
                  <a:close/>
                  <a:moveTo>
                    <a:pt x="12" y="351"/>
                  </a:moveTo>
                  <a:lnTo>
                    <a:pt x="12" y="353"/>
                  </a:lnTo>
                  <a:lnTo>
                    <a:pt x="12" y="351"/>
                  </a:lnTo>
                  <a:close/>
                  <a:moveTo>
                    <a:pt x="60" y="357"/>
                  </a:moveTo>
                  <a:lnTo>
                    <a:pt x="62" y="357"/>
                  </a:lnTo>
                  <a:lnTo>
                    <a:pt x="60" y="357"/>
                  </a:lnTo>
                  <a:close/>
                  <a:moveTo>
                    <a:pt x="23" y="351"/>
                  </a:moveTo>
                  <a:lnTo>
                    <a:pt x="23" y="353"/>
                  </a:lnTo>
                  <a:lnTo>
                    <a:pt x="23" y="351"/>
                  </a:lnTo>
                  <a:close/>
                  <a:moveTo>
                    <a:pt x="31" y="296"/>
                  </a:moveTo>
                  <a:lnTo>
                    <a:pt x="33" y="296"/>
                  </a:lnTo>
                  <a:lnTo>
                    <a:pt x="31" y="296"/>
                  </a:lnTo>
                  <a:close/>
                  <a:moveTo>
                    <a:pt x="117" y="340"/>
                  </a:moveTo>
                  <a:lnTo>
                    <a:pt x="117" y="342"/>
                  </a:lnTo>
                  <a:lnTo>
                    <a:pt x="117" y="340"/>
                  </a:lnTo>
                  <a:close/>
                  <a:moveTo>
                    <a:pt x="54" y="359"/>
                  </a:moveTo>
                  <a:lnTo>
                    <a:pt x="54" y="361"/>
                  </a:lnTo>
                  <a:lnTo>
                    <a:pt x="54" y="359"/>
                  </a:lnTo>
                  <a:close/>
                  <a:moveTo>
                    <a:pt x="27" y="277"/>
                  </a:moveTo>
                  <a:lnTo>
                    <a:pt x="27" y="278"/>
                  </a:lnTo>
                  <a:lnTo>
                    <a:pt x="27" y="277"/>
                  </a:lnTo>
                  <a:close/>
                  <a:moveTo>
                    <a:pt x="23" y="353"/>
                  </a:moveTo>
                  <a:lnTo>
                    <a:pt x="23" y="355"/>
                  </a:lnTo>
                  <a:lnTo>
                    <a:pt x="23" y="353"/>
                  </a:lnTo>
                  <a:close/>
                  <a:moveTo>
                    <a:pt x="64" y="359"/>
                  </a:moveTo>
                  <a:lnTo>
                    <a:pt x="64" y="361"/>
                  </a:lnTo>
                  <a:lnTo>
                    <a:pt x="64" y="359"/>
                  </a:lnTo>
                  <a:close/>
                  <a:moveTo>
                    <a:pt x="91" y="348"/>
                  </a:moveTo>
                  <a:lnTo>
                    <a:pt x="91" y="350"/>
                  </a:lnTo>
                  <a:lnTo>
                    <a:pt x="91" y="348"/>
                  </a:lnTo>
                  <a:close/>
                  <a:moveTo>
                    <a:pt x="33" y="353"/>
                  </a:moveTo>
                  <a:lnTo>
                    <a:pt x="35" y="353"/>
                  </a:lnTo>
                  <a:lnTo>
                    <a:pt x="33" y="353"/>
                  </a:lnTo>
                  <a:close/>
                  <a:moveTo>
                    <a:pt x="33" y="302"/>
                  </a:moveTo>
                  <a:lnTo>
                    <a:pt x="35" y="302"/>
                  </a:lnTo>
                  <a:lnTo>
                    <a:pt x="33" y="302"/>
                  </a:lnTo>
                  <a:close/>
                  <a:moveTo>
                    <a:pt x="12" y="353"/>
                  </a:moveTo>
                  <a:lnTo>
                    <a:pt x="12" y="355"/>
                  </a:lnTo>
                  <a:lnTo>
                    <a:pt x="12" y="353"/>
                  </a:lnTo>
                  <a:close/>
                  <a:moveTo>
                    <a:pt x="35" y="355"/>
                  </a:moveTo>
                  <a:lnTo>
                    <a:pt x="37" y="355"/>
                  </a:lnTo>
                  <a:lnTo>
                    <a:pt x="35" y="355"/>
                  </a:lnTo>
                  <a:close/>
                  <a:moveTo>
                    <a:pt x="37" y="351"/>
                  </a:moveTo>
                  <a:lnTo>
                    <a:pt x="37" y="353"/>
                  </a:lnTo>
                  <a:lnTo>
                    <a:pt x="37" y="351"/>
                  </a:lnTo>
                  <a:close/>
                  <a:moveTo>
                    <a:pt x="48" y="361"/>
                  </a:moveTo>
                  <a:lnTo>
                    <a:pt x="48" y="363"/>
                  </a:lnTo>
                  <a:lnTo>
                    <a:pt x="48" y="361"/>
                  </a:lnTo>
                  <a:close/>
                  <a:moveTo>
                    <a:pt x="8" y="342"/>
                  </a:moveTo>
                  <a:lnTo>
                    <a:pt x="8" y="344"/>
                  </a:lnTo>
                  <a:lnTo>
                    <a:pt x="8" y="342"/>
                  </a:lnTo>
                  <a:close/>
                  <a:moveTo>
                    <a:pt x="43" y="355"/>
                  </a:moveTo>
                  <a:lnTo>
                    <a:pt x="43" y="357"/>
                  </a:lnTo>
                  <a:lnTo>
                    <a:pt x="43" y="355"/>
                  </a:lnTo>
                  <a:close/>
                  <a:moveTo>
                    <a:pt x="31" y="336"/>
                  </a:moveTo>
                  <a:lnTo>
                    <a:pt x="33" y="336"/>
                  </a:lnTo>
                  <a:lnTo>
                    <a:pt x="31" y="336"/>
                  </a:lnTo>
                  <a:close/>
                  <a:moveTo>
                    <a:pt x="41" y="357"/>
                  </a:moveTo>
                  <a:lnTo>
                    <a:pt x="41" y="359"/>
                  </a:lnTo>
                  <a:lnTo>
                    <a:pt x="41" y="357"/>
                  </a:lnTo>
                  <a:close/>
                  <a:moveTo>
                    <a:pt x="23" y="353"/>
                  </a:moveTo>
                  <a:lnTo>
                    <a:pt x="23" y="355"/>
                  </a:lnTo>
                  <a:lnTo>
                    <a:pt x="23" y="353"/>
                  </a:lnTo>
                  <a:close/>
                  <a:moveTo>
                    <a:pt x="31" y="302"/>
                  </a:moveTo>
                  <a:lnTo>
                    <a:pt x="33" y="302"/>
                  </a:lnTo>
                  <a:lnTo>
                    <a:pt x="31" y="302"/>
                  </a:lnTo>
                  <a:close/>
                  <a:moveTo>
                    <a:pt x="58" y="359"/>
                  </a:moveTo>
                  <a:lnTo>
                    <a:pt x="58" y="361"/>
                  </a:lnTo>
                  <a:lnTo>
                    <a:pt x="58" y="359"/>
                  </a:lnTo>
                  <a:close/>
                  <a:moveTo>
                    <a:pt x="31" y="259"/>
                  </a:moveTo>
                  <a:lnTo>
                    <a:pt x="31" y="261"/>
                  </a:lnTo>
                  <a:lnTo>
                    <a:pt x="31" y="259"/>
                  </a:lnTo>
                  <a:close/>
                  <a:moveTo>
                    <a:pt x="29" y="355"/>
                  </a:moveTo>
                  <a:lnTo>
                    <a:pt x="31" y="355"/>
                  </a:lnTo>
                  <a:lnTo>
                    <a:pt x="29" y="355"/>
                  </a:lnTo>
                  <a:close/>
                  <a:moveTo>
                    <a:pt x="33" y="336"/>
                  </a:moveTo>
                  <a:lnTo>
                    <a:pt x="33" y="338"/>
                  </a:lnTo>
                  <a:lnTo>
                    <a:pt x="33" y="336"/>
                  </a:lnTo>
                  <a:close/>
                  <a:moveTo>
                    <a:pt x="58" y="351"/>
                  </a:moveTo>
                  <a:lnTo>
                    <a:pt x="58" y="353"/>
                  </a:lnTo>
                  <a:lnTo>
                    <a:pt x="58" y="351"/>
                  </a:lnTo>
                  <a:close/>
                  <a:moveTo>
                    <a:pt x="29" y="351"/>
                  </a:moveTo>
                  <a:lnTo>
                    <a:pt x="31" y="351"/>
                  </a:lnTo>
                  <a:lnTo>
                    <a:pt x="29" y="351"/>
                  </a:lnTo>
                  <a:close/>
                  <a:moveTo>
                    <a:pt x="27" y="275"/>
                  </a:moveTo>
                  <a:lnTo>
                    <a:pt x="27" y="277"/>
                  </a:lnTo>
                  <a:lnTo>
                    <a:pt x="27" y="275"/>
                  </a:lnTo>
                  <a:close/>
                  <a:moveTo>
                    <a:pt x="29" y="344"/>
                  </a:moveTo>
                  <a:lnTo>
                    <a:pt x="31" y="344"/>
                  </a:lnTo>
                  <a:lnTo>
                    <a:pt x="29" y="344"/>
                  </a:lnTo>
                  <a:close/>
                  <a:moveTo>
                    <a:pt x="60" y="359"/>
                  </a:moveTo>
                  <a:lnTo>
                    <a:pt x="62" y="359"/>
                  </a:lnTo>
                  <a:lnTo>
                    <a:pt x="60" y="359"/>
                  </a:lnTo>
                  <a:close/>
                  <a:moveTo>
                    <a:pt x="33" y="303"/>
                  </a:moveTo>
                  <a:lnTo>
                    <a:pt x="35" y="303"/>
                  </a:lnTo>
                  <a:lnTo>
                    <a:pt x="33" y="303"/>
                  </a:lnTo>
                  <a:close/>
                  <a:moveTo>
                    <a:pt x="58" y="359"/>
                  </a:moveTo>
                  <a:lnTo>
                    <a:pt x="60" y="359"/>
                  </a:lnTo>
                  <a:lnTo>
                    <a:pt x="58" y="359"/>
                  </a:lnTo>
                  <a:close/>
                  <a:moveTo>
                    <a:pt x="21" y="344"/>
                  </a:moveTo>
                  <a:lnTo>
                    <a:pt x="21" y="346"/>
                  </a:lnTo>
                  <a:lnTo>
                    <a:pt x="21" y="344"/>
                  </a:lnTo>
                  <a:close/>
                  <a:moveTo>
                    <a:pt x="98" y="348"/>
                  </a:moveTo>
                  <a:lnTo>
                    <a:pt x="100" y="348"/>
                  </a:lnTo>
                  <a:lnTo>
                    <a:pt x="98" y="348"/>
                  </a:lnTo>
                  <a:close/>
                  <a:moveTo>
                    <a:pt x="27" y="344"/>
                  </a:moveTo>
                  <a:lnTo>
                    <a:pt x="29" y="344"/>
                  </a:lnTo>
                  <a:lnTo>
                    <a:pt x="27" y="344"/>
                  </a:lnTo>
                  <a:close/>
                  <a:moveTo>
                    <a:pt x="56" y="359"/>
                  </a:moveTo>
                  <a:lnTo>
                    <a:pt x="58" y="359"/>
                  </a:lnTo>
                  <a:lnTo>
                    <a:pt x="56" y="359"/>
                  </a:lnTo>
                  <a:close/>
                  <a:moveTo>
                    <a:pt x="73" y="353"/>
                  </a:moveTo>
                  <a:lnTo>
                    <a:pt x="75" y="353"/>
                  </a:lnTo>
                  <a:lnTo>
                    <a:pt x="73" y="353"/>
                  </a:lnTo>
                  <a:close/>
                  <a:moveTo>
                    <a:pt x="43" y="359"/>
                  </a:moveTo>
                  <a:lnTo>
                    <a:pt x="43" y="361"/>
                  </a:lnTo>
                  <a:lnTo>
                    <a:pt x="43" y="359"/>
                  </a:lnTo>
                  <a:close/>
                  <a:moveTo>
                    <a:pt x="33" y="311"/>
                  </a:moveTo>
                  <a:lnTo>
                    <a:pt x="33" y="313"/>
                  </a:lnTo>
                  <a:lnTo>
                    <a:pt x="33" y="311"/>
                  </a:lnTo>
                  <a:close/>
                  <a:moveTo>
                    <a:pt x="35" y="359"/>
                  </a:moveTo>
                  <a:lnTo>
                    <a:pt x="37" y="359"/>
                  </a:lnTo>
                  <a:lnTo>
                    <a:pt x="35" y="359"/>
                  </a:lnTo>
                  <a:close/>
                  <a:moveTo>
                    <a:pt x="52" y="240"/>
                  </a:moveTo>
                  <a:lnTo>
                    <a:pt x="54" y="240"/>
                  </a:lnTo>
                  <a:lnTo>
                    <a:pt x="52" y="240"/>
                  </a:lnTo>
                  <a:close/>
                  <a:moveTo>
                    <a:pt x="37" y="340"/>
                  </a:moveTo>
                  <a:lnTo>
                    <a:pt x="39" y="340"/>
                  </a:lnTo>
                  <a:lnTo>
                    <a:pt x="37" y="340"/>
                  </a:lnTo>
                  <a:close/>
                  <a:moveTo>
                    <a:pt x="75" y="355"/>
                  </a:moveTo>
                  <a:lnTo>
                    <a:pt x="77" y="355"/>
                  </a:lnTo>
                  <a:lnTo>
                    <a:pt x="75" y="355"/>
                  </a:lnTo>
                  <a:close/>
                  <a:moveTo>
                    <a:pt x="33" y="350"/>
                  </a:moveTo>
                  <a:lnTo>
                    <a:pt x="35" y="350"/>
                  </a:lnTo>
                  <a:lnTo>
                    <a:pt x="33" y="350"/>
                  </a:lnTo>
                  <a:close/>
                  <a:moveTo>
                    <a:pt x="44" y="357"/>
                  </a:moveTo>
                  <a:lnTo>
                    <a:pt x="44" y="359"/>
                  </a:lnTo>
                  <a:lnTo>
                    <a:pt x="44" y="357"/>
                  </a:lnTo>
                  <a:close/>
                  <a:moveTo>
                    <a:pt x="25" y="350"/>
                  </a:moveTo>
                  <a:lnTo>
                    <a:pt x="27" y="350"/>
                  </a:lnTo>
                  <a:lnTo>
                    <a:pt x="25" y="350"/>
                  </a:lnTo>
                  <a:close/>
                  <a:moveTo>
                    <a:pt x="29" y="355"/>
                  </a:moveTo>
                  <a:lnTo>
                    <a:pt x="29" y="357"/>
                  </a:lnTo>
                  <a:lnTo>
                    <a:pt x="29" y="355"/>
                  </a:lnTo>
                  <a:close/>
                  <a:moveTo>
                    <a:pt x="31" y="353"/>
                  </a:moveTo>
                  <a:lnTo>
                    <a:pt x="33" y="353"/>
                  </a:lnTo>
                  <a:lnTo>
                    <a:pt x="31" y="353"/>
                  </a:lnTo>
                  <a:close/>
                  <a:moveTo>
                    <a:pt x="37" y="355"/>
                  </a:moveTo>
                  <a:lnTo>
                    <a:pt x="37" y="357"/>
                  </a:lnTo>
                  <a:lnTo>
                    <a:pt x="37" y="355"/>
                  </a:lnTo>
                  <a:close/>
                  <a:moveTo>
                    <a:pt x="83" y="350"/>
                  </a:moveTo>
                  <a:lnTo>
                    <a:pt x="85" y="350"/>
                  </a:lnTo>
                  <a:lnTo>
                    <a:pt x="83" y="350"/>
                  </a:lnTo>
                  <a:close/>
                  <a:moveTo>
                    <a:pt x="43" y="346"/>
                  </a:moveTo>
                  <a:lnTo>
                    <a:pt x="44" y="346"/>
                  </a:lnTo>
                  <a:lnTo>
                    <a:pt x="43" y="346"/>
                  </a:lnTo>
                  <a:close/>
                  <a:moveTo>
                    <a:pt x="18" y="350"/>
                  </a:moveTo>
                  <a:lnTo>
                    <a:pt x="19" y="350"/>
                  </a:lnTo>
                  <a:lnTo>
                    <a:pt x="18" y="350"/>
                  </a:lnTo>
                  <a:close/>
                  <a:moveTo>
                    <a:pt x="31" y="342"/>
                  </a:moveTo>
                  <a:lnTo>
                    <a:pt x="33" y="342"/>
                  </a:lnTo>
                  <a:lnTo>
                    <a:pt x="31" y="342"/>
                  </a:lnTo>
                  <a:close/>
                  <a:moveTo>
                    <a:pt x="96" y="348"/>
                  </a:moveTo>
                  <a:lnTo>
                    <a:pt x="98" y="348"/>
                  </a:lnTo>
                  <a:lnTo>
                    <a:pt x="96" y="348"/>
                  </a:lnTo>
                  <a:close/>
                  <a:moveTo>
                    <a:pt x="21" y="338"/>
                  </a:moveTo>
                  <a:lnTo>
                    <a:pt x="21" y="340"/>
                  </a:lnTo>
                  <a:lnTo>
                    <a:pt x="21" y="338"/>
                  </a:lnTo>
                  <a:close/>
                  <a:moveTo>
                    <a:pt x="25" y="342"/>
                  </a:moveTo>
                  <a:lnTo>
                    <a:pt x="27" y="342"/>
                  </a:lnTo>
                  <a:lnTo>
                    <a:pt x="25" y="342"/>
                  </a:lnTo>
                  <a:close/>
                  <a:moveTo>
                    <a:pt x="50" y="232"/>
                  </a:moveTo>
                  <a:lnTo>
                    <a:pt x="52" y="232"/>
                  </a:lnTo>
                  <a:lnTo>
                    <a:pt x="50" y="232"/>
                  </a:lnTo>
                  <a:close/>
                  <a:moveTo>
                    <a:pt x="77" y="169"/>
                  </a:moveTo>
                  <a:lnTo>
                    <a:pt x="77" y="171"/>
                  </a:lnTo>
                  <a:lnTo>
                    <a:pt x="77" y="169"/>
                  </a:lnTo>
                  <a:close/>
                  <a:moveTo>
                    <a:pt x="33" y="296"/>
                  </a:moveTo>
                  <a:lnTo>
                    <a:pt x="33" y="298"/>
                  </a:lnTo>
                  <a:lnTo>
                    <a:pt x="33" y="296"/>
                  </a:lnTo>
                  <a:close/>
                  <a:moveTo>
                    <a:pt x="31" y="319"/>
                  </a:moveTo>
                  <a:lnTo>
                    <a:pt x="33" y="319"/>
                  </a:lnTo>
                  <a:lnTo>
                    <a:pt x="31" y="319"/>
                  </a:lnTo>
                  <a:close/>
                  <a:moveTo>
                    <a:pt x="67" y="357"/>
                  </a:moveTo>
                  <a:lnTo>
                    <a:pt x="69" y="357"/>
                  </a:lnTo>
                  <a:lnTo>
                    <a:pt x="67" y="357"/>
                  </a:lnTo>
                  <a:close/>
                  <a:moveTo>
                    <a:pt x="25" y="346"/>
                  </a:moveTo>
                  <a:lnTo>
                    <a:pt x="25" y="348"/>
                  </a:lnTo>
                  <a:lnTo>
                    <a:pt x="25" y="346"/>
                  </a:lnTo>
                  <a:close/>
                  <a:moveTo>
                    <a:pt x="33" y="302"/>
                  </a:moveTo>
                  <a:lnTo>
                    <a:pt x="33" y="303"/>
                  </a:lnTo>
                  <a:lnTo>
                    <a:pt x="33" y="302"/>
                  </a:lnTo>
                  <a:close/>
                  <a:moveTo>
                    <a:pt x="31" y="319"/>
                  </a:moveTo>
                  <a:lnTo>
                    <a:pt x="33" y="319"/>
                  </a:lnTo>
                  <a:lnTo>
                    <a:pt x="31" y="319"/>
                  </a:lnTo>
                  <a:close/>
                  <a:moveTo>
                    <a:pt x="52" y="234"/>
                  </a:moveTo>
                  <a:lnTo>
                    <a:pt x="54" y="234"/>
                  </a:lnTo>
                  <a:lnTo>
                    <a:pt x="52" y="234"/>
                  </a:lnTo>
                  <a:close/>
                  <a:moveTo>
                    <a:pt x="100" y="344"/>
                  </a:moveTo>
                  <a:lnTo>
                    <a:pt x="100" y="346"/>
                  </a:lnTo>
                  <a:lnTo>
                    <a:pt x="100" y="344"/>
                  </a:lnTo>
                  <a:close/>
                  <a:moveTo>
                    <a:pt x="27" y="353"/>
                  </a:moveTo>
                  <a:lnTo>
                    <a:pt x="27" y="355"/>
                  </a:lnTo>
                  <a:lnTo>
                    <a:pt x="27" y="353"/>
                  </a:lnTo>
                  <a:close/>
                  <a:moveTo>
                    <a:pt x="37" y="254"/>
                  </a:moveTo>
                  <a:lnTo>
                    <a:pt x="39" y="254"/>
                  </a:lnTo>
                  <a:lnTo>
                    <a:pt x="37" y="254"/>
                  </a:lnTo>
                  <a:close/>
                  <a:moveTo>
                    <a:pt x="27" y="338"/>
                  </a:moveTo>
                  <a:lnTo>
                    <a:pt x="27" y="340"/>
                  </a:lnTo>
                  <a:lnTo>
                    <a:pt x="27" y="338"/>
                  </a:lnTo>
                  <a:close/>
                  <a:moveTo>
                    <a:pt x="23" y="344"/>
                  </a:moveTo>
                  <a:lnTo>
                    <a:pt x="25" y="344"/>
                  </a:lnTo>
                  <a:lnTo>
                    <a:pt x="23" y="344"/>
                  </a:lnTo>
                  <a:close/>
                  <a:moveTo>
                    <a:pt x="31" y="328"/>
                  </a:moveTo>
                  <a:lnTo>
                    <a:pt x="33" y="328"/>
                  </a:lnTo>
                  <a:lnTo>
                    <a:pt x="31" y="328"/>
                  </a:lnTo>
                  <a:close/>
                  <a:moveTo>
                    <a:pt x="44" y="355"/>
                  </a:moveTo>
                  <a:lnTo>
                    <a:pt x="46" y="355"/>
                  </a:lnTo>
                  <a:lnTo>
                    <a:pt x="44" y="355"/>
                  </a:lnTo>
                  <a:close/>
                  <a:moveTo>
                    <a:pt x="35" y="353"/>
                  </a:moveTo>
                  <a:lnTo>
                    <a:pt x="37" y="353"/>
                  </a:lnTo>
                  <a:lnTo>
                    <a:pt x="35" y="353"/>
                  </a:lnTo>
                  <a:close/>
                  <a:moveTo>
                    <a:pt x="35" y="261"/>
                  </a:moveTo>
                  <a:lnTo>
                    <a:pt x="37" y="261"/>
                  </a:lnTo>
                  <a:lnTo>
                    <a:pt x="35" y="261"/>
                  </a:lnTo>
                  <a:close/>
                  <a:moveTo>
                    <a:pt x="27" y="267"/>
                  </a:moveTo>
                  <a:lnTo>
                    <a:pt x="27" y="269"/>
                  </a:lnTo>
                  <a:lnTo>
                    <a:pt x="27" y="267"/>
                  </a:lnTo>
                  <a:close/>
                  <a:moveTo>
                    <a:pt x="60" y="357"/>
                  </a:moveTo>
                  <a:lnTo>
                    <a:pt x="62" y="357"/>
                  </a:lnTo>
                  <a:lnTo>
                    <a:pt x="60" y="357"/>
                  </a:lnTo>
                  <a:close/>
                  <a:moveTo>
                    <a:pt x="25" y="353"/>
                  </a:moveTo>
                  <a:lnTo>
                    <a:pt x="27" y="353"/>
                  </a:lnTo>
                  <a:lnTo>
                    <a:pt x="25" y="353"/>
                  </a:lnTo>
                  <a:close/>
                  <a:moveTo>
                    <a:pt x="31" y="357"/>
                  </a:moveTo>
                  <a:lnTo>
                    <a:pt x="31" y="359"/>
                  </a:lnTo>
                  <a:lnTo>
                    <a:pt x="31" y="357"/>
                  </a:lnTo>
                  <a:close/>
                  <a:moveTo>
                    <a:pt x="71" y="353"/>
                  </a:moveTo>
                  <a:lnTo>
                    <a:pt x="71" y="355"/>
                  </a:lnTo>
                  <a:lnTo>
                    <a:pt x="71" y="353"/>
                  </a:lnTo>
                  <a:close/>
                  <a:moveTo>
                    <a:pt x="23" y="353"/>
                  </a:moveTo>
                  <a:lnTo>
                    <a:pt x="25" y="353"/>
                  </a:lnTo>
                  <a:lnTo>
                    <a:pt x="23" y="353"/>
                  </a:lnTo>
                  <a:close/>
                  <a:moveTo>
                    <a:pt x="21" y="348"/>
                  </a:moveTo>
                  <a:lnTo>
                    <a:pt x="23" y="348"/>
                  </a:lnTo>
                  <a:lnTo>
                    <a:pt x="21" y="348"/>
                  </a:lnTo>
                  <a:close/>
                  <a:moveTo>
                    <a:pt x="6" y="342"/>
                  </a:moveTo>
                  <a:lnTo>
                    <a:pt x="8" y="342"/>
                  </a:lnTo>
                  <a:lnTo>
                    <a:pt x="6" y="342"/>
                  </a:lnTo>
                  <a:close/>
                  <a:moveTo>
                    <a:pt x="75" y="207"/>
                  </a:moveTo>
                  <a:lnTo>
                    <a:pt x="75" y="209"/>
                  </a:lnTo>
                  <a:lnTo>
                    <a:pt x="75" y="207"/>
                  </a:lnTo>
                  <a:close/>
                  <a:moveTo>
                    <a:pt x="37" y="344"/>
                  </a:moveTo>
                  <a:lnTo>
                    <a:pt x="39" y="344"/>
                  </a:lnTo>
                  <a:lnTo>
                    <a:pt x="37" y="344"/>
                  </a:lnTo>
                  <a:close/>
                  <a:moveTo>
                    <a:pt x="6" y="342"/>
                  </a:moveTo>
                  <a:lnTo>
                    <a:pt x="8" y="342"/>
                  </a:lnTo>
                  <a:lnTo>
                    <a:pt x="6" y="342"/>
                  </a:lnTo>
                  <a:close/>
                  <a:moveTo>
                    <a:pt x="106" y="340"/>
                  </a:moveTo>
                  <a:lnTo>
                    <a:pt x="106" y="342"/>
                  </a:lnTo>
                  <a:lnTo>
                    <a:pt x="106" y="340"/>
                  </a:lnTo>
                  <a:close/>
                  <a:moveTo>
                    <a:pt x="50" y="232"/>
                  </a:moveTo>
                  <a:lnTo>
                    <a:pt x="52" y="232"/>
                  </a:lnTo>
                  <a:lnTo>
                    <a:pt x="50" y="232"/>
                  </a:lnTo>
                  <a:close/>
                  <a:moveTo>
                    <a:pt x="29" y="252"/>
                  </a:moveTo>
                  <a:lnTo>
                    <a:pt x="29" y="254"/>
                  </a:lnTo>
                  <a:lnTo>
                    <a:pt x="29" y="252"/>
                  </a:lnTo>
                  <a:close/>
                  <a:moveTo>
                    <a:pt x="89" y="194"/>
                  </a:moveTo>
                  <a:lnTo>
                    <a:pt x="91" y="194"/>
                  </a:lnTo>
                  <a:lnTo>
                    <a:pt x="89" y="194"/>
                  </a:lnTo>
                  <a:close/>
                  <a:moveTo>
                    <a:pt x="62" y="357"/>
                  </a:moveTo>
                  <a:lnTo>
                    <a:pt x="62" y="359"/>
                  </a:lnTo>
                  <a:lnTo>
                    <a:pt x="62" y="357"/>
                  </a:lnTo>
                  <a:close/>
                  <a:moveTo>
                    <a:pt x="48" y="346"/>
                  </a:moveTo>
                  <a:lnTo>
                    <a:pt x="48" y="348"/>
                  </a:lnTo>
                  <a:lnTo>
                    <a:pt x="48" y="346"/>
                  </a:lnTo>
                  <a:close/>
                  <a:moveTo>
                    <a:pt x="33" y="298"/>
                  </a:moveTo>
                  <a:lnTo>
                    <a:pt x="33" y="300"/>
                  </a:lnTo>
                  <a:lnTo>
                    <a:pt x="33" y="298"/>
                  </a:lnTo>
                  <a:close/>
                  <a:moveTo>
                    <a:pt x="18" y="344"/>
                  </a:moveTo>
                  <a:lnTo>
                    <a:pt x="19" y="344"/>
                  </a:lnTo>
                  <a:lnTo>
                    <a:pt x="18" y="344"/>
                  </a:lnTo>
                  <a:close/>
                  <a:moveTo>
                    <a:pt x="102" y="344"/>
                  </a:moveTo>
                  <a:lnTo>
                    <a:pt x="104" y="344"/>
                  </a:lnTo>
                  <a:lnTo>
                    <a:pt x="102" y="344"/>
                  </a:lnTo>
                  <a:close/>
                  <a:moveTo>
                    <a:pt x="43" y="344"/>
                  </a:moveTo>
                  <a:lnTo>
                    <a:pt x="43" y="346"/>
                  </a:lnTo>
                  <a:lnTo>
                    <a:pt x="43" y="344"/>
                  </a:lnTo>
                  <a:close/>
                  <a:moveTo>
                    <a:pt x="66" y="357"/>
                  </a:moveTo>
                  <a:lnTo>
                    <a:pt x="67" y="357"/>
                  </a:lnTo>
                  <a:lnTo>
                    <a:pt x="66" y="357"/>
                  </a:lnTo>
                  <a:close/>
                  <a:moveTo>
                    <a:pt x="33" y="359"/>
                  </a:moveTo>
                  <a:lnTo>
                    <a:pt x="33" y="361"/>
                  </a:lnTo>
                  <a:lnTo>
                    <a:pt x="33" y="359"/>
                  </a:lnTo>
                  <a:close/>
                  <a:moveTo>
                    <a:pt x="31" y="296"/>
                  </a:moveTo>
                  <a:lnTo>
                    <a:pt x="33" y="296"/>
                  </a:lnTo>
                  <a:lnTo>
                    <a:pt x="31" y="296"/>
                  </a:lnTo>
                  <a:close/>
                  <a:moveTo>
                    <a:pt x="44" y="350"/>
                  </a:moveTo>
                  <a:lnTo>
                    <a:pt x="46" y="350"/>
                  </a:lnTo>
                  <a:lnTo>
                    <a:pt x="44" y="350"/>
                  </a:lnTo>
                  <a:close/>
                  <a:moveTo>
                    <a:pt x="48" y="238"/>
                  </a:moveTo>
                  <a:lnTo>
                    <a:pt x="50" y="238"/>
                  </a:lnTo>
                  <a:lnTo>
                    <a:pt x="48" y="238"/>
                  </a:lnTo>
                  <a:close/>
                  <a:moveTo>
                    <a:pt x="66" y="355"/>
                  </a:moveTo>
                  <a:lnTo>
                    <a:pt x="66" y="357"/>
                  </a:lnTo>
                  <a:lnTo>
                    <a:pt x="66" y="355"/>
                  </a:lnTo>
                  <a:close/>
                  <a:moveTo>
                    <a:pt x="27" y="350"/>
                  </a:moveTo>
                  <a:lnTo>
                    <a:pt x="27" y="351"/>
                  </a:lnTo>
                  <a:lnTo>
                    <a:pt x="27" y="350"/>
                  </a:lnTo>
                  <a:close/>
                  <a:moveTo>
                    <a:pt x="29" y="344"/>
                  </a:moveTo>
                  <a:lnTo>
                    <a:pt x="31" y="344"/>
                  </a:lnTo>
                  <a:lnTo>
                    <a:pt x="29" y="344"/>
                  </a:lnTo>
                  <a:close/>
                  <a:moveTo>
                    <a:pt x="25" y="359"/>
                  </a:moveTo>
                  <a:lnTo>
                    <a:pt x="27" y="359"/>
                  </a:lnTo>
                  <a:lnTo>
                    <a:pt x="25" y="359"/>
                  </a:lnTo>
                  <a:close/>
                  <a:moveTo>
                    <a:pt x="23" y="263"/>
                  </a:moveTo>
                  <a:lnTo>
                    <a:pt x="25" y="263"/>
                  </a:lnTo>
                  <a:lnTo>
                    <a:pt x="23" y="263"/>
                  </a:lnTo>
                  <a:close/>
                  <a:moveTo>
                    <a:pt x="23" y="340"/>
                  </a:moveTo>
                  <a:lnTo>
                    <a:pt x="25" y="340"/>
                  </a:lnTo>
                  <a:lnTo>
                    <a:pt x="23" y="340"/>
                  </a:lnTo>
                  <a:close/>
                  <a:moveTo>
                    <a:pt x="64" y="355"/>
                  </a:moveTo>
                  <a:lnTo>
                    <a:pt x="64" y="357"/>
                  </a:lnTo>
                  <a:lnTo>
                    <a:pt x="64" y="355"/>
                  </a:lnTo>
                  <a:close/>
                  <a:moveTo>
                    <a:pt x="6" y="342"/>
                  </a:moveTo>
                  <a:lnTo>
                    <a:pt x="8" y="342"/>
                  </a:lnTo>
                  <a:lnTo>
                    <a:pt x="6" y="342"/>
                  </a:lnTo>
                  <a:close/>
                  <a:moveTo>
                    <a:pt x="46" y="351"/>
                  </a:moveTo>
                  <a:lnTo>
                    <a:pt x="46" y="353"/>
                  </a:lnTo>
                  <a:lnTo>
                    <a:pt x="46" y="351"/>
                  </a:lnTo>
                  <a:close/>
                  <a:moveTo>
                    <a:pt x="96" y="346"/>
                  </a:moveTo>
                  <a:lnTo>
                    <a:pt x="96" y="348"/>
                  </a:lnTo>
                  <a:lnTo>
                    <a:pt x="96" y="346"/>
                  </a:lnTo>
                  <a:close/>
                  <a:moveTo>
                    <a:pt x="44" y="351"/>
                  </a:moveTo>
                  <a:lnTo>
                    <a:pt x="46" y="351"/>
                  </a:lnTo>
                  <a:lnTo>
                    <a:pt x="44" y="351"/>
                  </a:lnTo>
                  <a:close/>
                  <a:moveTo>
                    <a:pt x="44" y="357"/>
                  </a:moveTo>
                  <a:lnTo>
                    <a:pt x="44" y="359"/>
                  </a:lnTo>
                  <a:lnTo>
                    <a:pt x="44" y="357"/>
                  </a:lnTo>
                  <a:close/>
                  <a:moveTo>
                    <a:pt x="31" y="257"/>
                  </a:moveTo>
                  <a:lnTo>
                    <a:pt x="33" y="257"/>
                  </a:lnTo>
                  <a:lnTo>
                    <a:pt x="31" y="257"/>
                  </a:lnTo>
                  <a:close/>
                  <a:moveTo>
                    <a:pt x="25" y="359"/>
                  </a:moveTo>
                  <a:lnTo>
                    <a:pt x="27" y="359"/>
                  </a:lnTo>
                  <a:lnTo>
                    <a:pt x="25" y="359"/>
                  </a:lnTo>
                  <a:close/>
                  <a:moveTo>
                    <a:pt x="39" y="344"/>
                  </a:moveTo>
                  <a:lnTo>
                    <a:pt x="39" y="346"/>
                  </a:lnTo>
                  <a:lnTo>
                    <a:pt x="39" y="344"/>
                  </a:lnTo>
                  <a:close/>
                  <a:moveTo>
                    <a:pt x="39" y="350"/>
                  </a:moveTo>
                  <a:lnTo>
                    <a:pt x="41" y="350"/>
                  </a:lnTo>
                  <a:lnTo>
                    <a:pt x="39" y="350"/>
                  </a:lnTo>
                  <a:close/>
                  <a:moveTo>
                    <a:pt x="31" y="342"/>
                  </a:moveTo>
                  <a:lnTo>
                    <a:pt x="31" y="344"/>
                  </a:lnTo>
                  <a:lnTo>
                    <a:pt x="31" y="342"/>
                  </a:lnTo>
                  <a:close/>
                  <a:moveTo>
                    <a:pt x="35" y="342"/>
                  </a:moveTo>
                  <a:lnTo>
                    <a:pt x="35" y="344"/>
                  </a:lnTo>
                  <a:lnTo>
                    <a:pt x="35" y="342"/>
                  </a:lnTo>
                  <a:close/>
                  <a:moveTo>
                    <a:pt x="37" y="353"/>
                  </a:moveTo>
                  <a:lnTo>
                    <a:pt x="37" y="355"/>
                  </a:lnTo>
                  <a:lnTo>
                    <a:pt x="37" y="353"/>
                  </a:lnTo>
                  <a:close/>
                  <a:moveTo>
                    <a:pt x="46" y="359"/>
                  </a:moveTo>
                  <a:lnTo>
                    <a:pt x="46" y="361"/>
                  </a:lnTo>
                  <a:lnTo>
                    <a:pt x="46" y="359"/>
                  </a:lnTo>
                  <a:close/>
                  <a:moveTo>
                    <a:pt x="25" y="355"/>
                  </a:moveTo>
                  <a:lnTo>
                    <a:pt x="27" y="355"/>
                  </a:lnTo>
                  <a:lnTo>
                    <a:pt x="25" y="355"/>
                  </a:lnTo>
                  <a:close/>
                  <a:moveTo>
                    <a:pt x="54" y="230"/>
                  </a:moveTo>
                  <a:lnTo>
                    <a:pt x="54" y="232"/>
                  </a:lnTo>
                  <a:lnTo>
                    <a:pt x="54" y="230"/>
                  </a:lnTo>
                  <a:close/>
                  <a:moveTo>
                    <a:pt x="79" y="171"/>
                  </a:moveTo>
                  <a:lnTo>
                    <a:pt x="79" y="173"/>
                  </a:lnTo>
                  <a:lnTo>
                    <a:pt x="79" y="171"/>
                  </a:lnTo>
                  <a:close/>
                  <a:moveTo>
                    <a:pt x="43" y="350"/>
                  </a:moveTo>
                  <a:lnTo>
                    <a:pt x="44" y="350"/>
                  </a:lnTo>
                  <a:lnTo>
                    <a:pt x="43" y="350"/>
                  </a:lnTo>
                  <a:close/>
                  <a:moveTo>
                    <a:pt x="18" y="353"/>
                  </a:moveTo>
                  <a:lnTo>
                    <a:pt x="18" y="355"/>
                  </a:lnTo>
                  <a:lnTo>
                    <a:pt x="18" y="353"/>
                  </a:lnTo>
                  <a:close/>
                  <a:moveTo>
                    <a:pt x="96" y="346"/>
                  </a:moveTo>
                  <a:lnTo>
                    <a:pt x="96" y="348"/>
                  </a:lnTo>
                  <a:lnTo>
                    <a:pt x="96" y="346"/>
                  </a:lnTo>
                  <a:close/>
                  <a:moveTo>
                    <a:pt x="25" y="348"/>
                  </a:moveTo>
                  <a:lnTo>
                    <a:pt x="25" y="350"/>
                  </a:lnTo>
                  <a:lnTo>
                    <a:pt x="25" y="348"/>
                  </a:lnTo>
                  <a:close/>
                  <a:moveTo>
                    <a:pt x="33" y="296"/>
                  </a:moveTo>
                  <a:lnTo>
                    <a:pt x="33" y="298"/>
                  </a:lnTo>
                  <a:lnTo>
                    <a:pt x="33" y="296"/>
                  </a:lnTo>
                  <a:close/>
                  <a:moveTo>
                    <a:pt x="66" y="357"/>
                  </a:moveTo>
                  <a:lnTo>
                    <a:pt x="67" y="357"/>
                  </a:lnTo>
                  <a:lnTo>
                    <a:pt x="66" y="357"/>
                  </a:lnTo>
                  <a:close/>
                  <a:moveTo>
                    <a:pt x="25" y="355"/>
                  </a:moveTo>
                  <a:lnTo>
                    <a:pt x="27" y="355"/>
                  </a:lnTo>
                  <a:lnTo>
                    <a:pt x="25" y="355"/>
                  </a:lnTo>
                  <a:close/>
                  <a:moveTo>
                    <a:pt x="50" y="357"/>
                  </a:moveTo>
                  <a:lnTo>
                    <a:pt x="50" y="359"/>
                  </a:lnTo>
                  <a:lnTo>
                    <a:pt x="50" y="357"/>
                  </a:lnTo>
                  <a:close/>
                  <a:moveTo>
                    <a:pt x="39" y="252"/>
                  </a:moveTo>
                  <a:lnTo>
                    <a:pt x="41" y="252"/>
                  </a:lnTo>
                  <a:lnTo>
                    <a:pt x="39" y="252"/>
                  </a:lnTo>
                  <a:close/>
                  <a:moveTo>
                    <a:pt x="27" y="344"/>
                  </a:moveTo>
                  <a:lnTo>
                    <a:pt x="27" y="346"/>
                  </a:lnTo>
                  <a:lnTo>
                    <a:pt x="27" y="344"/>
                  </a:lnTo>
                  <a:close/>
                  <a:moveTo>
                    <a:pt x="41" y="351"/>
                  </a:moveTo>
                  <a:lnTo>
                    <a:pt x="41" y="353"/>
                  </a:lnTo>
                  <a:lnTo>
                    <a:pt x="41" y="351"/>
                  </a:lnTo>
                  <a:close/>
                  <a:moveTo>
                    <a:pt x="23" y="342"/>
                  </a:moveTo>
                  <a:lnTo>
                    <a:pt x="25" y="342"/>
                  </a:lnTo>
                  <a:lnTo>
                    <a:pt x="23" y="342"/>
                  </a:lnTo>
                  <a:close/>
                  <a:moveTo>
                    <a:pt x="18" y="348"/>
                  </a:moveTo>
                  <a:lnTo>
                    <a:pt x="18" y="350"/>
                  </a:lnTo>
                  <a:lnTo>
                    <a:pt x="18" y="348"/>
                  </a:lnTo>
                  <a:close/>
                  <a:moveTo>
                    <a:pt x="18" y="355"/>
                  </a:moveTo>
                  <a:lnTo>
                    <a:pt x="19" y="355"/>
                  </a:lnTo>
                  <a:lnTo>
                    <a:pt x="18" y="355"/>
                  </a:lnTo>
                  <a:close/>
                  <a:moveTo>
                    <a:pt x="73" y="351"/>
                  </a:moveTo>
                  <a:lnTo>
                    <a:pt x="73" y="353"/>
                  </a:lnTo>
                  <a:lnTo>
                    <a:pt x="73" y="351"/>
                  </a:lnTo>
                  <a:close/>
                  <a:moveTo>
                    <a:pt x="46" y="353"/>
                  </a:moveTo>
                  <a:lnTo>
                    <a:pt x="46" y="355"/>
                  </a:lnTo>
                  <a:lnTo>
                    <a:pt x="46" y="353"/>
                  </a:lnTo>
                  <a:close/>
                  <a:moveTo>
                    <a:pt x="16" y="340"/>
                  </a:moveTo>
                  <a:lnTo>
                    <a:pt x="16" y="342"/>
                  </a:lnTo>
                  <a:lnTo>
                    <a:pt x="16" y="340"/>
                  </a:lnTo>
                  <a:close/>
                  <a:moveTo>
                    <a:pt x="25" y="342"/>
                  </a:moveTo>
                  <a:lnTo>
                    <a:pt x="25" y="344"/>
                  </a:lnTo>
                  <a:lnTo>
                    <a:pt x="25" y="342"/>
                  </a:lnTo>
                  <a:close/>
                  <a:moveTo>
                    <a:pt x="29" y="350"/>
                  </a:moveTo>
                  <a:lnTo>
                    <a:pt x="31" y="350"/>
                  </a:lnTo>
                  <a:lnTo>
                    <a:pt x="29" y="350"/>
                  </a:lnTo>
                  <a:close/>
                  <a:moveTo>
                    <a:pt x="35" y="361"/>
                  </a:moveTo>
                  <a:lnTo>
                    <a:pt x="37" y="361"/>
                  </a:lnTo>
                  <a:lnTo>
                    <a:pt x="35" y="361"/>
                  </a:lnTo>
                  <a:close/>
                  <a:moveTo>
                    <a:pt x="19" y="353"/>
                  </a:moveTo>
                  <a:lnTo>
                    <a:pt x="21" y="353"/>
                  </a:lnTo>
                  <a:lnTo>
                    <a:pt x="19" y="353"/>
                  </a:lnTo>
                  <a:close/>
                  <a:moveTo>
                    <a:pt x="46" y="357"/>
                  </a:moveTo>
                  <a:lnTo>
                    <a:pt x="48" y="357"/>
                  </a:lnTo>
                  <a:lnTo>
                    <a:pt x="46" y="357"/>
                  </a:lnTo>
                  <a:close/>
                  <a:moveTo>
                    <a:pt x="25" y="344"/>
                  </a:moveTo>
                  <a:lnTo>
                    <a:pt x="27" y="344"/>
                  </a:lnTo>
                  <a:lnTo>
                    <a:pt x="25" y="344"/>
                  </a:lnTo>
                  <a:close/>
                  <a:moveTo>
                    <a:pt x="46" y="246"/>
                  </a:moveTo>
                  <a:lnTo>
                    <a:pt x="46" y="248"/>
                  </a:lnTo>
                  <a:lnTo>
                    <a:pt x="46" y="246"/>
                  </a:lnTo>
                  <a:close/>
                  <a:moveTo>
                    <a:pt x="31" y="336"/>
                  </a:moveTo>
                  <a:lnTo>
                    <a:pt x="33" y="336"/>
                  </a:lnTo>
                  <a:lnTo>
                    <a:pt x="31" y="336"/>
                  </a:lnTo>
                  <a:close/>
                  <a:moveTo>
                    <a:pt x="31" y="257"/>
                  </a:moveTo>
                  <a:lnTo>
                    <a:pt x="31" y="259"/>
                  </a:lnTo>
                  <a:lnTo>
                    <a:pt x="31" y="257"/>
                  </a:lnTo>
                  <a:close/>
                  <a:moveTo>
                    <a:pt x="37" y="351"/>
                  </a:moveTo>
                  <a:lnTo>
                    <a:pt x="39" y="351"/>
                  </a:lnTo>
                  <a:lnTo>
                    <a:pt x="37" y="351"/>
                  </a:lnTo>
                  <a:close/>
                  <a:moveTo>
                    <a:pt x="29" y="328"/>
                  </a:moveTo>
                  <a:lnTo>
                    <a:pt x="29" y="330"/>
                  </a:lnTo>
                  <a:lnTo>
                    <a:pt x="29" y="328"/>
                  </a:lnTo>
                  <a:close/>
                  <a:moveTo>
                    <a:pt x="23" y="261"/>
                  </a:moveTo>
                  <a:lnTo>
                    <a:pt x="25" y="261"/>
                  </a:lnTo>
                  <a:lnTo>
                    <a:pt x="23" y="261"/>
                  </a:lnTo>
                  <a:close/>
                  <a:moveTo>
                    <a:pt x="10" y="342"/>
                  </a:moveTo>
                  <a:lnTo>
                    <a:pt x="12" y="342"/>
                  </a:lnTo>
                  <a:lnTo>
                    <a:pt x="10" y="342"/>
                  </a:lnTo>
                  <a:close/>
                  <a:moveTo>
                    <a:pt x="29" y="344"/>
                  </a:moveTo>
                  <a:lnTo>
                    <a:pt x="31" y="344"/>
                  </a:lnTo>
                  <a:lnTo>
                    <a:pt x="29" y="344"/>
                  </a:lnTo>
                  <a:close/>
                  <a:moveTo>
                    <a:pt x="31" y="313"/>
                  </a:moveTo>
                  <a:lnTo>
                    <a:pt x="33" y="313"/>
                  </a:lnTo>
                  <a:lnTo>
                    <a:pt x="31" y="313"/>
                  </a:lnTo>
                  <a:close/>
                  <a:moveTo>
                    <a:pt x="21" y="351"/>
                  </a:moveTo>
                  <a:lnTo>
                    <a:pt x="21" y="353"/>
                  </a:lnTo>
                  <a:lnTo>
                    <a:pt x="21" y="351"/>
                  </a:lnTo>
                  <a:close/>
                  <a:moveTo>
                    <a:pt x="48" y="357"/>
                  </a:moveTo>
                  <a:lnTo>
                    <a:pt x="50" y="357"/>
                  </a:lnTo>
                  <a:lnTo>
                    <a:pt x="48" y="357"/>
                  </a:lnTo>
                  <a:close/>
                  <a:moveTo>
                    <a:pt x="33" y="350"/>
                  </a:moveTo>
                  <a:lnTo>
                    <a:pt x="35" y="350"/>
                  </a:lnTo>
                  <a:lnTo>
                    <a:pt x="33" y="350"/>
                  </a:lnTo>
                  <a:close/>
                  <a:moveTo>
                    <a:pt x="27" y="254"/>
                  </a:moveTo>
                  <a:lnTo>
                    <a:pt x="29" y="254"/>
                  </a:lnTo>
                  <a:lnTo>
                    <a:pt x="27" y="254"/>
                  </a:lnTo>
                  <a:close/>
                  <a:moveTo>
                    <a:pt x="44" y="355"/>
                  </a:moveTo>
                  <a:lnTo>
                    <a:pt x="46" y="355"/>
                  </a:lnTo>
                  <a:lnTo>
                    <a:pt x="44" y="355"/>
                  </a:lnTo>
                  <a:close/>
                  <a:moveTo>
                    <a:pt x="73" y="353"/>
                  </a:moveTo>
                  <a:lnTo>
                    <a:pt x="75" y="353"/>
                  </a:lnTo>
                  <a:lnTo>
                    <a:pt x="73" y="353"/>
                  </a:lnTo>
                  <a:close/>
                  <a:moveTo>
                    <a:pt x="37" y="357"/>
                  </a:moveTo>
                  <a:lnTo>
                    <a:pt x="39" y="357"/>
                  </a:lnTo>
                  <a:lnTo>
                    <a:pt x="37" y="357"/>
                  </a:lnTo>
                  <a:close/>
                  <a:moveTo>
                    <a:pt x="27" y="346"/>
                  </a:moveTo>
                  <a:lnTo>
                    <a:pt x="27" y="348"/>
                  </a:lnTo>
                  <a:lnTo>
                    <a:pt x="27" y="346"/>
                  </a:lnTo>
                  <a:close/>
                  <a:moveTo>
                    <a:pt x="44" y="359"/>
                  </a:moveTo>
                  <a:lnTo>
                    <a:pt x="44" y="361"/>
                  </a:lnTo>
                  <a:lnTo>
                    <a:pt x="44" y="359"/>
                  </a:lnTo>
                  <a:close/>
                  <a:moveTo>
                    <a:pt x="37" y="351"/>
                  </a:moveTo>
                  <a:lnTo>
                    <a:pt x="39" y="351"/>
                  </a:lnTo>
                  <a:lnTo>
                    <a:pt x="37" y="351"/>
                  </a:lnTo>
                  <a:close/>
                  <a:moveTo>
                    <a:pt x="62" y="225"/>
                  </a:moveTo>
                  <a:lnTo>
                    <a:pt x="64" y="225"/>
                  </a:lnTo>
                  <a:lnTo>
                    <a:pt x="64" y="227"/>
                  </a:lnTo>
                  <a:lnTo>
                    <a:pt x="62" y="227"/>
                  </a:lnTo>
                  <a:lnTo>
                    <a:pt x="62" y="225"/>
                  </a:lnTo>
                  <a:close/>
                  <a:moveTo>
                    <a:pt x="8" y="340"/>
                  </a:moveTo>
                  <a:lnTo>
                    <a:pt x="8" y="342"/>
                  </a:lnTo>
                  <a:lnTo>
                    <a:pt x="8" y="340"/>
                  </a:lnTo>
                  <a:close/>
                  <a:moveTo>
                    <a:pt x="29" y="330"/>
                  </a:moveTo>
                  <a:lnTo>
                    <a:pt x="29" y="332"/>
                  </a:lnTo>
                  <a:lnTo>
                    <a:pt x="29" y="330"/>
                  </a:lnTo>
                  <a:close/>
                  <a:moveTo>
                    <a:pt x="29" y="342"/>
                  </a:moveTo>
                  <a:lnTo>
                    <a:pt x="29" y="344"/>
                  </a:lnTo>
                  <a:lnTo>
                    <a:pt x="29" y="342"/>
                  </a:lnTo>
                  <a:close/>
                  <a:moveTo>
                    <a:pt x="64" y="357"/>
                  </a:moveTo>
                  <a:lnTo>
                    <a:pt x="66" y="357"/>
                  </a:lnTo>
                  <a:lnTo>
                    <a:pt x="64" y="357"/>
                  </a:lnTo>
                  <a:close/>
                  <a:moveTo>
                    <a:pt x="21" y="355"/>
                  </a:moveTo>
                  <a:lnTo>
                    <a:pt x="21" y="357"/>
                  </a:lnTo>
                  <a:lnTo>
                    <a:pt x="21" y="355"/>
                  </a:lnTo>
                  <a:close/>
                  <a:moveTo>
                    <a:pt x="31" y="286"/>
                  </a:moveTo>
                  <a:lnTo>
                    <a:pt x="31" y="288"/>
                  </a:lnTo>
                  <a:lnTo>
                    <a:pt x="31" y="286"/>
                  </a:lnTo>
                  <a:close/>
                  <a:moveTo>
                    <a:pt x="21" y="350"/>
                  </a:moveTo>
                  <a:lnTo>
                    <a:pt x="23" y="350"/>
                  </a:lnTo>
                  <a:lnTo>
                    <a:pt x="21" y="350"/>
                  </a:lnTo>
                  <a:close/>
                  <a:moveTo>
                    <a:pt x="29" y="346"/>
                  </a:moveTo>
                  <a:lnTo>
                    <a:pt x="29" y="348"/>
                  </a:lnTo>
                  <a:lnTo>
                    <a:pt x="29" y="346"/>
                  </a:lnTo>
                  <a:close/>
                  <a:moveTo>
                    <a:pt x="39" y="350"/>
                  </a:moveTo>
                  <a:lnTo>
                    <a:pt x="39" y="351"/>
                  </a:lnTo>
                  <a:lnTo>
                    <a:pt x="39" y="350"/>
                  </a:lnTo>
                  <a:close/>
                  <a:moveTo>
                    <a:pt x="33" y="257"/>
                  </a:moveTo>
                  <a:lnTo>
                    <a:pt x="35" y="257"/>
                  </a:lnTo>
                  <a:lnTo>
                    <a:pt x="33" y="257"/>
                  </a:lnTo>
                  <a:close/>
                  <a:moveTo>
                    <a:pt x="29" y="278"/>
                  </a:moveTo>
                  <a:lnTo>
                    <a:pt x="29" y="280"/>
                  </a:lnTo>
                  <a:lnTo>
                    <a:pt x="29" y="278"/>
                  </a:lnTo>
                  <a:close/>
                  <a:moveTo>
                    <a:pt x="33" y="342"/>
                  </a:moveTo>
                  <a:lnTo>
                    <a:pt x="35" y="342"/>
                  </a:lnTo>
                  <a:lnTo>
                    <a:pt x="33" y="342"/>
                  </a:lnTo>
                  <a:close/>
                  <a:moveTo>
                    <a:pt x="29" y="346"/>
                  </a:moveTo>
                  <a:lnTo>
                    <a:pt x="31" y="346"/>
                  </a:lnTo>
                  <a:lnTo>
                    <a:pt x="29" y="346"/>
                  </a:lnTo>
                  <a:close/>
                  <a:moveTo>
                    <a:pt x="31" y="353"/>
                  </a:moveTo>
                  <a:lnTo>
                    <a:pt x="31" y="355"/>
                  </a:lnTo>
                  <a:lnTo>
                    <a:pt x="31" y="353"/>
                  </a:lnTo>
                  <a:close/>
                  <a:moveTo>
                    <a:pt x="33" y="300"/>
                  </a:moveTo>
                  <a:lnTo>
                    <a:pt x="33" y="302"/>
                  </a:lnTo>
                  <a:lnTo>
                    <a:pt x="33" y="300"/>
                  </a:lnTo>
                  <a:close/>
                  <a:moveTo>
                    <a:pt x="33" y="259"/>
                  </a:moveTo>
                  <a:lnTo>
                    <a:pt x="33" y="261"/>
                  </a:lnTo>
                  <a:lnTo>
                    <a:pt x="33" y="259"/>
                  </a:lnTo>
                  <a:close/>
                  <a:moveTo>
                    <a:pt x="33" y="311"/>
                  </a:moveTo>
                  <a:lnTo>
                    <a:pt x="33" y="313"/>
                  </a:lnTo>
                  <a:lnTo>
                    <a:pt x="33" y="311"/>
                  </a:lnTo>
                  <a:close/>
                  <a:moveTo>
                    <a:pt x="39" y="361"/>
                  </a:moveTo>
                  <a:lnTo>
                    <a:pt x="41" y="361"/>
                  </a:lnTo>
                  <a:lnTo>
                    <a:pt x="39" y="361"/>
                  </a:lnTo>
                  <a:close/>
                  <a:moveTo>
                    <a:pt x="39" y="350"/>
                  </a:moveTo>
                  <a:lnTo>
                    <a:pt x="41" y="350"/>
                  </a:lnTo>
                  <a:lnTo>
                    <a:pt x="39" y="350"/>
                  </a:lnTo>
                  <a:close/>
                  <a:moveTo>
                    <a:pt x="31" y="350"/>
                  </a:moveTo>
                  <a:lnTo>
                    <a:pt x="33" y="350"/>
                  </a:lnTo>
                  <a:lnTo>
                    <a:pt x="33" y="351"/>
                  </a:lnTo>
                  <a:lnTo>
                    <a:pt x="31" y="351"/>
                  </a:lnTo>
                  <a:lnTo>
                    <a:pt x="31" y="350"/>
                  </a:lnTo>
                  <a:close/>
                  <a:moveTo>
                    <a:pt x="54" y="357"/>
                  </a:moveTo>
                  <a:lnTo>
                    <a:pt x="56" y="357"/>
                  </a:lnTo>
                  <a:lnTo>
                    <a:pt x="54" y="357"/>
                  </a:lnTo>
                  <a:close/>
                  <a:moveTo>
                    <a:pt x="33" y="315"/>
                  </a:moveTo>
                  <a:lnTo>
                    <a:pt x="35" y="315"/>
                  </a:lnTo>
                  <a:lnTo>
                    <a:pt x="33" y="315"/>
                  </a:lnTo>
                  <a:close/>
                  <a:moveTo>
                    <a:pt x="41" y="359"/>
                  </a:moveTo>
                  <a:lnTo>
                    <a:pt x="43" y="359"/>
                  </a:lnTo>
                  <a:lnTo>
                    <a:pt x="41" y="359"/>
                  </a:lnTo>
                  <a:close/>
                  <a:moveTo>
                    <a:pt x="25" y="340"/>
                  </a:moveTo>
                  <a:lnTo>
                    <a:pt x="25" y="342"/>
                  </a:lnTo>
                  <a:lnTo>
                    <a:pt x="25" y="340"/>
                  </a:lnTo>
                  <a:close/>
                  <a:moveTo>
                    <a:pt x="50" y="355"/>
                  </a:moveTo>
                  <a:lnTo>
                    <a:pt x="50" y="357"/>
                  </a:lnTo>
                  <a:lnTo>
                    <a:pt x="50" y="355"/>
                  </a:lnTo>
                  <a:close/>
                  <a:moveTo>
                    <a:pt x="18" y="340"/>
                  </a:moveTo>
                  <a:lnTo>
                    <a:pt x="19" y="340"/>
                  </a:lnTo>
                  <a:lnTo>
                    <a:pt x="18" y="340"/>
                  </a:lnTo>
                  <a:close/>
                  <a:moveTo>
                    <a:pt x="44" y="252"/>
                  </a:moveTo>
                  <a:lnTo>
                    <a:pt x="46" y="252"/>
                  </a:lnTo>
                  <a:lnTo>
                    <a:pt x="44" y="252"/>
                  </a:lnTo>
                  <a:close/>
                  <a:moveTo>
                    <a:pt x="29" y="250"/>
                  </a:moveTo>
                  <a:lnTo>
                    <a:pt x="31" y="250"/>
                  </a:lnTo>
                  <a:lnTo>
                    <a:pt x="29" y="250"/>
                  </a:lnTo>
                  <a:close/>
                  <a:moveTo>
                    <a:pt x="29" y="334"/>
                  </a:moveTo>
                  <a:lnTo>
                    <a:pt x="29" y="336"/>
                  </a:lnTo>
                  <a:lnTo>
                    <a:pt x="29" y="334"/>
                  </a:lnTo>
                  <a:close/>
                  <a:moveTo>
                    <a:pt x="83" y="350"/>
                  </a:moveTo>
                  <a:lnTo>
                    <a:pt x="85" y="350"/>
                  </a:lnTo>
                  <a:lnTo>
                    <a:pt x="83" y="350"/>
                  </a:lnTo>
                  <a:close/>
                  <a:moveTo>
                    <a:pt x="79" y="173"/>
                  </a:moveTo>
                  <a:lnTo>
                    <a:pt x="79" y="175"/>
                  </a:lnTo>
                  <a:lnTo>
                    <a:pt x="79" y="173"/>
                  </a:lnTo>
                  <a:close/>
                  <a:moveTo>
                    <a:pt x="44" y="353"/>
                  </a:moveTo>
                  <a:lnTo>
                    <a:pt x="46" y="353"/>
                  </a:lnTo>
                  <a:lnTo>
                    <a:pt x="44" y="353"/>
                  </a:lnTo>
                  <a:close/>
                  <a:moveTo>
                    <a:pt x="31" y="326"/>
                  </a:moveTo>
                  <a:lnTo>
                    <a:pt x="31" y="328"/>
                  </a:lnTo>
                  <a:lnTo>
                    <a:pt x="31" y="326"/>
                  </a:lnTo>
                  <a:close/>
                  <a:moveTo>
                    <a:pt x="33" y="359"/>
                  </a:moveTo>
                  <a:lnTo>
                    <a:pt x="33" y="361"/>
                  </a:lnTo>
                  <a:lnTo>
                    <a:pt x="33" y="359"/>
                  </a:lnTo>
                  <a:close/>
                  <a:moveTo>
                    <a:pt x="92" y="350"/>
                  </a:moveTo>
                  <a:lnTo>
                    <a:pt x="94" y="350"/>
                  </a:lnTo>
                  <a:lnTo>
                    <a:pt x="92" y="350"/>
                  </a:lnTo>
                  <a:close/>
                  <a:moveTo>
                    <a:pt x="27" y="328"/>
                  </a:moveTo>
                  <a:lnTo>
                    <a:pt x="27" y="330"/>
                  </a:lnTo>
                  <a:lnTo>
                    <a:pt x="27" y="328"/>
                  </a:lnTo>
                  <a:close/>
                  <a:moveTo>
                    <a:pt x="10" y="351"/>
                  </a:moveTo>
                  <a:lnTo>
                    <a:pt x="10" y="353"/>
                  </a:lnTo>
                  <a:lnTo>
                    <a:pt x="10" y="351"/>
                  </a:lnTo>
                  <a:close/>
                  <a:moveTo>
                    <a:pt x="29" y="284"/>
                  </a:moveTo>
                  <a:lnTo>
                    <a:pt x="31" y="284"/>
                  </a:lnTo>
                  <a:lnTo>
                    <a:pt x="29" y="284"/>
                  </a:lnTo>
                  <a:close/>
                  <a:moveTo>
                    <a:pt x="8" y="344"/>
                  </a:moveTo>
                  <a:lnTo>
                    <a:pt x="10" y="344"/>
                  </a:lnTo>
                  <a:lnTo>
                    <a:pt x="8" y="344"/>
                  </a:lnTo>
                  <a:close/>
                  <a:moveTo>
                    <a:pt x="27" y="252"/>
                  </a:moveTo>
                  <a:lnTo>
                    <a:pt x="29" y="252"/>
                  </a:lnTo>
                  <a:lnTo>
                    <a:pt x="27" y="252"/>
                  </a:lnTo>
                  <a:close/>
                  <a:moveTo>
                    <a:pt x="100" y="342"/>
                  </a:moveTo>
                  <a:lnTo>
                    <a:pt x="100" y="344"/>
                  </a:lnTo>
                  <a:lnTo>
                    <a:pt x="100" y="342"/>
                  </a:lnTo>
                  <a:close/>
                  <a:moveTo>
                    <a:pt x="119" y="342"/>
                  </a:moveTo>
                  <a:lnTo>
                    <a:pt x="121" y="342"/>
                  </a:lnTo>
                  <a:lnTo>
                    <a:pt x="119" y="342"/>
                  </a:lnTo>
                  <a:close/>
                  <a:moveTo>
                    <a:pt x="37" y="357"/>
                  </a:moveTo>
                  <a:lnTo>
                    <a:pt x="39" y="357"/>
                  </a:lnTo>
                  <a:lnTo>
                    <a:pt x="37" y="357"/>
                  </a:lnTo>
                  <a:close/>
                  <a:moveTo>
                    <a:pt x="27" y="338"/>
                  </a:moveTo>
                  <a:lnTo>
                    <a:pt x="27" y="340"/>
                  </a:lnTo>
                  <a:lnTo>
                    <a:pt x="27" y="338"/>
                  </a:lnTo>
                  <a:close/>
                  <a:moveTo>
                    <a:pt x="50" y="342"/>
                  </a:moveTo>
                  <a:lnTo>
                    <a:pt x="50" y="344"/>
                  </a:lnTo>
                  <a:lnTo>
                    <a:pt x="50" y="342"/>
                  </a:lnTo>
                  <a:close/>
                  <a:moveTo>
                    <a:pt x="37" y="346"/>
                  </a:moveTo>
                  <a:lnTo>
                    <a:pt x="37" y="348"/>
                  </a:lnTo>
                  <a:lnTo>
                    <a:pt x="37" y="346"/>
                  </a:lnTo>
                  <a:close/>
                  <a:moveTo>
                    <a:pt x="33" y="355"/>
                  </a:moveTo>
                  <a:lnTo>
                    <a:pt x="35" y="355"/>
                  </a:lnTo>
                  <a:lnTo>
                    <a:pt x="33" y="355"/>
                  </a:lnTo>
                  <a:close/>
                  <a:moveTo>
                    <a:pt x="67" y="357"/>
                  </a:moveTo>
                  <a:lnTo>
                    <a:pt x="69" y="357"/>
                  </a:lnTo>
                  <a:lnTo>
                    <a:pt x="67" y="357"/>
                  </a:lnTo>
                  <a:close/>
                  <a:moveTo>
                    <a:pt x="41" y="359"/>
                  </a:moveTo>
                  <a:lnTo>
                    <a:pt x="43" y="359"/>
                  </a:lnTo>
                  <a:lnTo>
                    <a:pt x="41" y="359"/>
                  </a:lnTo>
                  <a:close/>
                  <a:moveTo>
                    <a:pt x="102" y="344"/>
                  </a:moveTo>
                  <a:lnTo>
                    <a:pt x="104" y="344"/>
                  </a:lnTo>
                  <a:lnTo>
                    <a:pt x="102" y="344"/>
                  </a:lnTo>
                  <a:close/>
                  <a:moveTo>
                    <a:pt x="41" y="359"/>
                  </a:moveTo>
                  <a:lnTo>
                    <a:pt x="43" y="359"/>
                  </a:lnTo>
                  <a:lnTo>
                    <a:pt x="41" y="359"/>
                  </a:lnTo>
                  <a:close/>
                  <a:moveTo>
                    <a:pt x="21" y="357"/>
                  </a:moveTo>
                  <a:lnTo>
                    <a:pt x="21" y="359"/>
                  </a:lnTo>
                  <a:lnTo>
                    <a:pt x="21" y="357"/>
                  </a:lnTo>
                  <a:close/>
                  <a:moveTo>
                    <a:pt x="31" y="257"/>
                  </a:moveTo>
                  <a:lnTo>
                    <a:pt x="31" y="259"/>
                  </a:lnTo>
                  <a:lnTo>
                    <a:pt x="31" y="257"/>
                  </a:lnTo>
                  <a:close/>
                  <a:moveTo>
                    <a:pt x="37" y="250"/>
                  </a:moveTo>
                  <a:lnTo>
                    <a:pt x="37" y="252"/>
                  </a:lnTo>
                  <a:lnTo>
                    <a:pt x="37" y="250"/>
                  </a:lnTo>
                  <a:close/>
                  <a:moveTo>
                    <a:pt x="98" y="346"/>
                  </a:moveTo>
                  <a:lnTo>
                    <a:pt x="98" y="348"/>
                  </a:lnTo>
                  <a:lnTo>
                    <a:pt x="98" y="346"/>
                  </a:lnTo>
                  <a:close/>
                  <a:moveTo>
                    <a:pt x="6" y="342"/>
                  </a:moveTo>
                  <a:lnTo>
                    <a:pt x="6" y="344"/>
                  </a:lnTo>
                  <a:lnTo>
                    <a:pt x="6" y="342"/>
                  </a:lnTo>
                  <a:close/>
                  <a:moveTo>
                    <a:pt x="18" y="353"/>
                  </a:moveTo>
                  <a:lnTo>
                    <a:pt x="18" y="355"/>
                  </a:lnTo>
                  <a:lnTo>
                    <a:pt x="18" y="353"/>
                  </a:lnTo>
                  <a:close/>
                  <a:moveTo>
                    <a:pt x="91" y="346"/>
                  </a:moveTo>
                  <a:lnTo>
                    <a:pt x="91" y="348"/>
                  </a:lnTo>
                  <a:lnTo>
                    <a:pt x="91" y="346"/>
                  </a:lnTo>
                  <a:close/>
                  <a:moveTo>
                    <a:pt x="35" y="305"/>
                  </a:moveTo>
                  <a:lnTo>
                    <a:pt x="35" y="307"/>
                  </a:lnTo>
                  <a:lnTo>
                    <a:pt x="35" y="305"/>
                  </a:lnTo>
                  <a:close/>
                  <a:moveTo>
                    <a:pt x="37" y="359"/>
                  </a:moveTo>
                  <a:lnTo>
                    <a:pt x="39" y="359"/>
                  </a:lnTo>
                  <a:lnTo>
                    <a:pt x="39" y="361"/>
                  </a:lnTo>
                  <a:lnTo>
                    <a:pt x="37" y="361"/>
                  </a:lnTo>
                  <a:lnTo>
                    <a:pt x="37" y="359"/>
                  </a:lnTo>
                  <a:close/>
                  <a:moveTo>
                    <a:pt x="31" y="252"/>
                  </a:moveTo>
                  <a:lnTo>
                    <a:pt x="31" y="254"/>
                  </a:lnTo>
                  <a:lnTo>
                    <a:pt x="31" y="252"/>
                  </a:lnTo>
                  <a:close/>
                  <a:moveTo>
                    <a:pt x="33" y="342"/>
                  </a:moveTo>
                  <a:lnTo>
                    <a:pt x="35" y="342"/>
                  </a:lnTo>
                  <a:lnTo>
                    <a:pt x="33" y="342"/>
                  </a:lnTo>
                  <a:close/>
                  <a:moveTo>
                    <a:pt x="27" y="355"/>
                  </a:moveTo>
                  <a:lnTo>
                    <a:pt x="27" y="357"/>
                  </a:lnTo>
                  <a:lnTo>
                    <a:pt x="27" y="355"/>
                  </a:lnTo>
                  <a:close/>
                  <a:moveTo>
                    <a:pt x="71" y="353"/>
                  </a:moveTo>
                  <a:lnTo>
                    <a:pt x="73" y="353"/>
                  </a:lnTo>
                  <a:lnTo>
                    <a:pt x="71" y="353"/>
                  </a:lnTo>
                  <a:close/>
                  <a:moveTo>
                    <a:pt x="19" y="357"/>
                  </a:moveTo>
                  <a:lnTo>
                    <a:pt x="21" y="357"/>
                  </a:lnTo>
                  <a:lnTo>
                    <a:pt x="19" y="357"/>
                  </a:lnTo>
                  <a:close/>
                  <a:moveTo>
                    <a:pt x="41" y="353"/>
                  </a:moveTo>
                  <a:lnTo>
                    <a:pt x="41" y="355"/>
                  </a:lnTo>
                  <a:lnTo>
                    <a:pt x="41" y="353"/>
                  </a:lnTo>
                  <a:close/>
                  <a:moveTo>
                    <a:pt x="27" y="250"/>
                  </a:moveTo>
                  <a:lnTo>
                    <a:pt x="29" y="250"/>
                  </a:lnTo>
                  <a:lnTo>
                    <a:pt x="27" y="250"/>
                  </a:lnTo>
                  <a:close/>
                  <a:moveTo>
                    <a:pt x="37" y="250"/>
                  </a:moveTo>
                  <a:lnTo>
                    <a:pt x="39" y="250"/>
                  </a:lnTo>
                  <a:lnTo>
                    <a:pt x="37" y="250"/>
                  </a:lnTo>
                  <a:close/>
                  <a:moveTo>
                    <a:pt x="102" y="342"/>
                  </a:moveTo>
                  <a:lnTo>
                    <a:pt x="102" y="344"/>
                  </a:lnTo>
                  <a:lnTo>
                    <a:pt x="102" y="342"/>
                  </a:lnTo>
                  <a:close/>
                  <a:moveTo>
                    <a:pt x="41" y="359"/>
                  </a:moveTo>
                  <a:lnTo>
                    <a:pt x="43" y="359"/>
                  </a:lnTo>
                  <a:lnTo>
                    <a:pt x="41" y="359"/>
                  </a:lnTo>
                  <a:close/>
                  <a:moveTo>
                    <a:pt x="10" y="353"/>
                  </a:moveTo>
                  <a:lnTo>
                    <a:pt x="12" y="353"/>
                  </a:lnTo>
                  <a:lnTo>
                    <a:pt x="10" y="353"/>
                  </a:lnTo>
                  <a:close/>
                  <a:moveTo>
                    <a:pt x="60" y="230"/>
                  </a:moveTo>
                  <a:lnTo>
                    <a:pt x="60" y="232"/>
                  </a:lnTo>
                  <a:lnTo>
                    <a:pt x="60" y="230"/>
                  </a:lnTo>
                  <a:close/>
                  <a:moveTo>
                    <a:pt x="23" y="346"/>
                  </a:moveTo>
                  <a:lnTo>
                    <a:pt x="23" y="348"/>
                  </a:lnTo>
                  <a:lnTo>
                    <a:pt x="23" y="346"/>
                  </a:lnTo>
                  <a:close/>
                  <a:moveTo>
                    <a:pt x="8" y="344"/>
                  </a:moveTo>
                  <a:lnTo>
                    <a:pt x="10" y="344"/>
                  </a:lnTo>
                  <a:lnTo>
                    <a:pt x="8" y="344"/>
                  </a:lnTo>
                  <a:close/>
                  <a:moveTo>
                    <a:pt x="41" y="357"/>
                  </a:moveTo>
                  <a:lnTo>
                    <a:pt x="41" y="359"/>
                  </a:lnTo>
                  <a:lnTo>
                    <a:pt x="41" y="357"/>
                  </a:lnTo>
                  <a:close/>
                  <a:moveTo>
                    <a:pt x="67" y="355"/>
                  </a:moveTo>
                  <a:lnTo>
                    <a:pt x="69" y="355"/>
                  </a:lnTo>
                  <a:lnTo>
                    <a:pt x="67" y="355"/>
                  </a:lnTo>
                  <a:close/>
                  <a:moveTo>
                    <a:pt x="21" y="351"/>
                  </a:moveTo>
                  <a:lnTo>
                    <a:pt x="21" y="353"/>
                  </a:lnTo>
                  <a:lnTo>
                    <a:pt x="21" y="351"/>
                  </a:lnTo>
                  <a:close/>
                  <a:moveTo>
                    <a:pt x="58" y="359"/>
                  </a:moveTo>
                  <a:lnTo>
                    <a:pt x="60" y="359"/>
                  </a:lnTo>
                  <a:lnTo>
                    <a:pt x="58" y="359"/>
                  </a:lnTo>
                  <a:close/>
                  <a:moveTo>
                    <a:pt x="62" y="357"/>
                  </a:moveTo>
                  <a:lnTo>
                    <a:pt x="62" y="359"/>
                  </a:lnTo>
                  <a:lnTo>
                    <a:pt x="62" y="357"/>
                  </a:lnTo>
                  <a:close/>
                  <a:moveTo>
                    <a:pt x="37" y="252"/>
                  </a:moveTo>
                  <a:lnTo>
                    <a:pt x="37" y="254"/>
                  </a:lnTo>
                  <a:lnTo>
                    <a:pt x="37" y="252"/>
                  </a:lnTo>
                  <a:close/>
                  <a:moveTo>
                    <a:pt x="46" y="350"/>
                  </a:moveTo>
                  <a:lnTo>
                    <a:pt x="46" y="351"/>
                  </a:lnTo>
                  <a:lnTo>
                    <a:pt x="46" y="350"/>
                  </a:lnTo>
                  <a:close/>
                  <a:moveTo>
                    <a:pt x="19" y="353"/>
                  </a:moveTo>
                  <a:lnTo>
                    <a:pt x="21" y="353"/>
                  </a:lnTo>
                  <a:lnTo>
                    <a:pt x="19" y="353"/>
                  </a:lnTo>
                  <a:close/>
                  <a:moveTo>
                    <a:pt x="19" y="357"/>
                  </a:moveTo>
                  <a:lnTo>
                    <a:pt x="21" y="357"/>
                  </a:lnTo>
                  <a:lnTo>
                    <a:pt x="19" y="357"/>
                  </a:lnTo>
                  <a:close/>
                  <a:moveTo>
                    <a:pt x="91" y="346"/>
                  </a:moveTo>
                  <a:lnTo>
                    <a:pt x="91" y="348"/>
                  </a:lnTo>
                  <a:lnTo>
                    <a:pt x="91" y="346"/>
                  </a:lnTo>
                  <a:close/>
                  <a:moveTo>
                    <a:pt x="19" y="355"/>
                  </a:moveTo>
                  <a:lnTo>
                    <a:pt x="21" y="355"/>
                  </a:lnTo>
                  <a:lnTo>
                    <a:pt x="19" y="355"/>
                  </a:lnTo>
                  <a:close/>
                  <a:moveTo>
                    <a:pt x="19" y="342"/>
                  </a:moveTo>
                  <a:lnTo>
                    <a:pt x="19" y="344"/>
                  </a:lnTo>
                  <a:lnTo>
                    <a:pt x="19" y="342"/>
                  </a:lnTo>
                  <a:close/>
                  <a:moveTo>
                    <a:pt x="52" y="359"/>
                  </a:moveTo>
                  <a:lnTo>
                    <a:pt x="54" y="359"/>
                  </a:lnTo>
                  <a:lnTo>
                    <a:pt x="52" y="359"/>
                  </a:lnTo>
                  <a:close/>
                  <a:moveTo>
                    <a:pt x="44" y="359"/>
                  </a:moveTo>
                  <a:lnTo>
                    <a:pt x="46" y="359"/>
                  </a:lnTo>
                  <a:lnTo>
                    <a:pt x="44" y="359"/>
                  </a:lnTo>
                  <a:close/>
                  <a:moveTo>
                    <a:pt x="35" y="353"/>
                  </a:moveTo>
                  <a:lnTo>
                    <a:pt x="37" y="353"/>
                  </a:lnTo>
                  <a:lnTo>
                    <a:pt x="35" y="353"/>
                  </a:lnTo>
                  <a:close/>
                  <a:moveTo>
                    <a:pt x="27" y="252"/>
                  </a:moveTo>
                  <a:lnTo>
                    <a:pt x="27" y="254"/>
                  </a:lnTo>
                  <a:lnTo>
                    <a:pt x="27" y="252"/>
                  </a:lnTo>
                  <a:close/>
                  <a:moveTo>
                    <a:pt x="18" y="344"/>
                  </a:moveTo>
                  <a:lnTo>
                    <a:pt x="19" y="344"/>
                  </a:lnTo>
                  <a:lnTo>
                    <a:pt x="18" y="344"/>
                  </a:lnTo>
                  <a:close/>
                  <a:moveTo>
                    <a:pt x="23" y="348"/>
                  </a:moveTo>
                  <a:lnTo>
                    <a:pt x="23" y="350"/>
                  </a:lnTo>
                  <a:lnTo>
                    <a:pt x="23" y="348"/>
                  </a:lnTo>
                  <a:close/>
                  <a:moveTo>
                    <a:pt x="25" y="338"/>
                  </a:moveTo>
                  <a:lnTo>
                    <a:pt x="25" y="340"/>
                  </a:lnTo>
                  <a:lnTo>
                    <a:pt x="25" y="338"/>
                  </a:lnTo>
                  <a:close/>
                  <a:moveTo>
                    <a:pt x="27" y="359"/>
                  </a:moveTo>
                  <a:lnTo>
                    <a:pt x="27" y="361"/>
                  </a:lnTo>
                  <a:lnTo>
                    <a:pt x="27" y="359"/>
                  </a:lnTo>
                  <a:close/>
                  <a:moveTo>
                    <a:pt x="98" y="348"/>
                  </a:moveTo>
                  <a:lnTo>
                    <a:pt x="100" y="348"/>
                  </a:lnTo>
                  <a:lnTo>
                    <a:pt x="98" y="348"/>
                  </a:lnTo>
                  <a:close/>
                  <a:moveTo>
                    <a:pt x="33" y="302"/>
                  </a:moveTo>
                  <a:lnTo>
                    <a:pt x="33" y="303"/>
                  </a:lnTo>
                  <a:lnTo>
                    <a:pt x="33" y="302"/>
                  </a:lnTo>
                  <a:close/>
                  <a:moveTo>
                    <a:pt x="19" y="353"/>
                  </a:moveTo>
                  <a:lnTo>
                    <a:pt x="19" y="355"/>
                  </a:lnTo>
                  <a:lnTo>
                    <a:pt x="19" y="353"/>
                  </a:lnTo>
                  <a:close/>
                  <a:moveTo>
                    <a:pt x="44" y="359"/>
                  </a:moveTo>
                  <a:lnTo>
                    <a:pt x="46" y="359"/>
                  </a:lnTo>
                  <a:lnTo>
                    <a:pt x="44" y="359"/>
                  </a:lnTo>
                  <a:close/>
                  <a:moveTo>
                    <a:pt x="29" y="336"/>
                  </a:moveTo>
                  <a:lnTo>
                    <a:pt x="31" y="336"/>
                  </a:lnTo>
                  <a:lnTo>
                    <a:pt x="29" y="336"/>
                  </a:lnTo>
                  <a:close/>
                  <a:moveTo>
                    <a:pt x="16" y="350"/>
                  </a:moveTo>
                  <a:lnTo>
                    <a:pt x="16" y="351"/>
                  </a:lnTo>
                  <a:lnTo>
                    <a:pt x="16" y="350"/>
                  </a:lnTo>
                  <a:close/>
                  <a:moveTo>
                    <a:pt x="102" y="342"/>
                  </a:moveTo>
                  <a:lnTo>
                    <a:pt x="104" y="342"/>
                  </a:lnTo>
                  <a:lnTo>
                    <a:pt x="102" y="342"/>
                  </a:lnTo>
                  <a:close/>
                  <a:moveTo>
                    <a:pt x="31" y="317"/>
                  </a:moveTo>
                  <a:lnTo>
                    <a:pt x="33" y="317"/>
                  </a:lnTo>
                  <a:lnTo>
                    <a:pt x="31" y="317"/>
                  </a:lnTo>
                  <a:close/>
                  <a:moveTo>
                    <a:pt x="43" y="355"/>
                  </a:moveTo>
                  <a:lnTo>
                    <a:pt x="44" y="355"/>
                  </a:lnTo>
                  <a:lnTo>
                    <a:pt x="43" y="355"/>
                  </a:lnTo>
                  <a:close/>
                  <a:moveTo>
                    <a:pt x="33" y="344"/>
                  </a:moveTo>
                  <a:lnTo>
                    <a:pt x="35" y="344"/>
                  </a:lnTo>
                  <a:lnTo>
                    <a:pt x="33" y="344"/>
                  </a:lnTo>
                  <a:close/>
                  <a:moveTo>
                    <a:pt x="29" y="348"/>
                  </a:moveTo>
                  <a:lnTo>
                    <a:pt x="29" y="350"/>
                  </a:lnTo>
                  <a:lnTo>
                    <a:pt x="29" y="348"/>
                  </a:lnTo>
                  <a:close/>
                  <a:moveTo>
                    <a:pt x="23" y="263"/>
                  </a:moveTo>
                  <a:lnTo>
                    <a:pt x="25" y="263"/>
                  </a:lnTo>
                  <a:lnTo>
                    <a:pt x="23" y="263"/>
                  </a:lnTo>
                  <a:close/>
                  <a:moveTo>
                    <a:pt x="25" y="342"/>
                  </a:moveTo>
                  <a:lnTo>
                    <a:pt x="27" y="342"/>
                  </a:lnTo>
                  <a:lnTo>
                    <a:pt x="27" y="344"/>
                  </a:lnTo>
                  <a:lnTo>
                    <a:pt x="25" y="344"/>
                  </a:lnTo>
                  <a:lnTo>
                    <a:pt x="25" y="342"/>
                  </a:lnTo>
                  <a:close/>
                  <a:moveTo>
                    <a:pt x="25" y="353"/>
                  </a:moveTo>
                  <a:lnTo>
                    <a:pt x="25" y="355"/>
                  </a:lnTo>
                  <a:lnTo>
                    <a:pt x="25" y="353"/>
                  </a:lnTo>
                  <a:close/>
                  <a:moveTo>
                    <a:pt x="81" y="350"/>
                  </a:moveTo>
                  <a:lnTo>
                    <a:pt x="83" y="350"/>
                  </a:lnTo>
                  <a:lnTo>
                    <a:pt x="81" y="350"/>
                  </a:lnTo>
                  <a:close/>
                  <a:moveTo>
                    <a:pt x="44" y="357"/>
                  </a:moveTo>
                  <a:lnTo>
                    <a:pt x="46" y="357"/>
                  </a:lnTo>
                  <a:lnTo>
                    <a:pt x="44" y="357"/>
                  </a:lnTo>
                  <a:close/>
                  <a:moveTo>
                    <a:pt x="41" y="250"/>
                  </a:moveTo>
                  <a:lnTo>
                    <a:pt x="41" y="252"/>
                  </a:lnTo>
                  <a:lnTo>
                    <a:pt x="41" y="250"/>
                  </a:lnTo>
                  <a:close/>
                  <a:moveTo>
                    <a:pt x="48" y="240"/>
                  </a:moveTo>
                  <a:lnTo>
                    <a:pt x="50" y="240"/>
                  </a:lnTo>
                  <a:lnTo>
                    <a:pt x="48" y="240"/>
                  </a:lnTo>
                  <a:close/>
                  <a:moveTo>
                    <a:pt x="25" y="336"/>
                  </a:moveTo>
                  <a:lnTo>
                    <a:pt x="27" y="336"/>
                  </a:lnTo>
                  <a:lnTo>
                    <a:pt x="25" y="336"/>
                  </a:lnTo>
                  <a:close/>
                  <a:moveTo>
                    <a:pt x="33" y="303"/>
                  </a:moveTo>
                  <a:lnTo>
                    <a:pt x="33" y="305"/>
                  </a:lnTo>
                  <a:lnTo>
                    <a:pt x="33" y="303"/>
                  </a:lnTo>
                  <a:close/>
                  <a:moveTo>
                    <a:pt x="23" y="351"/>
                  </a:moveTo>
                  <a:lnTo>
                    <a:pt x="23" y="353"/>
                  </a:lnTo>
                  <a:lnTo>
                    <a:pt x="23" y="351"/>
                  </a:lnTo>
                  <a:close/>
                  <a:moveTo>
                    <a:pt x="35" y="254"/>
                  </a:moveTo>
                  <a:lnTo>
                    <a:pt x="35" y="255"/>
                  </a:lnTo>
                  <a:lnTo>
                    <a:pt x="35" y="254"/>
                  </a:lnTo>
                  <a:close/>
                  <a:moveTo>
                    <a:pt x="23" y="342"/>
                  </a:moveTo>
                  <a:lnTo>
                    <a:pt x="23" y="344"/>
                  </a:lnTo>
                  <a:lnTo>
                    <a:pt x="23" y="342"/>
                  </a:lnTo>
                  <a:close/>
                  <a:moveTo>
                    <a:pt x="23" y="338"/>
                  </a:moveTo>
                  <a:lnTo>
                    <a:pt x="25" y="338"/>
                  </a:lnTo>
                  <a:lnTo>
                    <a:pt x="23" y="338"/>
                  </a:lnTo>
                  <a:close/>
                  <a:moveTo>
                    <a:pt x="35" y="353"/>
                  </a:moveTo>
                  <a:lnTo>
                    <a:pt x="37" y="353"/>
                  </a:lnTo>
                  <a:lnTo>
                    <a:pt x="35" y="353"/>
                  </a:lnTo>
                  <a:close/>
                  <a:moveTo>
                    <a:pt x="19" y="351"/>
                  </a:moveTo>
                  <a:lnTo>
                    <a:pt x="21" y="351"/>
                  </a:lnTo>
                  <a:lnTo>
                    <a:pt x="19" y="351"/>
                  </a:lnTo>
                  <a:close/>
                  <a:moveTo>
                    <a:pt x="75" y="205"/>
                  </a:moveTo>
                  <a:lnTo>
                    <a:pt x="77" y="205"/>
                  </a:lnTo>
                  <a:lnTo>
                    <a:pt x="75" y="205"/>
                  </a:lnTo>
                  <a:close/>
                  <a:moveTo>
                    <a:pt x="100" y="346"/>
                  </a:moveTo>
                  <a:lnTo>
                    <a:pt x="102" y="346"/>
                  </a:lnTo>
                  <a:lnTo>
                    <a:pt x="100" y="346"/>
                  </a:lnTo>
                  <a:close/>
                  <a:moveTo>
                    <a:pt x="23" y="344"/>
                  </a:moveTo>
                  <a:lnTo>
                    <a:pt x="23" y="346"/>
                  </a:lnTo>
                  <a:lnTo>
                    <a:pt x="23" y="344"/>
                  </a:lnTo>
                  <a:close/>
                  <a:moveTo>
                    <a:pt x="14" y="340"/>
                  </a:moveTo>
                  <a:lnTo>
                    <a:pt x="14" y="342"/>
                  </a:lnTo>
                  <a:lnTo>
                    <a:pt x="14" y="340"/>
                  </a:lnTo>
                  <a:close/>
                  <a:moveTo>
                    <a:pt x="23" y="257"/>
                  </a:moveTo>
                  <a:lnTo>
                    <a:pt x="23" y="259"/>
                  </a:lnTo>
                  <a:lnTo>
                    <a:pt x="23" y="257"/>
                  </a:lnTo>
                  <a:close/>
                  <a:moveTo>
                    <a:pt x="18" y="344"/>
                  </a:moveTo>
                  <a:lnTo>
                    <a:pt x="18" y="346"/>
                  </a:lnTo>
                  <a:lnTo>
                    <a:pt x="18" y="344"/>
                  </a:lnTo>
                  <a:close/>
                  <a:moveTo>
                    <a:pt x="62" y="359"/>
                  </a:moveTo>
                  <a:lnTo>
                    <a:pt x="64" y="359"/>
                  </a:lnTo>
                  <a:lnTo>
                    <a:pt x="62" y="359"/>
                  </a:lnTo>
                  <a:close/>
                  <a:moveTo>
                    <a:pt x="29" y="250"/>
                  </a:moveTo>
                  <a:lnTo>
                    <a:pt x="29" y="252"/>
                  </a:lnTo>
                  <a:lnTo>
                    <a:pt x="29" y="250"/>
                  </a:lnTo>
                  <a:close/>
                  <a:moveTo>
                    <a:pt x="54" y="357"/>
                  </a:moveTo>
                  <a:lnTo>
                    <a:pt x="56" y="357"/>
                  </a:lnTo>
                  <a:lnTo>
                    <a:pt x="54" y="357"/>
                  </a:lnTo>
                  <a:close/>
                  <a:moveTo>
                    <a:pt x="33" y="351"/>
                  </a:moveTo>
                  <a:lnTo>
                    <a:pt x="33" y="353"/>
                  </a:lnTo>
                  <a:lnTo>
                    <a:pt x="33" y="351"/>
                  </a:lnTo>
                  <a:close/>
                  <a:moveTo>
                    <a:pt x="25" y="355"/>
                  </a:moveTo>
                  <a:lnTo>
                    <a:pt x="25" y="357"/>
                  </a:lnTo>
                  <a:lnTo>
                    <a:pt x="25" y="355"/>
                  </a:lnTo>
                  <a:close/>
                  <a:moveTo>
                    <a:pt x="10" y="344"/>
                  </a:moveTo>
                  <a:lnTo>
                    <a:pt x="10" y="346"/>
                  </a:lnTo>
                  <a:lnTo>
                    <a:pt x="10" y="344"/>
                  </a:lnTo>
                  <a:close/>
                  <a:moveTo>
                    <a:pt x="31" y="326"/>
                  </a:moveTo>
                  <a:lnTo>
                    <a:pt x="31" y="328"/>
                  </a:lnTo>
                  <a:lnTo>
                    <a:pt x="31" y="326"/>
                  </a:lnTo>
                  <a:close/>
                  <a:moveTo>
                    <a:pt x="29" y="336"/>
                  </a:moveTo>
                  <a:lnTo>
                    <a:pt x="31" y="336"/>
                  </a:lnTo>
                  <a:lnTo>
                    <a:pt x="29" y="336"/>
                  </a:lnTo>
                  <a:close/>
                  <a:moveTo>
                    <a:pt x="16" y="355"/>
                  </a:moveTo>
                  <a:lnTo>
                    <a:pt x="18" y="355"/>
                  </a:lnTo>
                  <a:lnTo>
                    <a:pt x="16" y="355"/>
                  </a:lnTo>
                  <a:close/>
                  <a:moveTo>
                    <a:pt x="31" y="298"/>
                  </a:moveTo>
                  <a:lnTo>
                    <a:pt x="31" y="300"/>
                  </a:lnTo>
                  <a:lnTo>
                    <a:pt x="31" y="298"/>
                  </a:lnTo>
                  <a:close/>
                  <a:moveTo>
                    <a:pt x="39" y="353"/>
                  </a:moveTo>
                  <a:lnTo>
                    <a:pt x="41" y="353"/>
                  </a:lnTo>
                  <a:lnTo>
                    <a:pt x="39" y="353"/>
                  </a:lnTo>
                  <a:close/>
                  <a:moveTo>
                    <a:pt x="64" y="357"/>
                  </a:moveTo>
                  <a:lnTo>
                    <a:pt x="64" y="359"/>
                  </a:lnTo>
                  <a:lnTo>
                    <a:pt x="64" y="357"/>
                  </a:lnTo>
                  <a:close/>
                  <a:moveTo>
                    <a:pt x="102" y="344"/>
                  </a:moveTo>
                  <a:lnTo>
                    <a:pt x="104" y="344"/>
                  </a:lnTo>
                  <a:lnTo>
                    <a:pt x="102" y="344"/>
                  </a:lnTo>
                  <a:close/>
                  <a:moveTo>
                    <a:pt x="31" y="252"/>
                  </a:moveTo>
                  <a:lnTo>
                    <a:pt x="33" y="252"/>
                  </a:lnTo>
                  <a:lnTo>
                    <a:pt x="31" y="252"/>
                  </a:lnTo>
                  <a:close/>
                  <a:moveTo>
                    <a:pt x="106" y="342"/>
                  </a:moveTo>
                  <a:lnTo>
                    <a:pt x="106" y="344"/>
                  </a:lnTo>
                  <a:lnTo>
                    <a:pt x="106" y="342"/>
                  </a:lnTo>
                  <a:close/>
                  <a:moveTo>
                    <a:pt x="33" y="303"/>
                  </a:moveTo>
                  <a:lnTo>
                    <a:pt x="35" y="303"/>
                  </a:lnTo>
                  <a:lnTo>
                    <a:pt x="33" y="303"/>
                  </a:lnTo>
                  <a:close/>
                  <a:moveTo>
                    <a:pt x="29" y="338"/>
                  </a:moveTo>
                  <a:lnTo>
                    <a:pt x="29" y="340"/>
                  </a:lnTo>
                  <a:lnTo>
                    <a:pt x="29" y="338"/>
                  </a:lnTo>
                  <a:close/>
                  <a:moveTo>
                    <a:pt x="19" y="355"/>
                  </a:moveTo>
                  <a:lnTo>
                    <a:pt x="21" y="355"/>
                  </a:lnTo>
                  <a:lnTo>
                    <a:pt x="19" y="355"/>
                  </a:lnTo>
                  <a:close/>
                  <a:moveTo>
                    <a:pt x="35" y="340"/>
                  </a:moveTo>
                  <a:lnTo>
                    <a:pt x="37" y="340"/>
                  </a:lnTo>
                  <a:lnTo>
                    <a:pt x="35" y="340"/>
                  </a:lnTo>
                  <a:close/>
                  <a:moveTo>
                    <a:pt x="31" y="321"/>
                  </a:moveTo>
                  <a:lnTo>
                    <a:pt x="31" y="323"/>
                  </a:lnTo>
                  <a:lnTo>
                    <a:pt x="31" y="321"/>
                  </a:lnTo>
                  <a:close/>
                  <a:moveTo>
                    <a:pt x="27" y="252"/>
                  </a:moveTo>
                  <a:lnTo>
                    <a:pt x="29" y="252"/>
                  </a:lnTo>
                  <a:lnTo>
                    <a:pt x="27" y="252"/>
                  </a:lnTo>
                  <a:close/>
                  <a:moveTo>
                    <a:pt x="18" y="359"/>
                  </a:moveTo>
                  <a:lnTo>
                    <a:pt x="19" y="359"/>
                  </a:lnTo>
                  <a:lnTo>
                    <a:pt x="18" y="359"/>
                  </a:lnTo>
                  <a:close/>
                  <a:moveTo>
                    <a:pt x="23" y="348"/>
                  </a:moveTo>
                  <a:lnTo>
                    <a:pt x="23" y="350"/>
                  </a:lnTo>
                  <a:lnTo>
                    <a:pt x="23" y="348"/>
                  </a:lnTo>
                  <a:close/>
                  <a:moveTo>
                    <a:pt x="60" y="357"/>
                  </a:moveTo>
                  <a:lnTo>
                    <a:pt x="62" y="357"/>
                  </a:lnTo>
                  <a:lnTo>
                    <a:pt x="60" y="357"/>
                  </a:lnTo>
                  <a:close/>
                  <a:moveTo>
                    <a:pt x="29" y="261"/>
                  </a:moveTo>
                  <a:lnTo>
                    <a:pt x="29" y="263"/>
                  </a:lnTo>
                  <a:lnTo>
                    <a:pt x="29" y="261"/>
                  </a:lnTo>
                  <a:close/>
                  <a:moveTo>
                    <a:pt x="35" y="303"/>
                  </a:moveTo>
                  <a:lnTo>
                    <a:pt x="35" y="305"/>
                  </a:lnTo>
                  <a:lnTo>
                    <a:pt x="35" y="303"/>
                  </a:lnTo>
                  <a:close/>
                  <a:moveTo>
                    <a:pt x="62" y="357"/>
                  </a:moveTo>
                  <a:lnTo>
                    <a:pt x="64" y="357"/>
                  </a:lnTo>
                  <a:lnTo>
                    <a:pt x="62" y="357"/>
                  </a:lnTo>
                  <a:close/>
                  <a:moveTo>
                    <a:pt x="23" y="350"/>
                  </a:moveTo>
                  <a:lnTo>
                    <a:pt x="25" y="350"/>
                  </a:lnTo>
                  <a:lnTo>
                    <a:pt x="23" y="350"/>
                  </a:lnTo>
                  <a:close/>
                  <a:moveTo>
                    <a:pt x="16" y="348"/>
                  </a:moveTo>
                  <a:lnTo>
                    <a:pt x="18" y="348"/>
                  </a:lnTo>
                  <a:lnTo>
                    <a:pt x="16" y="348"/>
                  </a:lnTo>
                  <a:close/>
                  <a:moveTo>
                    <a:pt x="43" y="357"/>
                  </a:moveTo>
                  <a:lnTo>
                    <a:pt x="44" y="357"/>
                  </a:lnTo>
                  <a:lnTo>
                    <a:pt x="43" y="357"/>
                  </a:lnTo>
                  <a:close/>
                  <a:moveTo>
                    <a:pt x="33" y="298"/>
                  </a:moveTo>
                  <a:lnTo>
                    <a:pt x="33" y="300"/>
                  </a:lnTo>
                  <a:lnTo>
                    <a:pt x="33" y="298"/>
                  </a:lnTo>
                  <a:close/>
                  <a:moveTo>
                    <a:pt x="41" y="353"/>
                  </a:moveTo>
                  <a:lnTo>
                    <a:pt x="41" y="355"/>
                  </a:lnTo>
                  <a:lnTo>
                    <a:pt x="41" y="353"/>
                  </a:lnTo>
                  <a:close/>
                  <a:moveTo>
                    <a:pt x="31" y="284"/>
                  </a:moveTo>
                  <a:lnTo>
                    <a:pt x="31" y="286"/>
                  </a:lnTo>
                  <a:lnTo>
                    <a:pt x="31" y="284"/>
                  </a:lnTo>
                  <a:close/>
                  <a:moveTo>
                    <a:pt x="50" y="238"/>
                  </a:moveTo>
                  <a:lnTo>
                    <a:pt x="52" y="238"/>
                  </a:lnTo>
                  <a:lnTo>
                    <a:pt x="50" y="238"/>
                  </a:lnTo>
                  <a:close/>
                  <a:moveTo>
                    <a:pt x="50" y="234"/>
                  </a:moveTo>
                  <a:lnTo>
                    <a:pt x="52" y="234"/>
                  </a:lnTo>
                  <a:lnTo>
                    <a:pt x="50" y="234"/>
                  </a:lnTo>
                  <a:close/>
                  <a:moveTo>
                    <a:pt x="33" y="351"/>
                  </a:moveTo>
                  <a:lnTo>
                    <a:pt x="35" y="351"/>
                  </a:lnTo>
                  <a:lnTo>
                    <a:pt x="33" y="351"/>
                  </a:lnTo>
                  <a:close/>
                  <a:moveTo>
                    <a:pt x="31" y="303"/>
                  </a:moveTo>
                  <a:lnTo>
                    <a:pt x="33" y="303"/>
                  </a:lnTo>
                  <a:lnTo>
                    <a:pt x="31" y="303"/>
                  </a:lnTo>
                  <a:close/>
                  <a:moveTo>
                    <a:pt x="39" y="252"/>
                  </a:moveTo>
                  <a:lnTo>
                    <a:pt x="39" y="254"/>
                  </a:lnTo>
                  <a:lnTo>
                    <a:pt x="39" y="252"/>
                  </a:lnTo>
                  <a:close/>
                  <a:moveTo>
                    <a:pt x="73" y="351"/>
                  </a:moveTo>
                  <a:lnTo>
                    <a:pt x="75" y="351"/>
                  </a:lnTo>
                  <a:lnTo>
                    <a:pt x="73" y="351"/>
                  </a:lnTo>
                  <a:close/>
                  <a:moveTo>
                    <a:pt x="33" y="317"/>
                  </a:moveTo>
                  <a:lnTo>
                    <a:pt x="33" y="319"/>
                  </a:lnTo>
                  <a:lnTo>
                    <a:pt x="33" y="317"/>
                  </a:lnTo>
                  <a:close/>
                  <a:moveTo>
                    <a:pt x="44" y="359"/>
                  </a:moveTo>
                  <a:lnTo>
                    <a:pt x="46" y="359"/>
                  </a:lnTo>
                  <a:lnTo>
                    <a:pt x="44" y="359"/>
                  </a:lnTo>
                  <a:close/>
                  <a:moveTo>
                    <a:pt x="29" y="346"/>
                  </a:moveTo>
                  <a:lnTo>
                    <a:pt x="31" y="346"/>
                  </a:lnTo>
                  <a:lnTo>
                    <a:pt x="29" y="346"/>
                  </a:lnTo>
                  <a:close/>
                  <a:moveTo>
                    <a:pt x="39" y="350"/>
                  </a:moveTo>
                  <a:lnTo>
                    <a:pt x="39" y="351"/>
                  </a:lnTo>
                  <a:lnTo>
                    <a:pt x="39" y="350"/>
                  </a:lnTo>
                  <a:close/>
                  <a:moveTo>
                    <a:pt x="33" y="309"/>
                  </a:moveTo>
                  <a:lnTo>
                    <a:pt x="35" y="309"/>
                  </a:lnTo>
                  <a:lnTo>
                    <a:pt x="33" y="309"/>
                  </a:lnTo>
                  <a:close/>
                  <a:moveTo>
                    <a:pt x="48" y="355"/>
                  </a:moveTo>
                  <a:lnTo>
                    <a:pt x="50" y="355"/>
                  </a:lnTo>
                  <a:lnTo>
                    <a:pt x="48" y="355"/>
                  </a:lnTo>
                  <a:close/>
                  <a:moveTo>
                    <a:pt x="25" y="261"/>
                  </a:moveTo>
                  <a:lnTo>
                    <a:pt x="25" y="263"/>
                  </a:lnTo>
                  <a:lnTo>
                    <a:pt x="25" y="261"/>
                  </a:lnTo>
                  <a:close/>
                  <a:moveTo>
                    <a:pt x="33" y="254"/>
                  </a:moveTo>
                  <a:lnTo>
                    <a:pt x="35" y="254"/>
                  </a:lnTo>
                  <a:lnTo>
                    <a:pt x="33" y="254"/>
                  </a:lnTo>
                  <a:close/>
                  <a:moveTo>
                    <a:pt x="33" y="302"/>
                  </a:moveTo>
                  <a:lnTo>
                    <a:pt x="33" y="303"/>
                  </a:lnTo>
                  <a:lnTo>
                    <a:pt x="33" y="302"/>
                  </a:lnTo>
                  <a:close/>
                  <a:moveTo>
                    <a:pt x="31" y="255"/>
                  </a:moveTo>
                  <a:lnTo>
                    <a:pt x="33" y="255"/>
                  </a:lnTo>
                  <a:lnTo>
                    <a:pt x="31" y="255"/>
                  </a:lnTo>
                  <a:close/>
                  <a:moveTo>
                    <a:pt x="16" y="355"/>
                  </a:moveTo>
                  <a:lnTo>
                    <a:pt x="18" y="355"/>
                  </a:lnTo>
                  <a:lnTo>
                    <a:pt x="16" y="355"/>
                  </a:lnTo>
                  <a:close/>
                  <a:moveTo>
                    <a:pt x="44" y="355"/>
                  </a:moveTo>
                  <a:lnTo>
                    <a:pt x="46" y="355"/>
                  </a:lnTo>
                  <a:lnTo>
                    <a:pt x="44" y="355"/>
                  </a:lnTo>
                  <a:close/>
                  <a:moveTo>
                    <a:pt x="27" y="252"/>
                  </a:moveTo>
                  <a:lnTo>
                    <a:pt x="27" y="254"/>
                  </a:lnTo>
                  <a:lnTo>
                    <a:pt x="27" y="252"/>
                  </a:lnTo>
                  <a:close/>
                  <a:moveTo>
                    <a:pt x="39" y="252"/>
                  </a:moveTo>
                  <a:lnTo>
                    <a:pt x="39" y="254"/>
                  </a:lnTo>
                  <a:lnTo>
                    <a:pt x="39" y="252"/>
                  </a:lnTo>
                  <a:close/>
                  <a:moveTo>
                    <a:pt x="106" y="340"/>
                  </a:moveTo>
                  <a:lnTo>
                    <a:pt x="108" y="340"/>
                  </a:lnTo>
                  <a:lnTo>
                    <a:pt x="106" y="340"/>
                  </a:lnTo>
                  <a:close/>
                  <a:moveTo>
                    <a:pt x="50" y="359"/>
                  </a:moveTo>
                  <a:lnTo>
                    <a:pt x="52" y="359"/>
                  </a:lnTo>
                  <a:lnTo>
                    <a:pt x="50" y="359"/>
                  </a:lnTo>
                  <a:close/>
                  <a:moveTo>
                    <a:pt x="64" y="359"/>
                  </a:moveTo>
                  <a:lnTo>
                    <a:pt x="66" y="359"/>
                  </a:lnTo>
                  <a:lnTo>
                    <a:pt x="64" y="359"/>
                  </a:lnTo>
                  <a:close/>
                  <a:moveTo>
                    <a:pt x="77" y="353"/>
                  </a:moveTo>
                  <a:lnTo>
                    <a:pt x="79" y="353"/>
                  </a:lnTo>
                  <a:lnTo>
                    <a:pt x="77" y="353"/>
                  </a:lnTo>
                  <a:close/>
                  <a:moveTo>
                    <a:pt x="89" y="348"/>
                  </a:moveTo>
                  <a:lnTo>
                    <a:pt x="91" y="348"/>
                  </a:lnTo>
                  <a:lnTo>
                    <a:pt x="89" y="348"/>
                  </a:lnTo>
                  <a:close/>
                  <a:moveTo>
                    <a:pt x="94" y="348"/>
                  </a:moveTo>
                  <a:lnTo>
                    <a:pt x="94" y="350"/>
                  </a:lnTo>
                  <a:lnTo>
                    <a:pt x="94" y="348"/>
                  </a:lnTo>
                  <a:close/>
                  <a:moveTo>
                    <a:pt x="31" y="321"/>
                  </a:moveTo>
                  <a:lnTo>
                    <a:pt x="33" y="321"/>
                  </a:lnTo>
                  <a:lnTo>
                    <a:pt x="31" y="321"/>
                  </a:lnTo>
                  <a:close/>
                  <a:moveTo>
                    <a:pt x="29" y="250"/>
                  </a:moveTo>
                  <a:lnTo>
                    <a:pt x="31" y="250"/>
                  </a:lnTo>
                  <a:lnTo>
                    <a:pt x="29" y="250"/>
                  </a:lnTo>
                  <a:close/>
                  <a:moveTo>
                    <a:pt x="54" y="359"/>
                  </a:moveTo>
                  <a:lnTo>
                    <a:pt x="56" y="359"/>
                  </a:lnTo>
                  <a:lnTo>
                    <a:pt x="54" y="359"/>
                  </a:lnTo>
                  <a:close/>
                  <a:moveTo>
                    <a:pt x="75" y="353"/>
                  </a:moveTo>
                  <a:lnTo>
                    <a:pt x="75" y="355"/>
                  </a:lnTo>
                  <a:lnTo>
                    <a:pt x="75" y="353"/>
                  </a:lnTo>
                  <a:close/>
                  <a:moveTo>
                    <a:pt x="43" y="348"/>
                  </a:moveTo>
                  <a:lnTo>
                    <a:pt x="44" y="348"/>
                  </a:lnTo>
                  <a:lnTo>
                    <a:pt x="43" y="348"/>
                  </a:lnTo>
                  <a:close/>
                  <a:moveTo>
                    <a:pt x="19" y="353"/>
                  </a:moveTo>
                  <a:lnTo>
                    <a:pt x="19" y="355"/>
                  </a:lnTo>
                  <a:lnTo>
                    <a:pt x="19" y="353"/>
                  </a:lnTo>
                  <a:close/>
                  <a:moveTo>
                    <a:pt x="18" y="351"/>
                  </a:moveTo>
                  <a:lnTo>
                    <a:pt x="19" y="351"/>
                  </a:lnTo>
                  <a:lnTo>
                    <a:pt x="18" y="351"/>
                  </a:lnTo>
                  <a:close/>
                  <a:moveTo>
                    <a:pt x="43" y="359"/>
                  </a:moveTo>
                  <a:lnTo>
                    <a:pt x="44" y="359"/>
                  </a:lnTo>
                  <a:lnTo>
                    <a:pt x="43" y="359"/>
                  </a:lnTo>
                  <a:close/>
                  <a:moveTo>
                    <a:pt x="33" y="342"/>
                  </a:moveTo>
                  <a:lnTo>
                    <a:pt x="35" y="342"/>
                  </a:lnTo>
                  <a:lnTo>
                    <a:pt x="33" y="342"/>
                  </a:lnTo>
                  <a:close/>
                  <a:moveTo>
                    <a:pt x="85" y="348"/>
                  </a:moveTo>
                  <a:lnTo>
                    <a:pt x="87" y="348"/>
                  </a:lnTo>
                  <a:lnTo>
                    <a:pt x="85" y="348"/>
                  </a:lnTo>
                  <a:close/>
                  <a:moveTo>
                    <a:pt x="100" y="342"/>
                  </a:moveTo>
                  <a:lnTo>
                    <a:pt x="102" y="342"/>
                  </a:lnTo>
                  <a:lnTo>
                    <a:pt x="100" y="342"/>
                  </a:lnTo>
                  <a:close/>
                  <a:moveTo>
                    <a:pt x="79" y="351"/>
                  </a:moveTo>
                  <a:lnTo>
                    <a:pt x="79" y="353"/>
                  </a:lnTo>
                  <a:lnTo>
                    <a:pt x="79" y="351"/>
                  </a:lnTo>
                  <a:close/>
                  <a:moveTo>
                    <a:pt x="31" y="298"/>
                  </a:moveTo>
                  <a:lnTo>
                    <a:pt x="31" y="300"/>
                  </a:lnTo>
                  <a:lnTo>
                    <a:pt x="31" y="298"/>
                  </a:lnTo>
                  <a:close/>
                  <a:moveTo>
                    <a:pt x="27" y="278"/>
                  </a:moveTo>
                  <a:lnTo>
                    <a:pt x="29" y="278"/>
                  </a:lnTo>
                  <a:lnTo>
                    <a:pt x="27" y="278"/>
                  </a:lnTo>
                  <a:close/>
                  <a:moveTo>
                    <a:pt x="29" y="250"/>
                  </a:moveTo>
                  <a:lnTo>
                    <a:pt x="29" y="252"/>
                  </a:lnTo>
                  <a:lnTo>
                    <a:pt x="29" y="250"/>
                  </a:lnTo>
                  <a:close/>
                  <a:moveTo>
                    <a:pt x="48" y="346"/>
                  </a:moveTo>
                  <a:lnTo>
                    <a:pt x="48" y="348"/>
                  </a:lnTo>
                  <a:lnTo>
                    <a:pt x="48" y="346"/>
                  </a:lnTo>
                  <a:close/>
                  <a:moveTo>
                    <a:pt x="33" y="303"/>
                  </a:moveTo>
                  <a:lnTo>
                    <a:pt x="33" y="305"/>
                  </a:lnTo>
                  <a:lnTo>
                    <a:pt x="33" y="303"/>
                  </a:lnTo>
                  <a:close/>
                  <a:moveTo>
                    <a:pt x="33" y="344"/>
                  </a:moveTo>
                  <a:lnTo>
                    <a:pt x="33" y="346"/>
                  </a:lnTo>
                  <a:lnTo>
                    <a:pt x="33" y="344"/>
                  </a:lnTo>
                  <a:close/>
                  <a:moveTo>
                    <a:pt x="25" y="353"/>
                  </a:moveTo>
                  <a:lnTo>
                    <a:pt x="25" y="355"/>
                  </a:lnTo>
                  <a:lnTo>
                    <a:pt x="25" y="353"/>
                  </a:lnTo>
                  <a:close/>
                  <a:moveTo>
                    <a:pt x="69" y="355"/>
                  </a:moveTo>
                  <a:lnTo>
                    <a:pt x="69" y="357"/>
                  </a:lnTo>
                  <a:lnTo>
                    <a:pt x="69" y="355"/>
                  </a:lnTo>
                  <a:close/>
                  <a:moveTo>
                    <a:pt x="52" y="353"/>
                  </a:moveTo>
                  <a:lnTo>
                    <a:pt x="54" y="353"/>
                  </a:lnTo>
                  <a:lnTo>
                    <a:pt x="52" y="353"/>
                  </a:lnTo>
                  <a:close/>
                  <a:moveTo>
                    <a:pt x="29" y="250"/>
                  </a:moveTo>
                  <a:lnTo>
                    <a:pt x="31" y="250"/>
                  </a:lnTo>
                  <a:lnTo>
                    <a:pt x="29" y="250"/>
                  </a:lnTo>
                  <a:close/>
                  <a:moveTo>
                    <a:pt x="79" y="169"/>
                  </a:moveTo>
                  <a:lnTo>
                    <a:pt x="79" y="171"/>
                  </a:lnTo>
                  <a:lnTo>
                    <a:pt x="79" y="169"/>
                  </a:lnTo>
                  <a:close/>
                  <a:moveTo>
                    <a:pt x="69" y="355"/>
                  </a:moveTo>
                  <a:lnTo>
                    <a:pt x="69" y="357"/>
                  </a:lnTo>
                  <a:lnTo>
                    <a:pt x="69" y="355"/>
                  </a:lnTo>
                  <a:close/>
                  <a:moveTo>
                    <a:pt x="62" y="359"/>
                  </a:moveTo>
                  <a:lnTo>
                    <a:pt x="64" y="359"/>
                  </a:lnTo>
                  <a:lnTo>
                    <a:pt x="62" y="359"/>
                  </a:lnTo>
                  <a:close/>
                  <a:moveTo>
                    <a:pt x="0" y="350"/>
                  </a:moveTo>
                  <a:lnTo>
                    <a:pt x="2" y="350"/>
                  </a:lnTo>
                  <a:lnTo>
                    <a:pt x="0" y="350"/>
                  </a:lnTo>
                  <a:close/>
                  <a:moveTo>
                    <a:pt x="117" y="338"/>
                  </a:moveTo>
                  <a:lnTo>
                    <a:pt x="117" y="340"/>
                  </a:lnTo>
                  <a:lnTo>
                    <a:pt x="117" y="338"/>
                  </a:lnTo>
                  <a:close/>
                  <a:moveTo>
                    <a:pt x="19" y="353"/>
                  </a:moveTo>
                  <a:lnTo>
                    <a:pt x="21" y="353"/>
                  </a:lnTo>
                  <a:lnTo>
                    <a:pt x="19" y="353"/>
                  </a:lnTo>
                  <a:close/>
                  <a:moveTo>
                    <a:pt x="35" y="313"/>
                  </a:moveTo>
                  <a:lnTo>
                    <a:pt x="35" y="315"/>
                  </a:lnTo>
                  <a:lnTo>
                    <a:pt x="35" y="313"/>
                  </a:lnTo>
                  <a:close/>
                  <a:moveTo>
                    <a:pt x="31" y="311"/>
                  </a:moveTo>
                  <a:lnTo>
                    <a:pt x="31" y="313"/>
                  </a:lnTo>
                  <a:lnTo>
                    <a:pt x="31" y="311"/>
                  </a:lnTo>
                  <a:close/>
                  <a:moveTo>
                    <a:pt x="25" y="344"/>
                  </a:moveTo>
                  <a:lnTo>
                    <a:pt x="27" y="344"/>
                  </a:lnTo>
                  <a:lnTo>
                    <a:pt x="25" y="344"/>
                  </a:lnTo>
                  <a:close/>
                  <a:moveTo>
                    <a:pt x="35" y="353"/>
                  </a:moveTo>
                  <a:lnTo>
                    <a:pt x="35" y="355"/>
                  </a:lnTo>
                  <a:lnTo>
                    <a:pt x="35" y="353"/>
                  </a:lnTo>
                  <a:close/>
                  <a:moveTo>
                    <a:pt x="41" y="359"/>
                  </a:moveTo>
                  <a:lnTo>
                    <a:pt x="43" y="359"/>
                  </a:lnTo>
                  <a:lnTo>
                    <a:pt x="41" y="359"/>
                  </a:lnTo>
                  <a:close/>
                  <a:moveTo>
                    <a:pt x="44" y="351"/>
                  </a:moveTo>
                  <a:lnTo>
                    <a:pt x="46" y="351"/>
                  </a:lnTo>
                  <a:lnTo>
                    <a:pt x="44" y="351"/>
                  </a:lnTo>
                  <a:close/>
                  <a:moveTo>
                    <a:pt x="46" y="357"/>
                  </a:moveTo>
                  <a:lnTo>
                    <a:pt x="48" y="357"/>
                  </a:lnTo>
                  <a:lnTo>
                    <a:pt x="46" y="357"/>
                  </a:lnTo>
                  <a:close/>
                  <a:moveTo>
                    <a:pt x="37" y="246"/>
                  </a:moveTo>
                  <a:lnTo>
                    <a:pt x="37" y="248"/>
                  </a:lnTo>
                  <a:lnTo>
                    <a:pt x="37" y="246"/>
                  </a:lnTo>
                  <a:close/>
                  <a:moveTo>
                    <a:pt x="31" y="348"/>
                  </a:moveTo>
                  <a:lnTo>
                    <a:pt x="31" y="350"/>
                  </a:lnTo>
                  <a:lnTo>
                    <a:pt x="31" y="348"/>
                  </a:lnTo>
                  <a:close/>
                  <a:moveTo>
                    <a:pt x="41" y="350"/>
                  </a:moveTo>
                  <a:lnTo>
                    <a:pt x="41" y="351"/>
                  </a:lnTo>
                  <a:lnTo>
                    <a:pt x="41" y="350"/>
                  </a:lnTo>
                  <a:close/>
                  <a:moveTo>
                    <a:pt x="25" y="359"/>
                  </a:moveTo>
                  <a:lnTo>
                    <a:pt x="27" y="359"/>
                  </a:lnTo>
                  <a:lnTo>
                    <a:pt x="25" y="359"/>
                  </a:lnTo>
                  <a:close/>
                  <a:moveTo>
                    <a:pt x="12" y="357"/>
                  </a:moveTo>
                  <a:lnTo>
                    <a:pt x="14" y="357"/>
                  </a:lnTo>
                  <a:lnTo>
                    <a:pt x="12" y="357"/>
                  </a:lnTo>
                  <a:close/>
                  <a:moveTo>
                    <a:pt x="18" y="344"/>
                  </a:moveTo>
                  <a:lnTo>
                    <a:pt x="18" y="346"/>
                  </a:lnTo>
                  <a:lnTo>
                    <a:pt x="18" y="344"/>
                  </a:lnTo>
                  <a:close/>
                  <a:moveTo>
                    <a:pt x="108" y="342"/>
                  </a:moveTo>
                  <a:lnTo>
                    <a:pt x="108" y="344"/>
                  </a:lnTo>
                  <a:lnTo>
                    <a:pt x="108" y="342"/>
                  </a:lnTo>
                  <a:close/>
                  <a:moveTo>
                    <a:pt x="14" y="340"/>
                  </a:moveTo>
                  <a:lnTo>
                    <a:pt x="14" y="342"/>
                  </a:lnTo>
                  <a:lnTo>
                    <a:pt x="14" y="340"/>
                  </a:lnTo>
                  <a:close/>
                  <a:moveTo>
                    <a:pt x="31" y="296"/>
                  </a:moveTo>
                  <a:lnTo>
                    <a:pt x="33" y="296"/>
                  </a:lnTo>
                  <a:lnTo>
                    <a:pt x="31" y="296"/>
                  </a:lnTo>
                  <a:close/>
                  <a:moveTo>
                    <a:pt x="29" y="344"/>
                  </a:moveTo>
                  <a:lnTo>
                    <a:pt x="29" y="346"/>
                  </a:lnTo>
                  <a:lnTo>
                    <a:pt x="29" y="344"/>
                  </a:lnTo>
                  <a:close/>
                  <a:moveTo>
                    <a:pt x="29" y="328"/>
                  </a:moveTo>
                  <a:lnTo>
                    <a:pt x="31" y="328"/>
                  </a:lnTo>
                  <a:lnTo>
                    <a:pt x="29" y="328"/>
                  </a:lnTo>
                  <a:close/>
                  <a:moveTo>
                    <a:pt x="44" y="357"/>
                  </a:moveTo>
                  <a:lnTo>
                    <a:pt x="46" y="357"/>
                  </a:lnTo>
                  <a:lnTo>
                    <a:pt x="44" y="357"/>
                  </a:lnTo>
                  <a:close/>
                  <a:moveTo>
                    <a:pt x="121" y="342"/>
                  </a:moveTo>
                  <a:lnTo>
                    <a:pt x="121" y="344"/>
                  </a:lnTo>
                  <a:lnTo>
                    <a:pt x="121" y="342"/>
                  </a:lnTo>
                  <a:close/>
                  <a:moveTo>
                    <a:pt x="29" y="328"/>
                  </a:moveTo>
                  <a:lnTo>
                    <a:pt x="31" y="328"/>
                  </a:lnTo>
                  <a:lnTo>
                    <a:pt x="29" y="328"/>
                  </a:lnTo>
                  <a:close/>
                  <a:moveTo>
                    <a:pt x="46" y="359"/>
                  </a:moveTo>
                  <a:lnTo>
                    <a:pt x="46" y="361"/>
                  </a:lnTo>
                  <a:lnTo>
                    <a:pt x="46" y="359"/>
                  </a:lnTo>
                  <a:close/>
                  <a:moveTo>
                    <a:pt x="37" y="252"/>
                  </a:moveTo>
                  <a:lnTo>
                    <a:pt x="37" y="254"/>
                  </a:lnTo>
                  <a:lnTo>
                    <a:pt x="37" y="252"/>
                  </a:lnTo>
                  <a:close/>
                  <a:moveTo>
                    <a:pt x="27" y="353"/>
                  </a:moveTo>
                  <a:lnTo>
                    <a:pt x="27" y="355"/>
                  </a:lnTo>
                  <a:lnTo>
                    <a:pt x="27" y="353"/>
                  </a:lnTo>
                  <a:close/>
                  <a:moveTo>
                    <a:pt x="83" y="350"/>
                  </a:moveTo>
                  <a:lnTo>
                    <a:pt x="85" y="350"/>
                  </a:lnTo>
                  <a:lnTo>
                    <a:pt x="83" y="350"/>
                  </a:lnTo>
                  <a:close/>
                  <a:moveTo>
                    <a:pt x="8" y="346"/>
                  </a:moveTo>
                  <a:lnTo>
                    <a:pt x="10" y="346"/>
                  </a:lnTo>
                  <a:lnTo>
                    <a:pt x="8" y="346"/>
                  </a:lnTo>
                  <a:close/>
                  <a:moveTo>
                    <a:pt x="31" y="252"/>
                  </a:moveTo>
                  <a:lnTo>
                    <a:pt x="31" y="254"/>
                  </a:lnTo>
                  <a:lnTo>
                    <a:pt x="31" y="252"/>
                  </a:lnTo>
                  <a:close/>
                  <a:moveTo>
                    <a:pt x="31" y="288"/>
                  </a:moveTo>
                  <a:lnTo>
                    <a:pt x="33" y="288"/>
                  </a:lnTo>
                  <a:lnTo>
                    <a:pt x="31" y="288"/>
                  </a:lnTo>
                  <a:close/>
                  <a:moveTo>
                    <a:pt x="16" y="346"/>
                  </a:moveTo>
                  <a:lnTo>
                    <a:pt x="16" y="348"/>
                  </a:lnTo>
                  <a:lnTo>
                    <a:pt x="16" y="346"/>
                  </a:lnTo>
                  <a:close/>
                  <a:moveTo>
                    <a:pt x="114" y="340"/>
                  </a:moveTo>
                  <a:lnTo>
                    <a:pt x="115" y="340"/>
                  </a:lnTo>
                  <a:lnTo>
                    <a:pt x="114" y="340"/>
                  </a:lnTo>
                  <a:close/>
                  <a:moveTo>
                    <a:pt x="39" y="355"/>
                  </a:moveTo>
                  <a:lnTo>
                    <a:pt x="41" y="355"/>
                  </a:lnTo>
                  <a:lnTo>
                    <a:pt x="39" y="355"/>
                  </a:lnTo>
                  <a:close/>
                  <a:moveTo>
                    <a:pt x="29" y="328"/>
                  </a:moveTo>
                  <a:lnTo>
                    <a:pt x="29" y="330"/>
                  </a:lnTo>
                  <a:lnTo>
                    <a:pt x="29" y="328"/>
                  </a:lnTo>
                  <a:close/>
                  <a:moveTo>
                    <a:pt x="27" y="252"/>
                  </a:moveTo>
                  <a:lnTo>
                    <a:pt x="29" y="252"/>
                  </a:lnTo>
                  <a:lnTo>
                    <a:pt x="29" y="254"/>
                  </a:lnTo>
                  <a:lnTo>
                    <a:pt x="27" y="254"/>
                  </a:lnTo>
                  <a:lnTo>
                    <a:pt x="27" y="252"/>
                  </a:lnTo>
                  <a:close/>
                  <a:moveTo>
                    <a:pt x="21" y="263"/>
                  </a:moveTo>
                  <a:lnTo>
                    <a:pt x="23" y="263"/>
                  </a:lnTo>
                  <a:lnTo>
                    <a:pt x="21" y="263"/>
                  </a:lnTo>
                  <a:close/>
                  <a:moveTo>
                    <a:pt x="66" y="357"/>
                  </a:moveTo>
                  <a:lnTo>
                    <a:pt x="66" y="359"/>
                  </a:lnTo>
                  <a:lnTo>
                    <a:pt x="66" y="357"/>
                  </a:lnTo>
                  <a:close/>
                  <a:moveTo>
                    <a:pt x="29" y="282"/>
                  </a:moveTo>
                  <a:lnTo>
                    <a:pt x="31" y="282"/>
                  </a:lnTo>
                  <a:lnTo>
                    <a:pt x="29" y="282"/>
                  </a:lnTo>
                  <a:close/>
                  <a:moveTo>
                    <a:pt x="27" y="338"/>
                  </a:moveTo>
                  <a:lnTo>
                    <a:pt x="27" y="340"/>
                  </a:lnTo>
                  <a:lnTo>
                    <a:pt x="27" y="338"/>
                  </a:lnTo>
                  <a:close/>
                  <a:moveTo>
                    <a:pt x="37" y="250"/>
                  </a:moveTo>
                  <a:lnTo>
                    <a:pt x="37" y="252"/>
                  </a:lnTo>
                  <a:lnTo>
                    <a:pt x="37" y="250"/>
                  </a:lnTo>
                  <a:close/>
                  <a:moveTo>
                    <a:pt x="43" y="252"/>
                  </a:moveTo>
                  <a:lnTo>
                    <a:pt x="44" y="252"/>
                  </a:lnTo>
                  <a:lnTo>
                    <a:pt x="43" y="252"/>
                  </a:lnTo>
                  <a:close/>
                  <a:moveTo>
                    <a:pt x="23" y="353"/>
                  </a:moveTo>
                  <a:lnTo>
                    <a:pt x="25" y="353"/>
                  </a:lnTo>
                  <a:lnTo>
                    <a:pt x="23" y="353"/>
                  </a:lnTo>
                  <a:close/>
                  <a:moveTo>
                    <a:pt x="77" y="353"/>
                  </a:moveTo>
                  <a:lnTo>
                    <a:pt x="79" y="353"/>
                  </a:lnTo>
                  <a:lnTo>
                    <a:pt x="77" y="353"/>
                  </a:lnTo>
                  <a:close/>
                  <a:moveTo>
                    <a:pt x="43" y="357"/>
                  </a:moveTo>
                  <a:lnTo>
                    <a:pt x="44" y="357"/>
                  </a:lnTo>
                  <a:lnTo>
                    <a:pt x="43" y="357"/>
                  </a:lnTo>
                  <a:close/>
                  <a:moveTo>
                    <a:pt x="27" y="355"/>
                  </a:moveTo>
                  <a:lnTo>
                    <a:pt x="29" y="355"/>
                  </a:lnTo>
                  <a:lnTo>
                    <a:pt x="27" y="355"/>
                  </a:lnTo>
                  <a:close/>
                  <a:moveTo>
                    <a:pt x="21" y="351"/>
                  </a:moveTo>
                  <a:lnTo>
                    <a:pt x="23" y="351"/>
                  </a:lnTo>
                  <a:lnTo>
                    <a:pt x="21" y="351"/>
                  </a:lnTo>
                  <a:close/>
                  <a:moveTo>
                    <a:pt x="29" y="355"/>
                  </a:moveTo>
                  <a:lnTo>
                    <a:pt x="29" y="357"/>
                  </a:lnTo>
                  <a:lnTo>
                    <a:pt x="29" y="355"/>
                  </a:lnTo>
                  <a:close/>
                  <a:moveTo>
                    <a:pt x="29" y="255"/>
                  </a:moveTo>
                  <a:lnTo>
                    <a:pt x="29" y="257"/>
                  </a:lnTo>
                  <a:lnTo>
                    <a:pt x="29" y="255"/>
                  </a:lnTo>
                  <a:close/>
                  <a:moveTo>
                    <a:pt x="23" y="336"/>
                  </a:moveTo>
                  <a:lnTo>
                    <a:pt x="25" y="336"/>
                  </a:lnTo>
                  <a:lnTo>
                    <a:pt x="23" y="336"/>
                  </a:lnTo>
                  <a:close/>
                  <a:moveTo>
                    <a:pt x="52" y="236"/>
                  </a:moveTo>
                  <a:lnTo>
                    <a:pt x="52" y="238"/>
                  </a:lnTo>
                  <a:lnTo>
                    <a:pt x="52" y="236"/>
                  </a:lnTo>
                  <a:close/>
                  <a:moveTo>
                    <a:pt x="37" y="359"/>
                  </a:moveTo>
                  <a:lnTo>
                    <a:pt x="39" y="359"/>
                  </a:lnTo>
                  <a:lnTo>
                    <a:pt x="37" y="359"/>
                  </a:lnTo>
                  <a:close/>
                  <a:moveTo>
                    <a:pt x="27" y="340"/>
                  </a:moveTo>
                  <a:lnTo>
                    <a:pt x="27" y="342"/>
                  </a:lnTo>
                  <a:lnTo>
                    <a:pt x="27" y="340"/>
                  </a:lnTo>
                  <a:close/>
                  <a:moveTo>
                    <a:pt x="29" y="257"/>
                  </a:moveTo>
                  <a:lnTo>
                    <a:pt x="31" y="257"/>
                  </a:lnTo>
                  <a:lnTo>
                    <a:pt x="29" y="257"/>
                  </a:lnTo>
                  <a:close/>
                  <a:moveTo>
                    <a:pt x="35" y="351"/>
                  </a:moveTo>
                  <a:lnTo>
                    <a:pt x="37" y="351"/>
                  </a:lnTo>
                  <a:lnTo>
                    <a:pt x="35" y="351"/>
                  </a:lnTo>
                  <a:close/>
                  <a:moveTo>
                    <a:pt x="29" y="275"/>
                  </a:moveTo>
                  <a:lnTo>
                    <a:pt x="29" y="277"/>
                  </a:lnTo>
                  <a:lnTo>
                    <a:pt x="29" y="275"/>
                  </a:lnTo>
                  <a:close/>
                  <a:moveTo>
                    <a:pt x="37" y="340"/>
                  </a:moveTo>
                  <a:lnTo>
                    <a:pt x="37" y="342"/>
                  </a:lnTo>
                  <a:lnTo>
                    <a:pt x="37" y="340"/>
                  </a:lnTo>
                  <a:close/>
                  <a:moveTo>
                    <a:pt x="60" y="357"/>
                  </a:moveTo>
                  <a:lnTo>
                    <a:pt x="62" y="357"/>
                  </a:lnTo>
                  <a:lnTo>
                    <a:pt x="60" y="357"/>
                  </a:lnTo>
                  <a:close/>
                  <a:moveTo>
                    <a:pt x="21" y="350"/>
                  </a:moveTo>
                  <a:lnTo>
                    <a:pt x="23" y="350"/>
                  </a:lnTo>
                  <a:lnTo>
                    <a:pt x="21" y="350"/>
                  </a:lnTo>
                  <a:close/>
                  <a:moveTo>
                    <a:pt x="75" y="351"/>
                  </a:moveTo>
                  <a:lnTo>
                    <a:pt x="75" y="353"/>
                  </a:lnTo>
                  <a:lnTo>
                    <a:pt x="75" y="351"/>
                  </a:lnTo>
                  <a:close/>
                  <a:moveTo>
                    <a:pt x="75" y="353"/>
                  </a:moveTo>
                  <a:lnTo>
                    <a:pt x="77" y="353"/>
                  </a:lnTo>
                  <a:lnTo>
                    <a:pt x="75" y="353"/>
                  </a:lnTo>
                  <a:close/>
                  <a:moveTo>
                    <a:pt x="29" y="353"/>
                  </a:moveTo>
                  <a:lnTo>
                    <a:pt x="29" y="355"/>
                  </a:lnTo>
                  <a:lnTo>
                    <a:pt x="29" y="353"/>
                  </a:lnTo>
                  <a:close/>
                  <a:moveTo>
                    <a:pt x="35" y="355"/>
                  </a:moveTo>
                  <a:lnTo>
                    <a:pt x="37" y="355"/>
                  </a:lnTo>
                  <a:lnTo>
                    <a:pt x="35" y="355"/>
                  </a:lnTo>
                  <a:close/>
                  <a:moveTo>
                    <a:pt x="46" y="355"/>
                  </a:moveTo>
                  <a:lnTo>
                    <a:pt x="48" y="355"/>
                  </a:lnTo>
                  <a:lnTo>
                    <a:pt x="46" y="355"/>
                  </a:lnTo>
                  <a:close/>
                  <a:moveTo>
                    <a:pt x="96" y="350"/>
                  </a:moveTo>
                  <a:lnTo>
                    <a:pt x="98" y="350"/>
                  </a:lnTo>
                  <a:lnTo>
                    <a:pt x="96" y="350"/>
                  </a:lnTo>
                  <a:close/>
                  <a:moveTo>
                    <a:pt x="19" y="357"/>
                  </a:moveTo>
                  <a:lnTo>
                    <a:pt x="19" y="359"/>
                  </a:lnTo>
                  <a:lnTo>
                    <a:pt x="19" y="357"/>
                  </a:lnTo>
                  <a:close/>
                  <a:moveTo>
                    <a:pt x="19" y="357"/>
                  </a:moveTo>
                  <a:lnTo>
                    <a:pt x="21" y="357"/>
                  </a:lnTo>
                  <a:lnTo>
                    <a:pt x="19" y="357"/>
                  </a:lnTo>
                  <a:close/>
                  <a:moveTo>
                    <a:pt x="29" y="250"/>
                  </a:moveTo>
                  <a:lnTo>
                    <a:pt x="29" y="252"/>
                  </a:lnTo>
                  <a:lnTo>
                    <a:pt x="29" y="250"/>
                  </a:lnTo>
                  <a:close/>
                  <a:moveTo>
                    <a:pt x="27" y="278"/>
                  </a:moveTo>
                  <a:lnTo>
                    <a:pt x="29" y="278"/>
                  </a:lnTo>
                  <a:lnTo>
                    <a:pt x="27" y="278"/>
                  </a:lnTo>
                  <a:close/>
                  <a:moveTo>
                    <a:pt x="19" y="351"/>
                  </a:moveTo>
                  <a:lnTo>
                    <a:pt x="21" y="351"/>
                  </a:lnTo>
                  <a:lnTo>
                    <a:pt x="19" y="351"/>
                  </a:lnTo>
                  <a:close/>
                  <a:moveTo>
                    <a:pt x="29" y="346"/>
                  </a:moveTo>
                  <a:lnTo>
                    <a:pt x="29" y="348"/>
                  </a:lnTo>
                  <a:lnTo>
                    <a:pt x="29" y="346"/>
                  </a:lnTo>
                  <a:close/>
                  <a:moveTo>
                    <a:pt x="23" y="261"/>
                  </a:moveTo>
                  <a:lnTo>
                    <a:pt x="23" y="263"/>
                  </a:lnTo>
                  <a:lnTo>
                    <a:pt x="23" y="261"/>
                  </a:lnTo>
                  <a:close/>
                  <a:moveTo>
                    <a:pt x="71" y="353"/>
                  </a:moveTo>
                  <a:lnTo>
                    <a:pt x="73" y="353"/>
                  </a:lnTo>
                  <a:lnTo>
                    <a:pt x="71" y="353"/>
                  </a:lnTo>
                  <a:close/>
                  <a:moveTo>
                    <a:pt x="37" y="359"/>
                  </a:moveTo>
                  <a:lnTo>
                    <a:pt x="39" y="359"/>
                  </a:lnTo>
                  <a:lnTo>
                    <a:pt x="37" y="359"/>
                  </a:lnTo>
                  <a:close/>
                  <a:moveTo>
                    <a:pt x="29" y="328"/>
                  </a:moveTo>
                  <a:lnTo>
                    <a:pt x="29" y="330"/>
                  </a:lnTo>
                  <a:lnTo>
                    <a:pt x="29" y="328"/>
                  </a:lnTo>
                  <a:close/>
                  <a:moveTo>
                    <a:pt x="31" y="252"/>
                  </a:moveTo>
                  <a:lnTo>
                    <a:pt x="31" y="254"/>
                  </a:lnTo>
                  <a:lnTo>
                    <a:pt x="31" y="252"/>
                  </a:lnTo>
                  <a:close/>
                  <a:moveTo>
                    <a:pt x="91" y="350"/>
                  </a:moveTo>
                  <a:lnTo>
                    <a:pt x="92" y="350"/>
                  </a:lnTo>
                  <a:lnTo>
                    <a:pt x="91" y="350"/>
                  </a:lnTo>
                  <a:close/>
                  <a:moveTo>
                    <a:pt x="73" y="353"/>
                  </a:moveTo>
                  <a:lnTo>
                    <a:pt x="73" y="355"/>
                  </a:lnTo>
                  <a:lnTo>
                    <a:pt x="73" y="353"/>
                  </a:lnTo>
                  <a:close/>
                  <a:moveTo>
                    <a:pt x="19" y="355"/>
                  </a:moveTo>
                  <a:lnTo>
                    <a:pt x="19" y="357"/>
                  </a:lnTo>
                  <a:lnTo>
                    <a:pt x="19" y="355"/>
                  </a:lnTo>
                  <a:close/>
                  <a:moveTo>
                    <a:pt x="31" y="325"/>
                  </a:moveTo>
                  <a:lnTo>
                    <a:pt x="31" y="326"/>
                  </a:lnTo>
                  <a:lnTo>
                    <a:pt x="31" y="325"/>
                  </a:lnTo>
                  <a:close/>
                  <a:moveTo>
                    <a:pt x="23" y="353"/>
                  </a:moveTo>
                  <a:lnTo>
                    <a:pt x="23" y="355"/>
                  </a:lnTo>
                  <a:lnTo>
                    <a:pt x="23" y="353"/>
                  </a:lnTo>
                  <a:close/>
                  <a:moveTo>
                    <a:pt x="64" y="357"/>
                  </a:moveTo>
                  <a:lnTo>
                    <a:pt x="66" y="357"/>
                  </a:lnTo>
                  <a:lnTo>
                    <a:pt x="64" y="357"/>
                  </a:lnTo>
                  <a:close/>
                  <a:moveTo>
                    <a:pt x="43" y="355"/>
                  </a:moveTo>
                  <a:lnTo>
                    <a:pt x="44" y="355"/>
                  </a:lnTo>
                  <a:lnTo>
                    <a:pt x="43" y="355"/>
                  </a:lnTo>
                  <a:close/>
                  <a:moveTo>
                    <a:pt x="39" y="344"/>
                  </a:moveTo>
                  <a:lnTo>
                    <a:pt x="39" y="346"/>
                  </a:lnTo>
                  <a:lnTo>
                    <a:pt x="39" y="344"/>
                  </a:lnTo>
                  <a:close/>
                  <a:moveTo>
                    <a:pt x="19" y="353"/>
                  </a:moveTo>
                  <a:lnTo>
                    <a:pt x="21" y="353"/>
                  </a:lnTo>
                  <a:lnTo>
                    <a:pt x="19" y="353"/>
                  </a:lnTo>
                  <a:close/>
                  <a:moveTo>
                    <a:pt x="31" y="286"/>
                  </a:moveTo>
                  <a:lnTo>
                    <a:pt x="33" y="286"/>
                  </a:lnTo>
                  <a:lnTo>
                    <a:pt x="31" y="286"/>
                  </a:lnTo>
                  <a:close/>
                  <a:moveTo>
                    <a:pt x="39" y="357"/>
                  </a:moveTo>
                  <a:lnTo>
                    <a:pt x="41" y="357"/>
                  </a:lnTo>
                  <a:lnTo>
                    <a:pt x="39" y="357"/>
                  </a:lnTo>
                  <a:close/>
                  <a:moveTo>
                    <a:pt x="31" y="298"/>
                  </a:moveTo>
                  <a:lnTo>
                    <a:pt x="31" y="300"/>
                  </a:lnTo>
                  <a:lnTo>
                    <a:pt x="31" y="298"/>
                  </a:lnTo>
                  <a:close/>
                  <a:moveTo>
                    <a:pt x="31" y="323"/>
                  </a:moveTo>
                  <a:lnTo>
                    <a:pt x="31" y="325"/>
                  </a:lnTo>
                  <a:lnTo>
                    <a:pt x="31" y="323"/>
                  </a:lnTo>
                  <a:close/>
                  <a:moveTo>
                    <a:pt x="25" y="263"/>
                  </a:moveTo>
                  <a:lnTo>
                    <a:pt x="27" y="263"/>
                  </a:lnTo>
                  <a:lnTo>
                    <a:pt x="25" y="263"/>
                  </a:lnTo>
                  <a:close/>
                  <a:moveTo>
                    <a:pt x="23" y="261"/>
                  </a:moveTo>
                  <a:lnTo>
                    <a:pt x="25" y="261"/>
                  </a:lnTo>
                  <a:lnTo>
                    <a:pt x="23" y="261"/>
                  </a:lnTo>
                  <a:close/>
                  <a:moveTo>
                    <a:pt x="100" y="342"/>
                  </a:moveTo>
                  <a:lnTo>
                    <a:pt x="102" y="342"/>
                  </a:lnTo>
                  <a:lnTo>
                    <a:pt x="100" y="342"/>
                  </a:lnTo>
                  <a:close/>
                  <a:moveTo>
                    <a:pt x="29" y="326"/>
                  </a:moveTo>
                  <a:lnTo>
                    <a:pt x="29" y="328"/>
                  </a:lnTo>
                  <a:lnTo>
                    <a:pt x="29" y="326"/>
                  </a:lnTo>
                  <a:close/>
                  <a:moveTo>
                    <a:pt x="14" y="342"/>
                  </a:moveTo>
                  <a:lnTo>
                    <a:pt x="16" y="342"/>
                  </a:lnTo>
                  <a:lnTo>
                    <a:pt x="14" y="342"/>
                  </a:lnTo>
                  <a:close/>
                  <a:moveTo>
                    <a:pt x="19" y="353"/>
                  </a:moveTo>
                  <a:lnTo>
                    <a:pt x="21" y="353"/>
                  </a:lnTo>
                  <a:lnTo>
                    <a:pt x="19" y="353"/>
                  </a:lnTo>
                  <a:close/>
                  <a:moveTo>
                    <a:pt x="39" y="357"/>
                  </a:moveTo>
                  <a:lnTo>
                    <a:pt x="41" y="357"/>
                  </a:lnTo>
                  <a:lnTo>
                    <a:pt x="39" y="357"/>
                  </a:lnTo>
                  <a:close/>
                  <a:moveTo>
                    <a:pt x="62" y="357"/>
                  </a:moveTo>
                  <a:lnTo>
                    <a:pt x="62" y="359"/>
                  </a:lnTo>
                  <a:lnTo>
                    <a:pt x="62" y="357"/>
                  </a:lnTo>
                  <a:close/>
                  <a:moveTo>
                    <a:pt x="52" y="359"/>
                  </a:moveTo>
                  <a:lnTo>
                    <a:pt x="54" y="359"/>
                  </a:lnTo>
                  <a:lnTo>
                    <a:pt x="52" y="359"/>
                  </a:lnTo>
                  <a:close/>
                  <a:moveTo>
                    <a:pt x="56" y="355"/>
                  </a:moveTo>
                  <a:lnTo>
                    <a:pt x="56" y="357"/>
                  </a:lnTo>
                  <a:lnTo>
                    <a:pt x="56" y="355"/>
                  </a:lnTo>
                  <a:close/>
                  <a:moveTo>
                    <a:pt x="43" y="357"/>
                  </a:moveTo>
                  <a:lnTo>
                    <a:pt x="43" y="359"/>
                  </a:lnTo>
                  <a:lnTo>
                    <a:pt x="43" y="357"/>
                  </a:lnTo>
                  <a:close/>
                  <a:moveTo>
                    <a:pt x="21" y="348"/>
                  </a:moveTo>
                  <a:lnTo>
                    <a:pt x="21" y="350"/>
                  </a:lnTo>
                  <a:lnTo>
                    <a:pt x="21" y="348"/>
                  </a:lnTo>
                  <a:close/>
                  <a:moveTo>
                    <a:pt x="23" y="263"/>
                  </a:moveTo>
                  <a:lnTo>
                    <a:pt x="25" y="263"/>
                  </a:lnTo>
                  <a:lnTo>
                    <a:pt x="23" y="263"/>
                  </a:lnTo>
                  <a:close/>
                  <a:moveTo>
                    <a:pt x="23" y="346"/>
                  </a:moveTo>
                  <a:lnTo>
                    <a:pt x="25" y="346"/>
                  </a:lnTo>
                  <a:lnTo>
                    <a:pt x="23" y="346"/>
                  </a:lnTo>
                  <a:close/>
                  <a:moveTo>
                    <a:pt x="100" y="344"/>
                  </a:moveTo>
                  <a:lnTo>
                    <a:pt x="102" y="344"/>
                  </a:lnTo>
                  <a:lnTo>
                    <a:pt x="100" y="344"/>
                  </a:lnTo>
                  <a:close/>
                  <a:moveTo>
                    <a:pt x="33" y="305"/>
                  </a:moveTo>
                  <a:lnTo>
                    <a:pt x="35" y="305"/>
                  </a:lnTo>
                  <a:lnTo>
                    <a:pt x="33" y="305"/>
                  </a:lnTo>
                  <a:close/>
                  <a:moveTo>
                    <a:pt x="114" y="338"/>
                  </a:moveTo>
                  <a:lnTo>
                    <a:pt x="115" y="338"/>
                  </a:lnTo>
                  <a:lnTo>
                    <a:pt x="114" y="338"/>
                  </a:lnTo>
                  <a:close/>
                  <a:moveTo>
                    <a:pt x="31" y="298"/>
                  </a:moveTo>
                  <a:lnTo>
                    <a:pt x="31" y="300"/>
                  </a:lnTo>
                  <a:lnTo>
                    <a:pt x="31" y="298"/>
                  </a:lnTo>
                  <a:close/>
                  <a:moveTo>
                    <a:pt x="31" y="254"/>
                  </a:moveTo>
                  <a:lnTo>
                    <a:pt x="33" y="254"/>
                  </a:lnTo>
                  <a:lnTo>
                    <a:pt x="31" y="254"/>
                  </a:lnTo>
                  <a:close/>
                  <a:moveTo>
                    <a:pt x="21" y="353"/>
                  </a:moveTo>
                  <a:lnTo>
                    <a:pt x="23" y="353"/>
                  </a:lnTo>
                  <a:lnTo>
                    <a:pt x="21" y="353"/>
                  </a:lnTo>
                  <a:close/>
                  <a:moveTo>
                    <a:pt x="41" y="250"/>
                  </a:moveTo>
                  <a:lnTo>
                    <a:pt x="43" y="250"/>
                  </a:lnTo>
                  <a:lnTo>
                    <a:pt x="41" y="250"/>
                  </a:lnTo>
                  <a:close/>
                  <a:moveTo>
                    <a:pt x="31" y="257"/>
                  </a:moveTo>
                  <a:lnTo>
                    <a:pt x="31" y="259"/>
                  </a:lnTo>
                  <a:lnTo>
                    <a:pt x="31" y="257"/>
                  </a:lnTo>
                  <a:close/>
                  <a:moveTo>
                    <a:pt x="29" y="284"/>
                  </a:moveTo>
                  <a:lnTo>
                    <a:pt x="31" y="284"/>
                  </a:lnTo>
                  <a:lnTo>
                    <a:pt x="29" y="284"/>
                  </a:lnTo>
                  <a:close/>
                  <a:moveTo>
                    <a:pt x="27" y="340"/>
                  </a:moveTo>
                  <a:lnTo>
                    <a:pt x="29" y="340"/>
                  </a:lnTo>
                  <a:lnTo>
                    <a:pt x="27" y="340"/>
                  </a:lnTo>
                  <a:close/>
                  <a:moveTo>
                    <a:pt x="23" y="351"/>
                  </a:moveTo>
                  <a:lnTo>
                    <a:pt x="23" y="353"/>
                  </a:lnTo>
                  <a:lnTo>
                    <a:pt x="23" y="351"/>
                  </a:lnTo>
                  <a:close/>
                  <a:moveTo>
                    <a:pt x="18" y="338"/>
                  </a:moveTo>
                  <a:lnTo>
                    <a:pt x="18" y="340"/>
                  </a:lnTo>
                  <a:lnTo>
                    <a:pt x="18" y="338"/>
                  </a:lnTo>
                  <a:close/>
                  <a:moveTo>
                    <a:pt x="27" y="355"/>
                  </a:moveTo>
                  <a:lnTo>
                    <a:pt x="27" y="357"/>
                  </a:lnTo>
                  <a:lnTo>
                    <a:pt x="27" y="355"/>
                  </a:lnTo>
                  <a:close/>
                  <a:moveTo>
                    <a:pt x="25" y="355"/>
                  </a:moveTo>
                  <a:lnTo>
                    <a:pt x="25" y="357"/>
                  </a:lnTo>
                  <a:lnTo>
                    <a:pt x="25" y="355"/>
                  </a:lnTo>
                  <a:close/>
                  <a:moveTo>
                    <a:pt x="44" y="357"/>
                  </a:moveTo>
                  <a:lnTo>
                    <a:pt x="44" y="359"/>
                  </a:lnTo>
                  <a:lnTo>
                    <a:pt x="44" y="357"/>
                  </a:lnTo>
                  <a:close/>
                  <a:moveTo>
                    <a:pt x="121" y="340"/>
                  </a:moveTo>
                  <a:lnTo>
                    <a:pt x="121" y="342"/>
                  </a:lnTo>
                  <a:lnTo>
                    <a:pt x="121" y="340"/>
                  </a:lnTo>
                  <a:close/>
                  <a:moveTo>
                    <a:pt x="27" y="328"/>
                  </a:moveTo>
                  <a:lnTo>
                    <a:pt x="27" y="330"/>
                  </a:lnTo>
                  <a:lnTo>
                    <a:pt x="27" y="328"/>
                  </a:lnTo>
                  <a:close/>
                  <a:moveTo>
                    <a:pt x="19" y="353"/>
                  </a:moveTo>
                  <a:lnTo>
                    <a:pt x="19" y="355"/>
                  </a:lnTo>
                  <a:lnTo>
                    <a:pt x="19" y="353"/>
                  </a:lnTo>
                  <a:close/>
                  <a:moveTo>
                    <a:pt x="14" y="355"/>
                  </a:moveTo>
                  <a:lnTo>
                    <a:pt x="14" y="357"/>
                  </a:lnTo>
                  <a:lnTo>
                    <a:pt x="14" y="355"/>
                  </a:lnTo>
                  <a:close/>
                  <a:moveTo>
                    <a:pt x="33" y="303"/>
                  </a:moveTo>
                  <a:lnTo>
                    <a:pt x="35" y="303"/>
                  </a:lnTo>
                  <a:lnTo>
                    <a:pt x="33" y="303"/>
                  </a:lnTo>
                  <a:close/>
                  <a:moveTo>
                    <a:pt x="29" y="265"/>
                  </a:moveTo>
                  <a:lnTo>
                    <a:pt x="31" y="265"/>
                  </a:lnTo>
                  <a:lnTo>
                    <a:pt x="29" y="265"/>
                  </a:lnTo>
                  <a:close/>
                  <a:moveTo>
                    <a:pt x="31" y="259"/>
                  </a:moveTo>
                  <a:lnTo>
                    <a:pt x="33" y="259"/>
                  </a:lnTo>
                  <a:lnTo>
                    <a:pt x="31" y="259"/>
                  </a:lnTo>
                  <a:close/>
                  <a:moveTo>
                    <a:pt x="29" y="252"/>
                  </a:moveTo>
                  <a:lnTo>
                    <a:pt x="31" y="252"/>
                  </a:lnTo>
                  <a:lnTo>
                    <a:pt x="29" y="252"/>
                  </a:lnTo>
                  <a:close/>
                  <a:moveTo>
                    <a:pt x="31" y="303"/>
                  </a:moveTo>
                  <a:lnTo>
                    <a:pt x="33" y="303"/>
                  </a:lnTo>
                  <a:lnTo>
                    <a:pt x="31" y="303"/>
                  </a:lnTo>
                  <a:close/>
                  <a:moveTo>
                    <a:pt x="43" y="248"/>
                  </a:moveTo>
                  <a:lnTo>
                    <a:pt x="44" y="248"/>
                  </a:lnTo>
                  <a:lnTo>
                    <a:pt x="43" y="248"/>
                  </a:lnTo>
                  <a:close/>
                  <a:moveTo>
                    <a:pt x="25" y="265"/>
                  </a:moveTo>
                  <a:lnTo>
                    <a:pt x="27" y="265"/>
                  </a:lnTo>
                  <a:lnTo>
                    <a:pt x="25" y="265"/>
                  </a:lnTo>
                  <a:close/>
                  <a:moveTo>
                    <a:pt x="33" y="313"/>
                  </a:moveTo>
                  <a:lnTo>
                    <a:pt x="33" y="315"/>
                  </a:lnTo>
                  <a:lnTo>
                    <a:pt x="33" y="313"/>
                  </a:lnTo>
                  <a:close/>
                  <a:moveTo>
                    <a:pt x="31" y="252"/>
                  </a:moveTo>
                  <a:lnTo>
                    <a:pt x="31" y="254"/>
                  </a:lnTo>
                  <a:lnTo>
                    <a:pt x="31" y="252"/>
                  </a:lnTo>
                  <a:close/>
                  <a:moveTo>
                    <a:pt x="33" y="311"/>
                  </a:moveTo>
                  <a:lnTo>
                    <a:pt x="33" y="313"/>
                  </a:lnTo>
                  <a:lnTo>
                    <a:pt x="33" y="311"/>
                  </a:lnTo>
                  <a:close/>
                  <a:moveTo>
                    <a:pt x="31" y="296"/>
                  </a:moveTo>
                  <a:lnTo>
                    <a:pt x="33" y="296"/>
                  </a:lnTo>
                  <a:lnTo>
                    <a:pt x="31" y="296"/>
                  </a:lnTo>
                  <a:close/>
                  <a:moveTo>
                    <a:pt x="27" y="269"/>
                  </a:moveTo>
                  <a:lnTo>
                    <a:pt x="29" y="269"/>
                  </a:lnTo>
                  <a:lnTo>
                    <a:pt x="27" y="269"/>
                  </a:lnTo>
                  <a:close/>
                  <a:moveTo>
                    <a:pt x="16" y="346"/>
                  </a:moveTo>
                  <a:lnTo>
                    <a:pt x="18" y="346"/>
                  </a:lnTo>
                  <a:lnTo>
                    <a:pt x="16" y="346"/>
                  </a:lnTo>
                  <a:close/>
                  <a:moveTo>
                    <a:pt x="44" y="357"/>
                  </a:moveTo>
                  <a:lnTo>
                    <a:pt x="44" y="359"/>
                  </a:lnTo>
                  <a:lnTo>
                    <a:pt x="44" y="357"/>
                  </a:lnTo>
                  <a:close/>
                  <a:moveTo>
                    <a:pt x="102" y="346"/>
                  </a:moveTo>
                  <a:lnTo>
                    <a:pt x="104" y="346"/>
                  </a:lnTo>
                  <a:lnTo>
                    <a:pt x="102" y="346"/>
                  </a:lnTo>
                  <a:close/>
                  <a:moveTo>
                    <a:pt x="60" y="359"/>
                  </a:moveTo>
                  <a:lnTo>
                    <a:pt x="62" y="359"/>
                  </a:lnTo>
                  <a:lnTo>
                    <a:pt x="60" y="359"/>
                  </a:lnTo>
                  <a:close/>
                  <a:moveTo>
                    <a:pt x="50" y="355"/>
                  </a:moveTo>
                  <a:lnTo>
                    <a:pt x="52" y="355"/>
                  </a:lnTo>
                  <a:lnTo>
                    <a:pt x="50" y="355"/>
                  </a:lnTo>
                  <a:close/>
                  <a:moveTo>
                    <a:pt x="96" y="346"/>
                  </a:moveTo>
                  <a:lnTo>
                    <a:pt x="96" y="348"/>
                  </a:lnTo>
                  <a:lnTo>
                    <a:pt x="96" y="346"/>
                  </a:lnTo>
                  <a:close/>
                  <a:moveTo>
                    <a:pt x="50" y="355"/>
                  </a:moveTo>
                  <a:lnTo>
                    <a:pt x="52" y="355"/>
                  </a:lnTo>
                  <a:lnTo>
                    <a:pt x="50" y="355"/>
                  </a:lnTo>
                  <a:close/>
                  <a:moveTo>
                    <a:pt x="27" y="359"/>
                  </a:moveTo>
                  <a:lnTo>
                    <a:pt x="27" y="361"/>
                  </a:lnTo>
                  <a:lnTo>
                    <a:pt x="27" y="359"/>
                  </a:lnTo>
                  <a:close/>
                  <a:moveTo>
                    <a:pt x="27" y="350"/>
                  </a:moveTo>
                  <a:lnTo>
                    <a:pt x="27" y="351"/>
                  </a:lnTo>
                  <a:lnTo>
                    <a:pt x="27" y="350"/>
                  </a:lnTo>
                  <a:close/>
                  <a:moveTo>
                    <a:pt x="21" y="346"/>
                  </a:moveTo>
                  <a:lnTo>
                    <a:pt x="23" y="346"/>
                  </a:lnTo>
                  <a:lnTo>
                    <a:pt x="21" y="346"/>
                  </a:lnTo>
                  <a:close/>
                  <a:moveTo>
                    <a:pt x="29" y="342"/>
                  </a:moveTo>
                  <a:lnTo>
                    <a:pt x="31" y="342"/>
                  </a:lnTo>
                  <a:lnTo>
                    <a:pt x="29" y="342"/>
                  </a:lnTo>
                  <a:close/>
                  <a:moveTo>
                    <a:pt x="19" y="355"/>
                  </a:moveTo>
                  <a:lnTo>
                    <a:pt x="19" y="357"/>
                  </a:lnTo>
                  <a:lnTo>
                    <a:pt x="19" y="355"/>
                  </a:lnTo>
                  <a:close/>
                  <a:moveTo>
                    <a:pt x="67" y="355"/>
                  </a:moveTo>
                  <a:lnTo>
                    <a:pt x="69" y="355"/>
                  </a:lnTo>
                  <a:lnTo>
                    <a:pt x="67" y="355"/>
                  </a:lnTo>
                  <a:close/>
                  <a:moveTo>
                    <a:pt x="39" y="344"/>
                  </a:moveTo>
                  <a:lnTo>
                    <a:pt x="39" y="346"/>
                  </a:lnTo>
                  <a:lnTo>
                    <a:pt x="39" y="344"/>
                  </a:lnTo>
                  <a:close/>
                  <a:moveTo>
                    <a:pt x="58" y="355"/>
                  </a:moveTo>
                  <a:lnTo>
                    <a:pt x="58" y="357"/>
                  </a:lnTo>
                  <a:lnTo>
                    <a:pt x="58" y="35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398">
              <a:extLst>
                <a:ext uri="{FF2B5EF4-FFF2-40B4-BE49-F238E27FC236}">
                  <a16:creationId xmlns:a16="http://schemas.microsoft.com/office/drawing/2014/main" id="{CD1E32FE-9FAD-4C14-9F59-CB2C173D8A93}"/>
                </a:ext>
              </a:extLst>
            </p:cNvPr>
            <p:cNvSpPr>
              <a:spLocks noEditPoints="1"/>
            </p:cNvSpPr>
            <p:nvPr/>
          </p:nvSpPr>
          <p:spPr bwMode="gray">
            <a:xfrm>
              <a:off x="3405709" y="2629991"/>
              <a:ext cx="237917" cy="539606"/>
            </a:xfrm>
            <a:custGeom>
              <a:avLst/>
              <a:gdLst>
                <a:gd name="T0" fmla="*/ 173 w 194"/>
                <a:gd name="T1" fmla="*/ 125 h 440"/>
                <a:gd name="T2" fmla="*/ 160 w 194"/>
                <a:gd name="T3" fmla="*/ 139 h 440"/>
                <a:gd name="T4" fmla="*/ 154 w 194"/>
                <a:gd name="T5" fmla="*/ 152 h 440"/>
                <a:gd name="T6" fmla="*/ 150 w 194"/>
                <a:gd name="T7" fmla="*/ 179 h 440"/>
                <a:gd name="T8" fmla="*/ 129 w 194"/>
                <a:gd name="T9" fmla="*/ 206 h 440"/>
                <a:gd name="T10" fmla="*/ 110 w 194"/>
                <a:gd name="T11" fmla="*/ 217 h 440"/>
                <a:gd name="T12" fmla="*/ 104 w 194"/>
                <a:gd name="T13" fmla="*/ 231 h 440"/>
                <a:gd name="T14" fmla="*/ 93 w 194"/>
                <a:gd name="T15" fmla="*/ 261 h 440"/>
                <a:gd name="T16" fmla="*/ 91 w 194"/>
                <a:gd name="T17" fmla="*/ 279 h 440"/>
                <a:gd name="T18" fmla="*/ 106 w 194"/>
                <a:gd name="T19" fmla="*/ 300 h 440"/>
                <a:gd name="T20" fmla="*/ 117 w 194"/>
                <a:gd name="T21" fmla="*/ 315 h 440"/>
                <a:gd name="T22" fmla="*/ 110 w 194"/>
                <a:gd name="T23" fmla="*/ 334 h 440"/>
                <a:gd name="T24" fmla="*/ 96 w 194"/>
                <a:gd name="T25" fmla="*/ 344 h 440"/>
                <a:gd name="T26" fmla="*/ 81 w 194"/>
                <a:gd name="T27" fmla="*/ 356 h 440"/>
                <a:gd name="T28" fmla="*/ 85 w 194"/>
                <a:gd name="T29" fmla="*/ 371 h 440"/>
                <a:gd name="T30" fmla="*/ 83 w 194"/>
                <a:gd name="T31" fmla="*/ 384 h 440"/>
                <a:gd name="T32" fmla="*/ 77 w 194"/>
                <a:gd name="T33" fmla="*/ 406 h 440"/>
                <a:gd name="T34" fmla="*/ 52 w 194"/>
                <a:gd name="T35" fmla="*/ 423 h 440"/>
                <a:gd name="T36" fmla="*/ 25 w 194"/>
                <a:gd name="T37" fmla="*/ 404 h 440"/>
                <a:gd name="T38" fmla="*/ 12 w 194"/>
                <a:gd name="T39" fmla="*/ 375 h 440"/>
                <a:gd name="T40" fmla="*/ 4 w 194"/>
                <a:gd name="T41" fmla="*/ 356 h 440"/>
                <a:gd name="T42" fmla="*/ 21 w 194"/>
                <a:gd name="T43" fmla="*/ 311 h 440"/>
                <a:gd name="T44" fmla="*/ 27 w 194"/>
                <a:gd name="T45" fmla="*/ 187 h 440"/>
                <a:gd name="T46" fmla="*/ 79 w 194"/>
                <a:gd name="T47" fmla="*/ 75 h 440"/>
                <a:gd name="T48" fmla="*/ 146 w 194"/>
                <a:gd name="T49" fmla="*/ 4 h 440"/>
                <a:gd name="T50" fmla="*/ 190 w 194"/>
                <a:gd name="T51" fmla="*/ 92 h 440"/>
                <a:gd name="T52" fmla="*/ 104 w 194"/>
                <a:gd name="T53" fmla="*/ 388 h 440"/>
                <a:gd name="T54" fmla="*/ 81 w 194"/>
                <a:gd name="T55" fmla="*/ 404 h 440"/>
                <a:gd name="T56" fmla="*/ 112 w 194"/>
                <a:gd name="T57" fmla="*/ 334 h 440"/>
                <a:gd name="T58" fmla="*/ 110 w 194"/>
                <a:gd name="T59" fmla="*/ 327 h 440"/>
                <a:gd name="T60" fmla="*/ 173 w 194"/>
                <a:gd name="T61" fmla="*/ 129 h 440"/>
                <a:gd name="T62" fmla="*/ 110 w 194"/>
                <a:gd name="T63" fmla="*/ 219 h 440"/>
                <a:gd name="T64" fmla="*/ 4 w 194"/>
                <a:gd name="T65" fmla="*/ 344 h 440"/>
                <a:gd name="T66" fmla="*/ 110 w 194"/>
                <a:gd name="T67" fmla="*/ 306 h 440"/>
                <a:gd name="T68" fmla="*/ 114 w 194"/>
                <a:gd name="T69" fmla="*/ 323 h 440"/>
                <a:gd name="T70" fmla="*/ 87 w 194"/>
                <a:gd name="T71" fmla="*/ 357 h 440"/>
                <a:gd name="T72" fmla="*/ 6 w 194"/>
                <a:gd name="T73" fmla="*/ 363 h 440"/>
                <a:gd name="T74" fmla="*/ 167 w 194"/>
                <a:gd name="T75" fmla="*/ 125 h 440"/>
                <a:gd name="T76" fmla="*/ 108 w 194"/>
                <a:gd name="T77" fmla="*/ 338 h 440"/>
                <a:gd name="T78" fmla="*/ 10 w 194"/>
                <a:gd name="T79" fmla="*/ 371 h 440"/>
                <a:gd name="T80" fmla="*/ 110 w 194"/>
                <a:gd name="T81" fmla="*/ 338 h 440"/>
                <a:gd name="T82" fmla="*/ 85 w 194"/>
                <a:gd name="T83" fmla="*/ 375 h 440"/>
                <a:gd name="T84" fmla="*/ 110 w 194"/>
                <a:gd name="T85" fmla="*/ 334 h 440"/>
                <a:gd name="T86" fmla="*/ 87 w 194"/>
                <a:gd name="T87" fmla="*/ 354 h 440"/>
                <a:gd name="T88" fmla="*/ 114 w 194"/>
                <a:gd name="T89" fmla="*/ 323 h 440"/>
                <a:gd name="T90" fmla="*/ 123 w 194"/>
                <a:gd name="T91" fmla="*/ 321 h 440"/>
                <a:gd name="T92" fmla="*/ 89 w 194"/>
                <a:gd name="T93" fmla="*/ 363 h 440"/>
                <a:gd name="T94" fmla="*/ 4 w 194"/>
                <a:gd name="T95" fmla="*/ 356 h 440"/>
                <a:gd name="T96" fmla="*/ 164 w 194"/>
                <a:gd name="T97" fmla="*/ 139 h 440"/>
                <a:gd name="T98" fmla="*/ 83 w 194"/>
                <a:gd name="T99" fmla="*/ 379 h 440"/>
                <a:gd name="T100" fmla="*/ 4 w 194"/>
                <a:gd name="T101" fmla="*/ 356 h 440"/>
                <a:gd name="T102" fmla="*/ 110 w 194"/>
                <a:gd name="T103" fmla="*/ 334 h 440"/>
                <a:gd name="T104" fmla="*/ 114 w 194"/>
                <a:gd name="T105" fmla="*/ 331 h 440"/>
                <a:gd name="T106" fmla="*/ 4 w 194"/>
                <a:gd name="T107" fmla="*/ 352 h 440"/>
                <a:gd name="T108" fmla="*/ 110 w 194"/>
                <a:gd name="T109" fmla="*/ 298 h 440"/>
                <a:gd name="T110" fmla="*/ 83 w 194"/>
                <a:gd name="T111" fmla="*/ 379 h 440"/>
                <a:gd name="T112" fmla="*/ 162 w 194"/>
                <a:gd name="T113" fmla="*/ 137 h 440"/>
                <a:gd name="T114" fmla="*/ 81 w 194"/>
                <a:gd name="T115" fmla="*/ 394 h 440"/>
                <a:gd name="T116" fmla="*/ 20 w 194"/>
                <a:gd name="T117" fmla="*/ 396 h 440"/>
                <a:gd name="T118" fmla="*/ 12 w 194"/>
                <a:gd name="T119" fmla="*/ 371 h 440"/>
                <a:gd name="T120" fmla="*/ 0 w 194"/>
                <a:gd name="T121" fmla="*/ 346 h 440"/>
                <a:gd name="T122" fmla="*/ 110 w 194"/>
                <a:gd name="T123" fmla="*/ 340 h 440"/>
                <a:gd name="T124" fmla="*/ 87 w 194"/>
                <a:gd name="T125" fmla="*/ 359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 h="440">
                  <a:moveTo>
                    <a:pt x="192" y="123"/>
                  </a:moveTo>
                  <a:lnTo>
                    <a:pt x="192" y="125"/>
                  </a:lnTo>
                  <a:lnTo>
                    <a:pt x="190" y="125"/>
                  </a:lnTo>
                  <a:lnTo>
                    <a:pt x="190" y="127"/>
                  </a:lnTo>
                  <a:lnTo>
                    <a:pt x="190" y="125"/>
                  </a:lnTo>
                  <a:lnTo>
                    <a:pt x="190" y="127"/>
                  </a:lnTo>
                  <a:lnTo>
                    <a:pt x="190" y="125"/>
                  </a:lnTo>
                  <a:lnTo>
                    <a:pt x="188" y="125"/>
                  </a:lnTo>
                  <a:lnTo>
                    <a:pt x="188" y="127"/>
                  </a:lnTo>
                  <a:lnTo>
                    <a:pt x="188" y="129"/>
                  </a:lnTo>
                  <a:lnTo>
                    <a:pt x="187" y="129"/>
                  </a:lnTo>
                  <a:lnTo>
                    <a:pt x="188" y="129"/>
                  </a:lnTo>
                  <a:lnTo>
                    <a:pt x="187" y="129"/>
                  </a:lnTo>
                  <a:lnTo>
                    <a:pt x="187" y="127"/>
                  </a:lnTo>
                  <a:lnTo>
                    <a:pt x="188" y="127"/>
                  </a:lnTo>
                  <a:lnTo>
                    <a:pt x="187" y="127"/>
                  </a:lnTo>
                  <a:lnTo>
                    <a:pt x="188" y="127"/>
                  </a:lnTo>
                  <a:lnTo>
                    <a:pt x="188" y="125"/>
                  </a:lnTo>
                  <a:lnTo>
                    <a:pt x="187" y="125"/>
                  </a:lnTo>
                  <a:lnTo>
                    <a:pt x="188" y="125"/>
                  </a:lnTo>
                  <a:lnTo>
                    <a:pt x="187" y="125"/>
                  </a:lnTo>
                  <a:lnTo>
                    <a:pt x="188" y="125"/>
                  </a:lnTo>
                  <a:lnTo>
                    <a:pt x="187" y="125"/>
                  </a:lnTo>
                  <a:lnTo>
                    <a:pt x="187" y="123"/>
                  </a:lnTo>
                  <a:lnTo>
                    <a:pt x="187" y="125"/>
                  </a:lnTo>
                  <a:lnTo>
                    <a:pt x="187" y="123"/>
                  </a:lnTo>
                  <a:lnTo>
                    <a:pt x="187" y="125"/>
                  </a:lnTo>
                  <a:lnTo>
                    <a:pt x="185" y="125"/>
                  </a:lnTo>
                  <a:lnTo>
                    <a:pt x="183" y="125"/>
                  </a:lnTo>
                  <a:lnTo>
                    <a:pt x="183" y="123"/>
                  </a:lnTo>
                  <a:lnTo>
                    <a:pt x="183" y="125"/>
                  </a:lnTo>
                  <a:lnTo>
                    <a:pt x="183" y="127"/>
                  </a:lnTo>
                  <a:lnTo>
                    <a:pt x="183" y="125"/>
                  </a:lnTo>
                  <a:lnTo>
                    <a:pt x="183" y="127"/>
                  </a:lnTo>
                  <a:lnTo>
                    <a:pt x="181" y="127"/>
                  </a:lnTo>
                  <a:lnTo>
                    <a:pt x="183" y="127"/>
                  </a:lnTo>
                  <a:lnTo>
                    <a:pt x="181" y="127"/>
                  </a:lnTo>
                  <a:lnTo>
                    <a:pt x="183" y="127"/>
                  </a:lnTo>
                  <a:lnTo>
                    <a:pt x="181" y="127"/>
                  </a:lnTo>
                  <a:lnTo>
                    <a:pt x="183" y="127"/>
                  </a:lnTo>
                  <a:lnTo>
                    <a:pt x="183" y="125"/>
                  </a:lnTo>
                  <a:lnTo>
                    <a:pt x="183" y="127"/>
                  </a:lnTo>
                  <a:lnTo>
                    <a:pt x="183" y="125"/>
                  </a:lnTo>
                  <a:lnTo>
                    <a:pt x="181" y="125"/>
                  </a:lnTo>
                  <a:lnTo>
                    <a:pt x="183" y="125"/>
                  </a:lnTo>
                  <a:lnTo>
                    <a:pt x="181" y="125"/>
                  </a:lnTo>
                  <a:lnTo>
                    <a:pt x="183" y="125"/>
                  </a:lnTo>
                  <a:lnTo>
                    <a:pt x="181" y="125"/>
                  </a:lnTo>
                  <a:lnTo>
                    <a:pt x="181" y="123"/>
                  </a:lnTo>
                  <a:lnTo>
                    <a:pt x="181" y="125"/>
                  </a:lnTo>
                  <a:lnTo>
                    <a:pt x="181" y="123"/>
                  </a:lnTo>
                  <a:lnTo>
                    <a:pt x="181" y="125"/>
                  </a:lnTo>
                  <a:lnTo>
                    <a:pt x="179" y="125"/>
                  </a:lnTo>
                  <a:lnTo>
                    <a:pt x="179" y="123"/>
                  </a:lnTo>
                  <a:lnTo>
                    <a:pt x="179" y="125"/>
                  </a:lnTo>
                  <a:lnTo>
                    <a:pt x="179" y="123"/>
                  </a:lnTo>
                  <a:lnTo>
                    <a:pt x="177" y="123"/>
                  </a:lnTo>
                  <a:lnTo>
                    <a:pt x="177" y="121"/>
                  </a:lnTo>
                  <a:lnTo>
                    <a:pt x="177" y="123"/>
                  </a:lnTo>
                  <a:lnTo>
                    <a:pt x="179" y="123"/>
                  </a:lnTo>
                  <a:lnTo>
                    <a:pt x="179" y="125"/>
                  </a:lnTo>
                  <a:lnTo>
                    <a:pt x="179" y="127"/>
                  </a:lnTo>
                  <a:lnTo>
                    <a:pt x="179" y="125"/>
                  </a:lnTo>
                  <a:lnTo>
                    <a:pt x="179" y="127"/>
                  </a:lnTo>
                  <a:lnTo>
                    <a:pt x="177" y="127"/>
                  </a:lnTo>
                  <a:lnTo>
                    <a:pt x="177" y="129"/>
                  </a:lnTo>
                  <a:lnTo>
                    <a:pt x="177" y="127"/>
                  </a:lnTo>
                  <a:lnTo>
                    <a:pt x="177" y="125"/>
                  </a:lnTo>
                  <a:lnTo>
                    <a:pt x="177" y="127"/>
                  </a:lnTo>
                  <a:lnTo>
                    <a:pt x="175" y="127"/>
                  </a:lnTo>
                  <a:lnTo>
                    <a:pt x="175" y="125"/>
                  </a:lnTo>
                  <a:lnTo>
                    <a:pt x="175" y="127"/>
                  </a:lnTo>
                  <a:lnTo>
                    <a:pt x="175" y="125"/>
                  </a:lnTo>
                  <a:lnTo>
                    <a:pt x="175" y="127"/>
                  </a:lnTo>
                  <a:lnTo>
                    <a:pt x="175" y="125"/>
                  </a:lnTo>
                  <a:lnTo>
                    <a:pt x="175" y="127"/>
                  </a:lnTo>
                  <a:lnTo>
                    <a:pt x="175" y="125"/>
                  </a:lnTo>
                  <a:lnTo>
                    <a:pt x="173" y="125"/>
                  </a:lnTo>
                  <a:lnTo>
                    <a:pt x="173" y="123"/>
                  </a:lnTo>
                  <a:lnTo>
                    <a:pt x="173" y="121"/>
                  </a:lnTo>
                  <a:lnTo>
                    <a:pt x="171" y="121"/>
                  </a:lnTo>
                  <a:lnTo>
                    <a:pt x="171" y="123"/>
                  </a:lnTo>
                  <a:lnTo>
                    <a:pt x="171" y="125"/>
                  </a:lnTo>
                  <a:lnTo>
                    <a:pt x="173" y="125"/>
                  </a:lnTo>
                  <a:lnTo>
                    <a:pt x="171" y="125"/>
                  </a:lnTo>
                  <a:lnTo>
                    <a:pt x="173" y="125"/>
                  </a:lnTo>
                  <a:lnTo>
                    <a:pt x="171" y="125"/>
                  </a:lnTo>
                  <a:lnTo>
                    <a:pt x="171" y="127"/>
                  </a:lnTo>
                  <a:lnTo>
                    <a:pt x="171" y="125"/>
                  </a:lnTo>
                  <a:lnTo>
                    <a:pt x="169" y="125"/>
                  </a:lnTo>
                  <a:lnTo>
                    <a:pt x="171" y="125"/>
                  </a:lnTo>
                  <a:lnTo>
                    <a:pt x="169" y="125"/>
                  </a:lnTo>
                  <a:lnTo>
                    <a:pt x="169" y="123"/>
                  </a:lnTo>
                  <a:lnTo>
                    <a:pt x="169" y="125"/>
                  </a:lnTo>
                  <a:lnTo>
                    <a:pt x="169" y="123"/>
                  </a:lnTo>
                  <a:lnTo>
                    <a:pt x="167" y="123"/>
                  </a:lnTo>
                  <a:lnTo>
                    <a:pt x="169" y="123"/>
                  </a:lnTo>
                  <a:lnTo>
                    <a:pt x="167" y="123"/>
                  </a:lnTo>
                  <a:lnTo>
                    <a:pt x="169" y="123"/>
                  </a:lnTo>
                  <a:lnTo>
                    <a:pt x="167" y="123"/>
                  </a:lnTo>
                  <a:lnTo>
                    <a:pt x="165" y="123"/>
                  </a:lnTo>
                  <a:lnTo>
                    <a:pt x="167" y="123"/>
                  </a:lnTo>
                  <a:lnTo>
                    <a:pt x="167" y="125"/>
                  </a:lnTo>
                  <a:lnTo>
                    <a:pt x="165" y="125"/>
                  </a:lnTo>
                  <a:lnTo>
                    <a:pt x="167" y="125"/>
                  </a:lnTo>
                  <a:lnTo>
                    <a:pt x="165" y="125"/>
                  </a:lnTo>
                  <a:lnTo>
                    <a:pt x="165" y="127"/>
                  </a:lnTo>
                  <a:lnTo>
                    <a:pt x="167" y="127"/>
                  </a:lnTo>
                  <a:lnTo>
                    <a:pt x="165" y="127"/>
                  </a:lnTo>
                  <a:lnTo>
                    <a:pt x="167" y="127"/>
                  </a:lnTo>
                  <a:lnTo>
                    <a:pt x="165" y="127"/>
                  </a:lnTo>
                  <a:lnTo>
                    <a:pt x="165" y="129"/>
                  </a:lnTo>
                  <a:lnTo>
                    <a:pt x="167" y="129"/>
                  </a:lnTo>
                  <a:lnTo>
                    <a:pt x="167" y="131"/>
                  </a:lnTo>
                  <a:lnTo>
                    <a:pt x="167" y="129"/>
                  </a:lnTo>
                  <a:lnTo>
                    <a:pt x="165" y="129"/>
                  </a:lnTo>
                  <a:lnTo>
                    <a:pt x="167" y="129"/>
                  </a:lnTo>
                  <a:lnTo>
                    <a:pt x="165" y="129"/>
                  </a:lnTo>
                  <a:lnTo>
                    <a:pt x="165" y="131"/>
                  </a:lnTo>
                  <a:lnTo>
                    <a:pt x="165" y="129"/>
                  </a:lnTo>
                  <a:lnTo>
                    <a:pt x="165" y="131"/>
                  </a:lnTo>
                  <a:lnTo>
                    <a:pt x="167" y="131"/>
                  </a:lnTo>
                  <a:lnTo>
                    <a:pt x="165" y="131"/>
                  </a:lnTo>
                  <a:lnTo>
                    <a:pt x="167" y="131"/>
                  </a:lnTo>
                  <a:lnTo>
                    <a:pt x="167" y="133"/>
                  </a:lnTo>
                  <a:lnTo>
                    <a:pt x="167" y="131"/>
                  </a:lnTo>
                  <a:lnTo>
                    <a:pt x="165" y="131"/>
                  </a:lnTo>
                  <a:lnTo>
                    <a:pt x="165" y="133"/>
                  </a:lnTo>
                  <a:lnTo>
                    <a:pt x="167" y="133"/>
                  </a:lnTo>
                  <a:lnTo>
                    <a:pt x="167" y="135"/>
                  </a:lnTo>
                  <a:lnTo>
                    <a:pt x="167" y="133"/>
                  </a:lnTo>
                  <a:lnTo>
                    <a:pt x="165" y="133"/>
                  </a:lnTo>
                  <a:lnTo>
                    <a:pt x="165" y="135"/>
                  </a:lnTo>
                  <a:lnTo>
                    <a:pt x="165" y="133"/>
                  </a:lnTo>
                  <a:lnTo>
                    <a:pt x="164" y="133"/>
                  </a:lnTo>
                  <a:lnTo>
                    <a:pt x="164" y="131"/>
                  </a:lnTo>
                  <a:lnTo>
                    <a:pt x="162" y="131"/>
                  </a:lnTo>
                  <a:lnTo>
                    <a:pt x="164" y="131"/>
                  </a:lnTo>
                  <a:lnTo>
                    <a:pt x="164" y="133"/>
                  </a:lnTo>
                  <a:lnTo>
                    <a:pt x="162" y="133"/>
                  </a:lnTo>
                  <a:lnTo>
                    <a:pt x="162" y="131"/>
                  </a:lnTo>
                  <a:lnTo>
                    <a:pt x="160" y="131"/>
                  </a:lnTo>
                  <a:lnTo>
                    <a:pt x="162" y="131"/>
                  </a:lnTo>
                  <a:lnTo>
                    <a:pt x="160" y="131"/>
                  </a:lnTo>
                  <a:lnTo>
                    <a:pt x="160" y="129"/>
                  </a:lnTo>
                  <a:lnTo>
                    <a:pt x="158" y="129"/>
                  </a:lnTo>
                  <a:lnTo>
                    <a:pt x="158" y="127"/>
                  </a:lnTo>
                  <a:lnTo>
                    <a:pt x="158" y="125"/>
                  </a:lnTo>
                  <a:lnTo>
                    <a:pt x="158" y="127"/>
                  </a:lnTo>
                  <a:lnTo>
                    <a:pt x="158" y="129"/>
                  </a:lnTo>
                  <a:lnTo>
                    <a:pt x="160" y="129"/>
                  </a:lnTo>
                  <a:lnTo>
                    <a:pt x="160" y="131"/>
                  </a:lnTo>
                  <a:lnTo>
                    <a:pt x="160" y="129"/>
                  </a:lnTo>
                  <a:lnTo>
                    <a:pt x="160" y="131"/>
                  </a:lnTo>
                  <a:lnTo>
                    <a:pt x="162" y="131"/>
                  </a:lnTo>
                  <a:lnTo>
                    <a:pt x="162" y="133"/>
                  </a:lnTo>
                  <a:lnTo>
                    <a:pt x="164" y="133"/>
                  </a:lnTo>
                  <a:lnTo>
                    <a:pt x="164" y="135"/>
                  </a:lnTo>
                  <a:lnTo>
                    <a:pt x="164" y="133"/>
                  </a:lnTo>
                  <a:lnTo>
                    <a:pt x="164" y="135"/>
                  </a:lnTo>
                  <a:lnTo>
                    <a:pt x="162" y="135"/>
                  </a:lnTo>
                  <a:lnTo>
                    <a:pt x="160" y="135"/>
                  </a:lnTo>
                  <a:lnTo>
                    <a:pt x="160" y="137"/>
                  </a:lnTo>
                  <a:lnTo>
                    <a:pt x="160" y="135"/>
                  </a:lnTo>
                  <a:lnTo>
                    <a:pt x="162" y="135"/>
                  </a:lnTo>
                  <a:lnTo>
                    <a:pt x="162" y="137"/>
                  </a:lnTo>
                  <a:lnTo>
                    <a:pt x="162" y="139"/>
                  </a:lnTo>
                  <a:lnTo>
                    <a:pt x="160" y="139"/>
                  </a:lnTo>
                  <a:lnTo>
                    <a:pt x="162" y="139"/>
                  </a:lnTo>
                  <a:lnTo>
                    <a:pt x="160" y="139"/>
                  </a:lnTo>
                  <a:lnTo>
                    <a:pt x="158" y="139"/>
                  </a:lnTo>
                  <a:lnTo>
                    <a:pt x="156" y="139"/>
                  </a:lnTo>
                  <a:lnTo>
                    <a:pt x="158" y="139"/>
                  </a:lnTo>
                  <a:lnTo>
                    <a:pt x="156" y="139"/>
                  </a:lnTo>
                  <a:lnTo>
                    <a:pt x="158" y="139"/>
                  </a:lnTo>
                  <a:lnTo>
                    <a:pt x="156" y="139"/>
                  </a:lnTo>
                  <a:lnTo>
                    <a:pt x="156" y="140"/>
                  </a:lnTo>
                  <a:lnTo>
                    <a:pt x="158" y="140"/>
                  </a:lnTo>
                  <a:lnTo>
                    <a:pt x="156" y="140"/>
                  </a:lnTo>
                  <a:lnTo>
                    <a:pt x="156" y="139"/>
                  </a:lnTo>
                  <a:lnTo>
                    <a:pt x="154" y="139"/>
                  </a:lnTo>
                  <a:lnTo>
                    <a:pt x="156" y="139"/>
                  </a:lnTo>
                  <a:lnTo>
                    <a:pt x="154" y="139"/>
                  </a:lnTo>
                  <a:lnTo>
                    <a:pt x="154" y="140"/>
                  </a:lnTo>
                  <a:lnTo>
                    <a:pt x="156" y="140"/>
                  </a:lnTo>
                  <a:lnTo>
                    <a:pt x="154" y="140"/>
                  </a:lnTo>
                  <a:lnTo>
                    <a:pt x="154" y="139"/>
                  </a:lnTo>
                  <a:lnTo>
                    <a:pt x="154" y="140"/>
                  </a:lnTo>
                  <a:lnTo>
                    <a:pt x="154" y="139"/>
                  </a:lnTo>
                  <a:lnTo>
                    <a:pt x="154" y="140"/>
                  </a:lnTo>
                  <a:lnTo>
                    <a:pt x="154" y="142"/>
                  </a:lnTo>
                  <a:lnTo>
                    <a:pt x="156" y="142"/>
                  </a:lnTo>
                  <a:lnTo>
                    <a:pt x="156" y="140"/>
                  </a:lnTo>
                  <a:lnTo>
                    <a:pt x="156" y="142"/>
                  </a:lnTo>
                  <a:lnTo>
                    <a:pt x="156" y="140"/>
                  </a:lnTo>
                  <a:lnTo>
                    <a:pt x="156" y="142"/>
                  </a:lnTo>
                  <a:lnTo>
                    <a:pt x="156" y="140"/>
                  </a:lnTo>
                  <a:lnTo>
                    <a:pt x="156" y="142"/>
                  </a:lnTo>
                  <a:lnTo>
                    <a:pt x="158" y="142"/>
                  </a:lnTo>
                  <a:lnTo>
                    <a:pt x="156" y="142"/>
                  </a:lnTo>
                  <a:lnTo>
                    <a:pt x="158" y="142"/>
                  </a:lnTo>
                  <a:lnTo>
                    <a:pt x="158" y="144"/>
                  </a:lnTo>
                  <a:lnTo>
                    <a:pt x="156" y="144"/>
                  </a:lnTo>
                  <a:lnTo>
                    <a:pt x="158" y="144"/>
                  </a:lnTo>
                  <a:lnTo>
                    <a:pt x="156" y="144"/>
                  </a:lnTo>
                  <a:lnTo>
                    <a:pt x="158" y="144"/>
                  </a:lnTo>
                  <a:lnTo>
                    <a:pt x="156" y="144"/>
                  </a:lnTo>
                  <a:lnTo>
                    <a:pt x="158" y="144"/>
                  </a:lnTo>
                  <a:lnTo>
                    <a:pt x="156" y="144"/>
                  </a:lnTo>
                  <a:lnTo>
                    <a:pt x="158" y="144"/>
                  </a:lnTo>
                  <a:lnTo>
                    <a:pt x="156" y="144"/>
                  </a:lnTo>
                  <a:lnTo>
                    <a:pt x="158" y="144"/>
                  </a:lnTo>
                  <a:lnTo>
                    <a:pt x="158" y="146"/>
                  </a:lnTo>
                  <a:lnTo>
                    <a:pt x="158" y="144"/>
                  </a:lnTo>
                  <a:lnTo>
                    <a:pt x="158" y="146"/>
                  </a:lnTo>
                  <a:lnTo>
                    <a:pt x="156" y="146"/>
                  </a:lnTo>
                  <a:lnTo>
                    <a:pt x="156" y="144"/>
                  </a:lnTo>
                  <a:lnTo>
                    <a:pt x="154" y="144"/>
                  </a:lnTo>
                  <a:lnTo>
                    <a:pt x="156" y="144"/>
                  </a:lnTo>
                  <a:lnTo>
                    <a:pt x="154" y="144"/>
                  </a:lnTo>
                  <a:lnTo>
                    <a:pt x="154" y="142"/>
                  </a:lnTo>
                  <a:lnTo>
                    <a:pt x="154" y="144"/>
                  </a:lnTo>
                  <a:lnTo>
                    <a:pt x="154" y="142"/>
                  </a:lnTo>
                  <a:lnTo>
                    <a:pt x="152" y="142"/>
                  </a:lnTo>
                  <a:lnTo>
                    <a:pt x="152" y="140"/>
                  </a:lnTo>
                  <a:lnTo>
                    <a:pt x="150" y="140"/>
                  </a:lnTo>
                  <a:lnTo>
                    <a:pt x="150" y="142"/>
                  </a:lnTo>
                  <a:lnTo>
                    <a:pt x="150" y="140"/>
                  </a:lnTo>
                  <a:lnTo>
                    <a:pt x="150" y="142"/>
                  </a:lnTo>
                  <a:lnTo>
                    <a:pt x="152" y="142"/>
                  </a:lnTo>
                  <a:lnTo>
                    <a:pt x="154" y="142"/>
                  </a:lnTo>
                  <a:lnTo>
                    <a:pt x="154" y="144"/>
                  </a:lnTo>
                  <a:lnTo>
                    <a:pt x="156" y="144"/>
                  </a:lnTo>
                  <a:lnTo>
                    <a:pt x="156" y="146"/>
                  </a:lnTo>
                  <a:lnTo>
                    <a:pt x="154" y="146"/>
                  </a:lnTo>
                  <a:lnTo>
                    <a:pt x="156" y="146"/>
                  </a:lnTo>
                  <a:lnTo>
                    <a:pt x="154" y="146"/>
                  </a:lnTo>
                  <a:lnTo>
                    <a:pt x="156" y="146"/>
                  </a:lnTo>
                  <a:lnTo>
                    <a:pt x="156" y="148"/>
                  </a:lnTo>
                  <a:lnTo>
                    <a:pt x="154" y="148"/>
                  </a:lnTo>
                  <a:lnTo>
                    <a:pt x="156" y="148"/>
                  </a:lnTo>
                  <a:lnTo>
                    <a:pt x="154" y="148"/>
                  </a:lnTo>
                  <a:lnTo>
                    <a:pt x="156" y="148"/>
                  </a:lnTo>
                  <a:lnTo>
                    <a:pt x="156" y="150"/>
                  </a:lnTo>
                  <a:lnTo>
                    <a:pt x="154" y="150"/>
                  </a:lnTo>
                  <a:lnTo>
                    <a:pt x="156" y="150"/>
                  </a:lnTo>
                  <a:lnTo>
                    <a:pt x="154" y="150"/>
                  </a:lnTo>
                  <a:lnTo>
                    <a:pt x="156" y="150"/>
                  </a:lnTo>
                  <a:lnTo>
                    <a:pt x="156" y="152"/>
                  </a:lnTo>
                  <a:lnTo>
                    <a:pt x="154" y="152"/>
                  </a:lnTo>
                  <a:lnTo>
                    <a:pt x="154" y="150"/>
                  </a:lnTo>
                  <a:lnTo>
                    <a:pt x="154" y="152"/>
                  </a:lnTo>
                  <a:lnTo>
                    <a:pt x="154" y="150"/>
                  </a:lnTo>
                  <a:lnTo>
                    <a:pt x="154" y="152"/>
                  </a:lnTo>
                  <a:lnTo>
                    <a:pt x="152" y="152"/>
                  </a:lnTo>
                  <a:lnTo>
                    <a:pt x="154" y="152"/>
                  </a:lnTo>
                  <a:lnTo>
                    <a:pt x="152" y="152"/>
                  </a:lnTo>
                  <a:lnTo>
                    <a:pt x="152" y="154"/>
                  </a:lnTo>
                  <a:lnTo>
                    <a:pt x="154" y="154"/>
                  </a:lnTo>
                  <a:lnTo>
                    <a:pt x="152" y="154"/>
                  </a:lnTo>
                  <a:lnTo>
                    <a:pt x="150" y="154"/>
                  </a:lnTo>
                  <a:lnTo>
                    <a:pt x="150" y="156"/>
                  </a:lnTo>
                  <a:lnTo>
                    <a:pt x="150" y="154"/>
                  </a:lnTo>
                  <a:lnTo>
                    <a:pt x="150" y="156"/>
                  </a:lnTo>
                  <a:lnTo>
                    <a:pt x="150" y="154"/>
                  </a:lnTo>
                  <a:lnTo>
                    <a:pt x="150" y="156"/>
                  </a:lnTo>
                  <a:lnTo>
                    <a:pt x="150" y="154"/>
                  </a:lnTo>
                  <a:lnTo>
                    <a:pt x="150" y="156"/>
                  </a:lnTo>
                  <a:lnTo>
                    <a:pt x="150" y="158"/>
                  </a:lnTo>
                  <a:lnTo>
                    <a:pt x="150" y="156"/>
                  </a:lnTo>
                  <a:lnTo>
                    <a:pt x="150" y="158"/>
                  </a:lnTo>
                  <a:lnTo>
                    <a:pt x="150" y="160"/>
                  </a:lnTo>
                  <a:lnTo>
                    <a:pt x="150" y="158"/>
                  </a:lnTo>
                  <a:lnTo>
                    <a:pt x="150" y="160"/>
                  </a:lnTo>
                  <a:lnTo>
                    <a:pt x="148" y="160"/>
                  </a:lnTo>
                  <a:lnTo>
                    <a:pt x="148" y="158"/>
                  </a:lnTo>
                  <a:lnTo>
                    <a:pt x="146" y="158"/>
                  </a:lnTo>
                  <a:lnTo>
                    <a:pt x="148" y="158"/>
                  </a:lnTo>
                  <a:lnTo>
                    <a:pt x="148" y="160"/>
                  </a:lnTo>
                  <a:lnTo>
                    <a:pt x="148" y="162"/>
                  </a:lnTo>
                  <a:lnTo>
                    <a:pt x="150" y="162"/>
                  </a:lnTo>
                  <a:lnTo>
                    <a:pt x="150" y="160"/>
                  </a:lnTo>
                  <a:lnTo>
                    <a:pt x="150" y="162"/>
                  </a:lnTo>
                  <a:lnTo>
                    <a:pt x="150" y="160"/>
                  </a:lnTo>
                  <a:lnTo>
                    <a:pt x="150" y="162"/>
                  </a:lnTo>
                  <a:lnTo>
                    <a:pt x="152" y="162"/>
                  </a:lnTo>
                  <a:lnTo>
                    <a:pt x="150" y="162"/>
                  </a:lnTo>
                  <a:lnTo>
                    <a:pt x="150" y="163"/>
                  </a:lnTo>
                  <a:lnTo>
                    <a:pt x="152" y="163"/>
                  </a:lnTo>
                  <a:lnTo>
                    <a:pt x="150" y="163"/>
                  </a:lnTo>
                  <a:lnTo>
                    <a:pt x="152" y="163"/>
                  </a:lnTo>
                  <a:lnTo>
                    <a:pt x="150" y="163"/>
                  </a:lnTo>
                  <a:lnTo>
                    <a:pt x="152" y="163"/>
                  </a:lnTo>
                  <a:lnTo>
                    <a:pt x="152" y="165"/>
                  </a:lnTo>
                  <a:lnTo>
                    <a:pt x="150" y="165"/>
                  </a:lnTo>
                  <a:lnTo>
                    <a:pt x="150" y="163"/>
                  </a:lnTo>
                  <a:lnTo>
                    <a:pt x="148" y="163"/>
                  </a:lnTo>
                  <a:lnTo>
                    <a:pt x="150" y="163"/>
                  </a:lnTo>
                  <a:lnTo>
                    <a:pt x="150" y="165"/>
                  </a:lnTo>
                  <a:lnTo>
                    <a:pt x="150" y="163"/>
                  </a:lnTo>
                  <a:lnTo>
                    <a:pt x="150" y="165"/>
                  </a:lnTo>
                  <a:lnTo>
                    <a:pt x="150" y="163"/>
                  </a:lnTo>
                  <a:lnTo>
                    <a:pt x="150" y="165"/>
                  </a:lnTo>
                  <a:lnTo>
                    <a:pt x="150" y="167"/>
                  </a:lnTo>
                  <a:lnTo>
                    <a:pt x="152" y="167"/>
                  </a:lnTo>
                  <a:lnTo>
                    <a:pt x="154" y="167"/>
                  </a:lnTo>
                  <a:lnTo>
                    <a:pt x="154" y="169"/>
                  </a:lnTo>
                  <a:lnTo>
                    <a:pt x="154" y="167"/>
                  </a:lnTo>
                  <a:lnTo>
                    <a:pt x="154" y="169"/>
                  </a:lnTo>
                  <a:lnTo>
                    <a:pt x="154" y="167"/>
                  </a:lnTo>
                  <a:lnTo>
                    <a:pt x="154" y="169"/>
                  </a:lnTo>
                  <a:lnTo>
                    <a:pt x="156" y="169"/>
                  </a:lnTo>
                  <a:lnTo>
                    <a:pt x="154" y="169"/>
                  </a:lnTo>
                  <a:lnTo>
                    <a:pt x="154" y="171"/>
                  </a:lnTo>
                  <a:lnTo>
                    <a:pt x="156" y="171"/>
                  </a:lnTo>
                  <a:lnTo>
                    <a:pt x="156" y="173"/>
                  </a:lnTo>
                  <a:lnTo>
                    <a:pt x="154" y="173"/>
                  </a:lnTo>
                  <a:lnTo>
                    <a:pt x="154" y="175"/>
                  </a:lnTo>
                  <a:lnTo>
                    <a:pt x="154" y="173"/>
                  </a:lnTo>
                  <a:lnTo>
                    <a:pt x="154" y="175"/>
                  </a:lnTo>
                  <a:lnTo>
                    <a:pt x="154" y="177"/>
                  </a:lnTo>
                  <a:lnTo>
                    <a:pt x="154" y="175"/>
                  </a:lnTo>
                  <a:lnTo>
                    <a:pt x="154" y="177"/>
                  </a:lnTo>
                  <a:lnTo>
                    <a:pt x="152" y="177"/>
                  </a:lnTo>
                  <a:lnTo>
                    <a:pt x="152" y="175"/>
                  </a:lnTo>
                  <a:lnTo>
                    <a:pt x="152" y="177"/>
                  </a:lnTo>
                  <a:lnTo>
                    <a:pt x="152" y="175"/>
                  </a:lnTo>
                  <a:lnTo>
                    <a:pt x="152" y="177"/>
                  </a:lnTo>
                  <a:lnTo>
                    <a:pt x="150" y="177"/>
                  </a:lnTo>
                  <a:lnTo>
                    <a:pt x="152" y="177"/>
                  </a:lnTo>
                  <a:lnTo>
                    <a:pt x="150" y="177"/>
                  </a:lnTo>
                  <a:lnTo>
                    <a:pt x="150" y="179"/>
                  </a:lnTo>
                  <a:lnTo>
                    <a:pt x="150" y="177"/>
                  </a:lnTo>
                  <a:lnTo>
                    <a:pt x="150" y="179"/>
                  </a:lnTo>
                  <a:lnTo>
                    <a:pt x="148" y="179"/>
                  </a:lnTo>
                  <a:lnTo>
                    <a:pt x="150" y="179"/>
                  </a:lnTo>
                  <a:lnTo>
                    <a:pt x="150" y="181"/>
                  </a:lnTo>
                  <a:lnTo>
                    <a:pt x="148" y="179"/>
                  </a:lnTo>
                  <a:lnTo>
                    <a:pt x="148" y="181"/>
                  </a:lnTo>
                  <a:lnTo>
                    <a:pt x="150" y="181"/>
                  </a:lnTo>
                  <a:lnTo>
                    <a:pt x="148" y="181"/>
                  </a:lnTo>
                  <a:lnTo>
                    <a:pt x="148" y="179"/>
                  </a:lnTo>
                  <a:lnTo>
                    <a:pt x="148" y="181"/>
                  </a:lnTo>
                  <a:lnTo>
                    <a:pt x="148" y="183"/>
                  </a:lnTo>
                  <a:lnTo>
                    <a:pt x="148" y="181"/>
                  </a:lnTo>
                  <a:lnTo>
                    <a:pt x="146" y="181"/>
                  </a:lnTo>
                  <a:lnTo>
                    <a:pt x="146" y="183"/>
                  </a:lnTo>
                  <a:lnTo>
                    <a:pt x="146" y="181"/>
                  </a:lnTo>
                  <a:lnTo>
                    <a:pt x="146" y="183"/>
                  </a:lnTo>
                  <a:lnTo>
                    <a:pt x="146" y="185"/>
                  </a:lnTo>
                  <a:lnTo>
                    <a:pt x="146" y="187"/>
                  </a:lnTo>
                  <a:lnTo>
                    <a:pt x="146" y="185"/>
                  </a:lnTo>
                  <a:lnTo>
                    <a:pt x="146" y="187"/>
                  </a:lnTo>
                  <a:lnTo>
                    <a:pt x="146" y="185"/>
                  </a:lnTo>
                  <a:lnTo>
                    <a:pt x="146" y="187"/>
                  </a:lnTo>
                  <a:lnTo>
                    <a:pt x="146" y="185"/>
                  </a:lnTo>
                  <a:lnTo>
                    <a:pt x="146" y="187"/>
                  </a:lnTo>
                  <a:lnTo>
                    <a:pt x="146" y="188"/>
                  </a:lnTo>
                  <a:lnTo>
                    <a:pt x="144" y="188"/>
                  </a:lnTo>
                  <a:lnTo>
                    <a:pt x="144" y="190"/>
                  </a:lnTo>
                  <a:lnTo>
                    <a:pt x="144" y="192"/>
                  </a:lnTo>
                  <a:lnTo>
                    <a:pt x="144" y="190"/>
                  </a:lnTo>
                  <a:lnTo>
                    <a:pt x="144" y="192"/>
                  </a:lnTo>
                  <a:lnTo>
                    <a:pt x="142" y="192"/>
                  </a:lnTo>
                  <a:lnTo>
                    <a:pt x="142" y="194"/>
                  </a:lnTo>
                  <a:lnTo>
                    <a:pt x="142" y="192"/>
                  </a:lnTo>
                  <a:lnTo>
                    <a:pt x="142" y="194"/>
                  </a:lnTo>
                  <a:lnTo>
                    <a:pt x="142" y="192"/>
                  </a:lnTo>
                  <a:lnTo>
                    <a:pt x="142" y="194"/>
                  </a:lnTo>
                  <a:lnTo>
                    <a:pt x="142" y="192"/>
                  </a:lnTo>
                  <a:lnTo>
                    <a:pt x="140" y="192"/>
                  </a:lnTo>
                  <a:lnTo>
                    <a:pt x="142" y="192"/>
                  </a:lnTo>
                  <a:lnTo>
                    <a:pt x="140" y="192"/>
                  </a:lnTo>
                  <a:lnTo>
                    <a:pt x="140" y="194"/>
                  </a:lnTo>
                  <a:lnTo>
                    <a:pt x="140" y="192"/>
                  </a:lnTo>
                  <a:lnTo>
                    <a:pt x="140" y="194"/>
                  </a:lnTo>
                  <a:lnTo>
                    <a:pt x="140" y="192"/>
                  </a:lnTo>
                  <a:lnTo>
                    <a:pt x="140" y="194"/>
                  </a:lnTo>
                  <a:lnTo>
                    <a:pt x="140" y="196"/>
                  </a:lnTo>
                  <a:lnTo>
                    <a:pt x="140" y="194"/>
                  </a:lnTo>
                  <a:lnTo>
                    <a:pt x="140" y="192"/>
                  </a:lnTo>
                  <a:lnTo>
                    <a:pt x="140" y="194"/>
                  </a:lnTo>
                  <a:lnTo>
                    <a:pt x="139" y="194"/>
                  </a:lnTo>
                  <a:lnTo>
                    <a:pt x="140" y="194"/>
                  </a:lnTo>
                  <a:lnTo>
                    <a:pt x="139" y="194"/>
                  </a:lnTo>
                  <a:lnTo>
                    <a:pt x="139" y="196"/>
                  </a:lnTo>
                  <a:lnTo>
                    <a:pt x="139" y="198"/>
                  </a:lnTo>
                  <a:lnTo>
                    <a:pt x="139" y="196"/>
                  </a:lnTo>
                  <a:lnTo>
                    <a:pt x="139" y="198"/>
                  </a:lnTo>
                  <a:lnTo>
                    <a:pt x="139" y="196"/>
                  </a:lnTo>
                  <a:lnTo>
                    <a:pt x="139" y="198"/>
                  </a:lnTo>
                  <a:lnTo>
                    <a:pt x="139" y="196"/>
                  </a:lnTo>
                  <a:lnTo>
                    <a:pt x="139" y="198"/>
                  </a:lnTo>
                  <a:lnTo>
                    <a:pt x="137" y="198"/>
                  </a:lnTo>
                  <a:lnTo>
                    <a:pt x="137" y="196"/>
                  </a:lnTo>
                  <a:lnTo>
                    <a:pt x="139" y="196"/>
                  </a:lnTo>
                  <a:lnTo>
                    <a:pt x="137" y="196"/>
                  </a:lnTo>
                  <a:lnTo>
                    <a:pt x="137" y="194"/>
                  </a:lnTo>
                  <a:lnTo>
                    <a:pt x="137" y="192"/>
                  </a:lnTo>
                  <a:lnTo>
                    <a:pt x="137" y="194"/>
                  </a:lnTo>
                  <a:lnTo>
                    <a:pt x="137" y="196"/>
                  </a:lnTo>
                  <a:lnTo>
                    <a:pt x="137" y="194"/>
                  </a:lnTo>
                  <a:lnTo>
                    <a:pt x="137" y="196"/>
                  </a:lnTo>
                  <a:lnTo>
                    <a:pt x="137" y="198"/>
                  </a:lnTo>
                  <a:lnTo>
                    <a:pt x="137" y="196"/>
                  </a:lnTo>
                  <a:lnTo>
                    <a:pt x="137" y="198"/>
                  </a:lnTo>
                  <a:lnTo>
                    <a:pt x="135" y="198"/>
                  </a:lnTo>
                  <a:lnTo>
                    <a:pt x="137" y="198"/>
                  </a:lnTo>
                  <a:lnTo>
                    <a:pt x="135" y="198"/>
                  </a:lnTo>
                  <a:lnTo>
                    <a:pt x="133" y="198"/>
                  </a:lnTo>
                  <a:lnTo>
                    <a:pt x="133" y="200"/>
                  </a:lnTo>
                  <a:lnTo>
                    <a:pt x="131" y="200"/>
                  </a:lnTo>
                  <a:lnTo>
                    <a:pt x="131" y="202"/>
                  </a:lnTo>
                  <a:lnTo>
                    <a:pt x="129" y="202"/>
                  </a:lnTo>
                  <a:lnTo>
                    <a:pt x="129" y="204"/>
                  </a:lnTo>
                  <a:lnTo>
                    <a:pt x="129" y="206"/>
                  </a:lnTo>
                  <a:lnTo>
                    <a:pt x="129" y="204"/>
                  </a:lnTo>
                  <a:lnTo>
                    <a:pt x="129" y="206"/>
                  </a:lnTo>
                  <a:lnTo>
                    <a:pt x="129" y="204"/>
                  </a:lnTo>
                  <a:lnTo>
                    <a:pt x="129" y="206"/>
                  </a:lnTo>
                  <a:lnTo>
                    <a:pt x="129" y="204"/>
                  </a:lnTo>
                  <a:lnTo>
                    <a:pt x="129" y="206"/>
                  </a:lnTo>
                  <a:lnTo>
                    <a:pt x="127" y="206"/>
                  </a:lnTo>
                  <a:lnTo>
                    <a:pt x="127" y="204"/>
                  </a:lnTo>
                  <a:lnTo>
                    <a:pt x="127" y="202"/>
                  </a:lnTo>
                  <a:lnTo>
                    <a:pt x="125" y="202"/>
                  </a:lnTo>
                  <a:lnTo>
                    <a:pt x="123" y="202"/>
                  </a:lnTo>
                  <a:lnTo>
                    <a:pt x="125" y="202"/>
                  </a:lnTo>
                  <a:lnTo>
                    <a:pt x="123" y="202"/>
                  </a:lnTo>
                  <a:lnTo>
                    <a:pt x="123" y="204"/>
                  </a:lnTo>
                  <a:lnTo>
                    <a:pt x="123" y="202"/>
                  </a:lnTo>
                  <a:lnTo>
                    <a:pt x="123" y="204"/>
                  </a:lnTo>
                  <a:lnTo>
                    <a:pt x="125" y="204"/>
                  </a:lnTo>
                  <a:lnTo>
                    <a:pt x="125" y="206"/>
                  </a:lnTo>
                  <a:lnTo>
                    <a:pt x="123" y="206"/>
                  </a:lnTo>
                  <a:lnTo>
                    <a:pt x="125" y="206"/>
                  </a:lnTo>
                  <a:lnTo>
                    <a:pt x="123" y="206"/>
                  </a:lnTo>
                  <a:lnTo>
                    <a:pt x="123" y="204"/>
                  </a:lnTo>
                  <a:lnTo>
                    <a:pt x="123" y="206"/>
                  </a:lnTo>
                  <a:lnTo>
                    <a:pt x="123" y="204"/>
                  </a:lnTo>
                  <a:lnTo>
                    <a:pt x="123" y="206"/>
                  </a:lnTo>
                  <a:lnTo>
                    <a:pt x="123" y="204"/>
                  </a:lnTo>
                  <a:lnTo>
                    <a:pt x="123" y="206"/>
                  </a:lnTo>
                  <a:lnTo>
                    <a:pt x="123" y="204"/>
                  </a:lnTo>
                  <a:lnTo>
                    <a:pt x="123" y="206"/>
                  </a:lnTo>
                  <a:lnTo>
                    <a:pt x="121" y="206"/>
                  </a:lnTo>
                  <a:lnTo>
                    <a:pt x="121" y="204"/>
                  </a:lnTo>
                  <a:lnTo>
                    <a:pt x="123" y="204"/>
                  </a:lnTo>
                  <a:lnTo>
                    <a:pt x="121" y="204"/>
                  </a:lnTo>
                  <a:lnTo>
                    <a:pt x="123" y="204"/>
                  </a:lnTo>
                  <a:lnTo>
                    <a:pt x="121" y="204"/>
                  </a:lnTo>
                  <a:lnTo>
                    <a:pt x="121" y="206"/>
                  </a:lnTo>
                  <a:lnTo>
                    <a:pt x="121" y="208"/>
                  </a:lnTo>
                  <a:lnTo>
                    <a:pt x="121" y="210"/>
                  </a:lnTo>
                  <a:lnTo>
                    <a:pt x="121" y="208"/>
                  </a:lnTo>
                  <a:lnTo>
                    <a:pt x="121" y="210"/>
                  </a:lnTo>
                  <a:lnTo>
                    <a:pt x="119" y="210"/>
                  </a:lnTo>
                  <a:lnTo>
                    <a:pt x="119" y="212"/>
                  </a:lnTo>
                  <a:lnTo>
                    <a:pt x="117" y="212"/>
                  </a:lnTo>
                  <a:lnTo>
                    <a:pt x="117" y="213"/>
                  </a:lnTo>
                  <a:lnTo>
                    <a:pt x="117" y="212"/>
                  </a:lnTo>
                  <a:lnTo>
                    <a:pt x="119" y="212"/>
                  </a:lnTo>
                  <a:lnTo>
                    <a:pt x="119" y="213"/>
                  </a:lnTo>
                  <a:lnTo>
                    <a:pt x="119" y="212"/>
                  </a:lnTo>
                  <a:lnTo>
                    <a:pt x="119" y="213"/>
                  </a:lnTo>
                  <a:lnTo>
                    <a:pt x="117" y="213"/>
                  </a:lnTo>
                  <a:lnTo>
                    <a:pt x="119" y="213"/>
                  </a:lnTo>
                  <a:lnTo>
                    <a:pt x="117" y="213"/>
                  </a:lnTo>
                  <a:lnTo>
                    <a:pt x="117" y="212"/>
                  </a:lnTo>
                  <a:lnTo>
                    <a:pt x="116" y="212"/>
                  </a:lnTo>
                  <a:lnTo>
                    <a:pt x="116" y="210"/>
                  </a:lnTo>
                  <a:lnTo>
                    <a:pt x="116" y="212"/>
                  </a:lnTo>
                  <a:lnTo>
                    <a:pt x="114" y="212"/>
                  </a:lnTo>
                  <a:lnTo>
                    <a:pt x="114" y="210"/>
                  </a:lnTo>
                  <a:lnTo>
                    <a:pt x="114" y="212"/>
                  </a:lnTo>
                  <a:lnTo>
                    <a:pt x="116" y="212"/>
                  </a:lnTo>
                  <a:lnTo>
                    <a:pt x="116" y="213"/>
                  </a:lnTo>
                  <a:lnTo>
                    <a:pt x="114" y="213"/>
                  </a:lnTo>
                  <a:lnTo>
                    <a:pt x="116" y="213"/>
                  </a:lnTo>
                  <a:lnTo>
                    <a:pt x="114" y="213"/>
                  </a:lnTo>
                  <a:lnTo>
                    <a:pt x="114" y="212"/>
                  </a:lnTo>
                  <a:lnTo>
                    <a:pt x="114" y="213"/>
                  </a:lnTo>
                  <a:lnTo>
                    <a:pt x="116" y="213"/>
                  </a:lnTo>
                  <a:lnTo>
                    <a:pt x="114" y="213"/>
                  </a:lnTo>
                  <a:lnTo>
                    <a:pt x="114" y="212"/>
                  </a:lnTo>
                  <a:lnTo>
                    <a:pt x="114" y="213"/>
                  </a:lnTo>
                  <a:lnTo>
                    <a:pt x="114" y="215"/>
                  </a:lnTo>
                  <a:lnTo>
                    <a:pt x="114" y="213"/>
                  </a:lnTo>
                  <a:lnTo>
                    <a:pt x="114" y="215"/>
                  </a:lnTo>
                  <a:lnTo>
                    <a:pt x="114" y="213"/>
                  </a:lnTo>
                  <a:lnTo>
                    <a:pt x="112" y="213"/>
                  </a:lnTo>
                  <a:lnTo>
                    <a:pt x="112" y="215"/>
                  </a:lnTo>
                  <a:lnTo>
                    <a:pt x="110" y="215"/>
                  </a:lnTo>
                  <a:lnTo>
                    <a:pt x="112" y="215"/>
                  </a:lnTo>
                  <a:lnTo>
                    <a:pt x="112" y="217"/>
                  </a:lnTo>
                  <a:lnTo>
                    <a:pt x="112" y="215"/>
                  </a:lnTo>
                  <a:lnTo>
                    <a:pt x="112" y="217"/>
                  </a:lnTo>
                  <a:lnTo>
                    <a:pt x="112" y="215"/>
                  </a:lnTo>
                  <a:lnTo>
                    <a:pt x="112" y="217"/>
                  </a:lnTo>
                  <a:lnTo>
                    <a:pt x="110" y="217"/>
                  </a:lnTo>
                  <a:lnTo>
                    <a:pt x="112" y="217"/>
                  </a:lnTo>
                  <a:lnTo>
                    <a:pt x="110" y="217"/>
                  </a:lnTo>
                  <a:lnTo>
                    <a:pt x="110" y="219"/>
                  </a:lnTo>
                  <a:lnTo>
                    <a:pt x="110" y="217"/>
                  </a:lnTo>
                  <a:lnTo>
                    <a:pt x="108" y="217"/>
                  </a:lnTo>
                  <a:lnTo>
                    <a:pt x="110" y="217"/>
                  </a:lnTo>
                  <a:lnTo>
                    <a:pt x="110" y="219"/>
                  </a:lnTo>
                  <a:lnTo>
                    <a:pt x="108" y="219"/>
                  </a:lnTo>
                  <a:lnTo>
                    <a:pt x="108" y="217"/>
                  </a:lnTo>
                  <a:lnTo>
                    <a:pt x="108" y="219"/>
                  </a:lnTo>
                  <a:lnTo>
                    <a:pt x="106" y="219"/>
                  </a:lnTo>
                  <a:lnTo>
                    <a:pt x="108" y="219"/>
                  </a:lnTo>
                  <a:lnTo>
                    <a:pt x="108" y="221"/>
                  </a:lnTo>
                  <a:lnTo>
                    <a:pt x="108" y="219"/>
                  </a:lnTo>
                  <a:lnTo>
                    <a:pt x="110" y="219"/>
                  </a:lnTo>
                  <a:lnTo>
                    <a:pt x="112" y="219"/>
                  </a:lnTo>
                  <a:lnTo>
                    <a:pt x="112" y="221"/>
                  </a:lnTo>
                  <a:lnTo>
                    <a:pt x="112" y="219"/>
                  </a:lnTo>
                  <a:lnTo>
                    <a:pt x="112" y="221"/>
                  </a:lnTo>
                  <a:lnTo>
                    <a:pt x="110" y="221"/>
                  </a:lnTo>
                  <a:lnTo>
                    <a:pt x="112" y="221"/>
                  </a:lnTo>
                  <a:lnTo>
                    <a:pt x="110" y="221"/>
                  </a:lnTo>
                  <a:lnTo>
                    <a:pt x="108" y="221"/>
                  </a:lnTo>
                  <a:lnTo>
                    <a:pt x="110" y="221"/>
                  </a:lnTo>
                  <a:lnTo>
                    <a:pt x="108" y="221"/>
                  </a:lnTo>
                  <a:lnTo>
                    <a:pt x="110" y="221"/>
                  </a:lnTo>
                  <a:lnTo>
                    <a:pt x="110" y="223"/>
                  </a:lnTo>
                  <a:lnTo>
                    <a:pt x="110" y="221"/>
                  </a:lnTo>
                  <a:lnTo>
                    <a:pt x="110" y="223"/>
                  </a:lnTo>
                  <a:lnTo>
                    <a:pt x="110" y="225"/>
                  </a:lnTo>
                  <a:lnTo>
                    <a:pt x="110" y="223"/>
                  </a:lnTo>
                  <a:lnTo>
                    <a:pt x="110" y="225"/>
                  </a:lnTo>
                  <a:lnTo>
                    <a:pt x="108" y="225"/>
                  </a:lnTo>
                  <a:lnTo>
                    <a:pt x="108" y="223"/>
                  </a:lnTo>
                  <a:lnTo>
                    <a:pt x="108" y="225"/>
                  </a:lnTo>
                  <a:lnTo>
                    <a:pt x="108" y="223"/>
                  </a:lnTo>
                  <a:lnTo>
                    <a:pt x="106" y="223"/>
                  </a:lnTo>
                  <a:lnTo>
                    <a:pt x="108" y="223"/>
                  </a:lnTo>
                  <a:lnTo>
                    <a:pt x="106" y="223"/>
                  </a:lnTo>
                  <a:lnTo>
                    <a:pt x="106" y="225"/>
                  </a:lnTo>
                  <a:lnTo>
                    <a:pt x="108" y="225"/>
                  </a:lnTo>
                  <a:lnTo>
                    <a:pt x="106" y="225"/>
                  </a:lnTo>
                  <a:lnTo>
                    <a:pt x="106" y="227"/>
                  </a:lnTo>
                  <a:lnTo>
                    <a:pt x="106" y="225"/>
                  </a:lnTo>
                  <a:lnTo>
                    <a:pt x="106" y="227"/>
                  </a:lnTo>
                  <a:lnTo>
                    <a:pt x="106" y="225"/>
                  </a:lnTo>
                  <a:lnTo>
                    <a:pt x="106" y="227"/>
                  </a:lnTo>
                  <a:lnTo>
                    <a:pt x="104" y="227"/>
                  </a:lnTo>
                  <a:lnTo>
                    <a:pt x="102" y="227"/>
                  </a:lnTo>
                  <a:lnTo>
                    <a:pt x="102" y="225"/>
                  </a:lnTo>
                  <a:lnTo>
                    <a:pt x="104" y="225"/>
                  </a:lnTo>
                  <a:lnTo>
                    <a:pt x="104" y="227"/>
                  </a:lnTo>
                  <a:lnTo>
                    <a:pt x="104" y="225"/>
                  </a:lnTo>
                  <a:lnTo>
                    <a:pt x="104" y="227"/>
                  </a:lnTo>
                  <a:lnTo>
                    <a:pt x="104" y="225"/>
                  </a:lnTo>
                  <a:lnTo>
                    <a:pt x="104" y="227"/>
                  </a:lnTo>
                  <a:lnTo>
                    <a:pt x="104" y="225"/>
                  </a:lnTo>
                  <a:lnTo>
                    <a:pt x="106" y="225"/>
                  </a:lnTo>
                  <a:lnTo>
                    <a:pt x="106" y="227"/>
                  </a:lnTo>
                  <a:lnTo>
                    <a:pt x="106" y="225"/>
                  </a:lnTo>
                  <a:lnTo>
                    <a:pt x="104" y="225"/>
                  </a:lnTo>
                  <a:lnTo>
                    <a:pt x="106" y="225"/>
                  </a:lnTo>
                  <a:lnTo>
                    <a:pt x="104" y="225"/>
                  </a:lnTo>
                  <a:lnTo>
                    <a:pt x="102" y="225"/>
                  </a:lnTo>
                  <a:lnTo>
                    <a:pt x="102" y="227"/>
                  </a:lnTo>
                  <a:lnTo>
                    <a:pt x="102" y="225"/>
                  </a:lnTo>
                  <a:lnTo>
                    <a:pt x="102" y="227"/>
                  </a:lnTo>
                  <a:lnTo>
                    <a:pt x="102" y="225"/>
                  </a:lnTo>
                  <a:lnTo>
                    <a:pt x="102" y="223"/>
                  </a:lnTo>
                  <a:lnTo>
                    <a:pt x="100" y="223"/>
                  </a:lnTo>
                  <a:lnTo>
                    <a:pt x="100" y="221"/>
                  </a:lnTo>
                  <a:lnTo>
                    <a:pt x="102" y="221"/>
                  </a:lnTo>
                  <a:lnTo>
                    <a:pt x="100" y="221"/>
                  </a:lnTo>
                  <a:lnTo>
                    <a:pt x="100" y="219"/>
                  </a:lnTo>
                  <a:lnTo>
                    <a:pt x="100" y="221"/>
                  </a:lnTo>
                  <a:lnTo>
                    <a:pt x="98" y="221"/>
                  </a:lnTo>
                  <a:lnTo>
                    <a:pt x="98" y="219"/>
                  </a:lnTo>
                  <a:lnTo>
                    <a:pt x="98" y="221"/>
                  </a:lnTo>
                  <a:lnTo>
                    <a:pt x="100" y="221"/>
                  </a:lnTo>
                  <a:lnTo>
                    <a:pt x="100" y="223"/>
                  </a:lnTo>
                  <a:lnTo>
                    <a:pt x="102" y="223"/>
                  </a:lnTo>
                  <a:lnTo>
                    <a:pt x="102" y="225"/>
                  </a:lnTo>
                  <a:lnTo>
                    <a:pt x="102" y="227"/>
                  </a:lnTo>
                  <a:lnTo>
                    <a:pt x="102" y="229"/>
                  </a:lnTo>
                  <a:lnTo>
                    <a:pt x="102" y="231"/>
                  </a:lnTo>
                  <a:lnTo>
                    <a:pt x="100" y="231"/>
                  </a:lnTo>
                  <a:lnTo>
                    <a:pt x="102" y="231"/>
                  </a:lnTo>
                  <a:lnTo>
                    <a:pt x="104" y="231"/>
                  </a:lnTo>
                  <a:lnTo>
                    <a:pt x="104" y="233"/>
                  </a:lnTo>
                  <a:lnTo>
                    <a:pt x="102" y="233"/>
                  </a:lnTo>
                  <a:lnTo>
                    <a:pt x="102" y="235"/>
                  </a:lnTo>
                  <a:lnTo>
                    <a:pt x="102" y="233"/>
                  </a:lnTo>
                  <a:lnTo>
                    <a:pt x="102" y="235"/>
                  </a:lnTo>
                  <a:lnTo>
                    <a:pt x="102" y="233"/>
                  </a:lnTo>
                  <a:lnTo>
                    <a:pt x="102" y="235"/>
                  </a:lnTo>
                  <a:lnTo>
                    <a:pt x="102" y="236"/>
                  </a:lnTo>
                  <a:lnTo>
                    <a:pt x="100" y="236"/>
                  </a:lnTo>
                  <a:lnTo>
                    <a:pt x="98" y="236"/>
                  </a:lnTo>
                  <a:lnTo>
                    <a:pt x="98" y="235"/>
                  </a:lnTo>
                  <a:lnTo>
                    <a:pt x="98" y="236"/>
                  </a:lnTo>
                  <a:lnTo>
                    <a:pt x="98" y="238"/>
                  </a:lnTo>
                  <a:lnTo>
                    <a:pt x="100" y="238"/>
                  </a:lnTo>
                  <a:lnTo>
                    <a:pt x="98" y="238"/>
                  </a:lnTo>
                  <a:lnTo>
                    <a:pt x="100" y="238"/>
                  </a:lnTo>
                  <a:lnTo>
                    <a:pt x="98" y="238"/>
                  </a:lnTo>
                  <a:lnTo>
                    <a:pt x="100" y="238"/>
                  </a:lnTo>
                  <a:lnTo>
                    <a:pt x="100" y="240"/>
                  </a:lnTo>
                  <a:lnTo>
                    <a:pt x="100" y="238"/>
                  </a:lnTo>
                  <a:lnTo>
                    <a:pt x="100" y="240"/>
                  </a:lnTo>
                  <a:lnTo>
                    <a:pt x="100" y="238"/>
                  </a:lnTo>
                  <a:lnTo>
                    <a:pt x="98" y="238"/>
                  </a:lnTo>
                  <a:lnTo>
                    <a:pt x="96" y="238"/>
                  </a:lnTo>
                  <a:lnTo>
                    <a:pt x="96" y="236"/>
                  </a:lnTo>
                  <a:lnTo>
                    <a:pt x="96" y="235"/>
                  </a:lnTo>
                  <a:lnTo>
                    <a:pt x="94" y="235"/>
                  </a:lnTo>
                  <a:lnTo>
                    <a:pt x="94" y="236"/>
                  </a:lnTo>
                  <a:lnTo>
                    <a:pt x="93" y="236"/>
                  </a:lnTo>
                  <a:lnTo>
                    <a:pt x="94" y="236"/>
                  </a:lnTo>
                  <a:lnTo>
                    <a:pt x="93" y="236"/>
                  </a:lnTo>
                  <a:lnTo>
                    <a:pt x="94" y="236"/>
                  </a:lnTo>
                  <a:lnTo>
                    <a:pt x="94" y="238"/>
                  </a:lnTo>
                  <a:lnTo>
                    <a:pt x="93" y="238"/>
                  </a:lnTo>
                  <a:lnTo>
                    <a:pt x="93" y="240"/>
                  </a:lnTo>
                  <a:lnTo>
                    <a:pt x="94" y="240"/>
                  </a:lnTo>
                  <a:lnTo>
                    <a:pt x="94" y="242"/>
                  </a:lnTo>
                  <a:lnTo>
                    <a:pt x="94" y="240"/>
                  </a:lnTo>
                  <a:lnTo>
                    <a:pt x="94" y="242"/>
                  </a:lnTo>
                  <a:lnTo>
                    <a:pt x="96" y="242"/>
                  </a:lnTo>
                  <a:lnTo>
                    <a:pt x="94" y="242"/>
                  </a:lnTo>
                  <a:lnTo>
                    <a:pt x="96" y="242"/>
                  </a:lnTo>
                  <a:lnTo>
                    <a:pt x="94" y="242"/>
                  </a:lnTo>
                  <a:lnTo>
                    <a:pt x="96" y="242"/>
                  </a:lnTo>
                  <a:lnTo>
                    <a:pt x="94" y="242"/>
                  </a:lnTo>
                  <a:lnTo>
                    <a:pt x="96" y="242"/>
                  </a:lnTo>
                  <a:lnTo>
                    <a:pt x="94" y="242"/>
                  </a:lnTo>
                  <a:lnTo>
                    <a:pt x="94" y="244"/>
                  </a:lnTo>
                  <a:lnTo>
                    <a:pt x="96" y="244"/>
                  </a:lnTo>
                  <a:lnTo>
                    <a:pt x="98" y="244"/>
                  </a:lnTo>
                  <a:lnTo>
                    <a:pt x="98" y="246"/>
                  </a:lnTo>
                  <a:lnTo>
                    <a:pt x="98" y="244"/>
                  </a:lnTo>
                  <a:lnTo>
                    <a:pt x="98" y="246"/>
                  </a:lnTo>
                  <a:lnTo>
                    <a:pt x="96" y="246"/>
                  </a:lnTo>
                  <a:lnTo>
                    <a:pt x="96" y="244"/>
                  </a:lnTo>
                  <a:lnTo>
                    <a:pt x="96" y="246"/>
                  </a:lnTo>
                  <a:lnTo>
                    <a:pt x="96" y="248"/>
                  </a:lnTo>
                  <a:lnTo>
                    <a:pt x="94" y="248"/>
                  </a:lnTo>
                  <a:lnTo>
                    <a:pt x="96" y="248"/>
                  </a:lnTo>
                  <a:lnTo>
                    <a:pt x="94" y="248"/>
                  </a:lnTo>
                  <a:lnTo>
                    <a:pt x="94" y="250"/>
                  </a:lnTo>
                  <a:lnTo>
                    <a:pt x="94" y="252"/>
                  </a:lnTo>
                  <a:lnTo>
                    <a:pt x="94" y="254"/>
                  </a:lnTo>
                  <a:lnTo>
                    <a:pt x="93" y="254"/>
                  </a:lnTo>
                  <a:lnTo>
                    <a:pt x="94" y="254"/>
                  </a:lnTo>
                  <a:lnTo>
                    <a:pt x="94" y="256"/>
                  </a:lnTo>
                  <a:lnTo>
                    <a:pt x="93" y="256"/>
                  </a:lnTo>
                  <a:lnTo>
                    <a:pt x="94" y="256"/>
                  </a:lnTo>
                  <a:lnTo>
                    <a:pt x="93" y="256"/>
                  </a:lnTo>
                  <a:lnTo>
                    <a:pt x="94" y="256"/>
                  </a:lnTo>
                  <a:lnTo>
                    <a:pt x="94" y="258"/>
                  </a:lnTo>
                  <a:lnTo>
                    <a:pt x="94" y="256"/>
                  </a:lnTo>
                  <a:lnTo>
                    <a:pt x="94" y="258"/>
                  </a:lnTo>
                  <a:lnTo>
                    <a:pt x="93" y="258"/>
                  </a:lnTo>
                  <a:lnTo>
                    <a:pt x="94" y="258"/>
                  </a:lnTo>
                  <a:lnTo>
                    <a:pt x="94" y="260"/>
                  </a:lnTo>
                  <a:lnTo>
                    <a:pt x="94" y="261"/>
                  </a:lnTo>
                  <a:lnTo>
                    <a:pt x="94" y="260"/>
                  </a:lnTo>
                  <a:lnTo>
                    <a:pt x="96" y="260"/>
                  </a:lnTo>
                  <a:lnTo>
                    <a:pt x="96" y="261"/>
                  </a:lnTo>
                  <a:lnTo>
                    <a:pt x="96" y="263"/>
                  </a:lnTo>
                  <a:lnTo>
                    <a:pt x="94" y="263"/>
                  </a:lnTo>
                  <a:lnTo>
                    <a:pt x="94" y="261"/>
                  </a:lnTo>
                  <a:lnTo>
                    <a:pt x="93" y="261"/>
                  </a:lnTo>
                  <a:lnTo>
                    <a:pt x="93" y="260"/>
                  </a:lnTo>
                  <a:lnTo>
                    <a:pt x="93" y="261"/>
                  </a:lnTo>
                  <a:lnTo>
                    <a:pt x="94" y="261"/>
                  </a:lnTo>
                  <a:lnTo>
                    <a:pt x="93" y="261"/>
                  </a:lnTo>
                  <a:lnTo>
                    <a:pt x="93" y="260"/>
                  </a:lnTo>
                  <a:lnTo>
                    <a:pt x="93" y="261"/>
                  </a:lnTo>
                  <a:lnTo>
                    <a:pt x="93" y="260"/>
                  </a:lnTo>
                  <a:lnTo>
                    <a:pt x="91" y="260"/>
                  </a:lnTo>
                  <a:lnTo>
                    <a:pt x="91" y="261"/>
                  </a:lnTo>
                  <a:lnTo>
                    <a:pt x="93" y="261"/>
                  </a:lnTo>
                  <a:lnTo>
                    <a:pt x="91" y="261"/>
                  </a:lnTo>
                  <a:lnTo>
                    <a:pt x="93" y="261"/>
                  </a:lnTo>
                  <a:lnTo>
                    <a:pt x="93" y="263"/>
                  </a:lnTo>
                  <a:lnTo>
                    <a:pt x="93" y="261"/>
                  </a:lnTo>
                  <a:lnTo>
                    <a:pt x="93" y="263"/>
                  </a:lnTo>
                  <a:lnTo>
                    <a:pt x="91" y="263"/>
                  </a:lnTo>
                  <a:lnTo>
                    <a:pt x="93" y="263"/>
                  </a:lnTo>
                  <a:lnTo>
                    <a:pt x="91" y="263"/>
                  </a:lnTo>
                  <a:lnTo>
                    <a:pt x="93" y="263"/>
                  </a:lnTo>
                  <a:lnTo>
                    <a:pt x="93" y="261"/>
                  </a:lnTo>
                  <a:lnTo>
                    <a:pt x="91" y="261"/>
                  </a:lnTo>
                  <a:lnTo>
                    <a:pt x="91" y="263"/>
                  </a:lnTo>
                  <a:lnTo>
                    <a:pt x="91" y="261"/>
                  </a:lnTo>
                  <a:lnTo>
                    <a:pt x="91" y="263"/>
                  </a:lnTo>
                  <a:lnTo>
                    <a:pt x="91" y="261"/>
                  </a:lnTo>
                  <a:lnTo>
                    <a:pt x="91" y="263"/>
                  </a:lnTo>
                  <a:lnTo>
                    <a:pt x="91" y="261"/>
                  </a:lnTo>
                  <a:lnTo>
                    <a:pt x="91" y="263"/>
                  </a:lnTo>
                  <a:lnTo>
                    <a:pt x="93" y="263"/>
                  </a:lnTo>
                  <a:lnTo>
                    <a:pt x="91" y="263"/>
                  </a:lnTo>
                  <a:lnTo>
                    <a:pt x="93" y="263"/>
                  </a:lnTo>
                  <a:lnTo>
                    <a:pt x="91" y="263"/>
                  </a:lnTo>
                  <a:lnTo>
                    <a:pt x="89" y="263"/>
                  </a:lnTo>
                  <a:lnTo>
                    <a:pt x="91" y="263"/>
                  </a:lnTo>
                  <a:lnTo>
                    <a:pt x="91" y="265"/>
                  </a:lnTo>
                  <a:lnTo>
                    <a:pt x="89" y="265"/>
                  </a:lnTo>
                  <a:lnTo>
                    <a:pt x="91" y="265"/>
                  </a:lnTo>
                  <a:lnTo>
                    <a:pt x="89" y="265"/>
                  </a:lnTo>
                  <a:lnTo>
                    <a:pt x="91" y="265"/>
                  </a:lnTo>
                  <a:lnTo>
                    <a:pt x="93" y="265"/>
                  </a:lnTo>
                  <a:lnTo>
                    <a:pt x="91" y="265"/>
                  </a:lnTo>
                  <a:lnTo>
                    <a:pt x="89" y="265"/>
                  </a:lnTo>
                  <a:lnTo>
                    <a:pt x="91" y="265"/>
                  </a:lnTo>
                  <a:lnTo>
                    <a:pt x="91" y="267"/>
                  </a:lnTo>
                  <a:lnTo>
                    <a:pt x="91" y="269"/>
                  </a:lnTo>
                  <a:lnTo>
                    <a:pt x="93" y="269"/>
                  </a:lnTo>
                  <a:lnTo>
                    <a:pt x="91" y="269"/>
                  </a:lnTo>
                  <a:lnTo>
                    <a:pt x="93" y="269"/>
                  </a:lnTo>
                  <a:lnTo>
                    <a:pt x="91" y="269"/>
                  </a:lnTo>
                  <a:lnTo>
                    <a:pt x="93" y="269"/>
                  </a:lnTo>
                  <a:lnTo>
                    <a:pt x="91" y="269"/>
                  </a:lnTo>
                  <a:lnTo>
                    <a:pt x="91" y="271"/>
                  </a:lnTo>
                  <a:lnTo>
                    <a:pt x="93" y="271"/>
                  </a:lnTo>
                  <a:lnTo>
                    <a:pt x="91" y="271"/>
                  </a:lnTo>
                  <a:lnTo>
                    <a:pt x="93" y="271"/>
                  </a:lnTo>
                  <a:lnTo>
                    <a:pt x="93" y="273"/>
                  </a:lnTo>
                  <a:lnTo>
                    <a:pt x="91" y="273"/>
                  </a:lnTo>
                  <a:lnTo>
                    <a:pt x="93" y="273"/>
                  </a:lnTo>
                  <a:lnTo>
                    <a:pt x="91" y="273"/>
                  </a:lnTo>
                  <a:lnTo>
                    <a:pt x="91" y="271"/>
                  </a:lnTo>
                  <a:lnTo>
                    <a:pt x="91" y="273"/>
                  </a:lnTo>
                  <a:lnTo>
                    <a:pt x="93" y="273"/>
                  </a:lnTo>
                  <a:lnTo>
                    <a:pt x="93" y="271"/>
                  </a:lnTo>
                  <a:lnTo>
                    <a:pt x="91" y="271"/>
                  </a:lnTo>
                  <a:lnTo>
                    <a:pt x="91" y="273"/>
                  </a:lnTo>
                  <a:lnTo>
                    <a:pt x="93" y="273"/>
                  </a:lnTo>
                  <a:lnTo>
                    <a:pt x="91" y="273"/>
                  </a:lnTo>
                  <a:lnTo>
                    <a:pt x="93" y="273"/>
                  </a:lnTo>
                  <a:lnTo>
                    <a:pt x="91" y="273"/>
                  </a:lnTo>
                  <a:lnTo>
                    <a:pt x="93" y="273"/>
                  </a:lnTo>
                  <a:lnTo>
                    <a:pt x="91" y="273"/>
                  </a:lnTo>
                  <a:lnTo>
                    <a:pt x="91" y="275"/>
                  </a:lnTo>
                  <a:lnTo>
                    <a:pt x="93" y="275"/>
                  </a:lnTo>
                  <a:lnTo>
                    <a:pt x="91" y="275"/>
                  </a:lnTo>
                  <a:lnTo>
                    <a:pt x="93" y="275"/>
                  </a:lnTo>
                  <a:lnTo>
                    <a:pt x="91" y="275"/>
                  </a:lnTo>
                  <a:lnTo>
                    <a:pt x="93" y="275"/>
                  </a:lnTo>
                  <a:lnTo>
                    <a:pt x="91" y="275"/>
                  </a:lnTo>
                  <a:lnTo>
                    <a:pt x="91" y="277"/>
                  </a:lnTo>
                  <a:lnTo>
                    <a:pt x="91" y="275"/>
                  </a:lnTo>
                  <a:lnTo>
                    <a:pt x="91" y="277"/>
                  </a:lnTo>
                  <a:lnTo>
                    <a:pt x="91" y="275"/>
                  </a:lnTo>
                  <a:lnTo>
                    <a:pt x="91" y="277"/>
                  </a:lnTo>
                  <a:lnTo>
                    <a:pt x="91" y="279"/>
                  </a:lnTo>
                  <a:lnTo>
                    <a:pt x="93" y="279"/>
                  </a:lnTo>
                  <a:lnTo>
                    <a:pt x="93" y="281"/>
                  </a:lnTo>
                  <a:lnTo>
                    <a:pt x="91" y="281"/>
                  </a:lnTo>
                  <a:lnTo>
                    <a:pt x="91" y="279"/>
                  </a:lnTo>
                  <a:lnTo>
                    <a:pt x="91" y="281"/>
                  </a:lnTo>
                  <a:lnTo>
                    <a:pt x="91" y="283"/>
                  </a:lnTo>
                  <a:lnTo>
                    <a:pt x="93" y="283"/>
                  </a:lnTo>
                  <a:lnTo>
                    <a:pt x="91" y="283"/>
                  </a:lnTo>
                  <a:lnTo>
                    <a:pt x="93" y="283"/>
                  </a:lnTo>
                  <a:lnTo>
                    <a:pt x="91" y="283"/>
                  </a:lnTo>
                  <a:lnTo>
                    <a:pt x="91" y="284"/>
                  </a:lnTo>
                  <a:lnTo>
                    <a:pt x="93" y="284"/>
                  </a:lnTo>
                  <a:lnTo>
                    <a:pt x="91" y="284"/>
                  </a:lnTo>
                  <a:lnTo>
                    <a:pt x="93" y="284"/>
                  </a:lnTo>
                  <a:lnTo>
                    <a:pt x="93" y="286"/>
                  </a:lnTo>
                  <a:lnTo>
                    <a:pt x="93" y="284"/>
                  </a:lnTo>
                  <a:lnTo>
                    <a:pt x="93" y="286"/>
                  </a:lnTo>
                  <a:lnTo>
                    <a:pt x="93" y="288"/>
                  </a:lnTo>
                  <a:lnTo>
                    <a:pt x="94" y="288"/>
                  </a:lnTo>
                  <a:lnTo>
                    <a:pt x="93" y="288"/>
                  </a:lnTo>
                  <a:lnTo>
                    <a:pt x="94" y="288"/>
                  </a:lnTo>
                  <a:lnTo>
                    <a:pt x="93" y="288"/>
                  </a:lnTo>
                  <a:lnTo>
                    <a:pt x="93" y="290"/>
                  </a:lnTo>
                  <a:lnTo>
                    <a:pt x="93" y="288"/>
                  </a:lnTo>
                  <a:lnTo>
                    <a:pt x="93" y="290"/>
                  </a:lnTo>
                  <a:lnTo>
                    <a:pt x="93" y="288"/>
                  </a:lnTo>
                  <a:lnTo>
                    <a:pt x="94" y="290"/>
                  </a:lnTo>
                  <a:lnTo>
                    <a:pt x="94" y="288"/>
                  </a:lnTo>
                  <a:lnTo>
                    <a:pt x="94" y="290"/>
                  </a:lnTo>
                  <a:lnTo>
                    <a:pt x="93" y="290"/>
                  </a:lnTo>
                  <a:lnTo>
                    <a:pt x="93" y="292"/>
                  </a:lnTo>
                  <a:lnTo>
                    <a:pt x="91" y="292"/>
                  </a:lnTo>
                  <a:lnTo>
                    <a:pt x="93" y="292"/>
                  </a:lnTo>
                  <a:lnTo>
                    <a:pt x="94" y="292"/>
                  </a:lnTo>
                  <a:lnTo>
                    <a:pt x="93" y="292"/>
                  </a:lnTo>
                  <a:lnTo>
                    <a:pt x="94" y="292"/>
                  </a:lnTo>
                  <a:lnTo>
                    <a:pt x="93" y="292"/>
                  </a:lnTo>
                  <a:lnTo>
                    <a:pt x="94" y="292"/>
                  </a:lnTo>
                  <a:lnTo>
                    <a:pt x="94" y="294"/>
                  </a:lnTo>
                  <a:lnTo>
                    <a:pt x="94" y="292"/>
                  </a:lnTo>
                  <a:lnTo>
                    <a:pt x="94" y="294"/>
                  </a:lnTo>
                  <a:lnTo>
                    <a:pt x="94" y="296"/>
                  </a:lnTo>
                  <a:lnTo>
                    <a:pt x="94" y="294"/>
                  </a:lnTo>
                  <a:lnTo>
                    <a:pt x="94" y="292"/>
                  </a:lnTo>
                  <a:lnTo>
                    <a:pt x="96" y="292"/>
                  </a:lnTo>
                  <a:lnTo>
                    <a:pt x="98" y="292"/>
                  </a:lnTo>
                  <a:lnTo>
                    <a:pt x="98" y="294"/>
                  </a:lnTo>
                  <a:lnTo>
                    <a:pt x="96" y="294"/>
                  </a:lnTo>
                  <a:lnTo>
                    <a:pt x="98" y="294"/>
                  </a:lnTo>
                  <a:lnTo>
                    <a:pt x="96" y="294"/>
                  </a:lnTo>
                  <a:lnTo>
                    <a:pt x="98" y="294"/>
                  </a:lnTo>
                  <a:lnTo>
                    <a:pt x="96" y="294"/>
                  </a:lnTo>
                  <a:lnTo>
                    <a:pt x="98" y="294"/>
                  </a:lnTo>
                  <a:lnTo>
                    <a:pt x="98" y="296"/>
                  </a:lnTo>
                  <a:lnTo>
                    <a:pt x="98" y="298"/>
                  </a:lnTo>
                  <a:lnTo>
                    <a:pt x="98" y="296"/>
                  </a:lnTo>
                  <a:lnTo>
                    <a:pt x="98" y="298"/>
                  </a:lnTo>
                  <a:lnTo>
                    <a:pt x="98" y="296"/>
                  </a:lnTo>
                  <a:lnTo>
                    <a:pt x="98" y="298"/>
                  </a:lnTo>
                  <a:lnTo>
                    <a:pt x="100" y="298"/>
                  </a:lnTo>
                  <a:lnTo>
                    <a:pt x="100" y="296"/>
                  </a:lnTo>
                  <a:lnTo>
                    <a:pt x="98" y="296"/>
                  </a:lnTo>
                  <a:lnTo>
                    <a:pt x="100" y="296"/>
                  </a:lnTo>
                  <a:lnTo>
                    <a:pt x="98" y="296"/>
                  </a:lnTo>
                  <a:lnTo>
                    <a:pt x="100" y="296"/>
                  </a:lnTo>
                  <a:lnTo>
                    <a:pt x="100" y="294"/>
                  </a:lnTo>
                  <a:lnTo>
                    <a:pt x="102" y="294"/>
                  </a:lnTo>
                  <a:lnTo>
                    <a:pt x="104" y="294"/>
                  </a:lnTo>
                  <a:lnTo>
                    <a:pt x="102" y="294"/>
                  </a:lnTo>
                  <a:lnTo>
                    <a:pt x="104" y="294"/>
                  </a:lnTo>
                  <a:lnTo>
                    <a:pt x="102" y="294"/>
                  </a:lnTo>
                  <a:lnTo>
                    <a:pt x="104" y="294"/>
                  </a:lnTo>
                  <a:lnTo>
                    <a:pt x="104" y="296"/>
                  </a:lnTo>
                  <a:lnTo>
                    <a:pt x="104" y="294"/>
                  </a:lnTo>
                  <a:lnTo>
                    <a:pt x="104" y="296"/>
                  </a:lnTo>
                  <a:lnTo>
                    <a:pt x="102" y="296"/>
                  </a:lnTo>
                  <a:lnTo>
                    <a:pt x="102" y="298"/>
                  </a:lnTo>
                  <a:lnTo>
                    <a:pt x="102" y="296"/>
                  </a:lnTo>
                  <a:lnTo>
                    <a:pt x="104" y="296"/>
                  </a:lnTo>
                  <a:lnTo>
                    <a:pt x="104" y="298"/>
                  </a:lnTo>
                  <a:lnTo>
                    <a:pt x="104" y="300"/>
                  </a:lnTo>
                  <a:lnTo>
                    <a:pt x="106" y="300"/>
                  </a:lnTo>
                  <a:lnTo>
                    <a:pt x="104" y="300"/>
                  </a:lnTo>
                  <a:lnTo>
                    <a:pt x="106" y="300"/>
                  </a:lnTo>
                  <a:lnTo>
                    <a:pt x="108" y="300"/>
                  </a:lnTo>
                  <a:lnTo>
                    <a:pt x="106" y="300"/>
                  </a:lnTo>
                  <a:lnTo>
                    <a:pt x="108" y="300"/>
                  </a:lnTo>
                  <a:lnTo>
                    <a:pt x="108" y="302"/>
                  </a:lnTo>
                  <a:lnTo>
                    <a:pt x="106" y="302"/>
                  </a:lnTo>
                  <a:lnTo>
                    <a:pt x="108" y="302"/>
                  </a:lnTo>
                  <a:lnTo>
                    <a:pt x="106" y="302"/>
                  </a:lnTo>
                  <a:lnTo>
                    <a:pt x="108" y="302"/>
                  </a:lnTo>
                  <a:lnTo>
                    <a:pt x="106" y="302"/>
                  </a:lnTo>
                  <a:lnTo>
                    <a:pt x="108" y="302"/>
                  </a:lnTo>
                  <a:lnTo>
                    <a:pt x="106" y="302"/>
                  </a:lnTo>
                  <a:lnTo>
                    <a:pt x="108" y="302"/>
                  </a:lnTo>
                  <a:lnTo>
                    <a:pt x="106" y="302"/>
                  </a:lnTo>
                  <a:lnTo>
                    <a:pt x="108" y="302"/>
                  </a:lnTo>
                  <a:lnTo>
                    <a:pt x="106" y="302"/>
                  </a:lnTo>
                  <a:lnTo>
                    <a:pt x="108" y="302"/>
                  </a:lnTo>
                  <a:lnTo>
                    <a:pt x="106" y="302"/>
                  </a:lnTo>
                  <a:lnTo>
                    <a:pt x="108" y="302"/>
                  </a:lnTo>
                  <a:lnTo>
                    <a:pt x="106" y="302"/>
                  </a:lnTo>
                  <a:lnTo>
                    <a:pt x="108" y="302"/>
                  </a:lnTo>
                  <a:lnTo>
                    <a:pt x="110" y="302"/>
                  </a:lnTo>
                  <a:lnTo>
                    <a:pt x="108" y="302"/>
                  </a:lnTo>
                  <a:lnTo>
                    <a:pt x="110" y="302"/>
                  </a:lnTo>
                  <a:lnTo>
                    <a:pt x="110" y="304"/>
                  </a:lnTo>
                  <a:lnTo>
                    <a:pt x="112" y="304"/>
                  </a:lnTo>
                  <a:lnTo>
                    <a:pt x="112" y="306"/>
                  </a:lnTo>
                  <a:lnTo>
                    <a:pt x="110" y="306"/>
                  </a:lnTo>
                  <a:lnTo>
                    <a:pt x="112" y="306"/>
                  </a:lnTo>
                  <a:lnTo>
                    <a:pt x="110" y="306"/>
                  </a:lnTo>
                  <a:lnTo>
                    <a:pt x="110" y="304"/>
                  </a:lnTo>
                  <a:lnTo>
                    <a:pt x="108" y="304"/>
                  </a:lnTo>
                  <a:lnTo>
                    <a:pt x="110" y="304"/>
                  </a:lnTo>
                  <a:lnTo>
                    <a:pt x="108" y="304"/>
                  </a:lnTo>
                  <a:lnTo>
                    <a:pt x="108" y="302"/>
                  </a:lnTo>
                  <a:lnTo>
                    <a:pt x="108" y="304"/>
                  </a:lnTo>
                  <a:lnTo>
                    <a:pt x="110" y="304"/>
                  </a:lnTo>
                  <a:lnTo>
                    <a:pt x="108" y="304"/>
                  </a:lnTo>
                  <a:lnTo>
                    <a:pt x="110" y="304"/>
                  </a:lnTo>
                  <a:lnTo>
                    <a:pt x="110" y="306"/>
                  </a:lnTo>
                  <a:lnTo>
                    <a:pt x="110" y="308"/>
                  </a:lnTo>
                  <a:lnTo>
                    <a:pt x="112" y="308"/>
                  </a:lnTo>
                  <a:lnTo>
                    <a:pt x="110" y="308"/>
                  </a:lnTo>
                  <a:lnTo>
                    <a:pt x="112" y="308"/>
                  </a:lnTo>
                  <a:lnTo>
                    <a:pt x="112" y="309"/>
                  </a:lnTo>
                  <a:lnTo>
                    <a:pt x="112" y="308"/>
                  </a:lnTo>
                  <a:lnTo>
                    <a:pt x="114" y="308"/>
                  </a:lnTo>
                  <a:lnTo>
                    <a:pt x="114" y="309"/>
                  </a:lnTo>
                  <a:lnTo>
                    <a:pt x="114" y="308"/>
                  </a:lnTo>
                  <a:lnTo>
                    <a:pt x="114" y="309"/>
                  </a:lnTo>
                  <a:lnTo>
                    <a:pt x="114" y="311"/>
                  </a:lnTo>
                  <a:lnTo>
                    <a:pt x="116" y="311"/>
                  </a:lnTo>
                  <a:lnTo>
                    <a:pt x="114" y="311"/>
                  </a:lnTo>
                  <a:lnTo>
                    <a:pt x="114" y="309"/>
                  </a:lnTo>
                  <a:lnTo>
                    <a:pt x="116" y="309"/>
                  </a:lnTo>
                  <a:lnTo>
                    <a:pt x="116" y="308"/>
                  </a:lnTo>
                  <a:lnTo>
                    <a:pt x="116" y="309"/>
                  </a:lnTo>
                  <a:lnTo>
                    <a:pt x="114" y="309"/>
                  </a:lnTo>
                  <a:lnTo>
                    <a:pt x="116" y="309"/>
                  </a:lnTo>
                  <a:lnTo>
                    <a:pt x="114" y="309"/>
                  </a:lnTo>
                  <a:lnTo>
                    <a:pt x="116" y="309"/>
                  </a:lnTo>
                  <a:lnTo>
                    <a:pt x="116" y="308"/>
                  </a:lnTo>
                  <a:lnTo>
                    <a:pt x="114" y="308"/>
                  </a:lnTo>
                  <a:lnTo>
                    <a:pt x="116" y="308"/>
                  </a:lnTo>
                  <a:lnTo>
                    <a:pt x="116" y="309"/>
                  </a:lnTo>
                  <a:lnTo>
                    <a:pt x="116" y="311"/>
                  </a:lnTo>
                  <a:lnTo>
                    <a:pt x="116" y="313"/>
                  </a:lnTo>
                  <a:lnTo>
                    <a:pt x="117" y="313"/>
                  </a:lnTo>
                  <a:lnTo>
                    <a:pt x="116" y="313"/>
                  </a:lnTo>
                  <a:lnTo>
                    <a:pt x="117" y="313"/>
                  </a:lnTo>
                  <a:lnTo>
                    <a:pt x="117" y="315"/>
                  </a:lnTo>
                  <a:lnTo>
                    <a:pt x="119" y="315"/>
                  </a:lnTo>
                  <a:lnTo>
                    <a:pt x="117" y="315"/>
                  </a:lnTo>
                  <a:lnTo>
                    <a:pt x="119" y="315"/>
                  </a:lnTo>
                  <a:lnTo>
                    <a:pt x="117" y="315"/>
                  </a:lnTo>
                  <a:lnTo>
                    <a:pt x="119" y="315"/>
                  </a:lnTo>
                  <a:lnTo>
                    <a:pt x="119" y="317"/>
                  </a:lnTo>
                  <a:lnTo>
                    <a:pt x="117" y="317"/>
                  </a:lnTo>
                  <a:lnTo>
                    <a:pt x="117" y="315"/>
                  </a:lnTo>
                  <a:lnTo>
                    <a:pt x="116" y="315"/>
                  </a:lnTo>
                  <a:lnTo>
                    <a:pt x="116" y="313"/>
                  </a:lnTo>
                  <a:lnTo>
                    <a:pt x="116" y="315"/>
                  </a:lnTo>
                  <a:lnTo>
                    <a:pt x="117" y="315"/>
                  </a:lnTo>
                  <a:lnTo>
                    <a:pt x="116" y="315"/>
                  </a:lnTo>
                  <a:lnTo>
                    <a:pt x="117" y="315"/>
                  </a:lnTo>
                  <a:lnTo>
                    <a:pt x="116" y="315"/>
                  </a:lnTo>
                  <a:lnTo>
                    <a:pt x="117" y="315"/>
                  </a:lnTo>
                  <a:lnTo>
                    <a:pt x="117" y="317"/>
                  </a:lnTo>
                  <a:lnTo>
                    <a:pt x="116" y="317"/>
                  </a:lnTo>
                  <a:lnTo>
                    <a:pt x="116" y="319"/>
                  </a:lnTo>
                  <a:lnTo>
                    <a:pt x="114" y="319"/>
                  </a:lnTo>
                  <a:lnTo>
                    <a:pt x="116" y="319"/>
                  </a:lnTo>
                  <a:lnTo>
                    <a:pt x="117" y="319"/>
                  </a:lnTo>
                  <a:lnTo>
                    <a:pt x="119" y="319"/>
                  </a:lnTo>
                  <a:lnTo>
                    <a:pt x="119" y="321"/>
                  </a:lnTo>
                  <a:lnTo>
                    <a:pt x="119" y="319"/>
                  </a:lnTo>
                  <a:lnTo>
                    <a:pt x="119" y="321"/>
                  </a:lnTo>
                  <a:lnTo>
                    <a:pt x="117" y="321"/>
                  </a:lnTo>
                  <a:lnTo>
                    <a:pt x="119" y="321"/>
                  </a:lnTo>
                  <a:lnTo>
                    <a:pt x="117" y="321"/>
                  </a:lnTo>
                  <a:lnTo>
                    <a:pt x="116" y="321"/>
                  </a:lnTo>
                  <a:lnTo>
                    <a:pt x="114" y="321"/>
                  </a:lnTo>
                  <a:lnTo>
                    <a:pt x="116" y="321"/>
                  </a:lnTo>
                  <a:lnTo>
                    <a:pt x="114" y="321"/>
                  </a:lnTo>
                  <a:lnTo>
                    <a:pt x="114" y="323"/>
                  </a:lnTo>
                  <a:lnTo>
                    <a:pt x="114" y="321"/>
                  </a:lnTo>
                  <a:lnTo>
                    <a:pt x="114" y="323"/>
                  </a:lnTo>
                  <a:lnTo>
                    <a:pt x="114" y="321"/>
                  </a:lnTo>
                  <a:lnTo>
                    <a:pt x="114" y="323"/>
                  </a:lnTo>
                  <a:lnTo>
                    <a:pt x="112" y="323"/>
                  </a:lnTo>
                  <a:lnTo>
                    <a:pt x="114" y="323"/>
                  </a:lnTo>
                  <a:lnTo>
                    <a:pt x="114" y="325"/>
                  </a:lnTo>
                  <a:lnTo>
                    <a:pt x="112" y="325"/>
                  </a:lnTo>
                  <a:lnTo>
                    <a:pt x="110" y="325"/>
                  </a:lnTo>
                  <a:lnTo>
                    <a:pt x="110" y="327"/>
                  </a:lnTo>
                  <a:lnTo>
                    <a:pt x="110" y="325"/>
                  </a:lnTo>
                  <a:lnTo>
                    <a:pt x="110" y="327"/>
                  </a:lnTo>
                  <a:lnTo>
                    <a:pt x="110" y="329"/>
                  </a:lnTo>
                  <a:lnTo>
                    <a:pt x="108" y="329"/>
                  </a:lnTo>
                  <a:lnTo>
                    <a:pt x="108" y="327"/>
                  </a:lnTo>
                  <a:lnTo>
                    <a:pt x="108" y="329"/>
                  </a:lnTo>
                  <a:lnTo>
                    <a:pt x="108" y="327"/>
                  </a:lnTo>
                  <a:lnTo>
                    <a:pt x="108" y="329"/>
                  </a:lnTo>
                  <a:lnTo>
                    <a:pt x="108" y="327"/>
                  </a:lnTo>
                  <a:lnTo>
                    <a:pt x="108" y="329"/>
                  </a:lnTo>
                  <a:lnTo>
                    <a:pt x="106" y="329"/>
                  </a:lnTo>
                  <a:lnTo>
                    <a:pt x="108" y="329"/>
                  </a:lnTo>
                  <a:lnTo>
                    <a:pt x="108" y="331"/>
                  </a:lnTo>
                  <a:lnTo>
                    <a:pt x="108" y="329"/>
                  </a:lnTo>
                  <a:lnTo>
                    <a:pt x="108" y="331"/>
                  </a:lnTo>
                  <a:lnTo>
                    <a:pt x="108" y="329"/>
                  </a:lnTo>
                  <a:lnTo>
                    <a:pt x="108" y="331"/>
                  </a:lnTo>
                  <a:lnTo>
                    <a:pt x="106" y="331"/>
                  </a:lnTo>
                  <a:lnTo>
                    <a:pt x="106" y="329"/>
                  </a:lnTo>
                  <a:lnTo>
                    <a:pt x="104" y="329"/>
                  </a:lnTo>
                  <a:lnTo>
                    <a:pt x="104" y="331"/>
                  </a:lnTo>
                  <a:lnTo>
                    <a:pt x="104" y="329"/>
                  </a:lnTo>
                  <a:lnTo>
                    <a:pt x="104" y="331"/>
                  </a:lnTo>
                  <a:lnTo>
                    <a:pt x="104" y="329"/>
                  </a:lnTo>
                  <a:lnTo>
                    <a:pt x="102" y="329"/>
                  </a:lnTo>
                  <a:lnTo>
                    <a:pt x="104" y="329"/>
                  </a:lnTo>
                  <a:lnTo>
                    <a:pt x="104" y="331"/>
                  </a:lnTo>
                  <a:lnTo>
                    <a:pt x="106" y="331"/>
                  </a:lnTo>
                  <a:lnTo>
                    <a:pt x="104" y="331"/>
                  </a:lnTo>
                  <a:lnTo>
                    <a:pt x="106" y="331"/>
                  </a:lnTo>
                  <a:lnTo>
                    <a:pt x="106" y="333"/>
                  </a:lnTo>
                  <a:lnTo>
                    <a:pt x="104" y="333"/>
                  </a:lnTo>
                  <a:lnTo>
                    <a:pt x="104" y="331"/>
                  </a:lnTo>
                  <a:lnTo>
                    <a:pt x="104" y="333"/>
                  </a:lnTo>
                  <a:lnTo>
                    <a:pt x="106" y="333"/>
                  </a:lnTo>
                  <a:lnTo>
                    <a:pt x="104" y="333"/>
                  </a:lnTo>
                  <a:lnTo>
                    <a:pt x="106" y="333"/>
                  </a:lnTo>
                  <a:lnTo>
                    <a:pt x="106" y="331"/>
                  </a:lnTo>
                  <a:lnTo>
                    <a:pt x="106" y="333"/>
                  </a:lnTo>
                  <a:lnTo>
                    <a:pt x="106" y="331"/>
                  </a:lnTo>
                  <a:lnTo>
                    <a:pt x="106" y="333"/>
                  </a:lnTo>
                  <a:lnTo>
                    <a:pt x="108" y="333"/>
                  </a:lnTo>
                  <a:lnTo>
                    <a:pt x="106" y="333"/>
                  </a:lnTo>
                  <a:lnTo>
                    <a:pt x="108" y="333"/>
                  </a:lnTo>
                  <a:lnTo>
                    <a:pt x="106" y="333"/>
                  </a:lnTo>
                  <a:lnTo>
                    <a:pt x="108" y="333"/>
                  </a:lnTo>
                  <a:lnTo>
                    <a:pt x="108" y="334"/>
                  </a:lnTo>
                  <a:lnTo>
                    <a:pt x="110" y="334"/>
                  </a:lnTo>
                  <a:lnTo>
                    <a:pt x="108" y="334"/>
                  </a:lnTo>
                  <a:lnTo>
                    <a:pt x="110" y="334"/>
                  </a:lnTo>
                  <a:lnTo>
                    <a:pt x="110" y="336"/>
                  </a:lnTo>
                  <a:lnTo>
                    <a:pt x="110" y="334"/>
                  </a:lnTo>
                  <a:lnTo>
                    <a:pt x="108" y="334"/>
                  </a:lnTo>
                  <a:lnTo>
                    <a:pt x="110" y="334"/>
                  </a:lnTo>
                  <a:lnTo>
                    <a:pt x="110" y="336"/>
                  </a:lnTo>
                  <a:lnTo>
                    <a:pt x="110" y="334"/>
                  </a:lnTo>
                  <a:lnTo>
                    <a:pt x="110" y="336"/>
                  </a:lnTo>
                  <a:lnTo>
                    <a:pt x="108" y="336"/>
                  </a:lnTo>
                  <a:lnTo>
                    <a:pt x="110" y="336"/>
                  </a:lnTo>
                  <a:lnTo>
                    <a:pt x="108" y="336"/>
                  </a:lnTo>
                  <a:lnTo>
                    <a:pt x="108" y="338"/>
                  </a:lnTo>
                  <a:lnTo>
                    <a:pt x="108" y="336"/>
                  </a:lnTo>
                  <a:lnTo>
                    <a:pt x="108" y="338"/>
                  </a:lnTo>
                  <a:lnTo>
                    <a:pt x="108" y="336"/>
                  </a:lnTo>
                  <a:lnTo>
                    <a:pt x="108" y="338"/>
                  </a:lnTo>
                  <a:lnTo>
                    <a:pt x="108" y="336"/>
                  </a:lnTo>
                  <a:lnTo>
                    <a:pt x="108" y="338"/>
                  </a:lnTo>
                  <a:lnTo>
                    <a:pt x="106" y="338"/>
                  </a:lnTo>
                  <a:lnTo>
                    <a:pt x="108" y="338"/>
                  </a:lnTo>
                  <a:lnTo>
                    <a:pt x="106" y="338"/>
                  </a:lnTo>
                  <a:lnTo>
                    <a:pt x="104" y="338"/>
                  </a:lnTo>
                  <a:lnTo>
                    <a:pt x="104" y="340"/>
                  </a:lnTo>
                  <a:lnTo>
                    <a:pt x="102" y="340"/>
                  </a:lnTo>
                  <a:lnTo>
                    <a:pt x="102" y="342"/>
                  </a:lnTo>
                  <a:lnTo>
                    <a:pt x="102" y="344"/>
                  </a:lnTo>
                  <a:lnTo>
                    <a:pt x="102" y="342"/>
                  </a:lnTo>
                  <a:lnTo>
                    <a:pt x="102" y="344"/>
                  </a:lnTo>
                  <a:lnTo>
                    <a:pt x="102" y="346"/>
                  </a:lnTo>
                  <a:lnTo>
                    <a:pt x="102" y="344"/>
                  </a:lnTo>
                  <a:lnTo>
                    <a:pt x="102" y="346"/>
                  </a:lnTo>
                  <a:lnTo>
                    <a:pt x="102" y="344"/>
                  </a:lnTo>
                  <a:lnTo>
                    <a:pt x="102" y="346"/>
                  </a:lnTo>
                  <a:lnTo>
                    <a:pt x="102" y="344"/>
                  </a:lnTo>
                  <a:lnTo>
                    <a:pt x="102" y="346"/>
                  </a:lnTo>
                  <a:lnTo>
                    <a:pt x="102" y="344"/>
                  </a:lnTo>
                  <a:lnTo>
                    <a:pt x="102" y="346"/>
                  </a:lnTo>
                  <a:lnTo>
                    <a:pt x="102" y="344"/>
                  </a:lnTo>
                  <a:lnTo>
                    <a:pt x="100" y="344"/>
                  </a:lnTo>
                  <a:lnTo>
                    <a:pt x="102" y="344"/>
                  </a:lnTo>
                  <a:lnTo>
                    <a:pt x="100" y="344"/>
                  </a:lnTo>
                  <a:lnTo>
                    <a:pt x="102" y="344"/>
                  </a:lnTo>
                  <a:lnTo>
                    <a:pt x="100" y="344"/>
                  </a:lnTo>
                  <a:lnTo>
                    <a:pt x="102" y="344"/>
                  </a:lnTo>
                  <a:lnTo>
                    <a:pt x="100" y="344"/>
                  </a:lnTo>
                  <a:lnTo>
                    <a:pt x="102" y="344"/>
                  </a:lnTo>
                  <a:lnTo>
                    <a:pt x="100" y="344"/>
                  </a:lnTo>
                  <a:lnTo>
                    <a:pt x="102" y="344"/>
                  </a:lnTo>
                  <a:lnTo>
                    <a:pt x="100" y="344"/>
                  </a:lnTo>
                  <a:lnTo>
                    <a:pt x="102" y="344"/>
                  </a:lnTo>
                  <a:lnTo>
                    <a:pt x="100" y="344"/>
                  </a:lnTo>
                  <a:lnTo>
                    <a:pt x="102" y="344"/>
                  </a:lnTo>
                  <a:lnTo>
                    <a:pt x="100" y="344"/>
                  </a:lnTo>
                  <a:lnTo>
                    <a:pt x="100" y="346"/>
                  </a:lnTo>
                  <a:lnTo>
                    <a:pt x="102" y="346"/>
                  </a:lnTo>
                  <a:lnTo>
                    <a:pt x="100" y="346"/>
                  </a:lnTo>
                  <a:lnTo>
                    <a:pt x="100" y="344"/>
                  </a:lnTo>
                  <a:lnTo>
                    <a:pt x="100" y="346"/>
                  </a:lnTo>
                  <a:lnTo>
                    <a:pt x="100" y="344"/>
                  </a:lnTo>
                  <a:lnTo>
                    <a:pt x="100" y="342"/>
                  </a:lnTo>
                  <a:lnTo>
                    <a:pt x="100" y="344"/>
                  </a:lnTo>
                  <a:lnTo>
                    <a:pt x="100" y="342"/>
                  </a:lnTo>
                  <a:lnTo>
                    <a:pt x="100" y="340"/>
                  </a:lnTo>
                  <a:lnTo>
                    <a:pt x="100" y="342"/>
                  </a:lnTo>
                  <a:lnTo>
                    <a:pt x="100" y="340"/>
                  </a:lnTo>
                  <a:lnTo>
                    <a:pt x="100" y="338"/>
                  </a:lnTo>
                  <a:lnTo>
                    <a:pt x="98" y="338"/>
                  </a:lnTo>
                  <a:lnTo>
                    <a:pt x="98" y="340"/>
                  </a:lnTo>
                  <a:lnTo>
                    <a:pt x="98" y="338"/>
                  </a:lnTo>
                  <a:lnTo>
                    <a:pt x="98" y="336"/>
                  </a:lnTo>
                  <a:lnTo>
                    <a:pt x="98" y="338"/>
                  </a:lnTo>
                  <a:lnTo>
                    <a:pt x="98" y="340"/>
                  </a:lnTo>
                  <a:lnTo>
                    <a:pt x="98" y="342"/>
                  </a:lnTo>
                  <a:lnTo>
                    <a:pt x="98" y="340"/>
                  </a:lnTo>
                  <a:lnTo>
                    <a:pt x="98" y="342"/>
                  </a:lnTo>
                  <a:lnTo>
                    <a:pt x="96" y="342"/>
                  </a:lnTo>
                  <a:lnTo>
                    <a:pt x="98" y="342"/>
                  </a:lnTo>
                  <a:lnTo>
                    <a:pt x="96" y="342"/>
                  </a:lnTo>
                  <a:lnTo>
                    <a:pt x="98" y="342"/>
                  </a:lnTo>
                  <a:lnTo>
                    <a:pt x="96" y="342"/>
                  </a:lnTo>
                  <a:lnTo>
                    <a:pt x="96" y="344"/>
                  </a:lnTo>
                  <a:lnTo>
                    <a:pt x="98" y="344"/>
                  </a:lnTo>
                  <a:lnTo>
                    <a:pt x="96" y="344"/>
                  </a:lnTo>
                  <a:lnTo>
                    <a:pt x="98" y="344"/>
                  </a:lnTo>
                  <a:lnTo>
                    <a:pt x="96" y="344"/>
                  </a:lnTo>
                  <a:lnTo>
                    <a:pt x="96" y="346"/>
                  </a:lnTo>
                  <a:lnTo>
                    <a:pt x="96" y="344"/>
                  </a:lnTo>
                  <a:lnTo>
                    <a:pt x="96" y="346"/>
                  </a:lnTo>
                  <a:lnTo>
                    <a:pt x="96" y="344"/>
                  </a:lnTo>
                  <a:lnTo>
                    <a:pt x="94" y="344"/>
                  </a:lnTo>
                  <a:lnTo>
                    <a:pt x="96" y="344"/>
                  </a:lnTo>
                  <a:lnTo>
                    <a:pt x="94" y="344"/>
                  </a:lnTo>
                  <a:lnTo>
                    <a:pt x="96" y="344"/>
                  </a:lnTo>
                  <a:lnTo>
                    <a:pt x="96" y="346"/>
                  </a:lnTo>
                  <a:lnTo>
                    <a:pt x="94" y="346"/>
                  </a:lnTo>
                  <a:lnTo>
                    <a:pt x="96" y="346"/>
                  </a:lnTo>
                  <a:lnTo>
                    <a:pt x="94" y="346"/>
                  </a:lnTo>
                  <a:lnTo>
                    <a:pt x="96" y="346"/>
                  </a:lnTo>
                  <a:lnTo>
                    <a:pt x="94" y="346"/>
                  </a:lnTo>
                  <a:lnTo>
                    <a:pt x="96" y="346"/>
                  </a:lnTo>
                  <a:lnTo>
                    <a:pt x="96" y="348"/>
                  </a:lnTo>
                  <a:lnTo>
                    <a:pt x="96" y="346"/>
                  </a:lnTo>
                  <a:lnTo>
                    <a:pt x="96" y="348"/>
                  </a:lnTo>
                  <a:lnTo>
                    <a:pt x="96" y="346"/>
                  </a:lnTo>
                  <a:lnTo>
                    <a:pt x="94" y="346"/>
                  </a:lnTo>
                  <a:lnTo>
                    <a:pt x="94" y="348"/>
                  </a:lnTo>
                  <a:lnTo>
                    <a:pt x="94" y="346"/>
                  </a:lnTo>
                  <a:lnTo>
                    <a:pt x="94" y="348"/>
                  </a:lnTo>
                  <a:lnTo>
                    <a:pt x="94" y="346"/>
                  </a:lnTo>
                  <a:lnTo>
                    <a:pt x="94" y="348"/>
                  </a:lnTo>
                  <a:lnTo>
                    <a:pt x="94" y="346"/>
                  </a:lnTo>
                  <a:lnTo>
                    <a:pt x="94" y="348"/>
                  </a:lnTo>
                  <a:lnTo>
                    <a:pt x="93" y="348"/>
                  </a:lnTo>
                  <a:lnTo>
                    <a:pt x="91" y="348"/>
                  </a:lnTo>
                  <a:lnTo>
                    <a:pt x="89" y="348"/>
                  </a:lnTo>
                  <a:lnTo>
                    <a:pt x="91" y="348"/>
                  </a:lnTo>
                  <a:lnTo>
                    <a:pt x="91" y="350"/>
                  </a:lnTo>
                  <a:lnTo>
                    <a:pt x="89" y="350"/>
                  </a:lnTo>
                  <a:lnTo>
                    <a:pt x="91" y="350"/>
                  </a:lnTo>
                  <a:lnTo>
                    <a:pt x="91" y="352"/>
                  </a:lnTo>
                  <a:lnTo>
                    <a:pt x="91" y="350"/>
                  </a:lnTo>
                  <a:lnTo>
                    <a:pt x="91" y="352"/>
                  </a:lnTo>
                  <a:lnTo>
                    <a:pt x="91" y="350"/>
                  </a:lnTo>
                  <a:lnTo>
                    <a:pt x="89" y="350"/>
                  </a:lnTo>
                  <a:lnTo>
                    <a:pt x="91" y="350"/>
                  </a:lnTo>
                  <a:lnTo>
                    <a:pt x="89" y="350"/>
                  </a:lnTo>
                  <a:lnTo>
                    <a:pt x="87" y="350"/>
                  </a:lnTo>
                  <a:lnTo>
                    <a:pt x="89" y="350"/>
                  </a:lnTo>
                  <a:lnTo>
                    <a:pt x="87" y="350"/>
                  </a:lnTo>
                  <a:lnTo>
                    <a:pt x="89" y="350"/>
                  </a:lnTo>
                  <a:lnTo>
                    <a:pt x="89" y="352"/>
                  </a:lnTo>
                  <a:lnTo>
                    <a:pt x="87" y="352"/>
                  </a:lnTo>
                  <a:lnTo>
                    <a:pt x="85" y="352"/>
                  </a:lnTo>
                  <a:lnTo>
                    <a:pt x="83" y="352"/>
                  </a:lnTo>
                  <a:lnTo>
                    <a:pt x="81" y="352"/>
                  </a:lnTo>
                  <a:lnTo>
                    <a:pt x="81" y="350"/>
                  </a:lnTo>
                  <a:lnTo>
                    <a:pt x="79" y="350"/>
                  </a:lnTo>
                  <a:lnTo>
                    <a:pt x="77" y="350"/>
                  </a:lnTo>
                  <a:lnTo>
                    <a:pt x="77" y="352"/>
                  </a:lnTo>
                  <a:lnTo>
                    <a:pt x="79" y="352"/>
                  </a:lnTo>
                  <a:lnTo>
                    <a:pt x="81" y="352"/>
                  </a:lnTo>
                  <a:lnTo>
                    <a:pt x="83" y="352"/>
                  </a:lnTo>
                  <a:lnTo>
                    <a:pt x="81" y="352"/>
                  </a:lnTo>
                  <a:lnTo>
                    <a:pt x="83" y="352"/>
                  </a:lnTo>
                  <a:lnTo>
                    <a:pt x="85" y="352"/>
                  </a:lnTo>
                  <a:lnTo>
                    <a:pt x="85" y="354"/>
                  </a:lnTo>
                  <a:lnTo>
                    <a:pt x="85" y="352"/>
                  </a:lnTo>
                  <a:lnTo>
                    <a:pt x="85" y="354"/>
                  </a:lnTo>
                  <a:lnTo>
                    <a:pt x="87" y="354"/>
                  </a:lnTo>
                  <a:lnTo>
                    <a:pt x="87" y="356"/>
                  </a:lnTo>
                  <a:lnTo>
                    <a:pt x="89" y="356"/>
                  </a:lnTo>
                  <a:lnTo>
                    <a:pt x="87" y="356"/>
                  </a:lnTo>
                  <a:lnTo>
                    <a:pt x="89" y="356"/>
                  </a:lnTo>
                  <a:lnTo>
                    <a:pt x="87" y="356"/>
                  </a:lnTo>
                  <a:lnTo>
                    <a:pt x="89" y="356"/>
                  </a:lnTo>
                  <a:lnTo>
                    <a:pt x="87" y="356"/>
                  </a:lnTo>
                  <a:lnTo>
                    <a:pt x="89" y="356"/>
                  </a:lnTo>
                  <a:lnTo>
                    <a:pt x="87" y="356"/>
                  </a:lnTo>
                  <a:lnTo>
                    <a:pt x="89" y="356"/>
                  </a:lnTo>
                  <a:lnTo>
                    <a:pt x="87" y="356"/>
                  </a:lnTo>
                  <a:lnTo>
                    <a:pt x="87" y="357"/>
                  </a:lnTo>
                  <a:lnTo>
                    <a:pt x="85" y="357"/>
                  </a:lnTo>
                  <a:lnTo>
                    <a:pt x="85" y="356"/>
                  </a:lnTo>
                  <a:lnTo>
                    <a:pt x="85" y="357"/>
                  </a:lnTo>
                  <a:lnTo>
                    <a:pt x="85" y="356"/>
                  </a:lnTo>
                  <a:lnTo>
                    <a:pt x="85" y="357"/>
                  </a:lnTo>
                  <a:lnTo>
                    <a:pt x="85" y="356"/>
                  </a:lnTo>
                  <a:lnTo>
                    <a:pt x="85" y="357"/>
                  </a:lnTo>
                  <a:lnTo>
                    <a:pt x="83" y="357"/>
                  </a:lnTo>
                  <a:lnTo>
                    <a:pt x="83" y="356"/>
                  </a:lnTo>
                  <a:lnTo>
                    <a:pt x="81" y="356"/>
                  </a:lnTo>
                  <a:lnTo>
                    <a:pt x="79" y="356"/>
                  </a:lnTo>
                  <a:lnTo>
                    <a:pt x="81" y="356"/>
                  </a:lnTo>
                  <a:lnTo>
                    <a:pt x="83" y="356"/>
                  </a:lnTo>
                  <a:lnTo>
                    <a:pt x="83" y="357"/>
                  </a:lnTo>
                  <a:lnTo>
                    <a:pt x="85" y="357"/>
                  </a:lnTo>
                  <a:lnTo>
                    <a:pt x="85" y="359"/>
                  </a:lnTo>
                  <a:lnTo>
                    <a:pt x="85" y="357"/>
                  </a:lnTo>
                  <a:lnTo>
                    <a:pt x="85" y="359"/>
                  </a:lnTo>
                  <a:lnTo>
                    <a:pt x="85" y="357"/>
                  </a:lnTo>
                  <a:lnTo>
                    <a:pt x="85" y="359"/>
                  </a:lnTo>
                  <a:lnTo>
                    <a:pt x="85" y="357"/>
                  </a:lnTo>
                  <a:lnTo>
                    <a:pt x="85" y="359"/>
                  </a:lnTo>
                  <a:lnTo>
                    <a:pt x="83" y="359"/>
                  </a:lnTo>
                  <a:lnTo>
                    <a:pt x="85" y="359"/>
                  </a:lnTo>
                  <a:lnTo>
                    <a:pt x="87" y="359"/>
                  </a:lnTo>
                  <a:lnTo>
                    <a:pt x="87" y="361"/>
                  </a:lnTo>
                  <a:lnTo>
                    <a:pt x="87" y="359"/>
                  </a:lnTo>
                  <a:lnTo>
                    <a:pt x="87" y="361"/>
                  </a:lnTo>
                  <a:lnTo>
                    <a:pt x="85" y="361"/>
                  </a:lnTo>
                  <a:lnTo>
                    <a:pt x="87" y="361"/>
                  </a:lnTo>
                  <a:lnTo>
                    <a:pt x="85" y="361"/>
                  </a:lnTo>
                  <a:lnTo>
                    <a:pt x="87" y="361"/>
                  </a:lnTo>
                  <a:lnTo>
                    <a:pt x="85" y="361"/>
                  </a:lnTo>
                  <a:lnTo>
                    <a:pt x="87" y="361"/>
                  </a:lnTo>
                  <a:lnTo>
                    <a:pt x="87" y="363"/>
                  </a:lnTo>
                  <a:lnTo>
                    <a:pt x="85" y="363"/>
                  </a:lnTo>
                  <a:lnTo>
                    <a:pt x="87" y="363"/>
                  </a:lnTo>
                  <a:lnTo>
                    <a:pt x="85" y="363"/>
                  </a:lnTo>
                  <a:lnTo>
                    <a:pt x="87" y="363"/>
                  </a:lnTo>
                  <a:lnTo>
                    <a:pt x="85" y="363"/>
                  </a:lnTo>
                  <a:lnTo>
                    <a:pt x="87" y="363"/>
                  </a:lnTo>
                  <a:lnTo>
                    <a:pt x="85" y="363"/>
                  </a:lnTo>
                  <a:lnTo>
                    <a:pt x="87" y="363"/>
                  </a:lnTo>
                  <a:lnTo>
                    <a:pt x="85" y="363"/>
                  </a:lnTo>
                  <a:lnTo>
                    <a:pt x="87" y="363"/>
                  </a:lnTo>
                  <a:lnTo>
                    <a:pt x="87" y="365"/>
                  </a:lnTo>
                  <a:lnTo>
                    <a:pt x="87" y="363"/>
                  </a:lnTo>
                  <a:lnTo>
                    <a:pt x="85" y="363"/>
                  </a:lnTo>
                  <a:lnTo>
                    <a:pt x="87" y="363"/>
                  </a:lnTo>
                  <a:lnTo>
                    <a:pt x="85" y="363"/>
                  </a:lnTo>
                  <a:lnTo>
                    <a:pt x="85" y="365"/>
                  </a:lnTo>
                  <a:lnTo>
                    <a:pt x="85" y="363"/>
                  </a:lnTo>
                  <a:lnTo>
                    <a:pt x="85" y="365"/>
                  </a:lnTo>
                  <a:lnTo>
                    <a:pt x="87" y="365"/>
                  </a:lnTo>
                  <a:lnTo>
                    <a:pt x="85" y="365"/>
                  </a:lnTo>
                  <a:lnTo>
                    <a:pt x="83" y="365"/>
                  </a:lnTo>
                  <a:lnTo>
                    <a:pt x="83" y="363"/>
                  </a:lnTo>
                  <a:lnTo>
                    <a:pt x="83" y="365"/>
                  </a:lnTo>
                  <a:lnTo>
                    <a:pt x="85" y="365"/>
                  </a:lnTo>
                  <a:lnTo>
                    <a:pt x="83" y="365"/>
                  </a:lnTo>
                  <a:lnTo>
                    <a:pt x="85" y="365"/>
                  </a:lnTo>
                  <a:lnTo>
                    <a:pt x="85" y="367"/>
                  </a:lnTo>
                  <a:lnTo>
                    <a:pt x="85" y="365"/>
                  </a:lnTo>
                  <a:lnTo>
                    <a:pt x="85" y="367"/>
                  </a:lnTo>
                  <a:lnTo>
                    <a:pt x="87" y="367"/>
                  </a:lnTo>
                  <a:lnTo>
                    <a:pt x="85" y="367"/>
                  </a:lnTo>
                  <a:lnTo>
                    <a:pt x="85" y="369"/>
                  </a:lnTo>
                  <a:lnTo>
                    <a:pt x="87" y="369"/>
                  </a:lnTo>
                  <a:lnTo>
                    <a:pt x="85" y="369"/>
                  </a:lnTo>
                  <a:lnTo>
                    <a:pt x="87" y="369"/>
                  </a:lnTo>
                  <a:lnTo>
                    <a:pt x="85" y="369"/>
                  </a:lnTo>
                  <a:lnTo>
                    <a:pt x="87" y="369"/>
                  </a:lnTo>
                  <a:lnTo>
                    <a:pt x="85" y="369"/>
                  </a:lnTo>
                  <a:lnTo>
                    <a:pt x="83" y="369"/>
                  </a:lnTo>
                  <a:lnTo>
                    <a:pt x="83" y="367"/>
                  </a:lnTo>
                  <a:lnTo>
                    <a:pt x="83" y="369"/>
                  </a:lnTo>
                  <a:lnTo>
                    <a:pt x="85" y="369"/>
                  </a:lnTo>
                  <a:lnTo>
                    <a:pt x="83" y="369"/>
                  </a:lnTo>
                  <a:lnTo>
                    <a:pt x="85" y="369"/>
                  </a:lnTo>
                  <a:lnTo>
                    <a:pt x="85" y="371"/>
                  </a:lnTo>
                  <a:lnTo>
                    <a:pt x="85" y="369"/>
                  </a:lnTo>
                  <a:lnTo>
                    <a:pt x="87" y="369"/>
                  </a:lnTo>
                  <a:lnTo>
                    <a:pt x="85" y="369"/>
                  </a:lnTo>
                  <a:lnTo>
                    <a:pt x="87" y="369"/>
                  </a:lnTo>
                  <a:lnTo>
                    <a:pt x="85" y="369"/>
                  </a:lnTo>
                  <a:lnTo>
                    <a:pt x="87" y="369"/>
                  </a:lnTo>
                  <a:lnTo>
                    <a:pt x="85" y="369"/>
                  </a:lnTo>
                  <a:lnTo>
                    <a:pt x="87" y="369"/>
                  </a:lnTo>
                  <a:lnTo>
                    <a:pt x="85" y="369"/>
                  </a:lnTo>
                  <a:lnTo>
                    <a:pt x="85" y="371"/>
                  </a:lnTo>
                  <a:lnTo>
                    <a:pt x="85" y="373"/>
                  </a:lnTo>
                  <a:lnTo>
                    <a:pt x="85" y="371"/>
                  </a:lnTo>
                  <a:lnTo>
                    <a:pt x="85" y="373"/>
                  </a:lnTo>
                  <a:lnTo>
                    <a:pt x="85" y="371"/>
                  </a:lnTo>
                  <a:lnTo>
                    <a:pt x="85" y="373"/>
                  </a:lnTo>
                  <a:lnTo>
                    <a:pt x="85" y="371"/>
                  </a:lnTo>
                  <a:lnTo>
                    <a:pt x="85" y="373"/>
                  </a:lnTo>
                  <a:lnTo>
                    <a:pt x="83" y="373"/>
                  </a:lnTo>
                  <a:lnTo>
                    <a:pt x="83" y="371"/>
                  </a:lnTo>
                  <a:lnTo>
                    <a:pt x="83" y="373"/>
                  </a:lnTo>
                  <a:lnTo>
                    <a:pt x="83" y="371"/>
                  </a:lnTo>
                  <a:lnTo>
                    <a:pt x="83" y="369"/>
                  </a:lnTo>
                  <a:lnTo>
                    <a:pt x="83" y="371"/>
                  </a:lnTo>
                  <a:lnTo>
                    <a:pt x="83" y="369"/>
                  </a:lnTo>
                  <a:lnTo>
                    <a:pt x="81" y="369"/>
                  </a:lnTo>
                  <a:lnTo>
                    <a:pt x="81" y="371"/>
                  </a:lnTo>
                  <a:lnTo>
                    <a:pt x="83" y="371"/>
                  </a:lnTo>
                  <a:lnTo>
                    <a:pt x="83" y="373"/>
                  </a:lnTo>
                  <a:lnTo>
                    <a:pt x="83" y="371"/>
                  </a:lnTo>
                  <a:lnTo>
                    <a:pt x="83" y="373"/>
                  </a:lnTo>
                  <a:lnTo>
                    <a:pt x="83" y="371"/>
                  </a:lnTo>
                  <a:lnTo>
                    <a:pt x="81" y="371"/>
                  </a:lnTo>
                  <a:lnTo>
                    <a:pt x="83" y="371"/>
                  </a:lnTo>
                  <a:lnTo>
                    <a:pt x="81" y="371"/>
                  </a:lnTo>
                  <a:lnTo>
                    <a:pt x="81" y="373"/>
                  </a:lnTo>
                  <a:lnTo>
                    <a:pt x="83" y="373"/>
                  </a:lnTo>
                  <a:lnTo>
                    <a:pt x="81" y="373"/>
                  </a:lnTo>
                  <a:lnTo>
                    <a:pt x="83" y="373"/>
                  </a:lnTo>
                  <a:lnTo>
                    <a:pt x="83" y="375"/>
                  </a:lnTo>
                  <a:lnTo>
                    <a:pt x="85" y="375"/>
                  </a:lnTo>
                  <a:lnTo>
                    <a:pt x="85" y="377"/>
                  </a:lnTo>
                  <a:lnTo>
                    <a:pt x="85" y="375"/>
                  </a:lnTo>
                  <a:lnTo>
                    <a:pt x="83" y="375"/>
                  </a:lnTo>
                  <a:lnTo>
                    <a:pt x="83" y="373"/>
                  </a:lnTo>
                  <a:lnTo>
                    <a:pt x="81" y="373"/>
                  </a:lnTo>
                  <a:lnTo>
                    <a:pt x="81" y="371"/>
                  </a:lnTo>
                  <a:lnTo>
                    <a:pt x="79" y="371"/>
                  </a:lnTo>
                  <a:lnTo>
                    <a:pt x="81" y="371"/>
                  </a:lnTo>
                  <a:lnTo>
                    <a:pt x="81" y="373"/>
                  </a:lnTo>
                  <a:lnTo>
                    <a:pt x="79" y="373"/>
                  </a:lnTo>
                  <a:lnTo>
                    <a:pt x="81" y="373"/>
                  </a:lnTo>
                  <a:lnTo>
                    <a:pt x="81" y="375"/>
                  </a:lnTo>
                  <a:lnTo>
                    <a:pt x="83" y="375"/>
                  </a:lnTo>
                  <a:lnTo>
                    <a:pt x="83" y="377"/>
                  </a:lnTo>
                  <a:lnTo>
                    <a:pt x="83" y="375"/>
                  </a:lnTo>
                  <a:lnTo>
                    <a:pt x="83" y="377"/>
                  </a:lnTo>
                  <a:lnTo>
                    <a:pt x="85" y="377"/>
                  </a:lnTo>
                  <a:lnTo>
                    <a:pt x="83" y="377"/>
                  </a:lnTo>
                  <a:lnTo>
                    <a:pt x="85" y="377"/>
                  </a:lnTo>
                  <a:lnTo>
                    <a:pt x="83" y="377"/>
                  </a:lnTo>
                  <a:lnTo>
                    <a:pt x="85" y="377"/>
                  </a:lnTo>
                  <a:lnTo>
                    <a:pt x="85" y="379"/>
                  </a:lnTo>
                  <a:lnTo>
                    <a:pt x="85" y="377"/>
                  </a:lnTo>
                  <a:lnTo>
                    <a:pt x="85" y="379"/>
                  </a:lnTo>
                  <a:lnTo>
                    <a:pt x="85" y="377"/>
                  </a:lnTo>
                  <a:lnTo>
                    <a:pt x="83" y="377"/>
                  </a:lnTo>
                  <a:lnTo>
                    <a:pt x="81" y="377"/>
                  </a:lnTo>
                  <a:lnTo>
                    <a:pt x="83" y="377"/>
                  </a:lnTo>
                  <a:lnTo>
                    <a:pt x="83" y="379"/>
                  </a:lnTo>
                  <a:lnTo>
                    <a:pt x="83" y="377"/>
                  </a:lnTo>
                  <a:lnTo>
                    <a:pt x="83" y="379"/>
                  </a:lnTo>
                  <a:lnTo>
                    <a:pt x="83" y="381"/>
                  </a:lnTo>
                  <a:lnTo>
                    <a:pt x="83" y="379"/>
                  </a:lnTo>
                  <a:lnTo>
                    <a:pt x="83" y="381"/>
                  </a:lnTo>
                  <a:lnTo>
                    <a:pt x="83" y="379"/>
                  </a:lnTo>
                  <a:lnTo>
                    <a:pt x="81" y="379"/>
                  </a:lnTo>
                  <a:lnTo>
                    <a:pt x="81" y="381"/>
                  </a:lnTo>
                  <a:lnTo>
                    <a:pt x="83" y="381"/>
                  </a:lnTo>
                  <a:lnTo>
                    <a:pt x="81" y="381"/>
                  </a:lnTo>
                  <a:lnTo>
                    <a:pt x="83" y="381"/>
                  </a:lnTo>
                  <a:lnTo>
                    <a:pt x="81" y="381"/>
                  </a:lnTo>
                  <a:lnTo>
                    <a:pt x="83" y="381"/>
                  </a:lnTo>
                  <a:lnTo>
                    <a:pt x="83" y="382"/>
                  </a:lnTo>
                  <a:lnTo>
                    <a:pt x="83" y="381"/>
                  </a:lnTo>
                  <a:lnTo>
                    <a:pt x="83" y="382"/>
                  </a:lnTo>
                  <a:lnTo>
                    <a:pt x="83" y="381"/>
                  </a:lnTo>
                  <a:lnTo>
                    <a:pt x="83" y="382"/>
                  </a:lnTo>
                  <a:lnTo>
                    <a:pt x="83" y="381"/>
                  </a:lnTo>
                  <a:lnTo>
                    <a:pt x="83" y="382"/>
                  </a:lnTo>
                  <a:lnTo>
                    <a:pt x="85" y="382"/>
                  </a:lnTo>
                  <a:lnTo>
                    <a:pt x="83" y="382"/>
                  </a:lnTo>
                  <a:lnTo>
                    <a:pt x="85" y="382"/>
                  </a:lnTo>
                  <a:lnTo>
                    <a:pt x="85" y="384"/>
                  </a:lnTo>
                  <a:lnTo>
                    <a:pt x="83" y="384"/>
                  </a:lnTo>
                  <a:lnTo>
                    <a:pt x="83" y="382"/>
                  </a:lnTo>
                  <a:lnTo>
                    <a:pt x="85" y="382"/>
                  </a:lnTo>
                  <a:lnTo>
                    <a:pt x="83" y="382"/>
                  </a:lnTo>
                  <a:lnTo>
                    <a:pt x="83" y="384"/>
                  </a:lnTo>
                  <a:lnTo>
                    <a:pt x="85" y="384"/>
                  </a:lnTo>
                  <a:lnTo>
                    <a:pt x="83" y="384"/>
                  </a:lnTo>
                  <a:lnTo>
                    <a:pt x="85" y="384"/>
                  </a:lnTo>
                  <a:lnTo>
                    <a:pt x="83" y="384"/>
                  </a:lnTo>
                  <a:lnTo>
                    <a:pt x="85" y="384"/>
                  </a:lnTo>
                  <a:lnTo>
                    <a:pt x="83" y="384"/>
                  </a:lnTo>
                  <a:lnTo>
                    <a:pt x="85" y="384"/>
                  </a:lnTo>
                  <a:lnTo>
                    <a:pt x="83" y="384"/>
                  </a:lnTo>
                  <a:lnTo>
                    <a:pt x="83" y="386"/>
                  </a:lnTo>
                  <a:lnTo>
                    <a:pt x="83" y="384"/>
                  </a:lnTo>
                  <a:lnTo>
                    <a:pt x="83" y="386"/>
                  </a:lnTo>
                  <a:lnTo>
                    <a:pt x="81" y="386"/>
                  </a:lnTo>
                  <a:lnTo>
                    <a:pt x="83" y="386"/>
                  </a:lnTo>
                  <a:lnTo>
                    <a:pt x="83" y="388"/>
                  </a:lnTo>
                  <a:lnTo>
                    <a:pt x="83" y="386"/>
                  </a:lnTo>
                  <a:lnTo>
                    <a:pt x="83" y="388"/>
                  </a:lnTo>
                  <a:lnTo>
                    <a:pt x="83" y="386"/>
                  </a:lnTo>
                  <a:lnTo>
                    <a:pt x="83" y="388"/>
                  </a:lnTo>
                  <a:lnTo>
                    <a:pt x="83" y="386"/>
                  </a:lnTo>
                  <a:lnTo>
                    <a:pt x="83" y="388"/>
                  </a:lnTo>
                  <a:lnTo>
                    <a:pt x="81" y="388"/>
                  </a:lnTo>
                  <a:lnTo>
                    <a:pt x="83" y="388"/>
                  </a:lnTo>
                  <a:lnTo>
                    <a:pt x="81" y="388"/>
                  </a:lnTo>
                  <a:lnTo>
                    <a:pt x="81" y="390"/>
                  </a:lnTo>
                  <a:lnTo>
                    <a:pt x="81" y="392"/>
                  </a:lnTo>
                  <a:lnTo>
                    <a:pt x="81" y="394"/>
                  </a:lnTo>
                  <a:lnTo>
                    <a:pt x="81" y="392"/>
                  </a:lnTo>
                  <a:lnTo>
                    <a:pt x="81" y="394"/>
                  </a:lnTo>
                  <a:lnTo>
                    <a:pt x="83" y="394"/>
                  </a:lnTo>
                  <a:lnTo>
                    <a:pt x="81" y="394"/>
                  </a:lnTo>
                  <a:lnTo>
                    <a:pt x="83" y="394"/>
                  </a:lnTo>
                  <a:lnTo>
                    <a:pt x="83" y="396"/>
                  </a:lnTo>
                  <a:lnTo>
                    <a:pt x="83" y="394"/>
                  </a:lnTo>
                  <a:lnTo>
                    <a:pt x="83" y="396"/>
                  </a:lnTo>
                  <a:lnTo>
                    <a:pt x="83" y="394"/>
                  </a:lnTo>
                  <a:lnTo>
                    <a:pt x="81" y="394"/>
                  </a:lnTo>
                  <a:lnTo>
                    <a:pt x="81" y="396"/>
                  </a:lnTo>
                  <a:lnTo>
                    <a:pt x="81" y="394"/>
                  </a:lnTo>
                  <a:lnTo>
                    <a:pt x="81" y="396"/>
                  </a:lnTo>
                  <a:lnTo>
                    <a:pt x="81" y="394"/>
                  </a:lnTo>
                  <a:lnTo>
                    <a:pt x="81" y="396"/>
                  </a:lnTo>
                  <a:lnTo>
                    <a:pt x="81" y="394"/>
                  </a:lnTo>
                  <a:lnTo>
                    <a:pt x="81" y="396"/>
                  </a:lnTo>
                  <a:lnTo>
                    <a:pt x="81" y="394"/>
                  </a:lnTo>
                  <a:lnTo>
                    <a:pt x="81" y="396"/>
                  </a:lnTo>
                  <a:lnTo>
                    <a:pt x="81" y="398"/>
                  </a:lnTo>
                  <a:lnTo>
                    <a:pt x="81" y="396"/>
                  </a:lnTo>
                  <a:lnTo>
                    <a:pt x="81" y="398"/>
                  </a:lnTo>
                  <a:lnTo>
                    <a:pt x="81" y="400"/>
                  </a:lnTo>
                  <a:lnTo>
                    <a:pt x="81" y="398"/>
                  </a:lnTo>
                  <a:lnTo>
                    <a:pt x="81" y="400"/>
                  </a:lnTo>
                  <a:lnTo>
                    <a:pt x="81" y="398"/>
                  </a:lnTo>
                  <a:lnTo>
                    <a:pt x="81" y="400"/>
                  </a:lnTo>
                  <a:lnTo>
                    <a:pt x="81" y="398"/>
                  </a:lnTo>
                  <a:lnTo>
                    <a:pt x="81" y="400"/>
                  </a:lnTo>
                  <a:lnTo>
                    <a:pt x="81" y="398"/>
                  </a:lnTo>
                  <a:lnTo>
                    <a:pt x="81" y="400"/>
                  </a:lnTo>
                  <a:lnTo>
                    <a:pt x="79" y="400"/>
                  </a:lnTo>
                  <a:lnTo>
                    <a:pt x="81" y="400"/>
                  </a:lnTo>
                  <a:lnTo>
                    <a:pt x="79" y="400"/>
                  </a:lnTo>
                  <a:lnTo>
                    <a:pt x="81" y="400"/>
                  </a:lnTo>
                  <a:lnTo>
                    <a:pt x="79" y="400"/>
                  </a:lnTo>
                  <a:lnTo>
                    <a:pt x="81" y="400"/>
                  </a:lnTo>
                  <a:lnTo>
                    <a:pt x="81" y="402"/>
                  </a:lnTo>
                  <a:lnTo>
                    <a:pt x="79" y="402"/>
                  </a:lnTo>
                  <a:lnTo>
                    <a:pt x="79" y="400"/>
                  </a:lnTo>
                  <a:lnTo>
                    <a:pt x="79" y="402"/>
                  </a:lnTo>
                  <a:lnTo>
                    <a:pt x="81" y="402"/>
                  </a:lnTo>
                  <a:lnTo>
                    <a:pt x="79" y="402"/>
                  </a:lnTo>
                  <a:lnTo>
                    <a:pt x="81" y="402"/>
                  </a:lnTo>
                  <a:lnTo>
                    <a:pt x="79" y="402"/>
                  </a:lnTo>
                  <a:lnTo>
                    <a:pt x="81" y="402"/>
                  </a:lnTo>
                  <a:lnTo>
                    <a:pt x="79" y="402"/>
                  </a:lnTo>
                  <a:lnTo>
                    <a:pt x="81" y="402"/>
                  </a:lnTo>
                  <a:lnTo>
                    <a:pt x="79" y="402"/>
                  </a:lnTo>
                  <a:lnTo>
                    <a:pt x="79" y="404"/>
                  </a:lnTo>
                  <a:lnTo>
                    <a:pt x="79" y="406"/>
                  </a:lnTo>
                  <a:lnTo>
                    <a:pt x="79" y="404"/>
                  </a:lnTo>
                  <a:lnTo>
                    <a:pt x="79" y="406"/>
                  </a:lnTo>
                  <a:lnTo>
                    <a:pt x="77" y="406"/>
                  </a:lnTo>
                  <a:lnTo>
                    <a:pt x="79" y="406"/>
                  </a:lnTo>
                  <a:lnTo>
                    <a:pt x="77" y="406"/>
                  </a:lnTo>
                  <a:lnTo>
                    <a:pt x="79" y="406"/>
                  </a:lnTo>
                  <a:lnTo>
                    <a:pt x="77" y="406"/>
                  </a:lnTo>
                  <a:lnTo>
                    <a:pt x="77" y="407"/>
                  </a:lnTo>
                  <a:lnTo>
                    <a:pt x="77" y="406"/>
                  </a:lnTo>
                  <a:lnTo>
                    <a:pt x="77" y="407"/>
                  </a:lnTo>
                  <a:lnTo>
                    <a:pt x="77" y="409"/>
                  </a:lnTo>
                  <a:lnTo>
                    <a:pt x="75" y="409"/>
                  </a:lnTo>
                  <a:lnTo>
                    <a:pt x="77" y="409"/>
                  </a:lnTo>
                  <a:lnTo>
                    <a:pt x="75" y="409"/>
                  </a:lnTo>
                  <a:lnTo>
                    <a:pt x="75" y="411"/>
                  </a:lnTo>
                  <a:lnTo>
                    <a:pt x="75" y="413"/>
                  </a:lnTo>
                  <a:lnTo>
                    <a:pt x="75" y="415"/>
                  </a:lnTo>
                  <a:lnTo>
                    <a:pt x="75" y="417"/>
                  </a:lnTo>
                  <a:lnTo>
                    <a:pt x="75" y="415"/>
                  </a:lnTo>
                  <a:lnTo>
                    <a:pt x="75" y="417"/>
                  </a:lnTo>
                  <a:lnTo>
                    <a:pt x="75" y="415"/>
                  </a:lnTo>
                  <a:lnTo>
                    <a:pt x="75" y="417"/>
                  </a:lnTo>
                  <a:lnTo>
                    <a:pt x="75" y="415"/>
                  </a:lnTo>
                  <a:lnTo>
                    <a:pt x="75" y="417"/>
                  </a:lnTo>
                  <a:lnTo>
                    <a:pt x="73" y="417"/>
                  </a:lnTo>
                  <a:lnTo>
                    <a:pt x="73" y="419"/>
                  </a:lnTo>
                  <a:lnTo>
                    <a:pt x="73" y="417"/>
                  </a:lnTo>
                  <a:lnTo>
                    <a:pt x="73" y="419"/>
                  </a:lnTo>
                  <a:lnTo>
                    <a:pt x="71" y="419"/>
                  </a:lnTo>
                  <a:lnTo>
                    <a:pt x="71" y="421"/>
                  </a:lnTo>
                  <a:lnTo>
                    <a:pt x="71" y="419"/>
                  </a:lnTo>
                  <a:lnTo>
                    <a:pt x="71" y="421"/>
                  </a:lnTo>
                  <a:lnTo>
                    <a:pt x="71" y="419"/>
                  </a:lnTo>
                  <a:lnTo>
                    <a:pt x="71" y="421"/>
                  </a:lnTo>
                  <a:lnTo>
                    <a:pt x="71" y="419"/>
                  </a:lnTo>
                  <a:lnTo>
                    <a:pt x="69" y="419"/>
                  </a:lnTo>
                  <a:lnTo>
                    <a:pt x="71" y="419"/>
                  </a:lnTo>
                  <a:lnTo>
                    <a:pt x="69" y="419"/>
                  </a:lnTo>
                  <a:lnTo>
                    <a:pt x="69" y="417"/>
                  </a:lnTo>
                  <a:lnTo>
                    <a:pt x="69" y="419"/>
                  </a:lnTo>
                  <a:lnTo>
                    <a:pt x="69" y="417"/>
                  </a:lnTo>
                  <a:lnTo>
                    <a:pt x="68" y="417"/>
                  </a:lnTo>
                  <a:lnTo>
                    <a:pt x="69" y="417"/>
                  </a:lnTo>
                  <a:lnTo>
                    <a:pt x="68" y="417"/>
                  </a:lnTo>
                  <a:lnTo>
                    <a:pt x="68" y="419"/>
                  </a:lnTo>
                  <a:lnTo>
                    <a:pt x="68" y="417"/>
                  </a:lnTo>
                  <a:lnTo>
                    <a:pt x="68" y="419"/>
                  </a:lnTo>
                  <a:lnTo>
                    <a:pt x="68" y="417"/>
                  </a:lnTo>
                  <a:lnTo>
                    <a:pt x="68" y="419"/>
                  </a:lnTo>
                  <a:lnTo>
                    <a:pt x="68" y="417"/>
                  </a:lnTo>
                  <a:lnTo>
                    <a:pt x="68" y="419"/>
                  </a:lnTo>
                  <a:lnTo>
                    <a:pt x="66" y="419"/>
                  </a:lnTo>
                  <a:lnTo>
                    <a:pt x="66" y="417"/>
                  </a:lnTo>
                  <a:lnTo>
                    <a:pt x="66" y="419"/>
                  </a:lnTo>
                  <a:lnTo>
                    <a:pt x="66" y="417"/>
                  </a:lnTo>
                  <a:lnTo>
                    <a:pt x="66" y="419"/>
                  </a:lnTo>
                  <a:lnTo>
                    <a:pt x="64" y="419"/>
                  </a:lnTo>
                  <a:lnTo>
                    <a:pt x="64" y="417"/>
                  </a:lnTo>
                  <a:lnTo>
                    <a:pt x="64" y="419"/>
                  </a:lnTo>
                  <a:lnTo>
                    <a:pt x="64" y="417"/>
                  </a:lnTo>
                  <a:lnTo>
                    <a:pt x="64" y="419"/>
                  </a:lnTo>
                  <a:lnTo>
                    <a:pt x="64" y="417"/>
                  </a:lnTo>
                  <a:lnTo>
                    <a:pt x="64" y="419"/>
                  </a:lnTo>
                  <a:lnTo>
                    <a:pt x="64" y="417"/>
                  </a:lnTo>
                  <a:lnTo>
                    <a:pt x="64" y="419"/>
                  </a:lnTo>
                  <a:lnTo>
                    <a:pt x="62" y="419"/>
                  </a:lnTo>
                  <a:lnTo>
                    <a:pt x="64" y="419"/>
                  </a:lnTo>
                  <a:lnTo>
                    <a:pt x="62" y="419"/>
                  </a:lnTo>
                  <a:lnTo>
                    <a:pt x="60" y="419"/>
                  </a:lnTo>
                  <a:lnTo>
                    <a:pt x="62" y="419"/>
                  </a:lnTo>
                  <a:lnTo>
                    <a:pt x="60" y="419"/>
                  </a:lnTo>
                  <a:lnTo>
                    <a:pt x="62" y="419"/>
                  </a:lnTo>
                  <a:lnTo>
                    <a:pt x="60" y="419"/>
                  </a:lnTo>
                  <a:lnTo>
                    <a:pt x="60" y="417"/>
                  </a:lnTo>
                  <a:lnTo>
                    <a:pt x="60" y="419"/>
                  </a:lnTo>
                  <a:lnTo>
                    <a:pt x="60" y="417"/>
                  </a:lnTo>
                  <a:lnTo>
                    <a:pt x="60" y="419"/>
                  </a:lnTo>
                  <a:lnTo>
                    <a:pt x="58" y="419"/>
                  </a:lnTo>
                  <a:lnTo>
                    <a:pt x="56" y="419"/>
                  </a:lnTo>
                  <a:lnTo>
                    <a:pt x="54" y="419"/>
                  </a:lnTo>
                  <a:lnTo>
                    <a:pt x="54" y="421"/>
                  </a:lnTo>
                  <a:lnTo>
                    <a:pt x="56" y="421"/>
                  </a:lnTo>
                  <a:lnTo>
                    <a:pt x="56" y="423"/>
                  </a:lnTo>
                  <a:lnTo>
                    <a:pt x="54" y="423"/>
                  </a:lnTo>
                  <a:lnTo>
                    <a:pt x="56" y="423"/>
                  </a:lnTo>
                  <a:lnTo>
                    <a:pt x="54" y="423"/>
                  </a:lnTo>
                  <a:lnTo>
                    <a:pt x="56" y="423"/>
                  </a:lnTo>
                  <a:lnTo>
                    <a:pt x="54" y="423"/>
                  </a:lnTo>
                  <a:lnTo>
                    <a:pt x="54" y="421"/>
                  </a:lnTo>
                  <a:lnTo>
                    <a:pt x="52" y="421"/>
                  </a:lnTo>
                  <a:lnTo>
                    <a:pt x="52" y="423"/>
                  </a:lnTo>
                  <a:lnTo>
                    <a:pt x="52" y="421"/>
                  </a:lnTo>
                  <a:lnTo>
                    <a:pt x="52" y="423"/>
                  </a:lnTo>
                  <a:lnTo>
                    <a:pt x="52" y="421"/>
                  </a:lnTo>
                  <a:lnTo>
                    <a:pt x="52" y="423"/>
                  </a:lnTo>
                  <a:lnTo>
                    <a:pt x="50" y="423"/>
                  </a:lnTo>
                  <a:lnTo>
                    <a:pt x="52" y="423"/>
                  </a:lnTo>
                  <a:lnTo>
                    <a:pt x="50" y="423"/>
                  </a:lnTo>
                  <a:lnTo>
                    <a:pt x="50" y="425"/>
                  </a:lnTo>
                  <a:lnTo>
                    <a:pt x="48" y="425"/>
                  </a:lnTo>
                  <a:lnTo>
                    <a:pt x="50" y="425"/>
                  </a:lnTo>
                  <a:lnTo>
                    <a:pt x="48" y="425"/>
                  </a:lnTo>
                  <a:lnTo>
                    <a:pt x="48" y="427"/>
                  </a:lnTo>
                  <a:lnTo>
                    <a:pt x="48" y="429"/>
                  </a:lnTo>
                  <a:lnTo>
                    <a:pt x="48" y="430"/>
                  </a:lnTo>
                  <a:lnTo>
                    <a:pt x="48" y="432"/>
                  </a:lnTo>
                  <a:lnTo>
                    <a:pt x="50" y="432"/>
                  </a:lnTo>
                  <a:lnTo>
                    <a:pt x="50" y="434"/>
                  </a:lnTo>
                  <a:lnTo>
                    <a:pt x="50" y="436"/>
                  </a:lnTo>
                  <a:lnTo>
                    <a:pt x="48" y="436"/>
                  </a:lnTo>
                  <a:lnTo>
                    <a:pt x="50" y="436"/>
                  </a:lnTo>
                  <a:lnTo>
                    <a:pt x="48" y="436"/>
                  </a:lnTo>
                  <a:lnTo>
                    <a:pt x="48" y="438"/>
                  </a:lnTo>
                  <a:lnTo>
                    <a:pt x="46" y="438"/>
                  </a:lnTo>
                  <a:lnTo>
                    <a:pt x="45" y="438"/>
                  </a:lnTo>
                  <a:lnTo>
                    <a:pt x="43" y="438"/>
                  </a:lnTo>
                  <a:lnTo>
                    <a:pt x="41" y="438"/>
                  </a:lnTo>
                  <a:lnTo>
                    <a:pt x="39" y="438"/>
                  </a:lnTo>
                  <a:lnTo>
                    <a:pt x="37" y="438"/>
                  </a:lnTo>
                  <a:lnTo>
                    <a:pt x="37" y="440"/>
                  </a:lnTo>
                  <a:lnTo>
                    <a:pt x="35" y="440"/>
                  </a:lnTo>
                  <a:lnTo>
                    <a:pt x="33" y="440"/>
                  </a:lnTo>
                  <a:lnTo>
                    <a:pt x="33" y="438"/>
                  </a:lnTo>
                  <a:lnTo>
                    <a:pt x="31" y="438"/>
                  </a:lnTo>
                  <a:lnTo>
                    <a:pt x="29" y="438"/>
                  </a:lnTo>
                  <a:lnTo>
                    <a:pt x="29" y="436"/>
                  </a:lnTo>
                  <a:lnTo>
                    <a:pt x="29" y="434"/>
                  </a:lnTo>
                  <a:lnTo>
                    <a:pt x="29" y="432"/>
                  </a:lnTo>
                  <a:lnTo>
                    <a:pt x="29" y="434"/>
                  </a:lnTo>
                  <a:lnTo>
                    <a:pt x="29" y="432"/>
                  </a:lnTo>
                  <a:lnTo>
                    <a:pt x="29" y="434"/>
                  </a:lnTo>
                  <a:lnTo>
                    <a:pt x="29" y="432"/>
                  </a:lnTo>
                  <a:lnTo>
                    <a:pt x="31" y="432"/>
                  </a:lnTo>
                  <a:lnTo>
                    <a:pt x="29" y="432"/>
                  </a:lnTo>
                  <a:lnTo>
                    <a:pt x="31" y="432"/>
                  </a:lnTo>
                  <a:lnTo>
                    <a:pt x="29" y="432"/>
                  </a:lnTo>
                  <a:lnTo>
                    <a:pt x="31" y="432"/>
                  </a:lnTo>
                  <a:lnTo>
                    <a:pt x="31" y="430"/>
                  </a:lnTo>
                  <a:lnTo>
                    <a:pt x="29" y="430"/>
                  </a:lnTo>
                  <a:lnTo>
                    <a:pt x="29" y="429"/>
                  </a:lnTo>
                  <a:lnTo>
                    <a:pt x="29" y="430"/>
                  </a:lnTo>
                  <a:lnTo>
                    <a:pt x="29" y="429"/>
                  </a:lnTo>
                  <a:lnTo>
                    <a:pt x="29" y="427"/>
                  </a:lnTo>
                  <a:lnTo>
                    <a:pt x="27" y="427"/>
                  </a:lnTo>
                  <a:lnTo>
                    <a:pt x="27" y="425"/>
                  </a:lnTo>
                  <a:lnTo>
                    <a:pt x="27" y="423"/>
                  </a:lnTo>
                  <a:lnTo>
                    <a:pt x="25" y="423"/>
                  </a:lnTo>
                  <a:lnTo>
                    <a:pt x="27" y="423"/>
                  </a:lnTo>
                  <a:lnTo>
                    <a:pt x="25" y="423"/>
                  </a:lnTo>
                  <a:lnTo>
                    <a:pt x="25" y="421"/>
                  </a:lnTo>
                  <a:lnTo>
                    <a:pt x="25" y="423"/>
                  </a:lnTo>
                  <a:lnTo>
                    <a:pt x="25" y="421"/>
                  </a:lnTo>
                  <a:lnTo>
                    <a:pt x="25" y="419"/>
                  </a:lnTo>
                  <a:lnTo>
                    <a:pt x="23" y="419"/>
                  </a:lnTo>
                  <a:lnTo>
                    <a:pt x="23" y="417"/>
                  </a:lnTo>
                  <a:lnTo>
                    <a:pt x="23" y="415"/>
                  </a:lnTo>
                  <a:lnTo>
                    <a:pt x="21" y="415"/>
                  </a:lnTo>
                  <a:lnTo>
                    <a:pt x="23" y="415"/>
                  </a:lnTo>
                  <a:lnTo>
                    <a:pt x="25" y="415"/>
                  </a:lnTo>
                  <a:lnTo>
                    <a:pt x="25" y="417"/>
                  </a:lnTo>
                  <a:lnTo>
                    <a:pt x="27" y="417"/>
                  </a:lnTo>
                  <a:lnTo>
                    <a:pt x="27" y="415"/>
                  </a:lnTo>
                  <a:lnTo>
                    <a:pt x="27" y="413"/>
                  </a:lnTo>
                  <a:lnTo>
                    <a:pt x="25" y="413"/>
                  </a:lnTo>
                  <a:lnTo>
                    <a:pt x="25" y="411"/>
                  </a:lnTo>
                  <a:lnTo>
                    <a:pt x="25" y="409"/>
                  </a:lnTo>
                  <a:lnTo>
                    <a:pt x="27" y="409"/>
                  </a:lnTo>
                  <a:lnTo>
                    <a:pt x="27" y="411"/>
                  </a:lnTo>
                  <a:lnTo>
                    <a:pt x="29" y="411"/>
                  </a:lnTo>
                  <a:lnTo>
                    <a:pt x="29" y="409"/>
                  </a:lnTo>
                  <a:lnTo>
                    <a:pt x="29" y="407"/>
                  </a:lnTo>
                  <a:lnTo>
                    <a:pt x="29" y="409"/>
                  </a:lnTo>
                  <a:lnTo>
                    <a:pt x="29" y="407"/>
                  </a:lnTo>
                  <a:lnTo>
                    <a:pt x="29" y="406"/>
                  </a:lnTo>
                  <a:lnTo>
                    <a:pt x="27" y="406"/>
                  </a:lnTo>
                  <a:lnTo>
                    <a:pt x="25" y="406"/>
                  </a:lnTo>
                  <a:lnTo>
                    <a:pt x="25" y="404"/>
                  </a:lnTo>
                  <a:lnTo>
                    <a:pt x="25" y="402"/>
                  </a:lnTo>
                  <a:lnTo>
                    <a:pt x="23" y="402"/>
                  </a:lnTo>
                  <a:lnTo>
                    <a:pt x="25" y="402"/>
                  </a:lnTo>
                  <a:lnTo>
                    <a:pt x="23" y="402"/>
                  </a:lnTo>
                  <a:lnTo>
                    <a:pt x="25" y="402"/>
                  </a:lnTo>
                  <a:lnTo>
                    <a:pt x="23" y="402"/>
                  </a:lnTo>
                  <a:lnTo>
                    <a:pt x="23" y="400"/>
                  </a:lnTo>
                  <a:lnTo>
                    <a:pt x="21" y="400"/>
                  </a:lnTo>
                  <a:lnTo>
                    <a:pt x="23" y="400"/>
                  </a:lnTo>
                  <a:lnTo>
                    <a:pt x="23" y="398"/>
                  </a:lnTo>
                  <a:lnTo>
                    <a:pt x="23" y="400"/>
                  </a:lnTo>
                  <a:lnTo>
                    <a:pt x="21" y="400"/>
                  </a:lnTo>
                  <a:lnTo>
                    <a:pt x="21" y="398"/>
                  </a:lnTo>
                  <a:lnTo>
                    <a:pt x="21" y="400"/>
                  </a:lnTo>
                  <a:lnTo>
                    <a:pt x="21" y="398"/>
                  </a:lnTo>
                  <a:lnTo>
                    <a:pt x="20" y="398"/>
                  </a:lnTo>
                  <a:lnTo>
                    <a:pt x="21" y="398"/>
                  </a:lnTo>
                  <a:lnTo>
                    <a:pt x="20" y="398"/>
                  </a:lnTo>
                  <a:lnTo>
                    <a:pt x="21" y="398"/>
                  </a:lnTo>
                  <a:lnTo>
                    <a:pt x="21" y="396"/>
                  </a:lnTo>
                  <a:lnTo>
                    <a:pt x="20" y="396"/>
                  </a:lnTo>
                  <a:lnTo>
                    <a:pt x="20" y="394"/>
                  </a:lnTo>
                  <a:lnTo>
                    <a:pt x="20" y="392"/>
                  </a:lnTo>
                  <a:lnTo>
                    <a:pt x="20" y="394"/>
                  </a:lnTo>
                  <a:lnTo>
                    <a:pt x="20" y="392"/>
                  </a:lnTo>
                  <a:lnTo>
                    <a:pt x="20" y="394"/>
                  </a:lnTo>
                  <a:lnTo>
                    <a:pt x="20" y="392"/>
                  </a:lnTo>
                  <a:lnTo>
                    <a:pt x="20" y="394"/>
                  </a:lnTo>
                  <a:lnTo>
                    <a:pt x="18" y="394"/>
                  </a:lnTo>
                  <a:lnTo>
                    <a:pt x="18" y="392"/>
                  </a:lnTo>
                  <a:lnTo>
                    <a:pt x="18" y="394"/>
                  </a:lnTo>
                  <a:lnTo>
                    <a:pt x="18" y="392"/>
                  </a:lnTo>
                  <a:lnTo>
                    <a:pt x="20" y="392"/>
                  </a:lnTo>
                  <a:lnTo>
                    <a:pt x="18" y="392"/>
                  </a:lnTo>
                  <a:lnTo>
                    <a:pt x="20" y="392"/>
                  </a:lnTo>
                  <a:lnTo>
                    <a:pt x="18" y="392"/>
                  </a:lnTo>
                  <a:lnTo>
                    <a:pt x="20" y="392"/>
                  </a:lnTo>
                  <a:lnTo>
                    <a:pt x="18" y="392"/>
                  </a:lnTo>
                  <a:lnTo>
                    <a:pt x="20" y="392"/>
                  </a:lnTo>
                  <a:lnTo>
                    <a:pt x="18" y="392"/>
                  </a:lnTo>
                  <a:lnTo>
                    <a:pt x="18" y="390"/>
                  </a:lnTo>
                  <a:lnTo>
                    <a:pt x="16" y="390"/>
                  </a:lnTo>
                  <a:lnTo>
                    <a:pt x="16" y="388"/>
                  </a:lnTo>
                  <a:lnTo>
                    <a:pt x="18" y="388"/>
                  </a:lnTo>
                  <a:lnTo>
                    <a:pt x="18" y="386"/>
                  </a:lnTo>
                  <a:lnTo>
                    <a:pt x="16" y="386"/>
                  </a:lnTo>
                  <a:lnTo>
                    <a:pt x="18" y="386"/>
                  </a:lnTo>
                  <a:lnTo>
                    <a:pt x="18" y="384"/>
                  </a:lnTo>
                  <a:lnTo>
                    <a:pt x="18" y="386"/>
                  </a:lnTo>
                  <a:lnTo>
                    <a:pt x="18" y="384"/>
                  </a:lnTo>
                  <a:lnTo>
                    <a:pt x="18" y="386"/>
                  </a:lnTo>
                  <a:lnTo>
                    <a:pt x="18" y="384"/>
                  </a:lnTo>
                  <a:lnTo>
                    <a:pt x="18" y="386"/>
                  </a:lnTo>
                  <a:lnTo>
                    <a:pt x="18" y="384"/>
                  </a:lnTo>
                  <a:lnTo>
                    <a:pt x="16" y="384"/>
                  </a:lnTo>
                  <a:lnTo>
                    <a:pt x="16" y="386"/>
                  </a:lnTo>
                  <a:lnTo>
                    <a:pt x="16" y="384"/>
                  </a:lnTo>
                  <a:lnTo>
                    <a:pt x="18" y="384"/>
                  </a:lnTo>
                  <a:lnTo>
                    <a:pt x="16" y="384"/>
                  </a:lnTo>
                  <a:lnTo>
                    <a:pt x="16" y="386"/>
                  </a:lnTo>
                  <a:lnTo>
                    <a:pt x="14" y="386"/>
                  </a:lnTo>
                  <a:lnTo>
                    <a:pt x="16" y="386"/>
                  </a:lnTo>
                  <a:lnTo>
                    <a:pt x="14" y="386"/>
                  </a:lnTo>
                  <a:lnTo>
                    <a:pt x="16" y="386"/>
                  </a:lnTo>
                  <a:lnTo>
                    <a:pt x="14" y="386"/>
                  </a:lnTo>
                  <a:lnTo>
                    <a:pt x="14" y="384"/>
                  </a:lnTo>
                  <a:lnTo>
                    <a:pt x="14" y="382"/>
                  </a:lnTo>
                  <a:lnTo>
                    <a:pt x="16" y="382"/>
                  </a:lnTo>
                  <a:lnTo>
                    <a:pt x="14" y="382"/>
                  </a:lnTo>
                  <a:lnTo>
                    <a:pt x="14" y="381"/>
                  </a:lnTo>
                  <a:lnTo>
                    <a:pt x="14" y="379"/>
                  </a:lnTo>
                  <a:lnTo>
                    <a:pt x="14" y="377"/>
                  </a:lnTo>
                  <a:lnTo>
                    <a:pt x="16" y="377"/>
                  </a:lnTo>
                  <a:lnTo>
                    <a:pt x="14" y="377"/>
                  </a:lnTo>
                  <a:lnTo>
                    <a:pt x="12" y="377"/>
                  </a:lnTo>
                  <a:lnTo>
                    <a:pt x="12" y="375"/>
                  </a:lnTo>
                  <a:lnTo>
                    <a:pt x="12" y="377"/>
                  </a:lnTo>
                  <a:lnTo>
                    <a:pt x="12" y="375"/>
                  </a:lnTo>
                  <a:lnTo>
                    <a:pt x="14" y="375"/>
                  </a:lnTo>
                  <a:lnTo>
                    <a:pt x="14" y="373"/>
                  </a:lnTo>
                  <a:lnTo>
                    <a:pt x="16" y="373"/>
                  </a:lnTo>
                  <a:lnTo>
                    <a:pt x="14" y="373"/>
                  </a:lnTo>
                  <a:lnTo>
                    <a:pt x="14" y="375"/>
                  </a:lnTo>
                  <a:lnTo>
                    <a:pt x="12" y="375"/>
                  </a:lnTo>
                  <a:lnTo>
                    <a:pt x="12" y="373"/>
                  </a:lnTo>
                  <a:lnTo>
                    <a:pt x="10" y="373"/>
                  </a:lnTo>
                  <a:lnTo>
                    <a:pt x="12" y="373"/>
                  </a:lnTo>
                  <a:lnTo>
                    <a:pt x="10" y="373"/>
                  </a:lnTo>
                  <a:lnTo>
                    <a:pt x="12" y="373"/>
                  </a:lnTo>
                  <a:lnTo>
                    <a:pt x="10" y="373"/>
                  </a:lnTo>
                  <a:lnTo>
                    <a:pt x="12" y="373"/>
                  </a:lnTo>
                  <a:lnTo>
                    <a:pt x="10" y="373"/>
                  </a:lnTo>
                  <a:lnTo>
                    <a:pt x="12" y="373"/>
                  </a:lnTo>
                  <a:lnTo>
                    <a:pt x="12" y="371"/>
                  </a:lnTo>
                  <a:lnTo>
                    <a:pt x="12" y="369"/>
                  </a:lnTo>
                  <a:lnTo>
                    <a:pt x="12" y="367"/>
                  </a:lnTo>
                  <a:lnTo>
                    <a:pt x="14" y="367"/>
                  </a:lnTo>
                  <a:lnTo>
                    <a:pt x="14" y="365"/>
                  </a:lnTo>
                  <a:lnTo>
                    <a:pt x="12" y="365"/>
                  </a:lnTo>
                  <a:lnTo>
                    <a:pt x="14" y="365"/>
                  </a:lnTo>
                  <a:lnTo>
                    <a:pt x="14" y="363"/>
                  </a:lnTo>
                  <a:lnTo>
                    <a:pt x="14" y="361"/>
                  </a:lnTo>
                  <a:lnTo>
                    <a:pt x="12" y="361"/>
                  </a:lnTo>
                  <a:lnTo>
                    <a:pt x="14" y="361"/>
                  </a:lnTo>
                  <a:lnTo>
                    <a:pt x="12" y="361"/>
                  </a:lnTo>
                  <a:lnTo>
                    <a:pt x="12" y="359"/>
                  </a:lnTo>
                  <a:lnTo>
                    <a:pt x="14" y="359"/>
                  </a:lnTo>
                  <a:lnTo>
                    <a:pt x="12" y="359"/>
                  </a:lnTo>
                  <a:lnTo>
                    <a:pt x="10" y="359"/>
                  </a:lnTo>
                  <a:lnTo>
                    <a:pt x="10" y="361"/>
                  </a:lnTo>
                  <a:lnTo>
                    <a:pt x="8" y="361"/>
                  </a:lnTo>
                  <a:lnTo>
                    <a:pt x="10" y="361"/>
                  </a:lnTo>
                  <a:lnTo>
                    <a:pt x="8" y="361"/>
                  </a:lnTo>
                  <a:lnTo>
                    <a:pt x="8" y="363"/>
                  </a:lnTo>
                  <a:lnTo>
                    <a:pt x="8" y="361"/>
                  </a:lnTo>
                  <a:lnTo>
                    <a:pt x="8" y="359"/>
                  </a:lnTo>
                  <a:lnTo>
                    <a:pt x="10" y="359"/>
                  </a:lnTo>
                  <a:lnTo>
                    <a:pt x="10" y="357"/>
                  </a:lnTo>
                  <a:lnTo>
                    <a:pt x="12" y="357"/>
                  </a:lnTo>
                  <a:lnTo>
                    <a:pt x="10" y="357"/>
                  </a:lnTo>
                  <a:lnTo>
                    <a:pt x="10" y="356"/>
                  </a:lnTo>
                  <a:lnTo>
                    <a:pt x="10" y="357"/>
                  </a:lnTo>
                  <a:lnTo>
                    <a:pt x="10" y="356"/>
                  </a:lnTo>
                  <a:lnTo>
                    <a:pt x="10" y="357"/>
                  </a:lnTo>
                  <a:lnTo>
                    <a:pt x="8" y="357"/>
                  </a:lnTo>
                  <a:lnTo>
                    <a:pt x="10" y="357"/>
                  </a:lnTo>
                  <a:lnTo>
                    <a:pt x="10" y="359"/>
                  </a:lnTo>
                  <a:lnTo>
                    <a:pt x="8" y="359"/>
                  </a:lnTo>
                  <a:lnTo>
                    <a:pt x="8" y="361"/>
                  </a:lnTo>
                  <a:lnTo>
                    <a:pt x="6" y="361"/>
                  </a:lnTo>
                  <a:lnTo>
                    <a:pt x="8" y="361"/>
                  </a:lnTo>
                  <a:lnTo>
                    <a:pt x="6" y="361"/>
                  </a:lnTo>
                  <a:lnTo>
                    <a:pt x="8" y="361"/>
                  </a:lnTo>
                  <a:lnTo>
                    <a:pt x="6" y="361"/>
                  </a:lnTo>
                  <a:lnTo>
                    <a:pt x="8" y="361"/>
                  </a:lnTo>
                  <a:lnTo>
                    <a:pt x="8" y="359"/>
                  </a:lnTo>
                  <a:lnTo>
                    <a:pt x="8" y="361"/>
                  </a:lnTo>
                  <a:lnTo>
                    <a:pt x="6" y="361"/>
                  </a:lnTo>
                  <a:lnTo>
                    <a:pt x="6" y="359"/>
                  </a:lnTo>
                  <a:lnTo>
                    <a:pt x="6" y="361"/>
                  </a:lnTo>
                  <a:lnTo>
                    <a:pt x="6" y="359"/>
                  </a:lnTo>
                  <a:lnTo>
                    <a:pt x="6" y="361"/>
                  </a:lnTo>
                  <a:lnTo>
                    <a:pt x="6" y="359"/>
                  </a:lnTo>
                  <a:lnTo>
                    <a:pt x="8" y="359"/>
                  </a:lnTo>
                  <a:lnTo>
                    <a:pt x="8" y="357"/>
                  </a:lnTo>
                  <a:lnTo>
                    <a:pt x="6" y="357"/>
                  </a:lnTo>
                  <a:lnTo>
                    <a:pt x="6" y="359"/>
                  </a:lnTo>
                  <a:lnTo>
                    <a:pt x="6" y="357"/>
                  </a:lnTo>
                  <a:lnTo>
                    <a:pt x="8" y="357"/>
                  </a:lnTo>
                  <a:lnTo>
                    <a:pt x="8" y="356"/>
                  </a:lnTo>
                  <a:lnTo>
                    <a:pt x="8" y="357"/>
                  </a:lnTo>
                  <a:lnTo>
                    <a:pt x="6" y="357"/>
                  </a:lnTo>
                  <a:lnTo>
                    <a:pt x="6" y="359"/>
                  </a:lnTo>
                  <a:lnTo>
                    <a:pt x="6" y="357"/>
                  </a:lnTo>
                  <a:lnTo>
                    <a:pt x="4" y="357"/>
                  </a:lnTo>
                  <a:lnTo>
                    <a:pt x="6" y="357"/>
                  </a:lnTo>
                  <a:lnTo>
                    <a:pt x="6" y="359"/>
                  </a:lnTo>
                  <a:lnTo>
                    <a:pt x="4" y="359"/>
                  </a:lnTo>
                  <a:lnTo>
                    <a:pt x="6" y="359"/>
                  </a:lnTo>
                  <a:lnTo>
                    <a:pt x="4" y="359"/>
                  </a:lnTo>
                  <a:lnTo>
                    <a:pt x="4" y="357"/>
                  </a:lnTo>
                  <a:lnTo>
                    <a:pt x="4" y="359"/>
                  </a:lnTo>
                  <a:lnTo>
                    <a:pt x="4" y="357"/>
                  </a:lnTo>
                  <a:lnTo>
                    <a:pt x="4" y="356"/>
                  </a:lnTo>
                  <a:lnTo>
                    <a:pt x="4" y="357"/>
                  </a:lnTo>
                  <a:lnTo>
                    <a:pt x="4" y="356"/>
                  </a:lnTo>
                  <a:lnTo>
                    <a:pt x="6" y="356"/>
                  </a:lnTo>
                  <a:lnTo>
                    <a:pt x="4" y="356"/>
                  </a:lnTo>
                  <a:lnTo>
                    <a:pt x="6" y="356"/>
                  </a:lnTo>
                  <a:lnTo>
                    <a:pt x="4" y="356"/>
                  </a:lnTo>
                  <a:lnTo>
                    <a:pt x="6" y="356"/>
                  </a:lnTo>
                  <a:lnTo>
                    <a:pt x="4" y="356"/>
                  </a:lnTo>
                  <a:lnTo>
                    <a:pt x="4" y="354"/>
                  </a:lnTo>
                  <a:lnTo>
                    <a:pt x="6" y="354"/>
                  </a:lnTo>
                  <a:lnTo>
                    <a:pt x="4" y="354"/>
                  </a:lnTo>
                  <a:lnTo>
                    <a:pt x="6" y="354"/>
                  </a:lnTo>
                  <a:lnTo>
                    <a:pt x="4" y="354"/>
                  </a:lnTo>
                  <a:lnTo>
                    <a:pt x="6" y="354"/>
                  </a:lnTo>
                  <a:lnTo>
                    <a:pt x="6" y="352"/>
                  </a:lnTo>
                  <a:lnTo>
                    <a:pt x="4" y="352"/>
                  </a:lnTo>
                  <a:lnTo>
                    <a:pt x="4" y="350"/>
                  </a:lnTo>
                  <a:lnTo>
                    <a:pt x="4" y="352"/>
                  </a:lnTo>
                  <a:lnTo>
                    <a:pt x="4" y="350"/>
                  </a:lnTo>
                  <a:lnTo>
                    <a:pt x="4" y="348"/>
                  </a:lnTo>
                  <a:lnTo>
                    <a:pt x="4" y="350"/>
                  </a:lnTo>
                  <a:lnTo>
                    <a:pt x="4" y="348"/>
                  </a:lnTo>
                  <a:lnTo>
                    <a:pt x="2" y="348"/>
                  </a:lnTo>
                  <a:lnTo>
                    <a:pt x="4" y="348"/>
                  </a:lnTo>
                  <a:lnTo>
                    <a:pt x="2" y="348"/>
                  </a:lnTo>
                  <a:lnTo>
                    <a:pt x="4" y="348"/>
                  </a:lnTo>
                  <a:lnTo>
                    <a:pt x="4" y="346"/>
                  </a:lnTo>
                  <a:lnTo>
                    <a:pt x="4" y="348"/>
                  </a:lnTo>
                  <a:lnTo>
                    <a:pt x="4" y="346"/>
                  </a:lnTo>
                  <a:lnTo>
                    <a:pt x="4" y="348"/>
                  </a:lnTo>
                  <a:lnTo>
                    <a:pt x="4" y="346"/>
                  </a:lnTo>
                  <a:lnTo>
                    <a:pt x="4" y="344"/>
                  </a:lnTo>
                  <a:lnTo>
                    <a:pt x="4" y="346"/>
                  </a:lnTo>
                  <a:lnTo>
                    <a:pt x="4" y="344"/>
                  </a:lnTo>
                  <a:lnTo>
                    <a:pt x="4" y="342"/>
                  </a:lnTo>
                  <a:lnTo>
                    <a:pt x="2" y="342"/>
                  </a:lnTo>
                  <a:lnTo>
                    <a:pt x="4" y="342"/>
                  </a:lnTo>
                  <a:lnTo>
                    <a:pt x="2" y="342"/>
                  </a:lnTo>
                  <a:lnTo>
                    <a:pt x="4" y="342"/>
                  </a:lnTo>
                  <a:lnTo>
                    <a:pt x="2" y="342"/>
                  </a:lnTo>
                  <a:lnTo>
                    <a:pt x="4" y="342"/>
                  </a:lnTo>
                  <a:lnTo>
                    <a:pt x="2" y="342"/>
                  </a:lnTo>
                  <a:lnTo>
                    <a:pt x="2" y="340"/>
                  </a:lnTo>
                  <a:lnTo>
                    <a:pt x="2" y="342"/>
                  </a:lnTo>
                  <a:lnTo>
                    <a:pt x="2" y="340"/>
                  </a:lnTo>
                  <a:lnTo>
                    <a:pt x="4" y="340"/>
                  </a:lnTo>
                  <a:lnTo>
                    <a:pt x="2" y="340"/>
                  </a:lnTo>
                  <a:lnTo>
                    <a:pt x="4" y="340"/>
                  </a:lnTo>
                  <a:lnTo>
                    <a:pt x="4" y="338"/>
                  </a:lnTo>
                  <a:lnTo>
                    <a:pt x="6" y="338"/>
                  </a:lnTo>
                  <a:lnTo>
                    <a:pt x="6" y="340"/>
                  </a:lnTo>
                  <a:lnTo>
                    <a:pt x="8" y="340"/>
                  </a:lnTo>
                  <a:lnTo>
                    <a:pt x="6" y="340"/>
                  </a:lnTo>
                  <a:lnTo>
                    <a:pt x="8" y="340"/>
                  </a:lnTo>
                  <a:lnTo>
                    <a:pt x="8" y="342"/>
                  </a:lnTo>
                  <a:lnTo>
                    <a:pt x="8" y="344"/>
                  </a:lnTo>
                  <a:lnTo>
                    <a:pt x="10" y="344"/>
                  </a:lnTo>
                  <a:lnTo>
                    <a:pt x="10" y="342"/>
                  </a:lnTo>
                  <a:lnTo>
                    <a:pt x="12" y="342"/>
                  </a:lnTo>
                  <a:lnTo>
                    <a:pt x="10" y="342"/>
                  </a:lnTo>
                  <a:lnTo>
                    <a:pt x="12" y="342"/>
                  </a:lnTo>
                  <a:lnTo>
                    <a:pt x="10" y="342"/>
                  </a:lnTo>
                  <a:lnTo>
                    <a:pt x="10" y="340"/>
                  </a:lnTo>
                  <a:lnTo>
                    <a:pt x="12" y="340"/>
                  </a:lnTo>
                  <a:lnTo>
                    <a:pt x="10" y="340"/>
                  </a:lnTo>
                  <a:lnTo>
                    <a:pt x="12" y="340"/>
                  </a:lnTo>
                  <a:lnTo>
                    <a:pt x="12" y="338"/>
                  </a:lnTo>
                  <a:lnTo>
                    <a:pt x="12" y="336"/>
                  </a:lnTo>
                  <a:lnTo>
                    <a:pt x="12" y="334"/>
                  </a:lnTo>
                  <a:lnTo>
                    <a:pt x="14" y="334"/>
                  </a:lnTo>
                  <a:lnTo>
                    <a:pt x="14" y="333"/>
                  </a:lnTo>
                  <a:lnTo>
                    <a:pt x="12" y="333"/>
                  </a:lnTo>
                  <a:lnTo>
                    <a:pt x="12" y="331"/>
                  </a:lnTo>
                  <a:lnTo>
                    <a:pt x="12" y="329"/>
                  </a:lnTo>
                  <a:lnTo>
                    <a:pt x="12" y="327"/>
                  </a:lnTo>
                  <a:lnTo>
                    <a:pt x="12" y="325"/>
                  </a:lnTo>
                  <a:lnTo>
                    <a:pt x="10" y="325"/>
                  </a:lnTo>
                  <a:lnTo>
                    <a:pt x="12" y="323"/>
                  </a:lnTo>
                  <a:lnTo>
                    <a:pt x="14" y="323"/>
                  </a:lnTo>
                  <a:lnTo>
                    <a:pt x="14" y="321"/>
                  </a:lnTo>
                  <a:lnTo>
                    <a:pt x="14" y="319"/>
                  </a:lnTo>
                  <a:lnTo>
                    <a:pt x="14" y="317"/>
                  </a:lnTo>
                  <a:lnTo>
                    <a:pt x="14" y="315"/>
                  </a:lnTo>
                  <a:lnTo>
                    <a:pt x="16" y="315"/>
                  </a:lnTo>
                  <a:lnTo>
                    <a:pt x="18" y="315"/>
                  </a:lnTo>
                  <a:lnTo>
                    <a:pt x="20" y="313"/>
                  </a:lnTo>
                  <a:lnTo>
                    <a:pt x="21" y="313"/>
                  </a:lnTo>
                  <a:lnTo>
                    <a:pt x="21" y="311"/>
                  </a:lnTo>
                  <a:lnTo>
                    <a:pt x="21" y="309"/>
                  </a:lnTo>
                  <a:lnTo>
                    <a:pt x="23" y="309"/>
                  </a:lnTo>
                  <a:lnTo>
                    <a:pt x="23" y="308"/>
                  </a:lnTo>
                  <a:lnTo>
                    <a:pt x="23" y="306"/>
                  </a:lnTo>
                  <a:lnTo>
                    <a:pt x="23" y="304"/>
                  </a:lnTo>
                  <a:lnTo>
                    <a:pt x="23" y="302"/>
                  </a:lnTo>
                  <a:lnTo>
                    <a:pt x="23" y="300"/>
                  </a:lnTo>
                  <a:lnTo>
                    <a:pt x="23" y="298"/>
                  </a:lnTo>
                  <a:lnTo>
                    <a:pt x="23" y="296"/>
                  </a:lnTo>
                  <a:lnTo>
                    <a:pt x="23" y="294"/>
                  </a:lnTo>
                  <a:lnTo>
                    <a:pt x="23" y="292"/>
                  </a:lnTo>
                  <a:lnTo>
                    <a:pt x="21" y="292"/>
                  </a:lnTo>
                  <a:lnTo>
                    <a:pt x="21" y="290"/>
                  </a:lnTo>
                  <a:lnTo>
                    <a:pt x="21" y="288"/>
                  </a:lnTo>
                  <a:lnTo>
                    <a:pt x="20" y="286"/>
                  </a:lnTo>
                  <a:lnTo>
                    <a:pt x="20" y="284"/>
                  </a:lnTo>
                  <a:lnTo>
                    <a:pt x="20" y="283"/>
                  </a:lnTo>
                  <a:lnTo>
                    <a:pt x="20" y="281"/>
                  </a:lnTo>
                  <a:lnTo>
                    <a:pt x="21" y="281"/>
                  </a:lnTo>
                  <a:lnTo>
                    <a:pt x="23" y="281"/>
                  </a:lnTo>
                  <a:lnTo>
                    <a:pt x="25" y="281"/>
                  </a:lnTo>
                  <a:lnTo>
                    <a:pt x="25" y="279"/>
                  </a:lnTo>
                  <a:lnTo>
                    <a:pt x="27" y="277"/>
                  </a:lnTo>
                  <a:lnTo>
                    <a:pt x="27" y="275"/>
                  </a:lnTo>
                  <a:lnTo>
                    <a:pt x="27" y="273"/>
                  </a:lnTo>
                  <a:lnTo>
                    <a:pt x="27" y="271"/>
                  </a:lnTo>
                  <a:lnTo>
                    <a:pt x="27" y="269"/>
                  </a:lnTo>
                  <a:lnTo>
                    <a:pt x="25" y="269"/>
                  </a:lnTo>
                  <a:lnTo>
                    <a:pt x="25" y="267"/>
                  </a:lnTo>
                  <a:lnTo>
                    <a:pt x="23" y="265"/>
                  </a:lnTo>
                  <a:lnTo>
                    <a:pt x="21" y="265"/>
                  </a:lnTo>
                  <a:lnTo>
                    <a:pt x="21" y="263"/>
                  </a:lnTo>
                  <a:lnTo>
                    <a:pt x="20" y="263"/>
                  </a:lnTo>
                  <a:lnTo>
                    <a:pt x="20" y="261"/>
                  </a:lnTo>
                  <a:lnTo>
                    <a:pt x="18" y="261"/>
                  </a:lnTo>
                  <a:lnTo>
                    <a:pt x="18" y="260"/>
                  </a:lnTo>
                  <a:lnTo>
                    <a:pt x="18" y="258"/>
                  </a:lnTo>
                  <a:lnTo>
                    <a:pt x="18" y="256"/>
                  </a:lnTo>
                  <a:lnTo>
                    <a:pt x="18" y="254"/>
                  </a:lnTo>
                  <a:lnTo>
                    <a:pt x="18" y="252"/>
                  </a:lnTo>
                  <a:lnTo>
                    <a:pt x="20" y="252"/>
                  </a:lnTo>
                  <a:lnTo>
                    <a:pt x="20" y="250"/>
                  </a:lnTo>
                  <a:lnTo>
                    <a:pt x="20" y="248"/>
                  </a:lnTo>
                  <a:lnTo>
                    <a:pt x="20" y="246"/>
                  </a:lnTo>
                  <a:lnTo>
                    <a:pt x="20" y="244"/>
                  </a:lnTo>
                  <a:lnTo>
                    <a:pt x="20" y="242"/>
                  </a:lnTo>
                  <a:lnTo>
                    <a:pt x="20" y="240"/>
                  </a:lnTo>
                  <a:lnTo>
                    <a:pt x="18" y="240"/>
                  </a:lnTo>
                  <a:lnTo>
                    <a:pt x="18" y="238"/>
                  </a:lnTo>
                  <a:lnTo>
                    <a:pt x="18" y="236"/>
                  </a:lnTo>
                  <a:lnTo>
                    <a:pt x="18" y="235"/>
                  </a:lnTo>
                  <a:lnTo>
                    <a:pt x="16" y="233"/>
                  </a:lnTo>
                  <a:lnTo>
                    <a:pt x="16" y="231"/>
                  </a:lnTo>
                  <a:lnTo>
                    <a:pt x="18" y="231"/>
                  </a:lnTo>
                  <a:lnTo>
                    <a:pt x="18" y="229"/>
                  </a:lnTo>
                  <a:lnTo>
                    <a:pt x="18" y="227"/>
                  </a:lnTo>
                  <a:lnTo>
                    <a:pt x="16" y="223"/>
                  </a:lnTo>
                  <a:lnTo>
                    <a:pt x="18" y="221"/>
                  </a:lnTo>
                  <a:lnTo>
                    <a:pt x="18" y="219"/>
                  </a:lnTo>
                  <a:lnTo>
                    <a:pt x="20" y="219"/>
                  </a:lnTo>
                  <a:lnTo>
                    <a:pt x="18" y="219"/>
                  </a:lnTo>
                  <a:lnTo>
                    <a:pt x="18" y="217"/>
                  </a:lnTo>
                  <a:lnTo>
                    <a:pt x="18" y="215"/>
                  </a:lnTo>
                  <a:lnTo>
                    <a:pt x="16" y="215"/>
                  </a:lnTo>
                  <a:lnTo>
                    <a:pt x="16" y="213"/>
                  </a:lnTo>
                  <a:lnTo>
                    <a:pt x="16" y="212"/>
                  </a:lnTo>
                  <a:lnTo>
                    <a:pt x="16" y="210"/>
                  </a:lnTo>
                  <a:lnTo>
                    <a:pt x="16" y="208"/>
                  </a:lnTo>
                  <a:lnTo>
                    <a:pt x="18" y="208"/>
                  </a:lnTo>
                  <a:lnTo>
                    <a:pt x="18" y="206"/>
                  </a:lnTo>
                  <a:lnTo>
                    <a:pt x="18" y="204"/>
                  </a:lnTo>
                  <a:lnTo>
                    <a:pt x="18" y="202"/>
                  </a:lnTo>
                  <a:lnTo>
                    <a:pt x="18" y="200"/>
                  </a:lnTo>
                  <a:lnTo>
                    <a:pt x="20" y="200"/>
                  </a:lnTo>
                  <a:lnTo>
                    <a:pt x="20" y="198"/>
                  </a:lnTo>
                  <a:lnTo>
                    <a:pt x="20" y="196"/>
                  </a:lnTo>
                  <a:lnTo>
                    <a:pt x="21" y="196"/>
                  </a:lnTo>
                  <a:lnTo>
                    <a:pt x="21" y="194"/>
                  </a:lnTo>
                  <a:lnTo>
                    <a:pt x="21" y="192"/>
                  </a:lnTo>
                  <a:lnTo>
                    <a:pt x="23" y="192"/>
                  </a:lnTo>
                  <a:lnTo>
                    <a:pt x="23" y="190"/>
                  </a:lnTo>
                  <a:lnTo>
                    <a:pt x="25" y="190"/>
                  </a:lnTo>
                  <a:lnTo>
                    <a:pt x="25" y="188"/>
                  </a:lnTo>
                  <a:lnTo>
                    <a:pt x="27" y="187"/>
                  </a:lnTo>
                  <a:lnTo>
                    <a:pt x="29" y="185"/>
                  </a:lnTo>
                  <a:lnTo>
                    <a:pt x="31" y="185"/>
                  </a:lnTo>
                  <a:lnTo>
                    <a:pt x="33" y="185"/>
                  </a:lnTo>
                  <a:lnTo>
                    <a:pt x="35" y="185"/>
                  </a:lnTo>
                  <a:lnTo>
                    <a:pt x="37" y="185"/>
                  </a:lnTo>
                  <a:lnTo>
                    <a:pt x="39" y="185"/>
                  </a:lnTo>
                  <a:lnTo>
                    <a:pt x="41" y="185"/>
                  </a:lnTo>
                  <a:lnTo>
                    <a:pt x="41" y="187"/>
                  </a:lnTo>
                  <a:lnTo>
                    <a:pt x="43" y="187"/>
                  </a:lnTo>
                  <a:lnTo>
                    <a:pt x="45" y="187"/>
                  </a:lnTo>
                  <a:lnTo>
                    <a:pt x="45" y="185"/>
                  </a:lnTo>
                  <a:lnTo>
                    <a:pt x="46" y="183"/>
                  </a:lnTo>
                  <a:lnTo>
                    <a:pt x="46" y="181"/>
                  </a:lnTo>
                  <a:lnTo>
                    <a:pt x="46" y="179"/>
                  </a:lnTo>
                  <a:lnTo>
                    <a:pt x="46" y="177"/>
                  </a:lnTo>
                  <a:lnTo>
                    <a:pt x="46" y="175"/>
                  </a:lnTo>
                  <a:lnTo>
                    <a:pt x="46" y="173"/>
                  </a:lnTo>
                  <a:lnTo>
                    <a:pt x="46" y="171"/>
                  </a:lnTo>
                  <a:lnTo>
                    <a:pt x="45" y="171"/>
                  </a:lnTo>
                  <a:lnTo>
                    <a:pt x="43" y="169"/>
                  </a:lnTo>
                  <a:lnTo>
                    <a:pt x="41" y="169"/>
                  </a:lnTo>
                  <a:lnTo>
                    <a:pt x="39" y="167"/>
                  </a:lnTo>
                  <a:lnTo>
                    <a:pt x="41" y="165"/>
                  </a:lnTo>
                  <a:lnTo>
                    <a:pt x="41" y="163"/>
                  </a:lnTo>
                  <a:lnTo>
                    <a:pt x="43" y="163"/>
                  </a:lnTo>
                  <a:lnTo>
                    <a:pt x="43" y="162"/>
                  </a:lnTo>
                  <a:lnTo>
                    <a:pt x="43" y="160"/>
                  </a:lnTo>
                  <a:lnTo>
                    <a:pt x="45" y="160"/>
                  </a:lnTo>
                  <a:lnTo>
                    <a:pt x="45" y="158"/>
                  </a:lnTo>
                  <a:lnTo>
                    <a:pt x="45" y="156"/>
                  </a:lnTo>
                  <a:lnTo>
                    <a:pt x="46" y="156"/>
                  </a:lnTo>
                  <a:lnTo>
                    <a:pt x="46" y="154"/>
                  </a:lnTo>
                  <a:lnTo>
                    <a:pt x="48" y="152"/>
                  </a:lnTo>
                  <a:lnTo>
                    <a:pt x="48" y="150"/>
                  </a:lnTo>
                  <a:lnTo>
                    <a:pt x="50" y="148"/>
                  </a:lnTo>
                  <a:lnTo>
                    <a:pt x="50" y="146"/>
                  </a:lnTo>
                  <a:lnTo>
                    <a:pt x="50" y="144"/>
                  </a:lnTo>
                  <a:lnTo>
                    <a:pt x="52" y="142"/>
                  </a:lnTo>
                  <a:lnTo>
                    <a:pt x="52" y="140"/>
                  </a:lnTo>
                  <a:lnTo>
                    <a:pt x="52" y="139"/>
                  </a:lnTo>
                  <a:lnTo>
                    <a:pt x="52" y="137"/>
                  </a:lnTo>
                  <a:lnTo>
                    <a:pt x="52" y="135"/>
                  </a:lnTo>
                  <a:lnTo>
                    <a:pt x="52" y="133"/>
                  </a:lnTo>
                  <a:lnTo>
                    <a:pt x="52" y="131"/>
                  </a:lnTo>
                  <a:lnTo>
                    <a:pt x="52" y="129"/>
                  </a:lnTo>
                  <a:lnTo>
                    <a:pt x="52" y="127"/>
                  </a:lnTo>
                  <a:lnTo>
                    <a:pt x="54" y="125"/>
                  </a:lnTo>
                  <a:lnTo>
                    <a:pt x="54" y="123"/>
                  </a:lnTo>
                  <a:lnTo>
                    <a:pt x="54" y="121"/>
                  </a:lnTo>
                  <a:lnTo>
                    <a:pt x="52" y="121"/>
                  </a:lnTo>
                  <a:lnTo>
                    <a:pt x="52" y="119"/>
                  </a:lnTo>
                  <a:lnTo>
                    <a:pt x="52" y="117"/>
                  </a:lnTo>
                  <a:lnTo>
                    <a:pt x="52" y="115"/>
                  </a:lnTo>
                  <a:lnTo>
                    <a:pt x="52" y="114"/>
                  </a:lnTo>
                  <a:lnTo>
                    <a:pt x="54" y="114"/>
                  </a:lnTo>
                  <a:lnTo>
                    <a:pt x="56" y="114"/>
                  </a:lnTo>
                  <a:lnTo>
                    <a:pt x="56" y="112"/>
                  </a:lnTo>
                  <a:lnTo>
                    <a:pt x="58" y="112"/>
                  </a:lnTo>
                  <a:lnTo>
                    <a:pt x="60" y="112"/>
                  </a:lnTo>
                  <a:lnTo>
                    <a:pt x="62" y="112"/>
                  </a:lnTo>
                  <a:lnTo>
                    <a:pt x="62" y="110"/>
                  </a:lnTo>
                  <a:lnTo>
                    <a:pt x="64" y="110"/>
                  </a:lnTo>
                  <a:lnTo>
                    <a:pt x="66" y="108"/>
                  </a:lnTo>
                  <a:lnTo>
                    <a:pt x="66" y="106"/>
                  </a:lnTo>
                  <a:lnTo>
                    <a:pt x="66" y="104"/>
                  </a:lnTo>
                  <a:lnTo>
                    <a:pt x="66" y="102"/>
                  </a:lnTo>
                  <a:lnTo>
                    <a:pt x="66" y="100"/>
                  </a:lnTo>
                  <a:lnTo>
                    <a:pt x="66" y="98"/>
                  </a:lnTo>
                  <a:lnTo>
                    <a:pt x="68" y="98"/>
                  </a:lnTo>
                  <a:lnTo>
                    <a:pt x="68" y="96"/>
                  </a:lnTo>
                  <a:lnTo>
                    <a:pt x="69" y="94"/>
                  </a:lnTo>
                  <a:lnTo>
                    <a:pt x="69" y="92"/>
                  </a:lnTo>
                  <a:lnTo>
                    <a:pt x="71" y="92"/>
                  </a:lnTo>
                  <a:lnTo>
                    <a:pt x="71" y="90"/>
                  </a:lnTo>
                  <a:lnTo>
                    <a:pt x="71" y="89"/>
                  </a:lnTo>
                  <a:lnTo>
                    <a:pt x="73" y="89"/>
                  </a:lnTo>
                  <a:lnTo>
                    <a:pt x="73" y="87"/>
                  </a:lnTo>
                  <a:lnTo>
                    <a:pt x="75" y="85"/>
                  </a:lnTo>
                  <a:lnTo>
                    <a:pt x="75" y="83"/>
                  </a:lnTo>
                  <a:lnTo>
                    <a:pt x="77" y="81"/>
                  </a:lnTo>
                  <a:lnTo>
                    <a:pt x="79" y="81"/>
                  </a:lnTo>
                  <a:lnTo>
                    <a:pt x="79" y="79"/>
                  </a:lnTo>
                  <a:lnTo>
                    <a:pt x="79" y="77"/>
                  </a:lnTo>
                  <a:lnTo>
                    <a:pt x="79" y="75"/>
                  </a:lnTo>
                  <a:lnTo>
                    <a:pt x="79" y="73"/>
                  </a:lnTo>
                  <a:lnTo>
                    <a:pt x="79" y="71"/>
                  </a:lnTo>
                  <a:lnTo>
                    <a:pt x="79" y="69"/>
                  </a:lnTo>
                  <a:lnTo>
                    <a:pt x="77" y="69"/>
                  </a:lnTo>
                  <a:lnTo>
                    <a:pt x="77" y="67"/>
                  </a:lnTo>
                  <a:lnTo>
                    <a:pt x="75" y="66"/>
                  </a:lnTo>
                  <a:lnTo>
                    <a:pt x="75" y="64"/>
                  </a:lnTo>
                  <a:lnTo>
                    <a:pt x="75" y="62"/>
                  </a:lnTo>
                  <a:lnTo>
                    <a:pt x="77" y="62"/>
                  </a:lnTo>
                  <a:lnTo>
                    <a:pt x="79" y="62"/>
                  </a:lnTo>
                  <a:lnTo>
                    <a:pt x="79" y="60"/>
                  </a:lnTo>
                  <a:lnTo>
                    <a:pt x="81" y="60"/>
                  </a:lnTo>
                  <a:lnTo>
                    <a:pt x="81" y="58"/>
                  </a:lnTo>
                  <a:lnTo>
                    <a:pt x="83" y="56"/>
                  </a:lnTo>
                  <a:lnTo>
                    <a:pt x="83" y="54"/>
                  </a:lnTo>
                  <a:lnTo>
                    <a:pt x="83" y="52"/>
                  </a:lnTo>
                  <a:lnTo>
                    <a:pt x="83" y="50"/>
                  </a:lnTo>
                  <a:lnTo>
                    <a:pt x="85" y="48"/>
                  </a:lnTo>
                  <a:lnTo>
                    <a:pt x="85" y="46"/>
                  </a:lnTo>
                  <a:lnTo>
                    <a:pt x="87" y="44"/>
                  </a:lnTo>
                  <a:lnTo>
                    <a:pt x="89" y="44"/>
                  </a:lnTo>
                  <a:lnTo>
                    <a:pt x="89" y="42"/>
                  </a:lnTo>
                  <a:lnTo>
                    <a:pt x="91" y="41"/>
                  </a:lnTo>
                  <a:lnTo>
                    <a:pt x="93" y="41"/>
                  </a:lnTo>
                  <a:lnTo>
                    <a:pt x="93" y="39"/>
                  </a:lnTo>
                  <a:lnTo>
                    <a:pt x="94" y="39"/>
                  </a:lnTo>
                  <a:lnTo>
                    <a:pt x="96" y="41"/>
                  </a:lnTo>
                  <a:lnTo>
                    <a:pt x="98" y="41"/>
                  </a:lnTo>
                  <a:lnTo>
                    <a:pt x="98" y="42"/>
                  </a:lnTo>
                  <a:lnTo>
                    <a:pt x="100" y="42"/>
                  </a:lnTo>
                  <a:lnTo>
                    <a:pt x="102" y="44"/>
                  </a:lnTo>
                  <a:lnTo>
                    <a:pt x="102" y="42"/>
                  </a:lnTo>
                  <a:lnTo>
                    <a:pt x="104" y="41"/>
                  </a:lnTo>
                  <a:lnTo>
                    <a:pt x="104" y="39"/>
                  </a:lnTo>
                  <a:lnTo>
                    <a:pt x="104" y="37"/>
                  </a:lnTo>
                  <a:lnTo>
                    <a:pt x="106" y="37"/>
                  </a:lnTo>
                  <a:lnTo>
                    <a:pt x="106" y="35"/>
                  </a:lnTo>
                  <a:lnTo>
                    <a:pt x="106" y="33"/>
                  </a:lnTo>
                  <a:lnTo>
                    <a:pt x="106" y="31"/>
                  </a:lnTo>
                  <a:lnTo>
                    <a:pt x="104" y="31"/>
                  </a:lnTo>
                  <a:lnTo>
                    <a:pt x="104" y="29"/>
                  </a:lnTo>
                  <a:lnTo>
                    <a:pt x="104" y="27"/>
                  </a:lnTo>
                  <a:lnTo>
                    <a:pt x="104" y="25"/>
                  </a:lnTo>
                  <a:lnTo>
                    <a:pt x="104" y="23"/>
                  </a:lnTo>
                  <a:lnTo>
                    <a:pt x="104" y="21"/>
                  </a:lnTo>
                  <a:lnTo>
                    <a:pt x="106" y="21"/>
                  </a:lnTo>
                  <a:lnTo>
                    <a:pt x="108" y="21"/>
                  </a:lnTo>
                  <a:lnTo>
                    <a:pt x="108" y="19"/>
                  </a:lnTo>
                  <a:lnTo>
                    <a:pt x="110" y="19"/>
                  </a:lnTo>
                  <a:lnTo>
                    <a:pt x="110" y="21"/>
                  </a:lnTo>
                  <a:lnTo>
                    <a:pt x="112" y="21"/>
                  </a:lnTo>
                  <a:lnTo>
                    <a:pt x="112" y="23"/>
                  </a:lnTo>
                  <a:lnTo>
                    <a:pt x="114" y="23"/>
                  </a:lnTo>
                  <a:lnTo>
                    <a:pt x="116" y="23"/>
                  </a:lnTo>
                  <a:lnTo>
                    <a:pt x="117" y="23"/>
                  </a:lnTo>
                  <a:lnTo>
                    <a:pt x="121" y="25"/>
                  </a:lnTo>
                  <a:lnTo>
                    <a:pt x="125" y="25"/>
                  </a:lnTo>
                  <a:lnTo>
                    <a:pt x="125" y="27"/>
                  </a:lnTo>
                  <a:lnTo>
                    <a:pt x="127" y="27"/>
                  </a:lnTo>
                  <a:lnTo>
                    <a:pt x="129" y="27"/>
                  </a:lnTo>
                  <a:lnTo>
                    <a:pt x="131" y="29"/>
                  </a:lnTo>
                  <a:lnTo>
                    <a:pt x="133" y="27"/>
                  </a:lnTo>
                  <a:lnTo>
                    <a:pt x="133" y="25"/>
                  </a:lnTo>
                  <a:lnTo>
                    <a:pt x="135" y="25"/>
                  </a:lnTo>
                  <a:lnTo>
                    <a:pt x="137" y="23"/>
                  </a:lnTo>
                  <a:lnTo>
                    <a:pt x="135" y="23"/>
                  </a:lnTo>
                  <a:lnTo>
                    <a:pt x="133" y="21"/>
                  </a:lnTo>
                  <a:lnTo>
                    <a:pt x="131" y="21"/>
                  </a:lnTo>
                  <a:lnTo>
                    <a:pt x="133" y="19"/>
                  </a:lnTo>
                  <a:lnTo>
                    <a:pt x="135" y="16"/>
                  </a:lnTo>
                  <a:lnTo>
                    <a:pt x="137" y="14"/>
                  </a:lnTo>
                  <a:lnTo>
                    <a:pt x="137" y="12"/>
                  </a:lnTo>
                  <a:lnTo>
                    <a:pt x="137" y="6"/>
                  </a:lnTo>
                  <a:lnTo>
                    <a:pt x="135" y="4"/>
                  </a:lnTo>
                  <a:lnTo>
                    <a:pt x="135" y="2"/>
                  </a:lnTo>
                  <a:lnTo>
                    <a:pt x="133" y="0"/>
                  </a:lnTo>
                  <a:lnTo>
                    <a:pt x="137" y="0"/>
                  </a:lnTo>
                  <a:lnTo>
                    <a:pt x="139" y="0"/>
                  </a:lnTo>
                  <a:lnTo>
                    <a:pt x="140" y="0"/>
                  </a:lnTo>
                  <a:lnTo>
                    <a:pt x="142" y="0"/>
                  </a:lnTo>
                  <a:lnTo>
                    <a:pt x="142" y="2"/>
                  </a:lnTo>
                  <a:lnTo>
                    <a:pt x="144" y="2"/>
                  </a:lnTo>
                  <a:lnTo>
                    <a:pt x="144" y="4"/>
                  </a:lnTo>
                  <a:lnTo>
                    <a:pt x="146" y="4"/>
                  </a:lnTo>
                  <a:lnTo>
                    <a:pt x="146" y="6"/>
                  </a:lnTo>
                  <a:lnTo>
                    <a:pt x="144" y="6"/>
                  </a:lnTo>
                  <a:lnTo>
                    <a:pt x="146" y="6"/>
                  </a:lnTo>
                  <a:lnTo>
                    <a:pt x="146" y="8"/>
                  </a:lnTo>
                  <a:lnTo>
                    <a:pt x="148" y="8"/>
                  </a:lnTo>
                  <a:lnTo>
                    <a:pt x="148" y="10"/>
                  </a:lnTo>
                  <a:lnTo>
                    <a:pt x="150" y="10"/>
                  </a:lnTo>
                  <a:lnTo>
                    <a:pt x="150" y="12"/>
                  </a:lnTo>
                  <a:lnTo>
                    <a:pt x="152" y="12"/>
                  </a:lnTo>
                  <a:lnTo>
                    <a:pt x="152" y="14"/>
                  </a:lnTo>
                  <a:lnTo>
                    <a:pt x="154" y="14"/>
                  </a:lnTo>
                  <a:lnTo>
                    <a:pt x="154" y="16"/>
                  </a:lnTo>
                  <a:lnTo>
                    <a:pt x="156" y="16"/>
                  </a:lnTo>
                  <a:lnTo>
                    <a:pt x="156" y="17"/>
                  </a:lnTo>
                  <a:lnTo>
                    <a:pt x="158" y="17"/>
                  </a:lnTo>
                  <a:lnTo>
                    <a:pt x="158" y="19"/>
                  </a:lnTo>
                  <a:lnTo>
                    <a:pt x="160" y="19"/>
                  </a:lnTo>
                  <a:lnTo>
                    <a:pt x="162" y="19"/>
                  </a:lnTo>
                  <a:lnTo>
                    <a:pt x="162" y="21"/>
                  </a:lnTo>
                  <a:lnTo>
                    <a:pt x="162" y="23"/>
                  </a:lnTo>
                  <a:lnTo>
                    <a:pt x="164" y="23"/>
                  </a:lnTo>
                  <a:lnTo>
                    <a:pt x="165" y="23"/>
                  </a:lnTo>
                  <a:lnTo>
                    <a:pt x="167" y="23"/>
                  </a:lnTo>
                  <a:lnTo>
                    <a:pt x="167" y="25"/>
                  </a:lnTo>
                  <a:lnTo>
                    <a:pt x="169" y="25"/>
                  </a:lnTo>
                  <a:lnTo>
                    <a:pt x="171" y="25"/>
                  </a:lnTo>
                  <a:lnTo>
                    <a:pt x="171" y="27"/>
                  </a:lnTo>
                  <a:lnTo>
                    <a:pt x="173" y="27"/>
                  </a:lnTo>
                  <a:lnTo>
                    <a:pt x="173" y="29"/>
                  </a:lnTo>
                  <a:lnTo>
                    <a:pt x="175" y="29"/>
                  </a:lnTo>
                  <a:lnTo>
                    <a:pt x="177" y="31"/>
                  </a:lnTo>
                  <a:lnTo>
                    <a:pt x="177" y="33"/>
                  </a:lnTo>
                  <a:lnTo>
                    <a:pt x="179" y="33"/>
                  </a:lnTo>
                  <a:lnTo>
                    <a:pt x="179" y="35"/>
                  </a:lnTo>
                  <a:lnTo>
                    <a:pt x="179" y="37"/>
                  </a:lnTo>
                  <a:lnTo>
                    <a:pt x="181" y="37"/>
                  </a:lnTo>
                  <a:lnTo>
                    <a:pt x="181" y="39"/>
                  </a:lnTo>
                  <a:lnTo>
                    <a:pt x="181" y="41"/>
                  </a:lnTo>
                  <a:lnTo>
                    <a:pt x="183" y="41"/>
                  </a:lnTo>
                  <a:lnTo>
                    <a:pt x="183" y="42"/>
                  </a:lnTo>
                  <a:lnTo>
                    <a:pt x="185" y="42"/>
                  </a:lnTo>
                  <a:lnTo>
                    <a:pt x="185" y="44"/>
                  </a:lnTo>
                  <a:lnTo>
                    <a:pt x="187" y="44"/>
                  </a:lnTo>
                  <a:lnTo>
                    <a:pt x="187" y="46"/>
                  </a:lnTo>
                  <a:lnTo>
                    <a:pt x="185" y="46"/>
                  </a:lnTo>
                  <a:lnTo>
                    <a:pt x="185" y="48"/>
                  </a:lnTo>
                  <a:lnTo>
                    <a:pt x="183" y="48"/>
                  </a:lnTo>
                  <a:lnTo>
                    <a:pt x="183" y="50"/>
                  </a:lnTo>
                  <a:lnTo>
                    <a:pt x="183" y="52"/>
                  </a:lnTo>
                  <a:lnTo>
                    <a:pt x="183" y="54"/>
                  </a:lnTo>
                  <a:lnTo>
                    <a:pt x="183" y="56"/>
                  </a:lnTo>
                  <a:lnTo>
                    <a:pt x="185" y="56"/>
                  </a:lnTo>
                  <a:lnTo>
                    <a:pt x="185" y="58"/>
                  </a:lnTo>
                  <a:lnTo>
                    <a:pt x="185" y="60"/>
                  </a:lnTo>
                  <a:lnTo>
                    <a:pt x="183" y="60"/>
                  </a:lnTo>
                  <a:lnTo>
                    <a:pt x="183" y="62"/>
                  </a:lnTo>
                  <a:lnTo>
                    <a:pt x="183" y="64"/>
                  </a:lnTo>
                  <a:lnTo>
                    <a:pt x="185" y="64"/>
                  </a:lnTo>
                  <a:lnTo>
                    <a:pt x="187" y="64"/>
                  </a:lnTo>
                  <a:lnTo>
                    <a:pt x="187" y="66"/>
                  </a:lnTo>
                  <a:lnTo>
                    <a:pt x="187" y="67"/>
                  </a:lnTo>
                  <a:lnTo>
                    <a:pt x="188" y="67"/>
                  </a:lnTo>
                  <a:lnTo>
                    <a:pt x="188" y="69"/>
                  </a:lnTo>
                  <a:lnTo>
                    <a:pt x="187" y="69"/>
                  </a:lnTo>
                  <a:lnTo>
                    <a:pt x="187" y="71"/>
                  </a:lnTo>
                  <a:lnTo>
                    <a:pt x="187" y="69"/>
                  </a:lnTo>
                  <a:lnTo>
                    <a:pt x="187" y="71"/>
                  </a:lnTo>
                  <a:lnTo>
                    <a:pt x="185" y="71"/>
                  </a:lnTo>
                  <a:lnTo>
                    <a:pt x="185" y="73"/>
                  </a:lnTo>
                  <a:lnTo>
                    <a:pt x="185" y="75"/>
                  </a:lnTo>
                  <a:lnTo>
                    <a:pt x="185" y="77"/>
                  </a:lnTo>
                  <a:lnTo>
                    <a:pt x="187" y="77"/>
                  </a:lnTo>
                  <a:lnTo>
                    <a:pt x="187" y="79"/>
                  </a:lnTo>
                  <a:lnTo>
                    <a:pt x="187" y="81"/>
                  </a:lnTo>
                  <a:lnTo>
                    <a:pt x="188" y="81"/>
                  </a:lnTo>
                  <a:lnTo>
                    <a:pt x="188" y="83"/>
                  </a:lnTo>
                  <a:lnTo>
                    <a:pt x="188" y="85"/>
                  </a:lnTo>
                  <a:lnTo>
                    <a:pt x="190" y="85"/>
                  </a:lnTo>
                  <a:lnTo>
                    <a:pt x="190" y="87"/>
                  </a:lnTo>
                  <a:lnTo>
                    <a:pt x="190" y="89"/>
                  </a:lnTo>
                  <a:lnTo>
                    <a:pt x="190" y="90"/>
                  </a:lnTo>
                  <a:lnTo>
                    <a:pt x="188" y="90"/>
                  </a:lnTo>
                  <a:lnTo>
                    <a:pt x="190" y="90"/>
                  </a:lnTo>
                  <a:lnTo>
                    <a:pt x="190" y="92"/>
                  </a:lnTo>
                  <a:lnTo>
                    <a:pt x="188" y="92"/>
                  </a:lnTo>
                  <a:lnTo>
                    <a:pt x="188" y="94"/>
                  </a:lnTo>
                  <a:lnTo>
                    <a:pt x="188" y="96"/>
                  </a:lnTo>
                  <a:lnTo>
                    <a:pt x="188" y="98"/>
                  </a:lnTo>
                  <a:lnTo>
                    <a:pt x="187" y="100"/>
                  </a:lnTo>
                  <a:lnTo>
                    <a:pt x="187" y="102"/>
                  </a:lnTo>
                  <a:lnTo>
                    <a:pt x="187" y="104"/>
                  </a:lnTo>
                  <a:lnTo>
                    <a:pt x="187" y="106"/>
                  </a:lnTo>
                  <a:lnTo>
                    <a:pt x="187" y="108"/>
                  </a:lnTo>
                  <a:lnTo>
                    <a:pt x="187" y="110"/>
                  </a:lnTo>
                  <a:lnTo>
                    <a:pt x="187" y="112"/>
                  </a:lnTo>
                  <a:lnTo>
                    <a:pt x="188" y="112"/>
                  </a:lnTo>
                  <a:lnTo>
                    <a:pt x="190" y="112"/>
                  </a:lnTo>
                  <a:lnTo>
                    <a:pt x="190" y="114"/>
                  </a:lnTo>
                  <a:lnTo>
                    <a:pt x="190" y="115"/>
                  </a:lnTo>
                  <a:lnTo>
                    <a:pt x="190" y="117"/>
                  </a:lnTo>
                  <a:lnTo>
                    <a:pt x="192" y="117"/>
                  </a:lnTo>
                  <a:lnTo>
                    <a:pt x="192" y="119"/>
                  </a:lnTo>
                  <a:lnTo>
                    <a:pt x="192" y="121"/>
                  </a:lnTo>
                  <a:lnTo>
                    <a:pt x="192" y="123"/>
                  </a:lnTo>
                  <a:close/>
                  <a:moveTo>
                    <a:pt x="116" y="371"/>
                  </a:moveTo>
                  <a:lnTo>
                    <a:pt x="117" y="371"/>
                  </a:lnTo>
                  <a:lnTo>
                    <a:pt x="117" y="373"/>
                  </a:lnTo>
                  <a:lnTo>
                    <a:pt x="119" y="373"/>
                  </a:lnTo>
                  <a:lnTo>
                    <a:pt x="119" y="375"/>
                  </a:lnTo>
                  <a:lnTo>
                    <a:pt x="119" y="373"/>
                  </a:lnTo>
                  <a:lnTo>
                    <a:pt x="117" y="373"/>
                  </a:lnTo>
                  <a:lnTo>
                    <a:pt x="117" y="375"/>
                  </a:lnTo>
                  <a:lnTo>
                    <a:pt x="117" y="377"/>
                  </a:lnTo>
                  <a:lnTo>
                    <a:pt x="117" y="375"/>
                  </a:lnTo>
                  <a:lnTo>
                    <a:pt x="117" y="377"/>
                  </a:lnTo>
                  <a:lnTo>
                    <a:pt x="116" y="377"/>
                  </a:lnTo>
                  <a:lnTo>
                    <a:pt x="117" y="377"/>
                  </a:lnTo>
                  <a:lnTo>
                    <a:pt x="116" y="377"/>
                  </a:lnTo>
                  <a:lnTo>
                    <a:pt x="116" y="375"/>
                  </a:lnTo>
                  <a:lnTo>
                    <a:pt x="116" y="377"/>
                  </a:lnTo>
                  <a:lnTo>
                    <a:pt x="116" y="379"/>
                  </a:lnTo>
                  <a:lnTo>
                    <a:pt x="114" y="379"/>
                  </a:lnTo>
                  <a:lnTo>
                    <a:pt x="116" y="379"/>
                  </a:lnTo>
                  <a:lnTo>
                    <a:pt x="116" y="381"/>
                  </a:lnTo>
                  <a:lnTo>
                    <a:pt x="116" y="382"/>
                  </a:lnTo>
                  <a:lnTo>
                    <a:pt x="114" y="382"/>
                  </a:lnTo>
                  <a:lnTo>
                    <a:pt x="116" y="382"/>
                  </a:lnTo>
                  <a:lnTo>
                    <a:pt x="114" y="382"/>
                  </a:lnTo>
                  <a:lnTo>
                    <a:pt x="116" y="382"/>
                  </a:lnTo>
                  <a:lnTo>
                    <a:pt x="114" y="382"/>
                  </a:lnTo>
                  <a:lnTo>
                    <a:pt x="116" y="382"/>
                  </a:lnTo>
                  <a:lnTo>
                    <a:pt x="116" y="384"/>
                  </a:lnTo>
                  <a:lnTo>
                    <a:pt x="117" y="384"/>
                  </a:lnTo>
                  <a:lnTo>
                    <a:pt x="116" y="384"/>
                  </a:lnTo>
                  <a:lnTo>
                    <a:pt x="116" y="386"/>
                  </a:lnTo>
                  <a:lnTo>
                    <a:pt x="116" y="384"/>
                  </a:lnTo>
                  <a:lnTo>
                    <a:pt x="116" y="386"/>
                  </a:lnTo>
                  <a:lnTo>
                    <a:pt x="114" y="386"/>
                  </a:lnTo>
                  <a:lnTo>
                    <a:pt x="114" y="388"/>
                  </a:lnTo>
                  <a:lnTo>
                    <a:pt x="114" y="390"/>
                  </a:lnTo>
                  <a:lnTo>
                    <a:pt x="112" y="390"/>
                  </a:lnTo>
                  <a:lnTo>
                    <a:pt x="112" y="392"/>
                  </a:lnTo>
                  <a:lnTo>
                    <a:pt x="112" y="390"/>
                  </a:lnTo>
                  <a:lnTo>
                    <a:pt x="112" y="392"/>
                  </a:lnTo>
                  <a:lnTo>
                    <a:pt x="110" y="392"/>
                  </a:lnTo>
                  <a:lnTo>
                    <a:pt x="110" y="394"/>
                  </a:lnTo>
                  <a:lnTo>
                    <a:pt x="110" y="392"/>
                  </a:lnTo>
                  <a:lnTo>
                    <a:pt x="110" y="394"/>
                  </a:lnTo>
                  <a:lnTo>
                    <a:pt x="110" y="392"/>
                  </a:lnTo>
                  <a:lnTo>
                    <a:pt x="110" y="394"/>
                  </a:lnTo>
                  <a:lnTo>
                    <a:pt x="110" y="392"/>
                  </a:lnTo>
                  <a:lnTo>
                    <a:pt x="110" y="394"/>
                  </a:lnTo>
                  <a:lnTo>
                    <a:pt x="108" y="394"/>
                  </a:lnTo>
                  <a:lnTo>
                    <a:pt x="108" y="396"/>
                  </a:lnTo>
                  <a:lnTo>
                    <a:pt x="110" y="396"/>
                  </a:lnTo>
                  <a:lnTo>
                    <a:pt x="108" y="396"/>
                  </a:lnTo>
                  <a:lnTo>
                    <a:pt x="108" y="398"/>
                  </a:lnTo>
                  <a:lnTo>
                    <a:pt x="106" y="398"/>
                  </a:lnTo>
                  <a:lnTo>
                    <a:pt x="106" y="396"/>
                  </a:lnTo>
                  <a:lnTo>
                    <a:pt x="108" y="396"/>
                  </a:lnTo>
                  <a:lnTo>
                    <a:pt x="108" y="394"/>
                  </a:lnTo>
                  <a:lnTo>
                    <a:pt x="106" y="394"/>
                  </a:lnTo>
                  <a:lnTo>
                    <a:pt x="106" y="392"/>
                  </a:lnTo>
                  <a:lnTo>
                    <a:pt x="106" y="390"/>
                  </a:lnTo>
                  <a:lnTo>
                    <a:pt x="104" y="390"/>
                  </a:lnTo>
                  <a:lnTo>
                    <a:pt x="106" y="390"/>
                  </a:lnTo>
                  <a:lnTo>
                    <a:pt x="104" y="390"/>
                  </a:lnTo>
                  <a:lnTo>
                    <a:pt x="104" y="388"/>
                  </a:lnTo>
                  <a:lnTo>
                    <a:pt x="104" y="390"/>
                  </a:lnTo>
                  <a:lnTo>
                    <a:pt x="104" y="388"/>
                  </a:lnTo>
                  <a:lnTo>
                    <a:pt x="106" y="388"/>
                  </a:lnTo>
                  <a:lnTo>
                    <a:pt x="106" y="386"/>
                  </a:lnTo>
                  <a:lnTo>
                    <a:pt x="106" y="384"/>
                  </a:lnTo>
                  <a:lnTo>
                    <a:pt x="106" y="386"/>
                  </a:lnTo>
                  <a:lnTo>
                    <a:pt x="106" y="384"/>
                  </a:lnTo>
                  <a:lnTo>
                    <a:pt x="106" y="386"/>
                  </a:lnTo>
                  <a:lnTo>
                    <a:pt x="106" y="384"/>
                  </a:lnTo>
                  <a:lnTo>
                    <a:pt x="104" y="384"/>
                  </a:lnTo>
                  <a:lnTo>
                    <a:pt x="106" y="384"/>
                  </a:lnTo>
                  <a:lnTo>
                    <a:pt x="104" y="384"/>
                  </a:lnTo>
                  <a:lnTo>
                    <a:pt x="106" y="384"/>
                  </a:lnTo>
                  <a:lnTo>
                    <a:pt x="104" y="384"/>
                  </a:lnTo>
                  <a:lnTo>
                    <a:pt x="106" y="384"/>
                  </a:lnTo>
                  <a:lnTo>
                    <a:pt x="104" y="384"/>
                  </a:lnTo>
                  <a:lnTo>
                    <a:pt x="104" y="382"/>
                  </a:lnTo>
                  <a:lnTo>
                    <a:pt x="106" y="382"/>
                  </a:lnTo>
                  <a:lnTo>
                    <a:pt x="104" y="382"/>
                  </a:lnTo>
                  <a:lnTo>
                    <a:pt x="104" y="381"/>
                  </a:lnTo>
                  <a:lnTo>
                    <a:pt x="106" y="381"/>
                  </a:lnTo>
                  <a:lnTo>
                    <a:pt x="106" y="379"/>
                  </a:lnTo>
                  <a:lnTo>
                    <a:pt x="108" y="379"/>
                  </a:lnTo>
                  <a:lnTo>
                    <a:pt x="108" y="377"/>
                  </a:lnTo>
                  <a:lnTo>
                    <a:pt x="110" y="377"/>
                  </a:lnTo>
                  <a:lnTo>
                    <a:pt x="110" y="375"/>
                  </a:lnTo>
                  <a:lnTo>
                    <a:pt x="110" y="373"/>
                  </a:lnTo>
                  <a:lnTo>
                    <a:pt x="112" y="373"/>
                  </a:lnTo>
                  <a:lnTo>
                    <a:pt x="112" y="371"/>
                  </a:lnTo>
                  <a:lnTo>
                    <a:pt x="114" y="371"/>
                  </a:lnTo>
                  <a:lnTo>
                    <a:pt x="114" y="373"/>
                  </a:lnTo>
                  <a:lnTo>
                    <a:pt x="116" y="373"/>
                  </a:lnTo>
                  <a:lnTo>
                    <a:pt x="114" y="373"/>
                  </a:lnTo>
                  <a:lnTo>
                    <a:pt x="116" y="373"/>
                  </a:lnTo>
                  <a:lnTo>
                    <a:pt x="116" y="371"/>
                  </a:lnTo>
                  <a:close/>
                  <a:moveTo>
                    <a:pt x="91" y="386"/>
                  </a:moveTo>
                  <a:lnTo>
                    <a:pt x="91" y="388"/>
                  </a:lnTo>
                  <a:lnTo>
                    <a:pt x="89" y="388"/>
                  </a:lnTo>
                  <a:lnTo>
                    <a:pt x="89" y="390"/>
                  </a:lnTo>
                  <a:lnTo>
                    <a:pt x="91" y="390"/>
                  </a:lnTo>
                  <a:lnTo>
                    <a:pt x="89" y="390"/>
                  </a:lnTo>
                  <a:lnTo>
                    <a:pt x="91" y="390"/>
                  </a:lnTo>
                  <a:lnTo>
                    <a:pt x="89" y="390"/>
                  </a:lnTo>
                  <a:lnTo>
                    <a:pt x="89" y="392"/>
                  </a:lnTo>
                  <a:lnTo>
                    <a:pt x="91" y="392"/>
                  </a:lnTo>
                  <a:lnTo>
                    <a:pt x="89" y="392"/>
                  </a:lnTo>
                  <a:lnTo>
                    <a:pt x="89" y="394"/>
                  </a:lnTo>
                  <a:lnTo>
                    <a:pt x="89" y="392"/>
                  </a:lnTo>
                  <a:lnTo>
                    <a:pt x="89" y="394"/>
                  </a:lnTo>
                  <a:lnTo>
                    <a:pt x="89" y="396"/>
                  </a:lnTo>
                  <a:lnTo>
                    <a:pt x="87" y="396"/>
                  </a:lnTo>
                  <a:lnTo>
                    <a:pt x="87" y="394"/>
                  </a:lnTo>
                  <a:lnTo>
                    <a:pt x="87" y="396"/>
                  </a:lnTo>
                  <a:lnTo>
                    <a:pt x="87" y="394"/>
                  </a:lnTo>
                  <a:lnTo>
                    <a:pt x="87" y="396"/>
                  </a:lnTo>
                  <a:lnTo>
                    <a:pt x="89" y="396"/>
                  </a:lnTo>
                  <a:lnTo>
                    <a:pt x="87" y="396"/>
                  </a:lnTo>
                  <a:lnTo>
                    <a:pt x="87" y="398"/>
                  </a:lnTo>
                  <a:lnTo>
                    <a:pt x="87" y="400"/>
                  </a:lnTo>
                  <a:lnTo>
                    <a:pt x="87" y="402"/>
                  </a:lnTo>
                  <a:lnTo>
                    <a:pt x="85" y="402"/>
                  </a:lnTo>
                  <a:lnTo>
                    <a:pt x="87" y="402"/>
                  </a:lnTo>
                  <a:lnTo>
                    <a:pt x="85" y="402"/>
                  </a:lnTo>
                  <a:lnTo>
                    <a:pt x="85" y="404"/>
                  </a:lnTo>
                  <a:lnTo>
                    <a:pt x="85" y="406"/>
                  </a:lnTo>
                  <a:lnTo>
                    <a:pt x="85" y="407"/>
                  </a:lnTo>
                  <a:lnTo>
                    <a:pt x="83" y="407"/>
                  </a:lnTo>
                  <a:lnTo>
                    <a:pt x="83" y="409"/>
                  </a:lnTo>
                  <a:lnTo>
                    <a:pt x="83" y="411"/>
                  </a:lnTo>
                  <a:lnTo>
                    <a:pt x="83" y="413"/>
                  </a:lnTo>
                  <a:lnTo>
                    <a:pt x="81" y="413"/>
                  </a:lnTo>
                  <a:lnTo>
                    <a:pt x="81" y="415"/>
                  </a:lnTo>
                  <a:lnTo>
                    <a:pt x="81" y="417"/>
                  </a:lnTo>
                  <a:lnTo>
                    <a:pt x="79" y="417"/>
                  </a:lnTo>
                  <a:lnTo>
                    <a:pt x="81" y="417"/>
                  </a:lnTo>
                  <a:lnTo>
                    <a:pt x="79" y="417"/>
                  </a:lnTo>
                  <a:lnTo>
                    <a:pt x="79" y="415"/>
                  </a:lnTo>
                  <a:lnTo>
                    <a:pt x="79" y="413"/>
                  </a:lnTo>
                  <a:lnTo>
                    <a:pt x="79" y="411"/>
                  </a:lnTo>
                  <a:lnTo>
                    <a:pt x="79" y="409"/>
                  </a:lnTo>
                  <a:lnTo>
                    <a:pt x="79" y="407"/>
                  </a:lnTo>
                  <a:lnTo>
                    <a:pt x="81" y="407"/>
                  </a:lnTo>
                  <a:lnTo>
                    <a:pt x="81" y="406"/>
                  </a:lnTo>
                  <a:lnTo>
                    <a:pt x="81" y="404"/>
                  </a:lnTo>
                  <a:lnTo>
                    <a:pt x="81" y="402"/>
                  </a:lnTo>
                  <a:lnTo>
                    <a:pt x="83" y="402"/>
                  </a:lnTo>
                  <a:lnTo>
                    <a:pt x="83" y="400"/>
                  </a:lnTo>
                  <a:lnTo>
                    <a:pt x="85" y="400"/>
                  </a:lnTo>
                  <a:lnTo>
                    <a:pt x="85" y="398"/>
                  </a:lnTo>
                  <a:lnTo>
                    <a:pt x="85" y="396"/>
                  </a:lnTo>
                  <a:lnTo>
                    <a:pt x="87" y="396"/>
                  </a:lnTo>
                  <a:lnTo>
                    <a:pt x="87" y="394"/>
                  </a:lnTo>
                  <a:lnTo>
                    <a:pt x="87" y="392"/>
                  </a:lnTo>
                  <a:lnTo>
                    <a:pt x="87" y="390"/>
                  </a:lnTo>
                  <a:lnTo>
                    <a:pt x="89" y="390"/>
                  </a:lnTo>
                  <a:lnTo>
                    <a:pt x="89" y="388"/>
                  </a:lnTo>
                  <a:lnTo>
                    <a:pt x="89" y="386"/>
                  </a:lnTo>
                  <a:lnTo>
                    <a:pt x="91" y="386"/>
                  </a:lnTo>
                  <a:close/>
                  <a:moveTo>
                    <a:pt x="12" y="359"/>
                  </a:moveTo>
                  <a:lnTo>
                    <a:pt x="12" y="361"/>
                  </a:lnTo>
                  <a:lnTo>
                    <a:pt x="14" y="361"/>
                  </a:lnTo>
                  <a:lnTo>
                    <a:pt x="14" y="363"/>
                  </a:lnTo>
                  <a:lnTo>
                    <a:pt x="14" y="365"/>
                  </a:lnTo>
                  <a:lnTo>
                    <a:pt x="12" y="365"/>
                  </a:lnTo>
                  <a:lnTo>
                    <a:pt x="14" y="365"/>
                  </a:lnTo>
                  <a:lnTo>
                    <a:pt x="12" y="365"/>
                  </a:lnTo>
                  <a:lnTo>
                    <a:pt x="12" y="367"/>
                  </a:lnTo>
                  <a:lnTo>
                    <a:pt x="12" y="365"/>
                  </a:lnTo>
                  <a:lnTo>
                    <a:pt x="10" y="365"/>
                  </a:lnTo>
                  <a:lnTo>
                    <a:pt x="12" y="365"/>
                  </a:lnTo>
                  <a:lnTo>
                    <a:pt x="10" y="365"/>
                  </a:lnTo>
                  <a:lnTo>
                    <a:pt x="10" y="367"/>
                  </a:lnTo>
                  <a:lnTo>
                    <a:pt x="8" y="367"/>
                  </a:lnTo>
                  <a:lnTo>
                    <a:pt x="8" y="365"/>
                  </a:lnTo>
                  <a:lnTo>
                    <a:pt x="8" y="367"/>
                  </a:lnTo>
                  <a:lnTo>
                    <a:pt x="8" y="365"/>
                  </a:lnTo>
                  <a:lnTo>
                    <a:pt x="8" y="367"/>
                  </a:lnTo>
                  <a:lnTo>
                    <a:pt x="8" y="365"/>
                  </a:lnTo>
                  <a:lnTo>
                    <a:pt x="6" y="365"/>
                  </a:lnTo>
                  <a:lnTo>
                    <a:pt x="8" y="365"/>
                  </a:lnTo>
                  <a:lnTo>
                    <a:pt x="8" y="363"/>
                  </a:lnTo>
                  <a:lnTo>
                    <a:pt x="6" y="363"/>
                  </a:lnTo>
                  <a:lnTo>
                    <a:pt x="6" y="365"/>
                  </a:lnTo>
                  <a:lnTo>
                    <a:pt x="6" y="363"/>
                  </a:lnTo>
                  <a:lnTo>
                    <a:pt x="6" y="365"/>
                  </a:lnTo>
                  <a:lnTo>
                    <a:pt x="6" y="363"/>
                  </a:lnTo>
                  <a:lnTo>
                    <a:pt x="8" y="363"/>
                  </a:lnTo>
                  <a:lnTo>
                    <a:pt x="10" y="363"/>
                  </a:lnTo>
                  <a:lnTo>
                    <a:pt x="10" y="361"/>
                  </a:lnTo>
                  <a:lnTo>
                    <a:pt x="12" y="361"/>
                  </a:lnTo>
                  <a:lnTo>
                    <a:pt x="10" y="361"/>
                  </a:lnTo>
                  <a:lnTo>
                    <a:pt x="12" y="361"/>
                  </a:lnTo>
                  <a:lnTo>
                    <a:pt x="10" y="361"/>
                  </a:lnTo>
                  <a:lnTo>
                    <a:pt x="12" y="361"/>
                  </a:lnTo>
                  <a:lnTo>
                    <a:pt x="12" y="359"/>
                  </a:lnTo>
                  <a:close/>
                  <a:moveTo>
                    <a:pt x="110" y="329"/>
                  </a:moveTo>
                  <a:lnTo>
                    <a:pt x="112" y="329"/>
                  </a:lnTo>
                  <a:lnTo>
                    <a:pt x="110" y="329"/>
                  </a:lnTo>
                  <a:lnTo>
                    <a:pt x="110" y="331"/>
                  </a:lnTo>
                  <a:lnTo>
                    <a:pt x="112" y="331"/>
                  </a:lnTo>
                  <a:lnTo>
                    <a:pt x="112" y="329"/>
                  </a:lnTo>
                  <a:lnTo>
                    <a:pt x="112" y="331"/>
                  </a:lnTo>
                  <a:lnTo>
                    <a:pt x="114" y="331"/>
                  </a:lnTo>
                  <a:lnTo>
                    <a:pt x="112" y="331"/>
                  </a:lnTo>
                  <a:lnTo>
                    <a:pt x="114" y="331"/>
                  </a:lnTo>
                  <a:lnTo>
                    <a:pt x="114" y="333"/>
                  </a:lnTo>
                  <a:lnTo>
                    <a:pt x="112" y="333"/>
                  </a:lnTo>
                  <a:lnTo>
                    <a:pt x="114" y="333"/>
                  </a:lnTo>
                  <a:lnTo>
                    <a:pt x="112" y="333"/>
                  </a:lnTo>
                  <a:lnTo>
                    <a:pt x="114" y="333"/>
                  </a:lnTo>
                  <a:lnTo>
                    <a:pt x="112" y="333"/>
                  </a:lnTo>
                  <a:lnTo>
                    <a:pt x="114" y="333"/>
                  </a:lnTo>
                  <a:lnTo>
                    <a:pt x="112" y="333"/>
                  </a:lnTo>
                  <a:lnTo>
                    <a:pt x="114" y="333"/>
                  </a:lnTo>
                  <a:lnTo>
                    <a:pt x="112" y="333"/>
                  </a:lnTo>
                  <a:lnTo>
                    <a:pt x="112" y="334"/>
                  </a:lnTo>
                  <a:lnTo>
                    <a:pt x="114" y="334"/>
                  </a:lnTo>
                  <a:lnTo>
                    <a:pt x="114" y="333"/>
                  </a:lnTo>
                  <a:lnTo>
                    <a:pt x="114" y="334"/>
                  </a:lnTo>
                  <a:lnTo>
                    <a:pt x="112" y="334"/>
                  </a:lnTo>
                  <a:lnTo>
                    <a:pt x="112" y="333"/>
                  </a:lnTo>
                  <a:lnTo>
                    <a:pt x="110" y="333"/>
                  </a:lnTo>
                  <a:lnTo>
                    <a:pt x="112" y="333"/>
                  </a:lnTo>
                  <a:lnTo>
                    <a:pt x="110" y="333"/>
                  </a:lnTo>
                  <a:lnTo>
                    <a:pt x="112" y="333"/>
                  </a:lnTo>
                  <a:lnTo>
                    <a:pt x="112" y="334"/>
                  </a:lnTo>
                  <a:lnTo>
                    <a:pt x="112" y="333"/>
                  </a:lnTo>
                  <a:lnTo>
                    <a:pt x="112" y="334"/>
                  </a:lnTo>
                  <a:lnTo>
                    <a:pt x="110" y="334"/>
                  </a:lnTo>
                  <a:lnTo>
                    <a:pt x="110" y="333"/>
                  </a:lnTo>
                  <a:lnTo>
                    <a:pt x="108" y="333"/>
                  </a:lnTo>
                  <a:lnTo>
                    <a:pt x="110" y="333"/>
                  </a:lnTo>
                  <a:lnTo>
                    <a:pt x="108" y="333"/>
                  </a:lnTo>
                  <a:lnTo>
                    <a:pt x="108" y="331"/>
                  </a:lnTo>
                  <a:lnTo>
                    <a:pt x="108" y="333"/>
                  </a:lnTo>
                  <a:lnTo>
                    <a:pt x="106" y="333"/>
                  </a:lnTo>
                  <a:lnTo>
                    <a:pt x="106" y="331"/>
                  </a:lnTo>
                  <a:lnTo>
                    <a:pt x="108" y="331"/>
                  </a:lnTo>
                  <a:lnTo>
                    <a:pt x="110" y="331"/>
                  </a:lnTo>
                  <a:lnTo>
                    <a:pt x="108" y="331"/>
                  </a:lnTo>
                  <a:lnTo>
                    <a:pt x="110" y="331"/>
                  </a:lnTo>
                  <a:lnTo>
                    <a:pt x="110" y="333"/>
                  </a:lnTo>
                  <a:lnTo>
                    <a:pt x="110" y="331"/>
                  </a:lnTo>
                  <a:lnTo>
                    <a:pt x="110" y="333"/>
                  </a:lnTo>
                  <a:lnTo>
                    <a:pt x="110" y="331"/>
                  </a:lnTo>
                  <a:lnTo>
                    <a:pt x="110" y="329"/>
                  </a:lnTo>
                  <a:lnTo>
                    <a:pt x="110" y="331"/>
                  </a:lnTo>
                  <a:lnTo>
                    <a:pt x="110" y="329"/>
                  </a:lnTo>
                  <a:lnTo>
                    <a:pt x="110" y="331"/>
                  </a:lnTo>
                  <a:lnTo>
                    <a:pt x="110" y="329"/>
                  </a:lnTo>
                  <a:close/>
                  <a:moveTo>
                    <a:pt x="10" y="367"/>
                  </a:moveTo>
                  <a:lnTo>
                    <a:pt x="12" y="367"/>
                  </a:lnTo>
                  <a:lnTo>
                    <a:pt x="12" y="369"/>
                  </a:lnTo>
                  <a:lnTo>
                    <a:pt x="10" y="369"/>
                  </a:lnTo>
                  <a:lnTo>
                    <a:pt x="12" y="369"/>
                  </a:lnTo>
                  <a:lnTo>
                    <a:pt x="10" y="369"/>
                  </a:lnTo>
                  <a:lnTo>
                    <a:pt x="12" y="369"/>
                  </a:lnTo>
                  <a:lnTo>
                    <a:pt x="10" y="369"/>
                  </a:lnTo>
                  <a:lnTo>
                    <a:pt x="10" y="371"/>
                  </a:lnTo>
                  <a:lnTo>
                    <a:pt x="8" y="371"/>
                  </a:lnTo>
                  <a:lnTo>
                    <a:pt x="10" y="371"/>
                  </a:lnTo>
                  <a:lnTo>
                    <a:pt x="10" y="369"/>
                  </a:lnTo>
                  <a:lnTo>
                    <a:pt x="8" y="369"/>
                  </a:lnTo>
                  <a:lnTo>
                    <a:pt x="8" y="371"/>
                  </a:lnTo>
                  <a:lnTo>
                    <a:pt x="8" y="369"/>
                  </a:lnTo>
                  <a:lnTo>
                    <a:pt x="8" y="371"/>
                  </a:lnTo>
                  <a:lnTo>
                    <a:pt x="8" y="369"/>
                  </a:lnTo>
                  <a:lnTo>
                    <a:pt x="8" y="371"/>
                  </a:lnTo>
                  <a:lnTo>
                    <a:pt x="8" y="369"/>
                  </a:lnTo>
                  <a:lnTo>
                    <a:pt x="10" y="369"/>
                  </a:lnTo>
                  <a:lnTo>
                    <a:pt x="8" y="369"/>
                  </a:lnTo>
                  <a:lnTo>
                    <a:pt x="10" y="369"/>
                  </a:lnTo>
                  <a:lnTo>
                    <a:pt x="8" y="369"/>
                  </a:lnTo>
                  <a:lnTo>
                    <a:pt x="8" y="367"/>
                  </a:lnTo>
                  <a:lnTo>
                    <a:pt x="10" y="367"/>
                  </a:lnTo>
                  <a:lnTo>
                    <a:pt x="10" y="365"/>
                  </a:lnTo>
                  <a:lnTo>
                    <a:pt x="10" y="367"/>
                  </a:lnTo>
                  <a:close/>
                  <a:moveTo>
                    <a:pt x="121" y="369"/>
                  </a:moveTo>
                  <a:lnTo>
                    <a:pt x="123" y="369"/>
                  </a:lnTo>
                  <a:lnTo>
                    <a:pt x="123" y="371"/>
                  </a:lnTo>
                  <a:lnTo>
                    <a:pt x="123" y="369"/>
                  </a:lnTo>
                  <a:lnTo>
                    <a:pt x="123" y="371"/>
                  </a:lnTo>
                  <a:lnTo>
                    <a:pt x="121" y="371"/>
                  </a:lnTo>
                  <a:lnTo>
                    <a:pt x="119" y="371"/>
                  </a:lnTo>
                  <a:lnTo>
                    <a:pt x="119" y="373"/>
                  </a:lnTo>
                  <a:lnTo>
                    <a:pt x="119" y="371"/>
                  </a:lnTo>
                  <a:lnTo>
                    <a:pt x="117" y="371"/>
                  </a:lnTo>
                  <a:lnTo>
                    <a:pt x="119" y="371"/>
                  </a:lnTo>
                  <a:lnTo>
                    <a:pt x="119" y="369"/>
                  </a:lnTo>
                  <a:lnTo>
                    <a:pt x="121" y="369"/>
                  </a:lnTo>
                  <a:close/>
                  <a:moveTo>
                    <a:pt x="108" y="298"/>
                  </a:moveTo>
                  <a:lnTo>
                    <a:pt x="112" y="298"/>
                  </a:lnTo>
                  <a:lnTo>
                    <a:pt x="112" y="304"/>
                  </a:lnTo>
                  <a:lnTo>
                    <a:pt x="108" y="304"/>
                  </a:lnTo>
                  <a:lnTo>
                    <a:pt x="108" y="298"/>
                  </a:lnTo>
                  <a:close/>
                  <a:moveTo>
                    <a:pt x="94" y="236"/>
                  </a:moveTo>
                  <a:lnTo>
                    <a:pt x="96" y="236"/>
                  </a:lnTo>
                  <a:lnTo>
                    <a:pt x="96" y="240"/>
                  </a:lnTo>
                  <a:lnTo>
                    <a:pt x="94" y="240"/>
                  </a:lnTo>
                  <a:lnTo>
                    <a:pt x="94" y="236"/>
                  </a:lnTo>
                  <a:close/>
                  <a:moveTo>
                    <a:pt x="114" y="325"/>
                  </a:moveTo>
                  <a:lnTo>
                    <a:pt x="116" y="325"/>
                  </a:lnTo>
                  <a:lnTo>
                    <a:pt x="114" y="325"/>
                  </a:lnTo>
                  <a:lnTo>
                    <a:pt x="114" y="327"/>
                  </a:lnTo>
                  <a:lnTo>
                    <a:pt x="112" y="327"/>
                  </a:lnTo>
                  <a:lnTo>
                    <a:pt x="112" y="329"/>
                  </a:lnTo>
                  <a:lnTo>
                    <a:pt x="112" y="327"/>
                  </a:lnTo>
                  <a:lnTo>
                    <a:pt x="112" y="329"/>
                  </a:lnTo>
                  <a:lnTo>
                    <a:pt x="112" y="327"/>
                  </a:lnTo>
                  <a:lnTo>
                    <a:pt x="112" y="329"/>
                  </a:lnTo>
                  <a:lnTo>
                    <a:pt x="112" y="327"/>
                  </a:lnTo>
                  <a:lnTo>
                    <a:pt x="110" y="327"/>
                  </a:lnTo>
                  <a:lnTo>
                    <a:pt x="112" y="327"/>
                  </a:lnTo>
                  <a:lnTo>
                    <a:pt x="110" y="327"/>
                  </a:lnTo>
                  <a:lnTo>
                    <a:pt x="112" y="327"/>
                  </a:lnTo>
                  <a:lnTo>
                    <a:pt x="110" y="327"/>
                  </a:lnTo>
                  <a:lnTo>
                    <a:pt x="112" y="327"/>
                  </a:lnTo>
                  <a:lnTo>
                    <a:pt x="112" y="325"/>
                  </a:lnTo>
                  <a:lnTo>
                    <a:pt x="114" y="325"/>
                  </a:lnTo>
                  <a:lnTo>
                    <a:pt x="112" y="325"/>
                  </a:lnTo>
                  <a:lnTo>
                    <a:pt x="114" y="325"/>
                  </a:lnTo>
                  <a:close/>
                  <a:moveTo>
                    <a:pt x="104" y="227"/>
                  </a:moveTo>
                  <a:lnTo>
                    <a:pt x="106" y="227"/>
                  </a:lnTo>
                  <a:lnTo>
                    <a:pt x="106" y="231"/>
                  </a:lnTo>
                  <a:lnTo>
                    <a:pt x="104" y="231"/>
                  </a:lnTo>
                  <a:lnTo>
                    <a:pt x="104" y="227"/>
                  </a:lnTo>
                  <a:close/>
                  <a:moveTo>
                    <a:pt x="98" y="338"/>
                  </a:moveTo>
                  <a:lnTo>
                    <a:pt x="98" y="344"/>
                  </a:lnTo>
                  <a:lnTo>
                    <a:pt x="98" y="338"/>
                  </a:lnTo>
                  <a:close/>
                  <a:moveTo>
                    <a:pt x="144" y="192"/>
                  </a:moveTo>
                  <a:lnTo>
                    <a:pt x="146" y="192"/>
                  </a:lnTo>
                  <a:lnTo>
                    <a:pt x="146" y="198"/>
                  </a:lnTo>
                  <a:lnTo>
                    <a:pt x="144" y="198"/>
                  </a:lnTo>
                  <a:lnTo>
                    <a:pt x="144" y="192"/>
                  </a:lnTo>
                  <a:close/>
                  <a:moveTo>
                    <a:pt x="108" y="336"/>
                  </a:moveTo>
                  <a:lnTo>
                    <a:pt x="110" y="336"/>
                  </a:lnTo>
                  <a:lnTo>
                    <a:pt x="110" y="340"/>
                  </a:lnTo>
                  <a:lnTo>
                    <a:pt x="108" y="340"/>
                  </a:lnTo>
                  <a:lnTo>
                    <a:pt x="108" y="336"/>
                  </a:lnTo>
                  <a:close/>
                  <a:moveTo>
                    <a:pt x="116" y="315"/>
                  </a:moveTo>
                  <a:lnTo>
                    <a:pt x="117" y="315"/>
                  </a:lnTo>
                  <a:lnTo>
                    <a:pt x="117" y="319"/>
                  </a:lnTo>
                  <a:lnTo>
                    <a:pt x="116" y="319"/>
                  </a:lnTo>
                  <a:lnTo>
                    <a:pt x="116" y="315"/>
                  </a:lnTo>
                  <a:close/>
                  <a:moveTo>
                    <a:pt x="121" y="357"/>
                  </a:moveTo>
                  <a:lnTo>
                    <a:pt x="123" y="357"/>
                  </a:lnTo>
                  <a:lnTo>
                    <a:pt x="123" y="359"/>
                  </a:lnTo>
                  <a:lnTo>
                    <a:pt x="121" y="359"/>
                  </a:lnTo>
                  <a:lnTo>
                    <a:pt x="121" y="357"/>
                  </a:lnTo>
                  <a:close/>
                  <a:moveTo>
                    <a:pt x="164" y="135"/>
                  </a:moveTo>
                  <a:lnTo>
                    <a:pt x="167" y="135"/>
                  </a:lnTo>
                  <a:lnTo>
                    <a:pt x="167" y="137"/>
                  </a:lnTo>
                  <a:lnTo>
                    <a:pt x="164" y="137"/>
                  </a:lnTo>
                  <a:lnTo>
                    <a:pt x="164" y="135"/>
                  </a:lnTo>
                  <a:close/>
                  <a:moveTo>
                    <a:pt x="104" y="340"/>
                  </a:moveTo>
                  <a:lnTo>
                    <a:pt x="106" y="340"/>
                  </a:lnTo>
                  <a:lnTo>
                    <a:pt x="106" y="342"/>
                  </a:lnTo>
                  <a:lnTo>
                    <a:pt x="104" y="342"/>
                  </a:lnTo>
                  <a:lnTo>
                    <a:pt x="104" y="340"/>
                  </a:lnTo>
                  <a:close/>
                  <a:moveTo>
                    <a:pt x="175" y="127"/>
                  </a:moveTo>
                  <a:lnTo>
                    <a:pt x="177" y="127"/>
                  </a:lnTo>
                  <a:lnTo>
                    <a:pt x="177" y="129"/>
                  </a:lnTo>
                  <a:lnTo>
                    <a:pt x="175" y="129"/>
                  </a:lnTo>
                  <a:lnTo>
                    <a:pt x="175" y="127"/>
                  </a:lnTo>
                  <a:close/>
                  <a:moveTo>
                    <a:pt x="104" y="329"/>
                  </a:moveTo>
                  <a:lnTo>
                    <a:pt x="108" y="329"/>
                  </a:lnTo>
                  <a:lnTo>
                    <a:pt x="108" y="331"/>
                  </a:lnTo>
                  <a:lnTo>
                    <a:pt x="104" y="331"/>
                  </a:lnTo>
                  <a:lnTo>
                    <a:pt x="104" y="329"/>
                  </a:lnTo>
                  <a:close/>
                  <a:moveTo>
                    <a:pt x="85" y="357"/>
                  </a:moveTo>
                  <a:lnTo>
                    <a:pt x="87" y="357"/>
                  </a:lnTo>
                  <a:lnTo>
                    <a:pt x="87" y="359"/>
                  </a:lnTo>
                  <a:lnTo>
                    <a:pt x="85" y="359"/>
                  </a:lnTo>
                  <a:lnTo>
                    <a:pt x="85" y="357"/>
                  </a:lnTo>
                  <a:close/>
                  <a:moveTo>
                    <a:pt x="106" y="342"/>
                  </a:moveTo>
                  <a:lnTo>
                    <a:pt x="108" y="342"/>
                  </a:lnTo>
                  <a:lnTo>
                    <a:pt x="108" y="344"/>
                  </a:lnTo>
                  <a:lnTo>
                    <a:pt x="106" y="344"/>
                  </a:lnTo>
                  <a:lnTo>
                    <a:pt x="106" y="342"/>
                  </a:lnTo>
                  <a:close/>
                  <a:moveTo>
                    <a:pt x="114" y="306"/>
                  </a:moveTo>
                  <a:lnTo>
                    <a:pt x="116" y="306"/>
                  </a:lnTo>
                  <a:lnTo>
                    <a:pt x="116" y="308"/>
                  </a:lnTo>
                  <a:lnTo>
                    <a:pt x="114" y="308"/>
                  </a:lnTo>
                  <a:lnTo>
                    <a:pt x="114" y="306"/>
                  </a:lnTo>
                  <a:close/>
                  <a:moveTo>
                    <a:pt x="112" y="331"/>
                  </a:moveTo>
                  <a:lnTo>
                    <a:pt x="114" y="331"/>
                  </a:lnTo>
                  <a:lnTo>
                    <a:pt x="114" y="333"/>
                  </a:lnTo>
                  <a:lnTo>
                    <a:pt x="112" y="333"/>
                  </a:lnTo>
                  <a:lnTo>
                    <a:pt x="112" y="331"/>
                  </a:lnTo>
                  <a:close/>
                  <a:moveTo>
                    <a:pt x="116" y="323"/>
                  </a:moveTo>
                  <a:lnTo>
                    <a:pt x="117" y="323"/>
                  </a:lnTo>
                  <a:lnTo>
                    <a:pt x="117" y="325"/>
                  </a:lnTo>
                  <a:lnTo>
                    <a:pt x="116" y="325"/>
                  </a:lnTo>
                  <a:lnTo>
                    <a:pt x="116" y="323"/>
                  </a:lnTo>
                  <a:close/>
                  <a:moveTo>
                    <a:pt x="173" y="125"/>
                  </a:moveTo>
                  <a:lnTo>
                    <a:pt x="173" y="129"/>
                  </a:lnTo>
                  <a:lnTo>
                    <a:pt x="173" y="125"/>
                  </a:lnTo>
                  <a:close/>
                  <a:moveTo>
                    <a:pt x="27" y="436"/>
                  </a:moveTo>
                  <a:lnTo>
                    <a:pt x="29" y="436"/>
                  </a:lnTo>
                  <a:lnTo>
                    <a:pt x="29" y="440"/>
                  </a:lnTo>
                  <a:lnTo>
                    <a:pt x="27" y="440"/>
                  </a:lnTo>
                  <a:lnTo>
                    <a:pt x="27" y="436"/>
                  </a:lnTo>
                  <a:close/>
                  <a:moveTo>
                    <a:pt x="164" y="137"/>
                  </a:moveTo>
                  <a:lnTo>
                    <a:pt x="165" y="137"/>
                  </a:lnTo>
                  <a:lnTo>
                    <a:pt x="165" y="139"/>
                  </a:lnTo>
                  <a:lnTo>
                    <a:pt x="164" y="139"/>
                  </a:lnTo>
                  <a:lnTo>
                    <a:pt x="164" y="137"/>
                  </a:lnTo>
                  <a:close/>
                  <a:moveTo>
                    <a:pt x="6" y="361"/>
                  </a:moveTo>
                  <a:lnTo>
                    <a:pt x="8" y="361"/>
                  </a:lnTo>
                  <a:lnTo>
                    <a:pt x="8" y="363"/>
                  </a:lnTo>
                  <a:lnTo>
                    <a:pt x="6" y="363"/>
                  </a:lnTo>
                  <a:lnTo>
                    <a:pt x="6" y="361"/>
                  </a:lnTo>
                  <a:close/>
                  <a:moveTo>
                    <a:pt x="156" y="139"/>
                  </a:moveTo>
                  <a:lnTo>
                    <a:pt x="160" y="139"/>
                  </a:lnTo>
                  <a:lnTo>
                    <a:pt x="160" y="140"/>
                  </a:lnTo>
                  <a:lnTo>
                    <a:pt x="156" y="140"/>
                  </a:lnTo>
                  <a:lnTo>
                    <a:pt x="156" y="139"/>
                  </a:lnTo>
                  <a:close/>
                  <a:moveTo>
                    <a:pt x="179" y="127"/>
                  </a:moveTo>
                  <a:lnTo>
                    <a:pt x="181" y="127"/>
                  </a:lnTo>
                  <a:lnTo>
                    <a:pt x="181" y="129"/>
                  </a:lnTo>
                  <a:lnTo>
                    <a:pt x="179" y="129"/>
                  </a:lnTo>
                  <a:lnTo>
                    <a:pt x="179" y="127"/>
                  </a:lnTo>
                  <a:close/>
                  <a:moveTo>
                    <a:pt x="169" y="133"/>
                  </a:moveTo>
                  <a:lnTo>
                    <a:pt x="171" y="133"/>
                  </a:lnTo>
                  <a:lnTo>
                    <a:pt x="171" y="135"/>
                  </a:lnTo>
                  <a:lnTo>
                    <a:pt x="169" y="135"/>
                  </a:lnTo>
                  <a:lnTo>
                    <a:pt x="169" y="133"/>
                  </a:lnTo>
                  <a:close/>
                  <a:moveTo>
                    <a:pt x="112" y="217"/>
                  </a:moveTo>
                  <a:lnTo>
                    <a:pt x="114" y="217"/>
                  </a:lnTo>
                  <a:lnTo>
                    <a:pt x="114" y="219"/>
                  </a:lnTo>
                  <a:lnTo>
                    <a:pt x="112" y="219"/>
                  </a:lnTo>
                  <a:lnTo>
                    <a:pt x="112" y="217"/>
                  </a:lnTo>
                  <a:close/>
                  <a:moveTo>
                    <a:pt x="114" y="321"/>
                  </a:moveTo>
                  <a:lnTo>
                    <a:pt x="117" y="321"/>
                  </a:lnTo>
                  <a:lnTo>
                    <a:pt x="117" y="325"/>
                  </a:lnTo>
                  <a:lnTo>
                    <a:pt x="114" y="325"/>
                  </a:lnTo>
                  <a:lnTo>
                    <a:pt x="114" y="321"/>
                  </a:lnTo>
                  <a:close/>
                  <a:moveTo>
                    <a:pt x="165" y="137"/>
                  </a:moveTo>
                  <a:lnTo>
                    <a:pt x="167" y="137"/>
                  </a:lnTo>
                  <a:lnTo>
                    <a:pt x="167" y="139"/>
                  </a:lnTo>
                  <a:lnTo>
                    <a:pt x="165" y="139"/>
                  </a:lnTo>
                  <a:lnTo>
                    <a:pt x="165" y="137"/>
                  </a:lnTo>
                  <a:close/>
                  <a:moveTo>
                    <a:pt x="69" y="419"/>
                  </a:moveTo>
                  <a:lnTo>
                    <a:pt x="69" y="421"/>
                  </a:lnTo>
                  <a:lnTo>
                    <a:pt x="69" y="419"/>
                  </a:lnTo>
                  <a:close/>
                  <a:moveTo>
                    <a:pt x="114" y="333"/>
                  </a:moveTo>
                  <a:lnTo>
                    <a:pt x="116" y="333"/>
                  </a:lnTo>
                  <a:lnTo>
                    <a:pt x="116" y="334"/>
                  </a:lnTo>
                  <a:lnTo>
                    <a:pt x="114" y="334"/>
                  </a:lnTo>
                  <a:lnTo>
                    <a:pt x="114" y="333"/>
                  </a:lnTo>
                  <a:close/>
                  <a:moveTo>
                    <a:pt x="158" y="142"/>
                  </a:moveTo>
                  <a:lnTo>
                    <a:pt x="160" y="142"/>
                  </a:lnTo>
                  <a:lnTo>
                    <a:pt x="160" y="144"/>
                  </a:lnTo>
                  <a:lnTo>
                    <a:pt x="158" y="144"/>
                  </a:lnTo>
                  <a:lnTo>
                    <a:pt x="158" y="142"/>
                  </a:lnTo>
                  <a:close/>
                  <a:moveTo>
                    <a:pt x="169" y="135"/>
                  </a:moveTo>
                  <a:lnTo>
                    <a:pt x="169" y="137"/>
                  </a:lnTo>
                  <a:lnTo>
                    <a:pt x="169" y="135"/>
                  </a:lnTo>
                  <a:close/>
                  <a:moveTo>
                    <a:pt x="116" y="329"/>
                  </a:moveTo>
                  <a:lnTo>
                    <a:pt x="117" y="329"/>
                  </a:lnTo>
                  <a:lnTo>
                    <a:pt x="116" y="329"/>
                  </a:lnTo>
                  <a:close/>
                  <a:moveTo>
                    <a:pt x="98" y="244"/>
                  </a:moveTo>
                  <a:lnTo>
                    <a:pt x="100" y="244"/>
                  </a:lnTo>
                  <a:lnTo>
                    <a:pt x="100" y="246"/>
                  </a:lnTo>
                  <a:lnTo>
                    <a:pt x="98" y="246"/>
                  </a:lnTo>
                  <a:lnTo>
                    <a:pt x="98" y="244"/>
                  </a:lnTo>
                  <a:close/>
                  <a:moveTo>
                    <a:pt x="158" y="144"/>
                  </a:moveTo>
                  <a:lnTo>
                    <a:pt x="160" y="144"/>
                  </a:lnTo>
                  <a:lnTo>
                    <a:pt x="160" y="146"/>
                  </a:lnTo>
                  <a:lnTo>
                    <a:pt x="158" y="146"/>
                  </a:lnTo>
                  <a:lnTo>
                    <a:pt x="158" y="144"/>
                  </a:lnTo>
                  <a:close/>
                  <a:moveTo>
                    <a:pt x="8" y="371"/>
                  </a:moveTo>
                  <a:lnTo>
                    <a:pt x="10" y="371"/>
                  </a:lnTo>
                  <a:lnTo>
                    <a:pt x="10" y="373"/>
                  </a:lnTo>
                  <a:lnTo>
                    <a:pt x="8" y="373"/>
                  </a:lnTo>
                  <a:lnTo>
                    <a:pt x="8" y="371"/>
                  </a:lnTo>
                  <a:close/>
                  <a:moveTo>
                    <a:pt x="110" y="217"/>
                  </a:moveTo>
                  <a:lnTo>
                    <a:pt x="112" y="217"/>
                  </a:lnTo>
                  <a:lnTo>
                    <a:pt x="112" y="219"/>
                  </a:lnTo>
                  <a:lnTo>
                    <a:pt x="110" y="219"/>
                  </a:lnTo>
                  <a:lnTo>
                    <a:pt x="110" y="217"/>
                  </a:lnTo>
                  <a:close/>
                  <a:moveTo>
                    <a:pt x="83" y="373"/>
                  </a:moveTo>
                  <a:lnTo>
                    <a:pt x="85" y="373"/>
                  </a:lnTo>
                  <a:lnTo>
                    <a:pt x="85" y="375"/>
                  </a:lnTo>
                  <a:lnTo>
                    <a:pt x="83" y="375"/>
                  </a:lnTo>
                  <a:lnTo>
                    <a:pt x="83" y="373"/>
                  </a:lnTo>
                  <a:close/>
                  <a:moveTo>
                    <a:pt x="94" y="265"/>
                  </a:moveTo>
                  <a:lnTo>
                    <a:pt x="96" y="265"/>
                  </a:lnTo>
                  <a:lnTo>
                    <a:pt x="94" y="265"/>
                  </a:lnTo>
                  <a:close/>
                  <a:moveTo>
                    <a:pt x="83" y="379"/>
                  </a:moveTo>
                  <a:lnTo>
                    <a:pt x="85" y="379"/>
                  </a:lnTo>
                  <a:lnTo>
                    <a:pt x="85" y="381"/>
                  </a:lnTo>
                  <a:lnTo>
                    <a:pt x="83" y="381"/>
                  </a:lnTo>
                  <a:lnTo>
                    <a:pt x="83" y="379"/>
                  </a:lnTo>
                  <a:close/>
                  <a:moveTo>
                    <a:pt x="114" y="334"/>
                  </a:moveTo>
                  <a:lnTo>
                    <a:pt x="114" y="336"/>
                  </a:lnTo>
                  <a:lnTo>
                    <a:pt x="114" y="334"/>
                  </a:lnTo>
                  <a:close/>
                  <a:moveTo>
                    <a:pt x="94" y="348"/>
                  </a:moveTo>
                  <a:lnTo>
                    <a:pt x="96" y="348"/>
                  </a:lnTo>
                  <a:lnTo>
                    <a:pt x="96" y="350"/>
                  </a:lnTo>
                  <a:lnTo>
                    <a:pt x="94" y="350"/>
                  </a:lnTo>
                  <a:lnTo>
                    <a:pt x="94" y="348"/>
                  </a:lnTo>
                  <a:close/>
                  <a:moveTo>
                    <a:pt x="2" y="344"/>
                  </a:moveTo>
                  <a:lnTo>
                    <a:pt x="4" y="344"/>
                  </a:lnTo>
                  <a:lnTo>
                    <a:pt x="4" y="346"/>
                  </a:lnTo>
                  <a:lnTo>
                    <a:pt x="2" y="346"/>
                  </a:lnTo>
                  <a:lnTo>
                    <a:pt x="2" y="344"/>
                  </a:lnTo>
                  <a:close/>
                  <a:moveTo>
                    <a:pt x="2" y="344"/>
                  </a:moveTo>
                  <a:lnTo>
                    <a:pt x="4" y="344"/>
                  </a:lnTo>
                  <a:lnTo>
                    <a:pt x="2" y="344"/>
                  </a:lnTo>
                  <a:close/>
                  <a:moveTo>
                    <a:pt x="8" y="361"/>
                  </a:moveTo>
                  <a:lnTo>
                    <a:pt x="8" y="363"/>
                  </a:lnTo>
                  <a:lnTo>
                    <a:pt x="8" y="361"/>
                  </a:lnTo>
                  <a:close/>
                  <a:moveTo>
                    <a:pt x="102" y="227"/>
                  </a:moveTo>
                  <a:lnTo>
                    <a:pt x="104" y="227"/>
                  </a:lnTo>
                  <a:lnTo>
                    <a:pt x="102" y="227"/>
                  </a:lnTo>
                  <a:close/>
                  <a:moveTo>
                    <a:pt x="87" y="354"/>
                  </a:moveTo>
                  <a:lnTo>
                    <a:pt x="89" y="354"/>
                  </a:lnTo>
                  <a:lnTo>
                    <a:pt x="89" y="356"/>
                  </a:lnTo>
                  <a:lnTo>
                    <a:pt x="87" y="356"/>
                  </a:lnTo>
                  <a:lnTo>
                    <a:pt x="87" y="354"/>
                  </a:lnTo>
                  <a:close/>
                  <a:moveTo>
                    <a:pt x="85" y="373"/>
                  </a:moveTo>
                  <a:lnTo>
                    <a:pt x="85" y="375"/>
                  </a:lnTo>
                  <a:lnTo>
                    <a:pt x="85" y="373"/>
                  </a:lnTo>
                  <a:close/>
                  <a:moveTo>
                    <a:pt x="112" y="327"/>
                  </a:moveTo>
                  <a:lnTo>
                    <a:pt x="114" y="327"/>
                  </a:lnTo>
                  <a:lnTo>
                    <a:pt x="114" y="329"/>
                  </a:lnTo>
                  <a:lnTo>
                    <a:pt x="112" y="329"/>
                  </a:lnTo>
                  <a:lnTo>
                    <a:pt x="112" y="327"/>
                  </a:lnTo>
                  <a:close/>
                  <a:moveTo>
                    <a:pt x="167" y="139"/>
                  </a:moveTo>
                  <a:lnTo>
                    <a:pt x="169" y="139"/>
                  </a:lnTo>
                  <a:lnTo>
                    <a:pt x="169" y="140"/>
                  </a:lnTo>
                  <a:lnTo>
                    <a:pt x="167" y="140"/>
                  </a:lnTo>
                  <a:lnTo>
                    <a:pt x="167" y="139"/>
                  </a:lnTo>
                  <a:close/>
                  <a:moveTo>
                    <a:pt x="116" y="329"/>
                  </a:moveTo>
                  <a:lnTo>
                    <a:pt x="117" y="329"/>
                  </a:lnTo>
                  <a:lnTo>
                    <a:pt x="117" y="331"/>
                  </a:lnTo>
                  <a:lnTo>
                    <a:pt x="116" y="331"/>
                  </a:lnTo>
                  <a:lnTo>
                    <a:pt x="116" y="329"/>
                  </a:lnTo>
                  <a:close/>
                  <a:moveTo>
                    <a:pt x="154" y="152"/>
                  </a:moveTo>
                  <a:lnTo>
                    <a:pt x="156" y="152"/>
                  </a:lnTo>
                  <a:lnTo>
                    <a:pt x="154" y="152"/>
                  </a:lnTo>
                  <a:close/>
                  <a:moveTo>
                    <a:pt x="8" y="365"/>
                  </a:moveTo>
                  <a:lnTo>
                    <a:pt x="8" y="367"/>
                  </a:lnTo>
                  <a:lnTo>
                    <a:pt x="8" y="365"/>
                  </a:lnTo>
                  <a:close/>
                  <a:moveTo>
                    <a:pt x="0" y="344"/>
                  </a:moveTo>
                  <a:lnTo>
                    <a:pt x="2" y="344"/>
                  </a:lnTo>
                  <a:lnTo>
                    <a:pt x="0" y="344"/>
                  </a:lnTo>
                  <a:close/>
                  <a:moveTo>
                    <a:pt x="112" y="219"/>
                  </a:moveTo>
                  <a:lnTo>
                    <a:pt x="114" y="219"/>
                  </a:lnTo>
                  <a:lnTo>
                    <a:pt x="114" y="221"/>
                  </a:lnTo>
                  <a:lnTo>
                    <a:pt x="112" y="221"/>
                  </a:lnTo>
                  <a:lnTo>
                    <a:pt x="112" y="219"/>
                  </a:lnTo>
                  <a:close/>
                  <a:moveTo>
                    <a:pt x="114" y="327"/>
                  </a:moveTo>
                  <a:lnTo>
                    <a:pt x="116" y="327"/>
                  </a:lnTo>
                  <a:lnTo>
                    <a:pt x="114" y="327"/>
                  </a:lnTo>
                  <a:close/>
                  <a:moveTo>
                    <a:pt x="169" y="131"/>
                  </a:moveTo>
                  <a:lnTo>
                    <a:pt x="171" y="131"/>
                  </a:lnTo>
                  <a:lnTo>
                    <a:pt x="171" y="133"/>
                  </a:lnTo>
                  <a:lnTo>
                    <a:pt x="169" y="133"/>
                  </a:lnTo>
                  <a:lnTo>
                    <a:pt x="169" y="131"/>
                  </a:lnTo>
                  <a:close/>
                  <a:moveTo>
                    <a:pt x="2" y="342"/>
                  </a:moveTo>
                  <a:lnTo>
                    <a:pt x="4" y="342"/>
                  </a:lnTo>
                  <a:lnTo>
                    <a:pt x="4" y="344"/>
                  </a:lnTo>
                  <a:lnTo>
                    <a:pt x="2" y="344"/>
                  </a:lnTo>
                  <a:lnTo>
                    <a:pt x="2" y="342"/>
                  </a:lnTo>
                  <a:close/>
                  <a:moveTo>
                    <a:pt x="169" y="135"/>
                  </a:moveTo>
                  <a:lnTo>
                    <a:pt x="171" y="135"/>
                  </a:lnTo>
                  <a:lnTo>
                    <a:pt x="169" y="135"/>
                  </a:lnTo>
                  <a:close/>
                  <a:moveTo>
                    <a:pt x="68" y="419"/>
                  </a:moveTo>
                  <a:lnTo>
                    <a:pt x="68" y="421"/>
                  </a:lnTo>
                  <a:lnTo>
                    <a:pt x="68" y="419"/>
                  </a:lnTo>
                  <a:close/>
                  <a:moveTo>
                    <a:pt x="102" y="340"/>
                  </a:moveTo>
                  <a:lnTo>
                    <a:pt x="104" y="340"/>
                  </a:lnTo>
                  <a:lnTo>
                    <a:pt x="104" y="342"/>
                  </a:lnTo>
                  <a:lnTo>
                    <a:pt x="102" y="342"/>
                  </a:lnTo>
                  <a:lnTo>
                    <a:pt x="102" y="340"/>
                  </a:lnTo>
                  <a:close/>
                  <a:moveTo>
                    <a:pt x="116" y="331"/>
                  </a:moveTo>
                  <a:lnTo>
                    <a:pt x="117" y="331"/>
                  </a:lnTo>
                  <a:lnTo>
                    <a:pt x="117" y="333"/>
                  </a:lnTo>
                  <a:lnTo>
                    <a:pt x="116" y="333"/>
                  </a:lnTo>
                  <a:lnTo>
                    <a:pt x="116" y="331"/>
                  </a:lnTo>
                  <a:close/>
                  <a:moveTo>
                    <a:pt x="162" y="139"/>
                  </a:moveTo>
                  <a:lnTo>
                    <a:pt x="162" y="140"/>
                  </a:lnTo>
                  <a:lnTo>
                    <a:pt x="162" y="139"/>
                  </a:lnTo>
                  <a:close/>
                  <a:moveTo>
                    <a:pt x="116" y="321"/>
                  </a:moveTo>
                  <a:lnTo>
                    <a:pt x="117" y="321"/>
                  </a:lnTo>
                  <a:lnTo>
                    <a:pt x="117" y="323"/>
                  </a:lnTo>
                  <a:lnTo>
                    <a:pt x="116" y="323"/>
                  </a:lnTo>
                  <a:lnTo>
                    <a:pt x="116" y="321"/>
                  </a:lnTo>
                  <a:close/>
                  <a:moveTo>
                    <a:pt x="6" y="363"/>
                  </a:moveTo>
                  <a:lnTo>
                    <a:pt x="6" y="365"/>
                  </a:lnTo>
                  <a:lnTo>
                    <a:pt x="6" y="363"/>
                  </a:lnTo>
                  <a:close/>
                  <a:moveTo>
                    <a:pt x="102" y="342"/>
                  </a:moveTo>
                  <a:lnTo>
                    <a:pt x="104" y="342"/>
                  </a:lnTo>
                  <a:lnTo>
                    <a:pt x="102" y="342"/>
                  </a:lnTo>
                  <a:close/>
                  <a:moveTo>
                    <a:pt x="96" y="346"/>
                  </a:moveTo>
                  <a:lnTo>
                    <a:pt x="98" y="346"/>
                  </a:lnTo>
                  <a:lnTo>
                    <a:pt x="96" y="346"/>
                  </a:lnTo>
                  <a:close/>
                  <a:moveTo>
                    <a:pt x="85" y="365"/>
                  </a:moveTo>
                  <a:lnTo>
                    <a:pt x="87" y="365"/>
                  </a:lnTo>
                  <a:lnTo>
                    <a:pt x="87" y="367"/>
                  </a:lnTo>
                  <a:lnTo>
                    <a:pt x="85" y="367"/>
                  </a:lnTo>
                  <a:lnTo>
                    <a:pt x="85" y="365"/>
                  </a:lnTo>
                  <a:close/>
                  <a:moveTo>
                    <a:pt x="187" y="131"/>
                  </a:moveTo>
                  <a:lnTo>
                    <a:pt x="188" y="131"/>
                  </a:lnTo>
                  <a:lnTo>
                    <a:pt x="188" y="133"/>
                  </a:lnTo>
                  <a:lnTo>
                    <a:pt x="187" y="133"/>
                  </a:lnTo>
                  <a:lnTo>
                    <a:pt x="187" y="131"/>
                  </a:lnTo>
                  <a:close/>
                  <a:moveTo>
                    <a:pt x="66" y="419"/>
                  </a:moveTo>
                  <a:lnTo>
                    <a:pt x="66" y="421"/>
                  </a:lnTo>
                  <a:lnTo>
                    <a:pt x="66" y="419"/>
                  </a:lnTo>
                  <a:close/>
                  <a:moveTo>
                    <a:pt x="112" y="329"/>
                  </a:moveTo>
                  <a:lnTo>
                    <a:pt x="114" y="329"/>
                  </a:lnTo>
                  <a:lnTo>
                    <a:pt x="114" y="331"/>
                  </a:lnTo>
                  <a:lnTo>
                    <a:pt x="112" y="331"/>
                  </a:lnTo>
                  <a:lnTo>
                    <a:pt x="112" y="329"/>
                  </a:lnTo>
                  <a:close/>
                  <a:moveTo>
                    <a:pt x="144" y="198"/>
                  </a:moveTo>
                  <a:lnTo>
                    <a:pt x="144" y="200"/>
                  </a:lnTo>
                  <a:lnTo>
                    <a:pt x="144" y="198"/>
                  </a:lnTo>
                  <a:close/>
                  <a:moveTo>
                    <a:pt x="104" y="344"/>
                  </a:moveTo>
                  <a:lnTo>
                    <a:pt x="106" y="344"/>
                  </a:lnTo>
                  <a:lnTo>
                    <a:pt x="104" y="344"/>
                  </a:lnTo>
                  <a:close/>
                  <a:moveTo>
                    <a:pt x="91" y="281"/>
                  </a:moveTo>
                  <a:lnTo>
                    <a:pt x="93" y="281"/>
                  </a:lnTo>
                  <a:lnTo>
                    <a:pt x="91" y="281"/>
                  </a:lnTo>
                  <a:close/>
                  <a:moveTo>
                    <a:pt x="68" y="419"/>
                  </a:moveTo>
                  <a:lnTo>
                    <a:pt x="69" y="419"/>
                  </a:lnTo>
                  <a:lnTo>
                    <a:pt x="69" y="421"/>
                  </a:lnTo>
                  <a:lnTo>
                    <a:pt x="68" y="421"/>
                  </a:lnTo>
                  <a:lnTo>
                    <a:pt x="68" y="419"/>
                  </a:lnTo>
                  <a:close/>
                  <a:moveTo>
                    <a:pt x="119" y="315"/>
                  </a:moveTo>
                  <a:lnTo>
                    <a:pt x="119" y="317"/>
                  </a:lnTo>
                  <a:lnTo>
                    <a:pt x="119" y="315"/>
                  </a:lnTo>
                  <a:close/>
                  <a:moveTo>
                    <a:pt x="81" y="392"/>
                  </a:moveTo>
                  <a:lnTo>
                    <a:pt x="83" y="392"/>
                  </a:lnTo>
                  <a:lnTo>
                    <a:pt x="81" y="392"/>
                  </a:lnTo>
                  <a:close/>
                  <a:moveTo>
                    <a:pt x="106" y="342"/>
                  </a:moveTo>
                  <a:lnTo>
                    <a:pt x="106" y="344"/>
                  </a:lnTo>
                  <a:lnTo>
                    <a:pt x="106" y="342"/>
                  </a:lnTo>
                  <a:close/>
                  <a:moveTo>
                    <a:pt x="171" y="133"/>
                  </a:moveTo>
                  <a:lnTo>
                    <a:pt x="171" y="135"/>
                  </a:lnTo>
                  <a:lnTo>
                    <a:pt x="171" y="133"/>
                  </a:lnTo>
                  <a:close/>
                  <a:moveTo>
                    <a:pt x="110" y="306"/>
                  </a:moveTo>
                  <a:lnTo>
                    <a:pt x="112" y="306"/>
                  </a:lnTo>
                  <a:lnTo>
                    <a:pt x="112" y="308"/>
                  </a:lnTo>
                  <a:lnTo>
                    <a:pt x="110" y="308"/>
                  </a:lnTo>
                  <a:lnTo>
                    <a:pt x="110" y="306"/>
                  </a:lnTo>
                  <a:close/>
                  <a:moveTo>
                    <a:pt x="94" y="348"/>
                  </a:moveTo>
                  <a:lnTo>
                    <a:pt x="96" y="348"/>
                  </a:lnTo>
                  <a:lnTo>
                    <a:pt x="94" y="348"/>
                  </a:lnTo>
                  <a:close/>
                  <a:moveTo>
                    <a:pt x="173" y="133"/>
                  </a:moveTo>
                  <a:lnTo>
                    <a:pt x="173" y="135"/>
                  </a:lnTo>
                  <a:lnTo>
                    <a:pt x="173" y="133"/>
                  </a:lnTo>
                  <a:close/>
                  <a:moveTo>
                    <a:pt x="171" y="129"/>
                  </a:moveTo>
                  <a:lnTo>
                    <a:pt x="171" y="131"/>
                  </a:lnTo>
                  <a:lnTo>
                    <a:pt x="171" y="129"/>
                  </a:lnTo>
                  <a:close/>
                  <a:moveTo>
                    <a:pt x="158" y="140"/>
                  </a:moveTo>
                  <a:lnTo>
                    <a:pt x="160" y="140"/>
                  </a:lnTo>
                  <a:lnTo>
                    <a:pt x="160" y="142"/>
                  </a:lnTo>
                  <a:lnTo>
                    <a:pt x="158" y="142"/>
                  </a:lnTo>
                  <a:lnTo>
                    <a:pt x="158" y="140"/>
                  </a:lnTo>
                  <a:close/>
                  <a:moveTo>
                    <a:pt x="10" y="377"/>
                  </a:moveTo>
                  <a:lnTo>
                    <a:pt x="10" y="379"/>
                  </a:lnTo>
                  <a:lnTo>
                    <a:pt x="10" y="377"/>
                  </a:lnTo>
                  <a:close/>
                  <a:moveTo>
                    <a:pt x="10" y="375"/>
                  </a:moveTo>
                  <a:lnTo>
                    <a:pt x="12" y="375"/>
                  </a:lnTo>
                  <a:lnTo>
                    <a:pt x="12" y="377"/>
                  </a:lnTo>
                  <a:lnTo>
                    <a:pt x="10" y="377"/>
                  </a:lnTo>
                  <a:lnTo>
                    <a:pt x="10" y="375"/>
                  </a:lnTo>
                  <a:close/>
                  <a:moveTo>
                    <a:pt x="96" y="238"/>
                  </a:moveTo>
                  <a:lnTo>
                    <a:pt x="96" y="240"/>
                  </a:lnTo>
                  <a:lnTo>
                    <a:pt x="96" y="238"/>
                  </a:lnTo>
                  <a:close/>
                  <a:moveTo>
                    <a:pt x="154" y="140"/>
                  </a:moveTo>
                  <a:lnTo>
                    <a:pt x="156" y="140"/>
                  </a:lnTo>
                  <a:lnTo>
                    <a:pt x="156" y="142"/>
                  </a:lnTo>
                  <a:lnTo>
                    <a:pt x="154" y="142"/>
                  </a:lnTo>
                  <a:lnTo>
                    <a:pt x="154" y="140"/>
                  </a:lnTo>
                  <a:close/>
                  <a:moveTo>
                    <a:pt x="108" y="329"/>
                  </a:moveTo>
                  <a:lnTo>
                    <a:pt x="110" y="329"/>
                  </a:lnTo>
                  <a:lnTo>
                    <a:pt x="110" y="331"/>
                  </a:lnTo>
                  <a:lnTo>
                    <a:pt x="108" y="331"/>
                  </a:lnTo>
                  <a:lnTo>
                    <a:pt x="108" y="329"/>
                  </a:lnTo>
                  <a:close/>
                  <a:moveTo>
                    <a:pt x="150" y="156"/>
                  </a:moveTo>
                  <a:lnTo>
                    <a:pt x="152" y="156"/>
                  </a:lnTo>
                  <a:lnTo>
                    <a:pt x="152" y="158"/>
                  </a:lnTo>
                  <a:lnTo>
                    <a:pt x="150" y="158"/>
                  </a:lnTo>
                  <a:lnTo>
                    <a:pt x="150" y="156"/>
                  </a:lnTo>
                  <a:close/>
                  <a:moveTo>
                    <a:pt x="108" y="329"/>
                  </a:moveTo>
                  <a:lnTo>
                    <a:pt x="110" y="329"/>
                  </a:lnTo>
                  <a:lnTo>
                    <a:pt x="108" y="329"/>
                  </a:lnTo>
                  <a:close/>
                  <a:moveTo>
                    <a:pt x="164" y="135"/>
                  </a:moveTo>
                  <a:lnTo>
                    <a:pt x="164" y="137"/>
                  </a:lnTo>
                  <a:lnTo>
                    <a:pt x="164" y="135"/>
                  </a:lnTo>
                  <a:close/>
                  <a:moveTo>
                    <a:pt x="108" y="296"/>
                  </a:moveTo>
                  <a:lnTo>
                    <a:pt x="110" y="296"/>
                  </a:lnTo>
                  <a:lnTo>
                    <a:pt x="108" y="296"/>
                  </a:lnTo>
                  <a:close/>
                  <a:moveTo>
                    <a:pt x="2" y="346"/>
                  </a:moveTo>
                  <a:lnTo>
                    <a:pt x="4" y="346"/>
                  </a:lnTo>
                  <a:lnTo>
                    <a:pt x="4" y="348"/>
                  </a:lnTo>
                  <a:lnTo>
                    <a:pt x="2" y="348"/>
                  </a:lnTo>
                  <a:lnTo>
                    <a:pt x="2" y="346"/>
                  </a:lnTo>
                  <a:close/>
                  <a:moveTo>
                    <a:pt x="96" y="252"/>
                  </a:moveTo>
                  <a:lnTo>
                    <a:pt x="96" y="254"/>
                  </a:lnTo>
                  <a:lnTo>
                    <a:pt x="96" y="252"/>
                  </a:lnTo>
                  <a:close/>
                  <a:moveTo>
                    <a:pt x="173" y="133"/>
                  </a:moveTo>
                  <a:lnTo>
                    <a:pt x="173" y="135"/>
                  </a:lnTo>
                  <a:lnTo>
                    <a:pt x="173" y="133"/>
                  </a:lnTo>
                  <a:close/>
                  <a:moveTo>
                    <a:pt x="119" y="319"/>
                  </a:moveTo>
                  <a:lnTo>
                    <a:pt x="121" y="319"/>
                  </a:lnTo>
                  <a:lnTo>
                    <a:pt x="119" y="319"/>
                  </a:lnTo>
                  <a:close/>
                  <a:moveTo>
                    <a:pt x="117" y="325"/>
                  </a:moveTo>
                  <a:lnTo>
                    <a:pt x="119" y="325"/>
                  </a:lnTo>
                  <a:lnTo>
                    <a:pt x="117" y="325"/>
                  </a:lnTo>
                  <a:close/>
                  <a:moveTo>
                    <a:pt x="87" y="363"/>
                  </a:moveTo>
                  <a:lnTo>
                    <a:pt x="89" y="363"/>
                  </a:lnTo>
                  <a:lnTo>
                    <a:pt x="87" y="363"/>
                  </a:lnTo>
                  <a:close/>
                  <a:moveTo>
                    <a:pt x="94" y="235"/>
                  </a:moveTo>
                  <a:lnTo>
                    <a:pt x="94" y="236"/>
                  </a:lnTo>
                  <a:lnTo>
                    <a:pt x="94" y="235"/>
                  </a:lnTo>
                  <a:close/>
                  <a:moveTo>
                    <a:pt x="2" y="346"/>
                  </a:moveTo>
                  <a:lnTo>
                    <a:pt x="4" y="346"/>
                  </a:lnTo>
                  <a:lnTo>
                    <a:pt x="2" y="346"/>
                  </a:lnTo>
                  <a:close/>
                  <a:moveTo>
                    <a:pt x="12" y="365"/>
                  </a:moveTo>
                  <a:lnTo>
                    <a:pt x="12" y="367"/>
                  </a:lnTo>
                  <a:lnTo>
                    <a:pt x="12" y="365"/>
                  </a:lnTo>
                  <a:close/>
                  <a:moveTo>
                    <a:pt x="183" y="127"/>
                  </a:moveTo>
                  <a:lnTo>
                    <a:pt x="185" y="127"/>
                  </a:lnTo>
                  <a:lnTo>
                    <a:pt x="185" y="129"/>
                  </a:lnTo>
                  <a:lnTo>
                    <a:pt x="183" y="129"/>
                  </a:lnTo>
                  <a:lnTo>
                    <a:pt x="183" y="127"/>
                  </a:lnTo>
                  <a:close/>
                  <a:moveTo>
                    <a:pt x="114" y="323"/>
                  </a:moveTo>
                  <a:lnTo>
                    <a:pt x="114" y="325"/>
                  </a:lnTo>
                  <a:lnTo>
                    <a:pt x="114" y="323"/>
                  </a:lnTo>
                  <a:close/>
                  <a:moveTo>
                    <a:pt x="4" y="350"/>
                  </a:moveTo>
                  <a:lnTo>
                    <a:pt x="4" y="352"/>
                  </a:lnTo>
                  <a:lnTo>
                    <a:pt x="4" y="350"/>
                  </a:lnTo>
                  <a:close/>
                  <a:moveTo>
                    <a:pt x="12" y="379"/>
                  </a:moveTo>
                  <a:lnTo>
                    <a:pt x="12" y="381"/>
                  </a:lnTo>
                  <a:lnTo>
                    <a:pt x="12" y="379"/>
                  </a:lnTo>
                  <a:close/>
                  <a:moveTo>
                    <a:pt x="93" y="277"/>
                  </a:moveTo>
                  <a:lnTo>
                    <a:pt x="94" y="277"/>
                  </a:lnTo>
                  <a:lnTo>
                    <a:pt x="94" y="279"/>
                  </a:lnTo>
                  <a:lnTo>
                    <a:pt x="93" y="279"/>
                  </a:lnTo>
                  <a:lnTo>
                    <a:pt x="93" y="277"/>
                  </a:lnTo>
                  <a:close/>
                  <a:moveTo>
                    <a:pt x="142" y="200"/>
                  </a:moveTo>
                  <a:lnTo>
                    <a:pt x="144" y="200"/>
                  </a:lnTo>
                  <a:lnTo>
                    <a:pt x="142" y="200"/>
                  </a:lnTo>
                  <a:close/>
                  <a:moveTo>
                    <a:pt x="173" y="127"/>
                  </a:moveTo>
                  <a:lnTo>
                    <a:pt x="175" y="127"/>
                  </a:lnTo>
                  <a:lnTo>
                    <a:pt x="175" y="129"/>
                  </a:lnTo>
                  <a:lnTo>
                    <a:pt x="173" y="129"/>
                  </a:lnTo>
                  <a:lnTo>
                    <a:pt x="173" y="127"/>
                  </a:lnTo>
                  <a:close/>
                  <a:moveTo>
                    <a:pt x="69" y="421"/>
                  </a:moveTo>
                  <a:lnTo>
                    <a:pt x="71" y="421"/>
                  </a:lnTo>
                  <a:lnTo>
                    <a:pt x="69" y="421"/>
                  </a:lnTo>
                  <a:close/>
                  <a:moveTo>
                    <a:pt x="110" y="338"/>
                  </a:moveTo>
                  <a:lnTo>
                    <a:pt x="112" y="338"/>
                  </a:lnTo>
                  <a:lnTo>
                    <a:pt x="112" y="340"/>
                  </a:lnTo>
                  <a:lnTo>
                    <a:pt x="110" y="340"/>
                  </a:lnTo>
                  <a:lnTo>
                    <a:pt x="110" y="338"/>
                  </a:lnTo>
                  <a:close/>
                  <a:moveTo>
                    <a:pt x="160" y="146"/>
                  </a:moveTo>
                  <a:lnTo>
                    <a:pt x="162" y="146"/>
                  </a:lnTo>
                  <a:lnTo>
                    <a:pt x="160" y="146"/>
                  </a:lnTo>
                  <a:close/>
                  <a:moveTo>
                    <a:pt x="167" y="127"/>
                  </a:moveTo>
                  <a:lnTo>
                    <a:pt x="167" y="129"/>
                  </a:lnTo>
                  <a:lnTo>
                    <a:pt x="167" y="127"/>
                  </a:lnTo>
                  <a:close/>
                  <a:moveTo>
                    <a:pt x="83" y="392"/>
                  </a:moveTo>
                  <a:lnTo>
                    <a:pt x="83" y="394"/>
                  </a:lnTo>
                  <a:lnTo>
                    <a:pt x="83" y="392"/>
                  </a:lnTo>
                  <a:close/>
                  <a:moveTo>
                    <a:pt x="125" y="204"/>
                  </a:moveTo>
                  <a:lnTo>
                    <a:pt x="125" y="206"/>
                  </a:lnTo>
                  <a:lnTo>
                    <a:pt x="125" y="204"/>
                  </a:lnTo>
                  <a:close/>
                  <a:moveTo>
                    <a:pt x="116" y="212"/>
                  </a:moveTo>
                  <a:lnTo>
                    <a:pt x="117" y="212"/>
                  </a:lnTo>
                  <a:lnTo>
                    <a:pt x="117" y="213"/>
                  </a:lnTo>
                  <a:lnTo>
                    <a:pt x="116" y="213"/>
                  </a:lnTo>
                  <a:lnTo>
                    <a:pt x="116" y="212"/>
                  </a:lnTo>
                  <a:close/>
                  <a:moveTo>
                    <a:pt x="96" y="260"/>
                  </a:moveTo>
                  <a:lnTo>
                    <a:pt x="96" y="261"/>
                  </a:lnTo>
                  <a:lnTo>
                    <a:pt x="96" y="260"/>
                  </a:lnTo>
                  <a:close/>
                  <a:moveTo>
                    <a:pt x="187" y="131"/>
                  </a:moveTo>
                  <a:lnTo>
                    <a:pt x="188" y="131"/>
                  </a:lnTo>
                  <a:lnTo>
                    <a:pt x="187" y="131"/>
                  </a:lnTo>
                  <a:close/>
                  <a:moveTo>
                    <a:pt x="177" y="129"/>
                  </a:moveTo>
                  <a:lnTo>
                    <a:pt x="177" y="131"/>
                  </a:lnTo>
                  <a:lnTo>
                    <a:pt x="177" y="129"/>
                  </a:lnTo>
                  <a:close/>
                  <a:moveTo>
                    <a:pt x="171" y="135"/>
                  </a:moveTo>
                  <a:lnTo>
                    <a:pt x="173" y="135"/>
                  </a:lnTo>
                  <a:lnTo>
                    <a:pt x="171" y="135"/>
                  </a:lnTo>
                  <a:close/>
                  <a:moveTo>
                    <a:pt x="171" y="135"/>
                  </a:moveTo>
                  <a:lnTo>
                    <a:pt x="173" y="135"/>
                  </a:lnTo>
                  <a:lnTo>
                    <a:pt x="173" y="137"/>
                  </a:lnTo>
                  <a:lnTo>
                    <a:pt x="171" y="137"/>
                  </a:lnTo>
                  <a:lnTo>
                    <a:pt x="171" y="135"/>
                  </a:lnTo>
                  <a:close/>
                  <a:moveTo>
                    <a:pt x="156" y="148"/>
                  </a:moveTo>
                  <a:lnTo>
                    <a:pt x="158" y="148"/>
                  </a:lnTo>
                  <a:lnTo>
                    <a:pt x="156" y="148"/>
                  </a:lnTo>
                  <a:close/>
                  <a:moveTo>
                    <a:pt x="8" y="367"/>
                  </a:moveTo>
                  <a:lnTo>
                    <a:pt x="8" y="369"/>
                  </a:lnTo>
                  <a:lnTo>
                    <a:pt x="8" y="367"/>
                  </a:lnTo>
                  <a:close/>
                  <a:moveTo>
                    <a:pt x="171" y="137"/>
                  </a:moveTo>
                  <a:lnTo>
                    <a:pt x="173" y="137"/>
                  </a:lnTo>
                  <a:lnTo>
                    <a:pt x="171" y="137"/>
                  </a:lnTo>
                  <a:close/>
                  <a:moveTo>
                    <a:pt x="112" y="304"/>
                  </a:moveTo>
                  <a:lnTo>
                    <a:pt x="114" y="304"/>
                  </a:lnTo>
                  <a:lnTo>
                    <a:pt x="112" y="304"/>
                  </a:lnTo>
                  <a:close/>
                  <a:moveTo>
                    <a:pt x="116" y="329"/>
                  </a:moveTo>
                  <a:lnTo>
                    <a:pt x="116" y="331"/>
                  </a:lnTo>
                  <a:lnTo>
                    <a:pt x="116" y="329"/>
                  </a:lnTo>
                  <a:close/>
                  <a:moveTo>
                    <a:pt x="114" y="215"/>
                  </a:moveTo>
                  <a:lnTo>
                    <a:pt x="116" y="215"/>
                  </a:lnTo>
                  <a:lnTo>
                    <a:pt x="114" y="215"/>
                  </a:lnTo>
                  <a:close/>
                  <a:moveTo>
                    <a:pt x="87" y="357"/>
                  </a:moveTo>
                  <a:lnTo>
                    <a:pt x="87" y="359"/>
                  </a:lnTo>
                  <a:lnTo>
                    <a:pt x="87" y="357"/>
                  </a:lnTo>
                  <a:close/>
                  <a:moveTo>
                    <a:pt x="112" y="306"/>
                  </a:moveTo>
                  <a:lnTo>
                    <a:pt x="114" y="306"/>
                  </a:lnTo>
                  <a:lnTo>
                    <a:pt x="112" y="306"/>
                  </a:lnTo>
                  <a:close/>
                  <a:moveTo>
                    <a:pt x="10" y="371"/>
                  </a:moveTo>
                  <a:lnTo>
                    <a:pt x="10" y="373"/>
                  </a:lnTo>
                  <a:lnTo>
                    <a:pt x="10" y="371"/>
                  </a:lnTo>
                  <a:close/>
                  <a:moveTo>
                    <a:pt x="162" y="139"/>
                  </a:moveTo>
                  <a:lnTo>
                    <a:pt x="164" y="139"/>
                  </a:lnTo>
                  <a:lnTo>
                    <a:pt x="162" y="139"/>
                  </a:lnTo>
                  <a:close/>
                  <a:moveTo>
                    <a:pt x="117" y="375"/>
                  </a:moveTo>
                  <a:lnTo>
                    <a:pt x="119" y="375"/>
                  </a:lnTo>
                  <a:lnTo>
                    <a:pt x="117" y="375"/>
                  </a:lnTo>
                  <a:close/>
                  <a:moveTo>
                    <a:pt x="4" y="357"/>
                  </a:moveTo>
                  <a:lnTo>
                    <a:pt x="4" y="359"/>
                  </a:lnTo>
                  <a:lnTo>
                    <a:pt x="4" y="357"/>
                  </a:lnTo>
                  <a:close/>
                  <a:moveTo>
                    <a:pt x="158" y="127"/>
                  </a:moveTo>
                  <a:lnTo>
                    <a:pt x="160" y="127"/>
                  </a:lnTo>
                  <a:lnTo>
                    <a:pt x="160" y="129"/>
                  </a:lnTo>
                  <a:lnTo>
                    <a:pt x="158" y="129"/>
                  </a:lnTo>
                  <a:lnTo>
                    <a:pt x="158" y="127"/>
                  </a:lnTo>
                  <a:close/>
                  <a:moveTo>
                    <a:pt x="116" y="321"/>
                  </a:moveTo>
                  <a:lnTo>
                    <a:pt x="116" y="323"/>
                  </a:lnTo>
                  <a:lnTo>
                    <a:pt x="116" y="321"/>
                  </a:lnTo>
                  <a:close/>
                  <a:moveTo>
                    <a:pt x="83" y="381"/>
                  </a:moveTo>
                  <a:lnTo>
                    <a:pt x="85" y="381"/>
                  </a:lnTo>
                  <a:lnTo>
                    <a:pt x="85" y="382"/>
                  </a:lnTo>
                  <a:lnTo>
                    <a:pt x="83" y="382"/>
                  </a:lnTo>
                  <a:lnTo>
                    <a:pt x="83" y="381"/>
                  </a:lnTo>
                  <a:close/>
                  <a:moveTo>
                    <a:pt x="93" y="290"/>
                  </a:moveTo>
                  <a:lnTo>
                    <a:pt x="94" y="290"/>
                  </a:lnTo>
                  <a:lnTo>
                    <a:pt x="93" y="290"/>
                  </a:lnTo>
                  <a:close/>
                  <a:moveTo>
                    <a:pt x="106" y="338"/>
                  </a:moveTo>
                  <a:lnTo>
                    <a:pt x="106" y="340"/>
                  </a:lnTo>
                  <a:lnTo>
                    <a:pt x="106" y="338"/>
                  </a:lnTo>
                  <a:close/>
                  <a:moveTo>
                    <a:pt x="114" y="325"/>
                  </a:moveTo>
                  <a:lnTo>
                    <a:pt x="116" y="325"/>
                  </a:lnTo>
                  <a:lnTo>
                    <a:pt x="114" y="325"/>
                  </a:lnTo>
                  <a:close/>
                  <a:moveTo>
                    <a:pt x="173" y="129"/>
                  </a:moveTo>
                  <a:lnTo>
                    <a:pt x="173" y="131"/>
                  </a:lnTo>
                  <a:lnTo>
                    <a:pt x="173" y="129"/>
                  </a:lnTo>
                  <a:close/>
                  <a:moveTo>
                    <a:pt x="68" y="417"/>
                  </a:moveTo>
                  <a:lnTo>
                    <a:pt x="69" y="417"/>
                  </a:lnTo>
                  <a:lnTo>
                    <a:pt x="69" y="419"/>
                  </a:lnTo>
                  <a:lnTo>
                    <a:pt x="68" y="419"/>
                  </a:lnTo>
                  <a:lnTo>
                    <a:pt x="68" y="417"/>
                  </a:lnTo>
                  <a:close/>
                  <a:moveTo>
                    <a:pt x="116" y="329"/>
                  </a:moveTo>
                  <a:lnTo>
                    <a:pt x="116" y="331"/>
                  </a:lnTo>
                  <a:lnTo>
                    <a:pt x="116" y="329"/>
                  </a:lnTo>
                  <a:close/>
                  <a:moveTo>
                    <a:pt x="160" y="135"/>
                  </a:moveTo>
                  <a:lnTo>
                    <a:pt x="162" y="135"/>
                  </a:lnTo>
                  <a:lnTo>
                    <a:pt x="160" y="135"/>
                  </a:lnTo>
                  <a:close/>
                  <a:moveTo>
                    <a:pt x="114" y="323"/>
                  </a:moveTo>
                  <a:lnTo>
                    <a:pt x="116" y="323"/>
                  </a:lnTo>
                  <a:lnTo>
                    <a:pt x="114" y="323"/>
                  </a:lnTo>
                  <a:close/>
                  <a:moveTo>
                    <a:pt x="112" y="327"/>
                  </a:moveTo>
                  <a:lnTo>
                    <a:pt x="114" y="327"/>
                  </a:lnTo>
                  <a:lnTo>
                    <a:pt x="112" y="327"/>
                  </a:lnTo>
                  <a:close/>
                  <a:moveTo>
                    <a:pt x="162" y="135"/>
                  </a:moveTo>
                  <a:lnTo>
                    <a:pt x="162" y="137"/>
                  </a:lnTo>
                  <a:lnTo>
                    <a:pt x="162" y="135"/>
                  </a:lnTo>
                  <a:close/>
                  <a:moveTo>
                    <a:pt x="167" y="139"/>
                  </a:moveTo>
                  <a:lnTo>
                    <a:pt x="169" y="139"/>
                  </a:lnTo>
                  <a:lnTo>
                    <a:pt x="169" y="140"/>
                  </a:lnTo>
                  <a:lnTo>
                    <a:pt x="167" y="140"/>
                  </a:lnTo>
                  <a:lnTo>
                    <a:pt x="167" y="139"/>
                  </a:lnTo>
                  <a:close/>
                  <a:moveTo>
                    <a:pt x="83" y="357"/>
                  </a:moveTo>
                  <a:lnTo>
                    <a:pt x="85" y="357"/>
                  </a:lnTo>
                  <a:lnTo>
                    <a:pt x="83" y="357"/>
                  </a:lnTo>
                  <a:close/>
                  <a:moveTo>
                    <a:pt x="119" y="210"/>
                  </a:moveTo>
                  <a:lnTo>
                    <a:pt x="121" y="210"/>
                  </a:lnTo>
                  <a:lnTo>
                    <a:pt x="121" y="212"/>
                  </a:lnTo>
                  <a:lnTo>
                    <a:pt x="119" y="212"/>
                  </a:lnTo>
                  <a:lnTo>
                    <a:pt x="119" y="210"/>
                  </a:lnTo>
                  <a:close/>
                  <a:moveTo>
                    <a:pt x="71" y="421"/>
                  </a:moveTo>
                  <a:lnTo>
                    <a:pt x="71" y="423"/>
                  </a:lnTo>
                  <a:lnTo>
                    <a:pt x="71" y="421"/>
                  </a:lnTo>
                  <a:close/>
                  <a:moveTo>
                    <a:pt x="154" y="140"/>
                  </a:moveTo>
                  <a:lnTo>
                    <a:pt x="156" y="140"/>
                  </a:lnTo>
                  <a:lnTo>
                    <a:pt x="154" y="140"/>
                  </a:lnTo>
                  <a:close/>
                  <a:moveTo>
                    <a:pt x="12" y="365"/>
                  </a:moveTo>
                  <a:lnTo>
                    <a:pt x="12" y="367"/>
                  </a:lnTo>
                  <a:lnTo>
                    <a:pt x="12" y="365"/>
                  </a:lnTo>
                  <a:close/>
                  <a:moveTo>
                    <a:pt x="6" y="361"/>
                  </a:moveTo>
                  <a:lnTo>
                    <a:pt x="6" y="363"/>
                  </a:lnTo>
                  <a:lnTo>
                    <a:pt x="6" y="361"/>
                  </a:lnTo>
                  <a:close/>
                  <a:moveTo>
                    <a:pt x="112" y="304"/>
                  </a:moveTo>
                  <a:lnTo>
                    <a:pt x="114" y="304"/>
                  </a:lnTo>
                  <a:lnTo>
                    <a:pt x="112" y="304"/>
                  </a:lnTo>
                  <a:close/>
                  <a:moveTo>
                    <a:pt x="116" y="333"/>
                  </a:moveTo>
                  <a:lnTo>
                    <a:pt x="117" y="333"/>
                  </a:lnTo>
                  <a:lnTo>
                    <a:pt x="116" y="333"/>
                  </a:lnTo>
                  <a:close/>
                  <a:moveTo>
                    <a:pt x="112" y="306"/>
                  </a:moveTo>
                  <a:lnTo>
                    <a:pt x="114" y="306"/>
                  </a:lnTo>
                  <a:lnTo>
                    <a:pt x="114" y="308"/>
                  </a:lnTo>
                  <a:lnTo>
                    <a:pt x="112" y="308"/>
                  </a:lnTo>
                  <a:lnTo>
                    <a:pt x="112" y="306"/>
                  </a:lnTo>
                  <a:close/>
                  <a:moveTo>
                    <a:pt x="116" y="213"/>
                  </a:moveTo>
                  <a:lnTo>
                    <a:pt x="116" y="215"/>
                  </a:lnTo>
                  <a:lnTo>
                    <a:pt x="116" y="213"/>
                  </a:lnTo>
                  <a:close/>
                  <a:moveTo>
                    <a:pt x="10" y="357"/>
                  </a:moveTo>
                  <a:lnTo>
                    <a:pt x="10" y="359"/>
                  </a:lnTo>
                  <a:lnTo>
                    <a:pt x="10" y="357"/>
                  </a:lnTo>
                  <a:close/>
                  <a:moveTo>
                    <a:pt x="171" y="129"/>
                  </a:moveTo>
                  <a:lnTo>
                    <a:pt x="173" y="129"/>
                  </a:lnTo>
                  <a:lnTo>
                    <a:pt x="171" y="129"/>
                  </a:lnTo>
                  <a:close/>
                  <a:moveTo>
                    <a:pt x="179" y="125"/>
                  </a:moveTo>
                  <a:lnTo>
                    <a:pt x="181" y="125"/>
                  </a:lnTo>
                  <a:lnTo>
                    <a:pt x="179" y="125"/>
                  </a:lnTo>
                  <a:close/>
                  <a:moveTo>
                    <a:pt x="8" y="365"/>
                  </a:moveTo>
                  <a:lnTo>
                    <a:pt x="10" y="365"/>
                  </a:lnTo>
                  <a:lnTo>
                    <a:pt x="10" y="367"/>
                  </a:lnTo>
                  <a:lnTo>
                    <a:pt x="8" y="367"/>
                  </a:lnTo>
                  <a:lnTo>
                    <a:pt x="8" y="365"/>
                  </a:lnTo>
                  <a:close/>
                  <a:moveTo>
                    <a:pt x="114" y="304"/>
                  </a:moveTo>
                  <a:lnTo>
                    <a:pt x="114" y="306"/>
                  </a:lnTo>
                  <a:lnTo>
                    <a:pt x="114" y="304"/>
                  </a:lnTo>
                  <a:close/>
                  <a:moveTo>
                    <a:pt x="91" y="263"/>
                  </a:moveTo>
                  <a:lnTo>
                    <a:pt x="93" y="263"/>
                  </a:lnTo>
                  <a:lnTo>
                    <a:pt x="93" y="265"/>
                  </a:lnTo>
                  <a:lnTo>
                    <a:pt x="91" y="265"/>
                  </a:lnTo>
                  <a:lnTo>
                    <a:pt x="91" y="263"/>
                  </a:lnTo>
                  <a:close/>
                  <a:moveTo>
                    <a:pt x="2" y="342"/>
                  </a:moveTo>
                  <a:lnTo>
                    <a:pt x="4" y="342"/>
                  </a:lnTo>
                  <a:lnTo>
                    <a:pt x="4" y="344"/>
                  </a:lnTo>
                  <a:lnTo>
                    <a:pt x="2" y="344"/>
                  </a:lnTo>
                  <a:lnTo>
                    <a:pt x="2" y="342"/>
                  </a:lnTo>
                  <a:close/>
                  <a:moveTo>
                    <a:pt x="93" y="265"/>
                  </a:moveTo>
                  <a:lnTo>
                    <a:pt x="94" y="265"/>
                  </a:lnTo>
                  <a:lnTo>
                    <a:pt x="93" y="265"/>
                  </a:lnTo>
                  <a:close/>
                  <a:moveTo>
                    <a:pt x="167" y="131"/>
                  </a:moveTo>
                  <a:lnTo>
                    <a:pt x="169" y="131"/>
                  </a:lnTo>
                  <a:lnTo>
                    <a:pt x="169" y="133"/>
                  </a:lnTo>
                  <a:lnTo>
                    <a:pt x="167" y="133"/>
                  </a:lnTo>
                  <a:lnTo>
                    <a:pt x="167" y="131"/>
                  </a:lnTo>
                  <a:close/>
                  <a:moveTo>
                    <a:pt x="117" y="323"/>
                  </a:moveTo>
                  <a:lnTo>
                    <a:pt x="119" y="323"/>
                  </a:lnTo>
                  <a:lnTo>
                    <a:pt x="117" y="323"/>
                  </a:lnTo>
                  <a:close/>
                  <a:moveTo>
                    <a:pt x="114" y="327"/>
                  </a:moveTo>
                  <a:lnTo>
                    <a:pt x="116" y="327"/>
                  </a:lnTo>
                  <a:lnTo>
                    <a:pt x="116" y="329"/>
                  </a:lnTo>
                  <a:lnTo>
                    <a:pt x="114" y="329"/>
                  </a:lnTo>
                  <a:lnTo>
                    <a:pt x="114" y="327"/>
                  </a:lnTo>
                  <a:close/>
                  <a:moveTo>
                    <a:pt x="112" y="334"/>
                  </a:moveTo>
                  <a:lnTo>
                    <a:pt x="114" y="334"/>
                  </a:lnTo>
                  <a:lnTo>
                    <a:pt x="114" y="336"/>
                  </a:lnTo>
                  <a:lnTo>
                    <a:pt x="112" y="336"/>
                  </a:lnTo>
                  <a:lnTo>
                    <a:pt x="112" y="334"/>
                  </a:lnTo>
                  <a:close/>
                  <a:moveTo>
                    <a:pt x="10" y="371"/>
                  </a:moveTo>
                  <a:lnTo>
                    <a:pt x="12" y="371"/>
                  </a:lnTo>
                  <a:lnTo>
                    <a:pt x="10" y="371"/>
                  </a:lnTo>
                  <a:close/>
                  <a:moveTo>
                    <a:pt x="94" y="235"/>
                  </a:moveTo>
                  <a:lnTo>
                    <a:pt x="96" y="235"/>
                  </a:lnTo>
                  <a:lnTo>
                    <a:pt x="96" y="236"/>
                  </a:lnTo>
                  <a:lnTo>
                    <a:pt x="94" y="236"/>
                  </a:lnTo>
                  <a:lnTo>
                    <a:pt x="94" y="235"/>
                  </a:lnTo>
                  <a:close/>
                  <a:moveTo>
                    <a:pt x="56" y="423"/>
                  </a:moveTo>
                  <a:lnTo>
                    <a:pt x="58" y="423"/>
                  </a:lnTo>
                  <a:lnTo>
                    <a:pt x="56" y="423"/>
                  </a:lnTo>
                  <a:close/>
                  <a:moveTo>
                    <a:pt x="110" y="338"/>
                  </a:moveTo>
                  <a:lnTo>
                    <a:pt x="112" y="338"/>
                  </a:lnTo>
                  <a:lnTo>
                    <a:pt x="110" y="338"/>
                  </a:lnTo>
                  <a:close/>
                  <a:moveTo>
                    <a:pt x="112" y="336"/>
                  </a:moveTo>
                  <a:lnTo>
                    <a:pt x="114" y="336"/>
                  </a:lnTo>
                  <a:lnTo>
                    <a:pt x="112" y="336"/>
                  </a:lnTo>
                  <a:close/>
                  <a:moveTo>
                    <a:pt x="12" y="379"/>
                  </a:moveTo>
                  <a:lnTo>
                    <a:pt x="12" y="381"/>
                  </a:lnTo>
                  <a:lnTo>
                    <a:pt x="12" y="379"/>
                  </a:lnTo>
                  <a:close/>
                  <a:moveTo>
                    <a:pt x="167" y="125"/>
                  </a:moveTo>
                  <a:lnTo>
                    <a:pt x="169" y="125"/>
                  </a:lnTo>
                  <a:lnTo>
                    <a:pt x="167" y="125"/>
                  </a:lnTo>
                  <a:close/>
                  <a:moveTo>
                    <a:pt x="98" y="344"/>
                  </a:moveTo>
                  <a:lnTo>
                    <a:pt x="98" y="346"/>
                  </a:lnTo>
                  <a:lnTo>
                    <a:pt x="98" y="344"/>
                  </a:lnTo>
                  <a:close/>
                  <a:moveTo>
                    <a:pt x="158" y="139"/>
                  </a:moveTo>
                  <a:lnTo>
                    <a:pt x="160" y="139"/>
                  </a:lnTo>
                  <a:lnTo>
                    <a:pt x="160" y="140"/>
                  </a:lnTo>
                  <a:lnTo>
                    <a:pt x="158" y="140"/>
                  </a:lnTo>
                  <a:lnTo>
                    <a:pt x="158" y="139"/>
                  </a:lnTo>
                  <a:close/>
                  <a:moveTo>
                    <a:pt x="87" y="363"/>
                  </a:moveTo>
                  <a:lnTo>
                    <a:pt x="89" y="363"/>
                  </a:lnTo>
                  <a:lnTo>
                    <a:pt x="87" y="363"/>
                  </a:lnTo>
                  <a:close/>
                  <a:moveTo>
                    <a:pt x="119" y="323"/>
                  </a:moveTo>
                  <a:lnTo>
                    <a:pt x="121" y="323"/>
                  </a:lnTo>
                  <a:lnTo>
                    <a:pt x="121" y="325"/>
                  </a:lnTo>
                  <a:lnTo>
                    <a:pt x="119" y="325"/>
                  </a:lnTo>
                  <a:lnTo>
                    <a:pt x="119" y="323"/>
                  </a:lnTo>
                  <a:close/>
                  <a:moveTo>
                    <a:pt x="167" y="131"/>
                  </a:moveTo>
                  <a:lnTo>
                    <a:pt x="167" y="133"/>
                  </a:lnTo>
                  <a:lnTo>
                    <a:pt x="167" y="131"/>
                  </a:lnTo>
                  <a:close/>
                  <a:moveTo>
                    <a:pt x="192" y="127"/>
                  </a:moveTo>
                  <a:lnTo>
                    <a:pt x="194" y="127"/>
                  </a:lnTo>
                  <a:lnTo>
                    <a:pt x="194" y="129"/>
                  </a:lnTo>
                  <a:lnTo>
                    <a:pt x="192" y="129"/>
                  </a:lnTo>
                  <a:lnTo>
                    <a:pt x="192" y="127"/>
                  </a:lnTo>
                  <a:close/>
                  <a:moveTo>
                    <a:pt x="66" y="419"/>
                  </a:moveTo>
                  <a:lnTo>
                    <a:pt x="68" y="419"/>
                  </a:lnTo>
                  <a:lnTo>
                    <a:pt x="68" y="421"/>
                  </a:lnTo>
                  <a:lnTo>
                    <a:pt x="66" y="421"/>
                  </a:lnTo>
                  <a:lnTo>
                    <a:pt x="66" y="419"/>
                  </a:lnTo>
                  <a:close/>
                  <a:moveTo>
                    <a:pt x="108" y="329"/>
                  </a:moveTo>
                  <a:lnTo>
                    <a:pt x="110" y="329"/>
                  </a:lnTo>
                  <a:lnTo>
                    <a:pt x="108" y="329"/>
                  </a:lnTo>
                  <a:close/>
                  <a:moveTo>
                    <a:pt x="175" y="131"/>
                  </a:moveTo>
                  <a:lnTo>
                    <a:pt x="177" y="131"/>
                  </a:lnTo>
                  <a:lnTo>
                    <a:pt x="175" y="131"/>
                  </a:lnTo>
                  <a:close/>
                  <a:moveTo>
                    <a:pt x="100" y="348"/>
                  </a:moveTo>
                  <a:lnTo>
                    <a:pt x="102" y="348"/>
                  </a:lnTo>
                  <a:lnTo>
                    <a:pt x="100" y="348"/>
                  </a:lnTo>
                  <a:close/>
                  <a:moveTo>
                    <a:pt x="6" y="359"/>
                  </a:moveTo>
                  <a:lnTo>
                    <a:pt x="6" y="361"/>
                  </a:lnTo>
                  <a:lnTo>
                    <a:pt x="6" y="359"/>
                  </a:lnTo>
                  <a:close/>
                  <a:moveTo>
                    <a:pt x="112" y="338"/>
                  </a:moveTo>
                  <a:lnTo>
                    <a:pt x="114" y="338"/>
                  </a:lnTo>
                  <a:lnTo>
                    <a:pt x="112" y="338"/>
                  </a:lnTo>
                  <a:close/>
                  <a:moveTo>
                    <a:pt x="91" y="265"/>
                  </a:moveTo>
                  <a:lnTo>
                    <a:pt x="93" y="265"/>
                  </a:lnTo>
                  <a:lnTo>
                    <a:pt x="91" y="265"/>
                  </a:lnTo>
                  <a:close/>
                  <a:moveTo>
                    <a:pt x="85" y="369"/>
                  </a:moveTo>
                  <a:lnTo>
                    <a:pt x="85" y="371"/>
                  </a:lnTo>
                  <a:lnTo>
                    <a:pt x="85" y="369"/>
                  </a:lnTo>
                  <a:close/>
                  <a:moveTo>
                    <a:pt x="119" y="321"/>
                  </a:moveTo>
                  <a:lnTo>
                    <a:pt x="121" y="321"/>
                  </a:lnTo>
                  <a:lnTo>
                    <a:pt x="121" y="323"/>
                  </a:lnTo>
                  <a:lnTo>
                    <a:pt x="119" y="323"/>
                  </a:lnTo>
                  <a:lnTo>
                    <a:pt x="119" y="321"/>
                  </a:lnTo>
                  <a:close/>
                  <a:moveTo>
                    <a:pt x="116" y="213"/>
                  </a:moveTo>
                  <a:lnTo>
                    <a:pt x="117" y="213"/>
                  </a:lnTo>
                  <a:lnTo>
                    <a:pt x="116" y="213"/>
                  </a:lnTo>
                  <a:close/>
                  <a:moveTo>
                    <a:pt x="83" y="381"/>
                  </a:moveTo>
                  <a:lnTo>
                    <a:pt x="85" y="381"/>
                  </a:lnTo>
                  <a:lnTo>
                    <a:pt x="83" y="381"/>
                  </a:lnTo>
                  <a:close/>
                  <a:moveTo>
                    <a:pt x="85" y="381"/>
                  </a:moveTo>
                  <a:lnTo>
                    <a:pt x="85" y="382"/>
                  </a:lnTo>
                  <a:lnTo>
                    <a:pt x="85" y="381"/>
                  </a:lnTo>
                  <a:close/>
                  <a:moveTo>
                    <a:pt x="146" y="192"/>
                  </a:moveTo>
                  <a:lnTo>
                    <a:pt x="148" y="192"/>
                  </a:lnTo>
                  <a:lnTo>
                    <a:pt x="148" y="194"/>
                  </a:lnTo>
                  <a:lnTo>
                    <a:pt x="146" y="194"/>
                  </a:lnTo>
                  <a:lnTo>
                    <a:pt x="146" y="192"/>
                  </a:lnTo>
                  <a:close/>
                  <a:moveTo>
                    <a:pt x="119" y="321"/>
                  </a:moveTo>
                  <a:lnTo>
                    <a:pt x="119" y="323"/>
                  </a:lnTo>
                  <a:lnTo>
                    <a:pt x="119" y="321"/>
                  </a:lnTo>
                  <a:close/>
                  <a:moveTo>
                    <a:pt x="69" y="421"/>
                  </a:moveTo>
                  <a:lnTo>
                    <a:pt x="71" y="421"/>
                  </a:lnTo>
                  <a:lnTo>
                    <a:pt x="69" y="421"/>
                  </a:lnTo>
                  <a:close/>
                  <a:moveTo>
                    <a:pt x="106" y="223"/>
                  </a:moveTo>
                  <a:lnTo>
                    <a:pt x="108" y="223"/>
                  </a:lnTo>
                  <a:lnTo>
                    <a:pt x="106" y="223"/>
                  </a:lnTo>
                  <a:close/>
                  <a:moveTo>
                    <a:pt x="112" y="302"/>
                  </a:moveTo>
                  <a:lnTo>
                    <a:pt x="112" y="304"/>
                  </a:lnTo>
                  <a:lnTo>
                    <a:pt x="112" y="302"/>
                  </a:lnTo>
                  <a:close/>
                  <a:moveTo>
                    <a:pt x="108" y="338"/>
                  </a:moveTo>
                  <a:lnTo>
                    <a:pt x="110" y="338"/>
                  </a:lnTo>
                  <a:lnTo>
                    <a:pt x="108" y="338"/>
                  </a:lnTo>
                  <a:close/>
                  <a:moveTo>
                    <a:pt x="162" y="137"/>
                  </a:moveTo>
                  <a:lnTo>
                    <a:pt x="164" y="137"/>
                  </a:lnTo>
                  <a:lnTo>
                    <a:pt x="162" y="137"/>
                  </a:lnTo>
                  <a:close/>
                  <a:moveTo>
                    <a:pt x="173" y="127"/>
                  </a:moveTo>
                  <a:lnTo>
                    <a:pt x="175" y="127"/>
                  </a:lnTo>
                  <a:lnTo>
                    <a:pt x="175" y="129"/>
                  </a:lnTo>
                  <a:lnTo>
                    <a:pt x="173" y="129"/>
                  </a:lnTo>
                  <a:lnTo>
                    <a:pt x="173" y="127"/>
                  </a:lnTo>
                  <a:close/>
                  <a:moveTo>
                    <a:pt x="112" y="336"/>
                  </a:moveTo>
                  <a:lnTo>
                    <a:pt x="112" y="338"/>
                  </a:lnTo>
                  <a:lnTo>
                    <a:pt x="112" y="336"/>
                  </a:lnTo>
                  <a:close/>
                  <a:moveTo>
                    <a:pt x="192" y="129"/>
                  </a:moveTo>
                  <a:lnTo>
                    <a:pt x="194" y="129"/>
                  </a:lnTo>
                  <a:lnTo>
                    <a:pt x="192" y="129"/>
                  </a:lnTo>
                  <a:close/>
                  <a:moveTo>
                    <a:pt x="83" y="373"/>
                  </a:moveTo>
                  <a:lnTo>
                    <a:pt x="85" y="373"/>
                  </a:lnTo>
                  <a:lnTo>
                    <a:pt x="83" y="373"/>
                  </a:lnTo>
                  <a:close/>
                  <a:moveTo>
                    <a:pt x="81" y="390"/>
                  </a:moveTo>
                  <a:lnTo>
                    <a:pt x="81" y="392"/>
                  </a:lnTo>
                  <a:lnTo>
                    <a:pt x="81" y="390"/>
                  </a:lnTo>
                  <a:close/>
                  <a:moveTo>
                    <a:pt x="2" y="344"/>
                  </a:moveTo>
                  <a:lnTo>
                    <a:pt x="4" y="344"/>
                  </a:lnTo>
                  <a:lnTo>
                    <a:pt x="2" y="344"/>
                  </a:lnTo>
                  <a:close/>
                  <a:moveTo>
                    <a:pt x="188" y="129"/>
                  </a:moveTo>
                  <a:lnTo>
                    <a:pt x="188" y="131"/>
                  </a:lnTo>
                  <a:lnTo>
                    <a:pt x="188" y="129"/>
                  </a:lnTo>
                  <a:close/>
                  <a:moveTo>
                    <a:pt x="116" y="321"/>
                  </a:moveTo>
                  <a:lnTo>
                    <a:pt x="117" y="321"/>
                  </a:lnTo>
                  <a:lnTo>
                    <a:pt x="116" y="321"/>
                  </a:lnTo>
                  <a:close/>
                  <a:moveTo>
                    <a:pt x="83" y="375"/>
                  </a:moveTo>
                  <a:lnTo>
                    <a:pt x="85" y="375"/>
                  </a:lnTo>
                  <a:lnTo>
                    <a:pt x="83" y="375"/>
                  </a:lnTo>
                  <a:close/>
                  <a:moveTo>
                    <a:pt x="154" y="152"/>
                  </a:moveTo>
                  <a:lnTo>
                    <a:pt x="156" y="152"/>
                  </a:lnTo>
                  <a:lnTo>
                    <a:pt x="154" y="152"/>
                  </a:lnTo>
                  <a:close/>
                  <a:moveTo>
                    <a:pt x="110" y="298"/>
                  </a:moveTo>
                  <a:lnTo>
                    <a:pt x="110" y="300"/>
                  </a:lnTo>
                  <a:lnTo>
                    <a:pt x="110" y="298"/>
                  </a:lnTo>
                  <a:close/>
                  <a:moveTo>
                    <a:pt x="87" y="361"/>
                  </a:moveTo>
                  <a:lnTo>
                    <a:pt x="87" y="363"/>
                  </a:lnTo>
                  <a:lnTo>
                    <a:pt x="87" y="361"/>
                  </a:lnTo>
                  <a:close/>
                  <a:moveTo>
                    <a:pt x="117" y="317"/>
                  </a:moveTo>
                  <a:lnTo>
                    <a:pt x="117" y="319"/>
                  </a:lnTo>
                  <a:lnTo>
                    <a:pt x="117" y="317"/>
                  </a:lnTo>
                  <a:close/>
                  <a:moveTo>
                    <a:pt x="112" y="304"/>
                  </a:moveTo>
                  <a:lnTo>
                    <a:pt x="114" y="304"/>
                  </a:lnTo>
                  <a:lnTo>
                    <a:pt x="112" y="304"/>
                  </a:lnTo>
                  <a:close/>
                  <a:moveTo>
                    <a:pt x="58" y="419"/>
                  </a:moveTo>
                  <a:lnTo>
                    <a:pt x="60" y="419"/>
                  </a:lnTo>
                  <a:lnTo>
                    <a:pt x="58" y="419"/>
                  </a:lnTo>
                  <a:close/>
                  <a:moveTo>
                    <a:pt x="87" y="361"/>
                  </a:moveTo>
                  <a:lnTo>
                    <a:pt x="87" y="363"/>
                  </a:lnTo>
                  <a:lnTo>
                    <a:pt x="87" y="361"/>
                  </a:lnTo>
                  <a:close/>
                  <a:moveTo>
                    <a:pt x="69" y="417"/>
                  </a:moveTo>
                  <a:lnTo>
                    <a:pt x="69" y="419"/>
                  </a:lnTo>
                  <a:lnTo>
                    <a:pt x="69" y="417"/>
                  </a:lnTo>
                  <a:close/>
                  <a:moveTo>
                    <a:pt x="110" y="329"/>
                  </a:moveTo>
                  <a:lnTo>
                    <a:pt x="110" y="331"/>
                  </a:lnTo>
                  <a:lnTo>
                    <a:pt x="110" y="329"/>
                  </a:lnTo>
                  <a:close/>
                  <a:moveTo>
                    <a:pt x="129" y="204"/>
                  </a:moveTo>
                  <a:lnTo>
                    <a:pt x="129" y="206"/>
                  </a:lnTo>
                  <a:lnTo>
                    <a:pt x="129" y="204"/>
                  </a:lnTo>
                  <a:close/>
                  <a:moveTo>
                    <a:pt x="169" y="127"/>
                  </a:moveTo>
                  <a:lnTo>
                    <a:pt x="171" y="127"/>
                  </a:lnTo>
                  <a:lnTo>
                    <a:pt x="169" y="127"/>
                  </a:lnTo>
                  <a:close/>
                  <a:moveTo>
                    <a:pt x="83" y="379"/>
                  </a:moveTo>
                  <a:lnTo>
                    <a:pt x="85" y="379"/>
                  </a:lnTo>
                  <a:lnTo>
                    <a:pt x="83" y="379"/>
                  </a:lnTo>
                  <a:close/>
                  <a:moveTo>
                    <a:pt x="137" y="192"/>
                  </a:moveTo>
                  <a:lnTo>
                    <a:pt x="137" y="194"/>
                  </a:lnTo>
                  <a:lnTo>
                    <a:pt x="137" y="192"/>
                  </a:lnTo>
                  <a:close/>
                  <a:moveTo>
                    <a:pt x="79" y="350"/>
                  </a:moveTo>
                  <a:lnTo>
                    <a:pt x="79" y="352"/>
                  </a:lnTo>
                  <a:lnTo>
                    <a:pt x="79" y="350"/>
                  </a:lnTo>
                  <a:close/>
                  <a:moveTo>
                    <a:pt x="81" y="381"/>
                  </a:moveTo>
                  <a:lnTo>
                    <a:pt x="83" y="381"/>
                  </a:lnTo>
                  <a:lnTo>
                    <a:pt x="81" y="381"/>
                  </a:lnTo>
                  <a:close/>
                  <a:moveTo>
                    <a:pt x="10" y="373"/>
                  </a:moveTo>
                  <a:lnTo>
                    <a:pt x="12" y="373"/>
                  </a:lnTo>
                  <a:lnTo>
                    <a:pt x="10" y="373"/>
                  </a:lnTo>
                  <a:close/>
                  <a:moveTo>
                    <a:pt x="8" y="371"/>
                  </a:moveTo>
                  <a:lnTo>
                    <a:pt x="10" y="371"/>
                  </a:lnTo>
                  <a:lnTo>
                    <a:pt x="10" y="373"/>
                  </a:lnTo>
                  <a:lnTo>
                    <a:pt x="8" y="373"/>
                  </a:lnTo>
                  <a:lnTo>
                    <a:pt x="8" y="371"/>
                  </a:lnTo>
                  <a:close/>
                  <a:moveTo>
                    <a:pt x="87" y="359"/>
                  </a:moveTo>
                  <a:lnTo>
                    <a:pt x="89" y="359"/>
                  </a:lnTo>
                  <a:lnTo>
                    <a:pt x="87" y="359"/>
                  </a:lnTo>
                  <a:close/>
                  <a:moveTo>
                    <a:pt x="167" y="129"/>
                  </a:moveTo>
                  <a:lnTo>
                    <a:pt x="169" y="129"/>
                  </a:lnTo>
                  <a:lnTo>
                    <a:pt x="167" y="129"/>
                  </a:lnTo>
                  <a:close/>
                  <a:moveTo>
                    <a:pt x="108" y="333"/>
                  </a:moveTo>
                  <a:lnTo>
                    <a:pt x="108" y="334"/>
                  </a:lnTo>
                  <a:lnTo>
                    <a:pt x="108" y="333"/>
                  </a:lnTo>
                  <a:close/>
                  <a:moveTo>
                    <a:pt x="106" y="340"/>
                  </a:moveTo>
                  <a:lnTo>
                    <a:pt x="106" y="342"/>
                  </a:lnTo>
                  <a:lnTo>
                    <a:pt x="106" y="340"/>
                  </a:lnTo>
                  <a:close/>
                  <a:moveTo>
                    <a:pt x="14" y="386"/>
                  </a:moveTo>
                  <a:lnTo>
                    <a:pt x="16" y="386"/>
                  </a:lnTo>
                  <a:lnTo>
                    <a:pt x="14" y="386"/>
                  </a:lnTo>
                  <a:close/>
                  <a:moveTo>
                    <a:pt x="167" y="129"/>
                  </a:moveTo>
                  <a:lnTo>
                    <a:pt x="167" y="131"/>
                  </a:lnTo>
                  <a:lnTo>
                    <a:pt x="167" y="129"/>
                  </a:lnTo>
                  <a:close/>
                  <a:moveTo>
                    <a:pt x="110" y="308"/>
                  </a:moveTo>
                  <a:lnTo>
                    <a:pt x="112" y="308"/>
                  </a:lnTo>
                  <a:lnTo>
                    <a:pt x="110" y="308"/>
                  </a:lnTo>
                  <a:close/>
                  <a:moveTo>
                    <a:pt x="114" y="213"/>
                  </a:moveTo>
                  <a:lnTo>
                    <a:pt x="114" y="215"/>
                  </a:lnTo>
                  <a:lnTo>
                    <a:pt x="114" y="213"/>
                  </a:lnTo>
                  <a:close/>
                  <a:moveTo>
                    <a:pt x="83" y="373"/>
                  </a:moveTo>
                  <a:lnTo>
                    <a:pt x="83" y="375"/>
                  </a:lnTo>
                  <a:lnTo>
                    <a:pt x="83" y="373"/>
                  </a:lnTo>
                  <a:close/>
                  <a:moveTo>
                    <a:pt x="94" y="348"/>
                  </a:moveTo>
                  <a:lnTo>
                    <a:pt x="96" y="348"/>
                  </a:lnTo>
                  <a:lnTo>
                    <a:pt x="94" y="348"/>
                  </a:lnTo>
                  <a:close/>
                  <a:moveTo>
                    <a:pt x="188" y="131"/>
                  </a:moveTo>
                  <a:lnTo>
                    <a:pt x="188" y="133"/>
                  </a:lnTo>
                  <a:lnTo>
                    <a:pt x="188" y="131"/>
                  </a:lnTo>
                  <a:close/>
                  <a:moveTo>
                    <a:pt x="93" y="286"/>
                  </a:moveTo>
                  <a:lnTo>
                    <a:pt x="93" y="288"/>
                  </a:lnTo>
                  <a:lnTo>
                    <a:pt x="93" y="286"/>
                  </a:lnTo>
                  <a:close/>
                  <a:moveTo>
                    <a:pt x="171" y="135"/>
                  </a:moveTo>
                  <a:lnTo>
                    <a:pt x="171" y="137"/>
                  </a:lnTo>
                  <a:lnTo>
                    <a:pt x="171" y="135"/>
                  </a:lnTo>
                  <a:close/>
                  <a:moveTo>
                    <a:pt x="106" y="338"/>
                  </a:moveTo>
                  <a:lnTo>
                    <a:pt x="108" y="338"/>
                  </a:lnTo>
                  <a:lnTo>
                    <a:pt x="106" y="338"/>
                  </a:lnTo>
                  <a:close/>
                  <a:moveTo>
                    <a:pt x="116" y="327"/>
                  </a:moveTo>
                  <a:lnTo>
                    <a:pt x="117" y="327"/>
                  </a:lnTo>
                  <a:lnTo>
                    <a:pt x="117" y="329"/>
                  </a:lnTo>
                  <a:lnTo>
                    <a:pt x="116" y="329"/>
                  </a:lnTo>
                  <a:lnTo>
                    <a:pt x="116" y="327"/>
                  </a:lnTo>
                  <a:close/>
                  <a:moveTo>
                    <a:pt x="112" y="336"/>
                  </a:moveTo>
                  <a:lnTo>
                    <a:pt x="114" y="336"/>
                  </a:lnTo>
                  <a:lnTo>
                    <a:pt x="114" y="338"/>
                  </a:lnTo>
                  <a:lnTo>
                    <a:pt x="112" y="338"/>
                  </a:lnTo>
                  <a:lnTo>
                    <a:pt x="112" y="336"/>
                  </a:lnTo>
                  <a:close/>
                  <a:moveTo>
                    <a:pt x="190" y="131"/>
                  </a:moveTo>
                  <a:lnTo>
                    <a:pt x="192" y="131"/>
                  </a:lnTo>
                  <a:lnTo>
                    <a:pt x="192" y="133"/>
                  </a:lnTo>
                  <a:lnTo>
                    <a:pt x="190" y="133"/>
                  </a:lnTo>
                  <a:lnTo>
                    <a:pt x="190" y="131"/>
                  </a:lnTo>
                  <a:close/>
                  <a:moveTo>
                    <a:pt x="114" y="336"/>
                  </a:moveTo>
                  <a:lnTo>
                    <a:pt x="116" y="336"/>
                  </a:lnTo>
                  <a:lnTo>
                    <a:pt x="114" y="336"/>
                  </a:lnTo>
                  <a:close/>
                  <a:moveTo>
                    <a:pt x="114" y="329"/>
                  </a:moveTo>
                  <a:lnTo>
                    <a:pt x="116" y="329"/>
                  </a:lnTo>
                  <a:lnTo>
                    <a:pt x="116" y="331"/>
                  </a:lnTo>
                  <a:lnTo>
                    <a:pt x="114" y="331"/>
                  </a:lnTo>
                  <a:lnTo>
                    <a:pt x="114" y="329"/>
                  </a:lnTo>
                  <a:close/>
                  <a:moveTo>
                    <a:pt x="114" y="321"/>
                  </a:moveTo>
                  <a:lnTo>
                    <a:pt x="116" y="321"/>
                  </a:lnTo>
                  <a:lnTo>
                    <a:pt x="114" y="321"/>
                  </a:lnTo>
                  <a:close/>
                  <a:moveTo>
                    <a:pt x="93" y="348"/>
                  </a:moveTo>
                  <a:lnTo>
                    <a:pt x="93" y="350"/>
                  </a:lnTo>
                  <a:lnTo>
                    <a:pt x="93" y="348"/>
                  </a:lnTo>
                  <a:close/>
                  <a:moveTo>
                    <a:pt x="94" y="350"/>
                  </a:moveTo>
                  <a:lnTo>
                    <a:pt x="96" y="350"/>
                  </a:lnTo>
                  <a:lnTo>
                    <a:pt x="94" y="350"/>
                  </a:lnTo>
                  <a:close/>
                  <a:moveTo>
                    <a:pt x="146" y="187"/>
                  </a:moveTo>
                  <a:lnTo>
                    <a:pt x="146" y="188"/>
                  </a:lnTo>
                  <a:lnTo>
                    <a:pt x="146" y="187"/>
                  </a:lnTo>
                  <a:close/>
                  <a:moveTo>
                    <a:pt x="68" y="417"/>
                  </a:moveTo>
                  <a:lnTo>
                    <a:pt x="68" y="419"/>
                  </a:lnTo>
                  <a:lnTo>
                    <a:pt x="68" y="417"/>
                  </a:lnTo>
                  <a:close/>
                  <a:moveTo>
                    <a:pt x="110" y="338"/>
                  </a:moveTo>
                  <a:lnTo>
                    <a:pt x="112" y="338"/>
                  </a:lnTo>
                  <a:lnTo>
                    <a:pt x="110" y="338"/>
                  </a:lnTo>
                  <a:close/>
                  <a:moveTo>
                    <a:pt x="8" y="365"/>
                  </a:moveTo>
                  <a:lnTo>
                    <a:pt x="8" y="367"/>
                  </a:lnTo>
                  <a:lnTo>
                    <a:pt x="8" y="365"/>
                  </a:lnTo>
                  <a:close/>
                  <a:moveTo>
                    <a:pt x="114" y="336"/>
                  </a:moveTo>
                  <a:lnTo>
                    <a:pt x="114" y="338"/>
                  </a:lnTo>
                  <a:lnTo>
                    <a:pt x="114" y="336"/>
                  </a:lnTo>
                  <a:close/>
                  <a:moveTo>
                    <a:pt x="83" y="373"/>
                  </a:moveTo>
                  <a:lnTo>
                    <a:pt x="85" y="373"/>
                  </a:lnTo>
                  <a:lnTo>
                    <a:pt x="83" y="373"/>
                  </a:lnTo>
                  <a:close/>
                  <a:moveTo>
                    <a:pt x="60" y="417"/>
                  </a:moveTo>
                  <a:lnTo>
                    <a:pt x="60" y="419"/>
                  </a:lnTo>
                  <a:lnTo>
                    <a:pt x="60" y="417"/>
                  </a:lnTo>
                  <a:close/>
                  <a:moveTo>
                    <a:pt x="116" y="304"/>
                  </a:moveTo>
                  <a:lnTo>
                    <a:pt x="116" y="306"/>
                  </a:lnTo>
                  <a:lnTo>
                    <a:pt x="116" y="304"/>
                  </a:lnTo>
                  <a:close/>
                  <a:moveTo>
                    <a:pt x="8" y="371"/>
                  </a:moveTo>
                  <a:lnTo>
                    <a:pt x="10" y="371"/>
                  </a:lnTo>
                  <a:lnTo>
                    <a:pt x="8" y="371"/>
                  </a:lnTo>
                  <a:close/>
                  <a:moveTo>
                    <a:pt x="14" y="361"/>
                  </a:moveTo>
                  <a:lnTo>
                    <a:pt x="14" y="363"/>
                  </a:lnTo>
                  <a:lnTo>
                    <a:pt x="14" y="361"/>
                  </a:lnTo>
                  <a:close/>
                  <a:moveTo>
                    <a:pt x="110" y="338"/>
                  </a:moveTo>
                  <a:lnTo>
                    <a:pt x="110" y="340"/>
                  </a:lnTo>
                  <a:lnTo>
                    <a:pt x="110" y="338"/>
                  </a:lnTo>
                  <a:close/>
                  <a:moveTo>
                    <a:pt x="10" y="373"/>
                  </a:moveTo>
                  <a:lnTo>
                    <a:pt x="12" y="373"/>
                  </a:lnTo>
                  <a:lnTo>
                    <a:pt x="12" y="375"/>
                  </a:lnTo>
                  <a:lnTo>
                    <a:pt x="10" y="375"/>
                  </a:lnTo>
                  <a:lnTo>
                    <a:pt x="10" y="373"/>
                  </a:lnTo>
                  <a:close/>
                  <a:moveTo>
                    <a:pt x="110" y="327"/>
                  </a:moveTo>
                  <a:lnTo>
                    <a:pt x="110" y="329"/>
                  </a:lnTo>
                  <a:lnTo>
                    <a:pt x="110" y="327"/>
                  </a:lnTo>
                  <a:close/>
                  <a:moveTo>
                    <a:pt x="4" y="354"/>
                  </a:moveTo>
                  <a:lnTo>
                    <a:pt x="4" y="356"/>
                  </a:lnTo>
                  <a:lnTo>
                    <a:pt x="4" y="354"/>
                  </a:lnTo>
                  <a:close/>
                  <a:moveTo>
                    <a:pt x="188" y="127"/>
                  </a:moveTo>
                  <a:lnTo>
                    <a:pt x="190" y="127"/>
                  </a:lnTo>
                  <a:lnTo>
                    <a:pt x="188" y="127"/>
                  </a:lnTo>
                  <a:close/>
                  <a:moveTo>
                    <a:pt x="116" y="321"/>
                  </a:moveTo>
                  <a:lnTo>
                    <a:pt x="117" y="321"/>
                  </a:lnTo>
                  <a:lnTo>
                    <a:pt x="116" y="321"/>
                  </a:lnTo>
                  <a:close/>
                  <a:moveTo>
                    <a:pt x="83" y="392"/>
                  </a:moveTo>
                  <a:lnTo>
                    <a:pt x="83" y="394"/>
                  </a:lnTo>
                  <a:lnTo>
                    <a:pt x="83" y="392"/>
                  </a:lnTo>
                  <a:close/>
                  <a:moveTo>
                    <a:pt x="112" y="300"/>
                  </a:moveTo>
                  <a:lnTo>
                    <a:pt x="112" y="302"/>
                  </a:lnTo>
                  <a:lnTo>
                    <a:pt x="112" y="300"/>
                  </a:lnTo>
                  <a:close/>
                  <a:moveTo>
                    <a:pt x="8" y="367"/>
                  </a:moveTo>
                  <a:lnTo>
                    <a:pt x="10" y="367"/>
                  </a:lnTo>
                  <a:lnTo>
                    <a:pt x="8" y="367"/>
                  </a:lnTo>
                  <a:close/>
                  <a:moveTo>
                    <a:pt x="83" y="371"/>
                  </a:moveTo>
                  <a:lnTo>
                    <a:pt x="83" y="373"/>
                  </a:lnTo>
                  <a:lnTo>
                    <a:pt x="83" y="371"/>
                  </a:lnTo>
                  <a:close/>
                  <a:moveTo>
                    <a:pt x="93" y="261"/>
                  </a:moveTo>
                  <a:lnTo>
                    <a:pt x="94" y="261"/>
                  </a:lnTo>
                  <a:lnTo>
                    <a:pt x="93" y="261"/>
                  </a:lnTo>
                  <a:close/>
                  <a:moveTo>
                    <a:pt x="112" y="308"/>
                  </a:moveTo>
                  <a:lnTo>
                    <a:pt x="114" y="308"/>
                  </a:lnTo>
                  <a:lnTo>
                    <a:pt x="112" y="308"/>
                  </a:lnTo>
                  <a:close/>
                  <a:moveTo>
                    <a:pt x="119" y="327"/>
                  </a:moveTo>
                  <a:lnTo>
                    <a:pt x="121" y="327"/>
                  </a:lnTo>
                  <a:lnTo>
                    <a:pt x="119" y="327"/>
                  </a:lnTo>
                  <a:close/>
                  <a:moveTo>
                    <a:pt x="85" y="388"/>
                  </a:moveTo>
                  <a:lnTo>
                    <a:pt x="85" y="390"/>
                  </a:lnTo>
                  <a:lnTo>
                    <a:pt x="85" y="388"/>
                  </a:lnTo>
                  <a:close/>
                  <a:moveTo>
                    <a:pt x="190" y="131"/>
                  </a:moveTo>
                  <a:lnTo>
                    <a:pt x="192" y="131"/>
                  </a:lnTo>
                  <a:lnTo>
                    <a:pt x="190" y="131"/>
                  </a:lnTo>
                  <a:close/>
                  <a:moveTo>
                    <a:pt x="89" y="356"/>
                  </a:moveTo>
                  <a:lnTo>
                    <a:pt x="89" y="357"/>
                  </a:lnTo>
                  <a:lnTo>
                    <a:pt x="89" y="356"/>
                  </a:lnTo>
                  <a:close/>
                  <a:moveTo>
                    <a:pt x="79" y="404"/>
                  </a:moveTo>
                  <a:lnTo>
                    <a:pt x="79" y="406"/>
                  </a:lnTo>
                  <a:lnTo>
                    <a:pt x="79" y="404"/>
                  </a:lnTo>
                  <a:close/>
                  <a:moveTo>
                    <a:pt x="110" y="333"/>
                  </a:moveTo>
                  <a:lnTo>
                    <a:pt x="112" y="333"/>
                  </a:lnTo>
                  <a:lnTo>
                    <a:pt x="110" y="333"/>
                  </a:lnTo>
                  <a:close/>
                  <a:moveTo>
                    <a:pt x="110" y="327"/>
                  </a:moveTo>
                  <a:lnTo>
                    <a:pt x="110" y="329"/>
                  </a:lnTo>
                  <a:lnTo>
                    <a:pt x="110" y="327"/>
                  </a:lnTo>
                  <a:close/>
                  <a:moveTo>
                    <a:pt x="85" y="373"/>
                  </a:moveTo>
                  <a:lnTo>
                    <a:pt x="85" y="375"/>
                  </a:lnTo>
                  <a:lnTo>
                    <a:pt x="85" y="373"/>
                  </a:lnTo>
                  <a:close/>
                  <a:moveTo>
                    <a:pt x="6" y="359"/>
                  </a:moveTo>
                  <a:lnTo>
                    <a:pt x="8" y="359"/>
                  </a:lnTo>
                  <a:lnTo>
                    <a:pt x="6" y="359"/>
                  </a:lnTo>
                  <a:close/>
                  <a:moveTo>
                    <a:pt x="98" y="344"/>
                  </a:moveTo>
                  <a:lnTo>
                    <a:pt x="100" y="344"/>
                  </a:lnTo>
                  <a:lnTo>
                    <a:pt x="98" y="344"/>
                  </a:lnTo>
                  <a:close/>
                  <a:moveTo>
                    <a:pt x="114" y="336"/>
                  </a:moveTo>
                  <a:lnTo>
                    <a:pt x="116" y="336"/>
                  </a:lnTo>
                  <a:lnTo>
                    <a:pt x="114" y="336"/>
                  </a:lnTo>
                  <a:close/>
                  <a:moveTo>
                    <a:pt x="93" y="271"/>
                  </a:moveTo>
                  <a:lnTo>
                    <a:pt x="94" y="271"/>
                  </a:lnTo>
                  <a:lnTo>
                    <a:pt x="93" y="271"/>
                  </a:lnTo>
                  <a:close/>
                  <a:moveTo>
                    <a:pt x="190" y="129"/>
                  </a:moveTo>
                  <a:lnTo>
                    <a:pt x="190" y="131"/>
                  </a:lnTo>
                  <a:lnTo>
                    <a:pt x="190" y="129"/>
                  </a:lnTo>
                  <a:close/>
                  <a:moveTo>
                    <a:pt x="4" y="352"/>
                  </a:moveTo>
                  <a:lnTo>
                    <a:pt x="4" y="354"/>
                  </a:lnTo>
                  <a:lnTo>
                    <a:pt x="4" y="352"/>
                  </a:lnTo>
                  <a:close/>
                  <a:moveTo>
                    <a:pt x="190" y="131"/>
                  </a:moveTo>
                  <a:lnTo>
                    <a:pt x="190" y="133"/>
                  </a:lnTo>
                  <a:lnTo>
                    <a:pt x="190" y="131"/>
                  </a:lnTo>
                  <a:close/>
                  <a:moveTo>
                    <a:pt x="137" y="194"/>
                  </a:moveTo>
                  <a:lnTo>
                    <a:pt x="137" y="196"/>
                  </a:lnTo>
                  <a:lnTo>
                    <a:pt x="137" y="194"/>
                  </a:lnTo>
                  <a:close/>
                  <a:moveTo>
                    <a:pt x="98" y="342"/>
                  </a:moveTo>
                  <a:lnTo>
                    <a:pt x="98" y="344"/>
                  </a:lnTo>
                  <a:lnTo>
                    <a:pt x="98" y="342"/>
                  </a:lnTo>
                  <a:close/>
                  <a:moveTo>
                    <a:pt x="116" y="325"/>
                  </a:moveTo>
                  <a:lnTo>
                    <a:pt x="116" y="327"/>
                  </a:lnTo>
                  <a:lnTo>
                    <a:pt x="116" y="325"/>
                  </a:lnTo>
                  <a:close/>
                  <a:moveTo>
                    <a:pt x="117" y="319"/>
                  </a:moveTo>
                  <a:lnTo>
                    <a:pt x="119" y="319"/>
                  </a:lnTo>
                  <a:lnTo>
                    <a:pt x="117" y="319"/>
                  </a:lnTo>
                  <a:close/>
                  <a:moveTo>
                    <a:pt x="108" y="340"/>
                  </a:moveTo>
                  <a:lnTo>
                    <a:pt x="110" y="340"/>
                  </a:lnTo>
                  <a:lnTo>
                    <a:pt x="110" y="342"/>
                  </a:lnTo>
                  <a:lnTo>
                    <a:pt x="108" y="342"/>
                  </a:lnTo>
                  <a:lnTo>
                    <a:pt x="108" y="340"/>
                  </a:lnTo>
                  <a:close/>
                  <a:moveTo>
                    <a:pt x="114" y="329"/>
                  </a:moveTo>
                  <a:lnTo>
                    <a:pt x="116" y="329"/>
                  </a:lnTo>
                  <a:lnTo>
                    <a:pt x="114" y="329"/>
                  </a:lnTo>
                  <a:close/>
                  <a:moveTo>
                    <a:pt x="83" y="379"/>
                  </a:moveTo>
                  <a:lnTo>
                    <a:pt x="85" y="379"/>
                  </a:lnTo>
                  <a:lnTo>
                    <a:pt x="83" y="379"/>
                  </a:lnTo>
                  <a:close/>
                  <a:moveTo>
                    <a:pt x="4" y="352"/>
                  </a:moveTo>
                  <a:lnTo>
                    <a:pt x="4" y="354"/>
                  </a:lnTo>
                  <a:lnTo>
                    <a:pt x="4" y="352"/>
                  </a:lnTo>
                  <a:close/>
                  <a:moveTo>
                    <a:pt x="85" y="365"/>
                  </a:moveTo>
                  <a:lnTo>
                    <a:pt x="85" y="367"/>
                  </a:lnTo>
                  <a:lnTo>
                    <a:pt x="85" y="365"/>
                  </a:lnTo>
                  <a:close/>
                  <a:moveTo>
                    <a:pt x="171" y="129"/>
                  </a:moveTo>
                  <a:lnTo>
                    <a:pt x="171" y="131"/>
                  </a:lnTo>
                  <a:lnTo>
                    <a:pt x="171" y="129"/>
                  </a:lnTo>
                  <a:close/>
                  <a:moveTo>
                    <a:pt x="110" y="304"/>
                  </a:moveTo>
                  <a:lnTo>
                    <a:pt x="112" y="304"/>
                  </a:lnTo>
                  <a:lnTo>
                    <a:pt x="110" y="304"/>
                  </a:lnTo>
                  <a:close/>
                  <a:moveTo>
                    <a:pt x="10" y="371"/>
                  </a:moveTo>
                  <a:lnTo>
                    <a:pt x="12" y="371"/>
                  </a:lnTo>
                  <a:lnTo>
                    <a:pt x="12" y="373"/>
                  </a:lnTo>
                  <a:lnTo>
                    <a:pt x="10" y="373"/>
                  </a:lnTo>
                  <a:lnTo>
                    <a:pt x="10" y="371"/>
                  </a:lnTo>
                  <a:close/>
                  <a:moveTo>
                    <a:pt x="112" y="329"/>
                  </a:moveTo>
                  <a:lnTo>
                    <a:pt x="112" y="331"/>
                  </a:lnTo>
                  <a:lnTo>
                    <a:pt x="112" y="329"/>
                  </a:lnTo>
                  <a:close/>
                  <a:moveTo>
                    <a:pt x="91" y="350"/>
                  </a:moveTo>
                  <a:lnTo>
                    <a:pt x="91" y="352"/>
                  </a:lnTo>
                  <a:lnTo>
                    <a:pt x="91" y="350"/>
                  </a:lnTo>
                  <a:close/>
                  <a:moveTo>
                    <a:pt x="114" y="306"/>
                  </a:moveTo>
                  <a:lnTo>
                    <a:pt x="116" y="306"/>
                  </a:lnTo>
                  <a:lnTo>
                    <a:pt x="114" y="306"/>
                  </a:lnTo>
                  <a:close/>
                  <a:moveTo>
                    <a:pt x="98" y="344"/>
                  </a:moveTo>
                  <a:lnTo>
                    <a:pt x="98" y="346"/>
                  </a:lnTo>
                  <a:lnTo>
                    <a:pt x="98" y="344"/>
                  </a:lnTo>
                  <a:close/>
                  <a:moveTo>
                    <a:pt x="114" y="327"/>
                  </a:moveTo>
                  <a:lnTo>
                    <a:pt x="114" y="329"/>
                  </a:lnTo>
                  <a:lnTo>
                    <a:pt x="114" y="327"/>
                  </a:lnTo>
                  <a:close/>
                  <a:moveTo>
                    <a:pt x="121" y="317"/>
                  </a:moveTo>
                  <a:lnTo>
                    <a:pt x="121" y="319"/>
                  </a:lnTo>
                  <a:lnTo>
                    <a:pt x="121" y="317"/>
                  </a:lnTo>
                  <a:close/>
                  <a:moveTo>
                    <a:pt x="2" y="352"/>
                  </a:moveTo>
                  <a:lnTo>
                    <a:pt x="2" y="354"/>
                  </a:lnTo>
                  <a:lnTo>
                    <a:pt x="2" y="352"/>
                  </a:lnTo>
                  <a:close/>
                  <a:moveTo>
                    <a:pt x="110" y="334"/>
                  </a:moveTo>
                  <a:lnTo>
                    <a:pt x="110" y="336"/>
                  </a:lnTo>
                  <a:lnTo>
                    <a:pt x="110" y="334"/>
                  </a:lnTo>
                  <a:close/>
                  <a:moveTo>
                    <a:pt x="10" y="365"/>
                  </a:moveTo>
                  <a:lnTo>
                    <a:pt x="10" y="367"/>
                  </a:lnTo>
                  <a:lnTo>
                    <a:pt x="10" y="365"/>
                  </a:lnTo>
                  <a:close/>
                  <a:moveTo>
                    <a:pt x="152" y="154"/>
                  </a:moveTo>
                  <a:lnTo>
                    <a:pt x="152" y="156"/>
                  </a:lnTo>
                  <a:lnTo>
                    <a:pt x="152" y="154"/>
                  </a:lnTo>
                  <a:close/>
                  <a:moveTo>
                    <a:pt x="112" y="336"/>
                  </a:moveTo>
                  <a:lnTo>
                    <a:pt x="112" y="338"/>
                  </a:lnTo>
                  <a:lnTo>
                    <a:pt x="112" y="336"/>
                  </a:lnTo>
                  <a:close/>
                  <a:moveTo>
                    <a:pt x="98" y="344"/>
                  </a:moveTo>
                  <a:lnTo>
                    <a:pt x="100" y="344"/>
                  </a:lnTo>
                  <a:lnTo>
                    <a:pt x="98" y="344"/>
                  </a:lnTo>
                  <a:close/>
                  <a:moveTo>
                    <a:pt x="114" y="306"/>
                  </a:moveTo>
                  <a:lnTo>
                    <a:pt x="116" y="306"/>
                  </a:lnTo>
                  <a:lnTo>
                    <a:pt x="114" y="306"/>
                  </a:lnTo>
                  <a:close/>
                  <a:moveTo>
                    <a:pt x="0" y="344"/>
                  </a:moveTo>
                  <a:lnTo>
                    <a:pt x="2" y="344"/>
                  </a:lnTo>
                  <a:lnTo>
                    <a:pt x="2" y="346"/>
                  </a:lnTo>
                  <a:lnTo>
                    <a:pt x="0" y="346"/>
                  </a:lnTo>
                  <a:lnTo>
                    <a:pt x="0" y="344"/>
                  </a:lnTo>
                  <a:close/>
                  <a:moveTo>
                    <a:pt x="10" y="375"/>
                  </a:moveTo>
                  <a:lnTo>
                    <a:pt x="10" y="377"/>
                  </a:lnTo>
                  <a:lnTo>
                    <a:pt x="10" y="375"/>
                  </a:lnTo>
                  <a:close/>
                  <a:moveTo>
                    <a:pt x="112" y="217"/>
                  </a:moveTo>
                  <a:lnTo>
                    <a:pt x="112" y="219"/>
                  </a:lnTo>
                  <a:lnTo>
                    <a:pt x="112" y="217"/>
                  </a:lnTo>
                  <a:close/>
                  <a:moveTo>
                    <a:pt x="114" y="334"/>
                  </a:moveTo>
                  <a:lnTo>
                    <a:pt x="116" y="334"/>
                  </a:lnTo>
                  <a:lnTo>
                    <a:pt x="114" y="334"/>
                  </a:lnTo>
                  <a:close/>
                  <a:moveTo>
                    <a:pt x="85" y="371"/>
                  </a:moveTo>
                  <a:lnTo>
                    <a:pt x="87" y="371"/>
                  </a:lnTo>
                  <a:lnTo>
                    <a:pt x="85" y="371"/>
                  </a:lnTo>
                  <a:close/>
                  <a:moveTo>
                    <a:pt x="68" y="417"/>
                  </a:moveTo>
                  <a:lnTo>
                    <a:pt x="68" y="419"/>
                  </a:lnTo>
                  <a:lnTo>
                    <a:pt x="68" y="417"/>
                  </a:lnTo>
                  <a:close/>
                  <a:moveTo>
                    <a:pt x="14" y="373"/>
                  </a:moveTo>
                  <a:lnTo>
                    <a:pt x="16" y="373"/>
                  </a:lnTo>
                  <a:lnTo>
                    <a:pt x="14" y="373"/>
                  </a:lnTo>
                  <a:close/>
                  <a:moveTo>
                    <a:pt x="89" y="361"/>
                  </a:moveTo>
                  <a:lnTo>
                    <a:pt x="89" y="363"/>
                  </a:lnTo>
                  <a:lnTo>
                    <a:pt x="89" y="361"/>
                  </a:lnTo>
                  <a:close/>
                  <a:moveTo>
                    <a:pt x="112" y="302"/>
                  </a:moveTo>
                  <a:lnTo>
                    <a:pt x="114" y="302"/>
                  </a:lnTo>
                  <a:lnTo>
                    <a:pt x="112" y="302"/>
                  </a:lnTo>
                  <a:close/>
                  <a:moveTo>
                    <a:pt x="137" y="196"/>
                  </a:moveTo>
                  <a:lnTo>
                    <a:pt x="139" y="196"/>
                  </a:lnTo>
                  <a:lnTo>
                    <a:pt x="137" y="196"/>
                  </a:lnTo>
                  <a:close/>
                  <a:moveTo>
                    <a:pt x="94" y="236"/>
                  </a:moveTo>
                  <a:lnTo>
                    <a:pt x="96" y="236"/>
                  </a:lnTo>
                  <a:lnTo>
                    <a:pt x="94" y="236"/>
                  </a:lnTo>
                  <a:close/>
                  <a:moveTo>
                    <a:pt x="114" y="331"/>
                  </a:moveTo>
                  <a:lnTo>
                    <a:pt x="114" y="333"/>
                  </a:lnTo>
                  <a:lnTo>
                    <a:pt x="114" y="331"/>
                  </a:lnTo>
                  <a:close/>
                  <a:moveTo>
                    <a:pt x="16" y="388"/>
                  </a:moveTo>
                  <a:lnTo>
                    <a:pt x="18" y="388"/>
                  </a:lnTo>
                  <a:lnTo>
                    <a:pt x="16" y="388"/>
                  </a:lnTo>
                  <a:close/>
                  <a:moveTo>
                    <a:pt x="93" y="261"/>
                  </a:moveTo>
                  <a:lnTo>
                    <a:pt x="94" y="261"/>
                  </a:lnTo>
                  <a:lnTo>
                    <a:pt x="93" y="261"/>
                  </a:lnTo>
                  <a:close/>
                  <a:moveTo>
                    <a:pt x="175" y="129"/>
                  </a:moveTo>
                  <a:lnTo>
                    <a:pt x="177" y="129"/>
                  </a:lnTo>
                  <a:lnTo>
                    <a:pt x="175" y="129"/>
                  </a:lnTo>
                  <a:close/>
                  <a:moveTo>
                    <a:pt x="131" y="200"/>
                  </a:moveTo>
                  <a:lnTo>
                    <a:pt x="131" y="202"/>
                  </a:lnTo>
                  <a:lnTo>
                    <a:pt x="131" y="200"/>
                  </a:lnTo>
                  <a:close/>
                  <a:moveTo>
                    <a:pt x="148" y="158"/>
                  </a:moveTo>
                  <a:lnTo>
                    <a:pt x="148" y="160"/>
                  </a:lnTo>
                  <a:lnTo>
                    <a:pt x="148" y="158"/>
                  </a:lnTo>
                  <a:close/>
                  <a:moveTo>
                    <a:pt x="114" y="329"/>
                  </a:moveTo>
                  <a:lnTo>
                    <a:pt x="116" y="329"/>
                  </a:lnTo>
                  <a:lnTo>
                    <a:pt x="116" y="331"/>
                  </a:lnTo>
                  <a:lnTo>
                    <a:pt x="114" y="331"/>
                  </a:lnTo>
                  <a:lnTo>
                    <a:pt x="114" y="329"/>
                  </a:lnTo>
                  <a:close/>
                  <a:moveTo>
                    <a:pt x="106" y="340"/>
                  </a:moveTo>
                  <a:lnTo>
                    <a:pt x="106" y="342"/>
                  </a:lnTo>
                  <a:lnTo>
                    <a:pt x="106" y="340"/>
                  </a:lnTo>
                  <a:close/>
                  <a:moveTo>
                    <a:pt x="112" y="329"/>
                  </a:moveTo>
                  <a:lnTo>
                    <a:pt x="114" y="329"/>
                  </a:lnTo>
                  <a:lnTo>
                    <a:pt x="112" y="329"/>
                  </a:lnTo>
                  <a:close/>
                  <a:moveTo>
                    <a:pt x="87" y="354"/>
                  </a:moveTo>
                  <a:lnTo>
                    <a:pt x="89" y="354"/>
                  </a:lnTo>
                  <a:lnTo>
                    <a:pt x="87" y="354"/>
                  </a:lnTo>
                  <a:close/>
                  <a:moveTo>
                    <a:pt x="192" y="129"/>
                  </a:moveTo>
                  <a:lnTo>
                    <a:pt x="192" y="131"/>
                  </a:lnTo>
                  <a:lnTo>
                    <a:pt x="192" y="129"/>
                  </a:lnTo>
                  <a:close/>
                  <a:moveTo>
                    <a:pt x="110" y="327"/>
                  </a:moveTo>
                  <a:lnTo>
                    <a:pt x="110" y="329"/>
                  </a:lnTo>
                  <a:lnTo>
                    <a:pt x="110" y="327"/>
                  </a:lnTo>
                  <a:close/>
                  <a:moveTo>
                    <a:pt x="110" y="336"/>
                  </a:moveTo>
                  <a:lnTo>
                    <a:pt x="110" y="338"/>
                  </a:lnTo>
                  <a:lnTo>
                    <a:pt x="110" y="336"/>
                  </a:lnTo>
                  <a:close/>
                  <a:moveTo>
                    <a:pt x="110" y="340"/>
                  </a:moveTo>
                  <a:lnTo>
                    <a:pt x="110" y="342"/>
                  </a:lnTo>
                  <a:lnTo>
                    <a:pt x="110" y="340"/>
                  </a:lnTo>
                  <a:close/>
                  <a:moveTo>
                    <a:pt x="116" y="327"/>
                  </a:moveTo>
                  <a:lnTo>
                    <a:pt x="117" y="327"/>
                  </a:lnTo>
                  <a:lnTo>
                    <a:pt x="116" y="327"/>
                  </a:lnTo>
                  <a:close/>
                  <a:moveTo>
                    <a:pt x="85" y="373"/>
                  </a:moveTo>
                  <a:lnTo>
                    <a:pt x="85" y="375"/>
                  </a:lnTo>
                  <a:lnTo>
                    <a:pt x="85" y="373"/>
                  </a:lnTo>
                  <a:close/>
                  <a:moveTo>
                    <a:pt x="102" y="235"/>
                  </a:moveTo>
                  <a:lnTo>
                    <a:pt x="102" y="236"/>
                  </a:lnTo>
                  <a:lnTo>
                    <a:pt x="102" y="235"/>
                  </a:lnTo>
                  <a:close/>
                  <a:moveTo>
                    <a:pt x="0" y="346"/>
                  </a:moveTo>
                  <a:lnTo>
                    <a:pt x="2" y="346"/>
                  </a:lnTo>
                  <a:lnTo>
                    <a:pt x="0" y="346"/>
                  </a:lnTo>
                  <a:close/>
                  <a:moveTo>
                    <a:pt x="12" y="359"/>
                  </a:moveTo>
                  <a:lnTo>
                    <a:pt x="12" y="361"/>
                  </a:lnTo>
                  <a:lnTo>
                    <a:pt x="12" y="359"/>
                  </a:lnTo>
                  <a:close/>
                  <a:moveTo>
                    <a:pt x="169" y="125"/>
                  </a:moveTo>
                  <a:lnTo>
                    <a:pt x="169" y="127"/>
                  </a:lnTo>
                  <a:lnTo>
                    <a:pt x="169" y="125"/>
                  </a:lnTo>
                  <a:close/>
                  <a:moveTo>
                    <a:pt x="106" y="338"/>
                  </a:moveTo>
                  <a:lnTo>
                    <a:pt x="106" y="340"/>
                  </a:lnTo>
                  <a:lnTo>
                    <a:pt x="106" y="338"/>
                  </a:lnTo>
                  <a:close/>
                  <a:moveTo>
                    <a:pt x="150" y="163"/>
                  </a:moveTo>
                  <a:lnTo>
                    <a:pt x="152" y="163"/>
                  </a:lnTo>
                  <a:lnTo>
                    <a:pt x="150" y="163"/>
                  </a:lnTo>
                  <a:close/>
                  <a:moveTo>
                    <a:pt x="112" y="302"/>
                  </a:moveTo>
                  <a:lnTo>
                    <a:pt x="112" y="304"/>
                  </a:lnTo>
                  <a:lnTo>
                    <a:pt x="112" y="302"/>
                  </a:lnTo>
                  <a:close/>
                  <a:moveTo>
                    <a:pt x="104" y="344"/>
                  </a:moveTo>
                  <a:lnTo>
                    <a:pt x="106" y="344"/>
                  </a:lnTo>
                  <a:lnTo>
                    <a:pt x="104" y="344"/>
                  </a:lnTo>
                  <a:close/>
                  <a:moveTo>
                    <a:pt x="85" y="371"/>
                  </a:moveTo>
                  <a:lnTo>
                    <a:pt x="85" y="373"/>
                  </a:lnTo>
                  <a:lnTo>
                    <a:pt x="85" y="371"/>
                  </a:lnTo>
                  <a:close/>
                  <a:moveTo>
                    <a:pt x="116" y="323"/>
                  </a:moveTo>
                  <a:lnTo>
                    <a:pt x="116" y="325"/>
                  </a:lnTo>
                  <a:lnTo>
                    <a:pt x="116" y="323"/>
                  </a:lnTo>
                  <a:close/>
                  <a:moveTo>
                    <a:pt x="8" y="373"/>
                  </a:moveTo>
                  <a:lnTo>
                    <a:pt x="10" y="373"/>
                  </a:lnTo>
                  <a:lnTo>
                    <a:pt x="8" y="373"/>
                  </a:lnTo>
                  <a:close/>
                  <a:moveTo>
                    <a:pt x="104" y="344"/>
                  </a:moveTo>
                  <a:lnTo>
                    <a:pt x="104" y="346"/>
                  </a:lnTo>
                  <a:lnTo>
                    <a:pt x="104" y="344"/>
                  </a:lnTo>
                  <a:close/>
                  <a:moveTo>
                    <a:pt x="117" y="317"/>
                  </a:moveTo>
                  <a:lnTo>
                    <a:pt x="119" y="317"/>
                  </a:lnTo>
                  <a:lnTo>
                    <a:pt x="117" y="317"/>
                  </a:lnTo>
                  <a:close/>
                  <a:moveTo>
                    <a:pt x="112" y="325"/>
                  </a:moveTo>
                  <a:lnTo>
                    <a:pt x="112" y="327"/>
                  </a:lnTo>
                  <a:lnTo>
                    <a:pt x="112" y="325"/>
                  </a:lnTo>
                  <a:close/>
                  <a:moveTo>
                    <a:pt x="0" y="344"/>
                  </a:moveTo>
                  <a:lnTo>
                    <a:pt x="0" y="346"/>
                  </a:lnTo>
                  <a:lnTo>
                    <a:pt x="0" y="344"/>
                  </a:lnTo>
                  <a:close/>
                  <a:moveTo>
                    <a:pt x="114" y="334"/>
                  </a:moveTo>
                  <a:lnTo>
                    <a:pt x="116" y="334"/>
                  </a:lnTo>
                  <a:lnTo>
                    <a:pt x="114" y="334"/>
                  </a:lnTo>
                  <a:close/>
                  <a:moveTo>
                    <a:pt x="112" y="304"/>
                  </a:moveTo>
                  <a:lnTo>
                    <a:pt x="114" y="304"/>
                  </a:lnTo>
                  <a:lnTo>
                    <a:pt x="112" y="304"/>
                  </a:lnTo>
                  <a:close/>
                  <a:moveTo>
                    <a:pt x="114" y="333"/>
                  </a:moveTo>
                  <a:lnTo>
                    <a:pt x="116" y="333"/>
                  </a:lnTo>
                  <a:lnTo>
                    <a:pt x="116" y="334"/>
                  </a:lnTo>
                  <a:lnTo>
                    <a:pt x="114" y="334"/>
                  </a:lnTo>
                  <a:lnTo>
                    <a:pt x="114" y="333"/>
                  </a:lnTo>
                  <a:close/>
                  <a:moveTo>
                    <a:pt x="116" y="321"/>
                  </a:moveTo>
                  <a:lnTo>
                    <a:pt x="116" y="323"/>
                  </a:lnTo>
                  <a:lnTo>
                    <a:pt x="116" y="321"/>
                  </a:lnTo>
                  <a:close/>
                  <a:moveTo>
                    <a:pt x="94" y="240"/>
                  </a:moveTo>
                  <a:lnTo>
                    <a:pt x="94" y="242"/>
                  </a:lnTo>
                  <a:lnTo>
                    <a:pt x="94" y="240"/>
                  </a:lnTo>
                  <a:close/>
                  <a:moveTo>
                    <a:pt x="162" y="142"/>
                  </a:moveTo>
                  <a:lnTo>
                    <a:pt x="162" y="144"/>
                  </a:lnTo>
                  <a:lnTo>
                    <a:pt x="162" y="142"/>
                  </a:lnTo>
                  <a:close/>
                  <a:moveTo>
                    <a:pt x="114" y="323"/>
                  </a:moveTo>
                  <a:lnTo>
                    <a:pt x="114" y="325"/>
                  </a:lnTo>
                  <a:lnTo>
                    <a:pt x="114" y="323"/>
                  </a:lnTo>
                  <a:close/>
                  <a:moveTo>
                    <a:pt x="2" y="346"/>
                  </a:moveTo>
                  <a:lnTo>
                    <a:pt x="4" y="346"/>
                  </a:lnTo>
                  <a:lnTo>
                    <a:pt x="4" y="348"/>
                  </a:lnTo>
                  <a:lnTo>
                    <a:pt x="2" y="348"/>
                  </a:lnTo>
                  <a:lnTo>
                    <a:pt x="2" y="346"/>
                  </a:lnTo>
                  <a:close/>
                  <a:moveTo>
                    <a:pt x="156" y="146"/>
                  </a:moveTo>
                  <a:lnTo>
                    <a:pt x="158" y="146"/>
                  </a:lnTo>
                  <a:lnTo>
                    <a:pt x="156" y="146"/>
                  </a:lnTo>
                  <a:close/>
                  <a:moveTo>
                    <a:pt x="10" y="375"/>
                  </a:moveTo>
                  <a:lnTo>
                    <a:pt x="12" y="375"/>
                  </a:lnTo>
                  <a:lnTo>
                    <a:pt x="10" y="375"/>
                  </a:lnTo>
                  <a:close/>
                  <a:moveTo>
                    <a:pt x="104" y="227"/>
                  </a:moveTo>
                  <a:lnTo>
                    <a:pt x="104" y="229"/>
                  </a:lnTo>
                  <a:lnTo>
                    <a:pt x="104" y="227"/>
                  </a:lnTo>
                  <a:close/>
                  <a:moveTo>
                    <a:pt x="94" y="288"/>
                  </a:moveTo>
                  <a:lnTo>
                    <a:pt x="94" y="290"/>
                  </a:lnTo>
                  <a:lnTo>
                    <a:pt x="94" y="288"/>
                  </a:lnTo>
                  <a:close/>
                  <a:moveTo>
                    <a:pt x="6" y="365"/>
                  </a:moveTo>
                  <a:lnTo>
                    <a:pt x="8" y="365"/>
                  </a:lnTo>
                  <a:lnTo>
                    <a:pt x="6" y="365"/>
                  </a:lnTo>
                  <a:close/>
                  <a:moveTo>
                    <a:pt x="181" y="125"/>
                  </a:moveTo>
                  <a:lnTo>
                    <a:pt x="181" y="127"/>
                  </a:lnTo>
                  <a:lnTo>
                    <a:pt x="181" y="125"/>
                  </a:lnTo>
                  <a:close/>
                  <a:moveTo>
                    <a:pt x="110" y="334"/>
                  </a:moveTo>
                  <a:lnTo>
                    <a:pt x="110" y="336"/>
                  </a:lnTo>
                  <a:lnTo>
                    <a:pt x="110" y="334"/>
                  </a:lnTo>
                  <a:close/>
                  <a:moveTo>
                    <a:pt x="121" y="323"/>
                  </a:moveTo>
                  <a:lnTo>
                    <a:pt x="121" y="325"/>
                  </a:lnTo>
                  <a:lnTo>
                    <a:pt x="121" y="323"/>
                  </a:lnTo>
                  <a:close/>
                  <a:moveTo>
                    <a:pt x="108" y="333"/>
                  </a:moveTo>
                  <a:lnTo>
                    <a:pt x="108" y="334"/>
                  </a:lnTo>
                  <a:lnTo>
                    <a:pt x="108" y="333"/>
                  </a:lnTo>
                  <a:close/>
                  <a:moveTo>
                    <a:pt x="167" y="123"/>
                  </a:moveTo>
                  <a:lnTo>
                    <a:pt x="167" y="125"/>
                  </a:lnTo>
                  <a:lnTo>
                    <a:pt x="167" y="123"/>
                  </a:lnTo>
                  <a:close/>
                  <a:moveTo>
                    <a:pt x="66" y="419"/>
                  </a:moveTo>
                  <a:lnTo>
                    <a:pt x="68" y="419"/>
                  </a:lnTo>
                  <a:lnTo>
                    <a:pt x="66" y="419"/>
                  </a:lnTo>
                  <a:close/>
                  <a:moveTo>
                    <a:pt x="85" y="361"/>
                  </a:moveTo>
                  <a:lnTo>
                    <a:pt x="87" y="361"/>
                  </a:lnTo>
                  <a:lnTo>
                    <a:pt x="85" y="361"/>
                  </a:lnTo>
                  <a:close/>
                  <a:moveTo>
                    <a:pt x="2" y="342"/>
                  </a:moveTo>
                  <a:lnTo>
                    <a:pt x="2" y="344"/>
                  </a:lnTo>
                  <a:lnTo>
                    <a:pt x="2" y="342"/>
                  </a:lnTo>
                  <a:close/>
                  <a:moveTo>
                    <a:pt x="110" y="336"/>
                  </a:moveTo>
                  <a:lnTo>
                    <a:pt x="110" y="338"/>
                  </a:lnTo>
                  <a:lnTo>
                    <a:pt x="110" y="336"/>
                  </a:lnTo>
                  <a:close/>
                  <a:moveTo>
                    <a:pt x="91" y="283"/>
                  </a:moveTo>
                  <a:lnTo>
                    <a:pt x="91" y="284"/>
                  </a:lnTo>
                  <a:lnTo>
                    <a:pt x="91" y="283"/>
                  </a:lnTo>
                  <a:close/>
                  <a:moveTo>
                    <a:pt x="85" y="379"/>
                  </a:moveTo>
                  <a:lnTo>
                    <a:pt x="85" y="381"/>
                  </a:lnTo>
                  <a:lnTo>
                    <a:pt x="85" y="379"/>
                  </a:lnTo>
                  <a:close/>
                  <a:moveTo>
                    <a:pt x="71" y="421"/>
                  </a:moveTo>
                  <a:lnTo>
                    <a:pt x="71" y="423"/>
                  </a:lnTo>
                  <a:lnTo>
                    <a:pt x="71" y="421"/>
                  </a:lnTo>
                  <a:close/>
                  <a:moveTo>
                    <a:pt x="171" y="127"/>
                  </a:moveTo>
                  <a:lnTo>
                    <a:pt x="173" y="127"/>
                  </a:lnTo>
                  <a:lnTo>
                    <a:pt x="171" y="127"/>
                  </a:lnTo>
                  <a:close/>
                  <a:moveTo>
                    <a:pt x="171" y="125"/>
                  </a:moveTo>
                  <a:lnTo>
                    <a:pt x="173" y="125"/>
                  </a:lnTo>
                  <a:lnTo>
                    <a:pt x="171" y="125"/>
                  </a:lnTo>
                  <a:close/>
                  <a:moveTo>
                    <a:pt x="87" y="357"/>
                  </a:moveTo>
                  <a:lnTo>
                    <a:pt x="89" y="357"/>
                  </a:lnTo>
                  <a:lnTo>
                    <a:pt x="87" y="357"/>
                  </a:lnTo>
                  <a:close/>
                  <a:moveTo>
                    <a:pt x="6" y="367"/>
                  </a:moveTo>
                  <a:lnTo>
                    <a:pt x="8" y="367"/>
                  </a:lnTo>
                  <a:lnTo>
                    <a:pt x="6" y="367"/>
                  </a:lnTo>
                  <a:close/>
                  <a:moveTo>
                    <a:pt x="116" y="331"/>
                  </a:moveTo>
                  <a:lnTo>
                    <a:pt x="117" y="331"/>
                  </a:lnTo>
                  <a:lnTo>
                    <a:pt x="116" y="331"/>
                  </a:lnTo>
                  <a:close/>
                  <a:moveTo>
                    <a:pt x="123" y="323"/>
                  </a:moveTo>
                  <a:lnTo>
                    <a:pt x="123" y="325"/>
                  </a:lnTo>
                  <a:lnTo>
                    <a:pt x="123" y="323"/>
                  </a:lnTo>
                  <a:close/>
                  <a:moveTo>
                    <a:pt x="110" y="340"/>
                  </a:moveTo>
                  <a:lnTo>
                    <a:pt x="110" y="342"/>
                  </a:lnTo>
                  <a:lnTo>
                    <a:pt x="110" y="340"/>
                  </a:lnTo>
                  <a:close/>
                  <a:moveTo>
                    <a:pt x="12" y="379"/>
                  </a:moveTo>
                  <a:lnTo>
                    <a:pt x="14" y="379"/>
                  </a:lnTo>
                  <a:lnTo>
                    <a:pt x="12" y="379"/>
                  </a:lnTo>
                  <a:close/>
                  <a:moveTo>
                    <a:pt x="123" y="319"/>
                  </a:moveTo>
                  <a:lnTo>
                    <a:pt x="123" y="321"/>
                  </a:lnTo>
                  <a:lnTo>
                    <a:pt x="123" y="319"/>
                  </a:lnTo>
                  <a:close/>
                  <a:moveTo>
                    <a:pt x="156" y="142"/>
                  </a:moveTo>
                  <a:lnTo>
                    <a:pt x="158" y="142"/>
                  </a:lnTo>
                  <a:lnTo>
                    <a:pt x="156" y="142"/>
                  </a:lnTo>
                  <a:close/>
                  <a:moveTo>
                    <a:pt x="185" y="129"/>
                  </a:moveTo>
                  <a:lnTo>
                    <a:pt x="185" y="131"/>
                  </a:lnTo>
                  <a:lnTo>
                    <a:pt x="185" y="129"/>
                  </a:lnTo>
                  <a:close/>
                  <a:moveTo>
                    <a:pt x="102" y="292"/>
                  </a:moveTo>
                  <a:lnTo>
                    <a:pt x="102" y="294"/>
                  </a:lnTo>
                  <a:lnTo>
                    <a:pt x="102" y="292"/>
                  </a:lnTo>
                  <a:close/>
                  <a:moveTo>
                    <a:pt x="144" y="194"/>
                  </a:moveTo>
                  <a:lnTo>
                    <a:pt x="144" y="196"/>
                  </a:lnTo>
                  <a:lnTo>
                    <a:pt x="144" y="194"/>
                  </a:lnTo>
                  <a:close/>
                  <a:moveTo>
                    <a:pt x="85" y="371"/>
                  </a:moveTo>
                  <a:lnTo>
                    <a:pt x="87" y="371"/>
                  </a:lnTo>
                  <a:lnTo>
                    <a:pt x="85" y="371"/>
                  </a:lnTo>
                  <a:close/>
                  <a:moveTo>
                    <a:pt x="114" y="323"/>
                  </a:moveTo>
                  <a:lnTo>
                    <a:pt x="116" y="323"/>
                  </a:lnTo>
                  <a:lnTo>
                    <a:pt x="114" y="323"/>
                  </a:lnTo>
                  <a:close/>
                  <a:moveTo>
                    <a:pt x="146" y="192"/>
                  </a:moveTo>
                  <a:lnTo>
                    <a:pt x="146" y="194"/>
                  </a:lnTo>
                  <a:lnTo>
                    <a:pt x="146" y="192"/>
                  </a:lnTo>
                  <a:close/>
                  <a:moveTo>
                    <a:pt x="171" y="131"/>
                  </a:moveTo>
                  <a:lnTo>
                    <a:pt x="171" y="133"/>
                  </a:lnTo>
                  <a:lnTo>
                    <a:pt x="171" y="131"/>
                  </a:lnTo>
                  <a:close/>
                  <a:moveTo>
                    <a:pt x="181" y="123"/>
                  </a:moveTo>
                  <a:lnTo>
                    <a:pt x="181" y="125"/>
                  </a:lnTo>
                  <a:lnTo>
                    <a:pt x="181" y="123"/>
                  </a:lnTo>
                  <a:close/>
                  <a:moveTo>
                    <a:pt x="117" y="329"/>
                  </a:moveTo>
                  <a:lnTo>
                    <a:pt x="117" y="331"/>
                  </a:lnTo>
                  <a:lnTo>
                    <a:pt x="117" y="329"/>
                  </a:lnTo>
                  <a:close/>
                  <a:moveTo>
                    <a:pt x="91" y="265"/>
                  </a:moveTo>
                  <a:lnTo>
                    <a:pt x="91" y="267"/>
                  </a:lnTo>
                  <a:lnTo>
                    <a:pt x="91" y="265"/>
                  </a:lnTo>
                  <a:close/>
                  <a:moveTo>
                    <a:pt x="116" y="327"/>
                  </a:moveTo>
                  <a:lnTo>
                    <a:pt x="116" y="329"/>
                  </a:lnTo>
                  <a:lnTo>
                    <a:pt x="116" y="327"/>
                  </a:lnTo>
                  <a:close/>
                  <a:moveTo>
                    <a:pt x="98" y="338"/>
                  </a:moveTo>
                  <a:lnTo>
                    <a:pt x="98" y="340"/>
                  </a:lnTo>
                  <a:lnTo>
                    <a:pt x="98" y="338"/>
                  </a:lnTo>
                  <a:close/>
                  <a:moveTo>
                    <a:pt x="81" y="381"/>
                  </a:moveTo>
                  <a:lnTo>
                    <a:pt x="83" y="381"/>
                  </a:lnTo>
                  <a:lnTo>
                    <a:pt x="81" y="381"/>
                  </a:lnTo>
                  <a:close/>
                  <a:moveTo>
                    <a:pt x="87" y="363"/>
                  </a:moveTo>
                  <a:lnTo>
                    <a:pt x="89" y="363"/>
                  </a:lnTo>
                  <a:lnTo>
                    <a:pt x="89" y="365"/>
                  </a:lnTo>
                  <a:lnTo>
                    <a:pt x="87" y="365"/>
                  </a:lnTo>
                  <a:lnTo>
                    <a:pt x="87" y="363"/>
                  </a:lnTo>
                  <a:close/>
                  <a:moveTo>
                    <a:pt x="94" y="235"/>
                  </a:moveTo>
                  <a:lnTo>
                    <a:pt x="94" y="236"/>
                  </a:lnTo>
                  <a:lnTo>
                    <a:pt x="94" y="235"/>
                  </a:lnTo>
                  <a:close/>
                  <a:moveTo>
                    <a:pt x="89" y="356"/>
                  </a:moveTo>
                  <a:lnTo>
                    <a:pt x="89" y="357"/>
                  </a:lnTo>
                  <a:lnTo>
                    <a:pt x="89" y="356"/>
                  </a:lnTo>
                  <a:close/>
                  <a:moveTo>
                    <a:pt x="85" y="373"/>
                  </a:moveTo>
                  <a:lnTo>
                    <a:pt x="85" y="375"/>
                  </a:lnTo>
                  <a:lnTo>
                    <a:pt x="85" y="373"/>
                  </a:lnTo>
                  <a:close/>
                  <a:moveTo>
                    <a:pt x="112" y="336"/>
                  </a:moveTo>
                  <a:lnTo>
                    <a:pt x="112" y="338"/>
                  </a:lnTo>
                  <a:lnTo>
                    <a:pt x="112" y="336"/>
                  </a:lnTo>
                  <a:close/>
                  <a:moveTo>
                    <a:pt x="167" y="133"/>
                  </a:moveTo>
                  <a:lnTo>
                    <a:pt x="167" y="135"/>
                  </a:lnTo>
                  <a:lnTo>
                    <a:pt x="167" y="133"/>
                  </a:lnTo>
                  <a:close/>
                  <a:moveTo>
                    <a:pt x="123" y="206"/>
                  </a:moveTo>
                  <a:lnTo>
                    <a:pt x="125" y="206"/>
                  </a:lnTo>
                  <a:lnTo>
                    <a:pt x="123" y="206"/>
                  </a:lnTo>
                  <a:close/>
                  <a:moveTo>
                    <a:pt x="69" y="419"/>
                  </a:moveTo>
                  <a:lnTo>
                    <a:pt x="69" y="421"/>
                  </a:lnTo>
                  <a:lnTo>
                    <a:pt x="69" y="419"/>
                  </a:lnTo>
                  <a:close/>
                  <a:moveTo>
                    <a:pt x="91" y="275"/>
                  </a:moveTo>
                  <a:lnTo>
                    <a:pt x="93" y="275"/>
                  </a:lnTo>
                  <a:lnTo>
                    <a:pt x="91" y="275"/>
                  </a:lnTo>
                  <a:close/>
                  <a:moveTo>
                    <a:pt x="87" y="363"/>
                  </a:moveTo>
                  <a:lnTo>
                    <a:pt x="89" y="363"/>
                  </a:lnTo>
                  <a:lnTo>
                    <a:pt x="87" y="363"/>
                  </a:lnTo>
                  <a:close/>
                  <a:moveTo>
                    <a:pt x="91" y="348"/>
                  </a:moveTo>
                  <a:lnTo>
                    <a:pt x="93" y="348"/>
                  </a:lnTo>
                  <a:lnTo>
                    <a:pt x="93" y="350"/>
                  </a:lnTo>
                  <a:lnTo>
                    <a:pt x="91" y="350"/>
                  </a:lnTo>
                  <a:lnTo>
                    <a:pt x="91" y="348"/>
                  </a:lnTo>
                  <a:close/>
                  <a:moveTo>
                    <a:pt x="89" y="357"/>
                  </a:moveTo>
                  <a:lnTo>
                    <a:pt x="89" y="359"/>
                  </a:lnTo>
                  <a:lnTo>
                    <a:pt x="89" y="357"/>
                  </a:lnTo>
                  <a:close/>
                  <a:moveTo>
                    <a:pt x="89" y="363"/>
                  </a:moveTo>
                  <a:lnTo>
                    <a:pt x="89" y="365"/>
                  </a:lnTo>
                  <a:lnTo>
                    <a:pt x="89" y="363"/>
                  </a:lnTo>
                  <a:close/>
                  <a:moveTo>
                    <a:pt x="129" y="202"/>
                  </a:moveTo>
                  <a:lnTo>
                    <a:pt x="129" y="204"/>
                  </a:lnTo>
                  <a:lnTo>
                    <a:pt x="129" y="202"/>
                  </a:lnTo>
                  <a:close/>
                  <a:moveTo>
                    <a:pt x="169" y="123"/>
                  </a:moveTo>
                  <a:lnTo>
                    <a:pt x="169" y="125"/>
                  </a:lnTo>
                  <a:lnTo>
                    <a:pt x="169" y="123"/>
                  </a:lnTo>
                  <a:close/>
                  <a:moveTo>
                    <a:pt x="171" y="133"/>
                  </a:moveTo>
                  <a:lnTo>
                    <a:pt x="171" y="135"/>
                  </a:lnTo>
                  <a:lnTo>
                    <a:pt x="171" y="133"/>
                  </a:lnTo>
                  <a:close/>
                  <a:moveTo>
                    <a:pt x="85" y="373"/>
                  </a:moveTo>
                  <a:lnTo>
                    <a:pt x="85" y="375"/>
                  </a:lnTo>
                  <a:lnTo>
                    <a:pt x="85" y="373"/>
                  </a:lnTo>
                  <a:close/>
                  <a:moveTo>
                    <a:pt x="58" y="419"/>
                  </a:moveTo>
                  <a:lnTo>
                    <a:pt x="60" y="419"/>
                  </a:lnTo>
                  <a:lnTo>
                    <a:pt x="58" y="419"/>
                  </a:lnTo>
                  <a:close/>
                  <a:moveTo>
                    <a:pt x="85" y="359"/>
                  </a:moveTo>
                  <a:lnTo>
                    <a:pt x="87" y="359"/>
                  </a:lnTo>
                  <a:lnTo>
                    <a:pt x="85" y="359"/>
                  </a:lnTo>
                  <a:close/>
                  <a:moveTo>
                    <a:pt x="4" y="352"/>
                  </a:moveTo>
                  <a:lnTo>
                    <a:pt x="4" y="354"/>
                  </a:lnTo>
                  <a:lnTo>
                    <a:pt x="4" y="352"/>
                  </a:lnTo>
                  <a:close/>
                  <a:moveTo>
                    <a:pt x="6" y="367"/>
                  </a:moveTo>
                  <a:lnTo>
                    <a:pt x="8" y="367"/>
                  </a:lnTo>
                  <a:lnTo>
                    <a:pt x="6" y="367"/>
                  </a:lnTo>
                  <a:close/>
                  <a:moveTo>
                    <a:pt x="167" y="139"/>
                  </a:moveTo>
                  <a:lnTo>
                    <a:pt x="169" y="139"/>
                  </a:lnTo>
                  <a:lnTo>
                    <a:pt x="167" y="139"/>
                  </a:lnTo>
                  <a:close/>
                  <a:moveTo>
                    <a:pt x="150" y="165"/>
                  </a:moveTo>
                  <a:lnTo>
                    <a:pt x="150" y="167"/>
                  </a:lnTo>
                  <a:lnTo>
                    <a:pt x="150" y="165"/>
                  </a:lnTo>
                  <a:close/>
                  <a:moveTo>
                    <a:pt x="10" y="371"/>
                  </a:moveTo>
                  <a:lnTo>
                    <a:pt x="10" y="373"/>
                  </a:lnTo>
                  <a:lnTo>
                    <a:pt x="10" y="371"/>
                  </a:lnTo>
                  <a:close/>
                  <a:moveTo>
                    <a:pt x="119" y="317"/>
                  </a:moveTo>
                  <a:lnTo>
                    <a:pt x="119" y="319"/>
                  </a:lnTo>
                  <a:lnTo>
                    <a:pt x="119" y="317"/>
                  </a:lnTo>
                  <a:close/>
                  <a:moveTo>
                    <a:pt x="98" y="344"/>
                  </a:moveTo>
                  <a:lnTo>
                    <a:pt x="100" y="344"/>
                  </a:lnTo>
                  <a:lnTo>
                    <a:pt x="98" y="344"/>
                  </a:lnTo>
                  <a:close/>
                  <a:moveTo>
                    <a:pt x="108" y="340"/>
                  </a:moveTo>
                  <a:lnTo>
                    <a:pt x="108" y="342"/>
                  </a:lnTo>
                  <a:lnTo>
                    <a:pt x="108" y="340"/>
                  </a:lnTo>
                  <a:close/>
                  <a:moveTo>
                    <a:pt x="87" y="363"/>
                  </a:moveTo>
                  <a:lnTo>
                    <a:pt x="87" y="365"/>
                  </a:lnTo>
                  <a:lnTo>
                    <a:pt x="87" y="363"/>
                  </a:lnTo>
                  <a:close/>
                  <a:moveTo>
                    <a:pt x="94" y="260"/>
                  </a:moveTo>
                  <a:lnTo>
                    <a:pt x="96" y="260"/>
                  </a:lnTo>
                  <a:lnTo>
                    <a:pt x="94" y="260"/>
                  </a:lnTo>
                  <a:close/>
                  <a:moveTo>
                    <a:pt x="87" y="371"/>
                  </a:moveTo>
                  <a:lnTo>
                    <a:pt x="87" y="373"/>
                  </a:lnTo>
                  <a:lnTo>
                    <a:pt x="87" y="371"/>
                  </a:lnTo>
                  <a:close/>
                  <a:moveTo>
                    <a:pt x="123" y="319"/>
                  </a:moveTo>
                  <a:lnTo>
                    <a:pt x="123" y="321"/>
                  </a:lnTo>
                  <a:lnTo>
                    <a:pt x="123" y="319"/>
                  </a:lnTo>
                  <a:close/>
                  <a:moveTo>
                    <a:pt x="114" y="323"/>
                  </a:moveTo>
                  <a:lnTo>
                    <a:pt x="114" y="325"/>
                  </a:lnTo>
                  <a:lnTo>
                    <a:pt x="114" y="323"/>
                  </a:lnTo>
                  <a:close/>
                  <a:moveTo>
                    <a:pt x="91" y="265"/>
                  </a:moveTo>
                  <a:lnTo>
                    <a:pt x="91" y="267"/>
                  </a:lnTo>
                  <a:lnTo>
                    <a:pt x="91" y="265"/>
                  </a:lnTo>
                  <a:close/>
                  <a:moveTo>
                    <a:pt x="85" y="382"/>
                  </a:moveTo>
                  <a:lnTo>
                    <a:pt x="85" y="384"/>
                  </a:lnTo>
                  <a:lnTo>
                    <a:pt x="85" y="382"/>
                  </a:lnTo>
                  <a:close/>
                  <a:moveTo>
                    <a:pt x="85" y="381"/>
                  </a:moveTo>
                  <a:lnTo>
                    <a:pt x="85" y="382"/>
                  </a:lnTo>
                  <a:lnTo>
                    <a:pt x="85" y="381"/>
                  </a:lnTo>
                  <a:close/>
                  <a:moveTo>
                    <a:pt x="112" y="215"/>
                  </a:moveTo>
                  <a:lnTo>
                    <a:pt x="112" y="217"/>
                  </a:lnTo>
                  <a:lnTo>
                    <a:pt x="112" y="215"/>
                  </a:lnTo>
                  <a:close/>
                  <a:moveTo>
                    <a:pt x="94" y="238"/>
                  </a:moveTo>
                  <a:lnTo>
                    <a:pt x="94" y="240"/>
                  </a:lnTo>
                  <a:lnTo>
                    <a:pt x="94" y="238"/>
                  </a:lnTo>
                  <a:close/>
                  <a:moveTo>
                    <a:pt x="10" y="375"/>
                  </a:moveTo>
                  <a:lnTo>
                    <a:pt x="12" y="375"/>
                  </a:lnTo>
                  <a:lnTo>
                    <a:pt x="10" y="375"/>
                  </a:lnTo>
                  <a:close/>
                  <a:moveTo>
                    <a:pt x="52" y="421"/>
                  </a:moveTo>
                  <a:lnTo>
                    <a:pt x="52" y="423"/>
                  </a:lnTo>
                  <a:lnTo>
                    <a:pt x="52" y="421"/>
                  </a:lnTo>
                  <a:close/>
                  <a:moveTo>
                    <a:pt x="116" y="327"/>
                  </a:moveTo>
                  <a:lnTo>
                    <a:pt x="116" y="329"/>
                  </a:lnTo>
                  <a:lnTo>
                    <a:pt x="116" y="327"/>
                  </a:lnTo>
                  <a:close/>
                  <a:moveTo>
                    <a:pt x="4" y="356"/>
                  </a:moveTo>
                  <a:lnTo>
                    <a:pt x="4" y="357"/>
                  </a:lnTo>
                  <a:lnTo>
                    <a:pt x="4" y="356"/>
                  </a:lnTo>
                  <a:close/>
                  <a:moveTo>
                    <a:pt x="187" y="125"/>
                  </a:moveTo>
                  <a:lnTo>
                    <a:pt x="188" y="125"/>
                  </a:lnTo>
                  <a:lnTo>
                    <a:pt x="187" y="125"/>
                  </a:lnTo>
                  <a:close/>
                  <a:moveTo>
                    <a:pt x="102" y="292"/>
                  </a:moveTo>
                  <a:lnTo>
                    <a:pt x="102" y="294"/>
                  </a:lnTo>
                  <a:lnTo>
                    <a:pt x="102" y="292"/>
                  </a:lnTo>
                  <a:close/>
                  <a:moveTo>
                    <a:pt x="110" y="340"/>
                  </a:moveTo>
                  <a:lnTo>
                    <a:pt x="110" y="342"/>
                  </a:lnTo>
                  <a:lnTo>
                    <a:pt x="110" y="340"/>
                  </a:lnTo>
                  <a:close/>
                  <a:moveTo>
                    <a:pt x="131" y="202"/>
                  </a:moveTo>
                  <a:lnTo>
                    <a:pt x="133" y="202"/>
                  </a:lnTo>
                  <a:lnTo>
                    <a:pt x="131" y="202"/>
                  </a:lnTo>
                  <a:close/>
                  <a:moveTo>
                    <a:pt x="85" y="369"/>
                  </a:moveTo>
                  <a:lnTo>
                    <a:pt x="87" y="369"/>
                  </a:lnTo>
                  <a:lnTo>
                    <a:pt x="85" y="369"/>
                  </a:lnTo>
                  <a:close/>
                  <a:moveTo>
                    <a:pt x="112" y="215"/>
                  </a:moveTo>
                  <a:lnTo>
                    <a:pt x="112" y="217"/>
                  </a:lnTo>
                  <a:lnTo>
                    <a:pt x="112" y="215"/>
                  </a:lnTo>
                  <a:close/>
                  <a:moveTo>
                    <a:pt x="114" y="306"/>
                  </a:moveTo>
                  <a:lnTo>
                    <a:pt x="116" y="306"/>
                  </a:lnTo>
                  <a:lnTo>
                    <a:pt x="114" y="306"/>
                  </a:lnTo>
                  <a:close/>
                  <a:moveTo>
                    <a:pt x="12" y="359"/>
                  </a:moveTo>
                  <a:lnTo>
                    <a:pt x="12" y="361"/>
                  </a:lnTo>
                  <a:lnTo>
                    <a:pt x="12" y="359"/>
                  </a:lnTo>
                  <a:close/>
                  <a:moveTo>
                    <a:pt x="8" y="371"/>
                  </a:moveTo>
                  <a:lnTo>
                    <a:pt x="10" y="371"/>
                  </a:lnTo>
                  <a:lnTo>
                    <a:pt x="8" y="371"/>
                  </a:lnTo>
                  <a:close/>
                  <a:moveTo>
                    <a:pt x="104" y="298"/>
                  </a:moveTo>
                  <a:lnTo>
                    <a:pt x="106" y="298"/>
                  </a:lnTo>
                  <a:lnTo>
                    <a:pt x="104" y="298"/>
                  </a:lnTo>
                  <a:close/>
                  <a:moveTo>
                    <a:pt x="114" y="329"/>
                  </a:moveTo>
                  <a:lnTo>
                    <a:pt x="116" y="329"/>
                  </a:lnTo>
                  <a:lnTo>
                    <a:pt x="114" y="329"/>
                  </a:lnTo>
                  <a:close/>
                  <a:moveTo>
                    <a:pt x="119" y="315"/>
                  </a:moveTo>
                  <a:lnTo>
                    <a:pt x="119" y="317"/>
                  </a:lnTo>
                  <a:lnTo>
                    <a:pt x="119" y="315"/>
                  </a:lnTo>
                  <a:close/>
                  <a:moveTo>
                    <a:pt x="98" y="292"/>
                  </a:moveTo>
                  <a:lnTo>
                    <a:pt x="98" y="294"/>
                  </a:lnTo>
                  <a:lnTo>
                    <a:pt x="98" y="292"/>
                  </a:lnTo>
                  <a:close/>
                  <a:moveTo>
                    <a:pt x="169" y="135"/>
                  </a:moveTo>
                  <a:lnTo>
                    <a:pt x="169" y="137"/>
                  </a:lnTo>
                  <a:lnTo>
                    <a:pt x="169" y="135"/>
                  </a:lnTo>
                  <a:close/>
                  <a:moveTo>
                    <a:pt x="83" y="365"/>
                  </a:moveTo>
                  <a:lnTo>
                    <a:pt x="85" y="365"/>
                  </a:lnTo>
                  <a:lnTo>
                    <a:pt x="83" y="365"/>
                  </a:lnTo>
                  <a:close/>
                  <a:moveTo>
                    <a:pt x="66" y="417"/>
                  </a:moveTo>
                  <a:lnTo>
                    <a:pt x="66" y="419"/>
                  </a:lnTo>
                  <a:lnTo>
                    <a:pt x="66" y="417"/>
                  </a:lnTo>
                  <a:close/>
                  <a:moveTo>
                    <a:pt x="114" y="329"/>
                  </a:moveTo>
                  <a:lnTo>
                    <a:pt x="114" y="331"/>
                  </a:lnTo>
                  <a:lnTo>
                    <a:pt x="114" y="329"/>
                  </a:lnTo>
                  <a:close/>
                  <a:moveTo>
                    <a:pt x="2" y="340"/>
                  </a:moveTo>
                  <a:lnTo>
                    <a:pt x="4" y="340"/>
                  </a:lnTo>
                  <a:lnTo>
                    <a:pt x="2" y="340"/>
                  </a:lnTo>
                  <a:close/>
                  <a:moveTo>
                    <a:pt x="100" y="346"/>
                  </a:moveTo>
                  <a:lnTo>
                    <a:pt x="100" y="348"/>
                  </a:lnTo>
                  <a:lnTo>
                    <a:pt x="100" y="346"/>
                  </a:lnTo>
                  <a:close/>
                  <a:moveTo>
                    <a:pt x="85" y="381"/>
                  </a:moveTo>
                  <a:lnTo>
                    <a:pt x="85" y="382"/>
                  </a:lnTo>
                  <a:lnTo>
                    <a:pt x="85" y="381"/>
                  </a:lnTo>
                  <a:close/>
                  <a:moveTo>
                    <a:pt x="98" y="296"/>
                  </a:moveTo>
                  <a:lnTo>
                    <a:pt x="100" y="296"/>
                  </a:lnTo>
                  <a:lnTo>
                    <a:pt x="98" y="296"/>
                  </a:lnTo>
                  <a:close/>
                  <a:moveTo>
                    <a:pt x="169" y="133"/>
                  </a:moveTo>
                  <a:lnTo>
                    <a:pt x="169" y="135"/>
                  </a:lnTo>
                  <a:lnTo>
                    <a:pt x="169" y="133"/>
                  </a:lnTo>
                  <a:close/>
                  <a:moveTo>
                    <a:pt x="165" y="139"/>
                  </a:moveTo>
                  <a:lnTo>
                    <a:pt x="165" y="140"/>
                  </a:lnTo>
                  <a:lnTo>
                    <a:pt x="165" y="139"/>
                  </a:lnTo>
                  <a:close/>
                  <a:moveTo>
                    <a:pt x="146" y="196"/>
                  </a:moveTo>
                  <a:lnTo>
                    <a:pt x="146" y="198"/>
                  </a:lnTo>
                  <a:lnTo>
                    <a:pt x="146" y="196"/>
                  </a:lnTo>
                  <a:close/>
                  <a:moveTo>
                    <a:pt x="119" y="323"/>
                  </a:moveTo>
                  <a:lnTo>
                    <a:pt x="121" y="323"/>
                  </a:lnTo>
                  <a:lnTo>
                    <a:pt x="119" y="323"/>
                  </a:lnTo>
                  <a:close/>
                  <a:moveTo>
                    <a:pt x="69" y="419"/>
                  </a:moveTo>
                  <a:lnTo>
                    <a:pt x="69" y="421"/>
                  </a:lnTo>
                  <a:lnTo>
                    <a:pt x="69" y="419"/>
                  </a:lnTo>
                  <a:close/>
                  <a:moveTo>
                    <a:pt x="8" y="371"/>
                  </a:moveTo>
                  <a:lnTo>
                    <a:pt x="10" y="371"/>
                  </a:lnTo>
                  <a:lnTo>
                    <a:pt x="8" y="371"/>
                  </a:lnTo>
                  <a:close/>
                  <a:moveTo>
                    <a:pt x="164" y="139"/>
                  </a:moveTo>
                  <a:lnTo>
                    <a:pt x="164" y="140"/>
                  </a:lnTo>
                  <a:lnTo>
                    <a:pt x="164" y="139"/>
                  </a:lnTo>
                  <a:close/>
                  <a:moveTo>
                    <a:pt x="156" y="140"/>
                  </a:moveTo>
                  <a:lnTo>
                    <a:pt x="158" y="140"/>
                  </a:lnTo>
                  <a:lnTo>
                    <a:pt x="156" y="140"/>
                  </a:lnTo>
                  <a:close/>
                  <a:moveTo>
                    <a:pt x="110" y="340"/>
                  </a:moveTo>
                  <a:lnTo>
                    <a:pt x="110" y="342"/>
                  </a:lnTo>
                  <a:lnTo>
                    <a:pt x="110" y="340"/>
                  </a:lnTo>
                  <a:close/>
                  <a:moveTo>
                    <a:pt x="112" y="340"/>
                  </a:moveTo>
                  <a:lnTo>
                    <a:pt x="114" y="340"/>
                  </a:lnTo>
                  <a:lnTo>
                    <a:pt x="112" y="340"/>
                  </a:lnTo>
                  <a:close/>
                  <a:moveTo>
                    <a:pt x="133" y="200"/>
                  </a:moveTo>
                  <a:lnTo>
                    <a:pt x="133" y="202"/>
                  </a:lnTo>
                  <a:lnTo>
                    <a:pt x="133" y="200"/>
                  </a:lnTo>
                  <a:close/>
                  <a:moveTo>
                    <a:pt x="119" y="325"/>
                  </a:moveTo>
                  <a:lnTo>
                    <a:pt x="119" y="327"/>
                  </a:lnTo>
                  <a:lnTo>
                    <a:pt x="119" y="325"/>
                  </a:lnTo>
                  <a:close/>
                  <a:moveTo>
                    <a:pt x="91" y="265"/>
                  </a:moveTo>
                  <a:lnTo>
                    <a:pt x="93" y="265"/>
                  </a:lnTo>
                  <a:lnTo>
                    <a:pt x="91" y="265"/>
                  </a:lnTo>
                  <a:close/>
                  <a:moveTo>
                    <a:pt x="116" y="329"/>
                  </a:moveTo>
                  <a:lnTo>
                    <a:pt x="116" y="331"/>
                  </a:lnTo>
                  <a:lnTo>
                    <a:pt x="116" y="329"/>
                  </a:lnTo>
                  <a:close/>
                  <a:moveTo>
                    <a:pt x="106" y="298"/>
                  </a:moveTo>
                  <a:lnTo>
                    <a:pt x="106" y="300"/>
                  </a:lnTo>
                  <a:lnTo>
                    <a:pt x="106" y="298"/>
                  </a:lnTo>
                  <a:close/>
                  <a:moveTo>
                    <a:pt x="85" y="354"/>
                  </a:moveTo>
                  <a:lnTo>
                    <a:pt x="87" y="354"/>
                  </a:lnTo>
                  <a:lnTo>
                    <a:pt x="85" y="354"/>
                  </a:lnTo>
                  <a:close/>
                  <a:moveTo>
                    <a:pt x="89" y="350"/>
                  </a:moveTo>
                  <a:lnTo>
                    <a:pt x="91" y="350"/>
                  </a:lnTo>
                  <a:lnTo>
                    <a:pt x="89" y="350"/>
                  </a:lnTo>
                  <a:close/>
                  <a:moveTo>
                    <a:pt x="85" y="373"/>
                  </a:moveTo>
                  <a:lnTo>
                    <a:pt x="87" y="373"/>
                  </a:lnTo>
                  <a:lnTo>
                    <a:pt x="85" y="373"/>
                  </a:lnTo>
                  <a:close/>
                  <a:moveTo>
                    <a:pt x="156" y="140"/>
                  </a:moveTo>
                  <a:lnTo>
                    <a:pt x="156" y="142"/>
                  </a:lnTo>
                  <a:lnTo>
                    <a:pt x="156" y="140"/>
                  </a:lnTo>
                  <a:close/>
                  <a:moveTo>
                    <a:pt x="121" y="323"/>
                  </a:moveTo>
                  <a:lnTo>
                    <a:pt x="123" y="323"/>
                  </a:lnTo>
                  <a:lnTo>
                    <a:pt x="121" y="323"/>
                  </a:lnTo>
                  <a:close/>
                  <a:moveTo>
                    <a:pt x="114" y="329"/>
                  </a:moveTo>
                  <a:lnTo>
                    <a:pt x="114" y="331"/>
                  </a:lnTo>
                  <a:lnTo>
                    <a:pt x="114" y="329"/>
                  </a:lnTo>
                  <a:close/>
                  <a:moveTo>
                    <a:pt x="81" y="396"/>
                  </a:moveTo>
                  <a:lnTo>
                    <a:pt x="81" y="398"/>
                  </a:lnTo>
                  <a:lnTo>
                    <a:pt x="81" y="396"/>
                  </a:lnTo>
                  <a:close/>
                  <a:moveTo>
                    <a:pt x="108" y="331"/>
                  </a:moveTo>
                  <a:lnTo>
                    <a:pt x="110" y="331"/>
                  </a:lnTo>
                  <a:lnTo>
                    <a:pt x="108" y="331"/>
                  </a:lnTo>
                  <a:close/>
                  <a:moveTo>
                    <a:pt x="116" y="315"/>
                  </a:moveTo>
                  <a:lnTo>
                    <a:pt x="117" y="315"/>
                  </a:lnTo>
                  <a:lnTo>
                    <a:pt x="116" y="315"/>
                  </a:lnTo>
                  <a:close/>
                  <a:moveTo>
                    <a:pt x="114" y="334"/>
                  </a:moveTo>
                  <a:lnTo>
                    <a:pt x="116" y="334"/>
                  </a:lnTo>
                  <a:lnTo>
                    <a:pt x="114" y="334"/>
                  </a:lnTo>
                  <a:close/>
                  <a:moveTo>
                    <a:pt x="91" y="267"/>
                  </a:moveTo>
                  <a:lnTo>
                    <a:pt x="91" y="269"/>
                  </a:lnTo>
                  <a:lnTo>
                    <a:pt x="91" y="267"/>
                  </a:lnTo>
                  <a:close/>
                  <a:moveTo>
                    <a:pt x="125" y="204"/>
                  </a:moveTo>
                  <a:lnTo>
                    <a:pt x="125" y="206"/>
                  </a:lnTo>
                  <a:lnTo>
                    <a:pt x="125" y="204"/>
                  </a:lnTo>
                  <a:close/>
                  <a:moveTo>
                    <a:pt x="177" y="129"/>
                  </a:moveTo>
                  <a:lnTo>
                    <a:pt x="179" y="129"/>
                  </a:lnTo>
                  <a:lnTo>
                    <a:pt x="177" y="129"/>
                  </a:lnTo>
                  <a:close/>
                  <a:moveTo>
                    <a:pt x="121" y="321"/>
                  </a:moveTo>
                  <a:lnTo>
                    <a:pt x="121" y="323"/>
                  </a:lnTo>
                  <a:lnTo>
                    <a:pt x="121" y="321"/>
                  </a:lnTo>
                  <a:close/>
                  <a:moveTo>
                    <a:pt x="181" y="125"/>
                  </a:moveTo>
                  <a:lnTo>
                    <a:pt x="183" y="125"/>
                  </a:lnTo>
                  <a:lnTo>
                    <a:pt x="181" y="125"/>
                  </a:lnTo>
                  <a:close/>
                  <a:moveTo>
                    <a:pt x="106" y="338"/>
                  </a:moveTo>
                  <a:lnTo>
                    <a:pt x="108" y="338"/>
                  </a:lnTo>
                  <a:lnTo>
                    <a:pt x="106" y="338"/>
                  </a:lnTo>
                  <a:close/>
                  <a:moveTo>
                    <a:pt x="116" y="336"/>
                  </a:moveTo>
                  <a:lnTo>
                    <a:pt x="116" y="338"/>
                  </a:lnTo>
                  <a:lnTo>
                    <a:pt x="116" y="336"/>
                  </a:lnTo>
                  <a:close/>
                  <a:moveTo>
                    <a:pt x="112" y="338"/>
                  </a:moveTo>
                  <a:lnTo>
                    <a:pt x="112" y="340"/>
                  </a:lnTo>
                  <a:lnTo>
                    <a:pt x="112" y="338"/>
                  </a:lnTo>
                  <a:close/>
                  <a:moveTo>
                    <a:pt x="106" y="338"/>
                  </a:moveTo>
                  <a:lnTo>
                    <a:pt x="108" y="338"/>
                  </a:lnTo>
                  <a:lnTo>
                    <a:pt x="106" y="338"/>
                  </a:lnTo>
                  <a:close/>
                  <a:moveTo>
                    <a:pt x="83" y="379"/>
                  </a:moveTo>
                  <a:lnTo>
                    <a:pt x="85" y="379"/>
                  </a:lnTo>
                  <a:lnTo>
                    <a:pt x="83" y="379"/>
                  </a:lnTo>
                  <a:close/>
                  <a:moveTo>
                    <a:pt x="152" y="162"/>
                  </a:moveTo>
                  <a:lnTo>
                    <a:pt x="152" y="163"/>
                  </a:lnTo>
                  <a:lnTo>
                    <a:pt x="152" y="162"/>
                  </a:lnTo>
                  <a:close/>
                  <a:moveTo>
                    <a:pt x="85" y="367"/>
                  </a:moveTo>
                  <a:lnTo>
                    <a:pt x="87" y="367"/>
                  </a:lnTo>
                  <a:lnTo>
                    <a:pt x="85" y="367"/>
                  </a:lnTo>
                  <a:close/>
                  <a:moveTo>
                    <a:pt x="121" y="325"/>
                  </a:moveTo>
                  <a:lnTo>
                    <a:pt x="121" y="327"/>
                  </a:lnTo>
                  <a:lnTo>
                    <a:pt x="121" y="325"/>
                  </a:lnTo>
                  <a:close/>
                  <a:moveTo>
                    <a:pt x="100" y="346"/>
                  </a:moveTo>
                  <a:lnTo>
                    <a:pt x="100" y="348"/>
                  </a:lnTo>
                  <a:lnTo>
                    <a:pt x="100" y="346"/>
                  </a:lnTo>
                  <a:close/>
                  <a:moveTo>
                    <a:pt x="162" y="137"/>
                  </a:moveTo>
                  <a:lnTo>
                    <a:pt x="164" y="137"/>
                  </a:lnTo>
                  <a:lnTo>
                    <a:pt x="162" y="137"/>
                  </a:lnTo>
                  <a:close/>
                  <a:moveTo>
                    <a:pt x="93" y="286"/>
                  </a:moveTo>
                  <a:lnTo>
                    <a:pt x="93" y="288"/>
                  </a:lnTo>
                  <a:lnTo>
                    <a:pt x="93" y="286"/>
                  </a:lnTo>
                  <a:close/>
                  <a:moveTo>
                    <a:pt x="167" y="133"/>
                  </a:moveTo>
                  <a:lnTo>
                    <a:pt x="167" y="135"/>
                  </a:lnTo>
                  <a:lnTo>
                    <a:pt x="167" y="133"/>
                  </a:lnTo>
                  <a:close/>
                  <a:moveTo>
                    <a:pt x="114" y="336"/>
                  </a:moveTo>
                  <a:lnTo>
                    <a:pt x="114" y="338"/>
                  </a:lnTo>
                  <a:lnTo>
                    <a:pt x="114" y="336"/>
                  </a:lnTo>
                  <a:close/>
                  <a:moveTo>
                    <a:pt x="89" y="363"/>
                  </a:moveTo>
                  <a:lnTo>
                    <a:pt x="89" y="365"/>
                  </a:lnTo>
                  <a:lnTo>
                    <a:pt x="89" y="363"/>
                  </a:lnTo>
                  <a:close/>
                  <a:moveTo>
                    <a:pt x="129" y="204"/>
                  </a:moveTo>
                  <a:lnTo>
                    <a:pt x="129" y="206"/>
                  </a:lnTo>
                  <a:lnTo>
                    <a:pt x="129" y="204"/>
                  </a:lnTo>
                  <a:close/>
                  <a:moveTo>
                    <a:pt x="79" y="402"/>
                  </a:moveTo>
                  <a:lnTo>
                    <a:pt x="79" y="404"/>
                  </a:lnTo>
                  <a:lnTo>
                    <a:pt x="79" y="402"/>
                  </a:lnTo>
                  <a:close/>
                  <a:moveTo>
                    <a:pt x="66" y="419"/>
                  </a:moveTo>
                  <a:lnTo>
                    <a:pt x="68" y="419"/>
                  </a:lnTo>
                  <a:lnTo>
                    <a:pt x="66" y="419"/>
                  </a:lnTo>
                  <a:close/>
                  <a:moveTo>
                    <a:pt x="179" y="129"/>
                  </a:moveTo>
                  <a:lnTo>
                    <a:pt x="181" y="129"/>
                  </a:lnTo>
                  <a:lnTo>
                    <a:pt x="179" y="129"/>
                  </a:lnTo>
                  <a:close/>
                  <a:moveTo>
                    <a:pt x="10" y="359"/>
                  </a:moveTo>
                  <a:lnTo>
                    <a:pt x="10" y="361"/>
                  </a:lnTo>
                  <a:lnTo>
                    <a:pt x="10" y="359"/>
                  </a:lnTo>
                  <a:close/>
                  <a:moveTo>
                    <a:pt x="119" y="327"/>
                  </a:moveTo>
                  <a:lnTo>
                    <a:pt x="121" y="327"/>
                  </a:lnTo>
                  <a:lnTo>
                    <a:pt x="119" y="327"/>
                  </a:lnTo>
                  <a:close/>
                  <a:moveTo>
                    <a:pt x="12" y="359"/>
                  </a:moveTo>
                  <a:lnTo>
                    <a:pt x="12" y="361"/>
                  </a:lnTo>
                  <a:lnTo>
                    <a:pt x="12" y="359"/>
                  </a:lnTo>
                  <a:close/>
                  <a:moveTo>
                    <a:pt x="162" y="137"/>
                  </a:moveTo>
                  <a:lnTo>
                    <a:pt x="162" y="139"/>
                  </a:lnTo>
                  <a:lnTo>
                    <a:pt x="162" y="137"/>
                  </a:lnTo>
                  <a:close/>
                  <a:moveTo>
                    <a:pt x="83" y="384"/>
                  </a:moveTo>
                  <a:lnTo>
                    <a:pt x="83" y="386"/>
                  </a:lnTo>
                  <a:lnTo>
                    <a:pt x="83" y="384"/>
                  </a:lnTo>
                  <a:close/>
                  <a:moveTo>
                    <a:pt x="114" y="334"/>
                  </a:moveTo>
                  <a:lnTo>
                    <a:pt x="116" y="334"/>
                  </a:lnTo>
                  <a:lnTo>
                    <a:pt x="114" y="334"/>
                  </a:lnTo>
                  <a:close/>
                  <a:moveTo>
                    <a:pt x="6" y="361"/>
                  </a:moveTo>
                  <a:lnTo>
                    <a:pt x="6" y="363"/>
                  </a:lnTo>
                  <a:lnTo>
                    <a:pt x="6" y="361"/>
                  </a:lnTo>
                  <a:close/>
                  <a:moveTo>
                    <a:pt x="87" y="354"/>
                  </a:moveTo>
                  <a:lnTo>
                    <a:pt x="89" y="354"/>
                  </a:lnTo>
                  <a:lnTo>
                    <a:pt x="87" y="354"/>
                  </a:lnTo>
                  <a:close/>
                  <a:moveTo>
                    <a:pt x="50" y="423"/>
                  </a:moveTo>
                  <a:lnTo>
                    <a:pt x="52" y="423"/>
                  </a:lnTo>
                  <a:lnTo>
                    <a:pt x="50" y="423"/>
                  </a:lnTo>
                  <a:close/>
                  <a:moveTo>
                    <a:pt x="2" y="354"/>
                  </a:moveTo>
                  <a:lnTo>
                    <a:pt x="4" y="354"/>
                  </a:lnTo>
                  <a:lnTo>
                    <a:pt x="2" y="354"/>
                  </a:lnTo>
                  <a:close/>
                  <a:moveTo>
                    <a:pt x="112" y="221"/>
                  </a:moveTo>
                  <a:lnTo>
                    <a:pt x="114" y="221"/>
                  </a:lnTo>
                  <a:lnTo>
                    <a:pt x="112" y="221"/>
                  </a:lnTo>
                  <a:close/>
                  <a:moveTo>
                    <a:pt x="173" y="129"/>
                  </a:moveTo>
                  <a:lnTo>
                    <a:pt x="173" y="131"/>
                  </a:lnTo>
                  <a:lnTo>
                    <a:pt x="173" y="129"/>
                  </a:lnTo>
                  <a:close/>
                  <a:moveTo>
                    <a:pt x="116" y="333"/>
                  </a:moveTo>
                  <a:lnTo>
                    <a:pt x="116" y="334"/>
                  </a:lnTo>
                  <a:lnTo>
                    <a:pt x="116" y="333"/>
                  </a:lnTo>
                  <a:close/>
                  <a:moveTo>
                    <a:pt x="100" y="346"/>
                  </a:moveTo>
                  <a:lnTo>
                    <a:pt x="100" y="348"/>
                  </a:lnTo>
                  <a:lnTo>
                    <a:pt x="100" y="346"/>
                  </a:lnTo>
                  <a:close/>
                  <a:moveTo>
                    <a:pt x="4" y="356"/>
                  </a:moveTo>
                  <a:lnTo>
                    <a:pt x="6" y="356"/>
                  </a:lnTo>
                  <a:lnTo>
                    <a:pt x="4" y="356"/>
                  </a:lnTo>
                  <a:close/>
                  <a:moveTo>
                    <a:pt x="116" y="325"/>
                  </a:moveTo>
                  <a:lnTo>
                    <a:pt x="116" y="327"/>
                  </a:lnTo>
                  <a:lnTo>
                    <a:pt x="116" y="325"/>
                  </a:lnTo>
                  <a:close/>
                  <a:moveTo>
                    <a:pt x="0" y="344"/>
                  </a:moveTo>
                  <a:lnTo>
                    <a:pt x="2" y="344"/>
                  </a:lnTo>
                  <a:lnTo>
                    <a:pt x="2" y="346"/>
                  </a:lnTo>
                  <a:lnTo>
                    <a:pt x="0" y="346"/>
                  </a:lnTo>
                  <a:lnTo>
                    <a:pt x="0" y="344"/>
                  </a:lnTo>
                  <a:close/>
                  <a:moveTo>
                    <a:pt x="119" y="327"/>
                  </a:moveTo>
                  <a:lnTo>
                    <a:pt x="121" y="327"/>
                  </a:lnTo>
                  <a:lnTo>
                    <a:pt x="119" y="327"/>
                  </a:lnTo>
                  <a:close/>
                  <a:moveTo>
                    <a:pt x="121" y="319"/>
                  </a:moveTo>
                  <a:lnTo>
                    <a:pt x="123" y="319"/>
                  </a:lnTo>
                  <a:lnTo>
                    <a:pt x="121" y="319"/>
                  </a:lnTo>
                  <a:close/>
                  <a:moveTo>
                    <a:pt x="110" y="336"/>
                  </a:moveTo>
                  <a:lnTo>
                    <a:pt x="112" y="336"/>
                  </a:lnTo>
                  <a:lnTo>
                    <a:pt x="110" y="336"/>
                  </a:lnTo>
                  <a:close/>
                  <a:moveTo>
                    <a:pt x="85" y="369"/>
                  </a:moveTo>
                  <a:lnTo>
                    <a:pt x="87" y="369"/>
                  </a:lnTo>
                  <a:lnTo>
                    <a:pt x="87" y="371"/>
                  </a:lnTo>
                  <a:lnTo>
                    <a:pt x="85" y="371"/>
                  </a:lnTo>
                  <a:lnTo>
                    <a:pt x="85" y="369"/>
                  </a:lnTo>
                  <a:close/>
                  <a:moveTo>
                    <a:pt x="114" y="327"/>
                  </a:moveTo>
                  <a:lnTo>
                    <a:pt x="114" y="329"/>
                  </a:lnTo>
                  <a:lnTo>
                    <a:pt x="114" y="327"/>
                  </a:lnTo>
                  <a:close/>
                  <a:moveTo>
                    <a:pt x="83" y="377"/>
                  </a:moveTo>
                  <a:lnTo>
                    <a:pt x="85" y="377"/>
                  </a:lnTo>
                  <a:lnTo>
                    <a:pt x="83" y="377"/>
                  </a:lnTo>
                  <a:close/>
                  <a:moveTo>
                    <a:pt x="50" y="423"/>
                  </a:moveTo>
                  <a:lnTo>
                    <a:pt x="52" y="423"/>
                  </a:lnTo>
                  <a:lnTo>
                    <a:pt x="50" y="423"/>
                  </a:lnTo>
                  <a:close/>
                  <a:moveTo>
                    <a:pt x="116" y="329"/>
                  </a:moveTo>
                  <a:lnTo>
                    <a:pt x="116" y="331"/>
                  </a:lnTo>
                  <a:lnTo>
                    <a:pt x="116" y="329"/>
                  </a:lnTo>
                  <a:close/>
                  <a:moveTo>
                    <a:pt x="81" y="396"/>
                  </a:moveTo>
                  <a:lnTo>
                    <a:pt x="83" y="396"/>
                  </a:lnTo>
                  <a:lnTo>
                    <a:pt x="81" y="396"/>
                  </a:lnTo>
                  <a:close/>
                  <a:moveTo>
                    <a:pt x="116" y="333"/>
                  </a:moveTo>
                  <a:lnTo>
                    <a:pt x="116" y="334"/>
                  </a:lnTo>
                  <a:lnTo>
                    <a:pt x="116" y="333"/>
                  </a:lnTo>
                  <a:close/>
                  <a:moveTo>
                    <a:pt x="110" y="340"/>
                  </a:moveTo>
                  <a:lnTo>
                    <a:pt x="110" y="342"/>
                  </a:lnTo>
                  <a:lnTo>
                    <a:pt x="110" y="340"/>
                  </a:lnTo>
                  <a:close/>
                  <a:moveTo>
                    <a:pt x="2" y="344"/>
                  </a:moveTo>
                  <a:lnTo>
                    <a:pt x="2" y="346"/>
                  </a:lnTo>
                  <a:lnTo>
                    <a:pt x="2" y="344"/>
                  </a:lnTo>
                  <a:close/>
                  <a:moveTo>
                    <a:pt x="87" y="357"/>
                  </a:moveTo>
                  <a:lnTo>
                    <a:pt x="87" y="359"/>
                  </a:lnTo>
                  <a:lnTo>
                    <a:pt x="87" y="357"/>
                  </a:lnTo>
                  <a:close/>
                  <a:moveTo>
                    <a:pt x="123" y="323"/>
                  </a:moveTo>
                  <a:lnTo>
                    <a:pt x="125" y="323"/>
                  </a:lnTo>
                  <a:lnTo>
                    <a:pt x="123" y="323"/>
                  </a:lnTo>
                  <a:close/>
                  <a:moveTo>
                    <a:pt x="89" y="357"/>
                  </a:moveTo>
                  <a:lnTo>
                    <a:pt x="89" y="359"/>
                  </a:lnTo>
                  <a:lnTo>
                    <a:pt x="89" y="357"/>
                  </a:lnTo>
                  <a:close/>
                  <a:moveTo>
                    <a:pt x="117" y="321"/>
                  </a:moveTo>
                  <a:lnTo>
                    <a:pt x="119" y="321"/>
                  </a:lnTo>
                  <a:lnTo>
                    <a:pt x="117" y="321"/>
                  </a:lnTo>
                  <a:close/>
                  <a:moveTo>
                    <a:pt x="83" y="394"/>
                  </a:moveTo>
                  <a:lnTo>
                    <a:pt x="83" y="396"/>
                  </a:lnTo>
                  <a:lnTo>
                    <a:pt x="83" y="394"/>
                  </a:lnTo>
                  <a:close/>
                  <a:moveTo>
                    <a:pt x="85" y="369"/>
                  </a:moveTo>
                  <a:lnTo>
                    <a:pt x="85" y="371"/>
                  </a:lnTo>
                  <a:lnTo>
                    <a:pt x="85" y="369"/>
                  </a:lnTo>
                  <a:close/>
                  <a:moveTo>
                    <a:pt x="167" y="123"/>
                  </a:moveTo>
                  <a:lnTo>
                    <a:pt x="169" y="123"/>
                  </a:lnTo>
                  <a:lnTo>
                    <a:pt x="169" y="125"/>
                  </a:lnTo>
                  <a:lnTo>
                    <a:pt x="167" y="125"/>
                  </a:lnTo>
                  <a:lnTo>
                    <a:pt x="167" y="123"/>
                  </a:lnTo>
                  <a:close/>
                  <a:moveTo>
                    <a:pt x="131" y="202"/>
                  </a:moveTo>
                  <a:lnTo>
                    <a:pt x="131" y="204"/>
                  </a:lnTo>
                  <a:lnTo>
                    <a:pt x="131" y="202"/>
                  </a:lnTo>
                  <a:close/>
                  <a:moveTo>
                    <a:pt x="150" y="177"/>
                  </a:moveTo>
                  <a:lnTo>
                    <a:pt x="150" y="179"/>
                  </a:lnTo>
                  <a:lnTo>
                    <a:pt x="150" y="177"/>
                  </a:lnTo>
                  <a:close/>
                  <a:moveTo>
                    <a:pt x="110" y="338"/>
                  </a:moveTo>
                  <a:lnTo>
                    <a:pt x="112" y="338"/>
                  </a:lnTo>
                  <a:lnTo>
                    <a:pt x="110" y="338"/>
                  </a:lnTo>
                  <a:close/>
                  <a:moveTo>
                    <a:pt x="116" y="336"/>
                  </a:moveTo>
                  <a:lnTo>
                    <a:pt x="116" y="338"/>
                  </a:lnTo>
                  <a:lnTo>
                    <a:pt x="116" y="336"/>
                  </a:lnTo>
                  <a:close/>
                  <a:moveTo>
                    <a:pt x="110" y="334"/>
                  </a:moveTo>
                  <a:lnTo>
                    <a:pt x="110" y="336"/>
                  </a:lnTo>
                  <a:lnTo>
                    <a:pt x="110" y="334"/>
                  </a:lnTo>
                  <a:close/>
                  <a:moveTo>
                    <a:pt x="81" y="373"/>
                  </a:moveTo>
                  <a:lnTo>
                    <a:pt x="83" y="373"/>
                  </a:lnTo>
                  <a:lnTo>
                    <a:pt x="81" y="373"/>
                  </a:lnTo>
                  <a:close/>
                  <a:moveTo>
                    <a:pt x="2" y="348"/>
                  </a:moveTo>
                  <a:lnTo>
                    <a:pt x="4" y="348"/>
                  </a:lnTo>
                  <a:lnTo>
                    <a:pt x="2" y="348"/>
                  </a:lnTo>
                  <a:close/>
                  <a:moveTo>
                    <a:pt x="190" y="129"/>
                  </a:moveTo>
                  <a:lnTo>
                    <a:pt x="192" y="129"/>
                  </a:lnTo>
                  <a:lnTo>
                    <a:pt x="190" y="129"/>
                  </a:lnTo>
                  <a:close/>
                  <a:moveTo>
                    <a:pt x="119" y="323"/>
                  </a:moveTo>
                  <a:lnTo>
                    <a:pt x="119" y="325"/>
                  </a:lnTo>
                  <a:lnTo>
                    <a:pt x="119" y="323"/>
                  </a:lnTo>
                  <a:close/>
                  <a:moveTo>
                    <a:pt x="69" y="421"/>
                  </a:moveTo>
                  <a:lnTo>
                    <a:pt x="71" y="421"/>
                  </a:lnTo>
                  <a:lnTo>
                    <a:pt x="69" y="421"/>
                  </a:lnTo>
                  <a:close/>
                  <a:moveTo>
                    <a:pt x="187" y="125"/>
                  </a:moveTo>
                  <a:lnTo>
                    <a:pt x="187" y="127"/>
                  </a:lnTo>
                  <a:lnTo>
                    <a:pt x="187" y="125"/>
                  </a:lnTo>
                  <a:close/>
                  <a:moveTo>
                    <a:pt x="104" y="342"/>
                  </a:moveTo>
                  <a:lnTo>
                    <a:pt x="106" y="342"/>
                  </a:lnTo>
                  <a:lnTo>
                    <a:pt x="104" y="342"/>
                  </a:lnTo>
                  <a:close/>
                  <a:moveTo>
                    <a:pt x="87" y="352"/>
                  </a:moveTo>
                  <a:lnTo>
                    <a:pt x="87" y="354"/>
                  </a:lnTo>
                  <a:lnTo>
                    <a:pt x="87" y="352"/>
                  </a:lnTo>
                  <a:close/>
                  <a:moveTo>
                    <a:pt x="108" y="338"/>
                  </a:moveTo>
                  <a:lnTo>
                    <a:pt x="108" y="340"/>
                  </a:lnTo>
                  <a:lnTo>
                    <a:pt x="108" y="338"/>
                  </a:lnTo>
                  <a:close/>
                  <a:moveTo>
                    <a:pt x="10" y="373"/>
                  </a:moveTo>
                  <a:lnTo>
                    <a:pt x="10" y="375"/>
                  </a:lnTo>
                  <a:lnTo>
                    <a:pt x="10" y="373"/>
                  </a:lnTo>
                  <a:close/>
                  <a:moveTo>
                    <a:pt x="89" y="356"/>
                  </a:moveTo>
                  <a:lnTo>
                    <a:pt x="89" y="357"/>
                  </a:lnTo>
                  <a:lnTo>
                    <a:pt x="89" y="356"/>
                  </a:lnTo>
                  <a:close/>
                  <a:moveTo>
                    <a:pt x="114" y="327"/>
                  </a:moveTo>
                  <a:lnTo>
                    <a:pt x="116" y="327"/>
                  </a:lnTo>
                  <a:lnTo>
                    <a:pt x="114" y="327"/>
                  </a:lnTo>
                  <a:close/>
                  <a:moveTo>
                    <a:pt x="127" y="206"/>
                  </a:moveTo>
                  <a:lnTo>
                    <a:pt x="129" y="206"/>
                  </a:lnTo>
                  <a:lnTo>
                    <a:pt x="127" y="206"/>
                  </a:lnTo>
                  <a:close/>
                  <a:moveTo>
                    <a:pt x="87" y="357"/>
                  </a:moveTo>
                  <a:lnTo>
                    <a:pt x="89" y="357"/>
                  </a:lnTo>
                  <a:lnTo>
                    <a:pt x="87" y="357"/>
                  </a:lnTo>
                  <a:close/>
                  <a:moveTo>
                    <a:pt x="114" y="329"/>
                  </a:moveTo>
                  <a:lnTo>
                    <a:pt x="114" y="331"/>
                  </a:lnTo>
                  <a:lnTo>
                    <a:pt x="114" y="329"/>
                  </a:lnTo>
                  <a:close/>
                  <a:moveTo>
                    <a:pt x="119" y="317"/>
                  </a:moveTo>
                  <a:lnTo>
                    <a:pt x="119" y="319"/>
                  </a:lnTo>
                  <a:lnTo>
                    <a:pt x="119" y="317"/>
                  </a:lnTo>
                  <a:close/>
                  <a:moveTo>
                    <a:pt x="114" y="329"/>
                  </a:moveTo>
                  <a:lnTo>
                    <a:pt x="114" y="331"/>
                  </a:lnTo>
                  <a:lnTo>
                    <a:pt x="114" y="329"/>
                  </a:lnTo>
                  <a:close/>
                  <a:moveTo>
                    <a:pt x="104" y="340"/>
                  </a:moveTo>
                  <a:lnTo>
                    <a:pt x="106" y="340"/>
                  </a:lnTo>
                  <a:lnTo>
                    <a:pt x="104" y="340"/>
                  </a:lnTo>
                  <a:close/>
                  <a:moveTo>
                    <a:pt x="106" y="225"/>
                  </a:moveTo>
                  <a:lnTo>
                    <a:pt x="108" y="225"/>
                  </a:lnTo>
                  <a:lnTo>
                    <a:pt x="106" y="225"/>
                  </a:lnTo>
                  <a:close/>
                  <a:moveTo>
                    <a:pt x="8" y="367"/>
                  </a:moveTo>
                  <a:lnTo>
                    <a:pt x="10" y="367"/>
                  </a:lnTo>
                  <a:lnTo>
                    <a:pt x="8" y="367"/>
                  </a:lnTo>
                  <a:close/>
                  <a:moveTo>
                    <a:pt x="154" y="139"/>
                  </a:moveTo>
                  <a:lnTo>
                    <a:pt x="154" y="140"/>
                  </a:lnTo>
                  <a:lnTo>
                    <a:pt x="154" y="139"/>
                  </a:lnTo>
                  <a:close/>
                  <a:moveTo>
                    <a:pt x="106" y="342"/>
                  </a:moveTo>
                  <a:lnTo>
                    <a:pt x="106" y="344"/>
                  </a:lnTo>
                  <a:lnTo>
                    <a:pt x="106" y="342"/>
                  </a:lnTo>
                  <a:close/>
                  <a:moveTo>
                    <a:pt x="91" y="263"/>
                  </a:moveTo>
                  <a:lnTo>
                    <a:pt x="93" y="263"/>
                  </a:lnTo>
                  <a:lnTo>
                    <a:pt x="91" y="263"/>
                  </a:lnTo>
                  <a:close/>
                  <a:moveTo>
                    <a:pt x="110" y="336"/>
                  </a:moveTo>
                  <a:lnTo>
                    <a:pt x="110" y="338"/>
                  </a:lnTo>
                  <a:lnTo>
                    <a:pt x="110" y="336"/>
                  </a:lnTo>
                  <a:close/>
                  <a:moveTo>
                    <a:pt x="68" y="417"/>
                  </a:moveTo>
                  <a:lnTo>
                    <a:pt x="68" y="419"/>
                  </a:lnTo>
                  <a:lnTo>
                    <a:pt x="68" y="417"/>
                  </a:lnTo>
                  <a:close/>
                  <a:moveTo>
                    <a:pt x="112" y="331"/>
                  </a:moveTo>
                  <a:lnTo>
                    <a:pt x="114" y="331"/>
                  </a:lnTo>
                  <a:lnTo>
                    <a:pt x="112" y="331"/>
                  </a:lnTo>
                  <a:close/>
                  <a:moveTo>
                    <a:pt x="87" y="361"/>
                  </a:moveTo>
                  <a:lnTo>
                    <a:pt x="87" y="363"/>
                  </a:lnTo>
                  <a:lnTo>
                    <a:pt x="87" y="361"/>
                  </a:lnTo>
                  <a:close/>
                  <a:moveTo>
                    <a:pt x="114" y="331"/>
                  </a:moveTo>
                  <a:lnTo>
                    <a:pt x="116" y="331"/>
                  </a:lnTo>
                  <a:lnTo>
                    <a:pt x="114" y="331"/>
                  </a:lnTo>
                  <a:close/>
                  <a:moveTo>
                    <a:pt x="112" y="327"/>
                  </a:moveTo>
                  <a:lnTo>
                    <a:pt x="114" y="327"/>
                  </a:lnTo>
                  <a:lnTo>
                    <a:pt x="112" y="327"/>
                  </a:lnTo>
                  <a:close/>
                  <a:moveTo>
                    <a:pt x="6" y="357"/>
                  </a:moveTo>
                  <a:lnTo>
                    <a:pt x="6" y="359"/>
                  </a:lnTo>
                  <a:lnTo>
                    <a:pt x="6" y="357"/>
                  </a:lnTo>
                  <a:close/>
                  <a:moveTo>
                    <a:pt x="116" y="334"/>
                  </a:moveTo>
                  <a:lnTo>
                    <a:pt x="117" y="334"/>
                  </a:lnTo>
                  <a:lnTo>
                    <a:pt x="116" y="334"/>
                  </a:lnTo>
                  <a:close/>
                  <a:moveTo>
                    <a:pt x="87" y="361"/>
                  </a:moveTo>
                  <a:lnTo>
                    <a:pt x="87" y="363"/>
                  </a:lnTo>
                  <a:lnTo>
                    <a:pt x="87" y="361"/>
                  </a:lnTo>
                  <a:close/>
                  <a:moveTo>
                    <a:pt x="116" y="334"/>
                  </a:moveTo>
                  <a:lnTo>
                    <a:pt x="116" y="336"/>
                  </a:lnTo>
                  <a:lnTo>
                    <a:pt x="116" y="334"/>
                  </a:lnTo>
                  <a:close/>
                  <a:moveTo>
                    <a:pt x="66" y="417"/>
                  </a:moveTo>
                  <a:lnTo>
                    <a:pt x="66" y="419"/>
                  </a:lnTo>
                  <a:lnTo>
                    <a:pt x="66" y="417"/>
                  </a:lnTo>
                  <a:close/>
                  <a:moveTo>
                    <a:pt x="123" y="206"/>
                  </a:moveTo>
                  <a:lnTo>
                    <a:pt x="125" y="206"/>
                  </a:lnTo>
                  <a:lnTo>
                    <a:pt x="123" y="206"/>
                  </a:lnTo>
                  <a:close/>
                  <a:moveTo>
                    <a:pt x="85" y="382"/>
                  </a:moveTo>
                  <a:lnTo>
                    <a:pt x="85" y="384"/>
                  </a:lnTo>
                  <a:lnTo>
                    <a:pt x="85" y="382"/>
                  </a:lnTo>
                  <a:close/>
                  <a:moveTo>
                    <a:pt x="154" y="150"/>
                  </a:moveTo>
                  <a:lnTo>
                    <a:pt x="156" y="150"/>
                  </a:lnTo>
                  <a:lnTo>
                    <a:pt x="154" y="150"/>
                  </a:lnTo>
                  <a:close/>
                  <a:moveTo>
                    <a:pt x="150" y="165"/>
                  </a:moveTo>
                  <a:lnTo>
                    <a:pt x="152" y="165"/>
                  </a:lnTo>
                  <a:lnTo>
                    <a:pt x="150" y="165"/>
                  </a:lnTo>
                  <a:close/>
                  <a:moveTo>
                    <a:pt x="117" y="327"/>
                  </a:moveTo>
                  <a:lnTo>
                    <a:pt x="117" y="329"/>
                  </a:lnTo>
                  <a:lnTo>
                    <a:pt x="117" y="327"/>
                  </a:lnTo>
                  <a:close/>
                  <a:moveTo>
                    <a:pt x="129" y="204"/>
                  </a:moveTo>
                  <a:lnTo>
                    <a:pt x="129" y="206"/>
                  </a:lnTo>
                  <a:lnTo>
                    <a:pt x="129" y="204"/>
                  </a:lnTo>
                  <a:close/>
                  <a:moveTo>
                    <a:pt x="2" y="344"/>
                  </a:moveTo>
                  <a:lnTo>
                    <a:pt x="4" y="344"/>
                  </a:lnTo>
                  <a:lnTo>
                    <a:pt x="2" y="344"/>
                  </a:lnTo>
                  <a:close/>
                  <a:moveTo>
                    <a:pt x="148" y="160"/>
                  </a:moveTo>
                  <a:lnTo>
                    <a:pt x="148" y="162"/>
                  </a:lnTo>
                  <a:lnTo>
                    <a:pt x="148" y="160"/>
                  </a:lnTo>
                  <a:close/>
                  <a:moveTo>
                    <a:pt x="114" y="336"/>
                  </a:moveTo>
                  <a:lnTo>
                    <a:pt x="116" y="336"/>
                  </a:lnTo>
                  <a:lnTo>
                    <a:pt x="114" y="336"/>
                  </a:lnTo>
                  <a:close/>
                  <a:moveTo>
                    <a:pt x="89" y="361"/>
                  </a:moveTo>
                  <a:lnTo>
                    <a:pt x="89" y="363"/>
                  </a:lnTo>
                  <a:lnTo>
                    <a:pt x="89" y="361"/>
                  </a:lnTo>
                  <a:close/>
                  <a:moveTo>
                    <a:pt x="98" y="238"/>
                  </a:moveTo>
                  <a:lnTo>
                    <a:pt x="100" y="238"/>
                  </a:lnTo>
                  <a:lnTo>
                    <a:pt x="98" y="238"/>
                  </a:lnTo>
                  <a:close/>
                  <a:moveTo>
                    <a:pt x="114" y="336"/>
                  </a:moveTo>
                  <a:lnTo>
                    <a:pt x="114" y="338"/>
                  </a:lnTo>
                  <a:lnTo>
                    <a:pt x="114" y="336"/>
                  </a:lnTo>
                  <a:close/>
                  <a:moveTo>
                    <a:pt x="112" y="308"/>
                  </a:moveTo>
                  <a:lnTo>
                    <a:pt x="114" y="308"/>
                  </a:lnTo>
                  <a:lnTo>
                    <a:pt x="112" y="308"/>
                  </a:lnTo>
                  <a:close/>
                  <a:moveTo>
                    <a:pt x="162" y="135"/>
                  </a:moveTo>
                  <a:lnTo>
                    <a:pt x="162" y="137"/>
                  </a:lnTo>
                  <a:lnTo>
                    <a:pt x="162" y="135"/>
                  </a:lnTo>
                  <a:close/>
                  <a:moveTo>
                    <a:pt x="89" y="352"/>
                  </a:moveTo>
                  <a:lnTo>
                    <a:pt x="89" y="354"/>
                  </a:lnTo>
                  <a:lnTo>
                    <a:pt x="89" y="352"/>
                  </a:lnTo>
                  <a:close/>
                  <a:moveTo>
                    <a:pt x="181" y="129"/>
                  </a:moveTo>
                  <a:lnTo>
                    <a:pt x="181" y="131"/>
                  </a:lnTo>
                  <a:lnTo>
                    <a:pt x="181" y="129"/>
                  </a:lnTo>
                  <a:close/>
                  <a:moveTo>
                    <a:pt x="110" y="298"/>
                  </a:moveTo>
                  <a:lnTo>
                    <a:pt x="112" y="298"/>
                  </a:lnTo>
                  <a:lnTo>
                    <a:pt x="110" y="298"/>
                  </a:lnTo>
                  <a:close/>
                  <a:moveTo>
                    <a:pt x="91" y="275"/>
                  </a:moveTo>
                  <a:lnTo>
                    <a:pt x="93" y="275"/>
                  </a:lnTo>
                  <a:lnTo>
                    <a:pt x="91" y="275"/>
                  </a:lnTo>
                  <a:close/>
                  <a:moveTo>
                    <a:pt x="89" y="359"/>
                  </a:moveTo>
                  <a:lnTo>
                    <a:pt x="89" y="361"/>
                  </a:lnTo>
                  <a:lnTo>
                    <a:pt x="89" y="359"/>
                  </a:lnTo>
                  <a:close/>
                  <a:moveTo>
                    <a:pt x="8" y="369"/>
                  </a:moveTo>
                  <a:lnTo>
                    <a:pt x="10" y="369"/>
                  </a:lnTo>
                  <a:lnTo>
                    <a:pt x="8" y="369"/>
                  </a:lnTo>
                  <a:close/>
                  <a:moveTo>
                    <a:pt x="6" y="363"/>
                  </a:moveTo>
                  <a:lnTo>
                    <a:pt x="6" y="365"/>
                  </a:lnTo>
                  <a:lnTo>
                    <a:pt x="6" y="363"/>
                  </a:lnTo>
                  <a:close/>
                  <a:moveTo>
                    <a:pt x="4" y="352"/>
                  </a:moveTo>
                  <a:lnTo>
                    <a:pt x="4" y="354"/>
                  </a:lnTo>
                  <a:lnTo>
                    <a:pt x="4" y="352"/>
                  </a:lnTo>
                  <a:close/>
                  <a:moveTo>
                    <a:pt x="85" y="382"/>
                  </a:moveTo>
                  <a:lnTo>
                    <a:pt x="85" y="384"/>
                  </a:lnTo>
                  <a:lnTo>
                    <a:pt x="85" y="382"/>
                  </a:lnTo>
                  <a:close/>
                  <a:moveTo>
                    <a:pt x="83" y="379"/>
                  </a:moveTo>
                  <a:lnTo>
                    <a:pt x="85" y="379"/>
                  </a:lnTo>
                  <a:lnTo>
                    <a:pt x="83" y="379"/>
                  </a:lnTo>
                  <a:close/>
                  <a:moveTo>
                    <a:pt x="125" y="204"/>
                  </a:moveTo>
                  <a:lnTo>
                    <a:pt x="125" y="206"/>
                  </a:lnTo>
                  <a:lnTo>
                    <a:pt x="125" y="204"/>
                  </a:lnTo>
                  <a:close/>
                  <a:moveTo>
                    <a:pt x="87" y="363"/>
                  </a:moveTo>
                  <a:lnTo>
                    <a:pt x="89" y="363"/>
                  </a:lnTo>
                  <a:lnTo>
                    <a:pt x="87" y="363"/>
                  </a:lnTo>
                  <a:close/>
                  <a:moveTo>
                    <a:pt x="8" y="365"/>
                  </a:moveTo>
                  <a:lnTo>
                    <a:pt x="8" y="367"/>
                  </a:lnTo>
                  <a:lnTo>
                    <a:pt x="8" y="365"/>
                  </a:lnTo>
                  <a:close/>
                  <a:moveTo>
                    <a:pt x="116" y="321"/>
                  </a:moveTo>
                  <a:lnTo>
                    <a:pt x="116" y="323"/>
                  </a:lnTo>
                  <a:lnTo>
                    <a:pt x="116" y="321"/>
                  </a:lnTo>
                  <a:close/>
                  <a:moveTo>
                    <a:pt x="96" y="240"/>
                  </a:moveTo>
                  <a:lnTo>
                    <a:pt x="98" y="240"/>
                  </a:lnTo>
                  <a:lnTo>
                    <a:pt x="96" y="240"/>
                  </a:lnTo>
                  <a:close/>
                  <a:moveTo>
                    <a:pt x="85" y="371"/>
                  </a:moveTo>
                  <a:lnTo>
                    <a:pt x="87" y="371"/>
                  </a:lnTo>
                  <a:lnTo>
                    <a:pt x="85" y="371"/>
                  </a:lnTo>
                  <a:close/>
                  <a:moveTo>
                    <a:pt x="16" y="384"/>
                  </a:moveTo>
                  <a:lnTo>
                    <a:pt x="16" y="386"/>
                  </a:lnTo>
                  <a:lnTo>
                    <a:pt x="16" y="384"/>
                  </a:lnTo>
                  <a:close/>
                  <a:moveTo>
                    <a:pt x="121" y="319"/>
                  </a:moveTo>
                  <a:lnTo>
                    <a:pt x="121" y="321"/>
                  </a:lnTo>
                  <a:lnTo>
                    <a:pt x="121" y="319"/>
                  </a:lnTo>
                  <a:close/>
                  <a:moveTo>
                    <a:pt x="87" y="359"/>
                  </a:moveTo>
                  <a:lnTo>
                    <a:pt x="89" y="359"/>
                  </a:lnTo>
                  <a:lnTo>
                    <a:pt x="87" y="359"/>
                  </a:lnTo>
                  <a:close/>
                  <a:moveTo>
                    <a:pt x="112" y="300"/>
                  </a:moveTo>
                  <a:lnTo>
                    <a:pt x="112" y="302"/>
                  </a:lnTo>
                  <a:lnTo>
                    <a:pt x="112" y="300"/>
                  </a:lnTo>
                  <a:close/>
                  <a:moveTo>
                    <a:pt x="81" y="396"/>
                  </a:moveTo>
                  <a:lnTo>
                    <a:pt x="83" y="396"/>
                  </a:lnTo>
                  <a:lnTo>
                    <a:pt x="81" y="396"/>
                  </a:lnTo>
                  <a:close/>
                  <a:moveTo>
                    <a:pt x="144" y="188"/>
                  </a:moveTo>
                  <a:lnTo>
                    <a:pt x="144" y="190"/>
                  </a:lnTo>
                  <a:lnTo>
                    <a:pt x="144" y="188"/>
                  </a:lnTo>
                  <a:close/>
                  <a:moveTo>
                    <a:pt x="114" y="327"/>
                  </a:moveTo>
                  <a:lnTo>
                    <a:pt x="116" y="327"/>
                  </a:lnTo>
                  <a:lnTo>
                    <a:pt x="114" y="327"/>
                  </a:lnTo>
                  <a:close/>
                  <a:moveTo>
                    <a:pt x="77" y="352"/>
                  </a:moveTo>
                  <a:lnTo>
                    <a:pt x="79" y="352"/>
                  </a:lnTo>
                  <a:lnTo>
                    <a:pt x="77" y="352"/>
                  </a:lnTo>
                  <a:close/>
                  <a:moveTo>
                    <a:pt x="179" y="125"/>
                  </a:moveTo>
                  <a:lnTo>
                    <a:pt x="181" y="125"/>
                  </a:lnTo>
                  <a:lnTo>
                    <a:pt x="179" y="125"/>
                  </a:lnTo>
                  <a:close/>
                  <a:moveTo>
                    <a:pt x="8" y="373"/>
                  </a:moveTo>
                  <a:lnTo>
                    <a:pt x="10" y="373"/>
                  </a:lnTo>
                  <a:lnTo>
                    <a:pt x="8" y="373"/>
                  </a:lnTo>
                  <a:close/>
                  <a:moveTo>
                    <a:pt x="68" y="417"/>
                  </a:moveTo>
                  <a:lnTo>
                    <a:pt x="68" y="419"/>
                  </a:lnTo>
                  <a:lnTo>
                    <a:pt x="68" y="417"/>
                  </a:lnTo>
                  <a:close/>
                  <a:moveTo>
                    <a:pt x="116" y="329"/>
                  </a:moveTo>
                  <a:lnTo>
                    <a:pt x="117" y="329"/>
                  </a:lnTo>
                  <a:lnTo>
                    <a:pt x="116" y="329"/>
                  </a:lnTo>
                  <a:close/>
                  <a:moveTo>
                    <a:pt x="121" y="323"/>
                  </a:moveTo>
                  <a:lnTo>
                    <a:pt x="123" y="323"/>
                  </a:lnTo>
                  <a:lnTo>
                    <a:pt x="121" y="323"/>
                  </a:lnTo>
                  <a:close/>
                  <a:moveTo>
                    <a:pt x="116" y="331"/>
                  </a:moveTo>
                  <a:lnTo>
                    <a:pt x="117" y="331"/>
                  </a:lnTo>
                  <a:lnTo>
                    <a:pt x="116" y="331"/>
                  </a:lnTo>
                  <a:close/>
                  <a:moveTo>
                    <a:pt x="87" y="369"/>
                  </a:moveTo>
                  <a:lnTo>
                    <a:pt x="87" y="371"/>
                  </a:lnTo>
                  <a:lnTo>
                    <a:pt x="87" y="369"/>
                  </a:lnTo>
                  <a:close/>
                  <a:moveTo>
                    <a:pt x="93" y="281"/>
                  </a:moveTo>
                  <a:lnTo>
                    <a:pt x="93" y="283"/>
                  </a:lnTo>
                  <a:lnTo>
                    <a:pt x="93" y="281"/>
                  </a:lnTo>
                  <a:close/>
                  <a:moveTo>
                    <a:pt x="83" y="379"/>
                  </a:moveTo>
                  <a:lnTo>
                    <a:pt x="83" y="381"/>
                  </a:lnTo>
                  <a:lnTo>
                    <a:pt x="83" y="379"/>
                  </a:lnTo>
                  <a:close/>
                  <a:moveTo>
                    <a:pt x="58" y="419"/>
                  </a:moveTo>
                  <a:lnTo>
                    <a:pt x="60" y="419"/>
                  </a:lnTo>
                  <a:lnTo>
                    <a:pt x="58" y="419"/>
                  </a:lnTo>
                  <a:close/>
                  <a:moveTo>
                    <a:pt x="175" y="129"/>
                  </a:moveTo>
                  <a:lnTo>
                    <a:pt x="177" y="129"/>
                  </a:lnTo>
                  <a:lnTo>
                    <a:pt x="175" y="129"/>
                  </a:lnTo>
                  <a:close/>
                  <a:moveTo>
                    <a:pt x="110" y="298"/>
                  </a:moveTo>
                  <a:lnTo>
                    <a:pt x="110" y="300"/>
                  </a:lnTo>
                  <a:lnTo>
                    <a:pt x="110" y="298"/>
                  </a:lnTo>
                  <a:close/>
                  <a:moveTo>
                    <a:pt x="85" y="371"/>
                  </a:moveTo>
                  <a:lnTo>
                    <a:pt x="87" y="371"/>
                  </a:lnTo>
                  <a:lnTo>
                    <a:pt x="85" y="371"/>
                  </a:lnTo>
                  <a:close/>
                  <a:moveTo>
                    <a:pt x="4" y="354"/>
                  </a:moveTo>
                  <a:lnTo>
                    <a:pt x="4" y="356"/>
                  </a:lnTo>
                  <a:lnTo>
                    <a:pt x="4" y="354"/>
                  </a:lnTo>
                  <a:close/>
                  <a:moveTo>
                    <a:pt x="8" y="365"/>
                  </a:moveTo>
                  <a:lnTo>
                    <a:pt x="8" y="367"/>
                  </a:lnTo>
                  <a:lnTo>
                    <a:pt x="8" y="365"/>
                  </a:lnTo>
                  <a:close/>
                  <a:moveTo>
                    <a:pt x="8" y="361"/>
                  </a:moveTo>
                  <a:lnTo>
                    <a:pt x="10" y="361"/>
                  </a:lnTo>
                  <a:lnTo>
                    <a:pt x="10" y="363"/>
                  </a:lnTo>
                  <a:lnTo>
                    <a:pt x="8" y="363"/>
                  </a:lnTo>
                  <a:lnTo>
                    <a:pt x="8" y="361"/>
                  </a:lnTo>
                  <a:close/>
                  <a:moveTo>
                    <a:pt x="87" y="361"/>
                  </a:moveTo>
                  <a:lnTo>
                    <a:pt x="89" y="361"/>
                  </a:lnTo>
                  <a:lnTo>
                    <a:pt x="87" y="361"/>
                  </a:lnTo>
                  <a:close/>
                  <a:moveTo>
                    <a:pt x="139" y="194"/>
                  </a:moveTo>
                  <a:lnTo>
                    <a:pt x="139" y="196"/>
                  </a:lnTo>
                  <a:lnTo>
                    <a:pt x="139" y="194"/>
                  </a:lnTo>
                  <a:close/>
                  <a:moveTo>
                    <a:pt x="121" y="321"/>
                  </a:moveTo>
                  <a:lnTo>
                    <a:pt x="121" y="323"/>
                  </a:lnTo>
                  <a:lnTo>
                    <a:pt x="121" y="321"/>
                  </a:lnTo>
                  <a:close/>
                  <a:moveTo>
                    <a:pt x="8" y="369"/>
                  </a:moveTo>
                  <a:lnTo>
                    <a:pt x="8" y="371"/>
                  </a:lnTo>
                  <a:lnTo>
                    <a:pt x="8" y="369"/>
                  </a:lnTo>
                  <a:close/>
                  <a:moveTo>
                    <a:pt x="85" y="373"/>
                  </a:moveTo>
                  <a:lnTo>
                    <a:pt x="87" y="373"/>
                  </a:lnTo>
                  <a:lnTo>
                    <a:pt x="85" y="373"/>
                  </a:lnTo>
                  <a:close/>
                  <a:moveTo>
                    <a:pt x="162" y="133"/>
                  </a:moveTo>
                  <a:lnTo>
                    <a:pt x="164" y="133"/>
                  </a:lnTo>
                  <a:lnTo>
                    <a:pt x="162" y="133"/>
                  </a:lnTo>
                  <a:close/>
                  <a:moveTo>
                    <a:pt x="112" y="217"/>
                  </a:moveTo>
                  <a:lnTo>
                    <a:pt x="112" y="219"/>
                  </a:lnTo>
                  <a:lnTo>
                    <a:pt x="112" y="217"/>
                  </a:lnTo>
                  <a:close/>
                  <a:moveTo>
                    <a:pt x="2" y="344"/>
                  </a:moveTo>
                  <a:lnTo>
                    <a:pt x="2" y="346"/>
                  </a:lnTo>
                  <a:lnTo>
                    <a:pt x="2" y="344"/>
                  </a:lnTo>
                  <a:close/>
                  <a:moveTo>
                    <a:pt x="8" y="367"/>
                  </a:moveTo>
                  <a:lnTo>
                    <a:pt x="8" y="369"/>
                  </a:lnTo>
                  <a:lnTo>
                    <a:pt x="8" y="367"/>
                  </a:lnTo>
                  <a:close/>
                  <a:moveTo>
                    <a:pt x="87" y="357"/>
                  </a:moveTo>
                  <a:lnTo>
                    <a:pt x="89" y="357"/>
                  </a:lnTo>
                  <a:lnTo>
                    <a:pt x="87" y="357"/>
                  </a:lnTo>
                  <a:close/>
                  <a:moveTo>
                    <a:pt x="131" y="202"/>
                  </a:moveTo>
                  <a:lnTo>
                    <a:pt x="131" y="204"/>
                  </a:lnTo>
                  <a:lnTo>
                    <a:pt x="131" y="202"/>
                  </a:lnTo>
                  <a:close/>
                  <a:moveTo>
                    <a:pt x="85" y="365"/>
                  </a:moveTo>
                  <a:lnTo>
                    <a:pt x="87" y="365"/>
                  </a:lnTo>
                  <a:lnTo>
                    <a:pt x="85" y="365"/>
                  </a:lnTo>
                  <a:close/>
                  <a:moveTo>
                    <a:pt x="83" y="382"/>
                  </a:moveTo>
                  <a:lnTo>
                    <a:pt x="85" y="382"/>
                  </a:lnTo>
                  <a:lnTo>
                    <a:pt x="83" y="382"/>
                  </a:lnTo>
                  <a:close/>
                  <a:moveTo>
                    <a:pt x="85" y="363"/>
                  </a:moveTo>
                  <a:lnTo>
                    <a:pt x="85" y="365"/>
                  </a:lnTo>
                  <a:lnTo>
                    <a:pt x="85" y="363"/>
                  </a:lnTo>
                  <a:close/>
                  <a:moveTo>
                    <a:pt x="121" y="317"/>
                  </a:moveTo>
                  <a:lnTo>
                    <a:pt x="121" y="319"/>
                  </a:lnTo>
                  <a:lnTo>
                    <a:pt x="121" y="317"/>
                  </a:lnTo>
                  <a:close/>
                  <a:moveTo>
                    <a:pt x="85" y="379"/>
                  </a:moveTo>
                  <a:lnTo>
                    <a:pt x="85" y="381"/>
                  </a:lnTo>
                  <a:lnTo>
                    <a:pt x="85" y="379"/>
                  </a:lnTo>
                  <a:close/>
                  <a:moveTo>
                    <a:pt x="12" y="359"/>
                  </a:moveTo>
                  <a:lnTo>
                    <a:pt x="12" y="361"/>
                  </a:lnTo>
                  <a:lnTo>
                    <a:pt x="12" y="359"/>
                  </a:lnTo>
                  <a:close/>
                  <a:moveTo>
                    <a:pt x="89" y="354"/>
                  </a:moveTo>
                  <a:lnTo>
                    <a:pt x="89" y="356"/>
                  </a:lnTo>
                  <a:lnTo>
                    <a:pt x="89" y="354"/>
                  </a:lnTo>
                  <a:close/>
                  <a:moveTo>
                    <a:pt x="114" y="325"/>
                  </a:moveTo>
                  <a:lnTo>
                    <a:pt x="114" y="327"/>
                  </a:lnTo>
                  <a:lnTo>
                    <a:pt x="114" y="325"/>
                  </a:lnTo>
                  <a:close/>
                  <a:moveTo>
                    <a:pt x="116" y="323"/>
                  </a:moveTo>
                  <a:lnTo>
                    <a:pt x="116" y="325"/>
                  </a:lnTo>
                  <a:lnTo>
                    <a:pt x="116" y="323"/>
                  </a:lnTo>
                  <a:close/>
                  <a:moveTo>
                    <a:pt x="114" y="321"/>
                  </a:moveTo>
                  <a:lnTo>
                    <a:pt x="116" y="321"/>
                  </a:lnTo>
                  <a:lnTo>
                    <a:pt x="116" y="323"/>
                  </a:lnTo>
                  <a:lnTo>
                    <a:pt x="114" y="323"/>
                  </a:lnTo>
                  <a:lnTo>
                    <a:pt x="114" y="321"/>
                  </a:lnTo>
                  <a:close/>
                  <a:moveTo>
                    <a:pt x="83" y="379"/>
                  </a:moveTo>
                  <a:lnTo>
                    <a:pt x="85" y="379"/>
                  </a:lnTo>
                  <a:lnTo>
                    <a:pt x="83" y="379"/>
                  </a:lnTo>
                  <a:close/>
                  <a:moveTo>
                    <a:pt x="81" y="392"/>
                  </a:moveTo>
                  <a:lnTo>
                    <a:pt x="83" y="392"/>
                  </a:lnTo>
                  <a:lnTo>
                    <a:pt x="81" y="392"/>
                  </a:lnTo>
                  <a:close/>
                  <a:moveTo>
                    <a:pt x="85" y="369"/>
                  </a:moveTo>
                  <a:lnTo>
                    <a:pt x="87" y="369"/>
                  </a:lnTo>
                  <a:lnTo>
                    <a:pt x="85" y="369"/>
                  </a:lnTo>
                  <a:close/>
                  <a:moveTo>
                    <a:pt x="16" y="384"/>
                  </a:moveTo>
                  <a:lnTo>
                    <a:pt x="16" y="386"/>
                  </a:lnTo>
                  <a:lnTo>
                    <a:pt x="16" y="384"/>
                  </a:lnTo>
                  <a:close/>
                  <a:moveTo>
                    <a:pt x="83" y="394"/>
                  </a:moveTo>
                  <a:lnTo>
                    <a:pt x="83" y="396"/>
                  </a:lnTo>
                  <a:lnTo>
                    <a:pt x="83" y="394"/>
                  </a:lnTo>
                  <a:close/>
                  <a:moveTo>
                    <a:pt x="12" y="379"/>
                  </a:moveTo>
                  <a:lnTo>
                    <a:pt x="14" y="379"/>
                  </a:lnTo>
                  <a:lnTo>
                    <a:pt x="12" y="379"/>
                  </a:lnTo>
                  <a:close/>
                  <a:moveTo>
                    <a:pt x="110" y="340"/>
                  </a:moveTo>
                  <a:lnTo>
                    <a:pt x="112" y="340"/>
                  </a:lnTo>
                  <a:lnTo>
                    <a:pt x="110" y="340"/>
                  </a:lnTo>
                  <a:close/>
                  <a:moveTo>
                    <a:pt x="123" y="323"/>
                  </a:moveTo>
                  <a:lnTo>
                    <a:pt x="125" y="323"/>
                  </a:lnTo>
                  <a:lnTo>
                    <a:pt x="123" y="323"/>
                  </a:lnTo>
                  <a:close/>
                  <a:moveTo>
                    <a:pt x="98" y="344"/>
                  </a:moveTo>
                  <a:lnTo>
                    <a:pt x="100" y="344"/>
                  </a:lnTo>
                  <a:lnTo>
                    <a:pt x="98" y="344"/>
                  </a:lnTo>
                  <a:close/>
                  <a:moveTo>
                    <a:pt x="83" y="356"/>
                  </a:moveTo>
                  <a:lnTo>
                    <a:pt x="83" y="357"/>
                  </a:lnTo>
                  <a:lnTo>
                    <a:pt x="83" y="356"/>
                  </a:lnTo>
                  <a:close/>
                  <a:moveTo>
                    <a:pt x="96" y="246"/>
                  </a:moveTo>
                  <a:lnTo>
                    <a:pt x="98" y="246"/>
                  </a:lnTo>
                  <a:lnTo>
                    <a:pt x="96" y="246"/>
                  </a:lnTo>
                  <a:close/>
                  <a:moveTo>
                    <a:pt x="154" y="140"/>
                  </a:moveTo>
                  <a:lnTo>
                    <a:pt x="156" y="140"/>
                  </a:lnTo>
                  <a:lnTo>
                    <a:pt x="154" y="140"/>
                  </a:lnTo>
                  <a:close/>
                  <a:moveTo>
                    <a:pt x="93" y="281"/>
                  </a:moveTo>
                  <a:lnTo>
                    <a:pt x="93" y="283"/>
                  </a:lnTo>
                  <a:lnTo>
                    <a:pt x="93" y="281"/>
                  </a:lnTo>
                  <a:close/>
                  <a:moveTo>
                    <a:pt x="123" y="319"/>
                  </a:moveTo>
                  <a:lnTo>
                    <a:pt x="123" y="321"/>
                  </a:lnTo>
                  <a:lnTo>
                    <a:pt x="123" y="319"/>
                  </a:lnTo>
                  <a:close/>
                  <a:moveTo>
                    <a:pt x="177" y="129"/>
                  </a:moveTo>
                  <a:lnTo>
                    <a:pt x="177" y="131"/>
                  </a:lnTo>
                  <a:lnTo>
                    <a:pt x="177" y="129"/>
                  </a:lnTo>
                  <a:close/>
                  <a:moveTo>
                    <a:pt x="167" y="127"/>
                  </a:moveTo>
                  <a:lnTo>
                    <a:pt x="167" y="129"/>
                  </a:lnTo>
                  <a:lnTo>
                    <a:pt x="167" y="127"/>
                  </a:lnTo>
                  <a:close/>
                  <a:moveTo>
                    <a:pt x="144" y="188"/>
                  </a:moveTo>
                  <a:lnTo>
                    <a:pt x="144" y="190"/>
                  </a:lnTo>
                  <a:lnTo>
                    <a:pt x="144" y="188"/>
                  </a:lnTo>
                  <a:close/>
                  <a:moveTo>
                    <a:pt x="85" y="373"/>
                  </a:moveTo>
                  <a:lnTo>
                    <a:pt x="87" y="373"/>
                  </a:lnTo>
                  <a:lnTo>
                    <a:pt x="85" y="373"/>
                  </a:lnTo>
                  <a:close/>
                  <a:moveTo>
                    <a:pt x="154" y="150"/>
                  </a:moveTo>
                  <a:lnTo>
                    <a:pt x="154" y="152"/>
                  </a:lnTo>
                  <a:lnTo>
                    <a:pt x="154" y="150"/>
                  </a:lnTo>
                  <a:close/>
                  <a:moveTo>
                    <a:pt x="190" y="125"/>
                  </a:moveTo>
                  <a:lnTo>
                    <a:pt x="190" y="127"/>
                  </a:lnTo>
                  <a:lnTo>
                    <a:pt x="190" y="125"/>
                  </a:lnTo>
                  <a:close/>
                  <a:moveTo>
                    <a:pt x="110" y="338"/>
                  </a:moveTo>
                  <a:lnTo>
                    <a:pt x="110" y="340"/>
                  </a:lnTo>
                  <a:lnTo>
                    <a:pt x="110" y="338"/>
                  </a:lnTo>
                  <a:close/>
                  <a:moveTo>
                    <a:pt x="110" y="298"/>
                  </a:moveTo>
                  <a:lnTo>
                    <a:pt x="110" y="300"/>
                  </a:lnTo>
                  <a:lnTo>
                    <a:pt x="110" y="298"/>
                  </a:lnTo>
                  <a:close/>
                  <a:moveTo>
                    <a:pt x="114" y="300"/>
                  </a:moveTo>
                  <a:lnTo>
                    <a:pt x="114" y="302"/>
                  </a:lnTo>
                  <a:lnTo>
                    <a:pt x="114" y="300"/>
                  </a:lnTo>
                  <a:close/>
                  <a:moveTo>
                    <a:pt x="114" y="329"/>
                  </a:moveTo>
                  <a:lnTo>
                    <a:pt x="116" y="329"/>
                  </a:lnTo>
                  <a:lnTo>
                    <a:pt x="114" y="329"/>
                  </a:lnTo>
                  <a:close/>
                  <a:moveTo>
                    <a:pt x="83" y="373"/>
                  </a:moveTo>
                  <a:lnTo>
                    <a:pt x="85" y="373"/>
                  </a:lnTo>
                  <a:lnTo>
                    <a:pt x="83" y="373"/>
                  </a:lnTo>
                  <a:close/>
                  <a:moveTo>
                    <a:pt x="112" y="327"/>
                  </a:moveTo>
                  <a:lnTo>
                    <a:pt x="112" y="329"/>
                  </a:lnTo>
                  <a:lnTo>
                    <a:pt x="112" y="327"/>
                  </a:lnTo>
                  <a:close/>
                  <a:moveTo>
                    <a:pt x="110" y="334"/>
                  </a:moveTo>
                  <a:lnTo>
                    <a:pt x="110" y="336"/>
                  </a:lnTo>
                  <a:lnTo>
                    <a:pt x="110" y="334"/>
                  </a:lnTo>
                  <a:close/>
                  <a:moveTo>
                    <a:pt x="14" y="379"/>
                  </a:moveTo>
                  <a:lnTo>
                    <a:pt x="14" y="381"/>
                  </a:lnTo>
                  <a:lnTo>
                    <a:pt x="14" y="379"/>
                  </a:lnTo>
                  <a:close/>
                  <a:moveTo>
                    <a:pt x="162" y="137"/>
                  </a:moveTo>
                  <a:lnTo>
                    <a:pt x="164" y="137"/>
                  </a:lnTo>
                  <a:lnTo>
                    <a:pt x="162" y="137"/>
                  </a:lnTo>
                  <a:close/>
                  <a:moveTo>
                    <a:pt x="98" y="342"/>
                  </a:moveTo>
                  <a:lnTo>
                    <a:pt x="98" y="344"/>
                  </a:lnTo>
                  <a:lnTo>
                    <a:pt x="98" y="342"/>
                  </a:lnTo>
                  <a:close/>
                  <a:moveTo>
                    <a:pt x="69" y="419"/>
                  </a:moveTo>
                  <a:lnTo>
                    <a:pt x="69" y="421"/>
                  </a:lnTo>
                  <a:lnTo>
                    <a:pt x="69" y="419"/>
                  </a:lnTo>
                  <a:close/>
                  <a:moveTo>
                    <a:pt x="121" y="325"/>
                  </a:moveTo>
                  <a:lnTo>
                    <a:pt x="121" y="327"/>
                  </a:lnTo>
                  <a:lnTo>
                    <a:pt x="121" y="325"/>
                  </a:lnTo>
                  <a:close/>
                  <a:moveTo>
                    <a:pt x="87" y="361"/>
                  </a:moveTo>
                  <a:lnTo>
                    <a:pt x="87" y="363"/>
                  </a:lnTo>
                  <a:lnTo>
                    <a:pt x="87" y="361"/>
                  </a:lnTo>
                  <a:close/>
                  <a:moveTo>
                    <a:pt x="116" y="334"/>
                  </a:moveTo>
                  <a:lnTo>
                    <a:pt x="116" y="336"/>
                  </a:lnTo>
                  <a:lnTo>
                    <a:pt x="116" y="334"/>
                  </a:lnTo>
                  <a:close/>
                  <a:moveTo>
                    <a:pt x="58" y="419"/>
                  </a:moveTo>
                  <a:lnTo>
                    <a:pt x="60" y="419"/>
                  </a:lnTo>
                  <a:lnTo>
                    <a:pt x="58" y="419"/>
                  </a:lnTo>
                  <a:close/>
                  <a:moveTo>
                    <a:pt x="112" y="304"/>
                  </a:moveTo>
                  <a:lnTo>
                    <a:pt x="112" y="306"/>
                  </a:lnTo>
                  <a:lnTo>
                    <a:pt x="112" y="304"/>
                  </a:lnTo>
                  <a:close/>
                  <a:moveTo>
                    <a:pt x="108" y="329"/>
                  </a:moveTo>
                  <a:lnTo>
                    <a:pt x="110" y="329"/>
                  </a:lnTo>
                  <a:lnTo>
                    <a:pt x="108" y="329"/>
                  </a:lnTo>
                  <a:close/>
                  <a:moveTo>
                    <a:pt x="100" y="219"/>
                  </a:moveTo>
                  <a:lnTo>
                    <a:pt x="100" y="221"/>
                  </a:lnTo>
                  <a:lnTo>
                    <a:pt x="100" y="219"/>
                  </a:lnTo>
                  <a:close/>
                  <a:moveTo>
                    <a:pt x="125" y="204"/>
                  </a:moveTo>
                  <a:lnTo>
                    <a:pt x="125" y="206"/>
                  </a:lnTo>
                  <a:lnTo>
                    <a:pt x="125" y="204"/>
                  </a:lnTo>
                  <a:close/>
                  <a:moveTo>
                    <a:pt x="87" y="352"/>
                  </a:moveTo>
                  <a:lnTo>
                    <a:pt x="87" y="354"/>
                  </a:lnTo>
                  <a:lnTo>
                    <a:pt x="87" y="352"/>
                  </a:lnTo>
                  <a:close/>
                  <a:moveTo>
                    <a:pt x="112" y="302"/>
                  </a:moveTo>
                  <a:lnTo>
                    <a:pt x="114" y="302"/>
                  </a:lnTo>
                  <a:lnTo>
                    <a:pt x="112" y="302"/>
                  </a:lnTo>
                  <a:close/>
                  <a:moveTo>
                    <a:pt x="123" y="325"/>
                  </a:moveTo>
                  <a:lnTo>
                    <a:pt x="123" y="327"/>
                  </a:lnTo>
                  <a:lnTo>
                    <a:pt x="123" y="325"/>
                  </a:lnTo>
                  <a:close/>
                  <a:moveTo>
                    <a:pt x="4" y="356"/>
                  </a:moveTo>
                  <a:lnTo>
                    <a:pt x="6" y="356"/>
                  </a:lnTo>
                  <a:lnTo>
                    <a:pt x="4" y="356"/>
                  </a:lnTo>
                  <a:close/>
                  <a:moveTo>
                    <a:pt x="117" y="333"/>
                  </a:moveTo>
                  <a:lnTo>
                    <a:pt x="117" y="334"/>
                  </a:lnTo>
                  <a:lnTo>
                    <a:pt x="117" y="333"/>
                  </a:lnTo>
                  <a:close/>
                  <a:moveTo>
                    <a:pt x="85" y="371"/>
                  </a:moveTo>
                  <a:lnTo>
                    <a:pt x="87" y="371"/>
                  </a:lnTo>
                  <a:lnTo>
                    <a:pt x="85" y="371"/>
                  </a:lnTo>
                  <a:close/>
                  <a:moveTo>
                    <a:pt x="114" y="306"/>
                  </a:moveTo>
                  <a:lnTo>
                    <a:pt x="116" y="306"/>
                  </a:lnTo>
                  <a:lnTo>
                    <a:pt x="114" y="306"/>
                  </a:lnTo>
                  <a:close/>
                  <a:moveTo>
                    <a:pt x="98" y="294"/>
                  </a:moveTo>
                  <a:lnTo>
                    <a:pt x="98" y="296"/>
                  </a:lnTo>
                  <a:lnTo>
                    <a:pt x="98" y="294"/>
                  </a:lnTo>
                  <a:close/>
                  <a:moveTo>
                    <a:pt x="110" y="333"/>
                  </a:moveTo>
                  <a:lnTo>
                    <a:pt x="110" y="334"/>
                  </a:lnTo>
                  <a:lnTo>
                    <a:pt x="110" y="333"/>
                  </a:lnTo>
                  <a:close/>
                  <a:moveTo>
                    <a:pt x="114" y="333"/>
                  </a:moveTo>
                  <a:lnTo>
                    <a:pt x="116" y="333"/>
                  </a:lnTo>
                  <a:lnTo>
                    <a:pt x="114" y="333"/>
                  </a:lnTo>
                  <a:close/>
                  <a:moveTo>
                    <a:pt x="104" y="294"/>
                  </a:moveTo>
                  <a:lnTo>
                    <a:pt x="104" y="296"/>
                  </a:lnTo>
                  <a:lnTo>
                    <a:pt x="104" y="294"/>
                  </a:lnTo>
                  <a:close/>
                  <a:moveTo>
                    <a:pt x="81" y="356"/>
                  </a:moveTo>
                  <a:lnTo>
                    <a:pt x="83" y="356"/>
                  </a:lnTo>
                  <a:lnTo>
                    <a:pt x="81" y="356"/>
                  </a:lnTo>
                  <a:close/>
                  <a:moveTo>
                    <a:pt x="154" y="175"/>
                  </a:moveTo>
                  <a:lnTo>
                    <a:pt x="154" y="177"/>
                  </a:lnTo>
                  <a:lnTo>
                    <a:pt x="154" y="175"/>
                  </a:lnTo>
                  <a:close/>
                  <a:moveTo>
                    <a:pt x="91" y="273"/>
                  </a:moveTo>
                  <a:lnTo>
                    <a:pt x="91" y="275"/>
                  </a:lnTo>
                  <a:lnTo>
                    <a:pt x="91" y="273"/>
                  </a:lnTo>
                  <a:close/>
                  <a:moveTo>
                    <a:pt x="104" y="331"/>
                  </a:moveTo>
                  <a:lnTo>
                    <a:pt x="104" y="333"/>
                  </a:lnTo>
                  <a:lnTo>
                    <a:pt x="104" y="331"/>
                  </a:lnTo>
                  <a:close/>
                  <a:moveTo>
                    <a:pt x="116" y="331"/>
                  </a:moveTo>
                  <a:lnTo>
                    <a:pt x="116" y="333"/>
                  </a:lnTo>
                  <a:lnTo>
                    <a:pt x="116" y="331"/>
                  </a:lnTo>
                  <a:close/>
                  <a:moveTo>
                    <a:pt x="0" y="344"/>
                  </a:moveTo>
                  <a:lnTo>
                    <a:pt x="0" y="346"/>
                  </a:lnTo>
                  <a:lnTo>
                    <a:pt x="0" y="344"/>
                  </a:lnTo>
                  <a:close/>
                  <a:moveTo>
                    <a:pt x="81" y="394"/>
                  </a:moveTo>
                  <a:lnTo>
                    <a:pt x="83" y="394"/>
                  </a:lnTo>
                  <a:lnTo>
                    <a:pt x="81" y="394"/>
                  </a:lnTo>
                  <a:close/>
                  <a:moveTo>
                    <a:pt x="73" y="417"/>
                  </a:moveTo>
                  <a:lnTo>
                    <a:pt x="75" y="417"/>
                  </a:lnTo>
                  <a:lnTo>
                    <a:pt x="73" y="417"/>
                  </a:lnTo>
                  <a:close/>
                  <a:moveTo>
                    <a:pt x="104" y="344"/>
                  </a:moveTo>
                  <a:lnTo>
                    <a:pt x="106" y="344"/>
                  </a:lnTo>
                  <a:lnTo>
                    <a:pt x="104" y="344"/>
                  </a:lnTo>
                  <a:close/>
                  <a:moveTo>
                    <a:pt x="2" y="348"/>
                  </a:moveTo>
                  <a:lnTo>
                    <a:pt x="4" y="348"/>
                  </a:lnTo>
                  <a:lnTo>
                    <a:pt x="2" y="348"/>
                  </a:lnTo>
                  <a:close/>
                  <a:moveTo>
                    <a:pt x="96" y="260"/>
                  </a:moveTo>
                  <a:lnTo>
                    <a:pt x="96" y="261"/>
                  </a:lnTo>
                  <a:lnTo>
                    <a:pt x="96" y="260"/>
                  </a:lnTo>
                  <a:close/>
                  <a:moveTo>
                    <a:pt x="89" y="354"/>
                  </a:moveTo>
                  <a:lnTo>
                    <a:pt x="89" y="356"/>
                  </a:lnTo>
                  <a:lnTo>
                    <a:pt x="89" y="354"/>
                  </a:lnTo>
                  <a:close/>
                  <a:moveTo>
                    <a:pt x="85" y="363"/>
                  </a:moveTo>
                  <a:lnTo>
                    <a:pt x="87" y="363"/>
                  </a:lnTo>
                  <a:lnTo>
                    <a:pt x="85" y="363"/>
                  </a:lnTo>
                  <a:close/>
                  <a:moveTo>
                    <a:pt x="117" y="327"/>
                  </a:moveTo>
                  <a:lnTo>
                    <a:pt x="117" y="329"/>
                  </a:lnTo>
                  <a:lnTo>
                    <a:pt x="117" y="327"/>
                  </a:lnTo>
                  <a:close/>
                  <a:moveTo>
                    <a:pt x="89" y="357"/>
                  </a:moveTo>
                  <a:lnTo>
                    <a:pt x="89" y="359"/>
                  </a:lnTo>
                  <a:lnTo>
                    <a:pt x="89" y="357"/>
                  </a:lnTo>
                  <a:close/>
                  <a:moveTo>
                    <a:pt x="110" y="304"/>
                  </a:moveTo>
                  <a:lnTo>
                    <a:pt x="112" y="304"/>
                  </a:lnTo>
                  <a:lnTo>
                    <a:pt x="110" y="304"/>
                  </a:lnTo>
                  <a:close/>
                  <a:moveTo>
                    <a:pt x="12" y="377"/>
                  </a:moveTo>
                  <a:lnTo>
                    <a:pt x="14" y="377"/>
                  </a:lnTo>
                  <a:lnTo>
                    <a:pt x="12" y="377"/>
                  </a:lnTo>
                  <a:close/>
                  <a:moveTo>
                    <a:pt x="6" y="359"/>
                  </a:moveTo>
                  <a:lnTo>
                    <a:pt x="6" y="361"/>
                  </a:lnTo>
                  <a:lnTo>
                    <a:pt x="6" y="359"/>
                  </a:lnTo>
                  <a:close/>
                  <a:moveTo>
                    <a:pt x="91" y="267"/>
                  </a:moveTo>
                  <a:lnTo>
                    <a:pt x="93" y="267"/>
                  </a:lnTo>
                  <a:lnTo>
                    <a:pt x="91" y="267"/>
                  </a:lnTo>
                  <a:close/>
                  <a:moveTo>
                    <a:pt x="116" y="334"/>
                  </a:moveTo>
                  <a:lnTo>
                    <a:pt x="116" y="336"/>
                  </a:lnTo>
                  <a:lnTo>
                    <a:pt x="116" y="334"/>
                  </a:lnTo>
                  <a:close/>
                  <a:moveTo>
                    <a:pt x="112" y="336"/>
                  </a:moveTo>
                  <a:lnTo>
                    <a:pt x="112" y="338"/>
                  </a:lnTo>
                  <a:lnTo>
                    <a:pt x="112" y="336"/>
                  </a:lnTo>
                  <a:close/>
                  <a:moveTo>
                    <a:pt x="112" y="304"/>
                  </a:moveTo>
                  <a:lnTo>
                    <a:pt x="114" y="304"/>
                  </a:lnTo>
                  <a:lnTo>
                    <a:pt x="112" y="304"/>
                  </a:lnTo>
                  <a:close/>
                  <a:moveTo>
                    <a:pt x="100" y="348"/>
                  </a:moveTo>
                  <a:lnTo>
                    <a:pt x="102" y="348"/>
                  </a:lnTo>
                  <a:lnTo>
                    <a:pt x="100" y="348"/>
                  </a:lnTo>
                  <a:close/>
                  <a:moveTo>
                    <a:pt x="10" y="365"/>
                  </a:moveTo>
                  <a:lnTo>
                    <a:pt x="12" y="365"/>
                  </a:lnTo>
                  <a:lnTo>
                    <a:pt x="10" y="365"/>
                  </a:lnTo>
                  <a:close/>
                  <a:moveTo>
                    <a:pt x="81" y="396"/>
                  </a:moveTo>
                  <a:lnTo>
                    <a:pt x="83" y="396"/>
                  </a:lnTo>
                  <a:lnTo>
                    <a:pt x="83" y="398"/>
                  </a:lnTo>
                  <a:lnTo>
                    <a:pt x="81" y="398"/>
                  </a:lnTo>
                  <a:lnTo>
                    <a:pt x="81" y="396"/>
                  </a:lnTo>
                  <a:close/>
                  <a:moveTo>
                    <a:pt x="2" y="346"/>
                  </a:moveTo>
                  <a:lnTo>
                    <a:pt x="2" y="348"/>
                  </a:lnTo>
                  <a:lnTo>
                    <a:pt x="2" y="346"/>
                  </a:lnTo>
                  <a:close/>
                  <a:moveTo>
                    <a:pt x="112" y="338"/>
                  </a:moveTo>
                  <a:lnTo>
                    <a:pt x="112" y="340"/>
                  </a:lnTo>
                  <a:lnTo>
                    <a:pt x="112" y="338"/>
                  </a:lnTo>
                  <a:close/>
                  <a:moveTo>
                    <a:pt x="12" y="379"/>
                  </a:moveTo>
                  <a:lnTo>
                    <a:pt x="12" y="381"/>
                  </a:lnTo>
                  <a:lnTo>
                    <a:pt x="12" y="379"/>
                  </a:lnTo>
                  <a:close/>
                  <a:moveTo>
                    <a:pt x="106" y="300"/>
                  </a:moveTo>
                  <a:lnTo>
                    <a:pt x="108" y="300"/>
                  </a:lnTo>
                  <a:lnTo>
                    <a:pt x="106" y="300"/>
                  </a:lnTo>
                  <a:close/>
                  <a:moveTo>
                    <a:pt x="2" y="340"/>
                  </a:moveTo>
                  <a:lnTo>
                    <a:pt x="2" y="342"/>
                  </a:lnTo>
                  <a:lnTo>
                    <a:pt x="2" y="340"/>
                  </a:lnTo>
                  <a:close/>
                  <a:moveTo>
                    <a:pt x="117" y="325"/>
                  </a:moveTo>
                  <a:lnTo>
                    <a:pt x="117" y="327"/>
                  </a:lnTo>
                  <a:lnTo>
                    <a:pt x="117" y="325"/>
                  </a:lnTo>
                  <a:close/>
                  <a:moveTo>
                    <a:pt x="93" y="348"/>
                  </a:moveTo>
                  <a:lnTo>
                    <a:pt x="93" y="350"/>
                  </a:lnTo>
                  <a:lnTo>
                    <a:pt x="93" y="348"/>
                  </a:lnTo>
                  <a:close/>
                  <a:moveTo>
                    <a:pt x="87" y="361"/>
                  </a:moveTo>
                  <a:lnTo>
                    <a:pt x="87" y="363"/>
                  </a:lnTo>
                  <a:lnTo>
                    <a:pt x="87" y="361"/>
                  </a:lnTo>
                  <a:close/>
                  <a:moveTo>
                    <a:pt x="85" y="365"/>
                  </a:moveTo>
                  <a:lnTo>
                    <a:pt x="87" y="365"/>
                  </a:lnTo>
                  <a:lnTo>
                    <a:pt x="85" y="365"/>
                  </a:lnTo>
                  <a:close/>
                  <a:moveTo>
                    <a:pt x="20" y="396"/>
                  </a:moveTo>
                  <a:lnTo>
                    <a:pt x="21" y="396"/>
                  </a:lnTo>
                  <a:lnTo>
                    <a:pt x="20" y="396"/>
                  </a:lnTo>
                  <a:close/>
                  <a:moveTo>
                    <a:pt x="112" y="306"/>
                  </a:moveTo>
                  <a:lnTo>
                    <a:pt x="114" y="306"/>
                  </a:lnTo>
                  <a:lnTo>
                    <a:pt x="112" y="306"/>
                  </a:lnTo>
                  <a:close/>
                  <a:moveTo>
                    <a:pt x="112" y="331"/>
                  </a:moveTo>
                  <a:lnTo>
                    <a:pt x="114" y="331"/>
                  </a:lnTo>
                  <a:lnTo>
                    <a:pt x="112" y="331"/>
                  </a:lnTo>
                  <a:close/>
                  <a:moveTo>
                    <a:pt x="121" y="325"/>
                  </a:moveTo>
                  <a:lnTo>
                    <a:pt x="121" y="327"/>
                  </a:lnTo>
                  <a:lnTo>
                    <a:pt x="121" y="325"/>
                  </a:lnTo>
                  <a:close/>
                  <a:moveTo>
                    <a:pt x="91" y="350"/>
                  </a:moveTo>
                  <a:lnTo>
                    <a:pt x="91" y="352"/>
                  </a:lnTo>
                  <a:lnTo>
                    <a:pt x="91" y="350"/>
                  </a:lnTo>
                  <a:close/>
                  <a:moveTo>
                    <a:pt x="91" y="273"/>
                  </a:moveTo>
                  <a:lnTo>
                    <a:pt x="93" y="273"/>
                  </a:lnTo>
                  <a:lnTo>
                    <a:pt x="91" y="273"/>
                  </a:lnTo>
                  <a:close/>
                  <a:moveTo>
                    <a:pt x="125" y="204"/>
                  </a:moveTo>
                  <a:lnTo>
                    <a:pt x="127" y="204"/>
                  </a:lnTo>
                  <a:lnTo>
                    <a:pt x="125" y="204"/>
                  </a:lnTo>
                  <a:close/>
                  <a:moveTo>
                    <a:pt x="87" y="363"/>
                  </a:moveTo>
                  <a:lnTo>
                    <a:pt x="87" y="365"/>
                  </a:lnTo>
                  <a:lnTo>
                    <a:pt x="87" y="363"/>
                  </a:lnTo>
                  <a:close/>
                  <a:moveTo>
                    <a:pt x="85" y="369"/>
                  </a:moveTo>
                  <a:lnTo>
                    <a:pt x="85" y="371"/>
                  </a:lnTo>
                  <a:lnTo>
                    <a:pt x="85" y="369"/>
                  </a:lnTo>
                  <a:close/>
                  <a:moveTo>
                    <a:pt x="4" y="359"/>
                  </a:moveTo>
                  <a:lnTo>
                    <a:pt x="6" y="359"/>
                  </a:lnTo>
                  <a:lnTo>
                    <a:pt x="4" y="359"/>
                  </a:lnTo>
                  <a:close/>
                  <a:moveTo>
                    <a:pt x="112" y="340"/>
                  </a:moveTo>
                  <a:lnTo>
                    <a:pt x="114" y="340"/>
                  </a:lnTo>
                  <a:lnTo>
                    <a:pt x="112" y="340"/>
                  </a:lnTo>
                  <a:close/>
                  <a:moveTo>
                    <a:pt x="114" y="327"/>
                  </a:moveTo>
                  <a:lnTo>
                    <a:pt x="116" y="327"/>
                  </a:lnTo>
                  <a:lnTo>
                    <a:pt x="116" y="329"/>
                  </a:lnTo>
                  <a:lnTo>
                    <a:pt x="114" y="329"/>
                  </a:lnTo>
                  <a:lnTo>
                    <a:pt x="114" y="327"/>
                  </a:lnTo>
                  <a:close/>
                  <a:moveTo>
                    <a:pt x="85" y="377"/>
                  </a:moveTo>
                  <a:lnTo>
                    <a:pt x="85" y="379"/>
                  </a:lnTo>
                  <a:lnTo>
                    <a:pt x="85" y="377"/>
                  </a:lnTo>
                  <a:close/>
                  <a:moveTo>
                    <a:pt x="6" y="363"/>
                  </a:moveTo>
                  <a:lnTo>
                    <a:pt x="8" y="363"/>
                  </a:lnTo>
                  <a:lnTo>
                    <a:pt x="6" y="363"/>
                  </a:lnTo>
                  <a:close/>
                  <a:moveTo>
                    <a:pt x="91" y="350"/>
                  </a:moveTo>
                  <a:lnTo>
                    <a:pt x="93" y="350"/>
                  </a:lnTo>
                  <a:lnTo>
                    <a:pt x="91" y="350"/>
                  </a:lnTo>
                  <a:close/>
                  <a:moveTo>
                    <a:pt x="114" y="336"/>
                  </a:moveTo>
                  <a:lnTo>
                    <a:pt x="116" y="336"/>
                  </a:lnTo>
                  <a:lnTo>
                    <a:pt x="114" y="336"/>
                  </a:lnTo>
                  <a:close/>
                  <a:moveTo>
                    <a:pt x="121" y="319"/>
                  </a:moveTo>
                  <a:lnTo>
                    <a:pt x="121" y="321"/>
                  </a:lnTo>
                  <a:lnTo>
                    <a:pt x="121" y="319"/>
                  </a:lnTo>
                  <a:close/>
                  <a:moveTo>
                    <a:pt x="93" y="256"/>
                  </a:moveTo>
                  <a:lnTo>
                    <a:pt x="94" y="256"/>
                  </a:lnTo>
                  <a:lnTo>
                    <a:pt x="93" y="256"/>
                  </a:lnTo>
                  <a:close/>
                  <a:moveTo>
                    <a:pt x="146" y="196"/>
                  </a:moveTo>
                  <a:lnTo>
                    <a:pt x="146" y="198"/>
                  </a:lnTo>
                  <a:lnTo>
                    <a:pt x="146" y="196"/>
                  </a:lnTo>
                  <a:close/>
                  <a:moveTo>
                    <a:pt x="116" y="325"/>
                  </a:moveTo>
                  <a:lnTo>
                    <a:pt x="116" y="327"/>
                  </a:lnTo>
                  <a:lnTo>
                    <a:pt x="116" y="325"/>
                  </a:lnTo>
                  <a:close/>
                  <a:moveTo>
                    <a:pt x="135" y="198"/>
                  </a:moveTo>
                  <a:lnTo>
                    <a:pt x="135" y="200"/>
                  </a:lnTo>
                  <a:lnTo>
                    <a:pt x="135" y="198"/>
                  </a:lnTo>
                  <a:close/>
                  <a:moveTo>
                    <a:pt x="83" y="369"/>
                  </a:moveTo>
                  <a:lnTo>
                    <a:pt x="83" y="371"/>
                  </a:lnTo>
                  <a:lnTo>
                    <a:pt x="83" y="369"/>
                  </a:lnTo>
                  <a:close/>
                  <a:moveTo>
                    <a:pt x="94" y="254"/>
                  </a:moveTo>
                  <a:lnTo>
                    <a:pt x="96" y="254"/>
                  </a:lnTo>
                  <a:lnTo>
                    <a:pt x="94" y="254"/>
                  </a:lnTo>
                  <a:close/>
                  <a:moveTo>
                    <a:pt x="85" y="371"/>
                  </a:moveTo>
                  <a:lnTo>
                    <a:pt x="87" y="371"/>
                  </a:lnTo>
                  <a:lnTo>
                    <a:pt x="85" y="371"/>
                  </a:lnTo>
                  <a:close/>
                  <a:moveTo>
                    <a:pt x="81" y="400"/>
                  </a:moveTo>
                  <a:lnTo>
                    <a:pt x="81" y="402"/>
                  </a:lnTo>
                  <a:lnTo>
                    <a:pt x="81" y="400"/>
                  </a:lnTo>
                  <a:close/>
                  <a:moveTo>
                    <a:pt x="89" y="359"/>
                  </a:moveTo>
                  <a:lnTo>
                    <a:pt x="89" y="361"/>
                  </a:lnTo>
                  <a:lnTo>
                    <a:pt x="89" y="359"/>
                  </a:lnTo>
                  <a:close/>
                  <a:moveTo>
                    <a:pt x="116" y="334"/>
                  </a:moveTo>
                  <a:lnTo>
                    <a:pt x="116" y="336"/>
                  </a:lnTo>
                  <a:lnTo>
                    <a:pt x="116" y="334"/>
                  </a:lnTo>
                  <a:close/>
                  <a:moveTo>
                    <a:pt x="10" y="371"/>
                  </a:moveTo>
                  <a:lnTo>
                    <a:pt x="12" y="371"/>
                  </a:lnTo>
                  <a:lnTo>
                    <a:pt x="10" y="371"/>
                  </a:lnTo>
                  <a:close/>
                  <a:moveTo>
                    <a:pt x="4" y="359"/>
                  </a:moveTo>
                  <a:lnTo>
                    <a:pt x="6" y="359"/>
                  </a:lnTo>
                  <a:lnTo>
                    <a:pt x="4" y="359"/>
                  </a:lnTo>
                  <a:close/>
                  <a:moveTo>
                    <a:pt x="83" y="381"/>
                  </a:moveTo>
                  <a:lnTo>
                    <a:pt x="85" y="381"/>
                  </a:lnTo>
                  <a:lnTo>
                    <a:pt x="83" y="381"/>
                  </a:lnTo>
                  <a:close/>
                  <a:moveTo>
                    <a:pt x="96" y="344"/>
                  </a:moveTo>
                  <a:lnTo>
                    <a:pt x="96" y="346"/>
                  </a:lnTo>
                  <a:lnTo>
                    <a:pt x="96" y="344"/>
                  </a:lnTo>
                  <a:close/>
                  <a:moveTo>
                    <a:pt x="110" y="300"/>
                  </a:moveTo>
                  <a:lnTo>
                    <a:pt x="112" y="300"/>
                  </a:lnTo>
                  <a:lnTo>
                    <a:pt x="110" y="300"/>
                  </a:lnTo>
                  <a:close/>
                  <a:moveTo>
                    <a:pt x="68" y="419"/>
                  </a:moveTo>
                  <a:lnTo>
                    <a:pt x="68" y="421"/>
                  </a:lnTo>
                  <a:lnTo>
                    <a:pt x="68" y="419"/>
                  </a:lnTo>
                  <a:close/>
                  <a:moveTo>
                    <a:pt x="110" y="340"/>
                  </a:moveTo>
                  <a:lnTo>
                    <a:pt x="112" y="340"/>
                  </a:lnTo>
                  <a:lnTo>
                    <a:pt x="110" y="340"/>
                  </a:lnTo>
                  <a:close/>
                  <a:moveTo>
                    <a:pt x="87" y="359"/>
                  </a:moveTo>
                  <a:lnTo>
                    <a:pt x="89" y="359"/>
                  </a:lnTo>
                  <a:lnTo>
                    <a:pt x="87" y="359"/>
                  </a:lnTo>
                  <a:close/>
                  <a:moveTo>
                    <a:pt x="8" y="373"/>
                  </a:moveTo>
                  <a:lnTo>
                    <a:pt x="10" y="373"/>
                  </a:lnTo>
                  <a:lnTo>
                    <a:pt x="8" y="373"/>
                  </a:lnTo>
                  <a:close/>
                  <a:moveTo>
                    <a:pt x="112" y="334"/>
                  </a:moveTo>
                  <a:lnTo>
                    <a:pt x="114" y="334"/>
                  </a:lnTo>
                  <a:lnTo>
                    <a:pt x="112" y="334"/>
                  </a:lnTo>
                  <a:close/>
                  <a:moveTo>
                    <a:pt x="121" y="329"/>
                  </a:moveTo>
                  <a:lnTo>
                    <a:pt x="121" y="331"/>
                  </a:lnTo>
                  <a:lnTo>
                    <a:pt x="121" y="329"/>
                  </a:lnTo>
                  <a:close/>
                  <a:moveTo>
                    <a:pt x="68" y="419"/>
                  </a:moveTo>
                  <a:lnTo>
                    <a:pt x="68" y="421"/>
                  </a:lnTo>
                  <a:lnTo>
                    <a:pt x="68" y="419"/>
                  </a:lnTo>
                  <a:close/>
                  <a:moveTo>
                    <a:pt x="121" y="204"/>
                  </a:moveTo>
                  <a:lnTo>
                    <a:pt x="121" y="206"/>
                  </a:lnTo>
                  <a:lnTo>
                    <a:pt x="121" y="204"/>
                  </a:lnTo>
                  <a:close/>
                  <a:moveTo>
                    <a:pt x="96" y="348"/>
                  </a:moveTo>
                  <a:lnTo>
                    <a:pt x="96" y="350"/>
                  </a:lnTo>
                  <a:lnTo>
                    <a:pt x="96" y="348"/>
                  </a:lnTo>
                  <a:close/>
                  <a:moveTo>
                    <a:pt x="114" y="323"/>
                  </a:moveTo>
                  <a:lnTo>
                    <a:pt x="116" y="323"/>
                  </a:lnTo>
                  <a:lnTo>
                    <a:pt x="114" y="323"/>
                  </a:lnTo>
                  <a:close/>
                  <a:moveTo>
                    <a:pt x="144" y="188"/>
                  </a:moveTo>
                  <a:lnTo>
                    <a:pt x="146" y="188"/>
                  </a:lnTo>
                  <a:lnTo>
                    <a:pt x="144" y="188"/>
                  </a:lnTo>
                  <a:close/>
                  <a:moveTo>
                    <a:pt x="110" y="300"/>
                  </a:moveTo>
                  <a:lnTo>
                    <a:pt x="112" y="300"/>
                  </a:lnTo>
                  <a:lnTo>
                    <a:pt x="110" y="300"/>
                  </a:lnTo>
                  <a:close/>
                  <a:moveTo>
                    <a:pt x="116" y="313"/>
                  </a:moveTo>
                  <a:lnTo>
                    <a:pt x="116" y="315"/>
                  </a:lnTo>
                  <a:lnTo>
                    <a:pt x="116" y="313"/>
                  </a:lnTo>
                  <a:close/>
                  <a:moveTo>
                    <a:pt x="93" y="288"/>
                  </a:moveTo>
                  <a:lnTo>
                    <a:pt x="94" y="288"/>
                  </a:lnTo>
                  <a:lnTo>
                    <a:pt x="93" y="288"/>
                  </a:lnTo>
                  <a:close/>
                  <a:moveTo>
                    <a:pt x="112" y="336"/>
                  </a:moveTo>
                  <a:lnTo>
                    <a:pt x="114" y="336"/>
                  </a:lnTo>
                  <a:lnTo>
                    <a:pt x="112" y="336"/>
                  </a:lnTo>
                  <a:close/>
                  <a:moveTo>
                    <a:pt x="117" y="331"/>
                  </a:moveTo>
                  <a:lnTo>
                    <a:pt x="117" y="333"/>
                  </a:lnTo>
                  <a:lnTo>
                    <a:pt x="117" y="331"/>
                  </a:lnTo>
                  <a:close/>
                  <a:moveTo>
                    <a:pt x="112" y="304"/>
                  </a:moveTo>
                  <a:lnTo>
                    <a:pt x="112" y="306"/>
                  </a:lnTo>
                  <a:lnTo>
                    <a:pt x="112" y="304"/>
                  </a:lnTo>
                  <a:close/>
                  <a:moveTo>
                    <a:pt x="85" y="369"/>
                  </a:moveTo>
                  <a:lnTo>
                    <a:pt x="85" y="371"/>
                  </a:lnTo>
                  <a:lnTo>
                    <a:pt x="85" y="369"/>
                  </a:lnTo>
                  <a:close/>
                  <a:moveTo>
                    <a:pt x="119" y="327"/>
                  </a:moveTo>
                  <a:lnTo>
                    <a:pt x="121" y="327"/>
                  </a:lnTo>
                  <a:lnTo>
                    <a:pt x="119" y="327"/>
                  </a:lnTo>
                  <a:close/>
                  <a:moveTo>
                    <a:pt x="87" y="354"/>
                  </a:moveTo>
                  <a:lnTo>
                    <a:pt x="89" y="354"/>
                  </a:lnTo>
                  <a:lnTo>
                    <a:pt x="87" y="354"/>
                  </a:lnTo>
                  <a:close/>
                  <a:moveTo>
                    <a:pt x="12" y="375"/>
                  </a:moveTo>
                  <a:lnTo>
                    <a:pt x="12" y="377"/>
                  </a:lnTo>
                  <a:lnTo>
                    <a:pt x="12" y="375"/>
                  </a:lnTo>
                  <a:close/>
                  <a:moveTo>
                    <a:pt x="81" y="390"/>
                  </a:moveTo>
                  <a:lnTo>
                    <a:pt x="81" y="392"/>
                  </a:lnTo>
                  <a:lnTo>
                    <a:pt x="81" y="390"/>
                  </a:lnTo>
                  <a:close/>
                  <a:moveTo>
                    <a:pt x="93" y="288"/>
                  </a:moveTo>
                  <a:lnTo>
                    <a:pt x="94" y="288"/>
                  </a:lnTo>
                  <a:lnTo>
                    <a:pt x="93" y="288"/>
                  </a:lnTo>
                  <a:close/>
                  <a:moveTo>
                    <a:pt x="0" y="344"/>
                  </a:moveTo>
                  <a:lnTo>
                    <a:pt x="0" y="346"/>
                  </a:lnTo>
                  <a:lnTo>
                    <a:pt x="0" y="344"/>
                  </a:lnTo>
                  <a:close/>
                  <a:moveTo>
                    <a:pt x="114" y="338"/>
                  </a:moveTo>
                  <a:lnTo>
                    <a:pt x="114" y="340"/>
                  </a:lnTo>
                  <a:lnTo>
                    <a:pt x="114" y="338"/>
                  </a:lnTo>
                  <a:close/>
                  <a:moveTo>
                    <a:pt x="89" y="359"/>
                  </a:moveTo>
                  <a:lnTo>
                    <a:pt x="89" y="361"/>
                  </a:lnTo>
                  <a:lnTo>
                    <a:pt x="89" y="359"/>
                  </a:lnTo>
                  <a:close/>
                  <a:moveTo>
                    <a:pt x="110" y="302"/>
                  </a:moveTo>
                  <a:lnTo>
                    <a:pt x="110" y="304"/>
                  </a:lnTo>
                  <a:lnTo>
                    <a:pt x="110" y="302"/>
                  </a:lnTo>
                  <a:close/>
                  <a:moveTo>
                    <a:pt x="112" y="340"/>
                  </a:moveTo>
                  <a:lnTo>
                    <a:pt x="112" y="342"/>
                  </a:lnTo>
                  <a:lnTo>
                    <a:pt x="112" y="340"/>
                  </a:lnTo>
                  <a:close/>
                  <a:moveTo>
                    <a:pt x="81" y="371"/>
                  </a:moveTo>
                  <a:lnTo>
                    <a:pt x="81" y="373"/>
                  </a:lnTo>
                  <a:lnTo>
                    <a:pt x="81" y="371"/>
                  </a:lnTo>
                  <a:close/>
                  <a:moveTo>
                    <a:pt x="68" y="419"/>
                  </a:moveTo>
                  <a:lnTo>
                    <a:pt x="69" y="419"/>
                  </a:lnTo>
                  <a:lnTo>
                    <a:pt x="68" y="419"/>
                  </a:lnTo>
                  <a:close/>
                  <a:moveTo>
                    <a:pt x="83" y="386"/>
                  </a:moveTo>
                  <a:lnTo>
                    <a:pt x="83" y="388"/>
                  </a:lnTo>
                  <a:lnTo>
                    <a:pt x="83" y="386"/>
                  </a:lnTo>
                  <a:close/>
                  <a:moveTo>
                    <a:pt x="87" y="359"/>
                  </a:moveTo>
                  <a:lnTo>
                    <a:pt x="89" y="359"/>
                  </a:lnTo>
                  <a:lnTo>
                    <a:pt x="87" y="359"/>
                  </a:lnTo>
                  <a:close/>
                  <a:moveTo>
                    <a:pt x="87" y="357"/>
                  </a:moveTo>
                  <a:lnTo>
                    <a:pt x="87" y="359"/>
                  </a:lnTo>
                  <a:lnTo>
                    <a:pt x="87" y="357"/>
                  </a:lnTo>
                  <a:close/>
                  <a:moveTo>
                    <a:pt x="12" y="365"/>
                  </a:moveTo>
                  <a:lnTo>
                    <a:pt x="12" y="367"/>
                  </a:lnTo>
                  <a:lnTo>
                    <a:pt x="12" y="365"/>
                  </a:lnTo>
                  <a:close/>
                  <a:moveTo>
                    <a:pt x="117" y="325"/>
                  </a:moveTo>
                  <a:lnTo>
                    <a:pt x="119" y="325"/>
                  </a:lnTo>
                  <a:lnTo>
                    <a:pt x="117" y="325"/>
                  </a:lnTo>
                  <a:close/>
                  <a:moveTo>
                    <a:pt x="114" y="334"/>
                  </a:moveTo>
                  <a:lnTo>
                    <a:pt x="116" y="334"/>
                  </a:lnTo>
                  <a:lnTo>
                    <a:pt x="114" y="334"/>
                  </a:lnTo>
                  <a:close/>
                  <a:moveTo>
                    <a:pt x="6" y="365"/>
                  </a:moveTo>
                  <a:lnTo>
                    <a:pt x="6" y="367"/>
                  </a:lnTo>
                  <a:lnTo>
                    <a:pt x="6" y="365"/>
                  </a:lnTo>
                  <a:close/>
                  <a:moveTo>
                    <a:pt x="87" y="357"/>
                  </a:moveTo>
                  <a:lnTo>
                    <a:pt x="87" y="359"/>
                  </a:lnTo>
                  <a:lnTo>
                    <a:pt x="87" y="357"/>
                  </a:lnTo>
                  <a:close/>
                  <a:moveTo>
                    <a:pt x="85" y="371"/>
                  </a:moveTo>
                  <a:lnTo>
                    <a:pt x="85" y="373"/>
                  </a:lnTo>
                  <a:lnTo>
                    <a:pt x="85" y="371"/>
                  </a:lnTo>
                  <a:close/>
                  <a:moveTo>
                    <a:pt x="4" y="350"/>
                  </a:moveTo>
                  <a:lnTo>
                    <a:pt x="4" y="352"/>
                  </a:lnTo>
                  <a:lnTo>
                    <a:pt x="4" y="350"/>
                  </a:lnTo>
                  <a:close/>
                  <a:moveTo>
                    <a:pt x="96" y="346"/>
                  </a:moveTo>
                  <a:lnTo>
                    <a:pt x="96" y="348"/>
                  </a:lnTo>
                  <a:lnTo>
                    <a:pt x="96" y="346"/>
                  </a:lnTo>
                  <a:close/>
                  <a:moveTo>
                    <a:pt x="0" y="352"/>
                  </a:moveTo>
                  <a:lnTo>
                    <a:pt x="2" y="352"/>
                  </a:lnTo>
                  <a:lnTo>
                    <a:pt x="2" y="354"/>
                  </a:lnTo>
                  <a:lnTo>
                    <a:pt x="0" y="354"/>
                  </a:lnTo>
                  <a:lnTo>
                    <a:pt x="0" y="352"/>
                  </a:lnTo>
                  <a:close/>
                  <a:moveTo>
                    <a:pt x="10" y="373"/>
                  </a:moveTo>
                  <a:lnTo>
                    <a:pt x="12" y="373"/>
                  </a:lnTo>
                  <a:lnTo>
                    <a:pt x="10" y="373"/>
                  </a:lnTo>
                  <a:close/>
                  <a:moveTo>
                    <a:pt x="81" y="396"/>
                  </a:moveTo>
                  <a:lnTo>
                    <a:pt x="81" y="398"/>
                  </a:lnTo>
                  <a:lnTo>
                    <a:pt x="81" y="396"/>
                  </a:lnTo>
                  <a:close/>
                  <a:moveTo>
                    <a:pt x="64" y="419"/>
                  </a:moveTo>
                  <a:lnTo>
                    <a:pt x="66" y="419"/>
                  </a:lnTo>
                  <a:lnTo>
                    <a:pt x="64" y="419"/>
                  </a:lnTo>
                  <a:close/>
                  <a:moveTo>
                    <a:pt x="112" y="336"/>
                  </a:moveTo>
                  <a:lnTo>
                    <a:pt x="112" y="338"/>
                  </a:lnTo>
                  <a:lnTo>
                    <a:pt x="112" y="336"/>
                  </a:lnTo>
                  <a:close/>
                  <a:moveTo>
                    <a:pt x="87" y="361"/>
                  </a:moveTo>
                  <a:lnTo>
                    <a:pt x="89" y="361"/>
                  </a:lnTo>
                  <a:lnTo>
                    <a:pt x="87" y="361"/>
                  </a:lnTo>
                  <a:close/>
                  <a:moveTo>
                    <a:pt x="60" y="417"/>
                  </a:moveTo>
                  <a:lnTo>
                    <a:pt x="60" y="419"/>
                  </a:lnTo>
                  <a:lnTo>
                    <a:pt x="60" y="417"/>
                  </a:lnTo>
                  <a:close/>
                  <a:moveTo>
                    <a:pt x="89" y="354"/>
                  </a:moveTo>
                  <a:lnTo>
                    <a:pt x="89" y="356"/>
                  </a:lnTo>
                  <a:lnTo>
                    <a:pt x="89" y="354"/>
                  </a:lnTo>
                  <a:close/>
                  <a:moveTo>
                    <a:pt x="10" y="375"/>
                  </a:moveTo>
                  <a:lnTo>
                    <a:pt x="12" y="375"/>
                  </a:lnTo>
                  <a:lnTo>
                    <a:pt x="10" y="375"/>
                  </a:lnTo>
                  <a:close/>
                  <a:moveTo>
                    <a:pt x="110" y="340"/>
                  </a:moveTo>
                  <a:lnTo>
                    <a:pt x="110" y="342"/>
                  </a:lnTo>
                  <a:lnTo>
                    <a:pt x="110" y="340"/>
                  </a:lnTo>
                  <a:close/>
                  <a:moveTo>
                    <a:pt x="89" y="361"/>
                  </a:moveTo>
                  <a:lnTo>
                    <a:pt x="89" y="363"/>
                  </a:lnTo>
                  <a:lnTo>
                    <a:pt x="89" y="361"/>
                  </a:lnTo>
                  <a:close/>
                  <a:moveTo>
                    <a:pt x="10" y="369"/>
                  </a:moveTo>
                  <a:lnTo>
                    <a:pt x="10" y="371"/>
                  </a:lnTo>
                  <a:lnTo>
                    <a:pt x="10" y="369"/>
                  </a:lnTo>
                  <a:close/>
                  <a:moveTo>
                    <a:pt x="85" y="352"/>
                  </a:moveTo>
                  <a:lnTo>
                    <a:pt x="87" y="352"/>
                  </a:lnTo>
                  <a:lnTo>
                    <a:pt x="85" y="352"/>
                  </a:lnTo>
                  <a:close/>
                  <a:moveTo>
                    <a:pt x="87" y="365"/>
                  </a:moveTo>
                  <a:lnTo>
                    <a:pt x="87" y="367"/>
                  </a:lnTo>
                  <a:lnTo>
                    <a:pt x="87" y="365"/>
                  </a:lnTo>
                  <a:close/>
                  <a:moveTo>
                    <a:pt x="2" y="350"/>
                  </a:moveTo>
                  <a:lnTo>
                    <a:pt x="4" y="350"/>
                  </a:lnTo>
                  <a:lnTo>
                    <a:pt x="2" y="350"/>
                  </a:lnTo>
                  <a:close/>
                  <a:moveTo>
                    <a:pt x="102" y="294"/>
                  </a:moveTo>
                  <a:lnTo>
                    <a:pt x="104" y="294"/>
                  </a:lnTo>
                  <a:lnTo>
                    <a:pt x="102" y="294"/>
                  </a:lnTo>
                  <a:close/>
                  <a:moveTo>
                    <a:pt x="10" y="377"/>
                  </a:moveTo>
                  <a:lnTo>
                    <a:pt x="10" y="379"/>
                  </a:lnTo>
                  <a:lnTo>
                    <a:pt x="10" y="377"/>
                  </a:lnTo>
                  <a:close/>
                  <a:moveTo>
                    <a:pt x="10" y="375"/>
                  </a:moveTo>
                  <a:lnTo>
                    <a:pt x="12" y="375"/>
                  </a:lnTo>
                  <a:lnTo>
                    <a:pt x="10" y="375"/>
                  </a:lnTo>
                  <a:close/>
                  <a:moveTo>
                    <a:pt x="123" y="327"/>
                  </a:moveTo>
                  <a:lnTo>
                    <a:pt x="125" y="327"/>
                  </a:lnTo>
                  <a:lnTo>
                    <a:pt x="123" y="327"/>
                  </a:lnTo>
                  <a:close/>
                  <a:moveTo>
                    <a:pt x="93" y="348"/>
                  </a:moveTo>
                  <a:lnTo>
                    <a:pt x="93" y="350"/>
                  </a:lnTo>
                  <a:lnTo>
                    <a:pt x="93" y="348"/>
                  </a:lnTo>
                  <a:close/>
                  <a:moveTo>
                    <a:pt x="12" y="379"/>
                  </a:moveTo>
                  <a:lnTo>
                    <a:pt x="14" y="379"/>
                  </a:lnTo>
                  <a:lnTo>
                    <a:pt x="12" y="379"/>
                  </a:lnTo>
                  <a:close/>
                  <a:moveTo>
                    <a:pt x="89" y="363"/>
                  </a:moveTo>
                  <a:lnTo>
                    <a:pt x="89" y="365"/>
                  </a:lnTo>
                  <a:lnTo>
                    <a:pt x="89" y="363"/>
                  </a:lnTo>
                  <a:close/>
                  <a:moveTo>
                    <a:pt x="87" y="359"/>
                  </a:moveTo>
                  <a:lnTo>
                    <a:pt x="89" y="359"/>
                  </a:lnTo>
                  <a:lnTo>
                    <a:pt x="87" y="359"/>
                  </a:lnTo>
                  <a:close/>
                  <a:moveTo>
                    <a:pt x="114" y="321"/>
                  </a:moveTo>
                  <a:lnTo>
                    <a:pt x="114" y="323"/>
                  </a:lnTo>
                  <a:lnTo>
                    <a:pt x="114" y="321"/>
                  </a:lnTo>
                  <a:close/>
                  <a:moveTo>
                    <a:pt x="6" y="365"/>
                  </a:moveTo>
                  <a:lnTo>
                    <a:pt x="8" y="365"/>
                  </a:lnTo>
                  <a:lnTo>
                    <a:pt x="6" y="365"/>
                  </a:lnTo>
                  <a:close/>
                  <a:moveTo>
                    <a:pt x="102" y="346"/>
                  </a:moveTo>
                  <a:lnTo>
                    <a:pt x="102" y="348"/>
                  </a:lnTo>
                  <a:lnTo>
                    <a:pt x="102" y="346"/>
                  </a:lnTo>
                  <a:close/>
                  <a:moveTo>
                    <a:pt x="75" y="413"/>
                  </a:moveTo>
                  <a:lnTo>
                    <a:pt x="75" y="415"/>
                  </a:lnTo>
                  <a:lnTo>
                    <a:pt x="75" y="413"/>
                  </a:lnTo>
                  <a:close/>
                  <a:moveTo>
                    <a:pt x="12" y="381"/>
                  </a:moveTo>
                  <a:lnTo>
                    <a:pt x="14" y="381"/>
                  </a:lnTo>
                  <a:lnTo>
                    <a:pt x="12" y="381"/>
                  </a:lnTo>
                  <a:close/>
                  <a:moveTo>
                    <a:pt x="85" y="354"/>
                  </a:moveTo>
                  <a:lnTo>
                    <a:pt x="87" y="354"/>
                  </a:lnTo>
                  <a:lnTo>
                    <a:pt x="85" y="354"/>
                  </a:lnTo>
                  <a:close/>
                  <a:moveTo>
                    <a:pt x="89" y="357"/>
                  </a:moveTo>
                  <a:lnTo>
                    <a:pt x="89" y="359"/>
                  </a:lnTo>
                  <a:lnTo>
                    <a:pt x="89" y="357"/>
                  </a:lnTo>
                  <a:close/>
                  <a:moveTo>
                    <a:pt x="85" y="352"/>
                  </a:moveTo>
                  <a:lnTo>
                    <a:pt x="87" y="352"/>
                  </a:lnTo>
                  <a:lnTo>
                    <a:pt x="85" y="352"/>
                  </a:lnTo>
                  <a:close/>
                  <a:moveTo>
                    <a:pt x="12" y="379"/>
                  </a:moveTo>
                  <a:lnTo>
                    <a:pt x="14" y="379"/>
                  </a:lnTo>
                  <a:lnTo>
                    <a:pt x="12" y="379"/>
                  </a:lnTo>
                  <a:close/>
                  <a:moveTo>
                    <a:pt x="104" y="344"/>
                  </a:moveTo>
                  <a:lnTo>
                    <a:pt x="104" y="346"/>
                  </a:lnTo>
                  <a:lnTo>
                    <a:pt x="104" y="344"/>
                  </a:lnTo>
                  <a:close/>
                  <a:moveTo>
                    <a:pt x="87" y="365"/>
                  </a:moveTo>
                  <a:lnTo>
                    <a:pt x="89" y="365"/>
                  </a:lnTo>
                  <a:lnTo>
                    <a:pt x="87" y="365"/>
                  </a:lnTo>
                  <a:close/>
                  <a:moveTo>
                    <a:pt x="89" y="357"/>
                  </a:moveTo>
                  <a:lnTo>
                    <a:pt x="89" y="359"/>
                  </a:lnTo>
                  <a:lnTo>
                    <a:pt x="89" y="357"/>
                  </a:lnTo>
                  <a:close/>
                  <a:moveTo>
                    <a:pt x="91" y="348"/>
                  </a:moveTo>
                  <a:lnTo>
                    <a:pt x="93" y="348"/>
                  </a:lnTo>
                  <a:lnTo>
                    <a:pt x="91" y="348"/>
                  </a:lnTo>
                  <a:close/>
                  <a:moveTo>
                    <a:pt x="87" y="357"/>
                  </a:moveTo>
                  <a:lnTo>
                    <a:pt x="87" y="359"/>
                  </a:lnTo>
                  <a:lnTo>
                    <a:pt x="87" y="357"/>
                  </a:lnTo>
                  <a:close/>
                  <a:moveTo>
                    <a:pt x="87" y="359"/>
                  </a:moveTo>
                  <a:lnTo>
                    <a:pt x="89" y="359"/>
                  </a:lnTo>
                  <a:lnTo>
                    <a:pt x="87" y="359"/>
                  </a:lnTo>
                  <a:close/>
                  <a:moveTo>
                    <a:pt x="89" y="356"/>
                  </a:moveTo>
                  <a:lnTo>
                    <a:pt x="89" y="357"/>
                  </a:lnTo>
                  <a:lnTo>
                    <a:pt x="89" y="356"/>
                  </a:lnTo>
                  <a:close/>
                  <a:moveTo>
                    <a:pt x="112" y="300"/>
                  </a:moveTo>
                  <a:lnTo>
                    <a:pt x="112" y="302"/>
                  </a:lnTo>
                  <a:lnTo>
                    <a:pt x="112" y="300"/>
                  </a:lnTo>
                  <a:close/>
                  <a:moveTo>
                    <a:pt x="6" y="359"/>
                  </a:moveTo>
                  <a:lnTo>
                    <a:pt x="6" y="361"/>
                  </a:lnTo>
                  <a:lnTo>
                    <a:pt x="6" y="359"/>
                  </a:lnTo>
                  <a:close/>
                  <a:moveTo>
                    <a:pt x="62" y="419"/>
                  </a:moveTo>
                  <a:lnTo>
                    <a:pt x="64" y="419"/>
                  </a:lnTo>
                  <a:lnTo>
                    <a:pt x="62" y="419"/>
                  </a:lnTo>
                  <a:close/>
                  <a:moveTo>
                    <a:pt x="93" y="348"/>
                  </a:moveTo>
                  <a:lnTo>
                    <a:pt x="93" y="350"/>
                  </a:lnTo>
                  <a:lnTo>
                    <a:pt x="93" y="348"/>
                  </a:lnTo>
                  <a:close/>
                  <a:moveTo>
                    <a:pt x="0" y="346"/>
                  </a:moveTo>
                  <a:lnTo>
                    <a:pt x="2" y="346"/>
                  </a:lnTo>
                  <a:lnTo>
                    <a:pt x="0" y="346"/>
                  </a:lnTo>
                  <a:close/>
                  <a:moveTo>
                    <a:pt x="87" y="359"/>
                  </a:moveTo>
                  <a:lnTo>
                    <a:pt x="89" y="359"/>
                  </a:lnTo>
                  <a:lnTo>
                    <a:pt x="87" y="359"/>
                  </a:lnTo>
                  <a:close/>
                  <a:moveTo>
                    <a:pt x="89" y="357"/>
                  </a:moveTo>
                  <a:lnTo>
                    <a:pt x="89" y="359"/>
                  </a:lnTo>
                  <a:lnTo>
                    <a:pt x="89" y="357"/>
                  </a:lnTo>
                  <a:close/>
                  <a:moveTo>
                    <a:pt x="87" y="359"/>
                  </a:moveTo>
                  <a:lnTo>
                    <a:pt x="89" y="359"/>
                  </a:lnTo>
                  <a:lnTo>
                    <a:pt x="87" y="359"/>
                  </a:lnTo>
                  <a:close/>
                  <a:moveTo>
                    <a:pt x="114" y="323"/>
                  </a:moveTo>
                  <a:lnTo>
                    <a:pt x="116" y="323"/>
                  </a:lnTo>
                  <a:lnTo>
                    <a:pt x="114" y="323"/>
                  </a:lnTo>
                  <a:close/>
                  <a:moveTo>
                    <a:pt x="73" y="417"/>
                  </a:moveTo>
                  <a:lnTo>
                    <a:pt x="75" y="417"/>
                  </a:lnTo>
                  <a:lnTo>
                    <a:pt x="73" y="417"/>
                  </a:lnTo>
                  <a:close/>
                  <a:moveTo>
                    <a:pt x="96" y="348"/>
                  </a:moveTo>
                  <a:lnTo>
                    <a:pt x="96" y="350"/>
                  </a:lnTo>
                  <a:lnTo>
                    <a:pt x="96" y="348"/>
                  </a:lnTo>
                  <a:close/>
                  <a:moveTo>
                    <a:pt x="89" y="354"/>
                  </a:moveTo>
                  <a:lnTo>
                    <a:pt x="89" y="356"/>
                  </a:lnTo>
                  <a:lnTo>
                    <a:pt x="89" y="354"/>
                  </a:lnTo>
                  <a:close/>
                  <a:moveTo>
                    <a:pt x="87" y="361"/>
                  </a:moveTo>
                  <a:lnTo>
                    <a:pt x="87" y="363"/>
                  </a:lnTo>
                  <a:lnTo>
                    <a:pt x="87" y="361"/>
                  </a:lnTo>
                  <a:close/>
                  <a:moveTo>
                    <a:pt x="116" y="329"/>
                  </a:moveTo>
                  <a:lnTo>
                    <a:pt x="116" y="331"/>
                  </a:lnTo>
                  <a:lnTo>
                    <a:pt x="116" y="329"/>
                  </a:lnTo>
                  <a:close/>
                  <a:moveTo>
                    <a:pt x="117" y="327"/>
                  </a:moveTo>
                  <a:lnTo>
                    <a:pt x="117" y="329"/>
                  </a:lnTo>
                  <a:lnTo>
                    <a:pt x="117" y="327"/>
                  </a:lnTo>
                  <a:close/>
                  <a:moveTo>
                    <a:pt x="89" y="359"/>
                  </a:moveTo>
                  <a:lnTo>
                    <a:pt x="89" y="361"/>
                  </a:lnTo>
                  <a:lnTo>
                    <a:pt x="89" y="359"/>
                  </a:lnTo>
                  <a:close/>
                  <a:moveTo>
                    <a:pt x="87" y="352"/>
                  </a:moveTo>
                  <a:lnTo>
                    <a:pt x="87" y="354"/>
                  </a:lnTo>
                  <a:lnTo>
                    <a:pt x="87" y="352"/>
                  </a:lnTo>
                  <a:close/>
                  <a:moveTo>
                    <a:pt x="87" y="357"/>
                  </a:moveTo>
                  <a:lnTo>
                    <a:pt x="87" y="359"/>
                  </a:lnTo>
                  <a:lnTo>
                    <a:pt x="87" y="357"/>
                  </a:lnTo>
                  <a:close/>
                  <a:moveTo>
                    <a:pt x="10" y="369"/>
                  </a:moveTo>
                  <a:lnTo>
                    <a:pt x="10" y="371"/>
                  </a:lnTo>
                  <a:lnTo>
                    <a:pt x="10" y="369"/>
                  </a:lnTo>
                  <a:close/>
                  <a:moveTo>
                    <a:pt x="0" y="354"/>
                  </a:moveTo>
                  <a:lnTo>
                    <a:pt x="2" y="354"/>
                  </a:lnTo>
                  <a:lnTo>
                    <a:pt x="0" y="354"/>
                  </a:lnTo>
                  <a:close/>
                  <a:moveTo>
                    <a:pt x="89" y="363"/>
                  </a:moveTo>
                  <a:lnTo>
                    <a:pt x="89" y="365"/>
                  </a:lnTo>
                  <a:lnTo>
                    <a:pt x="89" y="363"/>
                  </a:lnTo>
                  <a:close/>
                  <a:moveTo>
                    <a:pt x="87" y="352"/>
                  </a:moveTo>
                  <a:lnTo>
                    <a:pt x="87" y="354"/>
                  </a:lnTo>
                  <a:lnTo>
                    <a:pt x="87" y="352"/>
                  </a:lnTo>
                  <a:close/>
                  <a:moveTo>
                    <a:pt x="16" y="390"/>
                  </a:moveTo>
                  <a:lnTo>
                    <a:pt x="18" y="390"/>
                  </a:lnTo>
                  <a:lnTo>
                    <a:pt x="16" y="390"/>
                  </a:lnTo>
                  <a:close/>
                  <a:moveTo>
                    <a:pt x="87" y="357"/>
                  </a:moveTo>
                  <a:lnTo>
                    <a:pt x="87" y="359"/>
                  </a:lnTo>
                  <a:lnTo>
                    <a:pt x="87" y="357"/>
                  </a:lnTo>
                  <a:close/>
                  <a:moveTo>
                    <a:pt x="16" y="390"/>
                  </a:moveTo>
                  <a:lnTo>
                    <a:pt x="18" y="390"/>
                  </a:lnTo>
                  <a:lnTo>
                    <a:pt x="16" y="39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399">
              <a:extLst>
                <a:ext uri="{FF2B5EF4-FFF2-40B4-BE49-F238E27FC236}">
                  <a16:creationId xmlns:a16="http://schemas.microsoft.com/office/drawing/2014/main" id="{BF3C61AC-7831-43C8-B36D-70D83EFCC838}"/>
                </a:ext>
              </a:extLst>
            </p:cNvPr>
            <p:cNvSpPr>
              <a:spLocks noEditPoints="1"/>
            </p:cNvSpPr>
            <p:nvPr/>
          </p:nvSpPr>
          <p:spPr bwMode="gray">
            <a:xfrm>
              <a:off x="3290430" y="2517164"/>
              <a:ext cx="478287" cy="565360"/>
            </a:xfrm>
            <a:custGeom>
              <a:avLst/>
              <a:gdLst>
                <a:gd name="T0" fmla="*/ 33 w 390"/>
                <a:gd name="T1" fmla="*/ 459 h 461"/>
                <a:gd name="T2" fmla="*/ 10 w 390"/>
                <a:gd name="T3" fmla="*/ 417 h 461"/>
                <a:gd name="T4" fmla="*/ 12 w 390"/>
                <a:gd name="T5" fmla="*/ 396 h 461"/>
                <a:gd name="T6" fmla="*/ 46 w 390"/>
                <a:gd name="T7" fmla="*/ 367 h 461"/>
                <a:gd name="T8" fmla="*/ 27 w 390"/>
                <a:gd name="T9" fmla="*/ 350 h 461"/>
                <a:gd name="T10" fmla="*/ 43 w 390"/>
                <a:gd name="T11" fmla="*/ 321 h 461"/>
                <a:gd name="T12" fmla="*/ 73 w 390"/>
                <a:gd name="T13" fmla="*/ 292 h 461"/>
                <a:gd name="T14" fmla="*/ 83 w 390"/>
                <a:gd name="T15" fmla="*/ 275 h 461"/>
                <a:gd name="T16" fmla="*/ 112 w 390"/>
                <a:gd name="T17" fmla="*/ 240 h 461"/>
                <a:gd name="T18" fmla="*/ 127 w 390"/>
                <a:gd name="T19" fmla="*/ 204 h 461"/>
                <a:gd name="T20" fmla="*/ 156 w 390"/>
                <a:gd name="T21" fmla="*/ 161 h 461"/>
                <a:gd name="T22" fmla="*/ 163 w 390"/>
                <a:gd name="T23" fmla="*/ 133 h 461"/>
                <a:gd name="T24" fmla="*/ 194 w 390"/>
                <a:gd name="T25" fmla="*/ 117 h 461"/>
                <a:gd name="T26" fmla="*/ 225 w 390"/>
                <a:gd name="T27" fmla="*/ 61 h 461"/>
                <a:gd name="T28" fmla="*/ 271 w 390"/>
                <a:gd name="T29" fmla="*/ 50 h 461"/>
                <a:gd name="T30" fmla="*/ 298 w 390"/>
                <a:gd name="T31" fmla="*/ 46 h 461"/>
                <a:gd name="T32" fmla="*/ 344 w 390"/>
                <a:gd name="T33" fmla="*/ 19 h 461"/>
                <a:gd name="T34" fmla="*/ 365 w 390"/>
                <a:gd name="T35" fmla="*/ 67 h 461"/>
                <a:gd name="T36" fmla="*/ 242 w 390"/>
                <a:gd name="T37" fmla="*/ 85 h 461"/>
                <a:gd name="T38" fmla="*/ 106 w 390"/>
                <a:gd name="T39" fmla="*/ 419 h 461"/>
                <a:gd name="T40" fmla="*/ 175 w 390"/>
                <a:gd name="T41" fmla="*/ 113 h 461"/>
                <a:gd name="T42" fmla="*/ 183 w 390"/>
                <a:gd name="T43" fmla="*/ 94 h 461"/>
                <a:gd name="T44" fmla="*/ 154 w 390"/>
                <a:gd name="T45" fmla="*/ 96 h 461"/>
                <a:gd name="T46" fmla="*/ 219 w 390"/>
                <a:gd name="T47" fmla="*/ 50 h 461"/>
                <a:gd name="T48" fmla="*/ 162 w 390"/>
                <a:gd name="T49" fmla="*/ 92 h 461"/>
                <a:gd name="T50" fmla="*/ 284 w 390"/>
                <a:gd name="T51" fmla="*/ 23 h 461"/>
                <a:gd name="T52" fmla="*/ 48 w 390"/>
                <a:gd name="T53" fmla="*/ 298 h 461"/>
                <a:gd name="T54" fmla="*/ 10 w 390"/>
                <a:gd name="T55" fmla="*/ 426 h 461"/>
                <a:gd name="T56" fmla="*/ 183 w 390"/>
                <a:gd name="T57" fmla="*/ 100 h 461"/>
                <a:gd name="T58" fmla="*/ 92 w 390"/>
                <a:gd name="T59" fmla="*/ 250 h 461"/>
                <a:gd name="T60" fmla="*/ 294 w 390"/>
                <a:gd name="T61" fmla="*/ 8 h 461"/>
                <a:gd name="T62" fmla="*/ 50 w 390"/>
                <a:gd name="T63" fmla="*/ 313 h 461"/>
                <a:gd name="T64" fmla="*/ 8 w 390"/>
                <a:gd name="T65" fmla="*/ 357 h 461"/>
                <a:gd name="T66" fmla="*/ 271 w 390"/>
                <a:gd name="T67" fmla="*/ 15 h 461"/>
                <a:gd name="T68" fmla="*/ 110 w 390"/>
                <a:gd name="T69" fmla="*/ 190 h 461"/>
                <a:gd name="T70" fmla="*/ 89 w 390"/>
                <a:gd name="T71" fmla="*/ 292 h 461"/>
                <a:gd name="T72" fmla="*/ 12 w 390"/>
                <a:gd name="T73" fmla="*/ 400 h 461"/>
                <a:gd name="T74" fmla="*/ 135 w 390"/>
                <a:gd name="T75" fmla="*/ 167 h 461"/>
                <a:gd name="T76" fmla="*/ 114 w 390"/>
                <a:gd name="T77" fmla="*/ 227 h 461"/>
                <a:gd name="T78" fmla="*/ 94 w 390"/>
                <a:gd name="T79" fmla="*/ 246 h 461"/>
                <a:gd name="T80" fmla="*/ 112 w 390"/>
                <a:gd name="T81" fmla="*/ 202 h 461"/>
                <a:gd name="T82" fmla="*/ 91 w 390"/>
                <a:gd name="T83" fmla="*/ 248 h 461"/>
                <a:gd name="T84" fmla="*/ 137 w 390"/>
                <a:gd name="T85" fmla="*/ 127 h 461"/>
                <a:gd name="T86" fmla="*/ 139 w 390"/>
                <a:gd name="T87" fmla="*/ 158 h 461"/>
                <a:gd name="T88" fmla="*/ 112 w 390"/>
                <a:gd name="T89" fmla="*/ 211 h 461"/>
                <a:gd name="T90" fmla="*/ 114 w 390"/>
                <a:gd name="T91" fmla="*/ 213 h 461"/>
                <a:gd name="T92" fmla="*/ 129 w 390"/>
                <a:gd name="T93" fmla="*/ 194 h 461"/>
                <a:gd name="T94" fmla="*/ 10 w 390"/>
                <a:gd name="T95" fmla="*/ 392 h 461"/>
                <a:gd name="T96" fmla="*/ 121 w 390"/>
                <a:gd name="T97" fmla="*/ 144 h 461"/>
                <a:gd name="T98" fmla="*/ 2 w 390"/>
                <a:gd name="T99" fmla="*/ 367 h 461"/>
                <a:gd name="T100" fmla="*/ 119 w 390"/>
                <a:gd name="T101" fmla="*/ 190 h 461"/>
                <a:gd name="T102" fmla="*/ 112 w 390"/>
                <a:gd name="T103" fmla="*/ 215 h 461"/>
                <a:gd name="T104" fmla="*/ 263 w 390"/>
                <a:gd name="T105" fmla="*/ 31 h 461"/>
                <a:gd name="T106" fmla="*/ 306 w 390"/>
                <a:gd name="T107" fmla="*/ 4 h 461"/>
                <a:gd name="T108" fmla="*/ 125 w 390"/>
                <a:gd name="T109" fmla="*/ 175 h 461"/>
                <a:gd name="T110" fmla="*/ 162 w 390"/>
                <a:gd name="T111" fmla="*/ 125 h 461"/>
                <a:gd name="T112" fmla="*/ 144 w 390"/>
                <a:gd name="T113" fmla="*/ 104 h 461"/>
                <a:gd name="T114" fmla="*/ 8 w 390"/>
                <a:gd name="T115" fmla="*/ 355 h 461"/>
                <a:gd name="T116" fmla="*/ 60 w 390"/>
                <a:gd name="T117" fmla="*/ 451 h 461"/>
                <a:gd name="T118" fmla="*/ 146 w 390"/>
                <a:gd name="T119" fmla="*/ 113 h 461"/>
                <a:gd name="T120" fmla="*/ 8 w 390"/>
                <a:gd name="T121" fmla="*/ 405 h 461"/>
                <a:gd name="T122" fmla="*/ 69 w 390"/>
                <a:gd name="T123" fmla="*/ 275 h 461"/>
                <a:gd name="T124" fmla="*/ 104 w 390"/>
                <a:gd name="T125" fmla="*/ 24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0" h="461">
                  <a:moveTo>
                    <a:pt x="85" y="430"/>
                  </a:moveTo>
                  <a:lnTo>
                    <a:pt x="85" y="432"/>
                  </a:lnTo>
                  <a:lnTo>
                    <a:pt x="85" y="430"/>
                  </a:lnTo>
                  <a:lnTo>
                    <a:pt x="85" y="428"/>
                  </a:lnTo>
                  <a:lnTo>
                    <a:pt x="85" y="430"/>
                  </a:lnTo>
                  <a:lnTo>
                    <a:pt x="85" y="432"/>
                  </a:lnTo>
                  <a:lnTo>
                    <a:pt x="85" y="430"/>
                  </a:lnTo>
                  <a:lnTo>
                    <a:pt x="83" y="430"/>
                  </a:lnTo>
                  <a:lnTo>
                    <a:pt x="85" y="430"/>
                  </a:lnTo>
                  <a:lnTo>
                    <a:pt x="83" y="430"/>
                  </a:lnTo>
                  <a:lnTo>
                    <a:pt x="83" y="428"/>
                  </a:lnTo>
                  <a:lnTo>
                    <a:pt x="83" y="430"/>
                  </a:lnTo>
                  <a:lnTo>
                    <a:pt x="83" y="432"/>
                  </a:lnTo>
                  <a:lnTo>
                    <a:pt x="81" y="432"/>
                  </a:lnTo>
                  <a:lnTo>
                    <a:pt x="83" y="432"/>
                  </a:lnTo>
                  <a:lnTo>
                    <a:pt x="81" y="432"/>
                  </a:lnTo>
                  <a:lnTo>
                    <a:pt x="81" y="434"/>
                  </a:lnTo>
                  <a:lnTo>
                    <a:pt x="79" y="434"/>
                  </a:lnTo>
                  <a:lnTo>
                    <a:pt x="81" y="434"/>
                  </a:lnTo>
                  <a:lnTo>
                    <a:pt x="79" y="434"/>
                  </a:lnTo>
                  <a:lnTo>
                    <a:pt x="77" y="434"/>
                  </a:lnTo>
                  <a:lnTo>
                    <a:pt x="77" y="432"/>
                  </a:lnTo>
                  <a:lnTo>
                    <a:pt x="79" y="432"/>
                  </a:lnTo>
                  <a:lnTo>
                    <a:pt x="77" y="432"/>
                  </a:lnTo>
                  <a:lnTo>
                    <a:pt x="79" y="432"/>
                  </a:lnTo>
                  <a:lnTo>
                    <a:pt x="77" y="432"/>
                  </a:lnTo>
                  <a:lnTo>
                    <a:pt x="77" y="430"/>
                  </a:lnTo>
                  <a:lnTo>
                    <a:pt x="77" y="432"/>
                  </a:lnTo>
                  <a:lnTo>
                    <a:pt x="77" y="430"/>
                  </a:lnTo>
                  <a:lnTo>
                    <a:pt x="75" y="430"/>
                  </a:lnTo>
                  <a:lnTo>
                    <a:pt x="75" y="432"/>
                  </a:lnTo>
                  <a:lnTo>
                    <a:pt x="75" y="430"/>
                  </a:lnTo>
                  <a:lnTo>
                    <a:pt x="75" y="432"/>
                  </a:lnTo>
                  <a:lnTo>
                    <a:pt x="75" y="430"/>
                  </a:lnTo>
                  <a:lnTo>
                    <a:pt x="75" y="428"/>
                  </a:lnTo>
                  <a:lnTo>
                    <a:pt x="73" y="428"/>
                  </a:lnTo>
                  <a:lnTo>
                    <a:pt x="73" y="430"/>
                  </a:lnTo>
                  <a:lnTo>
                    <a:pt x="73" y="428"/>
                  </a:lnTo>
                  <a:lnTo>
                    <a:pt x="73" y="430"/>
                  </a:lnTo>
                  <a:lnTo>
                    <a:pt x="73" y="428"/>
                  </a:lnTo>
                  <a:lnTo>
                    <a:pt x="73" y="430"/>
                  </a:lnTo>
                  <a:lnTo>
                    <a:pt x="75" y="430"/>
                  </a:lnTo>
                  <a:lnTo>
                    <a:pt x="75" y="432"/>
                  </a:lnTo>
                  <a:lnTo>
                    <a:pt x="77" y="432"/>
                  </a:lnTo>
                  <a:lnTo>
                    <a:pt x="75" y="432"/>
                  </a:lnTo>
                  <a:lnTo>
                    <a:pt x="75" y="434"/>
                  </a:lnTo>
                  <a:lnTo>
                    <a:pt x="75" y="432"/>
                  </a:lnTo>
                  <a:lnTo>
                    <a:pt x="75" y="434"/>
                  </a:lnTo>
                  <a:lnTo>
                    <a:pt x="73" y="434"/>
                  </a:lnTo>
                  <a:lnTo>
                    <a:pt x="75" y="434"/>
                  </a:lnTo>
                  <a:lnTo>
                    <a:pt x="73" y="434"/>
                  </a:lnTo>
                  <a:lnTo>
                    <a:pt x="75" y="434"/>
                  </a:lnTo>
                  <a:lnTo>
                    <a:pt x="73" y="434"/>
                  </a:lnTo>
                  <a:lnTo>
                    <a:pt x="71" y="434"/>
                  </a:lnTo>
                  <a:lnTo>
                    <a:pt x="73" y="434"/>
                  </a:lnTo>
                  <a:lnTo>
                    <a:pt x="73" y="436"/>
                  </a:lnTo>
                  <a:lnTo>
                    <a:pt x="71" y="436"/>
                  </a:lnTo>
                  <a:lnTo>
                    <a:pt x="73" y="436"/>
                  </a:lnTo>
                  <a:lnTo>
                    <a:pt x="71" y="436"/>
                  </a:lnTo>
                  <a:lnTo>
                    <a:pt x="73" y="436"/>
                  </a:lnTo>
                  <a:lnTo>
                    <a:pt x="71" y="436"/>
                  </a:lnTo>
                  <a:lnTo>
                    <a:pt x="69" y="436"/>
                  </a:lnTo>
                  <a:lnTo>
                    <a:pt x="69" y="438"/>
                  </a:lnTo>
                  <a:lnTo>
                    <a:pt x="71" y="438"/>
                  </a:lnTo>
                  <a:lnTo>
                    <a:pt x="71" y="436"/>
                  </a:lnTo>
                  <a:lnTo>
                    <a:pt x="71" y="438"/>
                  </a:lnTo>
                  <a:lnTo>
                    <a:pt x="73" y="438"/>
                  </a:lnTo>
                  <a:lnTo>
                    <a:pt x="71" y="438"/>
                  </a:lnTo>
                  <a:lnTo>
                    <a:pt x="71" y="440"/>
                  </a:lnTo>
                  <a:lnTo>
                    <a:pt x="71" y="438"/>
                  </a:lnTo>
                  <a:lnTo>
                    <a:pt x="71" y="440"/>
                  </a:lnTo>
                  <a:lnTo>
                    <a:pt x="69" y="440"/>
                  </a:lnTo>
                  <a:lnTo>
                    <a:pt x="71" y="440"/>
                  </a:lnTo>
                  <a:lnTo>
                    <a:pt x="69" y="440"/>
                  </a:lnTo>
                  <a:lnTo>
                    <a:pt x="71" y="440"/>
                  </a:lnTo>
                  <a:lnTo>
                    <a:pt x="69" y="440"/>
                  </a:lnTo>
                  <a:lnTo>
                    <a:pt x="68" y="440"/>
                  </a:lnTo>
                  <a:lnTo>
                    <a:pt x="66" y="440"/>
                  </a:lnTo>
                  <a:lnTo>
                    <a:pt x="68" y="440"/>
                  </a:lnTo>
                  <a:lnTo>
                    <a:pt x="66" y="440"/>
                  </a:lnTo>
                  <a:lnTo>
                    <a:pt x="68" y="440"/>
                  </a:lnTo>
                  <a:lnTo>
                    <a:pt x="68" y="442"/>
                  </a:lnTo>
                  <a:lnTo>
                    <a:pt x="68" y="440"/>
                  </a:lnTo>
                  <a:lnTo>
                    <a:pt x="68" y="442"/>
                  </a:lnTo>
                  <a:lnTo>
                    <a:pt x="68" y="440"/>
                  </a:lnTo>
                  <a:lnTo>
                    <a:pt x="69" y="440"/>
                  </a:lnTo>
                  <a:lnTo>
                    <a:pt x="69" y="442"/>
                  </a:lnTo>
                  <a:lnTo>
                    <a:pt x="68" y="442"/>
                  </a:lnTo>
                  <a:lnTo>
                    <a:pt x="66" y="442"/>
                  </a:lnTo>
                  <a:lnTo>
                    <a:pt x="68" y="442"/>
                  </a:lnTo>
                  <a:lnTo>
                    <a:pt x="66" y="442"/>
                  </a:lnTo>
                  <a:lnTo>
                    <a:pt x="68" y="442"/>
                  </a:lnTo>
                  <a:lnTo>
                    <a:pt x="69" y="442"/>
                  </a:lnTo>
                  <a:lnTo>
                    <a:pt x="68" y="442"/>
                  </a:lnTo>
                  <a:lnTo>
                    <a:pt x="68" y="444"/>
                  </a:lnTo>
                  <a:lnTo>
                    <a:pt x="66" y="444"/>
                  </a:lnTo>
                  <a:lnTo>
                    <a:pt x="68" y="444"/>
                  </a:lnTo>
                  <a:lnTo>
                    <a:pt x="66" y="444"/>
                  </a:lnTo>
                  <a:lnTo>
                    <a:pt x="64" y="444"/>
                  </a:lnTo>
                  <a:lnTo>
                    <a:pt x="66" y="444"/>
                  </a:lnTo>
                  <a:lnTo>
                    <a:pt x="64" y="444"/>
                  </a:lnTo>
                  <a:lnTo>
                    <a:pt x="66" y="444"/>
                  </a:lnTo>
                  <a:lnTo>
                    <a:pt x="64" y="444"/>
                  </a:lnTo>
                  <a:lnTo>
                    <a:pt x="66" y="444"/>
                  </a:lnTo>
                  <a:lnTo>
                    <a:pt x="64" y="444"/>
                  </a:lnTo>
                  <a:lnTo>
                    <a:pt x="66" y="444"/>
                  </a:lnTo>
                  <a:lnTo>
                    <a:pt x="64" y="444"/>
                  </a:lnTo>
                  <a:lnTo>
                    <a:pt x="64" y="446"/>
                  </a:lnTo>
                  <a:lnTo>
                    <a:pt x="64" y="444"/>
                  </a:lnTo>
                  <a:lnTo>
                    <a:pt x="66" y="444"/>
                  </a:lnTo>
                  <a:lnTo>
                    <a:pt x="66" y="446"/>
                  </a:lnTo>
                  <a:lnTo>
                    <a:pt x="64" y="446"/>
                  </a:lnTo>
                  <a:lnTo>
                    <a:pt x="64" y="448"/>
                  </a:lnTo>
                  <a:lnTo>
                    <a:pt x="64" y="446"/>
                  </a:lnTo>
                  <a:lnTo>
                    <a:pt x="64" y="448"/>
                  </a:lnTo>
                  <a:lnTo>
                    <a:pt x="62" y="448"/>
                  </a:lnTo>
                  <a:lnTo>
                    <a:pt x="64" y="448"/>
                  </a:lnTo>
                  <a:lnTo>
                    <a:pt x="62" y="448"/>
                  </a:lnTo>
                  <a:lnTo>
                    <a:pt x="62" y="449"/>
                  </a:lnTo>
                  <a:lnTo>
                    <a:pt x="62" y="451"/>
                  </a:lnTo>
                  <a:lnTo>
                    <a:pt x="62" y="449"/>
                  </a:lnTo>
                  <a:lnTo>
                    <a:pt x="62" y="451"/>
                  </a:lnTo>
                  <a:lnTo>
                    <a:pt x="60" y="451"/>
                  </a:lnTo>
                  <a:lnTo>
                    <a:pt x="60" y="453"/>
                  </a:lnTo>
                  <a:lnTo>
                    <a:pt x="60" y="451"/>
                  </a:lnTo>
                  <a:lnTo>
                    <a:pt x="60" y="453"/>
                  </a:lnTo>
                  <a:lnTo>
                    <a:pt x="58" y="453"/>
                  </a:lnTo>
                  <a:lnTo>
                    <a:pt x="60" y="453"/>
                  </a:lnTo>
                  <a:lnTo>
                    <a:pt x="58" y="453"/>
                  </a:lnTo>
                  <a:lnTo>
                    <a:pt x="58" y="451"/>
                  </a:lnTo>
                  <a:lnTo>
                    <a:pt x="58" y="453"/>
                  </a:lnTo>
                  <a:lnTo>
                    <a:pt x="56" y="453"/>
                  </a:lnTo>
                  <a:lnTo>
                    <a:pt x="58" y="453"/>
                  </a:lnTo>
                  <a:lnTo>
                    <a:pt x="56" y="453"/>
                  </a:lnTo>
                  <a:lnTo>
                    <a:pt x="58" y="453"/>
                  </a:lnTo>
                  <a:lnTo>
                    <a:pt x="56" y="453"/>
                  </a:lnTo>
                  <a:lnTo>
                    <a:pt x="56" y="455"/>
                  </a:lnTo>
                  <a:lnTo>
                    <a:pt x="56" y="453"/>
                  </a:lnTo>
                  <a:lnTo>
                    <a:pt x="56" y="455"/>
                  </a:lnTo>
                  <a:lnTo>
                    <a:pt x="56" y="453"/>
                  </a:lnTo>
                  <a:lnTo>
                    <a:pt x="56" y="455"/>
                  </a:lnTo>
                  <a:lnTo>
                    <a:pt x="54" y="455"/>
                  </a:lnTo>
                  <a:lnTo>
                    <a:pt x="56" y="455"/>
                  </a:lnTo>
                  <a:lnTo>
                    <a:pt x="54" y="455"/>
                  </a:lnTo>
                  <a:lnTo>
                    <a:pt x="56" y="455"/>
                  </a:lnTo>
                  <a:lnTo>
                    <a:pt x="54" y="455"/>
                  </a:lnTo>
                  <a:lnTo>
                    <a:pt x="56" y="455"/>
                  </a:lnTo>
                  <a:lnTo>
                    <a:pt x="54" y="455"/>
                  </a:lnTo>
                  <a:lnTo>
                    <a:pt x="56" y="455"/>
                  </a:lnTo>
                  <a:lnTo>
                    <a:pt x="54" y="455"/>
                  </a:lnTo>
                  <a:lnTo>
                    <a:pt x="54" y="457"/>
                  </a:lnTo>
                  <a:lnTo>
                    <a:pt x="54" y="455"/>
                  </a:lnTo>
                  <a:lnTo>
                    <a:pt x="54" y="457"/>
                  </a:lnTo>
                  <a:lnTo>
                    <a:pt x="54" y="455"/>
                  </a:lnTo>
                  <a:lnTo>
                    <a:pt x="54" y="457"/>
                  </a:lnTo>
                  <a:lnTo>
                    <a:pt x="54" y="455"/>
                  </a:lnTo>
                  <a:lnTo>
                    <a:pt x="54" y="457"/>
                  </a:lnTo>
                  <a:lnTo>
                    <a:pt x="54" y="455"/>
                  </a:lnTo>
                  <a:lnTo>
                    <a:pt x="54" y="457"/>
                  </a:lnTo>
                  <a:lnTo>
                    <a:pt x="54" y="455"/>
                  </a:lnTo>
                  <a:lnTo>
                    <a:pt x="54" y="457"/>
                  </a:lnTo>
                  <a:lnTo>
                    <a:pt x="54" y="455"/>
                  </a:lnTo>
                  <a:lnTo>
                    <a:pt x="54" y="457"/>
                  </a:lnTo>
                  <a:lnTo>
                    <a:pt x="52" y="457"/>
                  </a:lnTo>
                  <a:lnTo>
                    <a:pt x="54" y="457"/>
                  </a:lnTo>
                  <a:lnTo>
                    <a:pt x="52" y="457"/>
                  </a:lnTo>
                  <a:lnTo>
                    <a:pt x="54" y="457"/>
                  </a:lnTo>
                  <a:lnTo>
                    <a:pt x="52" y="457"/>
                  </a:lnTo>
                  <a:lnTo>
                    <a:pt x="52" y="455"/>
                  </a:lnTo>
                  <a:lnTo>
                    <a:pt x="52" y="457"/>
                  </a:lnTo>
                  <a:lnTo>
                    <a:pt x="52" y="455"/>
                  </a:lnTo>
                  <a:lnTo>
                    <a:pt x="52" y="453"/>
                  </a:lnTo>
                  <a:lnTo>
                    <a:pt x="52" y="455"/>
                  </a:lnTo>
                  <a:lnTo>
                    <a:pt x="52" y="457"/>
                  </a:lnTo>
                  <a:lnTo>
                    <a:pt x="50" y="457"/>
                  </a:lnTo>
                  <a:lnTo>
                    <a:pt x="52" y="457"/>
                  </a:lnTo>
                  <a:lnTo>
                    <a:pt x="50" y="457"/>
                  </a:lnTo>
                  <a:lnTo>
                    <a:pt x="50" y="459"/>
                  </a:lnTo>
                  <a:lnTo>
                    <a:pt x="50" y="457"/>
                  </a:lnTo>
                  <a:lnTo>
                    <a:pt x="50" y="459"/>
                  </a:lnTo>
                  <a:lnTo>
                    <a:pt x="48" y="459"/>
                  </a:lnTo>
                  <a:lnTo>
                    <a:pt x="50" y="459"/>
                  </a:lnTo>
                  <a:lnTo>
                    <a:pt x="48" y="459"/>
                  </a:lnTo>
                  <a:lnTo>
                    <a:pt x="46" y="459"/>
                  </a:lnTo>
                  <a:lnTo>
                    <a:pt x="48" y="459"/>
                  </a:lnTo>
                  <a:lnTo>
                    <a:pt x="46" y="459"/>
                  </a:lnTo>
                  <a:lnTo>
                    <a:pt x="48" y="459"/>
                  </a:lnTo>
                  <a:lnTo>
                    <a:pt x="46" y="459"/>
                  </a:lnTo>
                  <a:lnTo>
                    <a:pt x="48" y="459"/>
                  </a:lnTo>
                  <a:lnTo>
                    <a:pt x="46" y="459"/>
                  </a:lnTo>
                  <a:lnTo>
                    <a:pt x="46" y="457"/>
                  </a:lnTo>
                  <a:lnTo>
                    <a:pt x="46" y="459"/>
                  </a:lnTo>
                  <a:lnTo>
                    <a:pt x="46" y="461"/>
                  </a:lnTo>
                  <a:lnTo>
                    <a:pt x="44" y="461"/>
                  </a:lnTo>
                  <a:lnTo>
                    <a:pt x="46" y="461"/>
                  </a:lnTo>
                  <a:lnTo>
                    <a:pt x="44" y="461"/>
                  </a:lnTo>
                  <a:lnTo>
                    <a:pt x="46" y="461"/>
                  </a:lnTo>
                  <a:lnTo>
                    <a:pt x="44" y="461"/>
                  </a:lnTo>
                  <a:lnTo>
                    <a:pt x="44" y="459"/>
                  </a:lnTo>
                  <a:lnTo>
                    <a:pt x="46" y="459"/>
                  </a:lnTo>
                  <a:lnTo>
                    <a:pt x="44" y="459"/>
                  </a:lnTo>
                  <a:lnTo>
                    <a:pt x="46" y="459"/>
                  </a:lnTo>
                  <a:lnTo>
                    <a:pt x="44" y="459"/>
                  </a:lnTo>
                  <a:lnTo>
                    <a:pt x="46" y="459"/>
                  </a:lnTo>
                  <a:lnTo>
                    <a:pt x="44" y="459"/>
                  </a:lnTo>
                  <a:lnTo>
                    <a:pt x="46" y="459"/>
                  </a:lnTo>
                  <a:lnTo>
                    <a:pt x="44" y="459"/>
                  </a:lnTo>
                  <a:lnTo>
                    <a:pt x="46" y="459"/>
                  </a:lnTo>
                  <a:lnTo>
                    <a:pt x="44" y="459"/>
                  </a:lnTo>
                  <a:lnTo>
                    <a:pt x="46" y="459"/>
                  </a:lnTo>
                  <a:lnTo>
                    <a:pt x="44" y="459"/>
                  </a:lnTo>
                  <a:lnTo>
                    <a:pt x="44" y="461"/>
                  </a:lnTo>
                  <a:lnTo>
                    <a:pt x="46" y="461"/>
                  </a:lnTo>
                  <a:lnTo>
                    <a:pt x="44" y="461"/>
                  </a:lnTo>
                  <a:lnTo>
                    <a:pt x="46" y="461"/>
                  </a:lnTo>
                  <a:lnTo>
                    <a:pt x="44" y="461"/>
                  </a:lnTo>
                  <a:lnTo>
                    <a:pt x="46" y="461"/>
                  </a:lnTo>
                  <a:lnTo>
                    <a:pt x="44" y="461"/>
                  </a:lnTo>
                  <a:lnTo>
                    <a:pt x="43" y="461"/>
                  </a:lnTo>
                  <a:lnTo>
                    <a:pt x="43" y="459"/>
                  </a:lnTo>
                  <a:lnTo>
                    <a:pt x="43" y="461"/>
                  </a:lnTo>
                  <a:lnTo>
                    <a:pt x="43" y="459"/>
                  </a:lnTo>
                  <a:lnTo>
                    <a:pt x="43" y="461"/>
                  </a:lnTo>
                  <a:lnTo>
                    <a:pt x="43" y="459"/>
                  </a:lnTo>
                  <a:lnTo>
                    <a:pt x="43" y="461"/>
                  </a:lnTo>
                  <a:lnTo>
                    <a:pt x="41" y="461"/>
                  </a:lnTo>
                  <a:lnTo>
                    <a:pt x="41" y="459"/>
                  </a:lnTo>
                  <a:lnTo>
                    <a:pt x="41" y="461"/>
                  </a:lnTo>
                  <a:lnTo>
                    <a:pt x="41" y="459"/>
                  </a:lnTo>
                  <a:lnTo>
                    <a:pt x="41" y="461"/>
                  </a:lnTo>
                  <a:lnTo>
                    <a:pt x="41" y="459"/>
                  </a:lnTo>
                  <a:lnTo>
                    <a:pt x="41" y="461"/>
                  </a:lnTo>
                  <a:lnTo>
                    <a:pt x="41" y="459"/>
                  </a:lnTo>
                  <a:lnTo>
                    <a:pt x="41" y="461"/>
                  </a:lnTo>
                  <a:lnTo>
                    <a:pt x="41" y="459"/>
                  </a:lnTo>
                  <a:lnTo>
                    <a:pt x="39" y="459"/>
                  </a:lnTo>
                  <a:lnTo>
                    <a:pt x="39" y="457"/>
                  </a:lnTo>
                  <a:lnTo>
                    <a:pt x="39" y="459"/>
                  </a:lnTo>
                  <a:lnTo>
                    <a:pt x="37" y="459"/>
                  </a:lnTo>
                  <a:lnTo>
                    <a:pt x="39" y="459"/>
                  </a:lnTo>
                  <a:lnTo>
                    <a:pt x="37" y="459"/>
                  </a:lnTo>
                  <a:lnTo>
                    <a:pt x="37" y="457"/>
                  </a:lnTo>
                  <a:lnTo>
                    <a:pt x="37" y="459"/>
                  </a:lnTo>
                  <a:lnTo>
                    <a:pt x="35" y="459"/>
                  </a:lnTo>
                  <a:lnTo>
                    <a:pt x="35" y="457"/>
                  </a:lnTo>
                  <a:lnTo>
                    <a:pt x="35" y="459"/>
                  </a:lnTo>
                  <a:lnTo>
                    <a:pt x="33" y="459"/>
                  </a:lnTo>
                  <a:lnTo>
                    <a:pt x="35" y="459"/>
                  </a:lnTo>
                  <a:lnTo>
                    <a:pt x="33" y="459"/>
                  </a:lnTo>
                  <a:lnTo>
                    <a:pt x="33" y="457"/>
                  </a:lnTo>
                  <a:lnTo>
                    <a:pt x="35" y="457"/>
                  </a:lnTo>
                  <a:lnTo>
                    <a:pt x="37" y="457"/>
                  </a:lnTo>
                  <a:lnTo>
                    <a:pt x="35" y="457"/>
                  </a:lnTo>
                  <a:lnTo>
                    <a:pt x="37" y="457"/>
                  </a:lnTo>
                  <a:lnTo>
                    <a:pt x="35" y="457"/>
                  </a:lnTo>
                  <a:lnTo>
                    <a:pt x="35" y="455"/>
                  </a:lnTo>
                  <a:lnTo>
                    <a:pt x="33" y="455"/>
                  </a:lnTo>
                  <a:lnTo>
                    <a:pt x="35" y="455"/>
                  </a:lnTo>
                  <a:lnTo>
                    <a:pt x="33" y="455"/>
                  </a:lnTo>
                  <a:lnTo>
                    <a:pt x="35" y="455"/>
                  </a:lnTo>
                  <a:lnTo>
                    <a:pt x="33" y="455"/>
                  </a:lnTo>
                  <a:lnTo>
                    <a:pt x="33" y="457"/>
                  </a:lnTo>
                  <a:lnTo>
                    <a:pt x="35" y="457"/>
                  </a:lnTo>
                  <a:lnTo>
                    <a:pt x="33" y="457"/>
                  </a:lnTo>
                  <a:lnTo>
                    <a:pt x="33" y="455"/>
                  </a:lnTo>
                  <a:lnTo>
                    <a:pt x="33" y="457"/>
                  </a:lnTo>
                  <a:lnTo>
                    <a:pt x="33" y="459"/>
                  </a:lnTo>
                  <a:lnTo>
                    <a:pt x="33" y="457"/>
                  </a:lnTo>
                  <a:lnTo>
                    <a:pt x="33" y="459"/>
                  </a:lnTo>
                  <a:lnTo>
                    <a:pt x="33" y="457"/>
                  </a:lnTo>
                  <a:lnTo>
                    <a:pt x="33" y="459"/>
                  </a:lnTo>
                  <a:lnTo>
                    <a:pt x="31" y="459"/>
                  </a:lnTo>
                  <a:lnTo>
                    <a:pt x="31" y="457"/>
                  </a:lnTo>
                  <a:lnTo>
                    <a:pt x="31" y="459"/>
                  </a:lnTo>
                  <a:lnTo>
                    <a:pt x="31" y="457"/>
                  </a:lnTo>
                  <a:lnTo>
                    <a:pt x="29" y="457"/>
                  </a:lnTo>
                  <a:lnTo>
                    <a:pt x="31" y="457"/>
                  </a:lnTo>
                  <a:lnTo>
                    <a:pt x="31" y="455"/>
                  </a:lnTo>
                  <a:lnTo>
                    <a:pt x="31" y="457"/>
                  </a:lnTo>
                  <a:lnTo>
                    <a:pt x="31" y="455"/>
                  </a:lnTo>
                  <a:lnTo>
                    <a:pt x="33" y="455"/>
                  </a:lnTo>
                  <a:lnTo>
                    <a:pt x="31" y="455"/>
                  </a:lnTo>
                  <a:lnTo>
                    <a:pt x="33" y="455"/>
                  </a:lnTo>
                  <a:lnTo>
                    <a:pt x="33" y="453"/>
                  </a:lnTo>
                  <a:lnTo>
                    <a:pt x="35" y="453"/>
                  </a:lnTo>
                  <a:lnTo>
                    <a:pt x="33" y="453"/>
                  </a:lnTo>
                  <a:lnTo>
                    <a:pt x="33" y="455"/>
                  </a:lnTo>
                  <a:lnTo>
                    <a:pt x="33" y="453"/>
                  </a:lnTo>
                  <a:lnTo>
                    <a:pt x="33" y="455"/>
                  </a:lnTo>
                  <a:lnTo>
                    <a:pt x="33" y="453"/>
                  </a:lnTo>
                  <a:lnTo>
                    <a:pt x="33" y="455"/>
                  </a:lnTo>
                  <a:lnTo>
                    <a:pt x="31" y="455"/>
                  </a:lnTo>
                  <a:lnTo>
                    <a:pt x="31" y="453"/>
                  </a:lnTo>
                  <a:lnTo>
                    <a:pt x="31" y="451"/>
                  </a:lnTo>
                  <a:lnTo>
                    <a:pt x="31" y="453"/>
                  </a:lnTo>
                  <a:lnTo>
                    <a:pt x="31" y="451"/>
                  </a:lnTo>
                  <a:lnTo>
                    <a:pt x="31" y="453"/>
                  </a:lnTo>
                  <a:lnTo>
                    <a:pt x="31" y="455"/>
                  </a:lnTo>
                  <a:lnTo>
                    <a:pt x="31" y="453"/>
                  </a:lnTo>
                  <a:lnTo>
                    <a:pt x="31" y="455"/>
                  </a:lnTo>
                  <a:lnTo>
                    <a:pt x="31" y="453"/>
                  </a:lnTo>
                  <a:lnTo>
                    <a:pt x="29" y="453"/>
                  </a:lnTo>
                  <a:lnTo>
                    <a:pt x="27" y="453"/>
                  </a:lnTo>
                  <a:lnTo>
                    <a:pt x="27" y="451"/>
                  </a:lnTo>
                  <a:lnTo>
                    <a:pt x="25" y="451"/>
                  </a:lnTo>
                  <a:lnTo>
                    <a:pt x="23" y="451"/>
                  </a:lnTo>
                  <a:lnTo>
                    <a:pt x="23" y="449"/>
                  </a:lnTo>
                  <a:lnTo>
                    <a:pt x="23" y="451"/>
                  </a:lnTo>
                  <a:lnTo>
                    <a:pt x="23" y="449"/>
                  </a:lnTo>
                  <a:lnTo>
                    <a:pt x="23" y="451"/>
                  </a:lnTo>
                  <a:lnTo>
                    <a:pt x="23" y="449"/>
                  </a:lnTo>
                  <a:lnTo>
                    <a:pt x="21" y="449"/>
                  </a:lnTo>
                  <a:lnTo>
                    <a:pt x="21" y="448"/>
                  </a:lnTo>
                  <a:lnTo>
                    <a:pt x="20" y="448"/>
                  </a:lnTo>
                  <a:lnTo>
                    <a:pt x="18" y="448"/>
                  </a:lnTo>
                  <a:lnTo>
                    <a:pt x="20" y="448"/>
                  </a:lnTo>
                  <a:lnTo>
                    <a:pt x="18" y="448"/>
                  </a:lnTo>
                  <a:lnTo>
                    <a:pt x="20" y="448"/>
                  </a:lnTo>
                  <a:lnTo>
                    <a:pt x="18" y="448"/>
                  </a:lnTo>
                  <a:lnTo>
                    <a:pt x="20" y="448"/>
                  </a:lnTo>
                  <a:lnTo>
                    <a:pt x="20" y="446"/>
                  </a:lnTo>
                  <a:lnTo>
                    <a:pt x="18" y="446"/>
                  </a:lnTo>
                  <a:lnTo>
                    <a:pt x="16" y="446"/>
                  </a:lnTo>
                  <a:lnTo>
                    <a:pt x="16" y="444"/>
                  </a:lnTo>
                  <a:lnTo>
                    <a:pt x="16" y="442"/>
                  </a:lnTo>
                  <a:lnTo>
                    <a:pt x="14" y="442"/>
                  </a:lnTo>
                  <a:lnTo>
                    <a:pt x="14" y="440"/>
                  </a:lnTo>
                  <a:lnTo>
                    <a:pt x="16" y="440"/>
                  </a:lnTo>
                  <a:lnTo>
                    <a:pt x="16" y="438"/>
                  </a:lnTo>
                  <a:lnTo>
                    <a:pt x="16" y="436"/>
                  </a:lnTo>
                  <a:lnTo>
                    <a:pt x="16" y="434"/>
                  </a:lnTo>
                  <a:lnTo>
                    <a:pt x="16" y="436"/>
                  </a:lnTo>
                  <a:lnTo>
                    <a:pt x="16" y="434"/>
                  </a:lnTo>
                  <a:lnTo>
                    <a:pt x="16" y="436"/>
                  </a:lnTo>
                  <a:lnTo>
                    <a:pt x="18" y="436"/>
                  </a:lnTo>
                  <a:lnTo>
                    <a:pt x="18" y="434"/>
                  </a:lnTo>
                  <a:lnTo>
                    <a:pt x="16" y="434"/>
                  </a:lnTo>
                  <a:lnTo>
                    <a:pt x="16" y="432"/>
                  </a:lnTo>
                  <a:lnTo>
                    <a:pt x="18" y="432"/>
                  </a:lnTo>
                  <a:lnTo>
                    <a:pt x="18" y="434"/>
                  </a:lnTo>
                  <a:lnTo>
                    <a:pt x="18" y="436"/>
                  </a:lnTo>
                  <a:lnTo>
                    <a:pt x="18" y="434"/>
                  </a:lnTo>
                  <a:lnTo>
                    <a:pt x="20" y="434"/>
                  </a:lnTo>
                  <a:lnTo>
                    <a:pt x="18" y="434"/>
                  </a:lnTo>
                  <a:lnTo>
                    <a:pt x="20" y="434"/>
                  </a:lnTo>
                  <a:lnTo>
                    <a:pt x="21" y="434"/>
                  </a:lnTo>
                  <a:lnTo>
                    <a:pt x="20" y="434"/>
                  </a:lnTo>
                  <a:lnTo>
                    <a:pt x="21" y="434"/>
                  </a:lnTo>
                  <a:lnTo>
                    <a:pt x="21" y="436"/>
                  </a:lnTo>
                  <a:lnTo>
                    <a:pt x="23" y="436"/>
                  </a:lnTo>
                  <a:lnTo>
                    <a:pt x="23" y="438"/>
                  </a:lnTo>
                  <a:lnTo>
                    <a:pt x="25" y="438"/>
                  </a:lnTo>
                  <a:lnTo>
                    <a:pt x="23" y="438"/>
                  </a:lnTo>
                  <a:lnTo>
                    <a:pt x="23" y="436"/>
                  </a:lnTo>
                  <a:lnTo>
                    <a:pt x="23" y="434"/>
                  </a:lnTo>
                  <a:lnTo>
                    <a:pt x="25" y="434"/>
                  </a:lnTo>
                  <a:lnTo>
                    <a:pt x="25" y="432"/>
                  </a:lnTo>
                  <a:lnTo>
                    <a:pt x="27" y="432"/>
                  </a:lnTo>
                  <a:lnTo>
                    <a:pt x="29" y="432"/>
                  </a:lnTo>
                  <a:lnTo>
                    <a:pt x="31" y="432"/>
                  </a:lnTo>
                  <a:lnTo>
                    <a:pt x="31" y="430"/>
                  </a:lnTo>
                  <a:lnTo>
                    <a:pt x="31" y="432"/>
                  </a:lnTo>
                  <a:lnTo>
                    <a:pt x="29" y="432"/>
                  </a:lnTo>
                  <a:lnTo>
                    <a:pt x="27" y="432"/>
                  </a:lnTo>
                  <a:lnTo>
                    <a:pt x="25" y="432"/>
                  </a:lnTo>
                  <a:lnTo>
                    <a:pt x="25" y="434"/>
                  </a:lnTo>
                  <a:lnTo>
                    <a:pt x="23" y="434"/>
                  </a:lnTo>
                  <a:lnTo>
                    <a:pt x="23" y="436"/>
                  </a:lnTo>
                  <a:lnTo>
                    <a:pt x="23" y="434"/>
                  </a:lnTo>
                  <a:lnTo>
                    <a:pt x="21" y="434"/>
                  </a:lnTo>
                  <a:lnTo>
                    <a:pt x="21" y="432"/>
                  </a:lnTo>
                  <a:lnTo>
                    <a:pt x="23" y="432"/>
                  </a:lnTo>
                  <a:lnTo>
                    <a:pt x="23" y="434"/>
                  </a:lnTo>
                  <a:lnTo>
                    <a:pt x="23" y="432"/>
                  </a:lnTo>
                  <a:lnTo>
                    <a:pt x="21" y="432"/>
                  </a:lnTo>
                  <a:lnTo>
                    <a:pt x="20" y="432"/>
                  </a:lnTo>
                  <a:lnTo>
                    <a:pt x="20" y="430"/>
                  </a:lnTo>
                  <a:lnTo>
                    <a:pt x="21" y="430"/>
                  </a:lnTo>
                  <a:lnTo>
                    <a:pt x="21" y="428"/>
                  </a:lnTo>
                  <a:lnTo>
                    <a:pt x="21" y="430"/>
                  </a:lnTo>
                  <a:lnTo>
                    <a:pt x="23" y="430"/>
                  </a:lnTo>
                  <a:lnTo>
                    <a:pt x="23" y="428"/>
                  </a:lnTo>
                  <a:lnTo>
                    <a:pt x="21" y="428"/>
                  </a:lnTo>
                  <a:lnTo>
                    <a:pt x="23" y="428"/>
                  </a:lnTo>
                  <a:lnTo>
                    <a:pt x="23" y="426"/>
                  </a:lnTo>
                  <a:lnTo>
                    <a:pt x="25" y="426"/>
                  </a:lnTo>
                  <a:lnTo>
                    <a:pt x="25" y="425"/>
                  </a:lnTo>
                  <a:lnTo>
                    <a:pt x="27" y="425"/>
                  </a:lnTo>
                  <a:lnTo>
                    <a:pt x="29" y="425"/>
                  </a:lnTo>
                  <a:lnTo>
                    <a:pt x="29" y="423"/>
                  </a:lnTo>
                  <a:lnTo>
                    <a:pt x="29" y="425"/>
                  </a:lnTo>
                  <a:lnTo>
                    <a:pt x="27" y="425"/>
                  </a:lnTo>
                  <a:lnTo>
                    <a:pt x="27" y="423"/>
                  </a:lnTo>
                  <a:lnTo>
                    <a:pt x="27" y="425"/>
                  </a:lnTo>
                  <a:lnTo>
                    <a:pt x="25" y="425"/>
                  </a:lnTo>
                  <a:lnTo>
                    <a:pt x="23" y="425"/>
                  </a:lnTo>
                  <a:lnTo>
                    <a:pt x="25" y="425"/>
                  </a:lnTo>
                  <a:lnTo>
                    <a:pt x="25" y="423"/>
                  </a:lnTo>
                  <a:lnTo>
                    <a:pt x="25" y="421"/>
                  </a:lnTo>
                  <a:lnTo>
                    <a:pt x="25" y="423"/>
                  </a:lnTo>
                  <a:lnTo>
                    <a:pt x="25" y="425"/>
                  </a:lnTo>
                  <a:lnTo>
                    <a:pt x="25" y="423"/>
                  </a:lnTo>
                  <a:lnTo>
                    <a:pt x="25" y="425"/>
                  </a:lnTo>
                  <a:lnTo>
                    <a:pt x="25" y="423"/>
                  </a:lnTo>
                  <a:lnTo>
                    <a:pt x="25" y="425"/>
                  </a:lnTo>
                  <a:lnTo>
                    <a:pt x="23" y="425"/>
                  </a:lnTo>
                  <a:lnTo>
                    <a:pt x="23" y="423"/>
                  </a:lnTo>
                  <a:lnTo>
                    <a:pt x="21" y="423"/>
                  </a:lnTo>
                  <a:lnTo>
                    <a:pt x="23" y="423"/>
                  </a:lnTo>
                  <a:lnTo>
                    <a:pt x="23" y="421"/>
                  </a:lnTo>
                  <a:lnTo>
                    <a:pt x="25" y="421"/>
                  </a:lnTo>
                  <a:lnTo>
                    <a:pt x="25" y="419"/>
                  </a:lnTo>
                  <a:lnTo>
                    <a:pt x="27" y="419"/>
                  </a:lnTo>
                  <a:lnTo>
                    <a:pt x="27" y="417"/>
                  </a:lnTo>
                  <a:lnTo>
                    <a:pt x="29" y="417"/>
                  </a:lnTo>
                  <a:lnTo>
                    <a:pt x="31" y="417"/>
                  </a:lnTo>
                  <a:lnTo>
                    <a:pt x="29" y="417"/>
                  </a:lnTo>
                  <a:lnTo>
                    <a:pt x="27" y="417"/>
                  </a:lnTo>
                  <a:lnTo>
                    <a:pt x="25" y="417"/>
                  </a:lnTo>
                  <a:lnTo>
                    <a:pt x="25" y="419"/>
                  </a:lnTo>
                  <a:lnTo>
                    <a:pt x="25" y="417"/>
                  </a:lnTo>
                  <a:lnTo>
                    <a:pt x="27" y="417"/>
                  </a:lnTo>
                  <a:lnTo>
                    <a:pt x="27" y="415"/>
                  </a:lnTo>
                  <a:lnTo>
                    <a:pt x="25" y="415"/>
                  </a:lnTo>
                  <a:lnTo>
                    <a:pt x="25" y="417"/>
                  </a:lnTo>
                  <a:lnTo>
                    <a:pt x="25" y="419"/>
                  </a:lnTo>
                  <a:lnTo>
                    <a:pt x="25" y="421"/>
                  </a:lnTo>
                  <a:lnTo>
                    <a:pt x="23" y="421"/>
                  </a:lnTo>
                  <a:lnTo>
                    <a:pt x="21" y="421"/>
                  </a:lnTo>
                  <a:lnTo>
                    <a:pt x="23" y="421"/>
                  </a:lnTo>
                  <a:lnTo>
                    <a:pt x="21" y="421"/>
                  </a:lnTo>
                  <a:lnTo>
                    <a:pt x="21" y="423"/>
                  </a:lnTo>
                  <a:lnTo>
                    <a:pt x="21" y="421"/>
                  </a:lnTo>
                  <a:lnTo>
                    <a:pt x="20" y="421"/>
                  </a:lnTo>
                  <a:lnTo>
                    <a:pt x="21" y="421"/>
                  </a:lnTo>
                  <a:lnTo>
                    <a:pt x="20" y="421"/>
                  </a:lnTo>
                  <a:lnTo>
                    <a:pt x="21" y="421"/>
                  </a:lnTo>
                  <a:lnTo>
                    <a:pt x="20" y="421"/>
                  </a:lnTo>
                  <a:lnTo>
                    <a:pt x="21" y="421"/>
                  </a:lnTo>
                  <a:lnTo>
                    <a:pt x="20" y="421"/>
                  </a:lnTo>
                  <a:lnTo>
                    <a:pt x="21" y="421"/>
                  </a:lnTo>
                  <a:lnTo>
                    <a:pt x="23" y="421"/>
                  </a:lnTo>
                  <a:lnTo>
                    <a:pt x="23" y="419"/>
                  </a:lnTo>
                  <a:lnTo>
                    <a:pt x="23" y="421"/>
                  </a:lnTo>
                  <a:lnTo>
                    <a:pt x="23" y="419"/>
                  </a:lnTo>
                  <a:lnTo>
                    <a:pt x="25" y="419"/>
                  </a:lnTo>
                  <a:lnTo>
                    <a:pt x="23" y="419"/>
                  </a:lnTo>
                  <a:lnTo>
                    <a:pt x="21" y="419"/>
                  </a:lnTo>
                  <a:lnTo>
                    <a:pt x="23" y="419"/>
                  </a:lnTo>
                  <a:lnTo>
                    <a:pt x="21" y="419"/>
                  </a:lnTo>
                  <a:lnTo>
                    <a:pt x="20" y="419"/>
                  </a:lnTo>
                  <a:lnTo>
                    <a:pt x="20" y="417"/>
                  </a:lnTo>
                  <a:lnTo>
                    <a:pt x="20" y="419"/>
                  </a:lnTo>
                  <a:lnTo>
                    <a:pt x="20" y="417"/>
                  </a:lnTo>
                  <a:lnTo>
                    <a:pt x="20" y="419"/>
                  </a:lnTo>
                  <a:lnTo>
                    <a:pt x="20" y="421"/>
                  </a:lnTo>
                  <a:lnTo>
                    <a:pt x="18" y="421"/>
                  </a:lnTo>
                  <a:lnTo>
                    <a:pt x="18" y="419"/>
                  </a:lnTo>
                  <a:lnTo>
                    <a:pt x="18" y="421"/>
                  </a:lnTo>
                  <a:lnTo>
                    <a:pt x="20" y="421"/>
                  </a:lnTo>
                  <a:lnTo>
                    <a:pt x="20" y="423"/>
                  </a:lnTo>
                  <a:lnTo>
                    <a:pt x="18" y="423"/>
                  </a:lnTo>
                  <a:lnTo>
                    <a:pt x="18" y="425"/>
                  </a:lnTo>
                  <a:lnTo>
                    <a:pt x="16" y="425"/>
                  </a:lnTo>
                  <a:lnTo>
                    <a:pt x="18" y="425"/>
                  </a:lnTo>
                  <a:lnTo>
                    <a:pt x="16" y="425"/>
                  </a:lnTo>
                  <a:lnTo>
                    <a:pt x="16" y="423"/>
                  </a:lnTo>
                  <a:lnTo>
                    <a:pt x="16" y="425"/>
                  </a:lnTo>
                  <a:lnTo>
                    <a:pt x="16" y="423"/>
                  </a:lnTo>
                  <a:lnTo>
                    <a:pt x="16" y="425"/>
                  </a:lnTo>
                  <a:lnTo>
                    <a:pt x="18" y="425"/>
                  </a:lnTo>
                  <a:lnTo>
                    <a:pt x="18" y="423"/>
                  </a:lnTo>
                  <a:lnTo>
                    <a:pt x="16" y="423"/>
                  </a:lnTo>
                  <a:lnTo>
                    <a:pt x="16" y="421"/>
                  </a:lnTo>
                  <a:lnTo>
                    <a:pt x="16" y="419"/>
                  </a:lnTo>
                  <a:lnTo>
                    <a:pt x="16" y="421"/>
                  </a:lnTo>
                  <a:lnTo>
                    <a:pt x="14" y="421"/>
                  </a:lnTo>
                  <a:lnTo>
                    <a:pt x="14" y="419"/>
                  </a:lnTo>
                  <a:lnTo>
                    <a:pt x="14" y="421"/>
                  </a:lnTo>
                  <a:lnTo>
                    <a:pt x="16" y="421"/>
                  </a:lnTo>
                  <a:lnTo>
                    <a:pt x="14" y="421"/>
                  </a:lnTo>
                  <a:lnTo>
                    <a:pt x="16" y="421"/>
                  </a:lnTo>
                  <a:lnTo>
                    <a:pt x="16" y="419"/>
                  </a:lnTo>
                  <a:lnTo>
                    <a:pt x="16" y="421"/>
                  </a:lnTo>
                  <a:lnTo>
                    <a:pt x="16" y="423"/>
                  </a:lnTo>
                  <a:lnTo>
                    <a:pt x="16" y="425"/>
                  </a:lnTo>
                  <a:lnTo>
                    <a:pt x="14" y="425"/>
                  </a:lnTo>
                  <a:lnTo>
                    <a:pt x="14" y="423"/>
                  </a:lnTo>
                  <a:lnTo>
                    <a:pt x="14" y="425"/>
                  </a:lnTo>
                  <a:lnTo>
                    <a:pt x="14" y="423"/>
                  </a:lnTo>
                  <a:lnTo>
                    <a:pt x="14" y="425"/>
                  </a:lnTo>
                  <a:lnTo>
                    <a:pt x="14" y="423"/>
                  </a:lnTo>
                  <a:lnTo>
                    <a:pt x="14" y="421"/>
                  </a:lnTo>
                  <a:lnTo>
                    <a:pt x="14" y="423"/>
                  </a:lnTo>
                  <a:lnTo>
                    <a:pt x="14" y="425"/>
                  </a:lnTo>
                  <a:lnTo>
                    <a:pt x="12" y="425"/>
                  </a:lnTo>
                  <a:lnTo>
                    <a:pt x="14" y="425"/>
                  </a:lnTo>
                  <a:lnTo>
                    <a:pt x="12" y="425"/>
                  </a:lnTo>
                  <a:lnTo>
                    <a:pt x="14" y="425"/>
                  </a:lnTo>
                  <a:lnTo>
                    <a:pt x="14" y="423"/>
                  </a:lnTo>
                  <a:lnTo>
                    <a:pt x="14" y="425"/>
                  </a:lnTo>
                  <a:lnTo>
                    <a:pt x="14" y="423"/>
                  </a:lnTo>
                  <a:lnTo>
                    <a:pt x="14" y="425"/>
                  </a:lnTo>
                  <a:lnTo>
                    <a:pt x="12" y="425"/>
                  </a:lnTo>
                  <a:lnTo>
                    <a:pt x="12" y="423"/>
                  </a:lnTo>
                  <a:lnTo>
                    <a:pt x="12" y="425"/>
                  </a:lnTo>
                  <a:lnTo>
                    <a:pt x="12" y="423"/>
                  </a:lnTo>
                  <a:lnTo>
                    <a:pt x="14" y="423"/>
                  </a:lnTo>
                  <a:lnTo>
                    <a:pt x="12" y="423"/>
                  </a:lnTo>
                  <a:lnTo>
                    <a:pt x="14" y="423"/>
                  </a:lnTo>
                  <a:lnTo>
                    <a:pt x="12" y="423"/>
                  </a:lnTo>
                  <a:lnTo>
                    <a:pt x="14" y="423"/>
                  </a:lnTo>
                  <a:lnTo>
                    <a:pt x="12" y="423"/>
                  </a:lnTo>
                  <a:lnTo>
                    <a:pt x="14" y="423"/>
                  </a:lnTo>
                  <a:lnTo>
                    <a:pt x="12" y="423"/>
                  </a:lnTo>
                  <a:lnTo>
                    <a:pt x="14" y="423"/>
                  </a:lnTo>
                  <a:lnTo>
                    <a:pt x="12" y="423"/>
                  </a:lnTo>
                  <a:lnTo>
                    <a:pt x="14" y="423"/>
                  </a:lnTo>
                  <a:lnTo>
                    <a:pt x="12" y="421"/>
                  </a:lnTo>
                  <a:lnTo>
                    <a:pt x="12" y="423"/>
                  </a:lnTo>
                  <a:lnTo>
                    <a:pt x="12" y="421"/>
                  </a:lnTo>
                  <a:lnTo>
                    <a:pt x="10" y="421"/>
                  </a:lnTo>
                  <a:lnTo>
                    <a:pt x="10" y="419"/>
                  </a:lnTo>
                  <a:lnTo>
                    <a:pt x="12" y="419"/>
                  </a:lnTo>
                  <a:lnTo>
                    <a:pt x="10" y="419"/>
                  </a:lnTo>
                  <a:lnTo>
                    <a:pt x="12" y="419"/>
                  </a:lnTo>
                  <a:lnTo>
                    <a:pt x="10" y="419"/>
                  </a:lnTo>
                  <a:lnTo>
                    <a:pt x="12" y="419"/>
                  </a:lnTo>
                  <a:lnTo>
                    <a:pt x="10" y="419"/>
                  </a:lnTo>
                  <a:lnTo>
                    <a:pt x="12" y="419"/>
                  </a:lnTo>
                  <a:lnTo>
                    <a:pt x="12" y="417"/>
                  </a:lnTo>
                  <a:lnTo>
                    <a:pt x="12" y="419"/>
                  </a:lnTo>
                  <a:lnTo>
                    <a:pt x="10" y="419"/>
                  </a:lnTo>
                  <a:lnTo>
                    <a:pt x="10" y="417"/>
                  </a:lnTo>
                  <a:lnTo>
                    <a:pt x="10" y="419"/>
                  </a:lnTo>
                  <a:lnTo>
                    <a:pt x="10" y="417"/>
                  </a:lnTo>
                  <a:lnTo>
                    <a:pt x="12" y="417"/>
                  </a:lnTo>
                  <a:lnTo>
                    <a:pt x="10" y="417"/>
                  </a:lnTo>
                  <a:lnTo>
                    <a:pt x="12" y="417"/>
                  </a:lnTo>
                  <a:lnTo>
                    <a:pt x="12" y="415"/>
                  </a:lnTo>
                  <a:lnTo>
                    <a:pt x="12" y="417"/>
                  </a:lnTo>
                  <a:lnTo>
                    <a:pt x="12" y="415"/>
                  </a:lnTo>
                  <a:lnTo>
                    <a:pt x="14" y="415"/>
                  </a:lnTo>
                  <a:lnTo>
                    <a:pt x="14" y="417"/>
                  </a:lnTo>
                  <a:lnTo>
                    <a:pt x="14" y="415"/>
                  </a:lnTo>
                  <a:lnTo>
                    <a:pt x="14" y="413"/>
                  </a:lnTo>
                  <a:lnTo>
                    <a:pt x="14" y="415"/>
                  </a:lnTo>
                  <a:lnTo>
                    <a:pt x="14" y="413"/>
                  </a:lnTo>
                  <a:lnTo>
                    <a:pt x="14" y="411"/>
                  </a:lnTo>
                  <a:lnTo>
                    <a:pt x="16" y="411"/>
                  </a:lnTo>
                  <a:lnTo>
                    <a:pt x="16" y="413"/>
                  </a:lnTo>
                  <a:lnTo>
                    <a:pt x="14" y="413"/>
                  </a:lnTo>
                  <a:lnTo>
                    <a:pt x="16" y="413"/>
                  </a:lnTo>
                  <a:lnTo>
                    <a:pt x="14" y="413"/>
                  </a:lnTo>
                  <a:lnTo>
                    <a:pt x="16" y="413"/>
                  </a:lnTo>
                  <a:lnTo>
                    <a:pt x="14" y="413"/>
                  </a:lnTo>
                  <a:lnTo>
                    <a:pt x="16" y="413"/>
                  </a:lnTo>
                  <a:lnTo>
                    <a:pt x="14" y="413"/>
                  </a:lnTo>
                  <a:lnTo>
                    <a:pt x="16" y="413"/>
                  </a:lnTo>
                  <a:lnTo>
                    <a:pt x="16" y="415"/>
                  </a:lnTo>
                  <a:lnTo>
                    <a:pt x="14" y="415"/>
                  </a:lnTo>
                  <a:lnTo>
                    <a:pt x="16" y="415"/>
                  </a:lnTo>
                  <a:lnTo>
                    <a:pt x="14" y="415"/>
                  </a:lnTo>
                  <a:lnTo>
                    <a:pt x="14" y="417"/>
                  </a:lnTo>
                  <a:lnTo>
                    <a:pt x="16" y="417"/>
                  </a:lnTo>
                  <a:lnTo>
                    <a:pt x="14" y="417"/>
                  </a:lnTo>
                  <a:lnTo>
                    <a:pt x="14" y="419"/>
                  </a:lnTo>
                  <a:lnTo>
                    <a:pt x="14" y="417"/>
                  </a:lnTo>
                  <a:lnTo>
                    <a:pt x="14" y="419"/>
                  </a:lnTo>
                  <a:lnTo>
                    <a:pt x="14" y="417"/>
                  </a:lnTo>
                  <a:lnTo>
                    <a:pt x="14" y="419"/>
                  </a:lnTo>
                  <a:lnTo>
                    <a:pt x="14" y="417"/>
                  </a:lnTo>
                  <a:lnTo>
                    <a:pt x="14" y="419"/>
                  </a:lnTo>
                  <a:lnTo>
                    <a:pt x="14" y="417"/>
                  </a:lnTo>
                  <a:lnTo>
                    <a:pt x="16" y="417"/>
                  </a:lnTo>
                  <a:lnTo>
                    <a:pt x="16" y="419"/>
                  </a:lnTo>
                  <a:lnTo>
                    <a:pt x="16" y="417"/>
                  </a:lnTo>
                  <a:lnTo>
                    <a:pt x="16" y="415"/>
                  </a:lnTo>
                  <a:lnTo>
                    <a:pt x="16" y="413"/>
                  </a:lnTo>
                  <a:lnTo>
                    <a:pt x="18" y="413"/>
                  </a:lnTo>
                  <a:lnTo>
                    <a:pt x="18" y="415"/>
                  </a:lnTo>
                  <a:lnTo>
                    <a:pt x="20" y="415"/>
                  </a:lnTo>
                  <a:lnTo>
                    <a:pt x="18" y="415"/>
                  </a:lnTo>
                  <a:lnTo>
                    <a:pt x="20" y="415"/>
                  </a:lnTo>
                  <a:lnTo>
                    <a:pt x="18" y="415"/>
                  </a:lnTo>
                  <a:lnTo>
                    <a:pt x="20" y="415"/>
                  </a:lnTo>
                  <a:lnTo>
                    <a:pt x="21" y="415"/>
                  </a:lnTo>
                  <a:lnTo>
                    <a:pt x="20" y="415"/>
                  </a:lnTo>
                  <a:lnTo>
                    <a:pt x="20" y="413"/>
                  </a:lnTo>
                  <a:lnTo>
                    <a:pt x="21" y="413"/>
                  </a:lnTo>
                  <a:lnTo>
                    <a:pt x="20" y="413"/>
                  </a:lnTo>
                  <a:lnTo>
                    <a:pt x="20" y="415"/>
                  </a:lnTo>
                  <a:lnTo>
                    <a:pt x="20" y="413"/>
                  </a:lnTo>
                  <a:lnTo>
                    <a:pt x="18" y="413"/>
                  </a:lnTo>
                  <a:lnTo>
                    <a:pt x="20" y="413"/>
                  </a:lnTo>
                  <a:lnTo>
                    <a:pt x="18" y="413"/>
                  </a:lnTo>
                  <a:lnTo>
                    <a:pt x="20" y="413"/>
                  </a:lnTo>
                  <a:lnTo>
                    <a:pt x="20" y="411"/>
                  </a:lnTo>
                  <a:lnTo>
                    <a:pt x="21" y="411"/>
                  </a:lnTo>
                  <a:lnTo>
                    <a:pt x="23" y="411"/>
                  </a:lnTo>
                  <a:lnTo>
                    <a:pt x="23" y="409"/>
                  </a:lnTo>
                  <a:lnTo>
                    <a:pt x="25" y="409"/>
                  </a:lnTo>
                  <a:lnTo>
                    <a:pt x="27" y="409"/>
                  </a:lnTo>
                  <a:lnTo>
                    <a:pt x="27" y="407"/>
                  </a:lnTo>
                  <a:lnTo>
                    <a:pt x="27" y="409"/>
                  </a:lnTo>
                  <a:lnTo>
                    <a:pt x="25" y="409"/>
                  </a:lnTo>
                  <a:lnTo>
                    <a:pt x="23" y="409"/>
                  </a:lnTo>
                  <a:lnTo>
                    <a:pt x="23" y="411"/>
                  </a:lnTo>
                  <a:lnTo>
                    <a:pt x="23" y="409"/>
                  </a:lnTo>
                  <a:lnTo>
                    <a:pt x="23" y="411"/>
                  </a:lnTo>
                  <a:lnTo>
                    <a:pt x="21" y="411"/>
                  </a:lnTo>
                  <a:lnTo>
                    <a:pt x="21" y="409"/>
                  </a:lnTo>
                  <a:lnTo>
                    <a:pt x="21" y="407"/>
                  </a:lnTo>
                  <a:lnTo>
                    <a:pt x="21" y="409"/>
                  </a:lnTo>
                  <a:lnTo>
                    <a:pt x="20" y="409"/>
                  </a:lnTo>
                  <a:lnTo>
                    <a:pt x="20" y="411"/>
                  </a:lnTo>
                  <a:lnTo>
                    <a:pt x="20" y="409"/>
                  </a:lnTo>
                  <a:lnTo>
                    <a:pt x="18" y="409"/>
                  </a:lnTo>
                  <a:lnTo>
                    <a:pt x="20" y="409"/>
                  </a:lnTo>
                  <a:lnTo>
                    <a:pt x="18" y="409"/>
                  </a:lnTo>
                  <a:lnTo>
                    <a:pt x="18" y="407"/>
                  </a:lnTo>
                  <a:lnTo>
                    <a:pt x="18" y="409"/>
                  </a:lnTo>
                  <a:lnTo>
                    <a:pt x="18" y="407"/>
                  </a:lnTo>
                  <a:lnTo>
                    <a:pt x="20" y="407"/>
                  </a:lnTo>
                  <a:lnTo>
                    <a:pt x="20" y="405"/>
                  </a:lnTo>
                  <a:lnTo>
                    <a:pt x="18" y="405"/>
                  </a:lnTo>
                  <a:lnTo>
                    <a:pt x="20" y="405"/>
                  </a:lnTo>
                  <a:lnTo>
                    <a:pt x="21" y="405"/>
                  </a:lnTo>
                  <a:lnTo>
                    <a:pt x="21" y="403"/>
                  </a:lnTo>
                  <a:lnTo>
                    <a:pt x="21" y="401"/>
                  </a:lnTo>
                  <a:lnTo>
                    <a:pt x="23" y="401"/>
                  </a:lnTo>
                  <a:lnTo>
                    <a:pt x="25" y="401"/>
                  </a:lnTo>
                  <a:lnTo>
                    <a:pt x="25" y="400"/>
                  </a:lnTo>
                  <a:lnTo>
                    <a:pt x="27" y="400"/>
                  </a:lnTo>
                  <a:lnTo>
                    <a:pt x="25" y="400"/>
                  </a:lnTo>
                  <a:lnTo>
                    <a:pt x="25" y="401"/>
                  </a:lnTo>
                  <a:lnTo>
                    <a:pt x="23" y="401"/>
                  </a:lnTo>
                  <a:lnTo>
                    <a:pt x="23" y="400"/>
                  </a:lnTo>
                  <a:lnTo>
                    <a:pt x="23" y="398"/>
                  </a:lnTo>
                  <a:lnTo>
                    <a:pt x="25" y="398"/>
                  </a:lnTo>
                  <a:lnTo>
                    <a:pt x="25" y="396"/>
                  </a:lnTo>
                  <a:lnTo>
                    <a:pt x="25" y="394"/>
                  </a:lnTo>
                  <a:lnTo>
                    <a:pt x="25" y="396"/>
                  </a:lnTo>
                  <a:lnTo>
                    <a:pt x="25" y="394"/>
                  </a:lnTo>
                  <a:lnTo>
                    <a:pt x="27" y="394"/>
                  </a:lnTo>
                  <a:lnTo>
                    <a:pt x="29" y="394"/>
                  </a:lnTo>
                  <a:lnTo>
                    <a:pt x="29" y="392"/>
                  </a:lnTo>
                  <a:lnTo>
                    <a:pt x="31" y="392"/>
                  </a:lnTo>
                  <a:lnTo>
                    <a:pt x="31" y="394"/>
                  </a:lnTo>
                  <a:lnTo>
                    <a:pt x="31" y="396"/>
                  </a:lnTo>
                  <a:lnTo>
                    <a:pt x="29" y="396"/>
                  </a:lnTo>
                  <a:lnTo>
                    <a:pt x="29" y="398"/>
                  </a:lnTo>
                  <a:lnTo>
                    <a:pt x="29" y="400"/>
                  </a:lnTo>
                  <a:lnTo>
                    <a:pt x="29" y="401"/>
                  </a:lnTo>
                  <a:lnTo>
                    <a:pt x="29" y="400"/>
                  </a:lnTo>
                  <a:lnTo>
                    <a:pt x="31" y="400"/>
                  </a:lnTo>
                  <a:lnTo>
                    <a:pt x="29" y="400"/>
                  </a:lnTo>
                  <a:lnTo>
                    <a:pt x="31" y="400"/>
                  </a:lnTo>
                  <a:lnTo>
                    <a:pt x="29" y="400"/>
                  </a:lnTo>
                  <a:lnTo>
                    <a:pt x="31" y="400"/>
                  </a:lnTo>
                  <a:lnTo>
                    <a:pt x="29" y="400"/>
                  </a:lnTo>
                  <a:lnTo>
                    <a:pt x="31" y="400"/>
                  </a:lnTo>
                  <a:lnTo>
                    <a:pt x="31" y="398"/>
                  </a:lnTo>
                  <a:lnTo>
                    <a:pt x="31" y="396"/>
                  </a:lnTo>
                  <a:lnTo>
                    <a:pt x="31" y="394"/>
                  </a:lnTo>
                  <a:lnTo>
                    <a:pt x="31" y="392"/>
                  </a:lnTo>
                  <a:lnTo>
                    <a:pt x="33" y="394"/>
                  </a:lnTo>
                  <a:lnTo>
                    <a:pt x="33" y="392"/>
                  </a:lnTo>
                  <a:lnTo>
                    <a:pt x="33" y="394"/>
                  </a:lnTo>
                  <a:lnTo>
                    <a:pt x="33" y="392"/>
                  </a:lnTo>
                  <a:lnTo>
                    <a:pt x="33" y="390"/>
                  </a:lnTo>
                  <a:lnTo>
                    <a:pt x="35" y="390"/>
                  </a:lnTo>
                  <a:lnTo>
                    <a:pt x="37" y="390"/>
                  </a:lnTo>
                  <a:lnTo>
                    <a:pt x="39" y="390"/>
                  </a:lnTo>
                  <a:lnTo>
                    <a:pt x="37" y="390"/>
                  </a:lnTo>
                  <a:lnTo>
                    <a:pt x="35" y="390"/>
                  </a:lnTo>
                  <a:lnTo>
                    <a:pt x="35" y="388"/>
                  </a:lnTo>
                  <a:lnTo>
                    <a:pt x="37" y="388"/>
                  </a:lnTo>
                  <a:lnTo>
                    <a:pt x="37" y="386"/>
                  </a:lnTo>
                  <a:lnTo>
                    <a:pt x="37" y="388"/>
                  </a:lnTo>
                  <a:lnTo>
                    <a:pt x="35" y="388"/>
                  </a:lnTo>
                  <a:lnTo>
                    <a:pt x="35" y="386"/>
                  </a:lnTo>
                  <a:lnTo>
                    <a:pt x="35" y="388"/>
                  </a:lnTo>
                  <a:lnTo>
                    <a:pt x="35" y="390"/>
                  </a:lnTo>
                  <a:lnTo>
                    <a:pt x="33" y="390"/>
                  </a:lnTo>
                  <a:lnTo>
                    <a:pt x="33" y="392"/>
                  </a:lnTo>
                  <a:lnTo>
                    <a:pt x="31" y="392"/>
                  </a:lnTo>
                  <a:lnTo>
                    <a:pt x="31" y="390"/>
                  </a:lnTo>
                  <a:lnTo>
                    <a:pt x="31" y="388"/>
                  </a:lnTo>
                  <a:lnTo>
                    <a:pt x="33" y="388"/>
                  </a:lnTo>
                  <a:lnTo>
                    <a:pt x="31" y="388"/>
                  </a:lnTo>
                  <a:lnTo>
                    <a:pt x="31" y="390"/>
                  </a:lnTo>
                  <a:lnTo>
                    <a:pt x="29" y="390"/>
                  </a:lnTo>
                  <a:lnTo>
                    <a:pt x="29" y="392"/>
                  </a:lnTo>
                  <a:lnTo>
                    <a:pt x="27" y="392"/>
                  </a:lnTo>
                  <a:lnTo>
                    <a:pt x="25" y="392"/>
                  </a:lnTo>
                  <a:lnTo>
                    <a:pt x="25" y="390"/>
                  </a:lnTo>
                  <a:lnTo>
                    <a:pt x="25" y="392"/>
                  </a:lnTo>
                  <a:lnTo>
                    <a:pt x="25" y="394"/>
                  </a:lnTo>
                  <a:lnTo>
                    <a:pt x="25" y="392"/>
                  </a:lnTo>
                  <a:lnTo>
                    <a:pt x="25" y="394"/>
                  </a:lnTo>
                  <a:lnTo>
                    <a:pt x="23" y="394"/>
                  </a:lnTo>
                  <a:lnTo>
                    <a:pt x="25" y="394"/>
                  </a:lnTo>
                  <a:lnTo>
                    <a:pt x="23" y="394"/>
                  </a:lnTo>
                  <a:lnTo>
                    <a:pt x="25" y="394"/>
                  </a:lnTo>
                  <a:lnTo>
                    <a:pt x="23" y="394"/>
                  </a:lnTo>
                  <a:lnTo>
                    <a:pt x="23" y="396"/>
                  </a:lnTo>
                  <a:lnTo>
                    <a:pt x="25" y="396"/>
                  </a:lnTo>
                  <a:lnTo>
                    <a:pt x="23" y="396"/>
                  </a:lnTo>
                  <a:lnTo>
                    <a:pt x="23" y="398"/>
                  </a:lnTo>
                  <a:lnTo>
                    <a:pt x="23" y="396"/>
                  </a:lnTo>
                  <a:lnTo>
                    <a:pt x="21" y="396"/>
                  </a:lnTo>
                  <a:lnTo>
                    <a:pt x="21" y="398"/>
                  </a:lnTo>
                  <a:lnTo>
                    <a:pt x="21" y="396"/>
                  </a:lnTo>
                  <a:lnTo>
                    <a:pt x="21" y="398"/>
                  </a:lnTo>
                  <a:lnTo>
                    <a:pt x="21" y="400"/>
                  </a:lnTo>
                  <a:lnTo>
                    <a:pt x="20" y="400"/>
                  </a:lnTo>
                  <a:lnTo>
                    <a:pt x="20" y="401"/>
                  </a:lnTo>
                  <a:lnTo>
                    <a:pt x="21" y="401"/>
                  </a:lnTo>
                  <a:lnTo>
                    <a:pt x="20" y="401"/>
                  </a:lnTo>
                  <a:lnTo>
                    <a:pt x="21" y="401"/>
                  </a:lnTo>
                  <a:lnTo>
                    <a:pt x="20" y="401"/>
                  </a:lnTo>
                  <a:lnTo>
                    <a:pt x="21" y="401"/>
                  </a:lnTo>
                  <a:lnTo>
                    <a:pt x="20" y="401"/>
                  </a:lnTo>
                  <a:lnTo>
                    <a:pt x="21" y="401"/>
                  </a:lnTo>
                  <a:lnTo>
                    <a:pt x="20" y="401"/>
                  </a:lnTo>
                  <a:lnTo>
                    <a:pt x="21" y="401"/>
                  </a:lnTo>
                  <a:lnTo>
                    <a:pt x="21" y="403"/>
                  </a:lnTo>
                  <a:lnTo>
                    <a:pt x="20" y="403"/>
                  </a:lnTo>
                  <a:lnTo>
                    <a:pt x="21" y="403"/>
                  </a:lnTo>
                  <a:lnTo>
                    <a:pt x="20" y="403"/>
                  </a:lnTo>
                  <a:lnTo>
                    <a:pt x="20" y="405"/>
                  </a:lnTo>
                  <a:lnTo>
                    <a:pt x="20" y="403"/>
                  </a:lnTo>
                  <a:lnTo>
                    <a:pt x="18" y="403"/>
                  </a:lnTo>
                  <a:lnTo>
                    <a:pt x="20" y="403"/>
                  </a:lnTo>
                  <a:lnTo>
                    <a:pt x="18" y="403"/>
                  </a:lnTo>
                  <a:lnTo>
                    <a:pt x="18" y="405"/>
                  </a:lnTo>
                  <a:lnTo>
                    <a:pt x="18" y="403"/>
                  </a:lnTo>
                  <a:lnTo>
                    <a:pt x="18" y="401"/>
                  </a:lnTo>
                  <a:lnTo>
                    <a:pt x="18" y="403"/>
                  </a:lnTo>
                  <a:lnTo>
                    <a:pt x="18" y="401"/>
                  </a:lnTo>
                  <a:lnTo>
                    <a:pt x="20" y="401"/>
                  </a:lnTo>
                  <a:lnTo>
                    <a:pt x="18" y="401"/>
                  </a:lnTo>
                  <a:lnTo>
                    <a:pt x="20" y="401"/>
                  </a:lnTo>
                  <a:lnTo>
                    <a:pt x="20" y="403"/>
                  </a:lnTo>
                  <a:lnTo>
                    <a:pt x="20" y="401"/>
                  </a:lnTo>
                  <a:lnTo>
                    <a:pt x="18" y="401"/>
                  </a:lnTo>
                  <a:lnTo>
                    <a:pt x="18" y="400"/>
                  </a:lnTo>
                  <a:lnTo>
                    <a:pt x="18" y="401"/>
                  </a:lnTo>
                  <a:lnTo>
                    <a:pt x="18" y="400"/>
                  </a:lnTo>
                  <a:lnTo>
                    <a:pt x="18" y="398"/>
                  </a:lnTo>
                  <a:lnTo>
                    <a:pt x="18" y="400"/>
                  </a:lnTo>
                  <a:lnTo>
                    <a:pt x="18" y="398"/>
                  </a:lnTo>
                  <a:lnTo>
                    <a:pt x="18" y="400"/>
                  </a:lnTo>
                  <a:lnTo>
                    <a:pt x="18" y="398"/>
                  </a:lnTo>
                  <a:lnTo>
                    <a:pt x="18" y="400"/>
                  </a:lnTo>
                  <a:lnTo>
                    <a:pt x="18" y="398"/>
                  </a:lnTo>
                  <a:lnTo>
                    <a:pt x="18" y="400"/>
                  </a:lnTo>
                  <a:lnTo>
                    <a:pt x="16" y="400"/>
                  </a:lnTo>
                  <a:lnTo>
                    <a:pt x="16" y="398"/>
                  </a:lnTo>
                  <a:lnTo>
                    <a:pt x="18" y="398"/>
                  </a:lnTo>
                  <a:lnTo>
                    <a:pt x="16" y="398"/>
                  </a:lnTo>
                  <a:lnTo>
                    <a:pt x="16" y="396"/>
                  </a:lnTo>
                  <a:lnTo>
                    <a:pt x="18" y="396"/>
                  </a:lnTo>
                  <a:lnTo>
                    <a:pt x="16" y="396"/>
                  </a:lnTo>
                  <a:lnTo>
                    <a:pt x="16" y="398"/>
                  </a:lnTo>
                  <a:lnTo>
                    <a:pt x="16" y="396"/>
                  </a:lnTo>
                  <a:lnTo>
                    <a:pt x="18" y="396"/>
                  </a:lnTo>
                  <a:lnTo>
                    <a:pt x="16" y="396"/>
                  </a:lnTo>
                  <a:lnTo>
                    <a:pt x="18" y="396"/>
                  </a:lnTo>
                  <a:lnTo>
                    <a:pt x="16" y="396"/>
                  </a:lnTo>
                  <a:lnTo>
                    <a:pt x="16" y="394"/>
                  </a:lnTo>
                  <a:lnTo>
                    <a:pt x="18" y="394"/>
                  </a:lnTo>
                  <a:lnTo>
                    <a:pt x="16" y="394"/>
                  </a:lnTo>
                  <a:lnTo>
                    <a:pt x="18" y="394"/>
                  </a:lnTo>
                  <a:lnTo>
                    <a:pt x="18" y="392"/>
                  </a:lnTo>
                  <a:lnTo>
                    <a:pt x="18" y="394"/>
                  </a:lnTo>
                  <a:lnTo>
                    <a:pt x="16" y="394"/>
                  </a:lnTo>
                  <a:lnTo>
                    <a:pt x="18" y="394"/>
                  </a:lnTo>
                  <a:lnTo>
                    <a:pt x="16" y="394"/>
                  </a:lnTo>
                  <a:lnTo>
                    <a:pt x="18" y="394"/>
                  </a:lnTo>
                  <a:lnTo>
                    <a:pt x="16" y="394"/>
                  </a:lnTo>
                  <a:lnTo>
                    <a:pt x="18" y="394"/>
                  </a:lnTo>
                  <a:lnTo>
                    <a:pt x="16" y="394"/>
                  </a:lnTo>
                  <a:lnTo>
                    <a:pt x="16" y="396"/>
                  </a:lnTo>
                  <a:lnTo>
                    <a:pt x="16" y="398"/>
                  </a:lnTo>
                  <a:lnTo>
                    <a:pt x="14" y="398"/>
                  </a:lnTo>
                  <a:lnTo>
                    <a:pt x="14" y="400"/>
                  </a:lnTo>
                  <a:lnTo>
                    <a:pt x="14" y="398"/>
                  </a:lnTo>
                  <a:lnTo>
                    <a:pt x="14" y="400"/>
                  </a:lnTo>
                  <a:lnTo>
                    <a:pt x="12" y="400"/>
                  </a:lnTo>
                  <a:lnTo>
                    <a:pt x="12" y="398"/>
                  </a:lnTo>
                  <a:lnTo>
                    <a:pt x="10" y="398"/>
                  </a:lnTo>
                  <a:lnTo>
                    <a:pt x="12" y="398"/>
                  </a:lnTo>
                  <a:lnTo>
                    <a:pt x="12" y="396"/>
                  </a:lnTo>
                  <a:lnTo>
                    <a:pt x="10" y="396"/>
                  </a:lnTo>
                  <a:lnTo>
                    <a:pt x="12" y="396"/>
                  </a:lnTo>
                  <a:lnTo>
                    <a:pt x="10" y="396"/>
                  </a:lnTo>
                  <a:lnTo>
                    <a:pt x="10" y="394"/>
                  </a:lnTo>
                  <a:lnTo>
                    <a:pt x="10" y="396"/>
                  </a:lnTo>
                  <a:lnTo>
                    <a:pt x="12" y="396"/>
                  </a:lnTo>
                  <a:lnTo>
                    <a:pt x="12" y="394"/>
                  </a:lnTo>
                  <a:lnTo>
                    <a:pt x="10" y="394"/>
                  </a:lnTo>
                  <a:lnTo>
                    <a:pt x="12" y="394"/>
                  </a:lnTo>
                  <a:lnTo>
                    <a:pt x="10" y="394"/>
                  </a:lnTo>
                  <a:lnTo>
                    <a:pt x="12" y="394"/>
                  </a:lnTo>
                  <a:lnTo>
                    <a:pt x="12" y="396"/>
                  </a:lnTo>
                  <a:lnTo>
                    <a:pt x="12" y="394"/>
                  </a:lnTo>
                  <a:lnTo>
                    <a:pt x="12" y="396"/>
                  </a:lnTo>
                  <a:lnTo>
                    <a:pt x="12" y="394"/>
                  </a:lnTo>
                  <a:lnTo>
                    <a:pt x="10" y="394"/>
                  </a:lnTo>
                  <a:lnTo>
                    <a:pt x="10" y="392"/>
                  </a:lnTo>
                  <a:lnTo>
                    <a:pt x="10" y="394"/>
                  </a:lnTo>
                  <a:lnTo>
                    <a:pt x="10" y="392"/>
                  </a:lnTo>
                  <a:lnTo>
                    <a:pt x="10" y="394"/>
                  </a:lnTo>
                  <a:lnTo>
                    <a:pt x="10" y="392"/>
                  </a:lnTo>
                  <a:lnTo>
                    <a:pt x="12" y="392"/>
                  </a:lnTo>
                  <a:lnTo>
                    <a:pt x="12" y="394"/>
                  </a:lnTo>
                  <a:lnTo>
                    <a:pt x="12" y="392"/>
                  </a:lnTo>
                  <a:lnTo>
                    <a:pt x="12" y="390"/>
                  </a:lnTo>
                  <a:lnTo>
                    <a:pt x="12" y="392"/>
                  </a:lnTo>
                  <a:lnTo>
                    <a:pt x="12" y="390"/>
                  </a:lnTo>
                  <a:lnTo>
                    <a:pt x="12" y="392"/>
                  </a:lnTo>
                  <a:lnTo>
                    <a:pt x="12" y="390"/>
                  </a:lnTo>
                  <a:lnTo>
                    <a:pt x="12" y="392"/>
                  </a:lnTo>
                  <a:lnTo>
                    <a:pt x="12" y="390"/>
                  </a:lnTo>
                  <a:lnTo>
                    <a:pt x="10" y="390"/>
                  </a:lnTo>
                  <a:lnTo>
                    <a:pt x="12" y="390"/>
                  </a:lnTo>
                  <a:lnTo>
                    <a:pt x="12" y="388"/>
                  </a:lnTo>
                  <a:lnTo>
                    <a:pt x="12" y="390"/>
                  </a:lnTo>
                  <a:lnTo>
                    <a:pt x="12" y="388"/>
                  </a:lnTo>
                  <a:lnTo>
                    <a:pt x="12" y="390"/>
                  </a:lnTo>
                  <a:lnTo>
                    <a:pt x="14" y="390"/>
                  </a:lnTo>
                  <a:lnTo>
                    <a:pt x="14" y="392"/>
                  </a:lnTo>
                  <a:lnTo>
                    <a:pt x="14" y="390"/>
                  </a:lnTo>
                  <a:lnTo>
                    <a:pt x="14" y="392"/>
                  </a:lnTo>
                  <a:lnTo>
                    <a:pt x="16" y="392"/>
                  </a:lnTo>
                  <a:lnTo>
                    <a:pt x="16" y="390"/>
                  </a:lnTo>
                  <a:lnTo>
                    <a:pt x="18" y="390"/>
                  </a:lnTo>
                  <a:lnTo>
                    <a:pt x="18" y="388"/>
                  </a:lnTo>
                  <a:lnTo>
                    <a:pt x="18" y="386"/>
                  </a:lnTo>
                  <a:lnTo>
                    <a:pt x="18" y="388"/>
                  </a:lnTo>
                  <a:lnTo>
                    <a:pt x="18" y="386"/>
                  </a:lnTo>
                  <a:lnTo>
                    <a:pt x="18" y="384"/>
                  </a:lnTo>
                  <a:lnTo>
                    <a:pt x="20" y="384"/>
                  </a:lnTo>
                  <a:lnTo>
                    <a:pt x="20" y="386"/>
                  </a:lnTo>
                  <a:lnTo>
                    <a:pt x="21" y="386"/>
                  </a:lnTo>
                  <a:lnTo>
                    <a:pt x="21" y="384"/>
                  </a:lnTo>
                  <a:lnTo>
                    <a:pt x="20" y="384"/>
                  </a:lnTo>
                  <a:lnTo>
                    <a:pt x="20" y="386"/>
                  </a:lnTo>
                  <a:lnTo>
                    <a:pt x="20" y="384"/>
                  </a:lnTo>
                  <a:lnTo>
                    <a:pt x="20" y="386"/>
                  </a:lnTo>
                  <a:lnTo>
                    <a:pt x="20" y="384"/>
                  </a:lnTo>
                  <a:lnTo>
                    <a:pt x="20" y="386"/>
                  </a:lnTo>
                  <a:lnTo>
                    <a:pt x="20" y="384"/>
                  </a:lnTo>
                  <a:lnTo>
                    <a:pt x="18" y="384"/>
                  </a:lnTo>
                  <a:lnTo>
                    <a:pt x="18" y="382"/>
                  </a:lnTo>
                  <a:lnTo>
                    <a:pt x="20" y="382"/>
                  </a:lnTo>
                  <a:lnTo>
                    <a:pt x="18" y="382"/>
                  </a:lnTo>
                  <a:lnTo>
                    <a:pt x="18" y="384"/>
                  </a:lnTo>
                  <a:lnTo>
                    <a:pt x="18" y="382"/>
                  </a:lnTo>
                  <a:lnTo>
                    <a:pt x="18" y="384"/>
                  </a:lnTo>
                  <a:lnTo>
                    <a:pt x="18" y="382"/>
                  </a:lnTo>
                  <a:lnTo>
                    <a:pt x="18" y="384"/>
                  </a:lnTo>
                  <a:lnTo>
                    <a:pt x="18" y="382"/>
                  </a:lnTo>
                  <a:lnTo>
                    <a:pt x="18" y="380"/>
                  </a:lnTo>
                  <a:lnTo>
                    <a:pt x="18" y="382"/>
                  </a:lnTo>
                  <a:lnTo>
                    <a:pt x="18" y="380"/>
                  </a:lnTo>
                  <a:lnTo>
                    <a:pt x="20" y="380"/>
                  </a:lnTo>
                  <a:lnTo>
                    <a:pt x="18" y="380"/>
                  </a:lnTo>
                  <a:lnTo>
                    <a:pt x="18" y="382"/>
                  </a:lnTo>
                  <a:lnTo>
                    <a:pt x="16" y="382"/>
                  </a:lnTo>
                  <a:lnTo>
                    <a:pt x="16" y="384"/>
                  </a:lnTo>
                  <a:lnTo>
                    <a:pt x="16" y="382"/>
                  </a:lnTo>
                  <a:lnTo>
                    <a:pt x="16" y="384"/>
                  </a:lnTo>
                  <a:lnTo>
                    <a:pt x="16" y="386"/>
                  </a:lnTo>
                  <a:lnTo>
                    <a:pt x="14" y="386"/>
                  </a:lnTo>
                  <a:lnTo>
                    <a:pt x="12" y="386"/>
                  </a:lnTo>
                  <a:lnTo>
                    <a:pt x="14" y="386"/>
                  </a:lnTo>
                  <a:lnTo>
                    <a:pt x="12" y="386"/>
                  </a:lnTo>
                  <a:lnTo>
                    <a:pt x="12" y="388"/>
                  </a:lnTo>
                  <a:lnTo>
                    <a:pt x="12" y="386"/>
                  </a:lnTo>
                  <a:lnTo>
                    <a:pt x="12" y="388"/>
                  </a:lnTo>
                  <a:lnTo>
                    <a:pt x="10" y="388"/>
                  </a:lnTo>
                  <a:lnTo>
                    <a:pt x="10" y="386"/>
                  </a:lnTo>
                  <a:lnTo>
                    <a:pt x="10" y="384"/>
                  </a:lnTo>
                  <a:lnTo>
                    <a:pt x="8" y="384"/>
                  </a:lnTo>
                  <a:lnTo>
                    <a:pt x="10" y="384"/>
                  </a:lnTo>
                  <a:lnTo>
                    <a:pt x="8" y="384"/>
                  </a:lnTo>
                  <a:lnTo>
                    <a:pt x="10" y="384"/>
                  </a:lnTo>
                  <a:lnTo>
                    <a:pt x="8" y="384"/>
                  </a:lnTo>
                  <a:lnTo>
                    <a:pt x="10" y="384"/>
                  </a:lnTo>
                  <a:lnTo>
                    <a:pt x="10" y="386"/>
                  </a:lnTo>
                  <a:lnTo>
                    <a:pt x="12" y="386"/>
                  </a:lnTo>
                  <a:lnTo>
                    <a:pt x="10" y="386"/>
                  </a:lnTo>
                  <a:lnTo>
                    <a:pt x="10" y="384"/>
                  </a:lnTo>
                  <a:lnTo>
                    <a:pt x="12" y="384"/>
                  </a:lnTo>
                  <a:lnTo>
                    <a:pt x="12" y="386"/>
                  </a:lnTo>
                  <a:lnTo>
                    <a:pt x="12" y="384"/>
                  </a:lnTo>
                  <a:lnTo>
                    <a:pt x="10" y="384"/>
                  </a:lnTo>
                  <a:lnTo>
                    <a:pt x="10" y="382"/>
                  </a:lnTo>
                  <a:lnTo>
                    <a:pt x="10" y="384"/>
                  </a:lnTo>
                  <a:lnTo>
                    <a:pt x="10" y="382"/>
                  </a:lnTo>
                  <a:lnTo>
                    <a:pt x="8" y="382"/>
                  </a:lnTo>
                  <a:lnTo>
                    <a:pt x="10" y="382"/>
                  </a:lnTo>
                  <a:lnTo>
                    <a:pt x="8" y="382"/>
                  </a:lnTo>
                  <a:lnTo>
                    <a:pt x="10" y="382"/>
                  </a:lnTo>
                  <a:lnTo>
                    <a:pt x="8" y="382"/>
                  </a:lnTo>
                  <a:lnTo>
                    <a:pt x="10" y="382"/>
                  </a:lnTo>
                  <a:lnTo>
                    <a:pt x="10" y="384"/>
                  </a:lnTo>
                  <a:lnTo>
                    <a:pt x="10" y="382"/>
                  </a:lnTo>
                  <a:lnTo>
                    <a:pt x="8" y="382"/>
                  </a:lnTo>
                  <a:lnTo>
                    <a:pt x="10" y="382"/>
                  </a:lnTo>
                  <a:lnTo>
                    <a:pt x="8" y="382"/>
                  </a:lnTo>
                  <a:lnTo>
                    <a:pt x="8" y="380"/>
                  </a:lnTo>
                  <a:lnTo>
                    <a:pt x="8" y="382"/>
                  </a:lnTo>
                  <a:lnTo>
                    <a:pt x="8" y="380"/>
                  </a:lnTo>
                  <a:lnTo>
                    <a:pt x="6" y="380"/>
                  </a:lnTo>
                  <a:lnTo>
                    <a:pt x="8" y="380"/>
                  </a:lnTo>
                  <a:lnTo>
                    <a:pt x="6" y="380"/>
                  </a:lnTo>
                  <a:lnTo>
                    <a:pt x="8" y="380"/>
                  </a:lnTo>
                  <a:lnTo>
                    <a:pt x="8" y="382"/>
                  </a:lnTo>
                  <a:lnTo>
                    <a:pt x="8" y="380"/>
                  </a:lnTo>
                  <a:lnTo>
                    <a:pt x="8" y="382"/>
                  </a:lnTo>
                  <a:lnTo>
                    <a:pt x="8" y="380"/>
                  </a:lnTo>
                  <a:lnTo>
                    <a:pt x="10" y="380"/>
                  </a:lnTo>
                  <a:lnTo>
                    <a:pt x="8" y="380"/>
                  </a:lnTo>
                  <a:lnTo>
                    <a:pt x="10" y="380"/>
                  </a:lnTo>
                  <a:lnTo>
                    <a:pt x="8" y="380"/>
                  </a:lnTo>
                  <a:lnTo>
                    <a:pt x="10" y="380"/>
                  </a:lnTo>
                  <a:lnTo>
                    <a:pt x="8" y="380"/>
                  </a:lnTo>
                  <a:lnTo>
                    <a:pt x="10" y="380"/>
                  </a:lnTo>
                  <a:lnTo>
                    <a:pt x="10" y="382"/>
                  </a:lnTo>
                  <a:lnTo>
                    <a:pt x="12" y="382"/>
                  </a:lnTo>
                  <a:lnTo>
                    <a:pt x="12" y="384"/>
                  </a:lnTo>
                  <a:lnTo>
                    <a:pt x="12" y="382"/>
                  </a:lnTo>
                  <a:lnTo>
                    <a:pt x="12" y="384"/>
                  </a:lnTo>
                  <a:lnTo>
                    <a:pt x="14" y="384"/>
                  </a:lnTo>
                  <a:lnTo>
                    <a:pt x="12" y="384"/>
                  </a:lnTo>
                  <a:lnTo>
                    <a:pt x="14" y="384"/>
                  </a:lnTo>
                  <a:lnTo>
                    <a:pt x="12" y="384"/>
                  </a:lnTo>
                  <a:lnTo>
                    <a:pt x="14" y="384"/>
                  </a:lnTo>
                  <a:lnTo>
                    <a:pt x="14" y="386"/>
                  </a:lnTo>
                  <a:lnTo>
                    <a:pt x="14" y="384"/>
                  </a:lnTo>
                  <a:lnTo>
                    <a:pt x="14" y="386"/>
                  </a:lnTo>
                  <a:lnTo>
                    <a:pt x="14" y="384"/>
                  </a:lnTo>
                  <a:lnTo>
                    <a:pt x="14" y="386"/>
                  </a:lnTo>
                  <a:lnTo>
                    <a:pt x="14" y="384"/>
                  </a:lnTo>
                  <a:lnTo>
                    <a:pt x="12" y="384"/>
                  </a:lnTo>
                  <a:lnTo>
                    <a:pt x="14" y="384"/>
                  </a:lnTo>
                  <a:lnTo>
                    <a:pt x="14" y="382"/>
                  </a:lnTo>
                  <a:lnTo>
                    <a:pt x="12" y="382"/>
                  </a:lnTo>
                  <a:lnTo>
                    <a:pt x="14" y="382"/>
                  </a:lnTo>
                  <a:lnTo>
                    <a:pt x="12" y="382"/>
                  </a:lnTo>
                  <a:lnTo>
                    <a:pt x="12" y="380"/>
                  </a:lnTo>
                  <a:lnTo>
                    <a:pt x="12" y="382"/>
                  </a:lnTo>
                  <a:lnTo>
                    <a:pt x="12" y="380"/>
                  </a:lnTo>
                  <a:lnTo>
                    <a:pt x="12" y="378"/>
                  </a:lnTo>
                  <a:lnTo>
                    <a:pt x="14" y="378"/>
                  </a:lnTo>
                  <a:lnTo>
                    <a:pt x="16" y="378"/>
                  </a:lnTo>
                  <a:lnTo>
                    <a:pt x="14" y="378"/>
                  </a:lnTo>
                  <a:lnTo>
                    <a:pt x="14" y="376"/>
                  </a:lnTo>
                  <a:lnTo>
                    <a:pt x="16" y="376"/>
                  </a:lnTo>
                  <a:lnTo>
                    <a:pt x="14" y="376"/>
                  </a:lnTo>
                  <a:lnTo>
                    <a:pt x="14" y="378"/>
                  </a:lnTo>
                  <a:lnTo>
                    <a:pt x="12" y="378"/>
                  </a:lnTo>
                  <a:lnTo>
                    <a:pt x="12" y="380"/>
                  </a:lnTo>
                  <a:lnTo>
                    <a:pt x="12" y="378"/>
                  </a:lnTo>
                  <a:lnTo>
                    <a:pt x="10" y="378"/>
                  </a:lnTo>
                  <a:lnTo>
                    <a:pt x="10" y="380"/>
                  </a:lnTo>
                  <a:lnTo>
                    <a:pt x="10" y="378"/>
                  </a:lnTo>
                  <a:lnTo>
                    <a:pt x="10" y="380"/>
                  </a:lnTo>
                  <a:lnTo>
                    <a:pt x="10" y="378"/>
                  </a:lnTo>
                  <a:lnTo>
                    <a:pt x="10" y="380"/>
                  </a:lnTo>
                  <a:lnTo>
                    <a:pt x="10" y="378"/>
                  </a:lnTo>
                  <a:lnTo>
                    <a:pt x="10" y="380"/>
                  </a:lnTo>
                  <a:lnTo>
                    <a:pt x="10" y="378"/>
                  </a:lnTo>
                  <a:lnTo>
                    <a:pt x="8" y="378"/>
                  </a:lnTo>
                  <a:lnTo>
                    <a:pt x="8" y="376"/>
                  </a:lnTo>
                  <a:lnTo>
                    <a:pt x="8" y="378"/>
                  </a:lnTo>
                  <a:lnTo>
                    <a:pt x="8" y="376"/>
                  </a:lnTo>
                  <a:lnTo>
                    <a:pt x="8" y="375"/>
                  </a:lnTo>
                  <a:lnTo>
                    <a:pt x="8" y="376"/>
                  </a:lnTo>
                  <a:lnTo>
                    <a:pt x="8" y="375"/>
                  </a:lnTo>
                  <a:lnTo>
                    <a:pt x="8" y="376"/>
                  </a:lnTo>
                  <a:lnTo>
                    <a:pt x="8" y="375"/>
                  </a:lnTo>
                  <a:lnTo>
                    <a:pt x="8" y="376"/>
                  </a:lnTo>
                  <a:lnTo>
                    <a:pt x="8" y="378"/>
                  </a:lnTo>
                  <a:lnTo>
                    <a:pt x="10" y="378"/>
                  </a:lnTo>
                  <a:lnTo>
                    <a:pt x="8" y="378"/>
                  </a:lnTo>
                  <a:lnTo>
                    <a:pt x="10" y="378"/>
                  </a:lnTo>
                  <a:lnTo>
                    <a:pt x="8" y="378"/>
                  </a:lnTo>
                  <a:lnTo>
                    <a:pt x="10" y="378"/>
                  </a:lnTo>
                  <a:lnTo>
                    <a:pt x="8" y="378"/>
                  </a:lnTo>
                  <a:lnTo>
                    <a:pt x="8" y="376"/>
                  </a:lnTo>
                  <a:lnTo>
                    <a:pt x="10" y="376"/>
                  </a:lnTo>
                  <a:lnTo>
                    <a:pt x="8" y="376"/>
                  </a:lnTo>
                  <a:lnTo>
                    <a:pt x="10" y="376"/>
                  </a:lnTo>
                  <a:lnTo>
                    <a:pt x="8" y="376"/>
                  </a:lnTo>
                  <a:lnTo>
                    <a:pt x="10" y="376"/>
                  </a:lnTo>
                  <a:lnTo>
                    <a:pt x="10" y="375"/>
                  </a:lnTo>
                  <a:lnTo>
                    <a:pt x="8" y="375"/>
                  </a:lnTo>
                  <a:lnTo>
                    <a:pt x="10" y="375"/>
                  </a:lnTo>
                  <a:lnTo>
                    <a:pt x="12" y="375"/>
                  </a:lnTo>
                  <a:lnTo>
                    <a:pt x="10" y="375"/>
                  </a:lnTo>
                  <a:lnTo>
                    <a:pt x="8" y="375"/>
                  </a:lnTo>
                  <a:lnTo>
                    <a:pt x="8" y="373"/>
                  </a:lnTo>
                  <a:lnTo>
                    <a:pt x="10" y="373"/>
                  </a:lnTo>
                  <a:lnTo>
                    <a:pt x="10" y="371"/>
                  </a:lnTo>
                  <a:lnTo>
                    <a:pt x="10" y="373"/>
                  </a:lnTo>
                  <a:lnTo>
                    <a:pt x="10" y="371"/>
                  </a:lnTo>
                  <a:lnTo>
                    <a:pt x="10" y="373"/>
                  </a:lnTo>
                  <a:lnTo>
                    <a:pt x="10" y="371"/>
                  </a:lnTo>
                  <a:lnTo>
                    <a:pt x="10" y="373"/>
                  </a:lnTo>
                  <a:lnTo>
                    <a:pt x="12" y="373"/>
                  </a:lnTo>
                  <a:lnTo>
                    <a:pt x="14" y="373"/>
                  </a:lnTo>
                  <a:lnTo>
                    <a:pt x="14" y="375"/>
                  </a:lnTo>
                  <a:lnTo>
                    <a:pt x="14" y="373"/>
                  </a:lnTo>
                  <a:lnTo>
                    <a:pt x="16" y="373"/>
                  </a:lnTo>
                  <a:lnTo>
                    <a:pt x="16" y="371"/>
                  </a:lnTo>
                  <a:lnTo>
                    <a:pt x="16" y="373"/>
                  </a:lnTo>
                  <a:lnTo>
                    <a:pt x="18" y="373"/>
                  </a:lnTo>
                  <a:lnTo>
                    <a:pt x="16" y="373"/>
                  </a:lnTo>
                  <a:lnTo>
                    <a:pt x="16" y="371"/>
                  </a:lnTo>
                  <a:lnTo>
                    <a:pt x="18" y="371"/>
                  </a:lnTo>
                  <a:lnTo>
                    <a:pt x="20" y="371"/>
                  </a:lnTo>
                  <a:lnTo>
                    <a:pt x="20" y="373"/>
                  </a:lnTo>
                  <a:lnTo>
                    <a:pt x="20" y="371"/>
                  </a:lnTo>
                  <a:lnTo>
                    <a:pt x="21" y="371"/>
                  </a:lnTo>
                  <a:lnTo>
                    <a:pt x="23" y="371"/>
                  </a:lnTo>
                  <a:lnTo>
                    <a:pt x="25" y="371"/>
                  </a:lnTo>
                  <a:lnTo>
                    <a:pt x="27" y="371"/>
                  </a:lnTo>
                  <a:lnTo>
                    <a:pt x="27" y="373"/>
                  </a:lnTo>
                  <a:lnTo>
                    <a:pt x="25" y="373"/>
                  </a:lnTo>
                  <a:lnTo>
                    <a:pt x="27" y="373"/>
                  </a:lnTo>
                  <a:lnTo>
                    <a:pt x="27" y="375"/>
                  </a:lnTo>
                  <a:lnTo>
                    <a:pt x="27" y="373"/>
                  </a:lnTo>
                  <a:lnTo>
                    <a:pt x="29" y="373"/>
                  </a:lnTo>
                  <a:lnTo>
                    <a:pt x="29" y="371"/>
                  </a:lnTo>
                  <a:lnTo>
                    <a:pt x="31" y="371"/>
                  </a:lnTo>
                  <a:lnTo>
                    <a:pt x="31" y="369"/>
                  </a:lnTo>
                  <a:lnTo>
                    <a:pt x="33" y="369"/>
                  </a:lnTo>
                  <a:lnTo>
                    <a:pt x="33" y="371"/>
                  </a:lnTo>
                  <a:lnTo>
                    <a:pt x="33" y="369"/>
                  </a:lnTo>
                  <a:lnTo>
                    <a:pt x="33" y="371"/>
                  </a:lnTo>
                  <a:lnTo>
                    <a:pt x="33" y="369"/>
                  </a:lnTo>
                  <a:lnTo>
                    <a:pt x="33" y="371"/>
                  </a:lnTo>
                  <a:lnTo>
                    <a:pt x="35" y="371"/>
                  </a:lnTo>
                  <a:lnTo>
                    <a:pt x="35" y="373"/>
                  </a:lnTo>
                  <a:lnTo>
                    <a:pt x="35" y="371"/>
                  </a:lnTo>
                  <a:lnTo>
                    <a:pt x="37" y="371"/>
                  </a:lnTo>
                  <a:lnTo>
                    <a:pt x="37" y="373"/>
                  </a:lnTo>
                  <a:lnTo>
                    <a:pt x="37" y="375"/>
                  </a:lnTo>
                  <a:lnTo>
                    <a:pt x="35" y="375"/>
                  </a:lnTo>
                  <a:lnTo>
                    <a:pt x="35" y="376"/>
                  </a:lnTo>
                  <a:lnTo>
                    <a:pt x="35" y="378"/>
                  </a:lnTo>
                  <a:lnTo>
                    <a:pt x="35" y="376"/>
                  </a:lnTo>
                  <a:lnTo>
                    <a:pt x="35" y="375"/>
                  </a:lnTo>
                  <a:lnTo>
                    <a:pt x="37" y="375"/>
                  </a:lnTo>
                  <a:lnTo>
                    <a:pt x="37" y="376"/>
                  </a:lnTo>
                  <a:lnTo>
                    <a:pt x="39" y="376"/>
                  </a:lnTo>
                  <a:lnTo>
                    <a:pt x="39" y="378"/>
                  </a:lnTo>
                  <a:lnTo>
                    <a:pt x="39" y="376"/>
                  </a:lnTo>
                  <a:lnTo>
                    <a:pt x="39" y="375"/>
                  </a:lnTo>
                  <a:lnTo>
                    <a:pt x="37" y="375"/>
                  </a:lnTo>
                  <a:lnTo>
                    <a:pt x="37" y="373"/>
                  </a:lnTo>
                  <a:lnTo>
                    <a:pt x="37" y="371"/>
                  </a:lnTo>
                  <a:lnTo>
                    <a:pt x="39" y="371"/>
                  </a:lnTo>
                  <a:lnTo>
                    <a:pt x="41" y="371"/>
                  </a:lnTo>
                  <a:lnTo>
                    <a:pt x="41" y="369"/>
                  </a:lnTo>
                  <a:lnTo>
                    <a:pt x="41" y="371"/>
                  </a:lnTo>
                  <a:lnTo>
                    <a:pt x="43" y="371"/>
                  </a:lnTo>
                  <a:lnTo>
                    <a:pt x="43" y="369"/>
                  </a:lnTo>
                  <a:lnTo>
                    <a:pt x="44" y="369"/>
                  </a:lnTo>
                  <a:lnTo>
                    <a:pt x="46" y="369"/>
                  </a:lnTo>
                  <a:lnTo>
                    <a:pt x="46" y="367"/>
                  </a:lnTo>
                  <a:lnTo>
                    <a:pt x="44" y="367"/>
                  </a:lnTo>
                  <a:lnTo>
                    <a:pt x="44" y="369"/>
                  </a:lnTo>
                  <a:lnTo>
                    <a:pt x="44" y="367"/>
                  </a:lnTo>
                  <a:lnTo>
                    <a:pt x="44" y="369"/>
                  </a:lnTo>
                  <a:lnTo>
                    <a:pt x="43" y="369"/>
                  </a:lnTo>
                  <a:lnTo>
                    <a:pt x="43" y="367"/>
                  </a:lnTo>
                  <a:lnTo>
                    <a:pt x="41" y="367"/>
                  </a:lnTo>
                  <a:lnTo>
                    <a:pt x="41" y="365"/>
                  </a:lnTo>
                  <a:lnTo>
                    <a:pt x="43" y="365"/>
                  </a:lnTo>
                  <a:lnTo>
                    <a:pt x="43" y="363"/>
                  </a:lnTo>
                  <a:lnTo>
                    <a:pt x="43" y="361"/>
                  </a:lnTo>
                  <a:lnTo>
                    <a:pt x="44" y="361"/>
                  </a:lnTo>
                  <a:lnTo>
                    <a:pt x="44" y="359"/>
                  </a:lnTo>
                  <a:lnTo>
                    <a:pt x="44" y="361"/>
                  </a:lnTo>
                  <a:lnTo>
                    <a:pt x="43" y="361"/>
                  </a:lnTo>
                  <a:lnTo>
                    <a:pt x="43" y="363"/>
                  </a:lnTo>
                  <a:lnTo>
                    <a:pt x="41" y="363"/>
                  </a:lnTo>
                  <a:lnTo>
                    <a:pt x="41" y="365"/>
                  </a:lnTo>
                  <a:lnTo>
                    <a:pt x="41" y="367"/>
                  </a:lnTo>
                  <a:lnTo>
                    <a:pt x="41" y="369"/>
                  </a:lnTo>
                  <a:lnTo>
                    <a:pt x="43" y="369"/>
                  </a:lnTo>
                  <a:lnTo>
                    <a:pt x="41" y="369"/>
                  </a:lnTo>
                  <a:lnTo>
                    <a:pt x="39" y="369"/>
                  </a:lnTo>
                  <a:lnTo>
                    <a:pt x="39" y="371"/>
                  </a:lnTo>
                  <a:lnTo>
                    <a:pt x="37" y="371"/>
                  </a:lnTo>
                  <a:lnTo>
                    <a:pt x="35" y="371"/>
                  </a:lnTo>
                  <a:lnTo>
                    <a:pt x="35" y="369"/>
                  </a:lnTo>
                  <a:lnTo>
                    <a:pt x="37" y="369"/>
                  </a:lnTo>
                  <a:lnTo>
                    <a:pt x="39" y="369"/>
                  </a:lnTo>
                  <a:lnTo>
                    <a:pt x="39" y="367"/>
                  </a:lnTo>
                  <a:lnTo>
                    <a:pt x="37" y="367"/>
                  </a:lnTo>
                  <a:lnTo>
                    <a:pt x="37" y="369"/>
                  </a:lnTo>
                  <a:lnTo>
                    <a:pt x="35" y="369"/>
                  </a:lnTo>
                  <a:lnTo>
                    <a:pt x="33" y="369"/>
                  </a:lnTo>
                  <a:lnTo>
                    <a:pt x="31" y="369"/>
                  </a:lnTo>
                  <a:lnTo>
                    <a:pt x="31" y="367"/>
                  </a:lnTo>
                  <a:lnTo>
                    <a:pt x="31" y="365"/>
                  </a:lnTo>
                  <a:lnTo>
                    <a:pt x="33" y="365"/>
                  </a:lnTo>
                  <a:lnTo>
                    <a:pt x="33" y="363"/>
                  </a:lnTo>
                  <a:lnTo>
                    <a:pt x="33" y="361"/>
                  </a:lnTo>
                  <a:lnTo>
                    <a:pt x="33" y="363"/>
                  </a:lnTo>
                  <a:lnTo>
                    <a:pt x="31" y="363"/>
                  </a:lnTo>
                  <a:lnTo>
                    <a:pt x="31" y="365"/>
                  </a:lnTo>
                  <a:lnTo>
                    <a:pt x="31" y="367"/>
                  </a:lnTo>
                  <a:lnTo>
                    <a:pt x="29" y="367"/>
                  </a:lnTo>
                  <a:lnTo>
                    <a:pt x="29" y="365"/>
                  </a:lnTo>
                  <a:lnTo>
                    <a:pt x="29" y="367"/>
                  </a:lnTo>
                  <a:lnTo>
                    <a:pt x="29" y="365"/>
                  </a:lnTo>
                  <a:lnTo>
                    <a:pt x="29" y="367"/>
                  </a:lnTo>
                  <a:lnTo>
                    <a:pt x="29" y="369"/>
                  </a:lnTo>
                  <a:lnTo>
                    <a:pt x="29" y="371"/>
                  </a:lnTo>
                  <a:lnTo>
                    <a:pt x="27" y="371"/>
                  </a:lnTo>
                  <a:lnTo>
                    <a:pt x="25" y="371"/>
                  </a:lnTo>
                  <a:lnTo>
                    <a:pt x="25" y="369"/>
                  </a:lnTo>
                  <a:lnTo>
                    <a:pt x="23" y="369"/>
                  </a:lnTo>
                  <a:lnTo>
                    <a:pt x="23" y="371"/>
                  </a:lnTo>
                  <a:lnTo>
                    <a:pt x="23" y="369"/>
                  </a:lnTo>
                  <a:lnTo>
                    <a:pt x="21" y="369"/>
                  </a:lnTo>
                  <a:lnTo>
                    <a:pt x="23" y="369"/>
                  </a:lnTo>
                  <a:lnTo>
                    <a:pt x="23" y="367"/>
                  </a:lnTo>
                  <a:lnTo>
                    <a:pt x="23" y="369"/>
                  </a:lnTo>
                  <a:lnTo>
                    <a:pt x="21" y="369"/>
                  </a:lnTo>
                  <a:lnTo>
                    <a:pt x="20" y="369"/>
                  </a:lnTo>
                  <a:lnTo>
                    <a:pt x="18" y="369"/>
                  </a:lnTo>
                  <a:lnTo>
                    <a:pt x="18" y="371"/>
                  </a:lnTo>
                  <a:lnTo>
                    <a:pt x="18" y="369"/>
                  </a:lnTo>
                  <a:lnTo>
                    <a:pt x="18" y="371"/>
                  </a:lnTo>
                  <a:lnTo>
                    <a:pt x="18" y="369"/>
                  </a:lnTo>
                  <a:lnTo>
                    <a:pt x="16" y="369"/>
                  </a:lnTo>
                  <a:lnTo>
                    <a:pt x="16" y="371"/>
                  </a:lnTo>
                  <a:lnTo>
                    <a:pt x="16" y="369"/>
                  </a:lnTo>
                  <a:lnTo>
                    <a:pt x="16" y="371"/>
                  </a:lnTo>
                  <a:lnTo>
                    <a:pt x="14" y="371"/>
                  </a:lnTo>
                  <a:lnTo>
                    <a:pt x="14" y="373"/>
                  </a:lnTo>
                  <a:lnTo>
                    <a:pt x="12" y="373"/>
                  </a:lnTo>
                  <a:lnTo>
                    <a:pt x="12" y="371"/>
                  </a:lnTo>
                  <a:lnTo>
                    <a:pt x="10" y="371"/>
                  </a:lnTo>
                  <a:lnTo>
                    <a:pt x="10" y="369"/>
                  </a:lnTo>
                  <a:lnTo>
                    <a:pt x="10" y="371"/>
                  </a:lnTo>
                  <a:lnTo>
                    <a:pt x="12" y="371"/>
                  </a:lnTo>
                  <a:lnTo>
                    <a:pt x="10" y="371"/>
                  </a:lnTo>
                  <a:lnTo>
                    <a:pt x="10" y="369"/>
                  </a:lnTo>
                  <a:lnTo>
                    <a:pt x="10" y="371"/>
                  </a:lnTo>
                  <a:lnTo>
                    <a:pt x="10" y="369"/>
                  </a:lnTo>
                  <a:lnTo>
                    <a:pt x="8" y="369"/>
                  </a:lnTo>
                  <a:lnTo>
                    <a:pt x="10" y="369"/>
                  </a:lnTo>
                  <a:lnTo>
                    <a:pt x="12" y="369"/>
                  </a:lnTo>
                  <a:lnTo>
                    <a:pt x="10" y="369"/>
                  </a:lnTo>
                  <a:lnTo>
                    <a:pt x="12" y="369"/>
                  </a:lnTo>
                  <a:lnTo>
                    <a:pt x="10" y="369"/>
                  </a:lnTo>
                  <a:lnTo>
                    <a:pt x="10" y="367"/>
                  </a:lnTo>
                  <a:lnTo>
                    <a:pt x="10" y="369"/>
                  </a:lnTo>
                  <a:lnTo>
                    <a:pt x="10" y="367"/>
                  </a:lnTo>
                  <a:lnTo>
                    <a:pt x="8" y="367"/>
                  </a:lnTo>
                  <a:lnTo>
                    <a:pt x="8" y="365"/>
                  </a:lnTo>
                  <a:lnTo>
                    <a:pt x="8" y="367"/>
                  </a:lnTo>
                  <a:lnTo>
                    <a:pt x="6" y="367"/>
                  </a:lnTo>
                  <a:lnTo>
                    <a:pt x="6" y="365"/>
                  </a:lnTo>
                  <a:lnTo>
                    <a:pt x="8" y="365"/>
                  </a:lnTo>
                  <a:lnTo>
                    <a:pt x="10" y="365"/>
                  </a:lnTo>
                  <a:lnTo>
                    <a:pt x="8" y="365"/>
                  </a:lnTo>
                  <a:lnTo>
                    <a:pt x="10" y="365"/>
                  </a:lnTo>
                  <a:lnTo>
                    <a:pt x="8" y="365"/>
                  </a:lnTo>
                  <a:lnTo>
                    <a:pt x="10" y="365"/>
                  </a:lnTo>
                  <a:lnTo>
                    <a:pt x="8" y="365"/>
                  </a:lnTo>
                  <a:lnTo>
                    <a:pt x="10" y="365"/>
                  </a:lnTo>
                  <a:lnTo>
                    <a:pt x="8" y="365"/>
                  </a:lnTo>
                  <a:lnTo>
                    <a:pt x="10" y="365"/>
                  </a:lnTo>
                  <a:lnTo>
                    <a:pt x="8" y="365"/>
                  </a:lnTo>
                  <a:lnTo>
                    <a:pt x="10" y="365"/>
                  </a:lnTo>
                  <a:lnTo>
                    <a:pt x="8" y="365"/>
                  </a:lnTo>
                  <a:lnTo>
                    <a:pt x="10" y="365"/>
                  </a:lnTo>
                  <a:lnTo>
                    <a:pt x="8" y="365"/>
                  </a:lnTo>
                  <a:lnTo>
                    <a:pt x="10" y="365"/>
                  </a:lnTo>
                  <a:lnTo>
                    <a:pt x="8" y="365"/>
                  </a:lnTo>
                  <a:lnTo>
                    <a:pt x="10" y="365"/>
                  </a:lnTo>
                  <a:lnTo>
                    <a:pt x="10" y="363"/>
                  </a:lnTo>
                  <a:lnTo>
                    <a:pt x="12" y="363"/>
                  </a:lnTo>
                  <a:lnTo>
                    <a:pt x="12" y="365"/>
                  </a:lnTo>
                  <a:lnTo>
                    <a:pt x="12" y="363"/>
                  </a:lnTo>
                  <a:lnTo>
                    <a:pt x="12" y="365"/>
                  </a:lnTo>
                  <a:lnTo>
                    <a:pt x="12" y="363"/>
                  </a:lnTo>
                  <a:lnTo>
                    <a:pt x="14" y="363"/>
                  </a:lnTo>
                  <a:lnTo>
                    <a:pt x="12" y="363"/>
                  </a:lnTo>
                  <a:lnTo>
                    <a:pt x="14" y="363"/>
                  </a:lnTo>
                  <a:lnTo>
                    <a:pt x="16" y="363"/>
                  </a:lnTo>
                  <a:lnTo>
                    <a:pt x="18" y="363"/>
                  </a:lnTo>
                  <a:lnTo>
                    <a:pt x="16" y="363"/>
                  </a:lnTo>
                  <a:lnTo>
                    <a:pt x="14" y="363"/>
                  </a:lnTo>
                  <a:lnTo>
                    <a:pt x="12" y="363"/>
                  </a:lnTo>
                  <a:lnTo>
                    <a:pt x="10" y="363"/>
                  </a:lnTo>
                  <a:lnTo>
                    <a:pt x="10" y="365"/>
                  </a:lnTo>
                  <a:lnTo>
                    <a:pt x="8" y="365"/>
                  </a:lnTo>
                  <a:lnTo>
                    <a:pt x="8" y="363"/>
                  </a:lnTo>
                  <a:lnTo>
                    <a:pt x="8" y="361"/>
                  </a:lnTo>
                  <a:lnTo>
                    <a:pt x="8" y="363"/>
                  </a:lnTo>
                  <a:lnTo>
                    <a:pt x="8" y="361"/>
                  </a:lnTo>
                  <a:lnTo>
                    <a:pt x="10" y="361"/>
                  </a:lnTo>
                  <a:lnTo>
                    <a:pt x="8" y="361"/>
                  </a:lnTo>
                  <a:lnTo>
                    <a:pt x="6" y="361"/>
                  </a:lnTo>
                  <a:lnTo>
                    <a:pt x="8" y="361"/>
                  </a:lnTo>
                  <a:lnTo>
                    <a:pt x="6" y="361"/>
                  </a:lnTo>
                  <a:lnTo>
                    <a:pt x="8" y="361"/>
                  </a:lnTo>
                  <a:lnTo>
                    <a:pt x="6" y="361"/>
                  </a:lnTo>
                  <a:lnTo>
                    <a:pt x="8" y="361"/>
                  </a:lnTo>
                  <a:lnTo>
                    <a:pt x="10" y="361"/>
                  </a:lnTo>
                  <a:lnTo>
                    <a:pt x="10" y="359"/>
                  </a:lnTo>
                  <a:lnTo>
                    <a:pt x="12" y="359"/>
                  </a:lnTo>
                  <a:lnTo>
                    <a:pt x="10" y="359"/>
                  </a:lnTo>
                  <a:lnTo>
                    <a:pt x="12" y="359"/>
                  </a:lnTo>
                  <a:lnTo>
                    <a:pt x="12" y="361"/>
                  </a:lnTo>
                  <a:lnTo>
                    <a:pt x="12" y="359"/>
                  </a:lnTo>
                  <a:lnTo>
                    <a:pt x="12" y="361"/>
                  </a:lnTo>
                  <a:lnTo>
                    <a:pt x="12" y="359"/>
                  </a:lnTo>
                  <a:lnTo>
                    <a:pt x="12" y="361"/>
                  </a:lnTo>
                  <a:lnTo>
                    <a:pt x="12" y="359"/>
                  </a:lnTo>
                  <a:lnTo>
                    <a:pt x="12" y="361"/>
                  </a:lnTo>
                  <a:lnTo>
                    <a:pt x="12" y="359"/>
                  </a:lnTo>
                  <a:lnTo>
                    <a:pt x="14" y="359"/>
                  </a:lnTo>
                  <a:lnTo>
                    <a:pt x="14" y="361"/>
                  </a:lnTo>
                  <a:lnTo>
                    <a:pt x="16" y="361"/>
                  </a:lnTo>
                  <a:lnTo>
                    <a:pt x="16" y="359"/>
                  </a:lnTo>
                  <a:lnTo>
                    <a:pt x="18" y="359"/>
                  </a:lnTo>
                  <a:lnTo>
                    <a:pt x="20" y="359"/>
                  </a:lnTo>
                  <a:lnTo>
                    <a:pt x="20" y="361"/>
                  </a:lnTo>
                  <a:lnTo>
                    <a:pt x="20" y="359"/>
                  </a:lnTo>
                  <a:lnTo>
                    <a:pt x="18" y="359"/>
                  </a:lnTo>
                  <a:lnTo>
                    <a:pt x="16" y="359"/>
                  </a:lnTo>
                  <a:lnTo>
                    <a:pt x="16" y="361"/>
                  </a:lnTo>
                  <a:lnTo>
                    <a:pt x="16" y="359"/>
                  </a:lnTo>
                  <a:lnTo>
                    <a:pt x="16" y="361"/>
                  </a:lnTo>
                  <a:lnTo>
                    <a:pt x="14" y="361"/>
                  </a:lnTo>
                  <a:lnTo>
                    <a:pt x="14" y="359"/>
                  </a:lnTo>
                  <a:lnTo>
                    <a:pt x="14" y="361"/>
                  </a:lnTo>
                  <a:lnTo>
                    <a:pt x="14" y="359"/>
                  </a:lnTo>
                  <a:lnTo>
                    <a:pt x="14" y="361"/>
                  </a:lnTo>
                  <a:lnTo>
                    <a:pt x="14" y="359"/>
                  </a:lnTo>
                  <a:lnTo>
                    <a:pt x="12" y="359"/>
                  </a:lnTo>
                  <a:lnTo>
                    <a:pt x="10" y="359"/>
                  </a:lnTo>
                  <a:lnTo>
                    <a:pt x="10" y="357"/>
                  </a:lnTo>
                  <a:lnTo>
                    <a:pt x="12" y="357"/>
                  </a:lnTo>
                  <a:lnTo>
                    <a:pt x="14" y="357"/>
                  </a:lnTo>
                  <a:lnTo>
                    <a:pt x="12" y="357"/>
                  </a:lnTo>
                  <a:lnTo>
                    <a:pt x="10" y="357"/>
                  </a:lnTo>
                  <a:lnTo>
                    <a:pt x="12" y="357"/>
                  </a:lnTo>
                  <a:lnTo>
                    <a:pt x="10" y="357"/>
                  </a:lnTo>
                  <a:lnTo>
                    <a:pt x="10" y="355"/>
                  </a:lnTo>
                  <a:lnTo>
                    <a:pt x="10" y="357"/>
                  </a:lnTo>
                  <a:lnTo>
                    <a:pt x="10" y="355"/>
                  </a:lnTo>
                  <a:lnTo>
                    <a:pt x="12" y="355"/>
                  </a:lnTo>
                  <a:lnTo>
                    <a:pt x="14" y="355"/>
                  </a:lnTo>
                  <a:lnTo>
                    <a:pt x="12" y="355"/>
                  </a:lnTo>
                  <a:lnTo>
                    <a:pt x="12" y="357"/>
                  </a:lnTo>
                  <a:lnTo>
                    <a:pt x="12" y="355"/>
                  </a:lnTo>
                  <a:lnTo>
                    <a:pt x="12" y="357"/>
                  </a:lnTo>
                  <a:lnTo>
                    <a:pt x="14" y="357"/>
                  </a:lnTo>
                  <a:lnTo>
                    <a:pt x="14" y="355"/>
                  </a:lnTo>
                  <a:lnTo>
                    <a:pt x="12" y="355"/>
                  </a:lnTo>
                  <a:lnTo>
                    <a:pt x="10" y="355"/>
                  </a:lnTo>
                  <a:lnTo>
                    <a:pt x="12" y="355"/>
                  </a:lnTo>
                  <a:lnTo>
                    <a:pt x="14" y="355"/>
                  </a:lnTo>
                  <a:lnTo>
                    <a:pt x="12" y="355"/>
                  </a:lnTo>
                  <a:lnTo>
                    <a:pt x="14" y="355"/>
                  </a:lnTo>
                  <a:lnTo>
                    <a:pt x="12" y="355"/>
                  </a:lnTo>
                  <a:lnTo>
                    <a:pt x="10" y="355"/>
                  </a:lnTo>
                  <a:lnTo>
                    <a:pt x="8" y="355"/>
                  </a:lnTo>
                  <a:lnTo>
                    <a:pt x="6" y="355"/>
                  </a:lnTo>
                  <a:lnTo>
                    <a:pt x="8" y="355"/>
                  </a:lnTo>
                  <a:lnTo>
                    <a:pt x="8" y="353"/>
                  </a:lnTo>
                  <a:lnTo>
                    <a:pt x="6" y="353"/>
                  </a:lnTo>
                  <a:lnTo>
                    <a:pt x="8" y="353"/>
                  </a:lnTo>
                  <a:lnTo>
                    <a:pt x="6" y="353"/>
                  </a:lnTo>
                  <a:lnTo>
                    <a:pt x="8" y="353"/>
                  </a:lnTo>
                  <a:lnTo>
                    <a:pt x="6" y="353"/>
                  </a:lnTo>
                  <a:lnTo>
                    <a:pt x="6" y="352"/>
                  </a:lnTo>
                  <a:lnTo>
                    <a:pt x="8" y="352"/>
                  </a:lnTo>
                  <a:lnTo>
                    <a:pt x="6" y="352"/>
                  </a:lnTo>
                  <a:lnTo>
                    <a:pt x="8" y="352"/>
                  </a:lnTo>
                  <a:lnTo>
                    <a:pt x="8" y="353"/>
                  </a:lnTo>
                  <a:lnTo>
                    <a:pt x="8" y="352"/>
                  </a:lnTo>
                  <a:lnTo>
                    <a:pt x="10" y="352"/>
                  </a:lnTo>
                  <a:lnTo>
                    <a:pt x="10" y="353"/>
                  </a:lnTo>
                  <a:lnTo>
                    <a:pt x="10" y="352"/>
                  </a:lnTo>
                  <a:lnTo>
                    <a:pt x="12" y="352"/>
                  </a:lnTo>
                  <a:lnTo>
                    <a:pt x="12" y="350"/>
                  </a:lnTo>
                  <a:lnTo>
                    <a:pt x="12" y="352"/>
                  </a:lnTo>
                  <a:lnTo>
                    <a:pt x="12" y="350"/>
                  </a:lnTo>
                  <a:lnTo>
                    <a:pt x="10" y="350"/>
                  </a:lnTo>
                  <a:lnTo>
                    <a:pt x="10" y="352"/>
                  </a:lnTo>
                  <a:lnTo>
                    <a:pt x="8" y="352"/>
                  </a:lnTo>
                  <a:lnTo>
                    <a:pt x="8" y="350"/>
                  </a:lnTo>
                  <a:lnTo>
                    <a:pt x="10" y="350"/>
                  </a:lnTo>
                  <a:lnTo>
                    <a:pt x="12" y="350"/>
                  </a:lnTo>
                  <a:lnTo>
                    <a:pt x="12" y="348"/>
                  </a:lnTo>
                  <a:lnTo>
                    <a:pt x="12" y="346"/>
                  </a:lnTo>
                  <a:lnTo>
                    <a:pt x="14" y="346"/>
                  </a:lnTo>
                  <a:lnTo>
                    <a:pt x="16" y="346"/>
                  </a:lnTo>
                  <a:lnTo>
                    <a:pt x="16" y="348"/>
                  </a:lnTo>
                  <a:lnTo>
                    <a:pt x="16" y="346"/>
                  </a:lnTo>
                  <a:lnTo>
                    <a:pt x="16" y="348"/>
                  </a:lnTo>
                  <a:lnTo>
                    <a:pt x="18" y="348"/>
                  </a:lnTo>
                  <a:lnTo>
                    <a:pt x="18" y="350"/>
                  </a:lnTo>
                  <a:lnTo>
                    <a:pt x="16" y="350"/>
                  </a:lnTo>
                  <a:lnTo>
                    <a:pt x="18" y="350"/>
                  </a:lnTo>
                  <a:lnTo>
                    <a:pt x="18" y="348"/>
                  </a:lnTo>
                  <a:lnTo>
                    <a:pt x="20" y="348"/>
                  </a:lnTo>
                  <a:lnTo>
                    <a:pt x="21" y="348"/>
                  </a:lnTo>
                  <a:lnTo>
                    <a:pt x="21" y="350"/>
                  </a:lnTo>
                  <a:lnTo>
                    <a:pt x="21" y="352"/>
                  </a:lnTo>
                  <a:lnTo>
                    <a:pt x="20" y="352"/>
                  </a:lnTo>
                  <a:lnTo>
                    <a:pt x="21" y="352"/>
                  </a:lnTo>
                  <a:lnTo>
                    <a:pt x="20" y="352"/>
                  </a:lnTo>
                  <a:lnTo>
                    <a:pt x="21" y="352"/>
                  </a:lnTo>
                  <a:lnTo>
                    <a:pt x="21" y="350"/>
                  </a:lnTo>
                  <a:lnTo>
                    <a:pt x="21" y="348"/>
                  </a:lnTo>
                  <a:lnTo>
                    <a:pt x="21" y="350"/>
                  </a:lnTo>
                  <a:lnTo>
                    <a:pt x="23" y="350"/>
                  </a:lnTo>
                  <a:lnTo>
                    <a:pt x="23" y="352"/>
                  </a:lnTo>
                  <a:lnTo>
                    <a:pt x="25" y="352"/>
                  </a:lnTo>
                  <a:lnTo>
                    <a:pt x="25" y="350"/>
                  </a:lnTo>
                  <a:lnTo>
                    <a:pt x="25" y="352"/>
                  </a:lnTo>
                  <a:lnTo>
                    <a:pt x="25" y="350"/>
                  </a:lnTo>
                  <a:lnTo>
                    <a:pt x="23" y="350"/>
                  </a:lnTo>
                  <a:lnTo>
                    <a:pt x="23" y="348"/>
                  </a:lnTo>
                  <a:lnTo>
                    <a:pt x="23" y="350"/>
                  </a:lnTo>
                  <a:lnTo>
                    <a:pt x="25" y="350"/>
                  </a:lnTo>
                  <a:lnTo>
                    <a:pt x="25" y="348"/>
                  </a:lnTo>
                  <a:lnTo>
                    <a:pt x="27" y="348"/>
                  </a:lnTo>
                  <a:lnTo>
                    <a:pt x="27" y="350"/>
                  </a:lnTo>
                  <a:lnTo>
                    <a:pt x="29" y="350"/>
                  </a:lnTo>
                  <a:lnTo>
                    <a:pt x="31" y="350"/>
                  </a:lnTo>
                  <a:lnTo>
                    <a:pt x="31" y="348"/>
                  </a:lnTo>
                  <a:lnTo>
                    <a:pt x="33" y="348"/>
                  </a:lnTo>
                  <a:lnTo>
                    <a:pt x="33" y="350"/>
                  </a:lnTo>
                  <a:lnTo>
                    <a:pt x="33" y="348"/>
                  </a:lnTo>
                  <a:lnTo>
                    <a:pt x="35" y="348"/>
                  </a:lnTo>
                  <a:lnTo>
                    <a:pt x="33" y="348"/>
                  </a:lnTo>
                  <a:lnTo>
                    <a:pt x="31" y="348"/>
                  </a:lnTo>
                  <a:lnTo>
                    <a:pt x="31" y="346"/>
                  </a:lnTo>
                  <a:lnTo>
                    <a:pt x="33" y="346"/>
                  </a:lnTo>
                  <a:lnTo>
                    <a:pt x="31" y="346"/>
                  </a:lnTo>
                  <a:lnTo>
                    <a:pt x="31" y="348"/>
                  </a:lnTo>
                  <a:lnTo>
                    <a:pt x="29" y="348"/>
                  </a:lnTo>
                  <a:lnTo>
                    <a:pt x="29" y="350"/>
                  </a:lnTo>
                  <a:lnTo>
                    <a:pt x="27" y="350"/>
                  </a:lnTo>
                  <a:lnTo>
                    <a:pt x="27" y="348"/>
                  </a:lnTo>
                  <a:lnTo>
                    <a:pt x="25" y="348"/>
                  </a:lnTo>
                  <a:lnTo>
                    <a:pt x="23" y="348"/>
                  </a:lnTo>
                  <a:lnTo>
                    <a:pt x="21" y="348"/>
                  </a:lnTo>
                  <a:lnTo>
                    <a:pt x="20" y="348"/>
                  </a:lnTo>
                  <a:lnTo>
                    <a:pt x="18" y="348"/>
                  </a:lnTo>
                  <a:lnTo>
                    <a:pt x="18" y="346"/>
                  </a:lnTo>
                  <a:lnTo>
                    <a:pt x="20" y="346"/>
                  </a:lnTo>
                  <a:lnTo>
                    <a:pt x="20" y="348"/>
                  </a:lnTo>
                  <a:lnTo>
                    <a:pt x="20" y="346"/>
                  </a:lnTo>
                  <a:lnTo>
                    <a:pt x="21" y="346"/>
                  </a:lnTo>
                  <a:lnTo>
                    <a:pt x="20" y="346"/>
                  </a:lnTo>
                  <a:lnTo>
                    <a:pt x="18" y="346"/>
                  </a:lnTo>
                  <a:lnTo>
                    <a:pt x="16" y="346"/>
                  </a:lnTo>
                  <a:lnTo>
                    <a:pt x="14" y="346"/>
                  </a:lnTo>
                  <a:lnTo>
                    <a:pt x="12" y="346"/>
                  </a:lnTo>
                  <a:lnTo>
                    <a:pt x="10" y="346"/>
                  </a:lnTo>
                  <a:lnTo>
                    <a:pt x="10" y="348"/>
                  </a:lnTo>
                  <a:lnTo>
                    <a:pt x="10" y="346"/>
                  </a:lnTo>
                  <a:lnTo>
                    <a:pt x="8" y="346"/>
                  </a:lnTo>
                  <a:lnTo>
                    <a:pt x="10" y="346"/>
                  </a:lnTo>
                  <a:lnTo>
                    <a:pt x="10" y="344"/>
                  </a:lnTo>
                  <a:lnTo>
                    <a:pt x="10" y="346"/>
                  </a:lnTo>
                  <a:lnTo>
                    <a:pt x="10" y="344"/>
                  </a:lnTo>
                  <a:lnTo>
                    <a:pt x="12" y="344"/>
                  </a:lnTo>
                  <a:lnTo>
                    <a:pt x="10" y="344"/>
                  </a:lnTo>
                  <a:lnTo>
                    <a:pt x="12" y="344"/>
                  </a:lnTo>
                  <a:lnTo>
                    <a:pt x="12" y="346"/>
                  </a:lnTo>
                  <a:lnTo>
                    <a:pt x="12" y="344"/>
                  </a:lnTo>
                  <a:lnTo>
                    <a:pt x="12" y="342"/>
                  </a:lnTo>
                  <a:lnTo>
                    <a:pt x="14" y="342"/>
                  </a:lnTo>
                  <a:lnTo>
                    <a:pt x="14" y="344"/>
                  </a:lnTo>
                  <a:lnTo>
                    <a:pt x="14" y="342"/>
                  </a:lnTo>
                  <a:lnTo>
                    <a:pt x="12" y="342"/>
                  </a:lnTo>
                  <a:lnTo>
                    <a:pt x="12" y="340"/>
                  </a:lnTo>
                  <a:lnTo>
                    <a:pt x="10" y="340"/>
                  </a:lnTo>
                  <a:lnTo>
                    <a:pt x="8" y="340"/>
                  </a:lnTo>
                  <a:lnTo>
                    <a:pt x="10" y="340"/>
                  </a:lnTo>
                  <a:lnTo>
                    <a:pt x="10" y="338"/>
                  </a:lnTo>
                  <a:lnTo>
                    <a:pt x="8" y="338"/>
                  </a:lnTo>
                  <a:lnTo>
                    <a:pt x="10" y="338"/>
                  </a:lnTo>
                  <a:lnTo>
                    <a:pt x="10" y="336"/>
                  </a:lnTo>
                  <a:lnTo>
                    <a:pt x="10" y="338"/>
                  </a:lnTo>
                  <a:lnTo>
                    <a:pt x="12" y="338"/>
                  </a:lnTo>
                  <a:lnTo>
                    <a:pt x="12" y="340"/>
                  </a:lnTo>
                  <a:lnTo>
                    <a:pt x="14" y="340"/>
                  </a:lnTo>
                  <a:lnTo>
                    <a:pt x="14" y="342"/>
                  </a:lnTo>
                  <a:lnTo>
                    <a:pt x="14" y="344"/>
                  </a:lnTo>
                  <a:lnTo>
                    <a:pt x="14" y="342"/>
                  </a:lnTo>
                  <a:lnTo>
                    <a:pt x="16" y="342"/>
                  </a:lnTo>
                  <a:lnTo>
                    <a:pt x="14" y="342"/>
                  </a:lnTo>
                  <a:lnTo>
                    <a:pt x="16" y="342"/>
                  </a:lnTo>
                  <a:lnTo>
                    <a:pt x="14" y="342"/>
                  </a:lnTo>
                  <a:lnTo>
                    <a:pt x="16" y="342"/>
                  </a:lnTo>
                  <a:lnTo>
                    <a:pt x="16" y="340"/>
                  </a:lnTo>
                  <a:lnTo>
                    <a:pt x="14" y="340"/>
                  </a:lnTo>
                  <a:lnTo>
                    <a:pt x="14" y="338"/>
                  </a:lnTo>
                  <a:lnTo>
                    <a:pt x="16" y="338"/>
                  </a:lnTo>
                  <a:lnTo>
                    <a:pt x="18" y="338"/>
                  </a:lnTo>
                  <a:lnTo>
                    <a:pt x="18" y="340"/>
                  </a:lnTo>
                  <a:lnTo>
                    <a:pt x="18" y="338"/>
                  </a:lnTo>
                  <a:lnTo>
                    <a:pt x="20" y="338"/>
                  </a:lnTo>
                  <a:lnTo>
                    <a:pt x="21" y="338"/>
                  </a:lnTo>
                  <a:lnTo>
                    <a:pt x="21" y="340"/>
                  </a:lnTo>
                  <a:lnTo>
                    <a:pt x="20" y="340"/>
                  </a:lnTo>
                  <a:lnTo>
                    <a:pt x="20" y="342"/>
                  </a:lnTo>
                  <a:lnTo>
                    <a:pt x="20" y="344"/>
                  </a:lnTo>
                  <a:lnTo>
                    <a:pt x="20" y="342"/>
                  </a:lnTo>
                  <a:lnTo>
                    <a:pt x="21" y="342"/>
                  </a:lnTo>
                  <a:lnTo>
                    <a:pt x="21" y="340"/>
                  </a:lnTo>
                  <a:lnTo>
                    <a:pt x="23" y="340"/>
                  </a:lnTo>
                  <a:lnTo>
                    <a:pt x="23" y="342"/>
                  </a:lnTo>
                  <a:lnTo>
                    <a:pt x="21" y="342"/>
                  </a:lnTo>
                  <a:lnTo>
                    <a:pt x="23" y="342"/>
                  </a:lnTo>
                  <a:lnTo>
                    <a:pt x="23" y="340"/>
                  </a:lnTo>
                  <a:lnTo>
                    <a:pt x="25" y="340"/>
                  </a:lnTo>
                  <a:lnTo>
                    <a:pt x="25" y="342"/>
                  </a:lnTo>
                  <a:lnTo>
                    <a:pt x="27" y="342"/>
                  </a:lnTo>
                  <a:lnTo>
                    <a:pt x="25" y="342"/>
                  </a:lnTo>
                  <a:lnTo>
                    <a:pt x="27" y="342"/>
                  </a:lnTo>
                  <a:lnTo>
                    <a:pt x="25" y="342"/>
                  </a:lnTo>
                  <a:lnTo>
                    <a:pt x="25" y="340"/>
                  </a:lnTo>
                  <a:lnTo>
                    <a:pt x="25" y="342"/>
                  </a:lnTo>
                  <a:lnTo>
                    <a:pt x="25" y="340"/>
                  </a:lnTo>
                  <a:lnTo>
                    <a:pt x="23" y="340"/>
                  </a:lnTo>
                  <a:lnTo>
                    <a:pt x="23" y="338"/>
                  </a:lnTo>
                  <a:lnTo>
                    <a:pt x="21" y="338"/>
                  </a:lnTo>
                  <a:lnTo>
                    <a:pt x="21" y="336"/>
                  </a:lnTo>
                  <a:lnTo>
                    <a:pt x="21" y="338"/>
                  </a:lnTo>
                  <a:lnTo>
                    <a:pt x="23" y="338"/>
                  </a:lnTo>
                  <a:lnTo>
                    <a:pt x="23" y="336"/>
                  </a:lnTo>
                  <a:lnTo>
                    <a:pt x="21" y="336"/>
                  </a:lnTo>
                  <a:lnTo>
                    <a:pt x="21" y="334"/>
                  </a:lnTo>
                  <a:lnTo>
                    <a:pt x="23" y="334"/>
                  </a:lnTo>
                  <a:lnTo>
                    <a:pt x="23" y="332"/>
                  </a:lnTo>
                  <a:lnTo>
                    <a:pt x="25" y="332"/>
                  </a:lnTo>
                  <a:lnTo>
                    <a:pt x="27" y="332"/>
                  </a:lnTo>
                  <a:lnTo>
                    <a:pt x="27" y="334"/>
                  </a:lnTo>
                  <a:lnTo>
                    <a:pt x="27" y="336"/>
                  </a:lnTo>
                  <a:lnTo>
                    <a:pt x="29" y="336"/>
                  </a:lnTo>
                  <a:lnTo>
                    <a:pt x="29" y="338"/>
                  </a:lnTo>
                  <a:lnTo>
                    <a:pt x="29" y="336"/>
                  </a:lnTo>
                  <a:lnTo>
                    <a:pt x="29" y="338"/>
                  </a:lnTo>
                  <a:lnTo>
                    <a:pt x="31" y="338"/>
                  </a:lnTo>
                  <a:lnTo>
                    <a:pt x="31" y="340"/>
                  </a:lnTo>
                  <a:lnTo>
                    <a:pt x="29" y="340"/>
                  </a:lnTo>
                  <a:lnTo>
                    <a:pt x="31" y="340"/>
                  </a:lnTo>
                  <a:lnTo>
                    <a:pt x="31" y="338"/>
                  </a:lnTo>
                  <a:lnTo>
                    <a:pt x="29" y="338"/>
                  </a:lnTo>
                  <a:lnTo>
                    <a:pt x="31" y="338"/>
                  </a:lnTo>
                  <a:lnTo>
                    <a:pt x="31" y="336"/>
                  </a:lnTo>
                  <a:lnTo>
                    <a:pt x="29" y="336"/>
                  </a:lnTo>
                  <a:lnTo>
                    <a:pt x="29" y="334"/>
                  </a:lnTo>
                  <a:lnTo>
                    <a:pt x="27" y="334"/>
                  </a:lnTo>
                  <a:lnTo>
                    <a:pt x="29" y="334"/>
                  </a:lnTo>
                  <a:lnTo>
                    <a:pt x="27" y="334"/>
                  </a:lnTo>
                  <a:lnTo>
                    <a:pt x="27" y="332"/>
                  </a:lnTo>
                  <a:lnTo>
                    <a:pt x="27" y="330"/>
                  </a:lnTo>
                  <a:lnTo>
                    <a:pt x="29" y="330"/>
                  </a:lnTo>
                  <a:lnTo>
                    <a:pt x="29" y="332"/>
                  </a:lnTo>
                  <a:lnTo>
                    <a:pt x="31" y="332"/>
                  </a:lnTo>
                  <a:lnTo>
                    <a:pt x="29" y="332"/>
                  </a:lnTo>
                  <a:lnTo>
                    <a:pt x="31" y="332"/>
                  </a:lnTo>
                  <a:lnTo>
                    <a:pt x="29" y="332"/>
                  </a:lnTo>
                  <a:lnTo>
                    <a:pt x="31" y="332"/>
                  </a:lnTo>
                  <a:lnTo>
                    <a:pt x="29" y="332"/>
                  </a:lnTo>
                  <a:lnTo>
                    <a:pt x="31" y="332"/>
                  </a:lnTo>
                  <a:lnTo>
                    <a:pt x="29" y="332"/>
                  </a:lnTo>
                  <a:lnTo>
                    <a:pt x="29" y="330"/>
                  </a:lnTo>
                  <a:lnTo>
                    <a:pt x="31" y="330"/>
                  </a:lnTo>
                  <a:lnTo>
                    <a:pt x="29" y="330"/>
                  </a:lnTo>
                  <a:lnTo>
                    <a:pt x="31" y="330"/>
                  </a:lnTo>
                  <a:lnTo>
                    <a:pt x="31" y="328"/>
                  </a:lnTo>
                  <a:lnTo>
                    <a:pt x="33" y="328"/>
                  </a:lnTo>
                  <a:lnTo>
                    <a:pt x="33" y="330"/>
                  </a:lnTo>
                  <a:lnTo>
                    <a:pt x="35" y="330"/>
                  </a:lnTo>
                  <a:lnTo>
                    <a:pt x="35" y="332"/>
                  </a:lnTo>
                  <a:lnTo>
                    <a:pt x="35" y="334"/>
                  </a:lnTo>
                  <a:lnTo>
                    <a:pt x="37" y="334"/>
                  </a:lnTo>
                  <a:lnTo>
                    <a:pt x="37" y="336"/>
                  </a:lnTo>
                  <a:lnTo>
                    <a:pt x="37" y="338"/>
                  </a:lnTo>
                  <a:lnTo>
                    <a:pt x="35" y="338"/>
                  </a:lnTo>
                  <a:lnTo>
                    <a:pt x="35" y="340"/>
                  </a:lnTo>
                  <a:lnTo>
                    <a:pt x="35" y="342"/>
                  </a:lnTo>
                  <a:lnTo>
                    <a:pt x="35" y="340"/>
                  </a:lnTo>
                  <a:lnTo>
                    <a:pt x="37" y="340"/>
                  </a:lnTo>
                  <a:lnTo>
                    <a:pt x="35" y="340"/>
                  </a:lnTo>
                  <a:lnTo>
                    <a:pt x="37" y="340"/>
                  </a:lnTo>
                  <a:lnTo>
                    <a:pt x="39" y="340"/>
                  </a:lnTo>
                  <a:lnTo>
                    <a:pt x="37" y="340"/>
                  </a:lnTo>
                  <a:lnTo>
                    <a:pt x="35" y="340"/>
                  </a:lnTo>
                  <a:lnTo>
                    <a:pt x="37" y="340"/>
                  </a:lnTo>
                  <a:lnTo>
                    <a:pt x="37" y="338"/>
                  </a:lnTo>
                  <a:lnTo>
                    <a:pt x="37" y="336"/>
                  </a:lnTo>
                  <a:lnTo>
                    <a:pt x="37" y="334"/>
                  </a:lnTo>
                  <a:lnTo>
                    <a:pt x="39" y="334"/>
                  </a:lnTo>
                  <a:lnTo>
                    <a:pt x="39" y="336"/>
                  </a:lnTo>
                  <a:lnTo>
                    <a:pt x="41" y="336"/>
                  </a:lnTo>
                  <a:lnTo>
                    <a:pt x="41" y="334"/>
                  </a:lnTo>
                  <a:lnTo>
                    <a:pt x="43" y="334"/>
                  </a:lnTo>
                  <a:lnTo>
                    <a:pt x="43" y="336"/>
                  </a:lnTo>
                  <a:lnTo>
                    <a:pt x="43" y="334"/>
                  </a:lnTo>
                  <a:lnTo>
                    <a:pt x="41" y="334"/>
                  </a:lnTo>
                  <a:lnTo>
                    <a:pt x="39" y="334"/>
                  </a:lnTo>
                  <a:lnTo>
                    <a:pt x="37" y="334"/>
                  </a:lnTo>
                  <a:lnTo>
                    <a:pt x="35" y="334"/>
                  </a:lnTo>
                  <a:lnTo>
                    <a:pt x="35" y="332"/>
                  </a:lnTo>
                  <a:lnTo>
                    <a:pt x="37" y="332"/>
                  </a:lnTo>
                  <a:lnTo>
                    <a:pt x="35" y="332"/>
                  </a:lnTo>
                  <a:lnTo>
                    <a:pt x="35" y="330"/>
                  </a:lnTo>
                  <a:lnTo>
                    <a:pt x="35" y="328"/>
                  </a:lnTo>
                  <a:lnTo>
                    <a:pt x="33" y="328"/>
                  </a:lnTo>
                  <a:lnTo>
                    <a:pt x="31" y="328"/>
                  </a:lnTo>
                  <a:lnTo>
                    <a:pt x="33" y="328"/>
                  </a:lnTo>
                  <a:lnTo>
                    <a:pt x="31" y="328"/>
                  </a:lnTo>
                  <a:lnTo>
                    <a:pt x="33" y="328"/>
                  </a:lnTo>
                  <a:lnTo>
                    <a:pt x="31" y="328"/>
                  </a:lnTo>
                  <a:lnTo>
                    <a:pt x="31" y="327"/>
                  </a:lnTo>
                  <a:lnTo>
                    <a:pt x="29" y="327"/>
                  </a:lnTo>
                  <a:lnTo>
                    <a:pt x="31" y="327"/>
                  </a:lnTo>
                  <a:lnTo>
                    <a:pt x="29" y="327"/>
                  </a:lnTo>
                  <a:lnTo>
                    <a:pt x="27" y="327"/>
                  </a:lnTo>
                  <a:lnTo>
                    <a:pt x="25" y="327"/>
                  </a:lnTo>
                  <a:lnTo>
                    <a:pt x="25" y="325"/>
                  </a:lnTo>
                  <a:lnTo>
                    <a:pt x="27" y="325"/>
                  </a:lnTo>
                  <a:lnTo>
                    <a:pt x="29" y="325"/>
                  </a:lnTo>
                  <a:lnTo>
                    <a:pt x="29" y="327"/>
                  </a:lnTo>
                  <a:lnTo>
                    <a:pt x="29" y="325"/>
                  </a:lnTo>
                  <a:lnTo>
                    <a:pt x="31" y="325"/>
                  </a:lnTo>
                  <a:lnTo>
                    <a:pt x="31" y="327"/>
                  </a:lnTo>
                  <a:lnTo>
                    <a:pt x="31" y="325"/>
                  </a:lnTo>
                  <a:lnTo>
                    <a:pt x="31" y="323"/>
                  </a:lnTo>
                  <a:lnTo>
                    <a:pt x="31" y="325"/>
                  </a:lnTo>
                  <a:lnTo>
                    <a:pt x="31" y="323"/>
                  </a:lnTo>
                  <a:lnTo>
                    <a:pt x="33" y="323"/>
                  </a:lnTo>
                  <a:lnTo>
                    <a:pt x="35" y="323"/>
                  </a:lnTo>
                  <a:lnTo>
                    <a:pt x="35" y="325"/>
                  </a:lnTo>
                  <a:lnTo>
                    <a:pt x="35" y="323"/>
                  </a:lnTo>
                  <a:lnTo>
                    <a:pt x="37" y="323"/>
                  </a:lnTo>
                  <a:lnTo>
                    <a:pt x="37" y="325"/>
                  </a:lnTo>
                  <a:lnTo>
                    <a:pt x="37" y="323"/>
                  </a:lnTo>
                  <a:lnTo>
                    <a:pt x="37" y="325"/>
                  </a:lnTo>
                  <a:lnTo>
                    <a:pt x="39" y="325"/>
                  </a:lnTo>
                  <a:lnTo>
                    <a:pt x="39" y="327"/>
                  </a:lnTo>
                  <a:lnTo>
                    <a:pt x="39" y="325"/>
                  </a:lnTo>
                  <a:lnTo>
                    <a:pt x="39" y="323"/>
                  </a:lnTo>
                  <a:lnTo>
                    <a:pt x="39" y="325"/>
                  </a:lnTo>
                  <a:lnTo>
                    <a:pt x="41" y="325"/>
                  </a:lnTo>
                  <a:lnTo>
                    <a:pt x="43" y="325"/>
                  </a:lnTo>
                  <a:lnTo>
                    <a:pt x="41" y="325"/>
                  </a:lnTo>
                  <a:lnTo>
                    <a:pt x="43" y="325"/>
                  </a:lnTo>
                  <a:lnTo>
                    <a:pt x="41" y="325"/>
                  </a:lnTo>
                  <a:lnTo>
                    <a:pt x="43" y="325"/>
                  </a:lnTo>
                  <a:lnTo>
                    <a:pt x="43" y="327"/>
                  </a:lnTo>
                  <a:lnTo>
                    <a:pt x="44" y="327"/>
                  </a:lnTo>
                  <a:lnTo>
                    <a:pt x="44" y="328"/>
                  </a:lnTo>
                  <a:lnTo>
                    <a:pt x="44" y="327"/>
                  </a:lnTo>
                  <a:lnTo>
                    <a:pt x="46" y="327"/>
                  </a:lnTo>
                  <a:lnTo>
                    <a:pt x="48" y="327"/>
                  </a:lnTo>
                  <a:lnTo>
                    <a:pt x="48" y="325"/>
                  </a:lnTo>
                  <a:lnTo>
                    <a:pt x="46" y="325"/>
                  </a:lnTo>
                  <a:lnTo>
                    <a:pt x="46" y="327"/>
                  </a:lnTo>
                  <a:lnTo>
                    <a:pt x="44" y="327"/>
                  </a:lnTo>
                  <a:lnTo>
                    <a:pt x="43" y="327"/>
                  </a:lnTo>
                  <a:lnTo>
                    <a:pt x="43" y="325"/>
                  </a:lnTo>
                  <a:lnTo>
                    <a:pt x="43" y="323"/>
                  </a:lnTo>
                  <a:lnTo>
                    <a:pt x="44" y="323"/>
                  </a:lnTo>
                  <a:lnTo>
                    <a:pt x="44" y="325"/>
                  </a:lnTo>
                  <a:lnTo>
                    <a:pt x="44" y="323"/>
                  </a:lnTo>
                  <a:lnTo>
                    <a:pt x="44" y="321"/>
                  </a:lnTo>
                  <a:lnTo>
                    <a:pt x="46" y="321"/>
                  </a:lnTo>
                  <a:lnTo>
                    <a:pt x="48" y="321"/>
                  </a:lnTo>
                  <a:lnTo>
                    <a:pt x="50" y="321"/>
                  </a:lnTo>
                  <a:lnTo>
                    <a:pt x="52" y="321"/>
                  </a:lnTo>
                  <a:lnTo>
                    <a:pt x="52" y="323"/>
                  </a:lnTo>
                  <a:lnTo>
                    <a:pt x="52" y="321"/>
                  </a:lnTo>
                  <a:lnTo>
                    <a:pt x="52" y="319"/>
                  </a:lnTo>
                  <a:lnTo>
                    <a:pt x="50" y="319"/>
                  </a:lnTo>
                  <a:lnTo>
                    <a:pt x="52" y="319"/>
                  </a:lnTo>
                  <a:lnTo>
                    <a:pt x="50" y="319"/>
                  </a:lnTo>
                  <a:lnTo>
                    <a:pt x="48" y="319"/>
                  </a:lnTo>
                  <a:lnTo>
                    <a:pt x="48" y="321"/>
                  </a:lnTo>
                  <a:lnTo>
                    <a:pt x="46" y="321"/>
                  </a:lnTo>
                  <a:lnTo>
                    <a:pt x="44" y="321"/>
                  </a:lnTo>
                  <a:lnTo>
                    <a:pt x="44" y="323"/>
                  </a:lnTo>
                  <a:lnTo>
                    <a:pt x="43" y="323"/>
                  </a:lnTo>
                  <a:lnTo>
                    <a:pt x="43" y="321"/>
                  </a:lnTo>
                  <a:lnTo>
                    <a:pt x="43" y="323"/>
                  </a:lnTo>
                  <a:lnTo>
                    <a:pt x="43" y="321"/>
                  </a:lnTo>
                  <a:lnTo>
                    <a:pt x="43" y="323"/>
                  </a:lnTo>
                  <a:lnTo>
                    <a:pt x="43" y="321"/>
                  </a:lnTo>
                  <a:lnTo>
                    <a:pt x="43" y="323"/>
                  </a:lnTo>
                  <a:lnTo>
                    <a:pt x="43" y="321"/>
                  </a:lnTo>
                  <a:lnTo>
                    <a:pt x="43" y="323"/>
                  </a:lnTo>
                  <a:lnTo>
                    <a:pt x="43" y="321"/>
                  </a:lnTo>
                  <a:lnTo>
                    <a:pt x="43" y="323"/>
                  </a:lnTo>
                  <a:lnTo>
                    <a:pt x="43" y="321"/>
                  </a:lnTo>
                  <a:lnTo>
                    <a:pt x="43" y="323"/>
                  </a:lnTo>
                  <a:lnTo>
                    <a:pt x="41" y="323"/>
                  </a:lnTo>
                  <a:lnTo>
                    <a:pt x="41" y="321"/>
                  </a:lnTo>
                  <a:lnTo>
                    <a:pt x="43" y="321"/>
                  </a:lnTo>
                  <a:lnTo>
                    <a:pt x="41" y="321"/>
                  </a:lnTo>
                  <a:lnTo>
                    <a:pt x="43" y="321"/>
                  </a:lnTo>
                  <a:lnTo>
                    <a:pt x="41" y="321"/>
                  </a:lnTo>
                  <a:lnTo>
                    <a:pt x="43" y="321"/>
                  </a:lnTo>
                  <a:lnTo>
                    <a:pt x="43" y="319"/>
                  </a:lnTo>
                  <a:lnTo>
                    <a:pt x="44" y="319"/>
                  </a:lnTo>
                  <a:lnTo>
                    <a:pt x="46" y="319"/>
                  </a:lnTo>
                  <a:lnTo>
                    <a:pt x="44" y="319"/>
                  </a:lnTo>
                  <a:lnTo>
                    <a:pt x="43" y="319"/>
                  </a:lnTo>
                  <a:lnTo>
                    <a:pt x="41" y="319"/>
                  </a:lnTo>
                  <a:lnTo>
                    <a:pt x="41" y="321"/>
                  </a:lnTo>
                  <a:lnTo>
                    <a:pt x="39" y="321"/>
                  </a:lnTo>
                  <a:lnTo>
                    <a:pt x="37" y="321"/>
                  </a:lnTo>
                  <a:lnTo>
                    <a:pt x="35" y="321"/>
                  </a:lnTo>
                  <a:lnTo>
                    <a:pt x="37" y="321"/>
                  </a:lnTo>
                  <a:lnTo>
                    <a:pt x="37" y="319"/>
                  </a:lnTo>
                  <a:lnTo>
                    <a:pt x="35" y="319"/>
                  </a:lnTo>
                  <a:lnTo>
                    <a:pt x="37" y="319"/>
                  </a:lnTo>
                  <a:lnTo>
                    <a:pt x="35" y="319"/>
                  </a:lnTo>
                  <a:lnTo>
                    <a:pt x="37" y="319"/>
                  </a:lnTo>
                  <a:lnTo>
                    <a:pt x="37" y="317"/>
                  </a:lnTo>
                  <a:lnTo>
                    <a:pt x="39" y="317"/>
                  </a:lnTo>
                  <a:lnTo>
                    <a:pt x="37" y="317"/>
                  </a:lnTo>
                  <a:lnTo>
                    <a:pt x="39" y="317"/>
                  </a:lnTo>
                  <a:lnTo>
                    <a:pt x="37" y="317"/>
                  </a:lnTo>
                  <a:lnTo>
                    <a:pt x="39" y="317"/>
                  </a:lnTo>
                  <a:lnTo>
                    <a:pt x="37" y="317"/>
                  </a:lnTo>
                  <a:lnTo>
                    <a:pt x="39" y="317"/>
                  </a:lnTo>
                  <a:lnTo>
                    <a:pt x="39" y="319"/>
                  </a:lnTo>
                  <a:lnTo>
                    <a:pt x="41" y="319"/>
                  </a:lnTo>
                  <a:lnTo>
                    <a:pt x="41" y="317"/>
                  </a:lnTo>
                  <a:lnTo>
                    <a:pt x="39" y="317"/>
                  </a:lnTo>
                  <a:lnTo>
                    <a:pt x="37" y="317"/>
                  </a:lnTo>
                  <a:lnTo>
                    <a:pt x="37" y="315"/>
                  </a:lnTo>
                  <a:lnTo>
                    <a:pt x="35" y="315"/>
                  </a:lnTo>
                  <a:lnTo>
                    <a:pt x="37" y="315"/>
                  </a:lnTo>
                  <a:lnTo>
                    <a:pt x="35" y="315"/>
                  </a:lnTo>
                  <a:lnTo>
                    <a:pt x="37" y="315"/>
                  </a:lnTo>
                  <a:lnTo>
                    <a:pt x="35" y="315"/>
                  </a:lnTo>
                  <a:lnTo>
                    <a:pt x="37" y="315"/>
                  </a:lnTo>
                  <a:lnTo>
                    <a:pt x="35" y="315"/>
                  </a:lnTo>
                  <a:lnTo>
                    <a:pt x="37" y="315"/>
                  </a:lnTo>
                  <a:lnTo>
                    <a:pt x="35" y="315"/>
                  </a:lnTo>
                  <a:lnTo>
                    <a:pt x="37" y="315"/>
                  </a:lnTo>
                  <a:lnTo>
                    <a:pt x="35" y="315"/>
                  </a:lnTo>
                  <a:lnTo>
                    <a:pt x="37" y="313"/>
                  </a:lnTo>
                  <a:lnTo>
                    <a:pt x="39" y="313"/>
                  </a:lnTo>
                  <a:lnTo>
                    <a:pt x="37" y="313"/>
                  </a:lnTo>
                  <a:lnTo>
                    <a:pt x="39" y="313"/>
                  </a:lnTo>
                  <a:lnTo>
                    <a:pt x="37" y="313"/>
                  </a:lnTo>
                  <a:lnTo>
                    <a:pt x="39" y="313"/>
                  </a:lnTo>
                  <a:lnTo>
                    <a:pt x="39" y="311"/>
                  </a:lnTo>
                  <a:lnTo>
                    <a:pt x="41" y="311"/>
                  </a:lnTo>
                  <a:lnTo>
                    <a:pt x="41" y="313"/>
                  </a:lnTo>
                  <a:lnTo>
                    <a:pt x="41" y="311"/>
                  </a:lnTo>
                  <a:lnTo>
                    <a:pt x="41" y="313"/>
                  </a:lnTo>
                  <a:lnTo>
                    <a:pt x="41" y="311"/>
                  </a:lnTo>
                  <a:lnTo>
                    <a:pt x="41" y="313"/>
                  </a:lnTo>
                  <a:lnTo>
                    <a:pt x="43" y="313"/>
                  </a:lnTo>
                  <a:lnTo>
                    <a:pt x="43" y="315"/>
                  </a:lnTo>
                  <a:lnTo>
                    <a:pt x="44" y="315"/>
                  </a:lnTo>
                  <a:lnTo>
                    <a:pt x="44" y="313"/>
                  </a:lnTo>
                  <a:lnTo>
                    <a:pt x="46" y="313"/>
                  </a:lnTo>
                  <a:lnTo>
                    <a:pt x="48" y="313"/>
                  </a:lnTo>
                  <a:lnTo>
                    <a:pt x="46" y="313"/>
                  </a:lnTo>
                  <a:lnTo>
                    <a:pt x="46" y="315"/>
                  </a:lnTo>
                  <a:lnTo>
                    <a:pt x="48" y="315"/>
                  </a:lnTo>
                  <a:lnTo>
                    <a:pt x="48" y="313"/>
                  </a:lnTo>
                  <a:lnTo>
                    <a:pt x="50" y="313"/>
                  </a:lnTo>
                  <a:lnTo>
                    <a:pt x="52" y="313"/>
                  </a:lnTo>
                  <a:lnTo>
                    <a:pt x="52" y="315"/>
                  </a:lnTo>
                  <a:lnTo>
                    <a:pt x="52" y="313"/>
                  </a:lnTo>
                  <a:lnTo>
                    <a:pt x="52" y="315"/>
                  </a:lnTo>
                  <a:lnTo>
                    <a:pt x="52" y="317"/>
                  </a:lnTo>
                  <a:lnTo>
                    <a:pt x="54" y="317"/>
                  </a:lnTo>
                  <a:lnTo>
                    <a:pt x="54" y="319"/>
                  </a:lnTo>
                  <a:lnTo>
                    <a:pt x="56" y="319"/>
                  </a:lnTo>
                  <a:lnTo>
                    <a:pt x="56" y="321"/>
                  </a:lnTo>
                  <a:lnTo>
                    <a:pt x="58" y="321"/>
                  </a:lnTo>
                  <a:lnTo>
                    <a:pt x="58" y="323"/>
                  </a:lnTo>
                  <a:lnTo>
                    <a:pt x="60" y="323"/>
                  </a:lnTo>
                  <a:lnTo>
                    <a:pt x="58" y="323"/>
                  </a:lnTo>
                  <a:lnTo>
                    <a:pt x="60" y="323"/>
                  </a:lnTo>
                  <a:lnTo>
                    <a:pt x="58" y="323"/>
                  </a:lnTo>
                  <a:lnTo>
                    <a:pt x="60" y="323"/>
                  </a:lnTo>
                  <a:lnTo>
                    <a:pt x="58" y="323"/>
                  </a:lnTo>
                  <a:lnTo>
                    <a:pt x="60" y="323"/>
                  </a:lnTo>
                  <a:lnTo>
                    <a:pt x="60" y="321"/>
                  </a:lnTo>
                  <a:lnTo>
                    <a:pt x="58" y="321"/>
                  </a:lnTo>
                  <a:lnTo>
                    <a:pt x="58" y="319"/>
                  </a:lnTo>
                  <a:lnTo>
                    <a:pt x="56" y="319"/>
                  </a:lnTo>
                  <a:lnTo>
                    <a:pt x="54" y="319"/>
                  </a:lnTo>
                  <a:lnTo>
                    <a:pt x="54" y="317"/>
                  </a:lnTo>
                  <a:lnTo>
                    <a:pt x="54" y="319"/>
                  </a:lnTo>
                  <a:lnTo>
                    <a:pt x="54" y="317"/>
                  </a:lnTo>
                  <a:lnTo>
                    <a:pt x="54" y="315"/>
                  </a:lnTo>
                  <a:lnTo>
                    <a:pt x="52" y="315"/>
                  </a:lnTo>
                  <a:lnTo>
                    <a:pt x="54" y="315"/>
                  </a:lnTo>
                  <a:lnTo>
                    <a:pt x="52" y="315"/>
                  </a:lnTo>
                  <a:lnTo>
                    <a:pt x="54" y="315"/>
                  </a:lnTo>
                  <a:lnTo>
                    <a:pt x="54" y="313"/>
                  </a:lnTo>
                  <a:lnTo>
                    <a:pt x="52" y="313"/>
                  </a:lnTo>
                  <a:lnTo>
                    <a:pt x="52" y="311"/>
                  </a:lnTo>
                  <a:lnTo>
                    <a:pt x="50" y="311"/>
                  </a:lnTo>
                  <a:lnTo>
                    <a:pt x="50" y="309"/>
                  </a:lnTo>
                  <a:lnTo>
                    <a:pt x="52" y="309"/>
                  </a:lnTo>
                  <a:lnTo>
                    <a:pt x="52" y="307"/>
                  </a:lnTo>
                  <a:lnTo>
                    <a:pt x="52" y="309"/>
                  </a:lnTo>
                  <a:lnTo>
                    <a:pt x="52" y="311"/>
                  </a:lnTo>
                  <a:lnTo>
                    <a:pt x="52" y="309"/>
                  </a:lnTo>
                  <a:lnTo>
                    <a:pt x="52" y="311"/>
                  </a:lnTo>
                  <a:lnTo>
                    <a:pt x="52" y="309"/>
                  </a:lnTo>
                  <a:lnTo>
                    <a:pt x="52" y="311"/>
                  </a:lnTo>
                  <a:lnTo>
                    <a:pt x="54" y="311"/>
                  </a:lnTo>
                  <a:lnTo>
                    <a:pt x="54" y="313"/>
                  </a:lnTo>
                  <a:lnTo>
                    <a:pt x="56" y="313"/>
                  </a:lnTo>
                  <a:lnTo>
                    <a:pt x="56" y="315"/>
                  </a:lnTo>
                  <a:lnTo>
                    <a:pt x="56" y="317"/>
                  </a:lnTo>
                  <a:lnTo>
                    <a:pt x="56" y="315"/>
                  </a:lnTo>
                  <a:lnTo>
                    <a:pt x="56" y="317"/>
                  </a:lnTo>
                  <a:lnTo>
                    <a:pt x="56" y="315"/>
                  </a:lnTo>
                  <a:lnTo>
                    <a:pt x="58" y="317"/>
                  </a:lnTo>
                  <a:lnTo>
                    <a:pt x="58" y="315"/>
                  </a:lnTo>
                  <a:lnTo>
                    <a:pt x="58" y="317"/>
                  </a:lnTo>
                  <a:lnTo>
                    <a:pt x="60" y="317"/>
                  </a:lnTo>
                  <a:lnTo>
                    <a:pt x="62" y="317"/>
                  </a:lnTo>
                  <a:lnTo>
                    <a:pt x="60" y="317"/>
                  </a:lnTo>
                  <a:lnTo>
                    <a:pt x="60" y="315"/>
                  </a:lnTo>
                  <a:lnTo>
                    <a:pt x="58" y="315"/>
                  </a:lnTo>
                  <a:lnTo>
                    <a:pt x="58" y="313"/>
                  </a:lnTo>
                  <a:lnTo>
                    <a:pt x="60" y="313"/>
                  </a:lnTo>
                  <a:lnTo>
                    <a:pt x="60" y="311"/>
                  </a:lnTo>
                  <a:lnTo>
                    <a:pt x="60" y="313"/>
                  </a:lnTo>
                  <a:lnTo>
                    <a:pt x="60" y="311"/>
                  </a:lnTo>
                  <a:lnTo>
                    <a:pt x="60" y="313"/>
                  </a:lnTo>
                  <a:lnTo>
                    <a:pt x="58" y="313"/>
                  </a:lnTo>
                  <a:lnTo>
                    <a:pt x="58" y="311"/>
                  </a:lnTo>
                  <a:lnTo>
                    <a:pt x="60" y="311"/>
                  </a:lnTo>
                  <a:lnTo>
                    <a:pt x="58" y="311"/>
                  </a:lnTo>
                  <a:lnTo>
                    <a:pt x="58" y="313"/>
                  </a:lnTo>
                  <a:lnTo>
                    <a:pt x="56" y="313"/>
                  </a:lnTo>
                  <a:lnTo>
                    <a:pt x="56" y="311"/>
                  </a:lnTo>
                  <a:lnTo>
                    <a:pt x="58" y="311"/>
                  </a:lnTo>
                  <a:lnTo>
                    <a:pt x="56" y="311"/>
                  </a:lnTo>
                  <a:lnTo>
                    <a:pt x="54" y="311"/>
                  </a:lnTo>
                  <a:lnTo>
                    <a:pt x="54" y="309"/>
                  </a:lnTo>
                  <a:lnTo>
                    <a:pt x="54" y="307"/>
                  </a:lnTo>
                  <a:lnTo>
                    <a:pt x="54" y="309"/>
                  </a:lnTo>
                  <a:lnTo>
                    <a:pt x="56" y="309"/>
                  </a:lnTo>
                  <a:lnTo>
                    <a:pt x="54" y="309"/>
                  </a:lnTo>
                  <a:lnTo>
                    <a:pt x="56" y="309"/>
                  </a:lnTo>
                  <a:lnTo>
                    <a:pt x="54" y="309"/>
                  </a:lnTo>
                  <a:lnTo>
                    <a:pt x="56" y="309"/>
                  </a:lnTo>
                  <a:lnTo>
                    <a:pt x="56" y="307"/>
                  </a:lnTo>
                  <a:lnTo>
                    <a:pt x="54" y="307"/>
                  </a:lnTo>
                  <a:lnTo>
                    <a:pt x="56" y="307"/>
                  </a:lnTo>
                  <a:lnTo>
                    <a:pt x="58" y="307"/>
                  </a:lnTo>
                  <a:lnTo>
                    <a:pt x="60" y="307"/>
                  </a:lnTo>
                  <a:lnTo>
                    <a:pt x="60" y="309"/>
                  </a:lnTo>
                  <a:lnTo>
                    <a:pt x="60" y="307"/>
                  </a:lnTo>
                  <a:lnTo>
                    <a:pt x="60" y="305"/>
                  </a:lnTo>
                  <a:lnTo>
                    <a:pt x="62" y="305"/>
                  </a:lnTo>
                  <a:lnTo>
                    <a:pt x="64" y="305"/>
                  </a:lnTo>
                  <a:lnTo>
                    <a:pt x="66" y="305"/>
                  </a:lnTo>
                  <a:lnTo>
                    <a:pt x="64" y="305"/>
                  </a:lnTo>
                  <a:lnTo>
                    <a:pt x="62" y="305"/>
                  </a:lnTo>
                  <a:lnTo>
                    <a:pt x="60" y="305"/>
                  </a:lnTo>
                  <a:lnTo>
                    <a:pt x="60" y="304"/>
                  </a:lnTo>
                  <a:lnTo>
                    <a:pt x="58" y="304"/>
                  </a:lnTo>
                  <a:lnTo>
                    <a:pt x="58" y="302"/>
                  </a:lnTo>
                  <a:lnTo>
                    <a:pt x="58" y="304"/>
                  </a:lnTo>
                  <a:lnTo>
                    <a:pt x="58" y="302"/>
                  </a:lnTo>
                  <a:lnTo>
                    <a:pt x="60" y="302"/>
                  </a:lnTo>
                  <a:lnTo>
                    <a:pt x="62" y="302"/>
                  </a:lnTo>
                  <a:lnTo>
                    <a:pt x="60" y="302"/>
                  </a:lnTo>
                  <a:lnTo>
                    <a:pt x="62" y="302"/>
                  </a:lnTo>
                  <a:lnTo>
                    <a:pt x="62" y="300"/>
                  </a:lnTo>
                  <a:lnTo>
                    <a:pt x="64" y="300"/>
                  </a:lnTo>
                  <a:lnTo>
                    <a:pt x="64" y="302"/>
                  </a:lnTo>
                  <a:lnTo>
                    <a:pt x="64" y="300"/>
                  </a:lnTo>
                  <a:lnTo>
                    <a:pt x="64" y="302"/>
                  </a:lnTo>
                  <a:lnTo>
                    <a:pt x="64" y="300"/>
                  </a:lnTo>
                  <a:lnTo>
                    <a:pt x="62" y="300"/>
                  </a:lnTo>
                  <a:lnTo>
                    <a:pt x="62" y="302"/>
                  </a:lnTo>
                  <a:lnTo>
                    <a:pt x="62" y="300"/>
                  </a:lnTo>
                  <a:lnTo>
                    <a:pt x="60" y="300"/>
                  </a:lnTo>
                  <a:lnTo>
                    <a:pt x="60" y="298"/>
                  </a:lnTo>
                  <a:lnTo>
                    <a:pt x="62" y="298"/>
                  </a:lnTo>
                  <a:lnTo>
                    <a:pt x="64" y="298"/>
                  </a:lnTo>
                  <a:lnTo>
                    <a:pt x="64" y="300"/>
                  </a:lnTo>
                  <a:lnTo>
                    <a:pt x="64" y="298"/>
                  </a:lnTo>
                  <a:lnTo>
                    <a:pt x="64" y="300"/>
                  </a:lnTo>
                  <a:lnTo>
                    <a:pt x="64" y="298"/>
                  </a:lnTo>
                  <a:lnTo>
                    <a:pt x="64" y="300"/>
                  </a:lnTo>
                  <a:lnTo>
                    <a:pt x="64" y="298"/>
                  </a:lnTo>
                  <a:lnTo>
                    <a:pt x="66" y="298"/>
                  </a:lnTo>
                  <a:lnTo>
                    <a:pt x="64" y="298"/>
                  </a:lnTo>
                  <a:lnTo>
                    <a:pt x="66" y="298"/>
                  </a:lnTo>
                  <a:lnTo>
                    <a:pt x="66" y="300"/>
                  </a:lnTo>
                  <a:lnTo>
                    <a:pt x="66" y="298"/>
                  </a:lnTo>
                  <a:lnTo>
                    <a:pt x="66" y="296"/>
                  </a:lnTo>
                  <a:lnTo>
                    <a:pt x="66" y="298"/>
                  </a:lnTo>
                  <a:lnTo>
                    <a:pt x="68" y="298"/>
                  </a:lnTo>
                  <a:lnTo>
                    <a:pt x="68" y="300"/>
                  </a:lnTo>
                  <a:lnTo>
                    <a:pt x="68" y="302"/>
                  </a:lnTo>
                  <a:lnTo>
                    <a:pt x="68" y="304"/>
                  </a:lnTo>
                  <a:lnTo>
                    <a:pt x="68" y="302"/>
                  </a:lnTo>
                  <a:lnTo>
                    <a:pt x="69" y="302"/>
                  </a:lnTo>
                  <a:lnTo>
                    <a:pt x="69" y="300"/>
                  </a:lnTo>
                  <a:lnTo>
                    <a:pt x="71" y="300"/>
                  </a:lnTo>
                  <a:lnTo>
                    <a:pt x="73" y="300"/>
                  </a:lnTo>
                  <a:lnTo>
                    <a:pt x="71" y="300"/>
                  </a:lnTo>
                  <a:lnTo>
                    <a:pt x="69" y="300"/>
                  </a:lnTo>
                  <a:lnTo>
                    <a:pt x="68" y="300"/>
                  </a:lnTo>
                  <a:lnTo>
                    <a:pt x="68" y="298"/>
                  </a:lnTo>
                  <a:lnTo>
                    <a:pt x="69" y="298"/>
                  </a:lnTo>
                  <a:lnTo>
                    <a:pt x="71" y="298"/>
                  </a:lnTo>
                  <a:lnTo>
                    <a:pt x="71" y="296"/>
                  </a:lnTo>
                  <a:lnTo>
                    <a:pt x="71" y="298"/>
                  </a:lnTo>
                  <a:lnTo>
                    <a:pt x="71" y="296"/>
                  </a:lnTo>
                  <a:lnTo>
                    <a:pt x="73" y="296"/>
                  </a:lnTo>
                  <a:lnTo>
                    <a:pt x="71" y="296"/>
                  </a:lnTo>
                  <a:lnTo>
                    <a:pt x="71" y="298"/>
                  </a:lnTo>
                  <a:lnTo>
                    <a:pt x="71" y="296"/>
                  </a:lnTo>
                  <a:lnTo>
                    <a:pt x="71" y="298"/>
                  </a:lnTo>
                  <a:lnTo>
                    <a:pt x="71" y="296"/>
                  </a:lnTo>
                  <a:lnTo>
                    <a:pt x="71" y="298"/>
                  </a:lnTo>
                  <a:lnTo>
                    <a:pt x="71" y="296"/>
                  </a:lnTo>
                  <a:lnTo>
                    <a:pt x="71" y="298"/>
                  </a:lnTo>
                  <a:lnTo>
                    <a:pt x="71" y="296"/>
                  </a:lnTo>
                  <a:lnTo>
                    <a:pt x="69" y="296"/>
                  </a:lnTo>
                  <a:lnTo>
                    <a:pt x="71" y="296"/>
                  </a:lnTo>
                  <a:lnTo>
                    <a:pt x="71" y="298"/>
                  </a:lnTo>
                  <a:lnTo>
                    <a:pt x="69" y="298"/>
                  </a:lnTo>
                  <a:lnTo>
                    <a:pt x="71" y="298"/>
                  </a:lnTo>
                  <a:lnTo>
                    <a:pt x="69" y="298"/>
                  </a:lnTo>
                  <a:lnTo>
                    <a:pt x="68" y="298"/>
                  </a:lnTo>
                  <a:lnTo>
                    <a:pt x="68" y="296"/>
                  </a:lnTo>
                  <a:lnTo>
                    <a:pt x="69" y="296"/>
                  </a:lnTo>
                  <a:lnTo>
                    <a:pt x="69" y="294"/>
                  </a:lnTo>
                  <a:lnTo>
                    <a:pt x="69" y="296"/>
                  </a:lnTo>
                  <a:lnTo>
                    <a:pt x="69" y="294"/>
                  </a:lnTo>
                  <a:lnTo>
                    <a:pt x="71" y="294"/>
                  </a:lnTo>
                  <a:lnTo>
                    <a:pt x="71" y="296"/>
                  </a:lnTo>
                  <a:lnTo>
                    <a:pt x="71" y="294"/>
                  </a:lnTo>
                  <a:lnTo>
                    <a:pt x="71" y="296"/>
                  </a:lnTo>
                  <a:lnTo>
                    <a:pt x="71" y="294"/>
                  </a:lnTo>
                  <a:lnTo>
                    <a:pt x="71" y="296"/>
                  </a:lnTo>
                  <a:lnTo>
                    <a:pt x="71" y="294"/>
                  </a:lnTo>
                  <a:lnTo>
                    <a:pt x="73" y="294"/>
                  </a:lnTo>
                  <a:lnTo>
                    <a:pt x="71" y="294"/>
                  </a:lnTo>
                  <a:lnTo>
                    <a:pt x="73" y="294"/>
                  </a:lnTo>
                  <a:lnTo>
                    <a:pt x="71" y="294"/>
                  </a:lnTo>
                  <a:lnTo>
                    <a:pt x="73" y="294"/>
                  </a:lnTo>
                  <a:lnTo>
                    <a:pt x="73" y="292"/>
                  </a:lnTo>
                  <a:lnTo>
                    <a:pt x="73" y="294"/>
                  </a:lnTo>
                  <a:lnTo>
                    <a:pt x="73" y="292"/>
                  </a:lnTo>
                  <a:lnTo>
                    <a:pt x="73" y="294"/>
                  </a:lnTo>
                  <a:lnTo>
                    <a:pt x="73" y="292"/>
                  </a:lnTo>
                  <a:lnTo>
                    <a:pt x="73" y="294"/>
                  </a:lnTo>
                  <a:lnTo>
                    <a:pt x="73" y="292"/>
                  </a:lnTo>
                  <a:lnTo>
                    <a:pt x="75" y="292"/>
                  </a:lnTo>
                  <a:lnTo>
                    <a:pt x="75" y="290"/>
                  </a:lnTo>
                  <a:lnTo>
                    <a:pt x="75" y="292"/>
                  </a:lnTo>
                  <a:lnTo>
                    <a:pt x="75" y="290"/>
                  </a:lnTo>
                  <a:lnTo>
                    <a:pt x="77" y="290"/>
                  </a:lnTo>
                  <a:lnTo>
                    <a:pt x="77" y="292"/>
                  </a:lnTo>
                  <a:lnTo>
                    <a:pt x="75" y="292"/>
                  </a:lnTo>
                  <a:lnTo>
                    <a:pt x="77" y="292"/>
                  </a:lnTo>
                  <a:lnTo>
                    <a:pt x="77" y="294"/>
                  </a:lnTo>
                  <a:lnTo>
                    <a:pt x="77" y="296"/>
                  </a:lnTo>
                  <a:lnTo>
                    <a:pt x="79" y="296"/>
                  </a:lnTo>
                  <a:lnTo>
                    <a:pt x="79" y="298"/>
                  </a:lnTo>
                  <a:lnTo>
                    <a:pt x="79" y="300"/>
                  </a:lnTo>
                  <a:lnTo>
                    <a:pt x="79" y="302"/>
                  </a:lnTo>
                  <a:lnTo>
                    <a:pt x="77" y="302"/>
                  </a:lnTo>
                  <a:lnTo>
                    <a:pt x="79" y="302"/>
                  </a:lnTo>
                  <a:lnTo>
                    <a:pt x="79" y="300"/>
                  </a:lnTo>
                  <a:lnTo>
                    <a:pt x="81" y="300"/>
                  </a:lnTo>
                  <a:lnTo>
                    <a:pt x="81" y="302"/>
                  </a:lnTo>
                  <a:lnTo>
                    <a:pt x="83" y="302"/>
                  </a:lnTo>
                  <a:lnTo>
                    <a:pt x="83" y="300"/>
                  </a:lnTo>
                  <a:lnTo>
                    <a:pt x="83" y="302"/>
                  </a:lnTo>
                  <a:lnTo>
                    <a:pt x="83" y="300"/>
                  </a:lnTo>
                  <a:lnTo>
                    <a:pt x="83" y="302"/>
                  </a:lnTo>
                  <a:lnTo>
                    <a:pt x="83" y="300"/>
                  </a:lnTo>
                  <a:lnTo>
                    <a:pt x="81" y="300"/>
                  </a:lnTo>
                  <a:lnTo>
                    <a:pt x="81" y="298"/>
                  </a:lnTo>
                  <a:lnTo>
                    <a:pt x="83" y="298"/>
                  </a:lnTo>
                  <a:lnTo>
                    <a:pt x="85" y="298"/>
                  </a:lnTo>
                  <a:lnTo>
                    <a:pt x="87" y="298"/>
                  </a:lnTo>
                  <a:lnTo>
                    <a:pt x="89" y="298"/>
                  </a:lnTo>
                  <a:lnTo>
                    <a:pt x="87" y="298"/>
                  </a:lnTo>
                  <a:lnTo>
                    <a:pt x="89" y="298"/>
                  </a:lnTo>
                  <a:lnTo>
                    <a:pt x="91" y="298"/>
                  </a:lnTo>
                  <a:lnTo>
                    <a:pt x="92" y="298"/>
                  </a:lnTo>
                  <a:lnTo>
                    <a:pt x="92" y="296"/>
                  </a:lnTo>
                  <a:lnTo>
                    <a:pt x="91" y="296"/>
                  </a:lnTo>
                  <a:lnTo>
                    <a:pt x="92" y="296"/>
                  </a:lnTo>
                  <a:lnTo>
                    <a:pt x="91" y="296"/>
                  </a:lnTo>
                  <a:lnTo>
                    <a:pt x="91" y="294"/>
                  </a:lnTo>
                  <a:lnTo>
                    <a:pt x="92" y="294"/>
                  </a:lnTo>
                  <a:lnTo>
                    <a:pt x="94" y="294"/>
                  </a:lnTo>
                  <a:lnTo>
                    <a:pt x="92" y="294"/>
                  </a:lnTo>
                  <a:lnTo>
                    <a:pt x="92" y="292"/>
                  </a:lnTo>
                  <a:lnTo>
                    <a:pt x="94" y="292"/>
                  </a:lnTo>
                  <a:lnTo>
                    <a:pt x="92" y="292"/>
                  </a:lnTo>
                  <a:lnTo>
                    <a:pt x="94" y="292"/>
                  </a:lnTo>
                  <a:lnTo>
                    <a:pt x="92" y="292"/>
                  </a:lnTo>
                  <a:lnTo>
                    <a:pt x="94" y="292"/>
                  </a:lnTo>
                  <a:lnTo>
                    <a:pt x="92" y="292"/>
                  </a:lnTo>
                  <a:lnTo>
                    <a:pt x="94" y="292"/>
                  </a:lnTo>
                  <a:lnTo>
                    <a:pt x="92" y="292"/>
                  </a:lnTo>
                  <a:lnTo>
                    <a:pt x="92" y="294"/>
                  </a:lnTo>
                  <a:lnTo>
                    <a:pt x="91" y="294"/>
                  </a:lnTo>
                  <a:lnTo>
                    <a:pt x="89" y="294"/>
                  </a:lnTo>
                  <a:lnTo>
                    <a:pt x="91" y="294"/>
                  </a:lnTo>
                  <a:lnTo>
                    <a:pt x="89" y="294"/>
                  </a:lnTo>
                  <a:lnTo>
                    <a:pt x="91" y="294"/>
                  </a:lnTo>
                  <a:lnTo>
                    <a:pt x="91" y="292"/>
                  </a:lnTo>
                  <a:lnTo>
                    <a:pt x="92" y="292"/>
                  </a:lnTo>
                  <a:lnTo>
                    <a:pt x="92" y="290"/>
                  </a:lnTo>
                  <a:lnTo>
                    <a:pt x="94" y="290"/>
                  </a:lnTo>
                  <a:lnTo>
                    <a:pt x="94" y="288"/>
                  </a:lnTo>
                  <a:lnTo>
                    <a:pt x="96" y="288"/>
                  </a:lnTo>
                  <a:lnTo>
                    <a:pt x="96" y="290"/>
                  </a:lnTo>
                  <a:lnTo>
                    <a:pt x="96" y="288"/>
                  </a:lnTo>
                  <a:lnTo>
                    <a:pt x="98" y="288"/>
                  </a:lnTo>
                  <a:lnTo>
                    <a:pt x="98" y="286"/>
                  </a:lnTo>
                  <a:lnTo>
                    <a:pt x="98" y="288"/>
                  </a:lnTo>
                  <a:lnTo>
                    <a:pt x="100" y="288"/>
                  </a:lnTo>
                  <a:lnTo>
                    <a:pt x="98" y="288"/>
                  </a:lnTo>
                  <a:lnTo>
                    <a:pt x="98" y="286"/>
                  </a:lnTo>
                  <a:lnTo>
                    <a:pt x="98" y="288"/>
                  </a:lnTo>
                  <a:lnTo>
                    <a:pt x="100" y="288"/>
                  </a:lnTo>
                  <a:lnTo>
                    <a:pt x="100" y="286"/>
                  </a:lnTo>
                  <a:lnTo>
                    <a:pt x="102" y="286"/>
                  </a:lnTo>
                  <a:lnTo>
                    <a:pt x="100" y="286"/>
                  </a:lnTo>
                  <a:lnTo>
                    <a:pt x="102" y="286"/>
                  </a:lnTo>
                  <a:lnTo>
                    <a:pt x="100" y="286"/>
                  </a:lnTo>
                  <a:lnTo>
                    <a:pt x="102" y="286"/>
                  </a:lnTo>
                  <a:lnTo>
                    <a:pt x="100" y="286"/>
                  </a:lnTo>
                  <a:lnTo>
                    <a:pt x="102" y="286"/>
                  </a:lnTo>
                  <a:lnTo>
                    <a:pt x="100" y="286"/>
                  </a:lnTo>
                  <a:lnTo>
                    <a:pt x="102" y="286"/>
                  </a:lnTo>
                  <a:lnTo>
                    <a:pt x="100" y="286"/>
                  </a:lnTo>
                  <a:lnTo>
                    <a:pt x="102" y="286"/>
                  </a:lnTo>
                  <a:lnTo>
                    <a:pt x="102" y="284"/>
                  </a:lnTo>
                  <a:lnTo>
                    <a:pt x="100" y="284"/>
                  </a:lnTo>
                  <a:lnTo>
                    <a:pt x="100" y="286"/>
                  </a:lnTo>
                  <a:lnTo>
                    <a:pt x="100" y="284"/>
                  </a:lnTo>
                  <a:lnTo>
                    <a:pt x="102" y="284"/>
                  </a:lnTo>
                  <a:lnTo>
                    <a:pt x="100" y="284"/>
                  </a:lnTo>
                  <a:lnTo>
                    <a:pt x="98" y="284"/>
                  </a:lnTo>
                  <a:lnTo>
                    <a:pt x="100" y="284"/>
                  </a:lnTo>
                  <a:lnTo>
                    <a:pt x="100" y="282"/>
                  </a:lnTo>
                  <a:lnTo>
                    <a:pt x="100" y="280"/>
                  </a:lnTo>
                  <a:lnTo>
                    <a:pt x="100" y="282"/>
                  </a:lnTo>
                  <a:lnTo>
                    <a:pt x="100" y="284"/>
                  </a:lnTo>
                  <a:lnTo>
                    <a:pt x="98" y="284"/>
                  </a:lnTo>
                  <a:lnTo>
                    <a:pt x="98" y="282"/>
                  </a:lnTo>
                  <a:lnTo>
                    <a:pt x="98" y="284"/>
                  </a:lnTo>
                  <a:lnTo>
                    <a:pt x="96" y="284"/>
                  </a:lnTo>
                  <a:lnTo>
                    <a:pt x="96" y="282"/>
                  </a:lnTo>
                  <a:lnTo>
                    <a:pt x="98" y="282"/>
                  </a:lnTo>
                  <a:lnTo>
                    <a:pt x="98" y="280"/>
                  </a:lnTo>
                  <a:lnTo>
                    <a:pt x="100" y="280"/>
                  </a:lnTo>
                  <a:lnTo>
                    <a:pt x="102" y="280"/>
                  </a:lnTo>
                  <a:lnTo>
                    <a:pt x="102" y="279"/>
                  </a:lnTo>
                  <a:lnTo>
                    <a:pt x="100" y="279"/>
                  </a:lnTo>
                  <a:lnTo>
                    <a:pt x="98" y="279"/>
                  </a:lnTo>
                  <a:lnTo>
                    <a:pt x="98" y="277"/>
                  </a:lnTo>
                  <a:lnTo>
                    <a:pt x="100" y="277"/>
                  </a:lnTo>
                  <a:lnTo>
                    <a:pt x="100" y="275"/>
                  </a:lnTo>
                  <a:lnTo>
                    <a:pt x="100" y="277"/>
                  </a:lnTo>
                  <a:lnTo>
                    <a:pt x="100" y="275"/>
                  </a:lnTo>
                  <a:lnTo>
                    <a:pt x="100" y="277"/>
                  </a:lnTo>
                  <a:lnTo>
                    <a:pt x="98" y="277"/>
                  </a:lnTo>
                  <a:lnTo>
                    <a:pt x="98" y="279"/>
                  </a:lnTo>
                  <a:lnTo>
                    <a:pt x="96" y="279"/>
                  </a:lnTo>
                  <a:lnTo>
                    <a:pt x="96" y="280"/>
                  </a:lnTo>
                  <a:lnTo>
                    <a:pt x="94" y="280"/>
                  </a:lnTo>
                  <a:lnTo>
                    <a:pt x="94" y="282"/>
                  </a:lnTo>
                  <a:lnTo>
                    <a:pt x="92" y="282"/>
                  </a:lnTo>
                  <a:lnTo>
                    <a:pt x="92" y="284"/>
                  </a:lnTo>
                  <a:lnTo>
                    <a:pt x="91" y="284"/>
                  </a:lnTo>
                  <a:lnTo>
                    <a:pt x="89" y="284"/>
                  </a:lnTo>
                  <a:lnTo>
                    <a:pt x="89" y="286"/>
                  </a:lnTo>
                  <a:lnTo>
                    <a:pt x="91" y="286"/>
                  </a:lnTo>
                  <a:lnTo>
                    <a:pt x="89" y="286"/>
                  </a:lnTo>
                  <a:lnTo>
                    <a:pt x="89" y="284"/>
                  </a:lnTo>
                  <a:lnTo>
                    <a:pt x="91" y="284"/>
                  </a:lnTo>
                  <a:lnTo>
                    <a:pt x="92" y="284"/>
                  </a:lnTo>
                  <a:lnTo>
                    <a:pt x="92" y="282"/>
                  </a:lnTo>
                  <a:lnTo>
                    <a:pt x="94" y="282"/>
                  </a:lnTo>
                  <a:lnTo>
                    <a:pt x="96" y="282"/>
                  </a:lnTo>
                  <a:lnTo>
                    <a:pt x="96" y="284"/>
                  </a:lnTo>
                  <a:lnTo>
                    <a:pt x="94" y="284"/>
                  </a:lnTo>
                  <a:lnTo>
                    <a:pt x="94" y="286"/>
                  </a:lnTo>
                  <a:lnTo>
                    <a:pt x="94" y="288"/>
                  </a:lnTo>
                  <a:lnTo>
                    <a:pt x="92" y="288"/>
                  </a:lnTo>
                  <a:lnTo>
                    <a:pt x="91" y="288"/>
                  </a:lnTo>
                  <a:lnTo>
                    <a:pt x="91" y="290"/>
                  </a:lnTo>
                  <a:lnTo>
                    <a:pt x="89" y="290"/>
                  </a:lnTo>
                  <a:lnTo>
                    <a:pt x="89" y="292"/>
                  </a:lnTo>
                  <a:lnTo>
                    <a:pt x="87" y="292"/>
                  </a:lnTo>
                  <a:lnTo>
                    <a:pt x="87" y="294"/>
                  </a:lnTo>
                  <a:lnTo>
                    <a:pt x="85" y="294"/>
                  </a:lnTo>
                  <a:lnTo>
                    <a:pt x="83" y="294"/>
                  </a:lnTo>
                  <a:lnTo>
                    <a:pt x="83" y="296"/>
                  </a:lnTo>
                  <a:lnTo>
                    <a:pt x="81" y="296"/>
                  </a:lnTo>
                  <a:lnTo>
                    <a:pt x="79" y="296"/>
                  </a:lnTo>
                  <a:lnTo>
                    <a:pt x="81" y="296"/>
                  </a:lnTo>
                  <a:lnTo>
                    <a:pt x="79" y="296"/>
                  </a:lnTo>
                  <a:lnTo>
                    <a:pt x="81" y="296"/>
                  </a:lnTo>
                  <a:lnTo>
                    <a:pt x="79" y="296"/>
                  </a:lnTo>
                  <a:lnTo>
                    <a:pt x="81" y="296"/>
                  </a:lnTo>
                  <a:lnTo>
                    <a:pt x="79" y="296"/>
                  </a:lnTo>
                  <a:lnTo>
                    <a:pt x="79" y="294"/>
                  </a:lnTo>
                  <a:lnTo>
                    <a:pt x="79" y="292"/>
                  </a:lnTo>
                  <a:lnTo>
                    <a:pt x="77" y="292"/>
                  </a:lnTo>
                  <a:lnTo>
                    <a:pt x="77" y="290"/>
                  </a:lnTo>
                  <a:lnTo>
                    <a:pt x="79" y="290"/>
                  </a:lnTo>
                  <a:lnTo>
                    <a:pt x="77" y="290"/>
                  </a:lnTo>
                  <a:lnTo>
                    <a:pt x="79" y="290"/>
                  </a:lnTo>
                  <a:lnTo>
                    <a:pt x="79" y="288"/>
                  </a:lnTo>
                  <a:lnTo>
                    <a:pt x="79" y="290"/>
                  </a:lnTo>
                  <a:lnTo>
                    <a:pt x="79" y="288"/>
                  </a:lnTo>
                  <a:lnTo>
                    <a:pt x="79" y="290"/>
                  </a:lnTo>
                  <a:lnTo>
                    <a:pt x="79" y="288"/>
                  </a:lnTo>
                  <a:lnTo>
                    <a:pt x="81" y="288"/>
                  </a:lnTo>
                  <a:lnTo>
                    <a:pt x="83" y="288"/>
                  </a:lnTo>
                  <a:lnTo>
                    <a:pt x="81" y="288"/>
                  </a:lnTo>
                  <a:lnTo>
                    <a:pt x="81" y="286"/>
                  </a:lnTo>
                  <a:lnTo>
                    <a:pt x="83" y="286"/>
                  </a:lnTo>
                  <a:lnTo>
                    <a:pt x="81" y="286"/>
                  </a:lnTo>
                  <a:lnTo>
                    <a:pt x="83" y="286"/>
                  </a:lnTo>
                  <a:lnTo>
                    <a:pt x="81" y="286"/>
                  </a:lnTo>
                  <a:lnTo>
                    <a:pt x="83" y="286"/>
                  </a:lnTo>
                  <a:lnTo>
                    <a:pt x="81" y="286"/>
                  </a:lnTo>
                  <a:lnTo>
                    <a:pt x="79" y="286"/>
                  </a:lnTo>
                  <a:lnTo>
                    <a:pt x="79" y="288"/>
                  </a:lnTo>
                  <a:lnTo>
                    <a:pt x="79" y="286"/>
                  </a:lnTo>
                  <a:lnTo>
                    <a:pt x="79" y="288"/>
                  </a:lnTo>
                  <a:lnTo>
                    <a:pt x="79" y="286"/>
                  </a:lnTo>
                  <a:lnTo>
                    <a:pt x="79" y="288"/>
                  </a:lnTo>
                  <a:lnTo>
                    <a:pt x="79" y="286"/>
                  </a:lnTo>
                  <a:lnTo>
                    <a:pt x="79" y="288"/>
                  </a:lnTo>
                  <a:lnTo>
                    <a:pt x="77" y="288"/>
                  </a:lnTo>
                  <a:lnTo>
                    <a:pt x="77" y="290"/>
                  </a:lnTo>
                  <a:lnTo>
                    <a:pt x="77" y="288"/>
                  </a:lnTo>
                  <a:lnTo>
                    <a:pt x="77" y="290"/>
                  </a:lnTo>
                  <a:lnTo>
                    <a:pt x="77" y="288"/>
                  </a:lnTo>
                  <a:lnTo>
                    <a:pt x="77" y="290"/>
                  </a:lnTo>
                  <a:lnTo>
                    <a:pt x="77" y="288"/>
                  </a:lnTo>
                  <a:lnTo>
                    <a:pt x="75" y="288"/>
                  </a:lnTo>
                  <a:lnTo>
                    <a:pt x="75" y="290"/>
                  </a:lnTo>
                  <a:lnTo>
                    <a:pt x="73" y="290"/>
                  </a:lnTo>
                  <a:lnTo>
                    <a:pt x="73" y="288"/>
                  </a:lnTo>
                  <a:lnTo>
                    <a:pt x="75" y="288"/>
                  </a:lnTo>
                  <a:lnTo>
                    <a:pt x="75" y="286"/>
                  </a:lnTo>
                  <a:lnTo>
                    <a:pt x="75" y="288"/>
                  </a:lnTo>
                  <a:lnTo>
                    <a:pt x="75" y="286"/>
                  </a:lnTo>
                  <a:lnTo>
                    <a:pt x="75" y="288"/>
                  </a:lnTo>
                  <a:lnTo>
                    <a:pt x="77" y="288"/>
                  </a:lnTo>
                  <a:lnTo>
                    <a:pt x="75" y="286"/>
                  </a:lnTo>
                  <a:lnTo>
                    <a:pt x="77" y="286"/>
                  </a:lnTo>
                  <a:lnTo>
                    <a:pt x="75" y="286"/>
                  </a:lnTo>
                  <a:lnTo>
                    <a:pt x="73" y="286"/>
                  </a:lnTo>
                  <a:lnTo>
                    <a:pt x="75" y="286"/>
                  </a:lnTo>
                  <a:lnTo>
                    <a:pt x="73" y="286"/>
                  </a:lnTo>
                  <a:lnTo>
                    <a:pt x="75" y="286"/>
                  </a:lnTo>
                  <a:lnTo>
                    <a:pt x="75" y="284"/>
                  </a:lnTo>
                  <a:lnTo>
                    <a:pt x="77" y="284"/>
                  </a:lnTo>
                  <a:lnTo>
                    <a:pt x="75" y="284"/>
                  </a:lnTo>
                  <a:lnTo>
                    <a:pt x="77" y="284"/>
                  </a:lnTo>
                  <a:lnTo>
                    <a:pt x="75" y="284"/>
                  </a:lnTo>
                  <a:lnTo>
                    <a:pt x="77" y="284"/>
                  </a:lnTo>
                  <a:lnTo>
                    <a:pt x="79" y="284"/>
                  </a:lnTo>
                  <a:lnTo>
                    <a:pt x="79" y="282"/>
                  </a:lnTo>
                  <a:lnTo>
                    <a:pt x="79" y="284"/>
                  </a:lnTo>
                  <a:lnTo>
                    <a:pt x="77" y="284"/>
                  </a:lnTo>
                  <a:lnTo>
                    <a:pt x="79" y="284"/>
                  </a:lnTo>
                  <a:lnTo>
                    <a:pt x="77" y="284"/>
                  </a:lnTo>
                  <a:lnTo>
                    <a:pt x="79" y="284"/>
                  </a:lnTo>
                  <a:lnTo>
                    <a:pt x="77" y="284"/>
                  </a:lnTo>
                  <a:lnTo>
                    <a:pt x="77" y="282"/>
                  </a:lnTo>
                  <a:lnTo>
                    <a:pt x="79" y="282"/>
                  </a:lnTo>
                  <a:lnTo>
                    <a:pt x="79" y="284"/>
                  </a:lnTo>
                  <a:lnTo>
                    <a:pt x="79" y="282"/>
                  </a:lnTo>
                  <a:lnTo>
                    <a:pt x="81" y="282"/>
                  </a:lnTo>
                  <a:lnTo>
                    <a:pt x="83" y="282"/>
                  </a:lnTo>
                  <a:lnTo>
                    <a:pt x="81" y="282"/>
                  </a:lnTo>
                  <a:lnTo>
                    <a:pt x="81" y="280"/>
                  </a:lnTo>
                  <a:lnTo>
                    <a:pt x="83" y="280"/>
                  </a:lnTo>
                  <a:lnTo>
                    <a:pt x="83" y="282"/>
                  </a:lnTo>
                  <a:lnTo>
                    <a:pt x="83" y="280"/>
                  </a:lnTo>
                  <a:lnTo>
                    <a:pt x="83" y="282"/>
                  </a:lnTo>
                  <a:lnTo>
                    <a:pt x="83" y="280"/>
                  </a:lnTo>
                  <a:lnTo>
                    <a:pt x="81" y="280"/>
                  </a:lnTo>
                  <a:lnTo>
                    <a:pt x="81" y="282"/>
                  </a:lnTo>
                  <a:lnTo>
                    <a:pt x="81" y="280"/>
                  </a:lnTo>
                  <a:lnTo>
                    <a:pt x="81" y="282"/>
                  </a:lnTo>
                  <a:lnTo>
                    <a:pt x="79" y="282"/>
                  </a:lnTo>
                  <a:lnTo>
                    <a:pt x="81" y="282"/>
                  </a:lnTo>
                  <a:lnTo>
                    <a:pt x="79" y="282"/>
                  </a:lnTo>
                  <a:lnTo>
                    <a:pt x="81" y="282"/>
                  </a:lnTo>
                  <a:lnTo>
                    <a:pt x="79" y="282"/>
                  </a:lnTo>
                  <a:lnTo>
                    <a:pt x="81" y="282"/>
                  </a:lnTo>
                  <a:lnTo>
                    <a:pt x="81" y="280"/>
                  </a:lnTo>
                  <a:lnTo>
                    <a:pt x="83" y="280"/>
                  </a:lnTo>
                  <a:lnTo>
                    <a:pt x="83" y="279"/>
                  </a:lnTo>
                  <a:lnTo>
                    <a:pt x="83" y="280"/>
                  </a:lnTo>
                  <a:lnTo>
                    <a:pt x="81" y="280"/>
                  </a:lnTo>
                  <a:lnTo>
                    <a:pt x="83" y="280"/>
                  </a:lnTo>
                  <a:lnTo>
                    <a:pt x="81" y="280"/>
                  </a:lnTo>
                  <a:lnTo>
                    <a:pt x="79" y="280"/>
                  </a:lnTo>
                  <a:lnTo>
                    <a:pt x="81" y="280"/>
                  </a:lnTo>
                  <a:lnTo>
                    <a:pt x="81" y="279"/>
                  </a:lnTo>
                  <a:lnTo>
                    <a:pt x="81" y="280"/>
                  </a:lnTo>
                  <a:lnTo>
                    <a:pt x="81" y="279"/>
                  </a:lnTo>
                  <a:lnTo>
                    <a:pt x="81" y="277"/>
                  </a:lnTo>
                  <a:lnTo>
                    <a:pt x="81" y="275"/>
                  </a:lnTo>
                  <a:lnTo>
                    <a:pt x="81" y="277"/>
                  </a:lnTo>
                  <a:lnTo>
                    <a:pt x="81" y="275"/>
                  </a:lnTo>
                  <a:lnTo>
                    <a:pt x="81" y="277"/>
                  </a:lnTo>
                  <a:lnTo>
                    <a:pt x="81" y="275"/>
                  </a:lnTo>
                  <a:lnTo>
                    <a:pt x="81" y="277"/>
                  </a:lnTo>
                  <a:lnTo>
                    <a:pt x="83" y="277"/>
                  </a:lnTo>
                  <a:lnTo>
                    <a:pt x="83" y="275"/>
                  </a:lnTo>
                  <a:lnTo>
                    <a:pt x="85" y="275"/>
                  </a:lnTo>
                  <a:lnTo>
                    <a:pt x="83" y="275"/>
                  </a:lnTo>
                  <a:lnTo>
                    <a:pt x="81" y="275"/>
                  </a:lnTo>
                  <a:lnTo>
                    <a:pt x="83" y="275"/>
                  </a:lnTo>
                  <a:lnTo>
                    <a:pt x="83" y="273"/>
                  </a:lnTo>
                  <a:lnTo>
                    <a:pt x="85" y="273"/>
                  </a:lnTo>
                  <a:lnTo>
                    <a:pt x="83" y="273"/>
                  </a:lnTo>
                  <a:lnTo>
                    <a:pt x="85" y="273"/>
                  </a:lnTo>
                  <a:lnTo>
                    <a:pt x="83" y="273"/>
                  </a:lnTo>
                  <a:lnTo>
                    <a:pt x="85" y="273"/>
                  </a:lnTo>
                  <a:lnTo>
                    <a:pt x="87" y="273"/>
                  </a:lnTo>
                  <a:lnTo>
                    <a:pt x="85" y="273"/>
                  </a:lnTo>
                  <a:lnTo>
                    <a:pt x="85" y="271"/>
                  </a:lnTo>
                  <a:lnTo>
                    <a:pt x="85" y="269"/>
                  </a:lnTo>
                  <a:lnTo>
                    <a:pt x="85" y="271"/>
                  </a:lnTo>
                  <a:lnTo>
                    <a:pt x="85" y="269"/>
                  </a:lnTo>
                  <a:lnTo>
                    <a:pt x="87" y="269"/>
                  </a:lnTo>
                  <a:lnTo>
                    <a:pt x="87" y="271"/>
                  </a:lnTo>
                  <a:lnTo>
                    <a:pt x="87" y="269"/>
                  </a:lnTo>
                  <a:lnTo>
                    <a:pt x="87" y="267"/>
                  </a:lnTo>
                  <a:lnTo>
                    <a:pt x="89" y="267"/>
                  </a:lnTo>
                  <a:lnTo>
                    <a:pt x="87" y="267"/>
                  </a:lnTo>
                  <a:lnTo>
                    <a:pt x="89" y="267"/>
                  </a:lnTo>
                  <a:lnTo>
                    <a:pt x="89" y="269"/>
                  </a:lnTo>
                  <a:lnTo>
                    <a:pt x="89" y="267"/>
                  </a:lnTo>
                  <a:lnTo>
                    <a:pt x="87" y="267"/>
                  </a:lnTo>
                  <a:lnTo>
                    <a:pt x="89" y="267"/>
                  </a:lnTo>
                  <a:lnTo>
                    <a:pt x="87" y="267"/>
                  </a:lnTo>
                  <a:lnTo>
                    <a:pt x="89" y="267"/>
                  </a:lnTo>
                  <a:lnTo>
                    <a:pt x="91" y="267"/>
                  </a:lnTo>
                  <a:lnTo>
                    <a:pt x="89" y="267"/>
                  </a:lnTo>
                  <a:lnTo>
                    <a:pt x="91" y="267"/>
                  </a:lnTo>
                  <a:lnTo>
                    <a:pt x="89" y="267"/>
                  </a:lnTo>
                  <a:lnTo>
                    <a:pt x="89" y="265"/>
                  </a:lnTo>
                  <a:lnTo>
                    <a:pt x="89" y="267"/>
                  </a:lnTo>
                  <a:lnTo>
                    <a:pt x="89" y="265"/>
                  </a:lnTo>
                  <a:lnTo>
                    <a:pt x="89" y="267"/>
                  </a:lnTo>
                  <a:lnTo>
                    <a:pt x="89" y="265"/>
                  </a:lnTo>
                  <a:lnTo>
                    <a:pt x="87" y="265"/>
                  </a:lnTo>
                  <a:lnTo>
                    <a:pt x="89" y="265"/>
                  </a:lnTo>
                  <a:lnTo>
                    <a:pt x="89" y="263"/>
                  </a:lnTo>
                  <a:lnTo>
                    <a:pt x="89" y="265"/>
                  </a:lnTo>
                  <a:lnTo>
                    <a:pt x="89" y="263"/>
                  </a:lnTo>
                  <a:lnTo>
                    <a:pt x="89" y="265"/>
                  </a:lnTo>
                  <a:lnTo>
                    <a:pt x="91" y="265"/>
                  </a:lnTo>
                  <a:lnTo>
                    <a:pt x="91" y="267"/>
                  </a:lnTo>
                  <a:lnTo>
                    <a:pt x="92" y="267"/>
                  </a:lnTo>
                  <a:lnTo>
                    <a:pt x="92" y="265"/>
                  </a:lnTo>
                  <a:lnTo>
                    <a:pt x="92" y="267"/>
                  </a:lnTo>
                  <a:lnTo>
                    <a:pt x="92" y="265"/>
                  </a:lnTo>
                  <a:lnTo>
                    <a:pt x="91" y="265"/>
                  </a:lnTo>
                  <a:lnTo>
                    <a:pt x="91" y="263"/>
                  </a:lnTo>
                  <a:lnTo>
                    <a:pt x="91" y="265"/>
                  </a:lnTo>
                  <a:lnTo>
                    <a:pt x="91" y="263"/>
                  </a:lnTo>
                  <a:lnTo>
                    <a:pt x="92" y="263"/>
                  </a:lnTo>
                  <a:lnTo>
                    <a:pt x="91" y="263"/>
                  </a:lnTo>
                  <a:lnTo>
                    <a:pt x="92" y="263"/>
                  </a:lnTo>
                  <a:lnTo>
                    <a:pt x="92" y="261"/>
                  </a:lnTo>
                  <a:lnTo>
                    <a:pt x="92" y="263"/>
                  </a:lnTo>
                  <a:lnTo>
                    <a:pt x="92" y="261"/>
                  </a:lnTo>
                  <a:lnTo>
                    <a:pt x="92" y="263"/>
                  </a:lnTo>
                  <a:lnTo>
                    <a:pt x="92" y="261"/>
                  </a:lnTo>
                  <a:lnTo>
                    <a:pt x="92" y="263"/>
                  </a:lnTo>
                  <a:lnTo>
                    <a:pt x="94" y="263"/>
                  </a:lnTo>
                  <a:lnTo>
                    <a:pt x="92" y="263"/>
                  </a:lnTo>
                  <a:lnTo>
                    <a:pt x="92" y="261"/>
                  </a:lnTo>
                  <a:lnTo>
                    <a:pt x="94" y="261"/>
                  </a:lnTo>
                  <a:lnTo>
                    <a:pt x="92" y="261"/>
                  </a:lnTo>
                  <a:lnTo>
                    <a:pt x="94" y="261"/>
                  </a:lnTo>
                  <a:lnTo>
                    <a:pt x="94" y="263"/>
                  </a:lnTo>
                  <a:lnTo>
                    <a:pt x="94" y="261"/>
                  </a:lnTo>
                  <a:lnTo>
                    <a:pt x="94" y="259"/>
                  </a:lnTo>
                  <a:lnTo>
                    <a:pt x="96" y="259"/>
                  </a:lnTo>
                  <a:lnTo>
                    <a:pt x="94" y="259"/>
                  </a:lnTo>
                  <a:lnTo>
                    <a:pt x="96" y="259"/>
                  </a:lnTo>
                  <a:lnTo>
                    <a:pt x="96" y="261"/>
                  </a:lnTo>
                  <a:lnTo>
                    <a:pt x="96" y="263"/>
                  </a:lnTo>
                  <a:lnTo>
                    <a:pt x="96" y="261"/>
                  </a:lnTo>
                  <a:lnTo>
                    <a:pt x="96" y="263"/>
                  </a:lnTo>
                  <a:lnTo>
                    <a:pt x="96" y="261"/>
                  </a:lnTo>
                  <a:lnTo>
                    <a:pt x="96" y="263"/>
                  </a:lnTo>
                  <a:lnTo>
                    <a:pt x="98" y="263"/>
                  </a:lnTo>
                  <a:lnTo>
                    <a:pt x="96" y="263"/>
                  </a:lnTo>
                  <a:lnTo>
                    <a:pt x="96" y="265"/>
                  </a:lnTo>
                  <a:lnTo>
                    <a:pt x="98" y="265"/>
                  </a:lnTo>
                  <a:lnTo>
                    <a:pt x="98" y="263"/>
                  </a:lnTo>
                  <a:lnTo>
                    <a:pt x="98" y="265"/>
                  </a:lnTo>
                  <a:lnTo>
                    <a:pt x="100" y="265"/>
                  </a:lnTo>
                  <a:lnTo>
                    <a:pt x="100" y="267"/>
                  </a:lnTo>
                  <a:lnTo>
                    <a:pt x="98" y="267"/>
                  </a:lnTo>
                  <a:lnTo>
                    <a:pt x="98" y="269"/>
                  </a:lnTo>
                  <a:lnTo>
                    <a:pt x="98" y="267"/>
                  </a:lnTo>
                  <a:lnTo>
                    <a:pt x="100" y="267"/>
                  </a:lnTo>
                  <a:lnTo>
                    <a:pt x="100" y="265"/>
                  </a:lnTo>
                  <a:lnTo>
                    <a:pt x="100" y="267"/>
                  </a:lnTo>
                  <a:lnTo>
                    <a:pt x="100" y="265"/>
                  </a:lnTo>
                  <a:lnTo>
                    <a:pt x="100" y="263"/>
                  </a:lnTo>
                  <a:lnTo>
                    <a:pt x="100" y="265"/>
                  </a:lnTo>
                  <a:lnTo>
                    <a:pt x="102" y="265"/>
                  </a:lnTo>
                  <a:lnTo>
                    <a:pt x="102" y="263"/>
                  </a:lnTo>
                  <a:lnTo>
                    <a:pt x="102" y="265"/>
                  </a:lnTo>
                  <a:lnTo>
                    <a:pt x="102" y="263"/>
                  </a:lnTo>
                  <a:lnTo>
                    <a:pt x="100" y="263"/>
                  </a:lnTo>
                  <a:lnTo>
                    <a:pt x="102" y="263"/>
                  </a:lnTo>
                  <a:lnTo>
                    <a:pt x="100" y="263"/>
                  </a:lnTo>
                  <a:lnTo>
                    <a:pt x="102" y="263"/>
                  </a:lnTo>
                  <a:lnTo>
                    <a:pt x="102" y="261"/>
                  </a:lnTo>
                  <a:lnTo>
                    <a:pt x="102" y="259"/>
                  </a:lnTo>
                  <a:lnTo>
                    <a:pt x="102" y="261"/>
                  </a:lnTo>
                  <a:lnTo>
                    <a:pt x="102" y="259"/>
                  </a:lnTo>
                  <a:lnTo>
                    <a:pt x="104" y="259"/>
                  </a:lnTo>
                  <a:lnTo>
                    <a:pt x="104" y="261"/>
                  </a:lnTo>
                  <a:lnTo>
                    <a:pt x="102" y="261"/>
                  </a:lnTo>
                  <a:lnTo>
                    <a:pt x="104" y="261"/>
                  </a:lnTo>
                  <a:lnTo>
                    <a:pt x="104" y="259"/>
                  </a:lnTo>
                  <a:lnTo>
                    <a:pt x="106" y="259"/>
                  </a:lnTo>
                  <a:lnTo>
                    <a:pt x="104" y="259"/>
                  </a:lnTo>
                  <a:lnTo>
                    <a:pt x="104" y="257"/>
                  </a:lnTo>
                  <a:lnTo>
                    <a:pt x="104" y="259"/>
                  </a:lnTo>
                  <a:lnTo>
                    <a:pt x="102" y="259"/>
                  </a:lnTo>
                  <a:lnTo>
                    <a:pt x="104" y="259"/>
                  </a:lnTo>
                  <a:lnTo>
                    <a:pt x="102" y="259"/>
                  </a:lnTo>
                  <a:lnTo>
                    <a:pt x="102" y="257"/>
                  </a:lnTo>
                  <a:lnTo>
                    <a:pt x="100" y="257"/>
                  </a:lnTo>
                  <a:lnTo>
                    <a:pt x="100" y="259"/>
                  </a:lnTo>
                  <a:lnTo>
                    <a:pt x="100" y="257"/>
                  </a:lnTo>
                  <a:lnTo>
                    <a:pt x="100" y="255"/>
                  </a:lnTo>
                  <a:lnTo>
                    <a:pt x="102" y="255"/>
                  </a:lnTo>
                  <a:lnTo>
                    <a:pt x="100" y="255"/>
                  </a:lnTo>
                  <a:lnTo>
                    <a:pt x="102" y="255"/>
                  </a:lnTo>
                  <a:lnTo>
                    <a:pt x="100" y="255"/>
                  </a:lnTo>
                  <a:lnTo>
                    <a:pt x="102" y="255"/>
                  </a:lnTo>
                  <a:lnTo>
                    <a:pt x="102" y="254"/>
                  </a:lnTo>
                  <a:lnTo>
                    <a:pt x="104" y="254"/>
                  </a:lnTo>
                  <a:lnTo>
                    <a:pt x="106" y="254"/>
                  </a:lnTo>
                  <a:lnTo>
                    <a:pt x="106" y="252"/>
                  </a:lnTo>
                  <a:lnTo>
                    <a:pt x="106" y="254"/>
                  </a:lnTo>
                  <a:lnTo>
                    <a:pt x="106" y="252"/>
                  </a:lnTo>
                  <a:lnTo>
                    <a:pt x="108" y="252"/>
                  </a:lnTo>
                  <a:lnTo>
                    <a:pt x="106" y="252"/>
                  </a:lnTo>
                  <a:lnTo>
                    <a:pt x="108" y="252"/>
                  </a:lnTo>
                  <a:lnTo>
                    <a:pt x="106" y="252"/>
                  </a:lnTo>
                  <a:lnTo>
                    <a:pt x="104" y="252"/>
                  </a:lnTo>
                  <a:lnTo>
                    <a:pt x="106" y="252"/>
                  </a:lnTo>
                  <a:lnTo>
                    <a:pt x="104" y="252"/>
                  </a:lnTo>
                  <a:lnTo>
                    <a:pt x="106" y="252"/>
                  </a:lnTo>
                  <a:lnTo>
                    <a:pt x="104" y="252"/>
                  </a:lnTo>
                  <a:lnTo>
                    <a:pt x="106" y="252"/>
                  </a:lnTo>
                  <a:lnTo>
                    <a:pt x="104" y="252"/>
                  </a:lnTo>
                  <a:lnTo>
                    <a:pt x="106" y="252"/>
                  </a:lnTo>
                  <a:lnTo>
                    <a:pt x="106" y="250"/>
                  </a:lnTo>
                  <a:lnTo>
                    <a:pt x="106" y="252"/>
                  </a:lnTo>
                  <a:lnTo>
                    <a:pt x="106" y="250"/>
                  </a:lnTo>
                  <a:lnTo>
                    <a:pt x="106" y="252"/>
                  </a:lnTo>
                  <a:lnTo>
                    <a:pt x="106" y="250"/>
                  </a:lnTo>
                  <a:lnTo>
                    <a:pt x="106" y="252"/>
                  </a:lnTo>
                  <a:lnTo>
                    <a:pt x="106" y="250"/>
                  </a:lnTo>
                  <a:lnTo>
                    <a:pt x="106" y="252"/>
                  </a:lnTo>
                  <a:lnTo>
                    <a:pt x="106" y="250"/>
                  </a:lnTo>
                  <a:lnTo>
                    <a:pt x="106" y="252"/>
                  </a:lnTo>
                  <a:lnTo>
                    <a:pt x="106" y="250"/>
                  </a:lnTo>
                  <a:lnTo>
                    <a:pt x="104" y="250"/>
                  </a:lnTo>
                  <a:lnTo>
                    <a:pt x="106" y="250"/>
                  </a:lnTo>
                  <a:lnTo>
                    <a:pt x="104" y="250"/>
                  </a:lnTo>
                  <a:lnTo>
                    <a:pt x="104" y="252"/>
                  </a:lnTo>
                  <a:lnTo>
                    <a:pt x="104" y="250"/>
                  </a:lnTo>
                  <a:lnTo>
                    <a:pt x="106" y="250"/>
                  </a:lnTo>
                  <a:lnTo>
                    <a:pt x="104" y="250"/>
                  </a:lnTo>
                  <a:lnTo>
                    <a:pt x="106" y="250"/>
                  </a:lnTo>
                  <a:lnTo>
                    <a:pt x="104" y="250"/>
                  </a:lnTo>
                  <a:lnTo>
                    <a:pt x="106" y="250"/>
                  </a:lnTo>
                  <a:lnTo>
                    <a:pt x="106" y="248"/>
                  </a:lnTo>
                  <a:lnTo>
                    <a:pt x="108" y="248"/>
                  </a:lnTo>
                  <a:lnTo>
                    <a:pt x="110" y="248"/>
                  </a:lnTo>
                  <a:lnTo>
                    <a:pt x="110" y="246"/>
                  </a:lnTo>
                  <a:lnTo>
                    <a:pt x="112" y="246"/>
                  </a:lnTo>
                  <a:lnTo>
                    <a:pt x="112" y="248"/>
                  </a:lnTo>
                  <a:lnTo>
                    <a:pt x="114" y="248"/>
                  </a:lnTo>
                  <a:lnTo>
                    <a:pt x="115" y="248"/>
                  </a:lnTo>
                  <a:lnTo>
                    <a:pt x="115" y="250"/>
                  </a:lnTo>
                  <a:lnTo>
                    <a:pt x="115" y="248"/>
                  </a:lnTo>
                  <a:lnTo>
                    <a:pt x="114" y="248"/>
                  </a:lnTo>
                  <a:lnTo>
                    <a:pt x="114" y="246"/>
                  </a:lnTo>
                  <a:lnTo>
                    <a:pt x="114" y="248"/>
                  </a:lnTo>
                  <a:lnTo>
                    <a:pt x="112" y="248"/>
                  </a:lnTo>
                  <a:lnTo>
                    <a:pt x="112" y="246"/>
                  </a:lnTo>
                  <a:lnTo>
                    <a:pt x="110" y="246"/>
                  </a:lnTo>
                  <a:lnTo>
                    <a:pt x="110" y="248"/>
                  </a:lnTo>
                  <a:lnTo>
                    <a:pt x="110" y="246"/>
                  </a:lnTo>
                  <a:lnTo>
                    <a:pt x="110" y="248"/>
                  </a:lnTo>
                  <a:lnTo>
                    <a:pt x="110" y="246"/>
                  </a:lnTo>
                  <a:lnTo>
                    <a:pt x="108" y="246"/>
                  </a:lnTo>
                  <a:lnTo>
                    <a:pt x="108" y="248"/>
                  </a:lnTo>
                  <a:lnTo>
                    <a:pt x="106" y="248"/>
                  </a:lnTo>
                  <a:lnTo>
                    <a:pt x="106" y="250"/>
                  </a:lnTo>
                  <a:lnTo>
                    <a:pt x="104" y="250"/>
                  </a:lnTo>
                  <a:lnTo>
                    <a:pt x="104" y="252"/>
                  </a:lnTo>
                  <a:lnTo>
                    <a:pt x="102" y="252"/>
                  </a:lnTo>
                  <a:lnTo>
                    <a:pt x="100" y="252"/>
                  </a:lnTo>
                  <a:lnTo>
                    <a:pt x="102" y="252"/>
                  </a:lnTo>
                  <a:lnTo>
                    <a:pt x="100" y="252"/>
                  </a:lnTo>
                  <a:lnTo>
                    <a:pt x="102" y="252"/>
                  </a:lnTo>
                  <a:lnTo>
                    <a:pt x="102" y="254"/>
                  </a:lnTo>
                  <a:lnTo>
                    <a:pt x="100" y="254"/>
                  </a:lnTo>
                  <a:lnTo>
                    <a:pt x="98" y="254"/>
                  </a:lnTo>
                  <a:lnTo>
                    <a:pt x="100" y="254"/>
                  </a:lnTo>
                  <a:lnTo>
                    <a:pt x="98" y="254"/>
                  </a:lnTo>
                  <a:lnTo>
                    <a:pt x="100" y="254"/>
                  </a:lnTo>
                  <a:lnTo>
                    <a:pt x="100" y="252"/>
                  </a:lnTo>
                  <a:lnTo>
                    <a:pt x="100" y="254"/>
                  </a:lnTo>
                  <a:lnTo>
                    <a:pt x="100" y="252"/>
                  </a:lnTo>
                  <a:lnTo>
                    <a:pt x="102" y="252"/>
                  </a:lnTo>
                  <a:lnTo>
                    <a:pt x="100" y="252"/>
                  </a:lnTo>
                  <a:lnTo>
                    <a:pt x="98" y="252"/>
                  </a:lnTo>
                  <a:lnTo>
                    <a:pt x="100" y="252"/>
                  </a:lnTo>
                  <a:lnTo>
                    <a:pt x="100" y="250"/>
                  </a:lnTo>
                  <a:lnTo>
                    <a:pt x="98" y="250"/>
                  </a:lnTo>
                  <a:lnTo>
                    <a:pt x="98" y="252"/>
                  </a:lnTo>
                  <a:lnTo>
                    <a:pt x="98" y="250"/>
                  </a:lnTo>
                  <a:lnTo>
                    <a:pt x="98" y="252"/>
                  </a:lnTo>
                  <a:lnTo>
                    <a:pt x="98" y="250"/>
                  </a:lnTo>
                  <a:lnTo>
                    <a:pt x="100" y="250"/>
                  </a:lnTo>
                  <a:lnTo>
                    <a:pt x="98" y="250"/>
                  </a:lnTo>
                  <a:lnTo>
                    <a:pt x="100" y="250"/>
                  </a:lnTo>
                  <a:lnTo>
                    <a:pt x="98" y="250"/>
                  </a:lnTo>
                  <a:lnTo>
                    <a:pt x="100" y="250"/>
                  </a:lnTo>
                  <a:lnTo>
                    <a:pt x="98" y="250"/>
                  </a:lnTo>
                  <a:lnTo>
                    <a:pt x="100" y="250"/>
                  </a:lnTo>
                  <a:lnTo>
                    <a:pt x="102" y="250"/>
                  </a:lnTo>
                  <a:lnTo>
                    <a:pt x="104" y="250"/>
                  </a:lnTo>
                  <a:lnTo>
                    <a:pt x="104" y="248"/>
                  </a:lnTo>
                  <a:lnTo>
                    <a:pt x="106" y="248"/>
                  </a:lnTo>
                  <a:lnTo>
                    <a:pt x="104" y="248"/>
                  </a:lnTo>
                  <a:lnTo>
                    <a:pt x="104" y="250"/>
                  </a:lnTo>
                  <a:lnTo>
                    <a:pt x="104" y="248"/>
                  </a:lnTo>
                  <a:lnTo>
                    <a:pt x="104" y="250"/>
                  </a:lnTo>
                  <a:lnTo>
                    <a:pt x="104" y="248"/>
                  </a:lnTo>
                  <a:lnTo>
                    <a:pt x="102" y="248"/>
                  </a:lnTo>
                  <a:lnTo>
                    <a:pt x="104" y="248"/>
                  </a:lnTo>
                  <a:lnTo>
                    <a:pt x="102" y="248"/>
                  </a:lnTo>
                  <a:lnTo>
                    <a:pt x="102" y="246"/>
                  </a:lnTo>
                  <a:lnTo>
                    <a:pt x="104" y="246"/>
                  </a:lnTo>
                  <a:lnTo>
                    <a:pt x="104" y="248"/>
                  </a:lnTo>
                  <a:lnTo>
                    <a:pt x="104" y="246"/>
                  </a:lnTo>
                  <a:lnTo>
                    <a:pt x="104" y="248"/>
                  </a:lnTo>
                  <a:lnTo>
                    <a:pt x="104" y="246"/>
                  </a:lnTo>
                  <a:lnTo>
                    <a:pt x="106" y="246"/>
                  </a:lnTo>
                  <a:lnTo>
                    <a:pt x="104" y="246"/>
                  </a:lnTo>
                  <a:lnTo>
                    <a:pt x="104" y="244"/>
                  </a:lnTo>
                  <a:lnTo>
                    <a:pt x="104" y="246"/>
                  </a:lnTo>
                  <a:lnTo>
                    <a:pt x="104" y="244"/>
                  </a:lnTo>
                  <a:lnTo>
                    <a:pt x="106" y="244"/>
                  </a:lnTo>
                  <a:lnTo>
                    <a:pt x="106" y="246"/>
                  </a:lnTo>
                  <a:lnTo>
                    <a:pt x="106" y="244"/>
                  </a:lnTo>
                  <a:lnTo>
                    <a:pt x="106" y="246"/>
                  </a:lnTo>
                  <a:lnTo>
                    <a:pt x="106" y="244"/>
                  </a:lnTo>
                  <a:lnTo>
                    <a:pt x="106" y="246"/>
                  </a:lnTo>
                  <a:lnTo>
                    <a:pt x="106" y="244"/>
                  </a:lnTo>
                  <a:lnTo>
                    <a:pt x="108" y="244"/>
                  </a:lnTo>
                  <a:lnTo>
                    <a:pt x="106" y="244"/>
                  </a:lnTo>
                  <a:lnTo>
                    <a:pt x="108" y="244"/>
                  </a:lnTo>
                  <a:lnTo>
                    <a:pt x="108" y="242"/>
                  </a:lnTo>
                  <a:lnTo>
                    <a:pt x="108" y="244"/>
                  </a:lnTo>
                  <a:lnTo>
                    <a:pt x="108" y="242"/>
                  </a:lnTo>
                  <a:lnTo>
                    <a:pt x="110" y="242"/>
                  </a:lnTo>
                  <a:lnTo>
                    <a:pt x="110" y="240"/>
                  </a:lnTo>
                  <a:lnTo>
                    <a:pt x="112" y="240"/>
                  </a:lnTo>
                  <a:lnTo>
                    <a:pt x="110" y="240"/>
                  </a:lnTo>
                  <a:lnTo>
                    <a:pt x="112" y="240"/>
                  </a:lnTo>
                  <a:lnTo>
                    <a:pt x="112" y="242"/>
                  </a:lnTo>
                  <a:lnTo>
                    <a:pt x="112" y="240"/>
                  </a:lnTo>
                  <a:lnTo>
                    <a:pt x="112" y="238"/>
                  </a:lnTo>
                  <a:lnTo>
                    <a:pt x="114" y="238"/>
                  </a:lnTo>
                  <a:lnTo>
                    <a:pt x="114" y="240"/>
                  </a:lnTo>
                  <a:lnTo>
                    <a:pt x="114" y="238"/>
                  </a:lnTo>
                  <a:lnTo>
                    <a:pt x="114" y="240"/>
                  </a:lnTo>
                  <a:lnTo>
                    <a:pt x="114" y="238"/>
                  </a:lnTo>
                  <a:lnTo>
                    <a:pt x="114" y="240"/>
                  </a:lnTo>
                  <a:lnTo>
                    <a:pt x="114" y="242"/>
                  </a:lnTo>
                  <a:lnTo>
                    <a:pt x="114" y="240"/>
                  </a:lnTo>
                  <a:lnTo>
                    <a:pt x="114" y="242"/>
                  </a:lnTo>
                  <a:lnTo>
                    <a:pt x="114" y="240"/>
                  </a:lnTo>
                  <a:lnTo>
                    <a:pt x="114" y="242"/>
                  </a:lnTo>
                  <a:lnTo>
                    <a:pt x="112" y="242"/>
                  </a:lnTo>
                  <a:lnTo>
                    <a:pt x="112" y="244"/>
                  </a:lnTo>
                  <a:lnTo>
                    <a:pt x="112" y="242"/>
                  </a:lnTo>
                  <a:lnTo>
                    <a:pt x="110" y="242"/>
                  </a:lnTo>
                  <a:lnTo>
                    <a:pt x="112" y="242"/>
                  </a:lnTo>
                  <a:lnTo>
                    <a:pt x="112" y="244"/>
                  </a:lnTo>
                  <a:lnTo>
                    <a:pt x="112" y="246"/>
                  </a:lnTo>
                  <a:lnTo>
                    <a:pt x="112" y="244"/>
                  </a:lnTo>
                  <a:lnTo>
                    <a:pt x="114" y="244"/>
                  </a:lnTo>
                  <a:lnTo>
                    <a:pt x="114" y="242"/>
                  </a:lnTo>
                  <a:lnTo>
                    <a:pt x="114" y="244"/>
                  </a:lnTo>
                  <a:lnTo>
                    <a:pt x="114" y="242"/>
                  </a:lnTo>
                  <a:lnTo>
                    <a:pt x="115" y="242"/>
                  </a:lnTo>
                  <a:lnTo>
                    <a:pt x="117" y="242"/>
                  </a:lnTo>
                  <a:lnTo>
                    <a:pt x="115" y="242"/>
                  </a:lnTo>
                  <a:lnTo>
                    <a:pt x="117" y="242"/>
                  </a:lnTo>
                  <a:lnTo>
                    <a:pt x="115" y="242"/>
                  </a:lnTo>
                  <a:lnTo>
                    <a:pt x="117" y="242"/>
                  </a:lnTo>
                  <a:lnTo>
                    <a:pt x="115" y="242"/>
                  </a:lnTo>
                  <a:lnTo>
                    <a:pt x="117" y="242"/>
                  </a:lnTo>
                  <a:lnTo>
                    <a:pt x="115" y="242"/>
                  </a:lnTo>
                  <a:lnTo>
                    <a:pt x="115" y="240"/>
                  </a:lnTo>
                  <a:lnTo>
                    <a:pt x="117" y="240"/>
                  </a:lnTo>
                  <a:lnTo>
                    <a:pt x="119" y="240"/>
                  </a:lnTo>
                  <a:lnTo>
                    <a:pt x="119" y="238"/>
                  </a:lnTo>
                  <a:lnTo>
                    <a:pt x="121" y="238"/>
                  </a:lnTo>
                  <a:lnTo>
                    <a:pt x="121" y="236"/>
                  </a:lnTo>
                  <a:lnTo>
                    <a:pt x="121" y="234"/>
                  </a:lnTo>
                  <a:lnTo>
                    <a:pt x="123" y="234"/>
                  </a:lnTo>
                  <a:lnTo>
                    <a:pt x="121" y="234"/>
                  </a:lnTo>
                  <a:lnTo>
                    <a:pt x="121" y="236"/>
                  </a:lnTo>
                  <a:lnTo>
                    <a:pt x="121" y="238"/>
                  </a:lnTo>
                  <a:lnTo>
                    <a:pt x="119" y="238"/>
                  </a:lnTo>
                  <a:lnTo>
                    <a:pt x="117" y="238"/>
                  </a:lnTo>
                  <a:lnTo>
                    <a:pt x="117" y="240"/>
                  </a:lnTo>
                  <a:lnTo>
                    <a:pt x="115" y="240"/>
                  </a:lnTo>
                  <a:lnTo>
                    <a:pt x="115" y="238"/>
                  </a:lnTo>
                  <a:lnTo>
                    <a:pt x="117" y="238"/>
                  </a:lnTo>
                  <a:lnTo>
                    <a:pt x="115" y="238"/>
                  </a:lnTo>
                  <a:lnTo>
                    <a:pt x="117" y="238"/>
                  </a:lnTo>
                  <a:lnTo>
                    <a:pt x="115" y="238"/>
                  </a:lnTo>
                  <a:lnTo>
                    <a:pt x="115" y="236"/>
                  </a:lnTo>
                  <a:lnTo>
                    <a:pt x="115" y="238"/>
                  </a:lnTo>
                  <a:lnTo>
                    <a:pt x="115" y="236"/>
                  </a:lnTo>
                  <a:lnTo>
                    <a:pt x="115" y="238"/>
                  </a:lnTo>
                  <a:lnTo>
                    <a:pt x="114" y="238"/>
                  </a:lnTo>
                  <a:lnTo>
                    <a:pt x="114" y="236"/>
                  </a:lnTo>
                  <a:lnTo>
                    <a:pt x="115" y="236"/>
                  </a:lnTo>
                  <a:lnTo>
                    <a:pt x="114" y="236"/>
                  </a:lnTo>
                  <a:lnTo>
                    <a:pt x="114" y="234"/>
                  </a:lnTo>
                  <a:lnTo>
                    <a:pt x="115" y="234"/>
                  </a:lnTo>
                  <a:lnTo>
                    <a:pt x="115" y="232"/>
                  </a:lnTo>
                  <a:lnTo>
                    <a:pt x="115" y="234"/>
                  </a:lnTo>
                  <a:lnTo>
                    <a:pt x="115" y="232"/>
                  </a:lnTo>
                  <a:lnTo>
                    <a:pt x="115" y="234"/>
                  </a:lnTo>
                  <a:lnTo>
                    <a:pt x="115" y="232"/>
                  </a:lnTo>
                  <a:lnTo>
                    <a:pt x="115" y="234"/>
                  </a:lnTo>
                  <a:lnTo>
                    <a:pt x="114" y="234"/>
                  </a:lnTo>
                  <a:lnTo>
                    <a:pt x="114" y="236"/>
                  </a:lnTo>
                  <a:lnTo>
                    <a:pt x="112" y="236"/>
                  </a:lnTo>
                  <a:lnTo>
                    <a:pt x="112" y="238"/>
                  </a:lnTo>
                  <a:lnTo>
                    <a:pt x="112" y="236"/>
                  </a:lnTo>
                  <a:lnTo>
                    <a:pt x="112" y="238"/>
                  </a:lnTo>
                  <a:lnTo>
                    <a:pt x="110" y="238"/>
                  </a:lnTo>
                  <a:lnTo>
                    <a:pt x="110" y="236"/>
                  </a:lnTo>
                  <a:lnTo>
                    <a:pt x="112" y="236"/>
                  </a:lnTo>
                  <a:lnTo>
                    <a:pt x="112" y="234"/>
                  </a:lnTo>
                  <a:lnTo>
                    <a:pt x="110" y="234"/>
                  </a:lnTo>
                  <a:lnTo>
                    <a:pt x="112" y="234"/>
                  </a:lnTo>
                  <a:lnTo>
                    <a:pt x="112" y="232"/>
                  </a:lnTo>
                  <a:lnTo>
                    <a:pt x="114" y="232"/>
                  </a:lnTo>
                  <a:lnTo>
                    <a:pt x="114" y="231"/>
                  </a:lnTo>
                  <a:lnTo>
                    <a:pt x="114" y="232"/>
                  </a:lnTo>
                  <a:lnTo>
                    <a:pt x="112" y="232"/>
                  </a:lnTo>
                  <a:lnTo>
                    <a:pt x="112" y="231"/>
                  </a:lnTo>
                  <a:lnTo>
                    <a:pt x="114" y="231"/>
                  </a:lnTo>
                  <a:lnTo>
                    <a:pt x="114" y="229"/>
                  </a:lnTo>
                  <a:lnTo>
                    <a:pt x="115" y="229"/>
                  </a:lnTo>
                  <a:lnTo>
                    <a:pt x="114" y="229"/>
                  </a:lnTo>
                  <a:lnTo>
                    <a:pt x="114" y="227"/>
                  </a:lnTo>
                  <a:lnTo>
                    <a:pt x="114" y="229"/>
                  </a:lnTo>
                  <a:lnTo>
                    <a:pt x="112" y="229"/>
                  </a:lnTo>
                  <a:lnTo>
                    <a:pt x="112" y="231"/>
                  </a:lnTo>
                  <a:lnTo>
                    <a:pt x="112" y="229"/>
                  </a:lnTo>
                  <a:lnTo>
                    <a:pt x="114" y="229"/>
                  </a:lnTo>
                  <a:lnTo>
                    <a:pt x="112" y="229"/>
                  </a:lnTo>
                  <a:lnTo>
                    <a:pt x="114" y="229"/>
                  </a:lnTo>
                  <a:lnTo>
                    <a:pt x="114" y="227"/>
                  </a:lnTo>
                  <a:lnTo>
                    <a:pt x="114" y="225"/>
                  </a:lnTo>
                  <a:lnTo>
                    <a:pt x="114" y="227"/>
                  </a:lnTo>
                  <a:lnTo>
                    <a:pt x="115" y="227"/>
                  </a:lnTo>
                  <a:lnTo>
                    <a:pt x="115" y="229"/>
                  </a:lnTo>
                  <a:lnTo>
                    <a:pt x="115" y="231"/>
                  </a:lnTo>
                  <a:lnTo>
                    <a:pt x="117" y="231"/>
                  </a:lnTo>
                  <a:lnTo>
                    <a:pt x="117" y="232"/>
                  </a:lnTo>
                  <a:lnTo>
                    <a:pt x="117" y="231"/>
                  </a:lnTo>
                  <a:lnTo>
                    <a:pt x="115" y="231"/>
                  </a:lnTo>
                  <a:lnTo>
                    <a:pt x="115" y="229"/>
                  </a:lnTo>
                  <a:lnTo>
                    <a:pt x="117" y="229"/>
                  </a:lnTo>
                  <a:lnTo>
                    <a:pt x="115" y="229"/>
                  </a:lnTo>
                  <a:lnTo>
                    <a:pt x="117" y="229"/>
                  </a:lnTo>
                  <a:lnTo>
                    <a:pt x="117" y="231"/>
                  </a:lnTo>
                  <a:lnTo>
                    <a:pt x="117" y="229"/>
                  </a:lnTo>
                  <a:lnTo>
                    <a:pt x="117" y="231"/>
                  </a:lnTo>
                  <a:lnTo>
                    <a:pt x="119" y="231"/>
                  </a:lnTo>
                  <a:lnTo>
                    <a:pt x="119" y="232"/>
                  </a:lnTo>
                  <a:lnTo>
                    <a:pt x="119" y="231"/>
                  </a:lnTo>
                  <a:lnTo>
                    <a:pt x="117" y="231"/>
                  </a:lnTo>
                  <a:lnTo>
                    <a:pt x="119" y="231"/>
                  </a:lnTo>
                  <a:lnTo>
                    <a:pt x="117" y="231"/>
                  </a:lnTo>
                  <a:lnTo>
                    <a:pt x="119" y="231"/>
                  </a:lnTo>
                  <a:lnTo>
                    <a:pt x="119" y="229"/>
                  </a:lnTo>
                  <a:lnTo>
                    <a:pt x="121" y="229"/>
                  </a:lnTo>
                  <a:lnTo>
                    <a:pt x="119" y="229"/>
                  </a:lnTo>
                  <a:lnTo>
                    <a:pt x="117" y="229"/>
                  </a:lnTo>
                  <a:lnTo>
                    <a:pt x="119" y="229"/>
                  </a:lnTo>
                  <a:lnTo>
                    <a:pt x="117" y="229"/>
                  </a:lnTo>
                  <a:lnTo>
                    <a:pt x="117" y="227"/>
                  </a:lnTo>
                  <a:lnTo>
                    <a:pt x="119" y="227"/>
                  </a:lnTo>
                  <a:lnTo>
                    <a:pt x="117" y="227"/>
                  </a:lnTo>
                  <a:lnTo>
                    <a:pt x="117" y="225"/>
                  </a:lnTo>
                  <a:lnTo>
                    <a:pt x="117" y="227"/>
                  </a:lnTo>
                  <a:lnTo>
                    <a:pt x="115" y="227"/>
                  </a:lnTo>
                  <a:lnTo>
                    <a:pt x="117" y="227"/>
                  </a:lnTo>
                  <a:lnTo>
                    <a:pt x="117" y="225"/>
                  </a:lnTo>
                  <a:lnTo>
                    <a:pt x="117" y="227"/>
                  </a:lnTo>
                  <a:lnTo>
                    <a:pt x="115" y="227"/>
                  </a:lnTo>
                  <a:lnTo>
                    <a:pt x="115" y="225"/>
                  </a:lnTo>
                  <a:lnTo>
                    <a:pt x="115" y="223"/>
                  </a:lnTo>
                  <a:lnTo>
                    <a:pt x="114" y="223"/>
                  </a:lnTo>
                  <a:lnTo>
                    <a:pt x="115" y="223"/>
                  </a:lnTo>
                  <a:lnTo>
                    <a:pt x="115" y="221"/>
                  </a:lnTo>
                  <a:lnTo>
                    <a:pt x="115" y="219"/>
                  </a:lnTo>
                  <a:lnTo>
                    <a:pt x="117" y="219"/>
                  </a:lnTo>
                  <a:lnTo>
                    <a:pt x="117" y="221"/>
                  </a:lnTo>
                  <a:lnTo>
                    <a:pt x="119" y="221"/>
                  </a:lnTo>
                  <a:lnTo>
                    <a:pt x="117" y="221"/>
                  </a:lnTo>
                  <a:lnTo>
                    <a:pt x="119" y="221"/>
                  </a:lnTo>
                  <a:lnTo>
                    <a:pt x="117" y="221"/>
                  </a:lnTo>
                  <a:lnTo>
                    <a:pt x="117" y="223"/>
                  </a:lnTo>
                  <a:lnTo>
                    <a:pt x="119" y="223"/>
                  </a:lnTo>
                  <a:lnTo>
                    <a:pt x="117" y="223"/>
                  </a:lnTo>
                  <a:lnTo>
                    <a:pt x="119" y="223"/>
                  </a:lnTo>
                  <a:lnTo>
                    <a:pt x="117" y="223"/>
                  </a:lnTo>
                  <a:lnTo>
                    <a:pt x="119" y="223"/>
                  </a:lnTo>
                  <a:lnTo>
                    <a:pt x="119" y="221"/>
                  </a:lnTo>
                  <a:lnTo>
                    <a:pt x="119" y="223"/>
                  </a:lnTo>
                  <a:lnTo>
                    <a:pt x="121" y="223"/>
                  </a:lnTo>
                  <a:lnTo>
                    <a:pt x="119" y="223"/>
                  </a:lnTo>
                  <a:lnTo>
                    <a:pt x="119" y="221"/>
                  </a:lnTo>
                  <a:lnTo>
                    <a:pt x="119" y="219"/>
                  </a:lnTo>
                  <a:lnTo>
                    <a:pt x="119" y="221"/>
                  </a:lnTo>
                  <a:lnTo>
                    <a:pt x="117" y="221"/>
                  </a:lnTo>
                  <a:lnTo>
                    <a:pt x="117" y="219"/>
                  </a:lnTo>
                  <a:lnTo>
                    <a:pt x="117" y="217"/>
                  </a:lnTo>
                  <a:lnTo>
                    <a:pt x="119" y="217"/>
                  </a:lnTo>
                  <a:lnTo>
                    <a:pt x="117" y="217"/>
                  </a:lnTo>
                  <a:lnTo>
                    <a:pt x="119" y="217"/>
                  </a:lnTo>
                  <a:lnTo>
                    <a:pt x="119" y="215"/>
                  </a:lnTo>
                  <a:lnTo>
                    <a:pt x="119" y="217"/>
                  </a:lnTo>
                  <a:lnTo>
                    <a:pt x="119" y="215"/>
                  </a:lnTo>
                  <a:lnTo>
                    <a:pt x="119" y="217"/>
                  </a:lnTo>
                  <a:lnTo>
                    <a:pt x="119" y="215"/>
                  </a:lnTo>
                  <a:lnTo>
                    <a:pt x="119" y="217"/>
                  </a:lnTo>
                  <a:lnTo>
                    <a:pt x="117" y="217"/>
                  </a:lnTo>
                  <a:lnTo>
                    <a:pt x="117" y="215"/>
                  </a:lnTo>
                  <a:lnTo>
                    <a:pt x="119" y="215"/>
                  </a:lnTo>
                  <a:lnTo>
                    <a:pt x="119" y="213"/>
                  </a:lnTo>
                  <a:lnTo>
                    <a:pt x="119" y="211"/>
                  </a:lnTo>
                  <a:lnTo>
                    <a:pt x="119" y="213"/>
                  </a:lnTo>
                  <a:lnTo>
                    <a:pt x="119" y="211"/>
                  </a:lnTo>
                  <a:lnTo>
                    <a:pt x="121" y="211"/>
                  </a:lnTo>
                  <a:lnTo>
                    <a:pt x="123" y="211"/>
                  </a:lnTo>
                  <a:lnTo>
                    <a:pt x="123" y="213"/>
                  </a:lnTo>
                  <a:lnTo>
                    <a:pt x="123" y="211"/>
                  </a:lnTo>
                  <a:lnTo>
                    <a:pt x="123" y="213"/>
                  </a:lnTo>
                  <a:lnTo>
                    <a:pt x="125" y="213"/>
                  </a:lnTo>
                  <a:lnTo>
                    <a:pt x="127" y="213"/>
                  </a:lnTo>
                  <a:lnTo>
                    <a:pt x="127" y="215"/>
                  </a:lnTo>
                  <a:lnTo>
                    <a:pt x="127" y="213"/>
                  </a:lnTo>
                  <a:lnTo>
                    <a:pt x="125" y="213"/>
                  </a:lnTo>
                  <a:lnTo>
                    <a:pt x="127" y="213"/>
                  </a:lnTo>
                  <a:lnTo>
                    <a:pt x="125" y="213"/>
                  </a:lnTo>
                  <a:lnTo>
                    <a:pt x="125" y="211"/>
                  </a:lnTo>
                  <a:lnTo>
                    <a:pt x="127" y="211"/>
                  </a:lnTo>
                  <a:lnTo>
                    <a:pt x="125" y="211"/>
                  </a:lnTo>
                  <a:lnTo>
                    <a:pt x="123" y="211"/>
                  </a:lnTo>
                  <a:lnTo>
                    <a:pt x="123" y="209"/>
                  </a:lnTo>
                  <a:lnTo>
                    <a:pt x="123" y="207"/>
                  </a:lnTo>
                  <a:lnTo>
                    <a:pt x="125" y="207"/>
                  </a:lnTo>
                  <a:lnTo>
                    <a:pt x="123" y="207"/>
                  </a:lnTo>
                  <a:lnTo>
                    <a:pt x="121" y="207"/>
                  </a:lnTo>
                  <a:lnTo>
                    <a:pt x="119" y="207"/>
                  </a:lnTo>
                  <a:lnTo>
                    <a:pt x="119" y="209"/>
                  </a:lnTo>
                  <a:lnTo>
                    <a:pt x="119" y="207"/>
                  </a:lnTo>
                  <a:lnTo>
                    <a:pt x="121" y="207"/>
                  </a:lnTo>
                  <a:lnTo>
                    <a:pt x="119" y="207"/>
                  </a:lnTo>
                  <a:lnTo>
                    <a:pt x="121" y="207"/>
                  </a:lnTo>
                  <a:lnTo>
                    <a:pt x="119" y="207"/>
                  </a:lnTo>
                  <a:lnTo>
                    <a:pt x="119" y="206"/>
                  </a:lnTo>
                  <a:lnTo>
                    <a:pt x="121" y="206"/>
                  </a:lnTo>
                  <a:lnTo>
                    <a:pt x="123" y="206"/>
                  </a:lnTo>
                  <a:lnTo>
                    <a:pt x="123" y="204"/>
                  </a:lnTo>
                  <a:lnTo>
                    <a:pt x="125" y="204"/>
                  </a:lnTo>
                  <a:lnTo>
                    <a:pt x="125" y="206"/>
                  </a:lnTo>
                  <a:lnTo>
                    <a:pt x="125" y="204"/>
                  </a:lnTo>
                  <a:lnTo>
                    <a:pt x="127" y="204"/>
                  </a:lnTo>
                  <a:lnTo>
                    <a:pt x="127" y="202"/>
                  </a:lnTo>
                  <a:lnTo>
                    <a:pt x="129" y="202"/>
                  </a:lnTo>
                  <a:lnTo>
                    <a:pt x="131" y="202"/>
                  </a:lnTo>
                  <a:lnTo>
                    <a:pt x="133" y="202"/>
                  </a:lnTo>
                  <a:lnTo>
                    <a:pt x="131" y="202"/>
                  </a:lnTo>
                  <a:lnTo>
                    <a:pt x="131" y="204"/>
                  </a:lnTo>
                  <a:lnTo>
                    <a:pt x="133" y="204"/>
                  </a:lnTo>
                  <a:lnTo>
                    <a:pt x="133" y="202"/>
                  </a:lnTo>
                  <a:lnTo>
                    <a:pt x="133" y="204"/>
                  </a:lnTo>
                  <a:lnTo>
                    <a:pt x="133" y="206"/>
                  </a:lnTo>
                  <a:lnTo>
                    <a:pt x="133" y="204"/>
                  </a:lnTo>
                  <a:lnTo>
                    <a:pt x="135" y="204"/>
                  </a:lnTo>
                  <a:lnTo>
                    <a:pt x="137" y="204"/>
                  </a:lnTo>
                  <a:lnTo>
                    <a:pt x="135" y="204"/>
                  </a:lnTo>
                  <a:lnTo>
                    <a:pt x="137" y="204"/>
                  </a:lnTo>
                  <a:lnTo>
                    <a:pt x="137" y="206"/>
                  </a:lnTo>
                  <a:lnTo>
                    <a:pt x="137" y="204"/>
                  </a:lnTo>
                  <a:lnTo>
                    <a:pt x="135" y="204"/>
                  </a:lnTo>
                  <a:lnTo>
                    <a:pt x="133" y="204"/>
                  </a:lnTo>
                  <a:lnTo>
                    <a:pt x="133" y="202"/>
                  </a:lnTo>
                  <a:lnTo>
                    <a:pt x="135" y="202"/>
                  </a:lnTo>
                  <a:lnTo>
                    <a:pt x="137" y="202"/>
                  </a:lnTo>
                  <a:lnTo>
                    <a:pt x="135" y="202"/>
                  </a:lnTo>
                  <a:lnTo>
                    <a:pt x="135" y="204"/>
                  </a:lnTo>
                  <a:lnTo>
                    <a:pt x="135" y="202"/>
                  </a:lnTo>
                  <a:lnTo>
                    <a:pt x="137" y="202"/>
                  </a:lnTo>
                  <a:lnTo>
                    <a:pt x="139" y="202"/>
                  </a:lnTo>
                  <a:lnTo>
                    <a:pt x="139" y="200"/>
                  </a:lnTo>
                  <a:lnTo>
                    <a:pt x="139" y="202"/>
                  </a:lnTo>
                  <a:lnTo>
                    <a:pt x="139" y="200"/>
                  </a:lnTo>
                  <a:lnTo>
                    <a:pt x="140" y="200"/>
                  </a:lnTo>
                  <a:lnTo>
                    <a:pt x="140" y="198"/>
                  </a:lnTo>
                  <a:lnTo>
                    <a:pt x="139" y="198"/>
                  </a:lnTo>
                  <a:lnTo>
                    <a:pt x="139" y="200"/>
                  </a:lnTo>
                  <a:lnTo>
                    <a:pt x="137" y="200"/>
                  </a:lnTo>
                  <a:lnTo>
                    <a:pt x="135" y="200"/>
                  </a:lnTo>
                  <a:lnTo>
                    <a:pt x="135" y="202"/>
                  </a:lnTo>
                  <a:lnTo>
                    <a:pt x="133" y="202"/>
                  </a:lnTo>
                  <a:lnTo>
                    <a:pt x="133" y="200"/>
                  </a:lnTo>
                  <a:lnTo>
                    <a:pt x="131" y="200"/>
                  </a:lnTo>
                  <a:lnTo>
                    <a:pt x="131" y="202"/>
                  </a:lnTo>
                  <a:lnTo>
                    <a:pt x="129" y="202"/>
                  </a:lnTo>
                  <a:lnTo>
                    <a:pt x="129" y="200"/>
                  </a:lnTo>
                  <a:lnTo>
                    <a:pt x="129" y="202"/>
                  </a:lnTo>
                  <a:lnTo>
                    <a:pt x="129" y="200"/>
                  </a:lnTo>
                  <a:lnTo>
                    <a:pt x="129" y="202"/>
                  </a:lnTo>
                  <a:lnTo>
                    <a:pt x="127" y="202"/>
                  </a:lnTo>
                  <a:lnTo>
                    <a:pt x="127" y="204"/>
                  </a:lnTo>
                  <a:lnTo>
                    <a:pt x="125" y="204"/>
                  </a:lnTo>
                  <a:lnTo>
                    <a:pt x="125" y="202"/>
                  </a:lnTo>
                  <a:lnTo>
                    <a:pt x="127" y="202"/>
                  </a:lnTo>
                  <a:lnTo>
                    <a:pt x="125" y="200"/>
                  </a:lnTo>
                  <a:lnTo>
                    <a:pt x="127" y="200"/>
                  </a:lnTo>
                  <a:lnTo>
                    <a:pt x="125" y="200"/>
                  </a:lnTo>
                  <a:lnTo>
                    <a:pt x="127" y="200"/>
                  </a:lnTo>
                  <a:lnTo>
                    <a:pt x="125" y="200"/>
                  </a:lnTo>
                  <a:lnTo>
                    <a:pt x="127" y="200"/>
                  </a:lnTo>
                  <a:lnTo>
                    <a:pt x="125" y="200"/>
                  </a:lnTo>
                  <a:lnTo>
                    <a:pt x="127" y="200"/>
                  </a:lnTo>
                  <a:lnTo>
                    <a:pt x="129" y="200"/>
                  </a:lnTo>
                  <a:lnTo>
                    <a:pt x="129" y="198"/>
                  </a:lnTo>
                  <a:lnTo>
                    <a:pt x="131" y="198"/>
                  </a:lnTo>
                  <a:lnTo>
                    <a:pt x="131" y="200"/>
                  </a:lnTo>
                  <a:lnTo>
                    <a:pt x="131" y="198"/>
                  </a:lnTo>
                  <a:lnTo>
                    <a:pt x="133" y="198"/>
                  </a:lnTo>
                  <a:lnTo>
                    <a:pt x="131" y="198"/>
                  </a:lnTo>
                  <a:lnTo>
                    <a:pt x="129" y="198"/>
                  </a:lnTo>
                  <a:lnTo>
                    <a:pt x="127" y="198"/>
                  </a:lnTo>
                  <a:lnTo>
                    <a:pt x="125" y="198"/>
                  </a:lnTo>
                  <a:lnTo>
                    <a:pt x="127" y="198"/>
                  </a:lnTo>
                  <a:lnTo>
                    <a:pt x="125" y="198"/>
                  </a:lnTo>
                  <a:lnTo>
                    <a:pt x="123" y="198"/>
                  </a:lnTo>
                  <a:lnTo>
                    <a:pt x="125" y="198"/>
                  </a:lnTo>
                  <a:lnTo>
                    <a:pt x="123" y="198"/>
                  </a:lnTo>
                  <a:lnTo>
                    <a:pt x="125" y="198"/>
                  </a:lnTo>
                  <a:lnTo>
                    <a:pt x="123" y="198"/>
                  </a:lnTo>
                  <a:lnTo>
                    <a:pt x="123" y="196"/>
                  </a:lnTo>
                  <a:lnTo>
                    <a:pt x="125" y="196"/>
                  </a:lnTo>
                  <a:lnTo>
                    <a:pt x="127" y="196"/>
                  </a:lnTo>
                  <a:lnTo>
                    <a:pt x="127" y="194"/>
                  </a:lnTo>
                  <a:lnTo>
                    <a:pt x="125" y="194"/>
                  </a:lnTo>
                  <a:lnTo>
                    <a:pt x="125" y="192"/>
                  </a:lnTo>
                  <a:lnTo>
                    <a:pt x="127" y="192"/>
                  </a:lnTo>
                  <a:lnTo>
                    <a:pt x="125" y="192"/>
                  </a:lnTo>
                  <a:lnTo>
                    <a:pt x="123" y="192"/>
                  </a:lnTo>
                  <a:lnTo>
                    <a:pt x="125" y="190"/>
                  </a:lnTo>
                  <a:lnTo>
                    <a:pt x="123" y="190"/>
                  </a:lnTo>
                  <a:lnTo>
                    <a:pt x="125" y="190"/>
                  </a:lnTo>
                  <a:lnTo>
                    <a:pt x="123" y="190"/>
                  </a:lnTo>
                  <a:lnTo>
                    <a:pt x="125" y="190"/>
                  </a:lnTo>
                  <a:lnTo>
                    <a:pt x="127" y="190"/>
                  </a:lnTo>
                  <a:lnTo>
                    <a:pt x="125" y="190"/>
                  </a:lnTo>
                  <a:lnTo>
                    <a:pt x="127" y="190"/>
                  </a:lnTo>
                  <a:lnTo>
                    <a:pt x="127" y="192"/>
                  </a:lnTo>
                  <a:lnTo>
                    <a:pt x="127" y="194"/>
                  </a:lnTo>
                  <a:lnTo>
                    <a:pt x="129" y="194"/>
                  </a:lnTo>
                  <a:lnTo>
                    <a:pt x="129" y="192"/>
                  </a:lnTo>
                  <a:lnTo>
                    <a:pt x="131" y="192"/>
                  </a:lnTo>
                  <a:lnTo>
                    <a:pt x="129" y="192"/>
                  </a:lnTo>
                  <a:lnTo>
                    <a:pt x="127" y="192"/>
                  </a:lnTo>
                  <a:lnTo>
                    <a:pt x="129" y="192"/>
                  </a:lnTo>
                  <a:lnTo>
                    <a:pt x="129" y="190"/>
                  </a:lnTo>
                  <a:lnTo>
                    <a:pt x="127" y="190"/>
                  </a:lnTo>
                  <a:lnTo>
                    <a:pt x="129" y="190"/>
                  </a:lnTo>
                  <a:lnTo>
                    <a:pt x="131" y="190"/>
                  </a:lnTo>
                  <a:lnTo>
                    <a:pt x="133" y="190"/>
                  </a:lnTo>
                  <a:lnTo>
                    <a:pt x="135" y="190"/>
                  </a:lnTo>
                  <a:lnTo>
                    <a:pt x="133" y="190"/>
                  </a:lnTo>
                  <a:lnTo>
                    <a:pt x="131" y="190"/>
                  </a:lnTo>
                  <a:lnTo>
                    <a:pt x="131" y="188"/>
                  </a:lnTo>
                  <a:lnTo>
                    <a:pt x="133" y="188"/>
                  </a:lnTo>
                  <a:lnTo>
                    <a:pt x="135" y="188"/>
                  </a:lnTo>
                  <a:lnTo>
                    <a:pt x="133" y="188"/>
                  </a:lnTo>
                  <a:lnTo>
                    <a:pt x="131" y="188"/>
                  </a:lnTo>
                  <a:lnTo>
                    <a:pt x="131" y="190"/>
                  </a:lnTo>
                  <a:lnTo>
                    <a:pt x="129" y="190"/>
                  </a:lnTo>
                  <a:lnTo>
                    <a:pt x="127" y="190"/>
                  </a:lnTo>
                  <a:lnTo>
                    <a:pt x="127" y="188"/>
                  </a:lnTo>
                  <a:lnTo>
                    <a:pt x="127" y="186"/>
                  </a:lnTo>
                  <a:lnTo>
                    <a:pt x="129" y="186"/>
                  </a:lnTo>
                  <a:lnTo>
                    <a:pt x="129" y="188"/>
                  </a:lnTo>
                  <a:lnTo>
                    <a:pt x="129" y="186"/>
                  </a:lnTo>
                  <a:lnTo>
                    <a:pt x="129" y="188"/>
                  </a:lnTo>
                  <a:lnTo>
                    <a:pt x="129" y="186"/>
                  </a:lnTo>
                  <a:lnTo>
                    <a:pt x="131" y="186"/>
                  </a:lnTo>
                  <a:lnTo>
                    <a:pt x="129" y="186"/>
                  </a:lnTo>
                  <a:lnTo>
                    <a:pt x="131" y="186"/>
                  </a:lnTo>
                  <a:lnTo>
                    <a:pt x="129" y="186"/>
                  </a:lnTo>
                  <a:lnTo>
                    <a:pt x="127" y="186"/>
                  </a:lnTo>
                  <a:lnTo>
                    <a:pt x="127" y="184"/>
                  </a:lnTo>
                  <a:lnTo>
                    <a:pt x="127" y="186"/>
                  </a:lnTo>
                  <a:lnTo>
                    <a:pt x="127" y="184"/>
                  </a:lnTo>
                  <a:lnTo>
                    <a:pt x="127" y="186"/>
                  </a:lnTo>
                  <a:lnTo>
                    <a:pt x="127" y="184"/>
                  </a:lnTo>
                  <a:lnTo>
                    <a:pt x="127" y="186"/>
                  </a:lnTo>
                  <a:lnTo>
                    <a:pt x="129" y="186"/>
                  </a:lnTo>
                  <a:lnTo>
                    <a:pt x="129" y="184"/>
                  </a:lnTo>
                  <a:lnTo>
                    <a:pt x="129" y="186"/>
                  </a:lnTo>
                  <a:lnTo>
                    <a:pt x="129" y="184"/>
                  </a:lnTo>
                  <a:lnTo>
                    <a:pt x="129" y="186"/>
                  </a:lnTo>
                  <a:lnTo>
                    <a:pt x="131" y="186"/>
                  </a:lnTo>
                  <a:lnTo>
                    <a:pt x="129" y="186"/>
                  </a:lnTo>
                  <a:lnTo>
                    <a:pt x="131" y="186"/>
                  </a:lnTo>
                  <a:lnTo>
                    <a:pt x="133" y="186"/>
                  </a:lnTo>
                  <a:lnTo>
                    <a:pt x="131" y="186"/>
                  </a:lnTo>
                  <a:lnTo>
                    <a:pt x="133" y="186"/>
                  </a:lnTo>
                  <a:lnTo>
                    <a:pt x="133" y="184"/>
                  </a:lnTo>
                  <a:lnTo>
                    <a:pt x="131" y="184"/>
                  </a:lnTo>
                  <a:lnTo>
                    <a:pt x="129" y="184"/>
                  </a:lnTo>
                  <a:lnTo>
                    <a:pt x="127" y="184"/>
                  </a:lnTo>
                  <a:lnTo>
                    <a:pt x="129" y="184"/>
                  </a:lnTo>
                  <a:lnTo>
                    <a:pt x="127" y="184"/>
                  </a:lnTo>
                  <a:lnTo>
                    <a:pt x="129" y="184"/>
                  </a:lnTo>
                  <a:lnTo>
                    <a:pt x="127" y="184"/>
                  </a:lnTo>
                  <a:lnTo>
                    <a:pt x="127" y="182"/>
                  </a:lnTo>
                  <a:lnTo>
                    <a:pt x="127" y="184"/>
                  </a:lnTo>
                  <a:lnTo>
                    <a:pt x="127" y="182"/>
                  </a:lnTo>
                  <a:lnTo>
                    <a:pt x="127" y="184"/>
                  </a:lnTo>
                  <a:lnTo>
                    <a:pt x="127" y="182"/>
                  </a:lnTo>
                  <a:lnTo>
                    <a:pt x="127" y="184"/>
                  </a:lnTo>
                  <a:lnTo>
                    <a:pt x="127" y="182"/>
                  </a:lnTo>
                  <a:lnTo>
                    <a:pt x="129" y="182"/>
                  </a:lnTo>
                  <a:lnTo>
                    <a:pt x="127" y="182"/>
                  </a:lnTo>
                  <a:lnTo>
                    <a:pt x="129" y="182"/>
                  </a:lnTo>
                  <a:lnTo>
                    <a:pt x="131" y="182"/>
                  </a:lnTo>
                  <a:lnTo>
                    <a:pt x="131" y="184"/>
                  </a:lnTo>
                  <a:lnTo>
                    <a:pt x="131" y="182"/>
                  </a:lnTo>
                  <a:lnTo>
                    <a:pt x="131" y="184"/>
                  </a:lnTo>
                  <a:lnTo>
                    <a:pt x="133" y="184"/>
                  </a:lnTo>
                  <a:lnTo>
                    <a:pt x="135" y="184"/>
                  </a:lnTo>
                  <a:lnTo>
                    <a:pt x="135" y="182"/>
                  </a:lnTo>
                  <a:lnTo>
                    <a:pt x="137" y="182"/>
                  </a:lnTo>
                  <a:lnTo>
                    <a:pt x="135" y="182"/>
                  </a:lnTo>
                  <a:lnTo>
                    <a:pt x="135" y="184"/>
                  </a:lnTo>
                  <a:lnTo>
                    <a:pt x="133" y="184"/>
                  </a:lnTo>
                  <a:lnTo>
                    <a:pt x="133" y="182"/>
                  </a:lnTo>
                  <a:lnTo>
                    <a:pt x="135" y="182"/>
                  </a:lnTo>
                  <a:lnTo>
                    <a:pt x="133" y="182"/>
                  </a:lnTo>
                  <a:lnTo>
                    <a:pt x="133" y="181"/>
                  </a:lnTo>
                  <a:lnTo>
                    <a:pt x="133" y="182"/>
                  </a:lnTo>
                  <a:lnTo>
                    <a:pt x="131" y="182"/>
                  </a:lnTo>
                  <a:lnTo>
                    <a:pt x="133" y="182"/>
                  </a:lnTo>
                  <a:lnTo>
                    <a:pt x="133" y="181"/>
                  </a:lnTo>
                  <a:lnTo>
                    <a:pt x="131" y="181"/>
                  </a:lnTo>
                  <a:lnTo>
                    <a:pt x="133" y="181"/>
                  </a:lnTo>
                  <a:lnTo>
                    <a:pt x="131" y="181"/>
                  </a:lnTo>
                  <a:lnTo>
                    <a:pt x="133" y="181"/>
                  </a:lnTo>
                  <a:lnTo>
                    <a:pt x="131" y="181"/>
                  </a:lnTo>
                  <a:lnTo>
                    <a:pt x="133" y="181"/>
                  </a:lnTo>
                  <a:lnTo>
                    <a:pt x="135" y="181"/>
                  </a:lnTo>
                  <a:lnTo>
                    <a:pt x="137" y="181"/>
                  </a:lnTo>
                  <a:lnTo>
                    <a:pt x="139" y="181"/>
                  </a:lnTo>
                  <a:lnTo>
                    <a:pt x="137" y="181"/>
                  </a:lnTo>
                  <a:lnTo>
                    <a:pt x="135" y="181"/>
                  </a:lnTo>
                  <a:lnTo>
                    <a:pt x="135" y="179"/>
                  </a:lnTo>
                  <a:lnTo>
                    <a:pt x="135" y="177"/>
                  </a:lnTo>
                  <a:lnTo>
                    <a:pt x="133" y="177"/>
                  </a:lnTo>
                  <a:lnTo>
                    <a:pt x="133" y="175"/>
                  </a:lnTo>
                  <a:lnTo>
                    <a:pt x="131" y="175"/>
                  </a:lnTo>
                  <a:lnTo>
                    <a:pt x="133" y="175"/>
                  </a:lnTo>
                  <a:lnTo>
                    <a:pt x="135" y="175"/>
                  </a:lnTo>
                  <a:lnTo>
                    <a:pt x="137" y="175"/>
                  </a:lnTo>
                  <a:lnTo>
                    <a:pt x="135" y="175"/>
                  </a:lnTo>
                  <a:lnTo>
                    <a:pt x="135" y="173"/>
                  </a:lnTo>
                  <a:lnTo>
                    <a:pt x="137" y="173"/>
                  </a:lnTo>
                  <a:lnTo>
                    <a:pt x="139" y="173"/>
                  </a:lnTo>
                  <a:lnTo>
                    <a:pt x="139" y="175"/>
                  </a:lnTo>
                  <a:lnTo>
                    <a:pt x="137" y="175"/>
                  </a:lnTo>
                  <a:lnTo>
                    <a:pt x="139" y="175"/>
                  </a:lnTo>
                  <a:lnTo>
                    <a:pt x="137" y="175"/>
                  </a:lnTo>
                  <a:lnTo>
                    <a:pt x="139" y="175"/>
                  </a:lnTo>
                  <a:lnTo>
                    <a:pt x="139" y="173"/>
                  </a:lnTo>
                  <a:lnTo>
                    <a:pt x="139" y="175"/>
                  </a:lnTo>
                  <a:lnTo>
                    <a:pt x="139" y="173"/>
                  </a:lnTo>
                  <a:lnTo>
                    <a:pt x="140" y="173"/>
                  </a:lnTo>
                  <a:lnTo>
                    <a:pt x="139" y="173"/>
                  </a:lnTo>
                  <a:lnTo>
                    <a:pt x="139" y="171"/>
                  </a:lnTo>
                  <a:lnTo>
                    <a:pt x="139" y="169"/>
                  </a:lnTo>
                  <a:lnTo>
                    <a:pt x="139" y="171"/>
                  </a:lnTo>
                  <a:lnTo>
                    <a:pt x="139" y="169"/>
                  </a:lnTo>
                  <a:lnTo>
                    <a:pt x="140" y="169"/>
                  </a:lnTo>
                  <a:lnTo>
                    <a:pt x="140" y="171"/>
                  </a:lnTo>
                  <a:lnTo>
                    <a:pt x="140" y="173"/>
                  </a:lnTo>
                  <a:lnTo>
                    <a:pt x="140" y="175"/>
                  </a:lnTo>
                  <a:lnTo>
                    <a:pt x="140" y="173"/>
                  </a:lnTo>
                  <a:lnTo>
                    <a:pt x="140" y="175"/>
                  </a:lnTo>
                  <a:lnTo>
                    <a:pt x="140" y="173"/>
                  </a:lnTo>
                  <a:lnTo>
                    <a:pt x="142" y="173"/>
                  </a:lnTo>
                  <a:lnTo>
                    <a:pt x="142" y="171"/>
                  </a:lnTo>
                  <a:lnTo>
                    <a:pt x="142" y="169"/>
                  </a:lnTo>
                  <a:lnTo>
                    <a:pt x="142" y="171"/>
                  </a:lnTo>
                  <a:lnTo>
                    <a:pt x="144" y="171"/>
                  </a:lnTo>
                  <a:lnTo>
                    <a:pt x="144" y="169"/>
                  </a:lnTo>
                  <a:lnTo>
                    <a:pt x="144" y="171"/>
                  </a:lnTo>
                  <a:lnTo>
                    <a:pt x="144" y="169"/>
                  </a:lnTo>
                  <a:lnTo>
                    <a:pt x="144" y="171"/>
                  </a:lnTo>
                  <a:lnTo>
                    <a:pt x="144" y="169"/>
                  </a:lnTo>
                  <a:lnTo>
                    <a:pt x="144" y="171"/>
                  </a:lnTo>
                  <a:lnTo>
                    <a:pt x="146" y="171"/>
                  </a:lnTo>
                  <a:lnTo>
                    <a:pt x="148" y="171"/>
                  </a:lnTo>
                  <a:lnTo>
                    <a:pt x="146" y="171"/>
                  </a:lnTo>
                  <a:lnTo>
                    <a:pt x="144" y="171"/>
                  </a:lnTo>
                  <a:lnTo>
                    <a:pt x="144" y="169"/>
                  </a:lnTo>
                  <a:lnTo>
                    <a:pt x="146" y="169"/>
                  </a:lnTo>
                  <a:lnTo>
                    <a:pt x="144" y="169"/>
                  </a:lnTo>
                  <a:lnTo>
                    <a:pt x="144" y="171"/>
                  </a:lnTo>
                  <a:lnTo>
                    <a:pt x="142" y="171"/>
                  </a:lnTo>
                  <a:lnTo>
                    <a:pt x="144" y="169"/>
                  </a:lnTo>
                  <a:lnTo>
                    <a:pt x="142" y="169"/>
                  </a:lnTo>
                  <a:lnTo>
                    <a:pt x="142" y="167"/>
                  </a:lnTo>
                  <a:lnTo>
                    <a:pt x="144" y="167"/>
                  </a:lnTo>
                  <a:lnTo>
                    <a:pt x="144" y="165"/>
                  </a:lnTo>
                  <a:lnTo>
                    <a:pt x="146" y="165"/>
                  </a:lnTo>
                  <a:lnTo>
                    <a:pt x="146" y="167"/>
                  </a:lnTo>
                  <a:lnTo>
                    <a:pt x="146" y="165"/>
                  </a:lnTo>
                  <a:lnTo>
                    <a:pt x="146" y="167"/>
                  </a:lnTo>
                  <a:lnTo>
                    <a:pt x="146" y="165"/>
                  </a:lnTo>
                  <a:lnTo>
                    <a:pt x="146" y="167"/>
                  </a:lnTo>
                  <a:lnTo>
                    <a:pt x="146" y="165"/>
                  </a:lnTo>
                  <a:lnTo>
                    <a:pt x="148" y="165"/>
                  </a:lnTo>
                  <a:lnTo>
                    <a:pt x="148" y="167"/>
                  </a:lnTo>
                  <a:lnTo>
                    <a:pt x="148" y="165"/>
                  </a:lnTo>
                  <a:lnTo>
                    <a:pt x="148" y="167"/>
                  </a:lnTo>
                  <a:lnTo>
                    <a:pt x="150" y="167"/>
                  </a:lnTo>
                  <a:lnTo>
                    <a:pt x="150" y="165"/>
                  </a:lnTo>
                  <a:lnTo>
                    <a:pt x="148" y="165"/>
                  </a:lnTo>
                  <a:lnTo>
                    <a:pt x="150" y="165"/>
                  </a:lnTo>
                  <a:lnTo>
                    <a:pt x="148" y="165"/>
                  </a:lnTo>
                  <a:lnTo>
                    <a:pt x="146" y="165"/>
                  </a:lnTo>
                  <a:lnTo>
                    <a:pt x="148" y="165"/>
                  </a:lnTo>
                  <a:lnTo>
                    <a:pt x="146" y="165"/>
                  </a:lnTo>
                  <a:lnTo>
                    <a:pt x="148" y="165"/>
                  </a:lnTo>
                  <a:lnTo>
                    <a:pt x="150" y="165"/>
                  </a:lnTo>
                  <a:lnTo>
                    <a:pt x="150" y="163"/>
                  </a:lnTo>
                  <a:lnTo>
                    <a:pt x="152" y="163"/>
                  </a:lnTo>
                  <a:lnTo>
                    <a:pt x="152" y="165"/>
                  </a:lnTo>
                  <a:lnTo>
                    <a:pt x="150" y="165"/>
                  </a:lnTo>
                  <a:lnTo>
                    <a:pt x="152" y="165"/>
                  </a:lnTo>
                  <a:lnTo>
                    <a:pt x="152" y="163"/>
                  </a:lnTo>
                  <a:lnTo>
                    <a:pt x="154" y="163"/>
                  </a:lnTo>
                  <a:lnTo>
                    <a:pt x="154" y="165"/>
                  </a:lnTo>
                  <a:lnTo>
                    <a:pt x="152" y="165"/>
                  </a:lnTo>
                  <a:lnTo>
                    <a:pt x="152" y="167"/>
                  </a:lnTo>
                  <a:lnTo>
                    <a:pt x="152" y="169"/>
                  </a:lnTo>
                  <a:lnTo>
                    <a:pt x="154" y="169"/>
                  </a:lnTo>
                  <a:lnTo>
                    <a:pt x="154" y="167"/>
                  </a:lnTo>
                  <a:lnTo>
                    <a:pt x="152" y="167"/>
                  </a:lnTo>
                  <a:lnTo>
                    <a:pt x="154" y="167"/>
                  </a:lnTo>
                  <a:lnTo>
                    <a:pt x="152" y="167"/>
                  </a:lnTo>
                  <a:lnTo>
                    <a:pt x="152" y="165"/>
                  </a:lnTo>
                  <a:lnTo>
                    <a:pt x="154" y="165"/>
                  </a:lnTo>
                  <a:lnTo>
                    <a:pt x="154" y="163"/>
                  </a:lnTo>
                  <a:lnTo>
                    <a:pt x="156" y="165"/>
                  </a:lnTo>
                  <a:lnTo>
                    <a:pt x="158" y="165"/>
                  </a:lnTo>
                  <a:lnTo>
                    <a:pt x="160" y="165"/>
                  </a:lnTo>
                  <a:lnTo>
                    <a:pt x="160" y="167"/>
                  </a:lnTo>
                  <a:lnTo>
                    <a:pt x="160" y="169"/>
                  </a:lnTo>
                  <a:lnTo>
                    <a:pt x="160" y="167"/>
                  </a:lnTo>
                  <a:lnTo>
                    <a:pt x="160" y="169"/>
                  </a:lnTo>
                  <a:lnTo>
                    <a:pt x="160" y="167"/>
                  </a:lnTo>
                  <a:lnTo>
                    <a:pt x="160" y="165"/>
                  </a:lnTo>
                  <a:lnTo>
                    <a:pt x="158" y="165"/>
                  </a:lnTo>
                  <a:lnTo>
                    <a:pt x="160" y="165"/>
                  </a:lnTo>
                  <a:lnTo>
                    <a:pt x="158" y="165"/>
                  </a:lnTo>
                  <a:lnTo>
                    <a:pt x="160" y="165"/>
                  </a:lnTo>
                  <a:lnTo>
                    <a:pt x="158" y="165"/>
                  </a:lnTo>
                  <a:lnTo>
                    <a:pt x="160" y="165"/>
                  </a:lnTo>
                  <a:lnTo>
                    <a:pt x="160" y="163"/>
                  </a:lnTo>
                  <a:lnTo>
                    <a:pt x="158" y="163"/>
                  </a:lnTo>
                  <a:lnTo>
                    <a:pt x="158" y="165"/>
                  </a:lnTo>
                  <a:lnTo>
                    <a:pt x="158" y="163"/>
                  </a:lnTo>
                  <a:lnTo>
                    <a:pt x="156" y="163"/>
                  </a:lnTo>
                  <a:lnTo>
                    <a:pt x="154" y="163"/>
                  </a:lnTo>
                  <a:lnTo>
                    <a:pt x="154" y="161"/>
                  </a:lnTo>
                  <a:lnTo>
                    <a:pt x="154" y="163"/>
                  </a:lnTo>
                  <a:lnTo>
                    <a:pt x="156" y="163"/>
                  </a:lnTo>
                  <a:lnTo>
                    <a:pt x="156" y="161"/>
                  </a:lnTo>
                  <a:lnTo>
                    <a:pt x="158" y="161"/>
                  </a:lnTo>
                  <a:lnTo>
                    <a:pt x="158" y="159"/>
                  </a:lnTo>
                  <a:lnTo>
                    <a:pt x="156" y="159"/>
                  </a:lnTo>
                  <a:lnTo>
                    <a:pt x="158" y="159"/>
                  </a:lnTo>
                  <a:lnTo>
                    <a:pt x="156" y="159"/>
                  </a:lnTo>
                  <a:lnTo>
                    <a:pt x="156" y="161"/>
                  </a:lnTo>
                  <a:lnTo>
                    <a:pt x="154" y="161"/>
                  </a:lnTo>
                  <a:lnTo>
                    <a:pt x="152" y="161"/>
                  </a:lnTo>
                  <a:lnTo>
                    <a:pt x="150" y="161"/>
                  </a:lnTo>
                  <a:lnTo>
                    <a:pt x="150" y="163"/>
                  </a:lnTo>
                  <a:lnTo>
                    <a:pt x="150" y="161"/>
                  </a:lnTo>
                  <a:lnTo>
                    <a:pt x="152" y="161"/>
                  </a:lnTo>
                  <a:lnTo>
                    <a:pt x="152" y="163"/>
                  </a:lnTo>
                  <a:lnTo>
                    <a:pt x="152" y="161"/>
                  </a:lnTo>
                  <a:lnTo>
                    <a:pt x="152" y="163"/>
                  </a:lnTo>
                  <a:lnTo>
                    <a:pt x="150" y="163"/>
                  </a:lnTo>
                  <a:lnTo>
                    <a:pt x="148" y="163"/>
                  </a:lnTo>
                  <a:lnTo>
                    <a:pt x="150" y="163"/>
                  </a:lnTo>
                  <a:lnTo>
                    <a:pt x="148" y="163"/>
                  </a:lnTo>
                  <a:lnTo>
                    <a:pt x="150" y="163"/>
                  </a:lnTo>
                  <a:lnTo>
                    <a:pt x="148" y="163"/>
                  </a:lnTo>
                  <a:lnTo>
                    <a:pt x="150" y="163"/>
                  </a:lnTo>
                  <a:lnTo>
                    <a:pt x="148" y="163"/>
                  </a:lnTo>
                  <a:lnTo>
                    <a:pt x="150" y="163"/>
                  </a:lnTo>
                  <a:lnTo>
                    <a:pt x="150" y="161"/>
                  </a:lnTo>
                  <a:lnTo>
                    <a:pt x="148" y="161"/>
                  </a:lnTo>
                  <a:lnTo>
                    <a:pt x="150" y="161"/>
                  </a:lnTo>
                  <a:lnTo>
                    <a:pt x="148" y="161"/>
                  </a:lnTo>
                  <a:lnTo>
                    <a:pt x="150" y="161"/>
                  </a:lnTo>
                  <a:lnTo>
                    <a:pt x="148" y="161"/>
                  </a:lnTo>
                  <a:lnTo>
                    <a:pt x="148" y="163"/>
                  </a:lnTo>
                  <a:lnTo>
                    <a:pt x="146" y="163"/>
                  </a:lnTo>
                  <a:lnTo>
                    <a:pt x="148" y="163"/>
                  </a:lnTo>
                  <a:lnTo>
                    <a:pt x="146" y="163"/>
                  </a:lnTo>
                  <a:lnTo>
                    <a:pt x="144" y="163"/>
                  </a:lnTo>
                  <a:lnTo>
                    <a:pt x="142" y="163"/>
                  </a:lnTo>
                  <a:lnTo>
                    <a:pt x="144" y="163"/>
                  </a:lnTo>
                  <a:lnTo>
                    <a:pt x="142" y="163"/>
                  </a:lnTo>
                  <a:lnTo>
                    <a:pt x="144" y="163"/>
                  </a:lnTo>
                  <a:lnTo>
                    <a:pt x="144" y="161"/>
                  </a:lnTo>
                  <a:lnTo>
                    <a:pt x="144" y="163"/>
                  </a:lnTo>
                  <a:lnTo>
                    <a:pt x="144" y="161"/>
                  </a:lnTo>
                  <a:lnTo>
                    <a:pt x="146" y="161"/>
                  </a:lnTo>
                  <a:lnTo>
                    <a:pt x="146" y="159"/>
                  </a:lnTo>
                  <a:lnTo>
                    <a:pt x="148" y="159"/>
                  </a:lnTo>
                  <a:lnTo>
                    <a:pt x="146" y="159"/>
                  </a:lnTo>
                  <a:lnTo>
                    <a:pt x="148" y="159"/>
                  </a:lnTo>
                  <a:lnTo>
                    <a:pt x="148" y="158"/>
                  </a:lnTo>
                  <a:lnTo>
                    <a:pt x="146" y="158"/>
                  </a:lnTo>
                  <a:lnTo>
                    <a:pt x="148" y="158"/>
                  </a:lnTo>
                  <a:lnTo>
                    <a:pt x="148" y="156"/>
                  </a:lnTo>
                  <a:lnTo>
                    <a:pt x="150" y="156"/>
                  </a:lnTo>
                  <a:lnTo>
                    <a:pt x="150" y="158"/>
                  </a:lnTo>
                  <a:lnTo>
                    <a:pt x="150" y="156"/>
                  </a:lnTo>
                  <a:lnTo>
                    <a:pt x="152" y="156"/>
                  </a:lnTo>
                  <a:lnTo>
                    <a:pt x="152" y="158"/>
                  </a:lnTo>
                  <a:lnTo>
                    <a:pt x="150" y="158"/>
                  </a:lnTo>
                  <a:lnTo>
                    <a:pt x="152" y="158"/>
                  </a:lnTo>
                  <a:lnTo>
                    <a:pt x="150" y="158"/>
                  </a:lnTo>
                  <a:lnTo>
                    <a:pt x="152" y="158"/>
                  </a:lnTo>
                  <a:lnTo>
                    <a:pt x="152" y="156"/>
                  </a:lnTo>
                  <a:lnTo>
                    <a:pt x="154" y="156"/>
                  </a:lnTo>
                  <a:lnTo>
                    <a:pt x="152" y="156"/>
                  </a:lnTo>
                  <a:lnTo>
                    <a:pt x="150" y="156"/>
                  </a:lnTo>
                  <a:lnTo>
                    <a:pt x="148" y="156"/>
                  </a:lnTo>
                  <a:lnTo>
                    <a:pt x="148" y="154"/>
                  </a:lnTo>
                  <a:lnTo>
                    <a:pt x="150" y="154"/>
                  </a:lnTo>
                  <a:lnTo>
                    <a:pt x="150" y="152"/>
                  </a:lnTo>
                  <a:lnTo>
                    <a:pt x="150" y="154"/>
                  </a:lnTo>
                  <a:lnTo>
                    <a:pt x="150" y="152"/>
                  </a:lnTo>
                  <a:lnTo>
                    <a:pt x="152" y="152"/>
                  </a:lnTo>
                  <a:lnTo>
                    <a:pt x="150" y="152"/>
                  </a:lnTo>
                  <a:lnTo>
                    <a:pt x="152" y="152"/>
                  </a:lnTo>
                  <a:lnTo>
                    <a:pt x="154" y="152"/>
                  </a:lnTo>
                  <a:lnTo>
                    <a:pt x="154" y="150"/>
                  </a:lnTo>
                  <a:lnTo>
                    <a:pt x="154" y="152"/>
                  </a:lnTo>
                  <a:lnTo>
                    <a:pt x="156" y="152"/>
                  </a:lnTo>
                  <a:lnTo>
                    <a:pt x="154" y="152"/>
                  </a:lnTo>
                  <a:lnTo>
                    <a:pt x="154" y="154"/>
                  </a:lnTo>
                  <a:lnTo>
                    <a:pt x="152" y="154"/>
                  </a:lnTo>
                  <a:lnTo>
                    <a:pt x="154" y="154"/>
                  </a:lnTo>
                  <a:lnTo>
                    <a:pt x="156" y="154"/>
                  </a:lnTo>
                  <a:lnTo>
                    <a:pt x="158" y="154"/>
                  </a:lnTo>
                  <a:lnTo>
                    <a:pt x="156" y="154"/>
                  </a:lnTo>
                  <a:lnTo>
                    <a:pt x="156" y="156"/>
                  </a:lnTo>
                  <a:lnTo>
                    <a:pt x="156" y="158"/>
                  </a:lnTo>
                  <a:lnTo>
                    <a:pt x="156" y="156"/>
                  </a:lnTo>
                  <a:lnTo>
                    <a:pt x="156" y="154"/>
                  </a:lnTo>
                  <a:lnTo>
                    <a:pt x="158" y="154"/>
                  </a:lnTo>
                  <a:lnTo>
                    <a:pt x="160" y="154"/>
                  </a:lnTo>
                  <a:lnTo>
                    <a:pt x="160" y="156"/>
                  </a:lnTo>
                  <a:lnTo>
                    <a:pt x="162" y="156"/>
                  </a:lnTo>
                  <a:lnTo>
                    <a:pt x="162" y="158"/>
                  </a:lnTo>
                  <a:lnTo>
                    <a:pt x="162" y="159"/>
                  </a:lnTo>
                  <a:lnTo>
                    <a:pt x="163" y="159"/>
                  </a:lnTo>
                  <a:lnTo>
                    <a:pt x="162" y="159"/>
                  </a:lnTo>
                  <a:lnTo>
                    <a:pt x="162" y="158"/>
                  </a:lnTo>
                  <a:lnTo>
                    <a:pt x="163" y="158"/>
                  </a:lnTo>
                  <a:lnTo>
                    <a:pt x="163" y="156"/>
                  </a:lnTo>
                  <a:lnTo>
                    <a:pt x="163" y="158"/>
                  </a:lnTo>
                  <a:lnTo>
                    <a:pt x="163" y="156"/>
                  </a:lnTo>
                  <a:lnTo>
                    <a:pt x="163" y="158"/>
                  </a:lnTo>
                  <a:lnTo>
                    <a:pt x="162" y="158"/>
                  </a:lnTo>
                  <a:lnTo>
                    <a:pt x="162" y="156"/>
                  </a:lnTo>
                  <a:lnTo>
                    <a:pt x="162" y="154"/>
                  </a:lnTo>
                  <a:lnTo>
                    <a:pt x="163" y="154"/>
                  </a:lnTo>
                  <a:lnTo>
                    <a:pt x="163" y="152"/>
                  </a:lnTo>
                  <a:lnTo>
                    <a:pt x="165" y="152"/>
                  </a:lnTo>
                  <a:lnTo>
                    <a:pt x="165" y="150"/>
                  </a:lnTo>
                  <a:lnTo>
                    <a:pt x="165" y="152"/>
                  </a:lnTo>
                  <a:lnTo>
                    <a:pt x="163" y="152"/>
                  </a:lnTo>
                  <a:lnTo>
                    <a:pt x="162" y="152"/>
                  </a:lnTo>
                  <a:lnTo>
                    <a:pt x="162" y="154"/>
                  </a:lnTo>
                  <a:lnTo>
                    <a:pt x="160" y="154"/>
                  </a:lnTo>
                  <a:lnTo>
                    <a:pt x="160" y="152"/>
                  </a:lnTo>
                  <a:lnTo>
                    <a:pt x="160" y="154"/>
                  </a:lnTo>
                  <a:lnTo>
                    <a:pt x="160" y="152"/>
                  </a:lnTo>
                  <a:lnTo>
                    <a:pt x="160" y="154"/>
                  </a:lnTo>
                  <a:lnTo>
                    <a:pt x="160" y="152"/>
                  </a:lnTo>
                  <a:lnTo>
                    <a:pt x="160" y="154"/>
                  </a:lnTo>
                  <a:lnTo>
                    <a:pt x="158" y="154"/>
                  </a:lnTo>
                  <a:lnTo>
                    <a:pt x="158" y="152"/>
                  </a:lnTo>
                  <a:lnTo>
                    <a:pt x="158" y="154"/>
                  </a:lnTo>
                  <a:lnTo>
                    <a:pt x="158" y="152"/>
                  </a:lnTo>
                  <a:lnTo>
                    <a:pt x="156" y="152"/>
                  </a:lnTo>
                  <a:lnTo>
                    <a:pt x="156" y="150"/>
                  </a:lnTo>
                  <a:lnTo>
                    <a:pt x="158" y="150"/>
                  </a:lnTo>
                  <a:lnTo>
                    <a:pt x="158" y="152"/>
                  </a:lnTo>
                  <a:lnTo>
                    <a:pt x="158" y="150"/>
                  </a:lnTo>
                  <a:lnTo>
                    <a:pt x="156" y="150"/>
                  </a:lnTo>
                  <a:lnTo>
                    <a:pt x="158" y="150"/>
                  </a:lnTo>
                  <a:lnTo>
                    <a:pt x="160" y="150"/>
                  </a:lnTo>
                  <a:lnTo>
                    <a:pt x="160" y="152"/>
                  </a:lnTo>
                  <a:lnTo>
                    <a:pt x="160" y="150"/>
                  </a:lnTo>
                  <a:lnTo>
                    <a:pt x="160" y="152"/>
                  </a:lnTo>
                  <a:lnTo>
                    <a:pt x="160" y="150"/>
                  </a:lnTo>
                  <a:lnTo>
                    <a:pt x="158" y="150"/>
                  </a:lnTo>
                  <a:lnTo>
                    <a:pt x="158" y="148"/>
                  </a:lnTo>
                  <a:lnTo>
                    <a:pt x="158" y="150"/>
                  </a:lnTo>
                  <a:lnTo>
                    <a:pt x="156" y="150"/>
                  </a:lnTo>
                  <a:lnTo>
                    <a:pt x="156" y="148"/>
                  </a:lnTo>
                  <a:lnTo>
                    <a:pt x="156" y="146"/>
                  </a:lnTo>
                  <a:lnTo>
                    <a:pt x="158" y="146"/>
                  </a:lnTo>
                  <a:lnTo>
                    <a:pt x="158" y="144"/>
                  </a:lnTo>
                  <a:lnTo>
                    <a:pt x="158" y="146"/>
                  </a:lnTo>
                  <a:lnTo>
                    <a:pt x="158" y="144"/>
                  </a:lnTo>
                  <a:lnTo>
                    <a:pt x="158" y="146"/>
                  </a:lnTo>
                  <a:lnTo>
                    <a:pt x="160" y="146"/>
                  </a:lnTo>
                  <a:lnTo>
                    <a:pt x="162" y="146"/>
                  </a:lnTo>
                  <a:lnTo>
                    <a:pt x="162" y="148"/>
                  </a:lnTo>
                  <a:lnTo>
                    <a:pt x="162" y="146"/>
                  </a:lnTo>
                  <a:lnTo>
                    <a:pt x="163" y="146"/>
                  </a:lnTo>
                  <a:lnTo>
                    <a:pt x="162" y="146"/>
                  </a:lnTo>
                  <a:lnTo>
                    <a:pt x="160" y="146"/>
                  </a:lnTo>
                  <a:lnTo>
                    <a:pt x="160" y="144"/>
                  </a:lnTo>
                  <a:lnTo>
                    <a:pt x="162" y="144"/>
                  </a:lnTo>
                  <a:lnTo>
                    <a:pt x="163" y="144"/>
                  </a:lnTo>
                  <a:lnTo>
                    <a:pt x="163" y="146"/>
                  </a:lnTo>
                  <a:lnTo>
                    <a:pt x="165" y="146"/>
                  </a:lnTo>
                  <a:lnTo>
                    <a:pt x="165" y="148"/>
                  </a:lnTo>
                  <a:lnTo>
                    <a:pt x="165" y="146"/>
                  </a:lnTo>
                  <a:lnTo>
                    <a:pt x="165" y="148"/>
                  </a:lnTo>
                  <a:lnTo>
                    <a:pt x="165" y="146"/>
                  </a:lnTo>
                  <a:lnTo>
                    <a:pt x="165" y="144"/>
                  </a:lnTo>
                  <a:lnTo>
                    <a:pt x="163" y="144"/>
                  </a:lnTo>
                  <a:lnTo>
                    <a:pt x="162" y="144"/>
                  </a:lnTo>
                  <a:lnTo>
                    <a:pt x="162" y="142"/>
                  </a:lnTo>
                  <a:lnTo>
                    <a:pt x="162" y="144"/>
                  </a:lnTo>
                  <a:lnTo>
                    <a:pt x="162" y="142"/>
                  </a:lnTo>
                  <a:lnTo>
                    <a:pt x="160" y="142"/>
                  </a:lnTo>
                  <a:lnTo>
                    <a:pt x="160" y="140"/>
                  </a:lnTo>
                  <a:lnTo>
                    <a:pt x="158" y="140"/>
                  </a:lnTo>
                  <a:lnTo>
                    <a:pt x="160" y="140"/>
                  </a:lnTo>
                  <a:lnTo>
                    <a:pt x="160" y="142"/>
                  </a:lnTo>
                  <a:lnTo>
                    <a:pt x="158" y="142"/>
                  </a:lnTo>
                  <a:lnTo>
                    <a:pt x="158" y="144"/>
                  </a:lnTo>
                  <a:lnTo>
                    <a:pt x="156" y="144"/>
                  </a:lnTo>
                  <a:lnTo>
                    <a:pt x="156" y="146"/>
                  </a:lnTo>
                  <a:lnTo>
                    <a:pt x="154" y="146"/>
                  </a:lnTo>
                  <a:lnTo>
                    <a:pt x="154" y="148"/>
                  </a:lnTo>
                  <a:lnTo>
                    <a:pt x="154" y="146"/>
                  </a:lnTo>
                  <a:lnTo>
                    <a:pt x="154" y="148"/>
                  </a:lnTo>
                  <a:lnTo>
                    <a:pt x="152" y="148"/>
                  </a:lnTo>
                  <a:lnTo>
                    <a:pt x="150" y="148"/>
                  </a:lnTo>
                  <a:lnTo>
                    <a:pt x="150" y="146"/>
                  </a:lnTo>
                  <a:lnTo>
                    <a:pt x="152" y="146"/>
                  </a:lnTo>
                  <a:lnTo>
                    <a:pt x="150" y="146"/>
                  </a:lnTo>
                  <a:lnTo>
                    <a:pt x="150" y="144"/>
                  </a:lnTo>
                  <a:lnTo>
                    <a:pt x="152" y="144"/>
                  </a:lnTo>
                  <a:lnTo>
                    <a:pt x="152" y="146"/>
                  </a:lnTo>
                  <a:lnTo>
                    <a:pt x="152" y="144"/>
                  </a:lnTo>
                  <a:lnTo>
                    <a:pt x="154" y="144"/>
                  </a:lnTo>
                  <a:lnTo>
                    <a:pt x="156" y="144"/>
                  </a:lnTo>
                  <a:lnTo>
                    <a:pt x="154" y="144"/>
                  </a:lnTo>
                  <a:lnTo>
                    <a:pt x="154" y="142"/>
                  </a:lnTo>
                  <a:lnTo>
                    <a:pt x="152" y="142"/>
                  </a:lnTo>
                  <a:lnTo>
                    <a:pt x="154" y="142"/>
                  </a:lnTo>
                  <a:lnTo>
                    <a:pt x="152" y="142"/>
                  </a:lnTo>
                  <a:lnTo>
                    <a:pt x="152" y="144"/>
                  </a:lnTo>
                  <a:lnTo>
                    <a:pt x="152" y="142"/>
                  </a:lnTo>
                  <a:lnTo>
                    <a:pt x="154" y="142"/>
                  </a:lnTo>
                  <a:lnTo>
                    <a:pt x="152" y="142"/>
                  </a:lnTo>
                  <a:lnTo>
                    <a:pt x="152" y="144"/>
                  </a:lnTo>
                  <a:lnTo>
                    <a:pt x="152" y="142"/>
                  </a:lnTo>
                  <a:lnTo>
                    <a:pt x="152" y="144"/>
                  </a:lnTo>
                  <a:lnTo>
                    <a:pt x="150" y="144"/>
                  </a:lnTo>
                  <a:lnTo>
                    <a:pt x="152" y="144"/>
                  </a:lnTo>
                  <a:lnTo>
                    <a:pt x="152" y="142"/>
                  </a:lnTo>
                  <a:lnTo>
                    <a:pt x="150" y="142"/>
                  </a:lnTo>
                  <a:lnTo>
                    <a:pt x="152" y="142"/>
                  </a:lnTo>
                  <a:lnTo>
                    <a:pt x="150" y="142"/>
                  </a:lnTo>
                  <a:lnTo>
                    <a:pt x="152" y="142"/>
                  </a:lnTo>
                  <a:lnTo>
                    <a:pt x="150" y="142"/>
                  </a:lnTo>
                  <a:lnTo>
                    <a:pt x="152" y="142"/>
                  </a:lnTo>
                  <a:lnTo>
                    <a:pt x="150" y="142"/>
                  </a:lnTo>
                  <a:lnTo>
                    <a:pt x="150" y="140"/>
                  </a:lnTo>
                  <a:lnTo>
                    <a:pt x="150" y="142"/>
                  </a:lnTo>
                  <a:lnTo>
                    <a:pt x="150" y="140"/>
                  </a:lnTo>
                  <a:lnTo>
                    <a:pt x="150" y="142"/>
                  </a:lnTo>
                  <a:lnTo>
                    <a:pt x="150" y="140"/>
                  </a:lnTo>
                  <a:lnTo>
                    <a:pt x="152" y="140"/>
                  </a:lnTo>
                  <a:lnTo>
                    <a:pt x="152" y="142"/>
                  </a:lnTo>
                  <a:lnTo>
                    <a:pt x="152" y="140"/>
                  </a:lnTo>
                  <a:lnTo>
                    <a:pt x="154" y="140"/>
                  </a:lnTo>
                  <a:lnTo>
                    <a:pt x="156" y="140"/>
                  </a:lnTo>
                  <a:lnTo>
                    <a:pt x="154" y="140"/>
                  </a:lnTo>
                  <a:lnTo>
                    <a:pt x="156" y="140"/>
                  </a:lnTo>
                  <a:lnTo>
                    <a:pt x="154" y="140"/>
                  </a:lnTo>
                  <a:lnTo>
                    <a:pt x="156" y="140"/>
                  </a:lnTo>
                  <a:lnTo>
                    <a:pt x="154" y="140"/>
                  </a:lnTo>
                  <a:lnTo>
                    <a:pt x="156" y="140"/>
                  </a:lnTo>
                  <a:lnTo>
                    <a:pt x="154" y="140"/>
                  </a:lnTo>
                  <a:lnTo>
                    <a:pt x="152" y="140"/>
                  </a:lnTo>
                  <a:lnTo>
                    <a:pt x="150" y="140"/>
                  </a:lnTo>
                  <a:lnTo>
                    <a:pt x="152" y="140"/>
                  </a:lnTo>
                  <a:lnTo>
                    <a:pt x="150" y="140"/>
                  </a:lnTo>
                  <a:lnTo>
                    <a:pt x="152" y="140"/>
                  </a:lnTo>
                  <a:lnTo>
                    <a:pt x="150" y="140"/>
                  </a:lnTo>
                  <a:lnTo>
                    <a:pt x="152" y="140"/>
                  </a:lnTo>
                  <a:lnTo>
                    <a:pt x="150" y="140"/>
                  </a:lnTo>
                  <a:lnTo>
                    <a:pt x="152" y="140"/>
                  </a:lnTo>
                  <a:lnTo>
                    <a:pt x="152" y="138"/>
                  </a:lnTo>
                  <a:lnTo>
                    <a:pt x="152" y="140"/>
                  </a:lnTo>
                  <a:lnTo>
                    <a:pt x="152" y="138"/>
                  </a:lnTo>
                  <a:lnTo>
                    <a:pt x="154" y="138"/>
                  </a:lnTo>
                  <a:lnTo>
                    <a:pt x="156" y="138"/>
                  </a:lnTo>
                  <a:lnTo>
                    <a:pt x="158" y="138"/>
                  </a:lnTo>
                  <a:lnTo>
                    <a:pt x="158" y="140"/>
                  </a:lnTo>
                  <a:lnTo>
                    <a:pt x="156" y="140"/>
                  </a:lnTo>
                  <a:lnTo>
                    <a:pt x="158" y="140"/>
                  </a:lnTo>
                  <a:lnTo>
                    <a:pt x="158" y="138"/>
                  </a:lnTo>
                  <a:lnTo>
                    <a:pt x="160" y="138"/>
                  </a:lnTo>
                  <a:lnTo>
                    <a:pt x="160" y="136"/>
                  </a:lnTo>
                  <a:lnTo>
                    <a:pt x="162" y="136"/>
                  </a:lnTo>
                  <a:lnTo>
                    <a:pt x="162" y="138"/>
                  </a:lnTo>
                  <a:lnTo>
                    <a:pt x="162" y="136"/>
                  </a:lnTo>
                  <a:lnTo>
                    <a:pt x="163" y="136"/>
                  </a:lnTo>
                  <a:lnTo>
                    <a:pt x="165" y="136"/>
                  </a:lnTo>
                  <a:lnTo>
                    <a:pt x="165" y="138"/>
                  </a:lnTo>
                  <a:lnTo>
                    <a:pt x="165" y="136"/>
                  </a:lnTo>
                  <a:lnTo>
                    <a:pt x="167" y="136"/>
                  </a:lnTo>
                  <a:lnTo>
                    <a:pt x="165" y="136"/>
                  </a:lnTo>
                  <a:lnTo>
                    <a:pt x="167" y="136"/>
                  </a:lnTo>
                  <a:lnTo>
                    <a:pt x="165" y="136"/>
                  </a:lnTo>
                  <a:lnTo>
                    <a:pt x="167" y="136"/>
                  </a:lnTo>
                  <a:lnTo>
                    <a:pt x="167" y="134"/>
                  </a:lnTo>
                  <a:lnTo>
                    <a:pt x="167" y="133"/>
                  </a:lnTo>
                  <a:lnTo>
                    <a:pt x="165" y="133"/>
                  </a:lnTo>
                  <a:lnTo>
                    <a:pt x="163" y="133"/>
                  </a:lnTo>
                  <a:lnTo>
                    <a:pt x="165" y="133"/>
                  </a:lnTo>
                  <a:lnTo>
                    <a:pt x="163" y="133"/>
                  </a:lnTo>
                  <a:lnTo>
                    <a:pt x="162" y="133"/>
                  </a:lnTo>
                  <a:lnTo>
                    <a:pt x="163" y="133"/>
                  </a:lnTo>
                  <a:lnTo>
                    <a:pt x="162" y="133"/>
                  </a:lnTo>
                  <a:lnTo>
                    <a:pt x="162" y="131"/>
                  </a:lnTo>
                  <a:lnTo>
                    <a:pt x="162" y="133"/>
                  </a:lnTo>
                  <a:lnTo>
                    <a:pt x="160" y="133"/>
                  </a:lnTo>
                  <a:lnTo>
                    <a:pt x="162" y="133"/>
                  </a:lnTo>
                  <a:lnTo>
                    <a:pt x="160" y="133"/>
                  </a:lnTo>
                  <a:lnTo>
                    <a:pt x="162" y="133"/>
                  </a:lnTo>
                  <a:lnTo>
                    <a:pt x="160" y="133"/>
                  </a:lnTo>
                  <a:lnTo>
                    <a:pt x="160" y="134"/>
                  </a:lnTo>
                  <a:lnTo>
                    <a:pt x="158" y="134"/>
                  </a:lnTo>
                  <a:lnTo>
                    <a:pt x="158" y="133"/>
                  </a:lnTo>
                  <a:lnTo>
                    <a:pt x="158" y="131"/>
                  </a:lnTo>
                  <a:lnTo>
                    <a:pt x="158" y="133"/>
                  </a:lnTo>
                  <a:lnTo>
                    <a:pt x="158" y="131"/>
                  </a:lnTo>
                  <a:lnTo>
                    <a:pt x="160" y="131"/>
                  </a:lnTo>
                  <a:lnTo>
                    <a:pt x="158" y="131"/>
                  </a:lnTo>
                  <a:lnTo>
                    <a:pt x="160" y="131"/>
                  </a:lnTo>
                  <a:lnTo>
                    <a:pt x="160" y="129"/>
                  </a:lnTo>
                  <a:lnTo>
                    <a:pt x="162" y="129"/>
                  </a:lnTo>
                  <a:lnTo>
                    <a:pt x="160" y="129"/>
                  </a:lnTo>
                  <a:lnTo>
                    <a:pt x="162" y="129"/>
                  </a:lnTo>
                  <a:lnTo>
                    <a:pt x="160" y="129"/>
                  </a:lnTo>
                  <a:lnTo>
                    <a:pt x="162" y="129"/>
                  </a:lnTo>
                  <a:lnTo>
                    <a:pt x="160" y="129"/>
                  </a:lnTo>
                  <a:lnTo>
                    <a:pt x="162" y="129"/>
                  </a:lnTo>
                  <a:lnTo>
                    <a:pt x="160" y="129"/>
                  </a:lnTo>
                  <a:lnTo>
                    <a:pt x="162" y="129"/>
                  </a:lnTo>
                  <a:lnTo>
                    <a:pt x="160" y="131"/>
                  </a:lnTo>
                  <a:lnTo>
                    <a:pt x="162" y="131"/>
                  </a:lnTo>
                  <a:lnTo>
                    <a:pt x="160" y="131"/>
                  </a:lnTo>
                  <a:lnTo>
                    <a:pt x="162" y="131"/>
                  </a:lnTo>
                  <a:lnTo>
                    <a:pt x="162" y="129"/>
                  </a:lnTo>
                  <a:lnTo>
                    <a:pt x="162" y="131"/>
                  </a:lnTo>
                  <a:lnTo>
                    <a:pt x="162" y="129"/>
                  </a:lnTo>
                  <a:lnTo>
                    <a:pt x="162" y="131"/>
                  </a:lnTo>
                  <a:lnTo>
                    <a:pt x="162" y="129"/>
                  </a:lnTo>
                  <a:lnTo>
                    <a:pt x="162" y="131"/>
                  </a:lnTo>
                  <a:lnTo>
                    <a:pt x="162" y="129"/>
                  </a:lnTo>
                  <a:lnTo>
                    <a:pt x="163" y="129"/>
                  </a:lnTo>
                  <a:lnTo>
                    <a:pt x="162" y="129"/>
                  </a:lnTo>
                  <a:lnTo>
                    <a:pt x="163" y="129"/>
                  </a:lnTo>
                  <a:lnTo>
                    <a:pt x="162" y="129"/>
                  </a:lnTo>
                  <a:lnTo>
                    <a:pt x="163" y="129"/>
                  </a:lnTo>
                  <a:lnTo>
                    <a:pt x="162" y="129"/>
                  </a:lnTo>
                  <a:lnTo>
                    <a:pt x="163" y="129"/>
                  </a:lnTo>
                  <a:lnTo>
                    <a:pt x="162" y="129"/>
                  </a:lnTo>
                  <a:lnTo>
                    <a:pt x="163" y="129"/>
                  </a:lnTo>
                  <a:lnTo>
                    <a:pt x="162" y="129"/>
                  </a:lnTo>
                  <a:lnTo>
                    <a:pt x="163" y="129"/>
                  </a:lnTo>
                  <a:lnTo>
                    <a:pt x="162" y="129"/>
                  </a:lnTo>
                  <a:lnTo>
                    <a:pt x="163" y="129"/>
                  </a:lnTo>
                  <a:lnTo>
                    <a:pt x="162" y="129"/>
                  </a:lnTo>
                  <a:lnTo>
                    <a:pt x="163" y="129"/>
                  </a:lnTo>
                  <a:lnTo>
                    <a:pt x="162" y="129"/>
                  </a:lnTo>
                  <a:lnTo>
                    <a:pt x="163" y="129"/>
                  </a:lnTo>
                  <a:lnTo>
                    <a:pt x="162" y="129"/>
                  </a:lnTo>
                  <a:lnTo>
                    <a:pt x="163" y="129"/>
                  </a:lnTo>
                  <a:lnTo>
                    <a:pt x="162" y="129"/>
                  </a:lnTo>
                  <a:lnTo>
                    <a:pt x="162" y="127"/>
                  </a:lnTo>
                  <a:lnTo>
                    <a:pt x="163" y="127"/>
                  </a:lnTo>
                  <a:lnTo>
                    <a:pt x="163" y="129"/>
                  </a:lnTo>
                  <a:lnTo>
                    <a:pt x="163" y="127"/>
                  </a:lnTo>
                  <a:lnTo>
                    <a:pt x="163" y="129"/>
                  </a:lnTo>
                  <a:lnTo>
                    <a:pt x="163" y="131"/>
                  </a:lnTo>
                  <a:lnTo>
                    <a:pt x="162" y="131"/>
                  </a:lnTo>
                  <a:lnTo>
                    <a:pt x="163" y="131"/>
                  </a:lnTo>
                  <a:lnTo>
                    <a:pt x="162" y="131"/>
                  </a:lnTo>
                  <a:lnTo>
                    <a:pt x="163" y="131"/>
                  </a:lnTo>
                  <a:lnTo>
                    <a:pt x="162" y="131"/>
                  </a:lnTo>
                  <a:lnTo>
                    <a:pt x="163" y="131"/>
                  </a:lnTo>
                  <a:lnTo>
                    <a:pt x="163" y="133"/>
                  </a:lnTo>
                  <a:lnTo>
                    <a:pt x="162" y="133"/>
                  </a:lnTo>
                  <a:lnTo>
                    <a:pt x="163" y="133"/>
                  </a:lnTo>
                  <a:lnTo>
                    <a:pt x="162" y="133"/>
                  </a:lnTo>
                  <a:lnTo>
                    <a:pt x="163" y="133"/>
                  </a:lnTo>
                  <a:lnTo>
                    <a:pt x="162" y="133"/>
                  </a:lnTo>
                  <a:lnTo>
                    <a:pt x="163" y="133"/>
                  </a:lnTo>
                  <a:lnTo>
                    <a:pt x="162" y="133"/>
                  </a:lnTo>
                  <a:lnTo>
                    <a:pt x="163" y="133"/>
                  </a:lnTo>
                  <a:lnTo>
                    <a:pt x="163" y="131"/>
                  </a:lnTo>
                  <a:lnTo>
                    <a:pt x="165" y="131"/>
                  </a:lnTo>
                  <a:lnTo>
                    <a:pt x="163" y="131"/>
                  </a:lnTo>
                  <a:lnTo>
                    <a:pt x="165" y="131"/>
                  </a:lnTo>
                  <a:lnTo>
                    <a:pt x="163" y="131"/>
                  </a:lnTo>
                  <a:lnTo>
                    <a:pt x="165" y="131"/>
                  </a:lnTo>
                  <a:lnTo>
                    <a:pt x="165" y="129"/>
                  </a:lnTo>
                  <a:lnTo>
                    <a:pt x="167" y="129"/>
                  </a:lnTo>
                  <a:lnTo>
                    <a:pt x="165" y="129"/>
                  </a:lnTo>
                  <a:lnTo>
                    <a:pt x="167" y="129"/>
                  </a:lnTo>
                  <a:lnTo>
                    <a:pt x="165" y="129"/>
                  </a:lnTo>
                  <a:lnTo>
                    <a:pt x="167" y="129"/>
                  </a:lnTo>
                  <a:lnTo>
                    <a:pt x="165" y="129"/>
                  </a:lnTo>
                  <a:lnTo>
                    <a:pt x="165" y="127"/>
                  </a:lnTo>
                  <a:lnTo>
                    <a:pt x="167" y="127"/>
                  </a:lnTo>
                  <a:lnTo>
                    <a:pt x="165" y="127"/>
                  </a:lnTo>
                  <a:lnTo>
                    <a:pt x="167" y="127"/>
                  </a:lnTo>
                  <a:lnTo>
                    <a:pt x="167" y="125"/>
                  </a:lnTo>
                  <a:lnTo>
                    <a:pt x="169" y="125"/>
                  </a:lnTo>
                  <a:lnTo>
                    <a:pt x="169" y="127"/>
                  </a:lnTo>
                  <a:lnTo>
                    <a:pt x="167" y="127"/>
                  </a:lnTo>
                  <a:lnTo>
                    <a:pt x="169" y="127"/>
                  </a:lnTo>
                  <a:lnTo>
                    <a:pt x="169" y="129"/>
                  </a:lnTo>
                  <a:lnTo>
                    <a:pt x="169" y="127"/>
                  </a:lnTo>
                  <a:lnTo>
                    <a:pt x="169" y="129"/>
                  </a:lnTo>
                  <a:lnTo>
                    <a:pt x="169" y="131"/>
                  </a:lnTo>
                  <a:lnTo>
                    <a:pt x="169" y="133"/>
                  </a:lnTo>
                  <a:lnTo>
                    <a:pt x="169" y="134"/>
                  </a:lnTo>
                  <a:lnTo>
                    <a:pt x="171" y="134"/>
                  </a:lnTo>
                  <a:lnTo>
                    <a:pt x="171" y="136"/>
                  </a:lnTo>
                  <a:lnTo>
                    <a:pt x="171" y="138"/>
                  </a:lnTo>
                  <a:lnTo>
                    <a:pt x="171" y="140"/>
                  </a:lnTo>
                  <a:lnTo>
                    <a:pt x="173" y="140"/>
                  </a:lnTo>
                  <a:lnTo>
                    <a:pt x="175" y="140"/>
                  </a:lnTo>
                  <a:lnTo>
                    <a:pt x="175" y="142"/>
                  </a:lnTo>
                  <a:lnTo>
                    <a:pt x="175" y="140"/>
                  </a:lnTo>
                  <a:lnTo>
                    <a:pt x="173" y="140"/>
                  </a:lnTo>
                  <a:lnTo>
                    <a:pt x="173" y="138"/>
                  </a:lnTo>
                  <a:lnTo>
                    <a:pt x="171" y="138"/>
                  </a:lnTo>
                  <a:lnTo>
                    <a:pt x="171" y="136"/>
                  </a:lnTo>
                  <a:lnTo>
                    <a:pt x="171" y="134"/>
                  </a:lnTo>
                  <a:lnTo>
                    <a:pt x="171" y="133"/>
                  </a:lnTo>
                  <a:lnTo>
                    <a:pt x="171" y="134"/>
                  </a:lnTo>
                  <a:lnTo>
                    <a:pt x="173" y="134"/>
                  </a:lnTo>
                  <a:lnTo>
                    <a:pt x="173" y="136"/>
                  </a:lnTo>
                  <a:lnTo>
                    <a:pt x="173" y="138"/>
                  </a:lnTo>
                  <a:lnTo>
                    <a:pt x="175" y="138"/>
                  </a:lnTo>
                  <a:lnTo>
                    <a:pt x="175" y="136"/>
                  </a:lnTo>
                  <a:lnTo>
                    <a:pt x="173" y="136"/>
                  </a:lnTo>
                  <a:lnTo>
                    <a:pt x="173" y="134"/>
                  </a:lnTo>
                  <a:lnTo>
                    <a:pt x="173" y="133"/>
                  </a:lnTo>
                  <a:lnTo>
                    <a:pt x="173" y="134"/>
                  </a:lnTo>
                  <a:lnTo>
                    <a:pt x="175" y="134"/>
                  </a:lnTo>
                  <a:lnTo>
                    <a:pt x="175" y="136"/>
                  </a:lnTo>
                  <a:lnTo>
                    <a:pt x="175" y="134"/>
                  </a:lnTo>
                  <a:lnTo>
                    <a:pt x="175" y="133"/>
                  </a:lnTo>
                  <a:lnTo>
                    <a:pt x="173" y="133"/>
                  </a:lnTo>
                  <a:lnTo>
                    <a:pt x="173" y="131"/>
                  </a:lnTo>
                  <a:lnTo>
                    <a:pt x="175" y="131"/>
                  </a:lnTo>
                  <a:lnTo>
                    <a:pt x="177" y="131"/>
                  </a:lnTo>
                  <a:lnTo>
                    <a:pt x="177" y="133"/>
                  </a:lnTo>
                  <a:lnTo>
                    <a:pt x="177" y="131"/>
                  </a:lnTo>
                  <a:lnTo>
                    <a:pt x="177" y="133"/>
                  </a:lnTo>
                  <a:lnTo>
                    <a:pt x="177" y="131"/>
                  </a:lnTo>
                  <a:lnTo>
                    <a:pt x="177" y="133"/>
                  </a:lnTo>
                  <a:lnTo>
                    <a:pt x="177" y="131"/>
                  </a:lnTo>
                  <a:lnTo>
                    <a:pt x="177" y="133"/>
                  </a:lnTo>
                  <a:lnTo>
                    <a:pt x="179" y="133"/>
                  </a:lnTo>
                  <a:lnTo>
                    <a:pt x="177" y="133"/>
                  </a:lnTo>
                  <a:lnTo>
                    <a:pt x="177" y="131"/>
                  </a:lnTo>
                  <a:lnTo>
                    <a:pt x="179" y="131"/>
                  </a:lnTo>
                  <a:lnTo>
                    <a:pt x="179" y="133"/>
                  </a:lnTo>
                  <a:lnTo>
                    <a:pt x="179" y="131"/>
                  </a:lnTo>
                  <a:lnTo>
                    <a:pt x="177" y="131"/>
                  </a:lnTo>
                  <a:lnTo>
                    <a:pt x="175" y="131"/>
                  </a:lnTo>
                  <a:lnTo>
                    <a:pt x="175" y="129"/>
                  </a:lnTo>
                  <a:lnTo>
                    <a:pt x="175" y="131"/>
                  </a:lnTo>
                  <a:lnTo>
                    <a:pt x="173" y="131"/>
                  </a:lnTo>
                  <a:lnTo>
                    <a:pt x="171" y="131"/>
                  </a:lnTo>
                  <a:lnTo>
                    <a:pt x="173" y="131"/>
                  </a:lnTo>
                  <a:lnTo>
                    <a:pt x="173" y="129"/>
                  </a:lnTo>
                  <a:lnTo>
                    <a:pt x="171" y="129"/>
                  </a:lnTo>
                  <a:lnTo>
                    <a:pt x="173" y="129"/>
                  </a:lnTo>
                  <a:lnTo>
                    <a:pt x="175" y="129"/>
                  </a:lnTo>
                  <a:lnTo>
                    <a:pt x="173" y="129"/>
                  </a:lnTo>
                  <a:lnTo>
                    <a:pt x="175" y="129"/>
                  </a:lnTo>
                  <a:lnTo>
                    <a:pt x="173" y="129"/>
                  </a:lnTo>
                  <a:lnTo>
                    <a:pt x="173" y="127"/>
                  </a:lnTo>
                  <a:lnTo>
                    <a:pt x="173" y="129"/>
                  </a:lnTo>
                  <a:lnTo>
                    <a:pt x="175" y="129"/>
                  </a:lnTo>
                  <a:lnTo>
                    <a:pt x="175" y="127"/>
                  </a:lnTo>
                  <a:lnTo>
                    <a:pt x="173" y="127"/>
                  </a:lnTo>
                  <a:lnTo>
                    <a:pt x="175" y="127"/>
                  </a:lnTo>
                  <a:lnTo>
                    <a:pt x="173" y="127"/>
                  </a:lnTo>
                  <a:lnTo>
                    <a:pt x="175" y="127"/>
                  </a:lnTo>
                  <a:lnTo>
                    <a:pt x="175" y="129"/>
                  </a:lnTo>
                  <a:lnTo>
                    <a:pt x="177" y="129"/>
                  </a:lnTo>
                  <a:lnTo>
                    <a:pt x="177" y="127"/>
                  </a:lnTo>
                  <a:lnTo>
                    <a:pt x="175" y="127"/>
                  </a:lnTo>
                  <a:lnTo>
                    <a:pt x="175" y="125"/>
                  </a:lnTo>
                  <a:lnTo>
                    <a:pt x="175" y="127"/>
                  </a:lnTo>
                  <a:lnTo>
                    <a:pt x="173" y="127"/>
                  </a:lnTo>
                  <a:lnTo>
                    <a:pt x="171" y="127"/>
                  </a:lnTo>
                  <a:lnTo>
                    <a:pt x="171" y="125"/>
                  </a:lnTo>
                  <a:lnTo>
                    <a:pt x="173" y="125"/>
                  </a:lnTo>
                  <a:lnTo>
                    <a:pt x="171" y="125"/>
                  </a:lnTo>
                  <a:lnTo>
                    <a:pt x="171" y="123"/>
                  </a:lnTo>
                  <a:lnTo>
                    <a:pt x="169" y="123"/>
                  </a:lnTo>
                  <a:lnTo>
                    <a:pt x="171" y="123"/>
                  </a:lnTo>
                  <a:lnTo>
                    <a:pt x="171" y="121"/>
                  </a:lnTo>
                  <a:lnTo>
                    <a:pt x="171" y="123"/>
                  </a:lnTo>
                  <a:lnTo>
                    <a:pt x="173" y="123"/>
                  </a:lnTo>
                  <a:lnTo>
                    <a:pt x="171" y="123"/>
                  </a:lnTo>
                  <a:lnTo>
                    <a:pt x="173" y="123"/>
                  </a:lnTo>
                  <a:lnTo>
                    <a:pt x="175" y="123"/>
                  </a:lnTo>
                  <a:lnTo>
                    <a:pt x="173" y="123"/>
                  </a:lnTo>
                  <a:lnTo>
                    <a:pt x="175" y="123"/>
                  </a:lnTo>
                  <a:lnTo>
                    <a:pt x="175" y="125"/>
                  </a:lnTo>
                  <a:lnTo>
                    <a:pt x="177" y="125"/>
                  </a:lnTo>
                  <a:lnTo>
                    <a:pt x="177" y="127"/>
                  </a:lnTo>
                  <a:lnTo>
                    <a:pt x="179" y="127"/>
                  </a:lnTo>
                  <a:lnTo>
                    <a:pt x="179" y="129"/>
                  </a:lnTo>
                  <a:lnTo>
                    <a:pt x="181" y="129"/>
                  </a:lnTo>
                  <a:lnTo>
                    <a:pt x="179" y="129"/>
                  </a:lnTo>
                  <a:lnTo>
                    <a:pt x="179" y="127"/>
                  </a:lnTo>
                  <a:lnTo>
                    <a:pt x="177" y="127"/>
                  </a:lnTo>
                  <a:lnTo>
                    <a:pt x="177" y="125"/>
                  </a:lnTo>
                  <a:lnTo>
                    <a:pt x="177" y="123"/>
                  </a:lnTo>
                  <a:lnTo>
                    <a:pt x="175" y="123"/>
                  </a:lnTo>
                  <a:lnTo>
                    <a:pt x="173" y="123"/>
                  </a:lnTo>
                  <a:lnTo>
                    <a:pt x="173" y="121"/>
                  </a:lnTo>
                  <a:lnTo>
                    <a:pt x="171" y="121"/>
                  </a:lnTo>
                  <a:lnTo>
                    <a:pt x="173" y="121"/>
                  </a:lnTo>
                  <a:lnTo>
                    <a:pt x="171" y="121"/>
                  </a:lnTo>
                  <a:lnTo>
                    <a:pt x="173" y="121"/>
                  </a:lnTo>
                  <a:lnTo>
                    <a:pt x="171" y="121"/>
                  </a:lnTo>
                  <a:lnTo>
                    <a:pt x="171" y="119"/>
                  </a:lnTo>
                  <a:lnTo>
                    <a:pt x="173" y="119"/>
                  </a:lnTo>
                  <a:lnTo>
                    <a:pt x="175" y="119"/>
                  </a:lnTo>
                  <a:lnTo>
                    <a:pt x="177" y="119"/>
                  </a:lnTo>
                  <a:lnTo>
                    <a:pt x="175" y="119"/>
                  </a:lnTo>
                  <a:lnTo>
                    <a:pt x="177" y="119"/>
                  </a:lnTo>
                  <a:lnTo>
                    <a:pt x="177" y="117"/>
                  </a:lnTo>
                  <a:lnTo>
                    <a:pt x="177" y="119"/>
                  </a:lnTo>
                  <a:lnTo>
                    <a:pt x="177" y="117"/>
                  </a:lnTo>
                  <a:lnTo>
                    <a:pt x="177" y="119"/>
                  </a:lnTo>
                  <a:lnTo>
                    <a:pt x="179" y="119"/>
                  </a:lnTo>
                  <a:lnTo>
                    <a:pt x="179" y="117"/>
                  </a:lnTo>
                  <a:lnTo>
                    <a:pt x="179" y="119"/>
                  </a:lnTo>
                  <a:lnTo>
                    <a:pt x="181" y="119"/>
                  </a:lnTo>
                  <a:lnTo>
                    <a:pt x="181" y="121"/>
                  </a:lnTo>
                  <a:lnTo>
                    <a:pt x="183" y="121"/>
                  </a:lnTo>
                  <a:lnTo>
                    <a:pt x="183" y="119"/>
                  </a:lnTo>
                  <a:lnTo>
                    <a:pt x="185" y="119"/>
                  </a:lnTo>
                  <a:lnTo>
                    <a:pt x="187" y="119"/>
                  </a:lnTo>
                  <a:lnTo>
                    <a:pt x="187" y="121"/>
                  </a:lnTo>
                  <a:lnTo>
                    <a:pt x="187" y="123"/>
                  </a:lnTo>
                  <a:lnTo>
                    <a:pt x="188" y="123"/>
                  </a:lnTo>
                  <a:lnTo>
                    <a:pt x="187" y="123"/>
                  </a:lnTo>
                  <a:lnTo>
                    <a:pt x="188" y="123"/>
                  </a:lnTo>
                  <a:lnTo>
                    <a:pt x="188" y="125"/>
                  </a:lnTo>
                  <a:lnTo>
                    <a:pt x="187" y="125"/>
                  </a:lnTo>
                  <a:lnTo>
                    <a:pt x="187" y="127"/>
                  </a:lnTo>
                  <a:lnTo>
                    <a:pt x="188" y="127"/>
                  </a:lnTo>
                  <a:lnTo>
                    <a:pt x="187" y="127"/>
                  </a:lnTo>
                  <a:lnTo>
                    <a:pt x="188" y="127"/>
                  </a:lnTo>
                  <a:lnTo>
                    <a:pt x="187" y="127"/>
                  </a:lnTo>
                  <a:lnTo>
                    <a:pt x="188" y="127"/>
                  </a:lnTo>
                  <a:lnTo>
                    <a:pt x="188" y="125"/>
                  </a:lnTo>
                  <a:lnTo>
                    <a:pt x="188" y="123"/>
                  </a:lnTo>
                  <a:lnTo>
                    <a:pt x="187" y="123"/>
                  </a:lnTo>
                  <a:lnTo>
                    <a:pt x="187" y="121"/>
                  </a:lnTo>
                  <a:lnTo>
                    <a:pt x="187" y="123"/>
                  </a:lnTo>
                  <a:lnTo>
                    <a:pt x="187" y="121"/>
                  </a:lnTo>
                  <a:lnTo>
                    <a:pt x="187" y="123"/>
                  </a:lnTo>
                  <a:lnTo>
                    <a:pt x="187" y="121"/>
                  </a:lnTo>
                  <a:lnTo>
                    <a:pt x="187" y="119"/>
                  </a:lnTo>
                  <a:lnTo>
                    <a:pt x="187" y="117"/>
                  </a:lnTo>
                  <a:lnTo>
                    <a:pt x="188" y="117"/>
                  </a:lnTo>
                  <a:lnTo>
                    <a:pt x="188" y="119"/>
                  </a:lnTo>
                  <a:lnTo>
                    <a:pt x="190" y="119"/>
                  </a:lnTo>
                  <a:lnTo>
                    <a:pt x="188" y="119"/>
                  </a:lnTo>
                  <a:lnTo>
                    <a:pt x="188" y="117"/>
                  </a:lnTo>
                  <a:lnTo>
                    <a:pt x="190" y="117"/>
                  </a:lnTo>
                  <a:lnTo>
                    <a:pt x="192" y="117"/>
                  </a:lnTo>
                  <a:lnTo>
                    <a:pt x="194" y="117"/>
                  </a:lnTo>
                  <a:lnTo>
                    <a:pt x="194" y="119"/>
                  </a:lnTo>
                  <a:lnTo>
                    <a:pt x="196" y="119"/>
                  </a:lnTo>
                  <a:lnTo>
                    <a:pt x="194" y="119"/>
                  </a:lnTo>
                  <a:lnTo>
                    <a:pt x="194" y="117"/>
                  </a:lnTo>
                  <a:lnTo>
                    <a:pt x="192" y="117"/>
                  </a:lnTo>
                  <a:lnTo>
                    <a:pt x="192" y="115"/>
                  </a:lnTo>
                  <a:lnTo>
                    <a:pt x="190" y="115"/>
                  </a:lnTo>
                  <a:lnTo>
                    <a:pt x="190" y="117"/>
                  </a:lnTo>
                  <a:lnTo>
                    <a:pt x="190" y="115"/>
                  </a:lnTo>
                  <a:lnTo>
                    <a:pt x="190" y="117"/>
                  </a:lnTo>
                  <a:lnTo>
                    <a:pt x="190" y="115"/>
                  </a:lnTo>
                  <a:lnTo>
                    <a:pt x="190" y="113"/>
                  </a:lnTo>
                  <a:lnTo>
                    <a:pt x="188" y="113"/>
                  </a:lnTo>
                  <a:lnTo>
                    <a:pt x="188" y="115"/>
                  </a:lnTo>
                  <a:lnTo>
                    <a:pt x="187" y="115"/>
                  </a:lnTo>
                  <a:lnTo>
                    <a:pt x="187" y="117"/>
                  </a:lnTo>
                  <a:lnTo>
                    <a:pt x="185" y="117"/>
                  </a:lnTo>
                  <a:lnTo>
                    <a:pt x="183" y="117"/>
                  </a:lnTo>
                  <a:lnTo>
                    <a:pt x="183" y="115"/>
                  </a:lnTo>
                  <a:lnTo>
                    <a:pt x="185" y="115"/>
                  </a:lnTo>
                  <a:lnTo>
                    <a:pt x="183" y="115"/>
                  </a:lnTo>
                  <a:lnTo>
                    <a:pt x="185" y="115"/>
                  </a:lnTo>
                  <a:lnTo>
                    <a:pt x="183" y="115"/>
                  </a:lnTo>
                  <a:lnTo>
                    <a:pt x="183" y="113"/>
                  </a:lnTo>
                  <a:lnTo>
                    <a:pt x="183" y="115"/>
                  </a:lnTo>
                  <a:lnTo>
                    <a:pt x="181" y="115"/>
                  </a:lnTo>
                  <a:lnTo>
                    <a:pt x="181" y="117"/>
                  </a:lnTo>
                  <a:lnTo>
                    <a:pt x="179" y="117"/>
                  </a:lnTo>
                  <a:lnTo>
                    <a:pt x="177" y="117"/>
                  </a:lnTo>
                  <a:lnTo>
                    <a:pt x="175" y="117"/>
                  </a:lnTo>
                  <a:lnTo>
                    <a:pt x="175" y="115"/>
                  </a:lnTo>
                  <a:lnTo>
                    <a:pt x="175" y="113"/>
                  </a:lnTo>
                  <a:lnTo>
                    <a:pt x="177" y="113"/>
                  </a:lnTo>
                  <a:lnTo>
                    <a:pt x="177" y="111"/>
                  </a:lnTo>
                  <a:lnTo>
                    <a:pt x="177" y="113"/>
                  </a:lnTo>
                  <a:lnTo>
                    <a:pt x="177" y="111"/>
                  </a:lnTo>
                  <a:lnTo>
                    <a:pt x="177" y="109"/>
                  </a:lnTo>
                  <a:lnTo>
                    <a:pt x="179" y="109"/>
                  </a:lnTo>
                  <a:lnTo>
                    <a:pt x="179" y="108"/>
                  </a:lnTo>
                  <a:lnTo>
                    <a:pt x="181" y="108"/>
                  </a:lnTo>
                  <a:lnTo>
                    <a:pt x="183" y="108"/>
                  </a:lnTo>
                  <a:lnTo>
                    <a:pt x="183" y="106"/>
                  </a:lnTo>
                  <a:lnTo>
                    <a:pt x="183" y="108"/>
                  </a:lnTo>
                  <a:lnTo>
                    <a:pt x="185" y="108"/>
                  </a:lnTo>
                  <a:lnTo>
                    <a:pt x="185" y="109"/>
                  </a:lnTo>
                  <a:lnTo>
                    <a:pt x="187" y="109"/>
                  </a:lnTo>
                  <a:lnTo>
                    <a:pt x="185" y="109"/>
                  </a:lnTo>
                  <a:lnTo>
                    <a:pt x="185" y="108"/>
                  </a:lnTo>
                  <a:lnTo>
                    <a:pt x="185" y="106"/>
                  </a:lnTo>
                  <a:lnTo>
                    <a:pt x="187" y="106"/>
                  </a:lnTo>
                  <a:lnTo>
                    <a:pt x="188" y="106"/>
                  </a:lnTo>
                  <a:lnTo>
                    <a:pt x="188" y="108"/>
                  </a:lnTo>
                  <a:lnTo>
                    <a:pt x="190" y="108"/>
                  </a:lnTo>
                  <a:lnTo>
                    <a:pt x="192" y="108"/>
                  </a:lnTo>
                  <a:lnTo>
                    <a:pt x="190" y="108"/>
                  </a:lnTo>
                  <a:lnTo>
                    <a:pt x="190" y="106"/>
                  </a:lnTo>
                  <a:lnTo>
                    <a:pt x="188" y="106"/>
                  </a:lnTo>
                  <a:lnTo>
                    <a:pt x="187" y="106"/>
                  </a:lnTo>
                  <a:lnTo>
                    <a:pt x="187" y="104"/>
                  </a:lnTo>
                  <a:lnTo>
                    <a:pt x="188" y="104"/>
                  </a:lnTo>
                  <a:lnTo>
                    <a:pt x="188" y="102"/>
                  </a:lnTo>
                  <a:lnTo>
                    <a:pt x="190" y="102"/>
                  </a:lnTo>
                  <a:lnTo>
                    <a:pt x="190" y="104"/>
                  </a:lnTo>
                  <a:lnTo>
                    <a:pt x="192" y="104"/>
                  </a:lnTo>
                  <a:lnTo>
                    <a:pt x="194" y="104"/>
                  </a:lnTo>
                  <a:lnTo>
                    <a:pt x="194" y="106"/>
                  </a:lnTo>
                  <a:lnTo>
                    <a:pt x="194" y="104"/>
                  </a:lnTo>
                  <a:lnTo>
                    <a:pt x="192" y="104"/>
                  </a:lnTo>
                  <a:lnTo>
                    <a:pt x="192" y="102"/>
                  </a:lnTo>
                  <a:lnTo>
                    <a:pt x="190" y="102"/>
                  </a:lnTo>
                  <a:lnTo>
                    <a:pt x="190" y="100"/>
                  </a:lnTo>
                  <a:lnTo>
                    <a:pt x="192" y="100"/>
                  </a:lnTo>
                  <a:lnTo>
                    <a:pt x="192" y="98"/>
                  </a:lnTo>
                  <a:lnTo>
                    <a:pt x="192" y="100"/>
                  </a:lnTo>
                  <a:lnTo>
                    <a:pt x="194" y="100"/>
                  </a:lnTo>
                  <a:lnTo>
                    <a:pt x="196" y="100"/>
                  </a:lnTo>
                  <a:lnTo>
                    <a:pt x="194" y="100"/>
                  </a:lnTo>
                  <a:lnTo>
                    <a:pt x="194" y="98"/>
                  </a:lnTo>
                  <a:lnTo>
                    <a:pt x="194" y="100"/>
                  </a:lnTo>
                  <a:lnTo>
                    <a:pt x="194" y="98"/>
                  </a:lnTo>
                  <a:lnTo>
                    <a:pt x="192" y="98"/>
                  </a:lnTo>
                  <a:lnTo>
                    <a:pt x="190" y="98"/>
                  </a:lnTo>
                  <a:lnTo>
                    <a:pt x="190" y="100"/>
                  </a:lnTo>
                  <a:lnTo>
                    <a:pt x="188" y="100"/>
                  </a:lnTo>
                  <a:lnTo>
                    <a:pt x="188" y="98"/>
                  </a:lnTo>
                  <a:lnTo>
                    <a:pt x="190" y="98"/>
                  </a:lnTo>
                  <a:lnTo>
                    <a:pt x="190" y="96"/>
                  </a:lnTo>
                  <a:lnTo>
                    <a:pt x="190" y="94"/>
                  </a:lnTo>
                  <a:lnTo>
                    <a:pt x="190" y="92"/>
                  </a:lnTo>
                  <a:lnTo>
                    <a:pt x="192" y="92"/>
                  </a:lnTo>
                  <a:lnTo>
                    <a:pt x="192" y="90"/>
                  </a:lnTo>
                  <a:lnTo>
                    <a:pt x="194" y="90"/>
                  </a:lnTo>
                  <a:lnTo>
                    <a:pt x="196" y="90"/>
                  </a:lnTo>
                  <a:lnTo>
                    <a:pt x="196" y="88"/>
                  </a:lnTo>
                  <a:lnTo>
                    <a:pt x="198" y="88"/>
                  </a:lnTo>
                  <a:lnTo>
                    <a:pt x="198" y="90"/>
                  </a:lnTo>
                  <a:lnTo>
                    <a:pt x="198" y="88"/>
                  </a:lnTo>
                  <a:lnTo>
                    <a:pt x="198" y="90"/>
                  </a:lnTo>
                  <a:lnTo>
                    <a:pt x="198" y="88"/>
                  </a:lnTo>
                  <a:lnTo>
                    <a:pt x="200" y="88"/>
                  </a:lnTo>
                  <a:lnTo>
                    <a:pt x="200" y="90"/>
                  </a:lnTo>
                  <a:lnTo>
                    <a:pt x="200" y="88"/>
                  </a:lnTo>
                  <a:lnTo>
                    <a:pt x="198" y="88"/>
                  </a:lnTo>
                  <a:lnTo>
                    <a:pt x="198" y="86"/>
                  </a:lnTo>
                  <a:lnTo>
                    <a:pt x="198" y="85"/>
                  </a:lnTo>
                  <a:lnTo>
                    <a:pt x="196" y="85"/>
                  </a:lnTo>
                  <a:lnTo>
                    <a:pt x="196" y="86"/>
                  </a:lnTo>
                  <a:lnTo>
                    <a:pt x="196" y="85"/>
                  </a:lnTo>
                  <a:lnTo>
                    <a:pt x="196" y="86"/>
                  </a:lnTo>
                  <a:lnTo>
                    <a:pt x="196" y="85"/>
                  </a:lnTo>
                  <a:lnTo>
                    <a:pt x="198" y="85"/>
                  </a:lnTo>
                  <a:lnTo>
                    <a:pt x="196" y="85"/>
                  </a:lnTo>
                  <a:lnTo>
                    <a:pt x="198" y="85"/>
                  </a:lnTo>
                  <a:lnTo>
                    <a:pt x="196" y="85"/>
                  </a:lnTo>
                  <a:lnTo>
                    <a:pt x="196" y="83"/>
                  </a:lnTo>
                  <a:lnTo>
                    <a:pt x="198" y="83"/>
                  </a:lnTo>
                  <a:lnTo>
                    <a:pt x="196" y="83"/>
                  </a:lnTo>
                  <a:lnTo>
                    <a:pt x="198" y="83"/>
                  </a:lnTo>
                  <a:lnTo>
                    <a:pt x="196" y="83"/>
                  </a:lnTo>
                  <a:lnTo>
                    <a:pt x="198" y="83"/>
                  </a:lnTo>
                  <a:lnTo>
                    <a:pt x="196" y="83"/>
                  </a:lnTo>
                  <a:lnTo>
                    <a:pt x="198" y="83"/>
                  </a:lnTo>
                  <a:lnTo>
                    <a:pt x="198" y="81"/>
                  </a:lnTo>
                  <a:lnTo>
                    <a:pt x="198" y="79"/>
                  </a:lnTo>
                  <a:lnTo>
                    <a:pt x="200" y="79"/>
                  </a:lnTo>
                  <a:lnTo>
                    <a:pt x="200" y="77"/>
                  </a:lnTo>
                  <a:lnTo>
                    <a:pt x="200" y="75"/>
                  </a:lnTo>
                  <a:lnTo>
                    <a:pt x="202" y="75"/>
                  </a:lnTo>
                  <a:lnTo>
                    <a:pt x="202" y="77"/>
                  </a:lnTo>
                  <a:lnTo>
                    <a:pt x="202" y="75"/>
                  </a:lnTo>
                  <a:lnTo>
                    <a:pt x="202" y="77"/>
                  </a:lnTo>
                  <a:lnTo>
                    <a:pt x="202" y="79"/>
                  </a:lnTo>
                  <a:lnTo>
                    <a:pt x="202" y="81"/>
                  </a:lnTo>
                  <a:lnTo>
                    <a:pt x="202" y="79"/>
                  </a:lnTo>
                  <a:lnTo>
                    <a:pt x="204" y="79"/>
                  </a:lnTo>
                  <a:lnTo>
                    <a:pt x="204" y="81"/>
                  </a:lnTo>
                  <a:lnTo>
                    <a:pt x="204" y="83"/>
                  </a:lnTo>
                  <a:lnTo>
                    <a:pt x="204" y="85"/>
                  </a:lnTo>
                  <a:lnTo>
                    <a:pt x="206" y="85"/>
                  </a:lnTo>
                  <a:lnTo>
                    <a:pt x="206" y="83"/>
                  </a:lnTo>
                  <a:lnTo>
                    <a:pt x="206" y="81"/>
                  </a:lnTo>
                  <a:lnTo>
                    <a:pt x="206" y="83"/>
                  </a:lnTo>
                  <a:lnTo>
                    <a:pt x="208" y="83"/>
                  </a:lnTo>
                  <a:lnTo>
                    <a:pt x="208" y="85"/>
                  </a:lnTo>
                  <a:lnTo>
                    <a:pt x="208" y="83"/>
                  </a:lnTo>
                  <a:lnTo>
                    <a:pt x="206" y="83"/>
                  </a:lnTo>
                  <a:lnTo>
                    <a:pt x="208" y="83"/>
                  </a:lnTo>
                  <a:lnTo>
                    <a:pt x="208" y="81"/>
                  </a:lnTo>
                  <a:lnTo>
                    <a:pt x="210" y="81"/>
                  </a:lnTo>
                  <a:lnTo>
                    <a:pt x="210" y="83"/>
                  </a:lnTo>
                  <a:lnTo>
                    <a:pt x="211" y="83"/>
                  </a:lnTo>
                  <a:lnTo>
                    <a:pt x="211" y="81"/>
                  </a:lnTo>
                  <a:lnTo>
                    <a:pt x="210" y="81"/>
                  </a:lnTo>
                  <a:lnTo>
                    <a:pt x="208" y="81"/>
                  </a:lnTo>
                  <a:lnTo>
                    <a:pt x="206" y="79"/>
                  </a:lnTo>
                  <a:lnTo>
                    <a:pt x="206" y="77"/>
                  </a:lnTo>
                  <a:lnTo>
                    <a:pt x="204" y="77"/>
                  </a:lnTo>
                  <a:lnTo>
                    <a:pt x="204" y="75"/>
                  </a:lnTo>
                  <a:lnTo>
                    <a:pt x="204" y="73"/>
                  </a:lnTo>
                  <a:lnTo>
                    <a:pt x="206" y="73"/>
                  </a:lnTo>
                  <a:lnTo>
                    <a:pt x="208" y="73"/>
                  </a:lnTo>
                  <a:lnTo>
                    <a:pt x="210" y="73"/>
                  </a:lnTo>
                  <a:lnTo>
                    <a:pt x="210" y="71"/>
                  </a:lnTo>
                  <a:lnTo>
                    <a:pt x="210" y="73"/>
                  </a:lnTo>
                  <a:lnTo>
                    <a:pt x="210" y="75"/>
                  </a:lnTo>
                  <a:lnTo>
                    <a:pt x="210" y="77"/>
                  </a:lnTo>
                  <a:lnTo>
                    <a:pt x="211" y="77"/>
                  </a:lnTo>
                  <a:lnTo>
                    <a:pt x="210" y="77"/>
                  </a:lnTo>
                  <a:lnTo>
                    <a:pt x="211" y="77"/>
                  </a:lnTo>
                  <a:lnTo>
                    <a:pt x="211" y="79"/>
                  </a:lnTo>
                  <a:lnTo>
                    <a:pt x="213" y="81"/>
                  </a:lnTo>
                  <a:lnTo>
                    <a:pt x="215" y="81"/>
                  </a:lnTo>
                  <a:lnTo>
                    <a:pt x="217" y="81"/>
                  </a:lnTo>
                  <a:lnTo>
                    <a:pt x="217" y="83"/>
                  </a:lnTo>
                  <a:lnTo>
                    <a:pt x="215" y="83"/>
                  </a:lnTo>
                  <a:lnTo>
                    <a:pt x="215" y="85"/>
                  </a:lnTo>
                  <a:lnTo>
                    <a:pt x="215" y="86"/>
                  </a:lnTo>
                  <a:lnTo>
                    <a:pt x="217" y="86"/>
                  </a:lnTo>
                  <a:lnTo>
                    <a:pt x="217" y="85"/>
                  </a:lnTo>
                  <a:lnTo>
                    <a:pt x="219" y="85"/>
                  </a:lnTo>
                  <a:lnTo>
                    <a:pt x="219" y="86"/>
                  </a:lnTo>
                  <a:lnTo>
                    <a:pt x="219" y="85"/>
                  </a:lnTo>
                  <a:lnTo>
                    <a:pt x="217" y="85"/>
                  </a:lnTo>
                  <a:lnTo>
                    <a:pt x="217" y="83"/>
                  </a:lnTo>
                  <a:lnTo>
                    <a:pt x="217" y="81"/>
                  </a:lnTo>
                  <a:lnTo>
                    <a:pt x="217" y="79"/>
                  </a:lnTo>
                  <a:lnTo>
                    <a:pt x="215" y="79"/>
                  </a:lnTo>
                  <a:lnTo>
                    <a:pt x="213" y="79"/>
                  </a:lnTo>
                  <a:lnTo>
                    <a:pt x="213" y="77"/>
                  </a:lnTo>
                  <a:lnTo>
                    <a:pt x="211" y="77"/>
                  </a:lnTo>
                  <a:lnTo>
                    <a:pt x="211" y="75"/>
                  </a:lnTo>
                  <a:lnTo>
                    <a:pt x="211" y="73"/>
                  </a:lnTo>
                  <a:lnTo>
                    <a:pt x="213" y="73"/>
                  </a:lnTo>
                  <a:lnTo>
                    <a:pt x="213" y="71"/>
                  </a:lnTo>
                  <a:lnTo>
                    <a:pt x="213" y="73"/>
                  </a:lnTo>
                  <a:lnTo>
                    <a:pt x="215" y="73"/>
                  </a:lnTo>
                  <a:lnTo>
                    <a:pt x="215" y="71"/>
                  </a:lnTo>
                  <a:lnTo>
                    <a:pt x="213" y="71"/>
                  </a:lnTo>
                  <a:lnTo>
                    <a:pt x="211" y="71"/>
                  </a:lnTo>
                  <a:lnTo>
                    <a:pt x="211" y="73"/>
                  </a:lnTo>
                  <a:lnTo>
                    <a:pt x="211" y="71"/>
                  </a:lnTo>
                  <a:lnTo>
                    <a:pt x="211" y="69"/>
                  </a:lnTo>
                  <a:lnTo>
                    <a:pt x="211" y="67"/>
                  </a:lnTo>
                  <a:lnTo>
                    <a:pt x="213" y="67"/>
                  </a:lnTo>
                  <a:lnTo>
                    <a:pt x="213" y="65"/>
                  </a:lnTo>
                  <a:lnTo>
                    <a:pt x="213" y="63"/>
                  </a:lnTo>
                  <a:lnTo>
                    <a:pt x="215" y="63"/>
                  </a:lnTo>
                  <a:lnTo>
                    <a:pt x="215" y="61"/>
                  </a:lnTo>
                  <a:lnTo>
                    <a:pt x="215" y="63"/>
                  </a:lnTo>
                  <a:lnTo>
                    <a:pt x="217" y="63"/>
                  </a:lnTo>
                  <a:lnTo>
                    <a:pt x="217" y="61"/>
                  </a:lnTo>
                  <a:lnTo>
                    <a:pt x="217" y="63"/>
                  </a:lnTo>
                  <a:lnTo>
                    <a:pt x="217" y="61"/>
                  </a:lnTo>
                  <a:lnTo>
                    <a:pt x="217" y="63"/>
                  </a:lnTo>
                  <a:lnTo>
                    <a:pt x="217" y="61"/>
                  </a:lnTo>
                  <a:lnTo>
                    <a:pt x="217" y="63"/>
                  </a:lnTo>
                  <a:lnTo>
                    <a:pt x="217" y="61"/>
                  </a:lnTo>
                  <a:lnTo>
                    <a:pt x="219" y="61"/>
                  </a:lnTo>
                  <a:lnTo>
                    <a:pt x="221" y="61"/>
                  </a:lnTo>
                  <a:lnTo>
                    <a:pt x="223" y="61"/>
                  </a:lnTo>
                  <a:lnTo>
                    <a:pt x="223" y="63"/>
                  </a:lnTo>
                  <a:lnTo>
                    <a:pt x="221" y="63"/>
                  </a:lnTo>
                  <a:lnTo>
                    <a:pt x="223" y="63"/>
                  </a:lnTo>
                  <a:lnTo>
                    <a:pt x="223" y="65"/>
                  </a:lnTo>
                  <a:lnTo>
                    <a:pt x="221" y="65"/>
                  </a:lnTo>
                  <a:lnTo>
                    <a:pt x="221" y="67"/>
                  </a:lnTo>
                  <a:lnTo>
                    <a:pt x="223" y="67"/>
                  </a:lnTo>
                  <a:lnTo>
                    <a:pt x="223" y="69"/>
                  </a:lnTo>
                  <a:lnTo>
                    <a:pt x="223" y="71"/>
                  </a:lnTo>
                  <a:lnTo>
                    <a:pt x="221" y="71"/>
                  </a:lnTo>
                  <a:lnTo>
                    <a:pt x="223" y="71"/>
                  </a:lnTo>
                  <a:lnTo>
                    <a:pt x="221" y="71"/>
                  </a:lnTo>
                  <a:lnTo>
                    <a:pt x="221" y="73"/>
                  </a:lnTo>
                  <a:lnTo>
                    <a:pt x="221" y="71"/>
                  </a:lnTo>
                  <a:lnTo>
                    <a:pt x="221" y="73"/>
                  </a:lnTo>
                  <a:lnTo>
                    <a:pt x="221" y="75"/>
                  </a:lnTo>
                  <a:lnTo>
                    <a:pt x="221" y="77"/>
                  </a:lnTo>
                  <a:lnTo>
                    <a:pt x="219" y="77"/>
                  </a:lnTo>
                  <a:lnTo>
                    <a:pt x="219" y="79"/>
                  </a:lnTo>
                  <a:lnTo>
                    <a:pt x="219" y="77"/>
                  </a:lnTo>
                  <a:lnTo>
                    <a:pt x="221" y="77"/>
                  </a:lnTo>
                  <a:lnTo>
                    <a:pt x="221" y="79"/>
                  </a:lnTo>
                  <a:lnTo>
                    <a:pt x="221" y="77"/>
                  </a:lnTo>
                  <a:lnTo>
                    <a:pt x="221" y="75"/>
                  </a:lnTo>
                  <a:lnTo>
                    <a:pt x="223" y="75"/>
                  </a:lnTo>
                  <a:lnTo>
                    <a:pt x="223" y="73"/>
                  </a:lnTo>
                  <a:lnTo>
                    <a:pt x="223" y="71"/>
                  </a:lnTo>
                  <a:lnTo>
                    <a:pt x="223" y="69"/>
                  </a:lnTo>
                  <a:lnTo>
                    <a:pt x="223" y="71"/>
                  </a:lnTo>
                  <a:lnTo>
                    <a:pt x="223" y="69"/>
                  </a:lnTo>
                  <a:lnTo>
                    <a:pt x="225" y="69"/>
                  </a:lnTo>
                  <a:lnTo>
                    <a:pt x="225" y="71"/>
                  </a:lnTo>
                  <a:lnTo>
                    <a:pt x="227" y="71"/>
                  </a:lnTo>
                  <a:lnTo>
                    <a:pt x="229" y="71"/>
                  </a:lnTo>
                  <a:lnTo>
                    <a:pt x="227" y="71"/>
                  </a:lnTo>
                  <a:lnTo>
                    <a:pt x="227" y="69"/>
                  </a:lnTo>
                  <a:lnTo>
                    <a:pt x="225" y="69"/>
                  </a:lnTo>
                  <a:lnTo>
                    <a:pt x="223" y="69"/>
                  </a:lnTo>
                  <a:lnTo>
                    <a:pt x="223" y="67"/>
                  </a:lnTo>
                  <a:lnTo>
                    <a:pt x="223" y="65"/>
                  </a:lnTo>
                  <a:lnTo>
                    <a:pt x="225" y="65"/>
                  </a:lnTo>
                  <a:lnTo>
                    <a:pt x="225" y="63"/>
                  </a:lnTo>
                  <a:lnTo>
                    <a:pt x="225" y="61"/>
                  </a:lnTo>
                  <a:lnTo>
                    <a:pt x="225" y="60"/>
                  </a:lnTo>
                  <a:lnTo>
                    <a:pt x="227" y="60"/>
                  </a:lnTo>
                  <a:lnTo>
                    <a:pt x="227" y="61"/>
                  </a:lnTo>
                  <a:lnTo>
                    <a:pt x="225" y="61"/>
                  </a:lnTo>
                  <a:lnTo>
                    <a:pt x="227" y="61"/>
                  </a:lnTo>
                  <a:lnTo>
                    <a:pt x="225" y="61"/>
                  </a:lnTo>
                  <a:lnTo>
                    <a:pt x="225" y="63"/>
                  </a:lnTo>
                  <a:lnTo>
                    <a:pt x="227" y="63"/>
                  </a:lnTo>
                  <a:lnTo>
                    <a:pt x="225" y="63"/>
                  </a:lnTo>
                  <a:lnTo>
                    <a:pt x="227" y="63"/>
                  </a:lnTo>
                  <a:lnTo>
                    <a:pt x="225" y="63"/>
                  </a:lnTo>
                  <a:lnTo>
                    <a:pt x="227" y="63"/>
                  </a:lnTo>
                  <a:lnTo>
                    <a:pt x="227" y="61"/>
                  </a:lnTo>
                  <a:lnTo>
                    <a:pt x="227" y="60"/>
                  </a:lnTo>
                  <a:lnTo>
                    <a:pt x="227" y="58"/>
                  </a:lnTo>
                  <a:lnTo>
                    <a:pt x="229" y="58"/>
                  </a:lnTo>
                  <a:lnTo>
                    <a:pt x="229" y="56"/>
                  </a:lnTo>
                  <a:lnTo>
                    <a:pt x="229" y="58"/>
                  </a:lnTo>
                  <a:lnTo>
                    <a:pt x="229" y="60"/>
                  </a:lnTo>
                  <a:lnTo>
                    <a:pt x="229" y="58"/>
                  </a:lnTo>
                  <a:lnTo>
                    <a:pt x="229" y="56"/>
                  </a:lnTo>
                  <a:lnTo>
                    <a:pt x="231" y="56"/>
                  </a:lnTo>
                  <a:lnTo>
                    <a:pt x="231" y="54"/>
                  </a:lnTo>
                  <a:lnTo>
                    <a:pt x="231" y="56"/>
                  </a:lnTo>
                  <a:lnTo>
                    <a:pt x="233" y="56"/>
                  </a:lnTo>
                  <a:lnTo>
                    <a:pt x="233" y="58"/>
                  </a:lnTo>
                  <a:lnTo>
                    <a:pt x="233" y="60"/>
                  </a:lnTo>
                  <a:lnTo>
                    <a:pt x="233" y="61"/>
                  </a:lnTo>
                  <a:lnTo>
                    <a:pt x="231" y="61"/>
                  </a:lnTo>
                  <a:lnTo>
                    <a:pt x="231" y="63"/>
                  </a:lnTo>
                  <a:lnTo>
                    <a:pt x="231" y="65"/>
                  </a:lnTo>
                  <a:lnTo>
                    <a:pt x="231" y="67"/>
                  </a:lnTo>
                  <a:lnTo>
                    <a:pt x="231" y="69"/>
                  </a:lnTo>
                  <a:lnTo>
                    <a:pt x="231" y="71"/>
                  </a:lnTo>
                  <a:lnTo>
                    <a:pt x="229" y="71"/>
                  </a:lnTo>
                  <a:lnTo>
                    <a:pt x="231" y="71"/>
                  </a:lnTo>
                  <a:lnTo>
                    <a:pt x="229" y="71"/>
                  </a:lnTo>
                  <a:lnTo>
                    <a:pt x="231" y="71"/>
                  </a:lnTo>
                  <a:lnTo>
                    <a:pt x="231" y="73"/>
                  </a:lnTo>
                  <a:lnTo>
                    <a:pt x="229" y="73"/>
                  </a:lnTo>
                  <a:lnTo>
                    <a:pt x="231" y="73"/>
                  </a:lnTo>
                  <a:lnTo>
                    <a:pt x="229" y="73"/>
                  </a:lnTo>
                  <a:lnTo>
                    <a:pt x="231" y="73"/>
                  </a:lnTo>
                  <a:lnTo>
                    <a:pt x="229" y="73"/>
                  </a:lnTo>
                  <a:lnTo>
                    <a:pt x="231" y="73"/>
                  </a:lnTo>
                  <a:lnTo>
                    <a:pt x="229" y="73"/>
                  </a:lnTo>
                  <a:lnTo>
                    <a:pt x="231" y="73"/>
                  </a:lnTo>
                  <a:lnTo>
                    <a:pt x="229" y="73"/>
                  </a:lnTo>
                  <a:lnTo>
                    <a:pt x="229" y="75"/>
                  </a:lnTo>
                  <a:lnTo>
                    <a:pt x="231" y="75"/>
                  </a:lnTo>
                  <a:lnTo>
                    <a:pt x="229" y="75"/>
                  </a:lnTo>
                  <a:lnTo>
                    <a:pt x="229" y="77"/>
                  </a:lnTo>
                  <a:lnTo>
                    <a:pt x="229" y="75"/>
                  </a:lnTo>
                  <a:lnTo>
                    <a:pt x="229" y="77"/>
                  </a:lnTo>
                  <a:lnTo>
                    <a:pt x="229" y="79"/>
                  </a:lnTo>
                  <a:lnTo>
                    <a:pt x="227" y="79"/>
                  </a:lnTo>
                  <a:lnTo>
                    <a:pt x="227" y="81"/>
                  </a:lnTo>
                  <a:lnTo>
                    <a:pt x="225" y="81"/>
                  </a:lnTo>
                  <a:lnTo>
                    <a:pt x="225" y="83"/>
                  </a:lnTo>
                  <a:lnTo>
                    <a:pt x="225" y="85"/>
                  </a:lnTo>
                  <a:lnTo>
                    <a:pt x="225" y="83"/>
                  </a:lnTo>
                  <a:lnTo>
                    <a:pt x="227" y="83"/>
                  </a:lnTo>
                  <a:lnTo>
                    <a:pt x="227" y="81"/>
                  </a:lnTo>
                  <a:lnTo>
                    <a:pt x="229" y="81"/>
                  </a:lnTo>
                  <a:lnTo>
                    <a:pt x="229" y="79"/>
                  </a:lnTo>
                  <a:lnTo>
                    <a:pt x="231" y="79"/>
                  </a:lnTo>
                  <a:lnTo>
                    <a:pt x="231" y="77"/>
                  </a:lnTo>
                  <a:lnTo>
                    <a:pt x="231" y="75"/>
                  </a:lnTo>
                  <a:lnTo>
                    <a:pt x="231" y="73"/>
                  </a:lnTo>
                  <a:lnTo>
                    <a:pt x="233" y="73"/>
                  </a:lnTo>
                  <a:lnTo>
                    <a:pt x="233" y="71"/>
                  </a:lnTo>
                  <a:lnTo>
                    <a:pt x="234" y="71"/>
                  </a:lnTo>
                  <a:lnTo>
                    <a:pt x="234" y="73"/>
                  </a:lnTo>
                  <a:lnTo>
                    <a:pt x="236" y="73"/>
                  </a:lnTo>
                  <a:lnTo>
                    <a:pt x="238" y="73"/>
                  </a:lnTo>
                  <a:lnTo>
                    <a:pt x="238" y="75"/>
                  </a:lnTo>
                  <a:lnTo>
                    <a:pt x="238" y="73"/>
                  </a:lnTo>
                  <a:lnTo>
                    <a:pt x="236" y="73"/>
                  </a:lnTo>
                  <a:lnTo>
                    <a:pt x="234" y="71"/>
                  </a:lnTo>
                  <a:lnTo>
                    <a:pt x="234" y="69"/>
                  </a:lnTo>
                  <a:lnTo>
                    <a:pt x="233" y="69"/>
                  </a:lnTo>
                  <a:lnTo>
                    <a:pt x="233" y="67"/>
                  </a:lnTo>
                  <a:lnTo>
                    <a:pt x="234" y="67"/>
                  </a:lnTo>
                  <a:lnTo>
                    <a:pt x="234" y="65"/>
                  </a:lnTo>
                  <a:lnTo>
                    <a:pt x="234" y="63"/>
                  </a:lnTo>
                  <a:lnTo>
                    <a:pt x="233" y="63"/>
                  </a:lnTo>
                  <a:lnTo>
                    <a:pt x="234" y="63"/>
                  </a:lnTo>
                  <a:lnTo>
                    <a:pt x="233" y="63"/>
                  </a:lnTo>
                  <a:lnTo>
                    <a:pt x="234" y="63"/>
                  </a:lnTo>
                  <a:lnTo>
                    <a:pt x="234" y="61"/>
                  </a:lnTo>
                  <a:lnTo>
                    <a:pt x="236" y="61"/>
                  </a:lnTo>
                  <a:lnTo>
                    <a:pt x="238" y="61"/>
                  </a:lnTo>
                  <a:lnTo>
                    <a:pt x="238" y="60"/>
                  </a:lnTo>
                  <a:lnTo>
                    <a:pt x="238" y="58"/>
                  </a:lnTo>
                  <a:lnTo>
                    <a:pt x="238" y="56"/>
                  </a:lnTo>
                  <a:lnTo>
                    <a:pt x="240" y="56"/>
                  </a:lnTo>
                  <a:lnTo>
                    <a:pt x="242" y="56"/>
                  </a:lnTo>
                  <a:lnTo>
                    <a:pt x="242" y="54"/>
                  </a:lnTo>
                  <a:lnTo>
                    <a:pt x="242" y="56"/>
                  </a:lnTo>
                  <a:lnTo>
                    <a:pt x="240" y="56"/>
                  </a:lnTo>
                  <a:lnTo>
                    <a:pt x="240" y="58"/>
                  </a:lnTo>
                  <a:lnTo>
                    <a:pt x="240" y="60"/>
                  </a:lnTo>
                  <a:lnTo>
                    <a:pt x="238" y="60"/>
                  </a:lnTo>
                  <a:lnTo>
                    <a:pt x="240" y="60"/>
                  </a:lnTo>
                  <a:lnTo>
                    <a:pt x="240" y="61"/>
                  </a:lnTo>
                  <a:lnTo>
                    <a:pt x="240" y="63"/>
                  </a:lnTo>
                  <a:lnTo>
                    <a:pt x="240" y="61"/>
                  </a:lnTo>
                  <a:lnTo>
                    <a:pt x="242" y="61"/>
                  </a:lnTo>
                  <a:lnTo>
                    <a:pt x="240" y="61"/>
                  </a:lnTo>
                  <a:lnTo>
                    <a:pt x="240" y="60"/>
                  </a:lnTo>
                  <a:lnTo>
                    <a:pt x="242" y="60"/>
                  </a:lnTo>
                  <a:lnTo>
                    <a:pt x="242" y="58"/>
                  </a:lnTo>
                  <a:lnTo>
                    <a:pt x="242" y="60"/>
                  </a:lnTo>
                  <a:lnTo>
                    <a:pt x="242" y="58"/>
                  </a:lnTo>
                  <a:lnTo>
                    <a:pt x="244" y="58"/>
                  </a:lnTo>
                  <a:lnTo>
                    <a:pt x="244" y="60"/>
                  </a:lnTo>
                  <a:lnTo>
                    <a:pt x="242" y="60"/>
                  </a:lnTo>
                  <a:lnTo>
                    <a:pt x="242" y="61"/>
                  </a:lnTo>
                  <a:lnTo>
                    <a:pt x="244" y="61"/>
                  </a:lnTo>
                  <a:lnTo>
                    <a:pt x="244" y="60"/>
                  </a:lnTo>
                  <a:lnTo>
                    <a:pt x="244" y="58"/>
                  </a:lnTo>
                  <a:lnTo>
                    <a:pt x="246" y="58"/>
                  </a:lnTo>
                  <a:lnTo>
                    <a:pt x="246" y="56"/>
                  </a:lnTo>
                  <a:lnTo>
                    <a:pt x="244" y="56"/>
                  </a:lnTo>
                  <a:lnTo>
                    <a:pt x="244" y="54"/>
                  </a:lnTo>
                  <a:lnTo>
                    <a:pt x="244" y="52"/>
                  </a:lnTo>
                  <a:lnTo>
                    <a:pt x="246" y="52"/>
                  </a:lnTo>
                  <a:lnTo>
                    <a:pt x="248" y="52"/>
                  </a:lnTo>
                  <a:lnTo>
                    <a:pt x="248" y="54"/>
                  </a:lnTo>
                  <a:lnTo>
                    <a:pt x="248" y="56"/>
                  </a:lnTo>
                  <a:lnTo>
                    <a:pt x="250" y="56"/>
                  </a:lnTo>
                  <a:lnTo>
                    <a:pt x="250" y="58"/>
                  </a:lnTo>
                  <a:lnTo>
                    <a:pt x="252" y="58"/>
                  </a:lnTo>
                  <a:lnTo>
                    <a:pt x="252" y="60"/>
                  </a:lnTo>
                  <a:lnTo>
                    <a:pt x="254" y="60"/>
                  </a:lnTo>
                  <a:lnTo>
                    <a:pt x="254" y="61"/>
                  </a:lnTo>
                  <a:lnTo>
                    <a:pt x="256" y="61"/>
                  </a:lnTo>
                  <a:lnTo>
                    <a:pt x="256" y="63"/>
                  </a:lnTo>
                  <a:lnTo>
                    <a:pt x="256" y="65"/>
                  </a:lnTo>
                  <a:lnTo>
                    <a:pt x="258" y="65"/>
                  </a:lnTo>
                  <a:lnTo>
                    <a:pt x="256" y="65"/>
                  </a:lnTo>
                  <a:lnTo>
                    <a:pt x="258" y="65"/>
                  </a:lnTo>
                  <a:lnTo>
                    <a:pt x="258" y="63"/>
                  </a:lnTo>
                  <a:lnTo>
                    <a:pt x="256" y="63"/>
                  </a:lnTo>
                  <a:lnTo>
                    <a:pt x="258" y="63"/>
                  </a:lnTo>
                  <a:lnTo>
                    <a:pt x="258" y="61"/>
                  </a:lnTo>
                  <a:lnTo>
                    <a:pt x="256" y="61"/>
                  </a:lnTo>
                  <a:lnTo>
                    <a:pt x="256" y="60"/>
                  </a:lnTo>
                  <a:lnTo>
                    <a:pt x="256" y="61"/>
                  </a:lnTo>
                  <a:lnTo>
                    <a:pt x="254" y="61"/>
                  </a:lnTo>
                  <a:lnTo>
                    <a:pt x="254" y="60"/>
                  </a:lnTo>
                  <a:lnTo>
                    <a:pt x="256" y="60"/>
                  </a:lnTo>
                  <a:lnTo>
                    <a:pt x="256" y="58"/>
                  </a:lnTo>
                  <a:lnTo>
                    <a:pt x="254" y="58"/>
                  </a:lnTo>
                  <a:lnTo>
                    <a:pt x="254" y="56"/>
                  </a:lnTo>
                  <a:lnTo>
                    <a:pt x="254" y="54"/>
                  </a:lnTo>
                  <a:lnTo>
                    <a:pt x="256" y="54"/>
                  </a:lnTo>
                  <a:lnTo>
                    <a:pt x="256" y="56"/>
                  </a:lnTo>
                  <a:lnTo>
                    <a:pt x="256" y="54"/>
                  </a:lnTo>
                  <a:lnTo>
                    <a:pt x="256" y="52"/>
                  </a:lnTo>
                  <a:lnTo>
                    <a:pt x="258" y="52"/>
                  </a:lnTo>
                  <a:lnTo>
                    <a:pt x="256" y="52"/>
                  </a:lnTo>
                  <a:lnTo>
                    <a:pt x="254" y="52"/>
                  </a:lnTo>
                  <a:lnTo>
                    <a:pt x="252" y="52"/>
                  </a:lnTo>
                  <a:lnTo>
                    <a:pt x="254" y="52"/>
                  </a:lnTo>
                  <a:lnTo>
                    <a:pt x="254" y="50"/>
                  </a:lnTo>
                  <a:lnTo>
                    <a:pt x="256" y="50"/>
                  </a:lnTo>
                  <a:lnTo>
                    <a:pt x="256" y="48"/>
                  </a:lnTo>
                  <a:lnTo>
                    <a:pt x="258" y="48"/>
                  </a:lnTo>
                  <a:lnTo>
                    <a:pt x="256" y="48"/>
                  </a:lnTo>
                  <a:lnTo>
                    <a:pt x="256" y="50"/>
                  </a:lnTo>
                  <a:lnTo>
                    <a:pt x="256" y="48"/>
                  </a:lnTo>
                  <a:lnTo>
                    <a:pt x="256" y="50"/>
                  </a:lnTo>
                  <a:lnTo>
                    <a:pt x="254" y="50"/>
                  </a:lnTo>
                  <a:lnTo>
                    <a:pt x="252" y="50"/>
                  </a:lnTo>
                  <a:lnTo>
                    <a:pt x="250" y="50"/>
                  </a:lnTo>
                  <a:lnTo>
                    <a:pt x="250" y="48"/>
                  </a:lnTo>
                  <a:lnTo>
                    <a:pt x="250" y="50"/>
                  </a:lnTo>
                  <a:lnTo>
                    <a:pt x="248" y="50"/>
                  </a:lnTo>
                  <a:lnTo>
                    <a:pt x="248" y="48"/>
                  </a:lnTo>
                  <a:lnTo>
                    <a:pt x="248" y="50"/>
                  </a:lnTo>
                  <a:lnTo>
                    <a:pt x="248" y="48"/>
                  </a:lnTo>
                  <a:lnTo>
                    <a:pt x="248" y="50"/>
                  </a:lnTo>
                  <a:lnTo>
                    <a:pt x="248" y="48"/>
                  </a:lnTo>
                  <a:lnTo>
                    <a:pt x="248" y="46"/>
                  </a:lnTo>
                  <a:lnTo>
                    <a:pt x="246" y="46"/>
                  </a:lnTo>
                  <a:lnTo>
                    <a:pt x="244" y="46"/>
                  </a:lnTo>
                  <a:lnTo>
                    <a:pt x="246" y="46"/>
                  </a:lnTo>
                  <a:lnTo>
                    <a:pt x="244" y="46"/>
                  </a:lnTo>
                  <a:lnTo>
                    <a:pt x="244" y="44"/>
                  </a:lnTo>
                  <a:lnTo>
                    <a:pt x="244" y="42"/>
                  </a:lnTo>
                  <a:lnTo>
                    <a:pt x="244" y="44"/>
                  </a:lnTo>
                  <a:lnTo>
                    <a:pt x="244" y="42"/>
                  </a:lnTo>
                  <a:lnTo>
                    <a:pt x="244" y="44"/>
                  </a:lnTo>
                  <a:lnTo>
                    <a:pt x="244" y="42"/>
                  </a:lnTo>
                  <a:lnTo>
                    <a:pt x="246" y="42"/>
                  </a:lnTo>
                  <a:lnTo>
                    <a:pt x="244" y="42"/>
                  </a:lnTo>
                  <a:lnTo>
                    <a:pt x="246" y="42"/>
                  </a:lnTo>
                  <a:lnTo>
                    <a:pt x="246" y="40"/>
                  </a:lnTo>
                  <a:lnTo>
                    <a:pt x="248" y="40"/>
                  </a:lnTo>
                  <a:lnTo>
                    <a:pt x="248" y="42"/>
                  </a:lnTo>
                  <a:lnTo>
                    <a:pt x="248" y="44"/>
                  </a:lnTo>
                  <a:lnTo>
                    <a:pt x="248" y="42"/>
                  </a:lnTo>
                  <a:lnTo>
                    <a:pt x="248" y="40"/>
                  </a:lnTo>
                  <a:lnTo>
                    <a:pt x="248" y="38"/>
                  </a:lnTo>
                  <a:lnTo>
                    <a:pt x="250" y="38"/>
                  </a:lnTo>
                  <a:lnTo>
                    <a:pt x="250" y="40"/>
                  </a:lnTo>
                  <a:lnTo>
                    <a:pt x="250" y="42"/>
                  </a:lnTo>
                  <a:lnTo>
                    <a:pt x="252" y="42"/>
                  </a:lnTo>
                  <a:lnTo>
                    <a:pt x="252" y="44"/>
                  </a:lnTo>
                  <a:lnTo>
                    <a:pt x="252" y="46"/>
                  </a:lnTo>
                  <a:lnTo>
                    <a:pt x="254" y="46"/>
                  </a:lnTo>
                  <a:lnTo>
                    <a:pt x="254" y="44"/>
                  </a:lnTo>
                  <a:lnTo>
                    <a:pt x="254" y="42"/>
                  </a:lnTo>
                  <a:lnTo>
                    <a:pt x="252" y="42"/>
                  </a:lnTo>
                  <a:lnTo>
                    <a:pt x="254" y="42"/>
                  </a:lnTo>
                  <a:lnTo>
                    <a:pt x="254" y="40"/>
                  </a:lnTo>
                  <a:lnTo>
                    <a:pt x="254" y="38"/>
                  </a:lnTo>
                  <a:lnTo>
                    <a:pt x="256" y="38"/>
                  </a:lnTo>
                  <a:lnTo>
                    <a:pt x="256" y="40"/>
                  </a:lnTo>
                  <a:lnTo>
                    <a:pt x="258" y="40"/>
                  </a:lnTo>
                  <a:lnTo>
                    <a:pt x="258" y="42"/>
                  </a:lnTo>
                  <a:lnTo>
                    <a:pt x="258" y="40"/>
                  </a:lnTo>
                  <a:lnTo>
                    <a:pt x="258" y="42"/>
                  </a:lnTo>
                  <a:lnTo>
                    <a:pt x="258" y="40"/>
                  </a:lnTo>
                  <a:lnTo>
                    <a:pt x="258" y="42"/>
                  </a:lnTo>
                  <a:lnTo>
                    <a:pt x="258" y="40"/>
                  </a:lnTo>
                  <a:lnTo>
                    <a:pt x="259" y="40"/>
                  </a:lnTo>
                  <a:lnTo>
                    <a:pt x="259" y="42"/>
                  </a:lnTo>
                  <a:lnTo>
                    <a:pt x="259" y="44"/>
                  </a:lnTo>
                  <a:lnTo>
                    <a:pt x="259" y="46"/>
                  </a:lnTo>
                  <a:lnTo>
                    <a:pt x="259" y="48"/>
                  </a:lnTo>
                  <a:lnTo>
                    <a:pt x="261" y="48"/>
                  </a:lnTo>
                  <a:lnTo>
                    <a:pt x="261" y="46"/>
                  </a:lnTo>
                  <a:lnTo>
                    <a:pt x="261" y="48"/>
                  </a:lnTo>
                  <a:lnTo>
                    <a:pt x="261" y="46"/>
                  </a:lnTo>
                  <a:lnTo>
                    <a:pt x="261" y="48"/>
                  </a:lnTo>
                  <a:lnTo>
                    <a:pt x="261" y="46"/>
                  </a:lnTo>
                  <a:lnTo>
                    <a:pt x="261" y="48"/>
                  </a:lnTo>
                  <a:lnTo>
                    <a:pt x="263" y="48"/>
                  </a:lnTo>
                  <a:lnTo>
                    <a:pt x="263" y="46"/>
                  </a:lnTo>
                  <a:lnTo>
                    <a:pt x="261" y="46"/>
                  </a:lnTo>
                  <a:lnTo>
                    <a:pt x="259" y="46"/>
                  </a:lnTo>
                  <a:lnTo>
                    <a:pt x="261" y="46"/>
                  </a:lnTo>
                  <a:lnTo>
                    <a:pt x="261" y="44"/>
                  </a:lnTo>
                  <a:lnTo>
                    <a:pt x="261" y="42"/>
                  </a:lnTo>
                  <a:lnTo>
                    <a:pt x="263" y="42"/>
                  </a:lnTo>
                  <a:lnTo>
                    <a:pt x="263" y="44"/>
                  </a:lnTo>
                  <a:lnTo>
                    <a:pt x="263" y="42"/>
                  </a:lnTo>
                  <a:lnTo>
                    <a:pt x="265" y="42"/>
                  </a:lnTo>
                  <a:lnTo>
                    <a:pt x="265" y="44"/>
                  </a:lnTo>
                  <a:lnTo>
                    <a:pt x="263" y="44"/>
                  </a:lnTo>
                  <a:lnTo>
                    <a:pt x="265" y="44"/>
                  </a:lnTo>
                  <a:lnTo>
                    <a:pt x="267" y="44"/>
                  </a:lnTo>
                  <a:lnTo>
                    <a:pt x="269" y="44"/>
                  </a:lnTo>
                  <a:lnTo>
                    <a:pt x="269" y="46"/>
                  </a:lnTo>
                  <a:lnTo>
                    <a:pt x="269" y="48"/>
                  </a:lnTo>
                  <a:lnTo>
                    <a:pt x="267" y="48"/>
                  </a:lnTo>
                  <a:lnTo>
                    <a:pt x="265" y="48"/>
                  </a:lnTo>
                  <a:lnTo>
                    <a:pt x="265" y="50"/>
                  </a:lnTo>
                  <a:lnTo>
                    <a:pt x="263" y="50"/>
                  </a:lnTo>
                  <a:lnTo>
                    <a:pt x="261" y="50"/>
                  </a:lnTo>
                  <a:lnTo>
                    <a:pt x="259" y="50"/>
                  </a:lnTo>
                  <a:lnTo>
                    <a:pt x="259" y="52"/>
                  </a:lnTo>
                  <a:lnTo>
                    <a:pt x="261" y="52"/>
                  </a:lnTo>
                  <a:lnTo>
                    <a:pt x="261" y="50"/>
                  </a:lnTo>
                  <a:lnTo>
                    <a:pt x="263" y="50"/>
                  </a:lnTo>
                  <a:lnTo>
                    <a:pt x="265" y="50"/>
                  </a:lnTo>
                  <a:lnTo>
                    <a:pt x="267" y="50"/>
                  </a:lnTo>
                  <a:lnTo>
                    <a:pt x="267" y="48"/>
                  </a:lnTo>
                  <a:lnTo>
                    <a:pt x="269" y="48"/>
                  </a:lnTo>
                  <a:lnTo>
                    <a:pt x="269" y="46"/>
                  </a:lnTo>
                  <a:lnTo>
                    <a:pt x="271" y="46"/>
                  </a:lnTo>
                  <a:lnTo>
                    <a:pt x="271" y="48"/>
                  </a:lnTo>
                  <a:lnTo>
                    <a:pt x="271" y="50"/>
                  </a:lnTo>
                  <a:lnTo>
                    <a:pt x="271" y="52"/>
                  </a:lnTo>
                  <a:lnTo>
                    <a:pt x="269" y="52"/>
                  </a:lnTo>
                  <a:lnTo>
                    <a:pt x="271" y="52"/>
                  </a:lnTo>
                  <a:lnTo>
                    <a:pt x="269" y="52"/>
                  </a:lnTo>
                  <a:lnTo>
                    <a:pt x="271" y="52"/>
                  </a:lnTo>
                  <a:lnTo>
                    <a:pt x="269" y="52"/>
                  </a:lnTo>
                  <a:lnTo>
                    <a:pt x="271" y="52"/>
                  </a:lnTo>
                  <a:lnTo>
                    <a:pt x="271" y="54"/>
                  </a:lnTo>
                  <a:lnTo>
                    <a:pt x="273" y="54"/>
                  </a:lnTo>
                  <a:lnTo>
                    <a:pt x="271" y="54"/>
                  </a:lnTo>
                  <a:lnTo>
                    <a:pt x="271" y="56"/>
                  </a:lnTo>
                  <a:lnTo>
                    <a:pt x="273" y="56"/>
                  </a:lnTo>
                  <a:lnTo>
                    <a:pt x="271" y="56"/>
                  </a:lnTo>
                  <a:lnTo>
                    <a:pt x="273" y="56"/>
                  </a:lnTo>
                  <a:lnTo>
                    <a:pt x="273" y="54"/>
                  </a:lnTo>
                  <a:lnTo>
                    <a:pt x="275" y="54"/>
                  </a:lnTo>
                  <a:lnTo>
                    <a:pt x="273" y="54"/>
                  </a:lnTo>
                  <a:lnTo>
                    <a:pt x="275" y="54"/>
                  </a:lnTo>
                  <a:lnTo>
                    <a:pt x="277" y="54"/>
                  </a:lnTo>
                  <a:lnTo>
                    <a:pt x="275" y="54"/>
                  </a:lnTo>
                  <a:lnTo>
                    <a:pt x="277" y="54"/>
                  </a:lnTo>
                  <a:lnTo>
                    <a:pt x="277" y="52"/>
                  </a:lnTo>
                  <a:lnTo>
                    <a:pt x="279" y="52"/>
                  </a:lnTo>
                  <a:lnTo>
                    <a:pt x="277" y="52"/>
                  </a:lnTo>
                  <a:lnTo>
                    <a:pt x="275" y="52"/>
                  </a:lnTo>
                  <a:lnTo>
                    <a:pt x="273" y="52"/>
                  </a:lnTo>
                  <a:lnTo>
                    <a:pt x="273" y="50"/>
                  </a:lnTo>
                  <a:lnTo>
                    <a:pt x="273" y="48"/>
                  </a:lnTo>
                  <a:lnTo>
                    <a:pt x="273" y="50"/>
                  </a:lnTo>
                  <a:lnTo>
                    <a:pt x="273" y="48"/>
                  </a:lnTo>
                  <a:lnTo>
                    <a:pt x="275" y="48"/>
                  </a:lnTo>
                  <a:lnTo>
                    <a:pt x="277" y="48"/>
                  </a:lnTo>
                  <a:lnTo>
                    <a:pt x="275" y="48"/>
                  </a:lnTo>
                  <a:lnTo>
                    <a:pt x="277" y="48"/>
                  </a:lnTo>
                  <a:lnTo>
                    <a:pt x="275" y="48"/>
                  </a:lnTo>
                  <a:lnTo>
                    <a:pt x="275" y="46"/>
                  </a:lnTo>
                  <a:lnTo>
                    <a:pt x="277" y="46"/>
                  </a:lnTo>
                  <a:lnTo>
                    <a:pt x="275" y="46"/>
                  </a:lnTo>
                  <a:lnTo>
                    <a:pt x="275" y="44"/>
                  </a:lnTo>
                  <a:lnTo>
                    <a:pt x="273" y="44"/>
                  </a:lnTo>
                  <a:lnTo>
                    <a:pt x="275" y="44"/>
                  </a:lnTo>
                  <a:lnTo>
                    <a:pt x="275" y="42"/>
                  </a:lnTo>
                  <a:lnTo>
                    <a:pt x="277" y="44"/>
                  </a:lnTo>
                  <a:lnTo>
                    <a:pt x="277" y="42"/>
                  </a:lnTo>
                  <a:lnTo>
                    <a:pt x="277" y="44"/>
                  </a:lnTo>
                  <a:lnTo>
                    <a:pt x="277" y="42"/>
                  </a:lnTo>
                  <a:lnTo>
                    <a:pt x="277" y="44"/>
                  </a:lnTo>
                  <a:lnTo>
                    <a:pt x="277" y="42"/>
                  </a:lnTo>
                  <a:lnTo>
                    <a:pt x="279" y="42"/>
                  </a:lnTo>
                  <a:lnTo>
                    <a:pt x="277" y="42"/>
                  </a:lnTo>
                  <a:lnTo>
                    <a:pt x="275" y="42"/>
                  </a:lnTo>
                  <a:lnTo>
                    <a:pt x="277" y="42"/>
                  </a:lnTo>
                  <a:lnTo>
                    <a:pt x="277" y="40"/>
                  </a:lnTo>
                  <a:lnTo>
                    <a:pt x="275" y="40"/>
                  </a:lnTo>
                  <a:lnTo>
                    <a:pt x="277" y="40"/>
                  </a:lnTo>
                  <a:lnTo>
                    <a:pt x="279" y="40"/>
                  </a:lnTo>
                  <a:lnTo>
                    <a:pt x="277" y="40"/>
                  </a:lnTo>
                  <a:lnTo>
                    <a:pt x="277" y="38"/>
                  </a:lnTo>
                  <a:lnTo>
                    <a:pt x="279" y="38"/>
                  </a:lnTo>
                  <a:lnTo>
                    <a:pt x="277" y="38"/>
                  </a:lnTo>
                  <a:lnTo>
                    <a:pt x="277" y="40"/>
                  </a:lnTo>
                  <a:lnTo>
                    <a:pt x="277" y="38"/>
                  </a:lnTo>
                  <a:lnTo>
                    <a:pt x="279" y="38"/>
                  </a:lnTo>
                  <a:lnTo>
                    <a:pt x="279" y="37"/>
                  </a:lnTo>
                  <a:lnTo>
                    <a:pt x="279" y="35"/>
                  </a:lnTo>
                  <a:lnTo>
                    <a:pt x="281" y="35"/>
                  </a:lnTo>
                  <a:lnTo>
                    <a:pt x="282" y="35"/>
                  </a:lnTo>
                  <a:lnTo>
                    <a:pt x="282" y="33"/>
                  </a:lnTo>
                  <a:lnTo>
                    <a:pt x="282" y="35"/>
                  </a:lnTo>
                  <a:lnTo>
                    <a:pt x="282" y="33"/>
                  </a:lnTo>
                  <a:lnTo>
                    <a:pt x="282" y="31"/>
                  </a:lnTo>
                  <a:lnTo>
                    <a:pt x="284" y="31"/>
                  </a:lnTo>
                  <a:lnTo>
                    <a:pt x="286" y="31"/>
                  </a:lnTo>
                  <a:lnTo>
                    <a:pt x="286" y="33"/>
                  </a:lnTo>
                  <a:lnTo>
                    <a:pt x="288" y="33"/>
                  </a:lnTo>
                  <a:lnTo>
                    <a:pt x="290" y="33"/>
                  </a:lnTo>
                  <a:lnTo>
                    <a:pt x="290" y="35"/>
                  </a:lnTo>
                  <a:lnTo>
                    <a:pt x="290" y="33"/>
                  </a:lnTo>
                  <a:lnTo>
                    <a:pt x="290" y="35"/>
                  </a:lnTo>
                  <a:lnTo>
                    <a:pt x="290" y="33"/>
                  </a:lnTo>
                  <a:lnTo>
                    <a:pt x="288" y="33"/>
                  </a:lnTo>
                  <a:lnTo>
                    <a:pt x="288" y="31"/>
                  </a:lnTo>
                  <a:lnTo>
                    <a:pt x="286" y="31"/>
                  </a:lnTo>
                  <a:lnTo>
                    <a:pt x="286" y="29"/>
                  </a:lnTo>
                  <a:lnTo>
                    <a:pt x="286" y="31"/>
                  </a:lnTo>
                  <a:lnTo>
                    <a:pt x="286" y="29"/>
                  </a:lnTo>
                  <a:lnTo>
                    <a:pt x="286" y="31"/>
                  </a:lnTo>
                  <a:lnTo>
                    <a:pt x="286" y="29"/>
                  </a:lnTo>
                  <a:lnTo>
                    <a:pt x="288" y="29"/>
                  </a:lnTo>
                  <a:lnTo>
                    <a:pt x="288" y="27"/>
                  </a:lnTo>
                  <a:lnTo>
                    <a:pt x="288" y="25"/>
                  </a:lnTo>
                  <a:lnTo>
                    <a:pt x="288" y="23"/>
                  </a:lnTo>
                  <a:lnTo>
                    <a:pt x="290" y="23"/>
                  </a:lnTo>
                  <a:lnTo>
                    <a:pt x="292" y="23"/>
                  </a:lnTo>
                  <a:lnTo>
                    <a:pt x="292" y="25"/>
                  </a:lnTo>
                  <a:lnTo>
                    <a:pt x="294" y="25"/>
                  </a:lnTo>
                  <a:lnTo>
                    <a:pt x="294" y="27"/>
                  </a:lnTo>
                  <a:lnTo>
                    <a:pt x="294" y="25"/>
                  </a:lnTo>
                  <a:lnTo>
                    <a:pt x="296" y="25"/>
                  </a:lnTo>
                  <a:lnTo>
                    <a:pt x="294" y="25"/>
                  </a:lnTo>
                  <a:lnTo>
                    <a:pt x="296" y="25"/>
                  </a:lnTo>
                  <a:lnTo>
                    <a:pt x="294" y="25"/>
                  </a:lnTo>
                  <a:lnTo>
                    <a:pt x="294" y="23"/>
                  </a:lnTo>
                  <a:lnTo>
                    <a:pt x="294" y="25"/>
                  </a:lnTo>
                  <a:lnTo>
                    <a:pt x="294" y="23"/>
                  </a:lnTo>
                  <a:lnTo>
                    <a:pt x="294" y="21"/>
                  </a:lnTo>
                  <a:lnTo>
                    <a:pt x="294" y="23"/>
                  </a:lnTo>
                  <a:lnTo>
                    <a:pt x="292" y="23"/>
                  </a:lnTo>
                  <a:lnTo>
                    <a:pt x="292" y="21"/>
                  </a:lnTo>
                  <a:lnTo>
                    <a:pt x="294" y="21"/>
                  </a:lnTo>
                  <a:lnTo>
                    <a:pt x="292" y="21"/>
                  </a:lnTo>
                  <a:lnTo>
                    <a:pt x="290" y="21"/>
                  </a:lnTo>
                  <a:lnTo>
                    <a:pt x="290" y="19"/>
                  </a:lnTo>
                  <a:lnTo>
                    <a:pt x="288" y="19"/>
                  </a:lnTo>
                  <a:lnTo>
                    <a:pt x="288" y="17"/>
                  </a:lnTo>
                  <a:lnTo>
                    <a:pt x="288" y="15"/>
                  </a:lnTo>
                  <a:lnTo>
                    <a:pt x="290" y="15"/>
                  </a:lnTo>
                  <a:lnTo>
                    <a:pt x="292" y="15"/>
                  </a:lnTo>
                  <a:lnTo>
                    <a:pt x="292" y="17"/>
                  </a:lnTo>
                  <a:lnTo>
                    <a:pt x="294" y="17"/>
                  </a:lnTo>
                  <a:lnTo>
                    <a:pt x="294" y="19"/>
                  </a:lnTo>
                  <a:lnTo>
                    <a:pt x="294" y="17"/>
                  </a:lnTo>
                  <a:lnTo>
                    <a:pt x="294" y="15"/>
                  </a:lnTo>
                  <a:lnTo>
                    <a:pt x="296" y="15"/>
                  </a:lnTo>
                  <a:lnTo>
                    <a:pt x="294" y="15"/>
                  </a:lnTo>
                  <a:lnTo>
                    <a:pt x="294" y="13"/>
                  </a:lnTo>
                  <a:lnTo>
                    <a:pt x="292" y="13"/>
                  </a:lnTo>
                  <a:lnTo>
                    <a:pt x="294" y="13"/>
                  </a:lnTo>
                  <a:lnTo>
                    <a:pt x="292" y="13"/>
                  </a:lnTo>
                  <a:lnTo>
                    <a:pt x="294" y="13"/>
                  </a:lnTo>
                  <a:lnTo>
                    <a:pt x="292" y="13"/>
                  </a:lnTo>
                  <a:lnTo>
                    <a:pt x="292" y="12"/>
                  </a:lnTo>
                  <a:lnTo>
                    <a:pt x="294" y="12"/>
                  </a:lnTo>
                  <a:lnTo>
                    <a:pt x="292" y="12"/>
                  </a:lnTo>
                  <a:lnTo>
                    <a:pt x="292" y="10"/>
                  </a:lnTo>
                  <a:lnTo>
                    <a:pt x="294" y="10"/>
                  </a:lnTo>
                  <a:lnTo>
                    <a:pt x="296" y="10"/>
                  </a:lnTo>
                  <a:lnTo>
                    <a:pt x="294" y="10"/>
                  </a:lnTo>
                  <a:lnTo>
                    <a:pt x="294" y="12"/>
                  </a:lnTo>
                  <a:lnTo>
                    <a:pt x="294" y="10"/>
                  </a:lnTo>
                  <a:lnTo>
                    <a:pt x="296" y="10"/>
                  </a:lnTo>
                  <a:lnTo>
                    <a:pt x="296" y="12"/>
                  </a:lnTo>
                  <a:lnTo>
                    <a:pt x="298" y="12"/>
                  </a:lnTo>
                  <a:lnTo>
                    <a:pt x="298" y="13"/>
                  </a:lnTo>
                  <a:lnTo>
                    <a:pt x="296" y="13"/>
                  </a:lnTo>
                  <a:lnTo>
                    <a:pt x="298" y="13"/>
                  </a:lnTo>
                  <a:lnTo>
                    <a:pt x="298" y="12"/>
                  </a:lnTo>
                  <a:lnTo>
                    <a:pt x="298" y="13"/>
                  </a:lnTo>
                  <a:lnTo>
                    <a:pt x="300" y="13"/>
                  </a:lnTo>
                  <a:lnTo>
                    <a:pt x="298" y="13"/>
                  </a:lnTo>
                  <a:lnTo>
                    <a:pt x="298" y="12"/>
                  </a:lnTo>
                  <a:lnTo>
                    <a:pt x="300" y="12"/>
                  </a:lnTo>
                  <a:lnTo>
                    <a:pt x="300" y="10"/>
                  </a:lnTo>
                  <a:lnTo>
                    <a:pt x="300" y="12"/>
                  </a:lnTo>
                  <a:lnTo>
                    <a:pt x="300" y="13"/>
                  </a:lnTo>
                  <a:lnTo>
                    <a:pt x="298" y="13"/>
                  </a:lnTo>
                  <a:lnTo>
                    <a:pt x="298" y="15"/>
                  </a:lnTo>
                  <a:lnTo>
                    <a:pt x="300" y="15"/>
                  </a:lnTo>
                  <a:lnTo>
                    <a:pt x="300" y="13"/>
                  </a:lnTo>
                  <a:lnTo>
                    <a:pt x="302" y="13"/>
                  </a:lnTo>
                  <a:lnTo>
                    <a:pt x="302" y="12"/>
                  </a:lnTo>
                  <a:lnTo>
                    <a:pt x="302" y="13"/>
                  </a:lnTo>
                  <a:lnTo>
                    <a:pt x="304" y="13"/>
                  </a:lnTo>
                  <a:lnTo>
                    <a:pt x="304" y="15"/>
                  </a:lnTo>
                  <a:lnTo>
                    <a:pt x="304" y="17"/>
                  </a:lnTo>
                  <a:lnTo>
                    <a:pt x="306" y="17"/>
                  </a:lnTo>
                  <a:lnTo>
                    <a:pt x="304" y="17"/>
                  </a:lnTo>
                  <a:lnTo>
                    <a:pt x="306" y="17"/>
                  </a:lnTo>
                  <a:lnTo>
                    <a:pt x="304" y="17"/>
                  </a:lnTo>
                  <a:lnTo>
                    <a:pt x="306" y="17"/>
                  </a:lnTo>
                  <a:lnTo>
                    <a:pt x="306" y="15"/>
                  </a:lnTo>
                  <a:lnTo>
                    <a:pt x="304" y="15"/>
                  </a:lnTo>
                  <a:lnTo>
                    <a:pt x="306" y="15"/>
                  </a:lnTo>
                  <a:lnTo>
                    <a:pt x="306" y="13"/>
                  </a:lnTo>
                  <a:lnTo>
                    <a:pt x="306" y="12"/>
                  </a:lnTo>
                  <a:lnTo>
                    <a:pt x="304" y="12"/>
                  </a:lnTo>
                  <a:lnTo>
                    <a:pt x="304" y="10"/>
                  </a:lnTo>
                  <a:lnTo>
                    <a:pt x="306" y="10"/>
                  </a:lnTo>
                  <a:lnTo>
                    <a:pt x="306" y="12"/>
                  </a:lnTo>
                  <a:lnTo>
                    <a:pt x="306" y="10"/>
                  </a:lnTo>
                  <a:lnTo>
                    <a:pt x="306" y="12"/>
                  </a:lnTo>
                  <a:lnTo>
                    <a:pt x="307" y="12"/>
                  </a:lnTo>
                  <a:lnTo>
                    <a:pt x="307" y="13"/>
                  </a:lnTo>
                  <a:lnTo>
                    <a:pt x="307" y="15"/>
                  </a:lnTo>
                  <a:lnTo>
                    <a:pt x="306" y="15"/>
                  </a:lnTo>
                  <a:lnTo>
                    <a:pt x="307" y="15"/>
                  </a:lnTo>
                  <a:lnTo>
                    <a:pt x="307" y="13"/>
                  </a:lnTo>
                  <a:lnTo>
                    <a:pt x="309" y="13"/>
                  </a:lnTo>
                  <a:lnTo>
                    <a:pt x="309" y="15"/>
                  </a:lnTo>
                  <a:lnTo>
                    <a:pt x="311" y="15"/>
                  </a:lnTo>
                  <a:lnTo>
                    <a:pt x="309" y="15"/>
                  </a:lnTo>
                  <a:lnTo>
                    <a:pt x="311" y="15"/>
                  </a:lnTo>
                  <a:lnTo>
                    <a:pt x="309" y="15"/>
                  </a:lnTo>
                  <a:lnTo>
                    <a:pt x="311" y="15"/>
                  </a:lnTo>
                  <a:lnTo>
                    <a:pt x="311" y="13"/>
                  </a:lnTo>
                  <a:lnTo>
                    <a:pt x="313" y="13"/>
                  </a:lnTo>
                  <a:lnTo>
                    <a:pt x="311" y="13"/>
                  </a:lnTo>
                  <a:lnTo>
                    <a:pt x="313" y="13"/>
                  </a:lnTo>
                  <a:lnTo>
                    <a:pt x="311" y="13"/>
                  </a:lnTo>
                  <a:lnTo>
                    <a:pt x="311" y="15"/>
                  </a:lnTo>
                  <a:lnTo>
                    <a:pt x="313" y="15"/>
                  </a:lnTo>
                  <a:lnTo>
                    <a:pt x="311" y="15"/>
                  </a:lnTo>
                  <a:lnTo>
                    <a:pt x="311" y="17"/>
                  </a:lnTo>
                  <a:lnTo>
                    <a:pt x="311" y="19"/>
                  </a:lnTo>
                  <a:lnTo>
                    <a:pt x="309" y="19"/>
                  </a:lnTo>
                  <a:lnTo>
                    <a:pt x="307" y="19"/>
                  </a:lnTo>
                  <a:lnTo>
                    <a:pt x="309" y="19"/>
                  </a:lnTo>
                  <a:lnTo>
                    <a:pt x="307" y="19"/>
                  </a:lnTo>
                  <a:lnTo>
                    <a:pt x="307" y="21"/>
                  </a:lnTo>
                  <a:lnTo>
                    <a:pt x="309" y="21"/>
                  </a:lnTo>
                  <a:lnTo>
                    <a:pt x="309" y="19"/>
                  </a:lnTo>
                  <a:lnTo>
                    <a:pt x="309" y="21"/>
                  </a:lnTo>
                  <a:lnTo>
                    <a:pt x="309" y="19"/>
                  </a:lnTo>
                  <a:lnTo>
                    <a:pt x="309" y="21"/>
                  </a:lnTo>
                  <a:lnTo>
                    <a:pt x="309" y="19"/>
                  </a:lnTo>
                  <a:lnTo>
                    <a:pt x="309" y="21"/>
                  </a:lnTo>
                  <a:lnTo>
                    <a:pt x="307" y="21"/>
                  </a:lnTo>
                  <a:lnTo>
                    <a:pt x="307" y="23"/>
                  </a:lnTo>
                  <a:lnTo>
                    <a:pt x="306" y="23"/>
                  </a:lnTo>
                  <a:lnTo>
                    <a:pt x="306" y="25"/>
                  </a:lnTo>
                  <a:lnTo>
                    <a:pt x="304" y="25"/>
                  </a:lnTo>
                  <a:lnTo>
                    <a:pt x="306" y="25"/>
                  </a:lnTo>
                  <a:lnTo>
                    <a:pt x="306" y="27"/>
                  </a:lnTo>
                  <a:lnTo>
                    <a:pt x="304" y="27"/>
                  </a:lnTo>
                  <a:lnTo>
                    <a:pt x="304" y="29"/>
                  </a:lnTo>
                  <a:lnTo>
                    <a:pt x="302" y="29"/>
                  </a:lnTo>
                  <a:lnTo>
                    <a:pt x="302" y="31"/>
                  </a:lnTo>
                  <a:lnTo>
                    <a:pt x="300" y="31"/>
                  </a:lnTo>
                  <a:lnTo>
                    <a:pt x="302" y="31"/>
                  </a:lnTo>
                  <a:lnTo>
                    <a:pt x="300" y="31"/>
                  </a:lnTo>
                  <a:lnTo>
                    <a:pt x="302" y="31"/>
                  </a:lnTo>
                  <a:lnTo>
                    <a:pt x="304" y="31"/>
                  </a:lnTo>
                  <a:lnTo>
                    <a:pt x="302" y="31"/>
                  </a:lnTo>
                  <a:lnTo>
                    <a:pt x="300" y="31"/>
                  </a:lnTo>
                  <a:lnTo>
                    <a:pt x="302" y="31"/>
                  </a:lnTo>
                  <a:lnTo>
                    <a:pt x="300" y="31"/>
                  </a:lnTo>
                  <a:lnTo>
                    <a:pt x="300" y="33"/>
                  </a:lnTo>
                  <a:lnTo>
                    <a:pt x="300" y="31"/>
                  </a:lnTo>
                  <a:lnTo>
                    <a:pt x="300" y="33"/>
                  </a:lnTo>
                  <a:lnTo>
                    <a:pt x="300" y="31"/>
                  </a:lnTo>
                  <a:lnTo>
                    <a:pt x="300" y="33"/>
                  </a:lnTo>
                  <a:lnTo>
                    <a:pt x="302" y="33"/>
                  </a:lnTo>
                  <a:lnTo>
                    <a:pt x="300" y="33"/>
                  </a:lnTo>
                  <a:lnTo>
                    <a:pt x="302" y="33"/>
                  </a:lnTo>
                  <a:lnTo>
                    <a:pt x="304" y="33"/>
                  </a:lnTo>
                  <a:lnTo>
                    <a:pt x="304" y="35"/>
                  </a:lnTo>
                  <a:lnTo>
                    <a:pt x="302" y="35"/>
                  </a:lnTo>
                  <a:lnTo>
                    <a:pt x="304" y="35"/>
                  </a:lnTo>
                  <a:lnTo>
                    <a:pt x="304" y="37"/>
                  </a:lnTo>
                  <a:lnTo>
                    <a:pt x="302" y="37"/>
                  </a:lnTo>
                  <a:lnTo>
                    <a:pt x="302" y="35"/>
                  </a:lnTo>
                  <a:lnTo>
                    <a:pt x="302" y="37"/>
                  </a:lnTo>
                  <a:lnTo>
                    <a:pt x="300" y="37"/>
                  </a:lnTo>
                  <a:lnTo>
                    <a:pt x="300" y="38"/>
                  </a:lnTo>
                  <a:lnTo>
                    <a:pt x="302" y="38"/>
                  </a:lnTo>
                  <a:lnTo>
                    <a:pt x="302" y="37"/>
                  </a:lnTo>
                  <a:lnTo>
                    <a:pt x="302" y="38"/>
                  </a:lnTo>
                  <a:lnTo>
                    <a:pt x="300" y="38"/>
                  </a:lnTo>
                  <a:lnTo>
                    <a:pt x="300" y="40"/>
                  </a:lnTo>
                  <a:lnTo>
                    <a:pt x="300" y="38"/>
                  </a:lnTo>
                  <a:lnTo>
                    <a:pt x="302" y="38"/>
                  </a:lnTo>
                  <a:lnTo>
                    <a:pt x="302" y="40"/>
                  </a:lnTo>
                  <a:lnTo>
                    <a:pt x="302" y="42"/>
                  </a:lnTo>
                  <a:lnTo>
                    <a:pt x="300" y="42"/>
                  </a:lnTo>
                  <a:lnTo>
                    <a:pt x="302" y="42"/>
                  </a:lnTo>
                  <a:lnTo>
                    <a:pt x="300" y="42"/>
                  </a:lnTo>
                  <a:lnTo>
                    <a:pt x="298" y="42"/>
                  </a:lnTo>
                  <a:lnTo>
                    <a:pt x="298" y="44"/>
                  </a:lnTo>
                  <a:lnTo>
                    <a:pt x="298" y="46"/>
                  </a:lnTo>
                  <a:lnTo>
                    <a:pt x="300" y="46"/>
                  </a:lnTo>
                  <a:lnTo>
                    <a:pt x="298" y="46"/>
                  </a:lnTo>
                  <a:lnTo>
                    <a:pt x="298" y="48"/>
                  </a:lnTo>
                  <a:lnTo>
                    <a:pt x="298" y="50"/>
                  </a:lnTo>
                  <a:lnTo>
                    <a:pt x="300" y="50"/>
                  </a:lnTo>
                  <a:lnTo>
                    <a:pt x="300" y="48"/>
                  </a:lnTo>
                  <a:lnTo>
                    <a:pt x="300" y="46"/>
                  </a:lnTo>
                  <a:lnTo>
                    <a:pt x="302" y="46"/>
                  </a:lnTo>
                  <a:lnTo>
                    <a:pt x="300" y="46"/>
                  </a:lnTo>
                  <a:lnTo>
                    <a:pt x="302" y="46"/>
                  </a:lnTo>
                  <a:lnTo>
                    <a:pt x="300" y="46"/>
                  </a:lnTo>
                  <a:lnTo>
                    <a:pt x="302" y="46"/>
                  </a:lnTo>
                  <a:lnTo>
                    <a:pt x="300" y="46"/>
                  </a:lnTo>
                  <a:lnTo>
                    <a:pt x="300" y="48"/>
                  </a:lnTo>
                  <a:lnTo>
                    <a:pt x="302" y="48"/>
                  </a:lnTo>
                  <a:lnTo>
                    <a:pt x="302" y="46"/>
                  </a:lnTo>
                  <a:lnTo>
                    <a:pt x="302" y="48"/>
                  </a:lnTo>
                  <a:lnTo>
                    <a:pt x="302" y="46"/>
                  </a:lnTo>
                  <a:lnTo>
                    <a:pt x="302" y="48"/>
                  </a:lnTo>
                  <a:lnTo>
                    <a:pt x="300" y="48"/>
                  </a:lnTo>
                  <a:lnTo>
                    <a:pt x="300" y="50"/>
                  </a:lnTo>
                  <a:lnTo>
                    <a:pt x="300" y="48"/>
                  </a:lnTo>
                  <a:lnTo>
                    <a:pt x="300" y="50"/>
                  </a:lnTo>
                  <a:lnTo>
                    <a:pt x="302" y="50"/>
                  </a:lnTo>
                  <a:lnTo>
                    <a:pt x="304" y="50"/>
                  </a:lnTo>
                  <a:lnTo>
                    <a:pt x="304" y="48"/>
                  </a:lnTo>
                  <a:lnTo>
                    <a:pt x="304" y="46"/>
                  </a:lnTo>
                  <a:lnTo>
                    <a:pt x="304" y="44"/>
                  </a:lnTo>
                  <a:lnTo>
                    <a:pt x="306" y="44"/>
                  </a:lnTo>
                  <a:lnTo>
                    <a:pt x="306" y="42"/>
                  </a:lnTo>
                  <a:lnTo>
                    <a:pt x="307" y="42"/>
                  </a:lnTo>
                  <a:lnTo>
                    <a:pt x="307" y="40"/>
                  </a:lnTo>
                  <a:lnTo>
                    <a:pt x="307" y="38"/>
                  </a:lnTo>
                  <a:lnTo>
                    <a:pt x="307" y="40"/>
                  </a:lnTo>
                  <a:lnTo>
                    <a:pt x="306" y="40"/>
                  </a:lnTo>
                  <a:lnTo>
                    <a:pt x="306" y="38"/>
                  </a:lnTo>
                  <a:lnTo>
                    <a:pt x="306" y="37"/>
                  </a:lnTo>
                  <a:lnTo>
                    <a:pt x="307" y="37"/>
                  </a:lnTo>
                  <a:lnTo>
                    <a:pt x="307" y="35"/>
                  </a:lnTo>
                  <a:lnTo>
                    <a:pt x="307" y="37"/>
                  </a:lnTo>
                  <a:lnTo>
                    <a:pt x="307" y="35"/>
                  </a:lnTo>
                  <a:lnTo>
                    <a:pt x="309" y="35"/>
                  </a:lnTo>
                  <a:lnTo>
                    <a:pt x="309" y="33"/>
                  </a:lnTo>
                  <a:lnTo>
                    <a:pt x="309" y="31"/>
                  </a:lnTo>
                  <a:lnTo>
                    <a:pt x="311" y="31"/>
                  </a:lnTo>
                  <a:lnTo>
                    <a:pt x="311" y="29"/>
                  </a:lnTo>
                  <a:lnTo>
                    <a:pt x="313" y="29"/>
                  </a:lnTo>
                  <a:lnTo>
                    <a:pt x="313" y="27"/>
                  </a:lnTo>
                  <a:lnTo>
                    <a:pt x="313" y="25"/>
                  </a:lnTo>
                  <a:lnTo>
                    <a:pt x="315" y="25"/>
                  </a:lnTo>
                  <a:lnTo>
                    <a:pt x="315" y="23"/>
                  </a:lnTo>
                  <a:lnTo>
                    <a:pt x="315" y="21"/>
                  </a:lnTo>
                  <a:lnTo>
                    <a:pt x="317" y="21"/>
                  </a:lnTo>
                  <a:lnTo>
                    <a:pt x="317" y="19"/>
                  </a:lnTo>
                  <a:lnTo>
                    <a:pt x="317" y="17"/>
                  </a:lnTo>
                  <a:lnTo>
                    <a:pt x="319" y="17"/>
                  </a:lnTo>
                  <a:lnTo>
                    <a:pt x="319" y="15"/>
                  </a:lnTo>
                  <a:lnTo>
                    <a:pt x="319" y="13"/>
                  </a:lnTo>
                  <a:lnTo>
                    <a:pt x="321" y="13"/>
                  </a:lnTo>
                  <a:lnTo>
                    <a:pt x="321" y="12"/>
                  </a:lnTo>
                  <a:lnTo>
                    <a:pt x="323" y="12"/>
                  </a:lnTo>
                  <a:lnTo>
                    <a:pt x="325" y="12"/>
                  </a:lnTo>
                  <a:lnTo>
                    <a:pt x="325" y="10"/>
                  </a:lnTo>
                  <a:lnTo>
                    <a:pt x="325" y="12"/>
                  </a:lnTo>
                  <a:lnTo>
                    <a:pt x="325" y="10"/>
                  </a:lnTo>
                  <a:lnTo>
                    <a:pt x="325" y="12"/>
                  </a:lnTo>
                  <a:lnTo>
                    <a:pt x="325" y="13"/>
                  </a:lnTo>
                  <a:lnTo>
                    <a:pt x="325" y="15"/>
                  </a:lnTo>
                  <a:lnTo>
                    <a:pt x="323" y="15"/>
                  </a:lnTo>
                  <a:lnTo>
                    <a:pt x="325" y="15"/>
                  </a:lnTo>
                  <a:lnTo>
                    <a:pt x="325" y="17"/>
                  </a:lnTo>
                  <a:lnTo>
                    <a:pt x="325" y="15"/>
                  </a:lnTo>
                  <a:lnTo>
                    <a:pt x="325" y="17"/>
                  </a:lnTo>
                  <a:lnTo>
                    <a:pt x="325" y="19"/>
                  </a:lnTo>
                  <a:lnTo>
                    <a:pt x="325" y="21"/>
                  </a:lnTo>
                  <a:lnTo>
                    <a:pt x="323" y="21"/>
                  </a:lnTo>
                  <a:lnTo>
                    <a:pt x="323" y="23"/>
                  </a:lnTo>
                  <a:lnTo>
                    <a:pt x="321" y="23"/>
                  </a:lnTo>
                  <a:lnTo>
                    <a:pt x="319" y="23"/>
                  </a:lnTo>
                  <a:lnTo>
                    <a:pt x="321" y="23"/>
                  </a:lnTo>
                  <a:lnTo>
                    <a:pt x="319" y="23"/>
                  </a:lnTo>
                  <a:lnTo>
                    <a:pt x="319" y="25"/>
                  </a:lnTo>
                  <a:lnTo>
                    <a:pt x="321" y="25"/>
                  </a:lnTo>
                  <a:lnTo>
                    <a:pt x="321" y="23"/>
                  </a:lnTo>
                  <a:lnTo>
                    <a:pt x="321" y="25"/>
                  </a:lnTo>
                  <a:lnTo>
                    <a:pt x="321" y="23"/>
                  </a:lnTo>
                  <a:lnTo>
                    <a:pt x="323" y="23"/>
                  </a:lnTo>
                  <a:lnTo>
                    <a:pt x="323" y="25"/>
                  </a:lnTo>
                  <a:lnTo>
                    <a:pt x="323" y="23"/>
                  </a:lnTo>
                  <a:lnTo>
                    <a:pt x="323" y="25"/>
                  </a:lnTo>
                  <a:lnTo>
                    <a:pt x="323" y="23"/>
                  </a:lnTo>
                  <a:lnTo>
                    <a:pt x="323" y="25"/>
                  </a:lnTo>
                  <a:lnTo>
                    <a:pt x="323" y="27"/>
                  </a:lnTo>
                  <a:lnTo>
                    <a:pt x="323" y="29"/>
                  </a:lnTo>
                  <a:lnTo>
                    <a:pt x="323" y="31"/>
                  </a:lnTo>
                  <a:lnTo>
                    <a:pt x="323" y="33"/>
                  </a:lnTo>
                  <a:lnTo>
                    <a:pt x="323" y="35"/>
                  </a:lnTo>
                  <a:lnTo>
                    <a:pt x="321" y="35"/>
                  </a:lnTo>
                  <a:lnTo>
                    <a:pt x="323" y="35"/>
                  </a:lnTo>
                  <a:lnTo>
                    <a:pt x="321" y="35"/>
                  </a:lnTo>
                  <a:lnTo>
                    <a:pt x="323" y="35"/>
                  </a:lnTo>
                  <a:lnTo>
                    <a:pt x="321" y="35"/>
                  </a:lnTo>
                  <a:lnTo>
                    <a:pt x="321" y="37"/>
                  </a:lnTo>
                  <a:lnTo>
                    <a:pt x="323" y="37"/>
                  </a:lnTo>
                  <a:lnTo>
                    <a:pt x="321" y="37"/>
                  </a:lnTo>
                  <a:lnTo>
                    <a:pt x="321" y="38"/>
                  </a:lnTo>
                  <a:lnTo>
                    <a:pt x="323" y="38"/>
                  </a:lnTo>
                  <a:lnTo>
                    <a:pt x="321" y="38"/>
                  </a:lnTo>
                  <a:lnTo>
                    <a:pt x="323" y="38"/>
                  </a:lnTo>
                  <a:lnTo>
                    <a:pt x="323" y="37"/>
                  </a:lnTo>
                  <a:lnTo>
                    <a:pt x="323" y="35"/>
                  </a:lnTo>
                  <a:lnTo>
                    <a:pt x="325" y="35"/>
                  </a:lnTo>
                  <a:lnTo>
                    <a:pt x="325" y="33"/>
                  </a:lnTo>
                  <a:lnTo>
                    <a:pt x="327" y="33"/>
                  </a:lnTo>
                  <a:lnTo>
                    <a:pt x="327" y="31"/>
                  </a:lnTo>
                  <a:lnTo>
                    <a:pt x="327" y="33"/>
                  </a:lnTo>
                  <a:lnTo>
                    <a:pt x="329" y="33"/>
                  </a:lnTo>
                  <a:lnTo>
                    <a:pt x="327" y="33"/>
                  </a:lnTo>
                  <a:lnTo>
                    <a:pt x="329" y="33"/>
                  </a:lnTo>
                  <a:lnTo>
                    <a:pt x="330" y="33"/>
                  </a:lnTo>
                  <a:lnTo>
                    <a:pt x="329" y="33"/>
                  </a:lnTo>
                  <a:lnTo>
                    <a:pt x="329" y="31"/>
                  </a:lnTo>
                  <a:lnTo>
                    <a:pt x="329" y="29"/>
                  </a:lnTo>
                  <a:lnTo>
                    <a:pt x="329" y="27"/>
                  </a:lnTo>
                  <a:lnTo>
                    <a:pt x="330" y="27"/>
                  </a:lnTo>
                  <a:lnTo>
                    <a:pt x="332" y="27"/>
                  </a:lnTo>
                  <a:lnTo>
                    <a:pt x="330" y="27"/>
                  </a:lnTo>
                  <a:lnTo>
                    <a:pt x="330" y="25"/>
                  </a:lnTo>
                  <a:lnTo>
                    <a:pt x="330" y="23"/>
                  </a:lnTo>
                  <a:lnTo>
                    <a:pt x="330" y="25"/>
                  </a:lnTo>
                  <a:lnTo>
                    <a:pt x="330" y="23"/>
                  </a:lnTo>
                  <a:lnTo>
                    <a:pt x="332" y="23"/>
                  </a:lnTo>
                  <a:lnTo>
                    <a:pt x="332" y="25"/>
                  </a:lnTo>
                  <a:lnTo>
                    <a:pt x="332" y="23"/>
                  </a:lnTo>
                  <a:lnTo>
                    <a:pt x="330" y="23"/>
                  </a:lnTo>
                  <a:lnTo>
                    <a:pt x="330" y="21"/>
                  </a:lnTo>
                  <a:lnTo>
                    <a:pt x="330" y="19"/>
                  </a:lnTo>
                  <a:lnTo>
                    <a:pt x="330" y="21"/>
                  </a:lnTo>
                  <a:lnTo>
                    <a:pt x="332" y="21"/>
                  </a:lnTo>
                  <a:lnTo>
                    <a:pt x="334" y="21"/>
                  </a:lnTo>
                  <a:lnTo>
                    <a:pt x="334" y="19"/>
                  </a:lnTo>
                  <a:lnTo>
                    <a:pt x="332" y="19"/>
                  </a:lnTo>
                  <a:lnTo>
                    <a:pt x="332" y="17"/>
                  </a:lnTo>
                  <a:lnTo>
                    <a:pt x="334" y="17"/>
                  </a:lnTo>
                  <a:lnTo>
                    <a:pt x="336" y="17"/>
                  </a:lnTo>
                  <a:lnTo>
                    <a:pt x="338" y="17"/>
                  </a:lnTo>
                  <a:lnTo>
                    <a:pt x="340" y="17"/>
                  </a:lnTo>
                  <a:lnTo>
                    <a:pt x="338" y="17"/>
                  </a:lnTo>
                  <a:lnTo>
                    <a:pt x="336" y="17"/>
                  </a:lnTo>
                  <a:lnTo>
                    <a:pt x="336" y="15"/>
                  </a:lnTo>
                  <a:lnTo>
                    <a:pt x="336" y="13"/>
                  </a:lnTo>
                  <a:lnTo>
                    <a:pt x="334" y="13"/>
                  </a:lnTo>
                  <a:lnTo>
                    <a:pt x="334" y="15"/>
                  </a:lnTo>
                  <a:lnTo>
                    <a:pt x="334" y="13"/>
                  </a:lnTo>
                  <a:lnTo>
                    <a:pt x="334" y="15"/>
                  </a:lnTo>
                  <a:lnTo>
                    <a:pt x="334" y="13"/>
                  </a:lnTo>
                  <a:lnTo>
                    <a:pt x="334" y="15"/>
                  </a:lnTo>
                  <a:lnTo>
                    <a:pt x="334" y="13"/>
                  </a:lnTo>
                  <a:lnTo>
                    <a:pt x="334" y="12"/>
                  </a:lnTo>
                  <a:lnTo>
                    <a:pt x="334" y="13"/>
                  </a:lnTo>
                  <a:lnTo>
                    <a:pt x="332" y="13"/>
                  </a:lnTo>
                  <a:lnTo>
                    <a:pt x="330" y="13"/>
                  </a:lnTo>
                  <a:lnTo>
                    <a:pt x="330" y="12"/>
                  </a:lnTo>
                  <a:lnTo>
                    <a:pt x="330" y="10"/>
                  </a:lnTo>
                  <a:lnTo>
                    <a:pt x="332" y="10"/>
                  </a:lnTo>
                  <a:lnTo>
                    <a:pt x="332" y="12"/>
                  </a:lnTo>
                  <a:lnTo>
                    <a:pt x="334" y="12"/>
                  </a:lnTo>
                  <a:lnTo>
                    <a:pt x="332" y="12"/>
                  </a:lnTo>
                  <a:lnTo>
                    <a:pt x="332" y="10"/>
                  </a:lnTo>
                  <a:lnTo>
                    <a:pt x="334" y="10"/>
                  </a:lnTo>
                  <a:lnTo>
                    <a:pt x="332" y="10"/>
                  </a:lnTo>
                  <a:lnTo>
                    <a:pt x="332" y="8"/>
                  </a:lnTo>
                  <a:lnTo>
                    <a:pt x="334" y="8"/>
                  </a:lnTo>
                  <a:lnTo>
                    <a:pt x="336" y="8"/>
                  </a:lnTo>
                  <a:lnTo>
                    <a:pt x="336" y="10"/>
                  </a:lnTo>
                  <a:lnTo>
                    <a:pt x="336" y="12"/>
                  </a:lnTo>
                  <a:lnTo>
                    <a:pt x="336" y="10"/>
                  </a:lnTo>
                  <a:lnTo>
                    <a:pt x="336" y="8"/>
                  </a:lnTo>
                  <a:lnTo>
                    <a:pt x="338" y="8"/>
                  </a:lnTo>
                  <a:lnTo>
                    <a:pt x="336" y="8"/>
                  </a:lnTo>
                  <a:lnTo>
                    <a:pt x="338" y="8"/>
                  </a:lnTo>
                  <a:lnTo>
                    <a:pt x="336" y="8"/>
                  </a:lnTo>
                  <a:lnTo>
                    <a:pt x="336" y="6"/>
                  </a:lnTo>
                  <a:lnTo>
                    <a:pt x="336" y="4"/>
                  </a:lnTo>
                  <a:lnTo>
                    <a:pt x="338" y="4"/>
                  </a:lnTo>
                  <a:lnTo>
                    <a:pt x="340" y="4"/>
                  </a:lnTo>
                  <a:lnTo>
                    <a:pt x="340" y="6"/>
                  </a:lnTo>
                  <a:lnTo>
                    <a:pt x="338" y="6"/>
                  </a:lnTo>
                  <a:lnTo>
                    <a:pt x="340" y="6"/>
                  </a:lnTo>
                  <a:lnTo>
                    <a:pt x="340" y="8"/>
                  </a:lnTo>
                  <a:lnTo>
                    <a:pt x="340" y="6"/>
                  </a:lnTo>
                  <a:lnTo>
                    <a:pt x="340" y="8"/>
                  </a:lnTo>
                  <a:lnTo>
                    <a:pt x="342" y="8"/>
                  </a:lnTo>
                  <a:lnTo>
                    <a:pt x="340" y="8"/>
                  </a:lnTo>
                  <a:lnTo>
                    <a:pt x="342" y="8"/>
                  </a:lnTo>
                  <a:lnTo>
                    <a:pt x="340" y="8"/>
                  </a:lnTo>
                  <a:lnTo>
                    <a:pt x="342" y="8"/>
                  </a:lnTo>
                  <a:lnTo>
                    <a:pt x="340" y="8"/>
                  </a:lnTo>
                  <a:lnTo>
                    <a:pt x="342" y="8"/>
                  </a:lnTo>
                  <a:lnTo>
                    <a:pt x="340" y="8"/>
                  </a:lnTo>
                  <a:lnTo>
                    <a:pt x="342" y="8"/>
                  </a:lnTo>
                  <a:lnTo>
                    <a:pt x="340" y="8"/>
                  </a:lnTo>
                  <a:lnTo>
                    <a:pt x="342" y="8"/>
                  </a:lnTo>
                  <a:lnTo>
                    <a:pt x="342" y="6"/>
                  </a:lnTo>
                  <a:lnTo>
                    <a:pt x="344" y="6"/>
                  </a:lnTo>
                  <a:lnTo>
                    <a:pt x="342" y="6"/>
                  </a:lnTo>
                  <a:lnTo>
                    <a:pt x="344" y="6"/>
                  </a:lnTo>
                  <a:lnTo>
                    <a:pt x="342" y="6"/>
                  </a:lnTo>
                  <a:lnTo>
                    <a:pt x="344" y="6"/>
                  </a:lnTo>
                  <a:lnTo>
                    <a:pt x="342" y="6"/>
                  </a:lnTo>
                  <a:lnTo>
                    <a:pt x="344" y="6"/>
                  </a:lnTo>
                  <a:lnTo>
                    <a:pt x="342" y="6"/>
                  </a:lnTo>
                  <a:lnTo>
                    <a:pt x="344" y="6"/>
                  </a:lnTo>
                  <a:lnTo>
                    <a:pt x="344" y="8"/>
                  </a:lnTo>
                  <a:lnTo>
                    <a:pt x="344" y="6"/>
                  </a:lnTo>
                  <a:lnTo>
                    <a:pt x="346" y="6"/>
                  </a:lnTo>
                  <a:lnTo>
                    <a:pt x="346" y="4"/>
                  </a:lnTo>
                  <a:lnTo>
                    <a:pt x="346" y="6"/>
                  </a:lnTo>
                  <a:lnTo>
                    <a:pt x="348" y="6"/>
                  </a:lnTo>
                  <a:lnTo>
                    <a:pt x="348" y="8"/>
                  </a:lnTo>
                  <a:lnTo>
                    <a:pt x="346" y="8"/>
                  </a:lnTo>
                  <a:lnTo>
                    <a:pt x="346" y="10"/>
                  </a:lnTo>
                  <a:lnTo>
                    <a:pt x="346" y="8"/>
                  </a:lnTo>
                  <a:lnTo>
                    <a:pt x="346" y="10"/>
                  </a:lnTo>
                  <a:lnTo>
                    <a:pt x="346" y="12"/>
                  </a:lnTo>
                  <a:lnTo>
                    <a:pt x="346" y="10"/>
                  </a:lnTo>
                  <a:lnTo>
                    <a:pt x="348" y="10"/>
                  </a:lnTo>
                  <a:lnTo>
                    <a:pt x="350" y="10"/>
                  </a:lnTo>
                  <a:lnTo>
                    <a:pt x="352" y="10"/>
                  </a:lnTo>
                  <a:lnTo>
                    <a:pt x="352" y="12"/>
                  </a:lnTo>
                  <a:lnTo>
                    <a:pt x="352" y="13"/>
                  </a:lnTo>
                  <a:lnTo>
                    <a:pt x="350" y="13"/>
                  </a:lnTo>
                  <a:lnTo>
                    <a:pt x="348" y="13"/>
                  </a:lnTo>
                  <a:lnTo>
                    <a:pt x="350" y="13"/>
                  </a:lnTo>
                  <a:lnTo>
                    <a:pt x="350" y="15"/>
                  </a:lnTo>
                  <a:lnTo>
                    <a:pt x="348" y="15"/>
                  </a:lnTo>
                  <a:lnTo>
                    <a:pt x="350" y="15"/>
                  </a:lnTo>
                  <a:lnTo>
                    <a:pt x="350" y="17"/>
                  </a:lnTo>
                  <a:lnTo>
                    <a:pt x="348" y="17"/>
                  </a:lnTo>
                  <a:lnTo>
                    <a:pt x="348" y="15"/>
                  </a:lnTo>
                  <a:lnTo>
                    <a:pt x="346" y="15"/>
                  </a:lnTo>
                  <a:lnTo>
                    <a:pt x="346" y="17"/>
                  </a:lnTo>
                  <a:lnTo>
                    <a:pt x="346" y="15"/>
                  </a:lnTo>
                  <a:lnTo>
                    <a:pt x="348" y="17"/>
                  </a:lnTo>
                  <a:lnTo>
                    <a:pt x="348" y="19"/>
                  </a:lnTo>
                  <a:lnTo>
                    <a:pt x="346" y="19"/>
                  </a:lnTo>
                  <a:lnTo>
                    <a:pt x="346" y="17"/>
                  </a:lnTo>
                  <a:lnTo>
                    <a:pt x="346" y="19"/>
                  </a:lnTo>
                  <a:lnTo>
                    <a:pt x="346" y="17"/>
                  </a:lnTo>
                  <a:lnTo>
                    <a:pt x="344" y="17"/>
                  </a:lnTo>
                  <a:lnTo>
                    <a:pt x="346" y="17"/>
                  </a:lnTo>
                  <a:lnTo>
                    <a:pt x="344" y="17"/>
                  </a:lnTo>
                  <a:lnTo>
                    <a:pt x="344" y="19"/>
                  </a:lnTo>
                  <a:lnTo>
                    <a:pt x="344" y="17"/>
                  </a:lnTo>
                  <a:lnTo>
                    <a:pt x="342" y="17"/>
                  </a:lnTo>
                  <a:lnTo>
                    <a:pt x="344" y="17"/>
                  </a:lnTo>
                  <a:lnTo>
                    <a:pt x="342" y="17"/>
                  </a:lnTo>
                  <a:lnTo>
                    <a:pt x="342" y="19"/>
                  </a:lnTo>
                  <a:lnTo>
                    <a:pt x="342" y="17"/>
                  </a:lnTo>
                  <a:lnTo>
                    <a:pt x="340" y="17"/>
                  </a:lnTo>
                  <a:lnTo>
                    <a:pt x="340" y="19"/>
                  </a:lnTo>
                  <a:lnTo>
                    <a:pt x="340" y="17"/>
                  </a:lnTo>
                  <a:lnTo>
                    <a:pt x="340" y="19"/>
                  </a:lnTo>
                  <a:lnTo>
                    <a:pt x="342" y="19"/>
                  </a:lnTo>
                  <a:lnTo>
                    <a:pt x="340" y="19"/>
                  </a:lnTo>
                  <a:lnTo>
                    <a:pt x="340" y="21"/>
                  </a:lnTo>
                  <a:lnTo>
                    <a:pt x="340" y="19"/>
                  </a:lnTo>
                  <a:lnTo>
                    <a:pt x="342" y="19"/>
                  </a:lnTo>
                  <a:lnTo>
                    <a:pt x="344" y="19"/>
                  </a:lnTo>
                  <a:lnTo>
                    <a:pt x="344" y="21"/>
                  </a:lnTo>
                  <a:lnTo>
                    <a:pt x="344" y="19"/>
                  </a:lnTo>
                  <a:lnTo>
                    <a:pt x="346" y="19"/>
                  </a:lnTo>
                  <a:lnTo>
                    <a:pt x="346" y="21"/>
                  </a:lnTo>
                  <a:lnTo>
                    <a:pt x="344" y="21"/>
                  </a:lnTo>
                  <a:lnTo>
                    <a:pt x="344" y="23"/>
                  </a:lnTo>
                  <a:lnTo>
                    <a:pt x="342" y="23"/>
                  </a:lnTo>
                  <a:lnTo>
                    <a:pt x="342" y="25"/>
                  </a:lnTo>
                  <a:lnTo>
                    <a:pt x="340" y="25"/>
                  </a:lnTo>
                  <a:lnTo>
                    <a:pt x="338" y="25"/>
                  </a:lnTo>
                  <a:lnTo>
                    <a:pt x="338" y="27"/>
                  </a:lnTo>
                  <a:lnTo>
                    <a:pt x="340" y="27"/>
                  </a:lnTo>
                  <a:lnTo>
                    <a:pt x="340" y="25"/>
                  </a:lnTo>
                  <a:lnTo>
                    <a:pt x="342" y="25"/>
                  </a:lnTo>
                  <a:lnTo>
                    <a:pt x="340" y="25"/>
                  </a:lnTo>
                  <a:lnTo>
                    <a:pt x="342" y="25"/>
                  </a:lnTo>
                  <a:lnTo>
                    <a:pt x="344" y="25"/>
                  </a:lnTo>
                  <a:lnTo>
                    <a:pt x="344" y="23"/>
                  </a:lnTo>
                  <a:lnTo>
                    <a:pt x="346" y="23"/>
                  </a:lnTo>
                  <a:lnTo>
                    <a:pt x="346" y="21"/>
                  </a:lnTo>
                  <a:lnTo>
                    <a:pt x="348" y="21"/>
                  </a:lnTo>
                  <a:lnTo>
                    <a:pt x="348" y="23"/>
                  </a:lnTo>
                  <a:lnTo>
                    <a:pt x="348" y="25"/>
                  </a:lnTo>
                  <a:lnTo>
                    <a:pt x="348" y="27"/>
                  </a:lnTo>
                  <a:lnTo>
                    <a:pt x="346" y="27"/>
                  </a:lnTo>
                  <a:lnTo>
                    <a:pt x="346" y="29"/>
                  </a:lnTo>
                  <a:lnTo>
                    <a:pt x="344" y="29"/>
                  </a:lnTo>
                  <a:lnTo>
                    <a:pt x="344" y="31"/>
                  </a:lnTo>
                  <a:lnTo>
                    <a:pt x="342" y="31"/>
                  </a:lnTo>
                  <a:lnTo>
                    <a:pt x="340" y="33"/>
                  </a:lnTo>
                  <a:lnTo>
                    <a:pt x="340" y="31"/>
                  </a:lnTo>
                  <a:lnTo>
                    <a:pt x="340" y="33"/>
                  </a:lnTo>
                  <a:lnTo>
                    <a:pt x="342" y="33"/>
                  </a:lnTo>
                  <a:lnTo>
                    <a:pt x="340" y="33"/>
                  </a:lnTo>
                  <a:lnTo>
                    <a:pt x="342" y="33"/>
                  </a:lnTo>
                  <a:lnTo>
                    <a:pt x="340" y="33"/>
                  </a:lnTo>
                  <a:lnTo>
                    <a:pt x="340" y="35"/>
                  </a:lnTo>
                  <a:lnTo>
                    <a:pt x="342" y="35"/>
                  </a:lnTo>
                  <a:lnTo>
                    <a:pt x="342" y="33"/>
                  </a:lnTo>
                  <a:lnTo>
                    <a:pt x="342" y="31"/>
                  </a:lnTo>
                  <a:lnTo>
                    <a:pt x="344" y="31"/>
                  </a:lnTo>
                  <a:lnTo>
                    <a:pt x="342" y="31"/>
                  </a:lnTo>
                  <a:lnTo>
                    <a:pt x="342" y="33"/>
                  </a:lnTo>
                  <a:lnTo>
                    <a:pt x="344" y="33"/>
                  </a:lnTo>
                  <a:lnTo>
                    <a:pt x="342" y="33"/>
                  </a:lnTo>
                  <a:lnTo>
                    <a:pt x="344" y="33"/>
                  </a:lnTo>
                  <a:lnTo>
                    <a:pt x="344" y="31"/>
                  </a:lnTo>
                  <a:lnTo>
                    <a:pt x="344" y="33"/>
                  </a:lnTo>
                  <a:lnTo>
                    <a:pt x="344" y="31"/>
                  </a:lnTo>
                  <a:lnTo>
                    <a:pt x="346" y="31"/>
                  </a:lnTo>
                  <a:lnTo>
                    <a:pt x="346" y="33"/>
                  </a:lnTo>
                  <a:lnTo>
                    <a:pt x="344" y="33"/>
                  </a:lnTo>
                  <a:lnTo>
                    <a:pt x="344" y="35"/>
                  </a:lnTo>
                  <a:lnTo>
                    <a:pt x="344" y="33"/>
                  </a:lnTo>
                  <a:lnTo>
                    <a:pt x="346" y="33"/>
                  </a:lnTo>
                  <a:lnTo>
                    <a:pt x="346" y="31"/>
                  </a:lnTo>
                  <a:lnTo>
                    <a:pt x="348" y="31"/>
                  </a:lnTo>
                  <a:lnTo>
                    <a:pt x="350" y="31"/>
                  </a:lnTo>
                  <a:lnTo>
                    <a:pt x="348" y="31"/>
                  </a:lnTo>
                  <a:lnTo>
                    <a:pt x="348" y="33"/>
                  </a:lnTo>
                  <a:lnTo>
                    <a:pt x="348" y="35"/>
                  </a:lnTo>
                  <a:lnTo>
                    <a:pt x="346" y="35"/>
                  </a:lnTo>
                  <a:lnTo>
                    <a:pt x="348" y="35"/>
                  </a:lnTo>
                  <a:lnTo>
                    <a:pt x="348" y="33"/>
                  </a:lnTo>
                  <a:lnTo>
                    <a:pt x="350" y="33"/>
                  </a:lnTo>
                  <a:lnTo>
                    <a:pt x="350" y="31"/>
                  </a:lnTo>
                  <a:lnTo>
                    <a:pt x="350" y="33"/>
                  </a:lnTo>
                  <a:lnTo>
                    <a:pt x="350" y="31"/>
                  </a:lnTo>
                  <a:lnTo>
                    <a:pt x="350" y="33"/>
                  </a:lnTo>
                  <a:lnTo>
                    <a:pt x="352" y="33"/>
                  </a:lnTo>
                  <a:lnTo>
                    <a:pt x="352" y="35"/>
                  </a:lnTo>
                  <a:lnTo>
                    <a:pt x="352" y="33"/>
                  </a:lnTo>
                  <a:lnTo>
                    <a:pt x="352" y="35"/>
                  </a:lnTo>
                  <a:lnTo>
                    <a:pt x="352" y="33"/>
                  </a:lnTo>
                  <a:lnTo>
                    <a:pt x="350" y="33"/>
                  </a:lnTo>
                  <a:lnTo>
                    <a:pt x="352" y="33"/>
                  </a:lnTo>
                  <a:lnTo>
                    <a:pt x="352" y="31"/>
                  </a:lnTo>
                  <a:lnTo>
                    <a:pt x="350" y="31"/>
                  </a:lnTo>
                  <a:lnTo>
                    <a:pt x="350" y="29"/>
                  </a:lnTo>
                  <a:lnTo>
                    <a:pt x="350" y="27"/>
                  </a:lnTo>
                  <a:lnTo>
                    <a:pt x="350" y="25"/>
                  </a:lnTo>
                  <a:lnTo>
                    <a:pt x="352" y="25"/>
                  </a:lnTo>
                  <a:lnTo>
                    <a:pt x="352" y="23"/>
                  </a:lnTo>
                  <a:lnTo>
                    <a:pt x="353" y="23"/>
                  </a:lnTo>
                  <a:lnTo>
                    <a:pt x="352" y="23"/>
                  </a:lnTo>
                  <a:lnTo>
                    <a:pt x="352" y="21"/>
                  </a:lnTo>
                  <a:lnTo>
                    <a:pt x="352" y="19"/>
                  </a:lnTo>
                  <a:lnTo>
                    <a:pt x="353" y="19"/>
                  </a:lnTo>
                  <a:lnTo>
                    <a:pt x="353" y="17"/>
                  </a:lnTo>
                  <a:lnTo>
                    <a:pt x="353" y="15"/>
                  </a:lnTo>
                  <a:lnTo>
                    <a:pt x="355" y="15"/>
                  </a:lnTo>
                  <a:lnTo>
                    <a:pt x="357" y="15"/>
                  </a:lnTo>
                  <a:lnTo>
                    <a:pt x="357" y="13"/>
                  </a:lnTo>
                  <a:lnTo>
                    <a:pt x="357" y="15"/>
                  </a:lnTo>
                  <a:lnTo>
                    <a:pt x="357" y="13"/>
                  </a:lnTo>
                  <a:lnTo>
                    <a:pt x="357" y="15"/>
                  </a:lnTo>
                  <a:lnTo>
                    <a:pt x="359" y="15"/>
                  </a:lnTo>
                  <a:lnTo>
                    <a:pt x="361" y="15"/>
                  </a:lnTo>
                  <a:lnTo>
                    <a:pt x="361" y="17"/>
                  </a:lnTo>
                  <a:lnTo>
                    <a:pt x="361" y="19"/>
                  </a:lnTo>
                  <a:lnTo>
                    <a:pt x="363" y="19"/>
                  </a:lnTo>
                  <a:lnTo>
                    <a:pt x="363" y="21"/>
                  </a:lnTo>
                  <a:lnTo>
                    <a:pt x="361" y="21"/>
                  </a:lnTo>
                  <a:lnTo>
                    <a:pt x="363" y="21"/>
                  </a:lnTo>
                  <a:lnTo>
                    <a:pt x="365" y="21"/>
                  </a:lnTo>
                  <a:lnTo>
                    <a:pt x="363" y="21"/>
                  </a:lnTo>
                  <a:lnTo>
                    <a:pt x="363" y="23"/>
                  </a:lnTo>
                  <a:lnTo>
                    <a:pt x="361" y="23"/>
                  </a:lnTo>
                  <a:lnTo>
                    <a:pt x="363" y="23"/>
                  </a:lnTo>
                  <a:lnTo>
                    <a:pt x="363" y="25"/>
                  </a:lnTo>
                  <a:lnTo>
                    <a:pt x="361" y="25"/>
                  </a:lnTo>
                  <a:lnTo>
                    <a:pt x="363" y="25"/>
                  </a:lnTo>
                  <a:lnTo>
                    <a:pt x="363" y="23"/>
                  </a:lnTo>
                  <a:lnTo>
                    <a:pt x="365" y="23"/>
                  </a:lnTo>
                  <a:lnTo>
                    <a:pt x="367" y="23"/>
                  </a:lnTo>
                  <a:lnTo>
                    <a:pt x="367" y="21"/>
                  </a:lnTo>
                  <a:lnTo>
                    <a:pt x="369" y="21"/>
                  </a:lnTo>
                  <a:lnTo>
                    <a:pt x="371" y="21"/>
                  </a:lnTo>
                  <a:lnTo>
                    <a:pt x="369" y="21"/>
                  </a:lnTo>
                  <a:lnTo>
                    <a:pt x="369" y="23"/>
                  </a:lnTo>
                  <a:lnTo>
                    <a:pt x="371" y="23"/>
                  </a:lnTo>
                  <a:lnTo>
                    <a:pt x="369" y="23"/>
                  </a:lnTo>
                  <a:lnTo>
                    <a:pt x="371" y="23"/>
                  </a:lnTo>
                  <a:lnTo>
                    <a:pt x="369" y="23"/>
                  </a:lnTo>
                  <a:lnTo>
                    <a:pt x="369" y="25"/>
                  </a:lnTo>
                  <a:lnTo>
                    <a:pt x="369" y="27"/>
                  </a:lnTo>
                  <a:lnTo>
                    <a:pt x="369" y="25"/>
                  </a:lnTo>
                  <a:lnTo>
                    <a:pt x="371" y="25"/>
                  </a:lnTo>
                  <a:lnTo>
                    <a:pt x="371" y="23"/>
                  </a:lnTo>
                  <a:lnTo>
                    <a:pt x="373" y="23"/>
                  </a:lnTo>
                  <a:lnTo>
                    <a:pt x="373" y="21"/>
                  </a:lnTo>
                  <a:lnTo>
                    <a:pt x="373" y="23"/>
                  </a:lnTo>
                  <a:lnTo>
                    <a:pt x="373" y="21"/>
                  </a:lnTo>
                  <a:lnTo>
                    <a:pt x="373" y="23"/>
                  </a:lnTo>
                  <a:lnTo>
                    <a:pt x="375" y="23"/>
                  </a:lnTo>
                  <a:lnTo>
                    <a:pt x="377" y="23"/>
                  </a:lnTo>
                  <a:lnTo>
                    <a:pt x="375" y="23"/>
                  </a:lnTo>
                  <a:lnTo>
                    <a:pt x="375" y="25"/>
                  </a:lnTo>
                  <a:lnTo>
                    <a:pt x="377" y="25"/>
                  </a:lnTo>
                  <a:lnTo>
                    <a:pt x="377" y="27"/>
                  </a:lnTo>
                  <a:lnTo>
                    <a:pt x="378" y="27"/>
                  </a:lnTo>
                  <a:lnTo>
                    <a:pt x="377" y="27"/>
                  </a:lnTo>
                  <a:lnTo>
                    <a:pt x="377" y="29"/>
                  </a:lnTo>
                  <a:lnTo>
                    <a:pt x="375" y="29"/>
                  </a:lnTo>
                  <a:lnTo>
                    <a:pt x="375" y="31"/>
                  </a:lnTo>
                  <a:lnTo>
                    <a:pt x="373" y="31"/>
                  </a:lnTo>
                  <a:lnTo>
                    <a:pt x="373" y="29"/>
                  </a:lnTo>
                  <a:lnTo>
                    <a:pt x="373" y="31"/>
                  </a:lnTo>
                  <a:lnTo>
                    <a:pt x="375" y="31"/>
                  </a:lnTo>
                  <a:lnTo>
                    <a:pt x="377" y="31"/>
                  </a:lnTo>
                  <a:lnTo>
                    <a:pt x="377" y="29"/>
                  </a:lnTo>
                  <a:lnTo>
                    <a:pt x="378" y="29"/>
                  </a:lnTo>
                  <a:lnTo>
                    <a:pt x="380" y="29"/>
                  </a:lnTo>
                  <a:lnTo>
                    <a:pt x="382" y="29"/>
                  </a:lnTo>
                  <a:lnTo>
                    <a:pt x="380" y="29"/>
                  </a:lnTo>
                  <a:lnTo>
                    <a:pt x="382" y="29"/>
                  </a:lnTo>
                  <a:lnTo>
                    <a:pt x="382" y="31"/>
                  </a:lnTo>
                  <a:lnTo>
                    <a:pt x="380" y="31"/>
                  </a:lnTo>
                  <a:lnTo>
                    <a:pt x="382" y="31"/>
                  </a:lnTo>
                  <a:lnTo>
                    <a:pt x="382" y="33"/>
                  </a:lnTo>
                  <a:lnTo>
                    <a:pt x="382" y="31"/>
                  </a:lnTo>
                  <a:lnTo>
                    <a:pt x="382" y="33"/>
                  </a:lnTo>
                  <a:lnTo>
                    <a:pt x="384" y="33"/>
                  </a:lnTo>
                  <a:lnTo>
                    <a:pt x="384" y="35"/>
                  </a:lnTo>
                  <a:lnTo>
                    <a:pt x="382" y="35"/>
                  </a:lnTo>
                  <a:lnTo>
                    <a:pt x="384" y="35"/>
                  </a:lnTo>
                  <a:lnTo>
                    <a:pt x="386" y="35"/>
                  </a:lnTo>
                  <a:lnTo>
                    <a:pt x="386" y="33"/>
                  </a:lnTo>
                  <a:lnTo>
                    <a:pt x="386" y="35"/>
                  </a:lnTo>
                  <a:lnTo>
                    <a:pt x="386" y="33"/>
                  </a:lnTo>
                  <a:lnTo>
                    <a:pt x="386" y="35"/>
                  </a:lnTo>
                  <a:lnTo>
                    <a:pt x="386" y="33"/>
                  </a:lnTo>
                  <a:lnTo>
                    <a:pt x="386" y="35"/>
                  </a:lnTo>
                  <a:lnTo>
                    <a:pt x="386" y="33"/>
                  </a:lnTo>
                  <a:lnTo>
                    <a:pt x="386" y="35"/>
                  </a:lnTo>
                  <a:lnTo>
                    <a:pt x="388" y="35"/>
                  </a:lnTo>
                  <a:lnTo>
                    <a:pt x="388" y="37"/>
                  </a:lnTo>
                  <a:lnTo>
                    <a:pt x="388" y="38"/>
                  </a:lnTo>
                  <a:lnTo>
                    <a:pt x="388" y="40"/>
                  </a:lnTo>
                  <a:lnTo>
                    <a:pt x="386" y="40"/>
                  </a:lnTo>
                  <a:lnTo>
                    <a:pt x="386" y="42"/>
                  </a:lnTo>
                  <a:lnTo>
                    <a:pt x="386" y="40"/>
                  </a:lnTo>
                  <a:lnTo>
                    <a:pt x="386" y="42"/>
                  </a:lnTo>
                  <a:lnTo>
                    <a:pt x="386" y="40"/>
                  </a:lnTo>
                  <a:lnTo>
                    <a:pt x="386" y="42"/>
                  </a:lnTo>
                  <a:lnTo>
                    <a:pt x="384" y="42"/>
                  </a:lnTo>
                  <a:lnTo>
                    <a:pt x="382" y="42"/>
                  </a:lnTo>
                  <a:lnTo>
                    <a:pt x="380" y="42"/>
                  </a:lnTo>
                  <a:lnTo>
                    <a:pt x="380" y="44"/>
                  </a:lnTo>
                  <a:lnTo>
                    <a:pt x="378" y="44"/>
                  </a:lnTo>
                  <a:lnTo>
                    <a:pt x="378" y="46"/>
                  </a:lnTo>
                  <a:lnTo>
                    <a:pt x="377" y="46"/>
                  </a:lnTo>
                  <a:lnTo>
                    <a:pt x="378" y="46"/>
                  </a:lnTo>
                  <a:lnTo>
                    <a:pt x="378" y="48"/>
                  </a:lnTo>
                  <a:lnTo>
                    <a:pt x="377" y="48"/>
                  </a:lnTo>
                  <a:lnTo>
                    <a:pt x="375" y="48"/>
                  </a:lnTo>
                  <a:lnTo>
                    <a:pt x="375" y="50"/>
                  </a:lnTo>
                  <a:lnTo>
                    <a:pt x="373" y="50"/>
                  </a:lnTo>
                  <a:lnTo>
                    <a:pt x="371" y="50"/>
                  </a:lnTo>
                  <a:lnTo>
                    <a:pt x="369" y="50"/>
                  </a:lnTo>
                  <a:lnTo>
                    <a:pt x="367" y="50"/>
                  </a:lnTo>
                  <a:lnTo>
                    <a:pt x="367" y="48"/>
                  </a:lnTo>
                  <a:lnTo>
                    <a:pt x="365" y="48"/>
                  </a:lnTo>
                  <a:lnTo>
                    <a:pt x="365" y="50"/>
                  </a:lnTo>
                  <a:lnTo>
                    <a:pt x="365" y="48"/>
                  </a:lnTo>
                  <a:lnTo>
                    <a:pt x="363" y="48"/>
                  </a:lnTo>
                  <a:lnTo>
                    <a:pt x="361" y="48"/>
                  </a:lnTo>
                  <a:lnTo>
                    <a:pt x="359" y="48"/>
                  </a:lnTo>
                  <a:lnTo>
                    <a:pt x="357" y="48"/>
                  </a:lnTo>
                  <a:lnTo>
                    <a:pt x="357" y="46"/>
                  </a:lnTo>
                  <a:lnTo>
                    <a:pt x="355" y="46"/>
                  </a:lnTo>
                  <a:lnTo>
                    <a:pt x="353" y="46"/>
                  </a:lnTo>
                  <a:lnTo>
                    <a:pt x="352" y="46"/>
                  </a:lnTo>
                  <a:lnTo>
                    <a:pt x="353" y="46"/>
                  </a:lnTo>
                  <a:lnTo>
                    <a:pt x="355" y="46"/>
                  </a:lnTo>
                  <a:lnTo>
                    <a:pt x="353" y="46"/>
                  </a:lnTo>
                  <a:lnTo>
                    <a:pt x="353" y="48"/>
                  </a:lnTo>
                  <a:lnTo>
                    <a:pt x="352" y="48"/>
                  </a:lnTo>
                  <a:lnTo>
                    <a:pt x="353" y="48"/>
                  </a:lnTo>
                  <a:lnTo>
                    <a:pt x="355" y="48"/>
                  </a:lnTo>
                  <a:lnTo>
                    <a:pt x="355" y="50"/>
                  </a:lnTo>
                  <a:lnTo>
                    <a:pt x="353" y="50"/>
                  </a:lnTo>
                  <a:lnTo>
                    <a:pt x="355" y="50"/>
                  </a:lnTo>
                  <a:lnTo>
                    <a:pt x="353" y="50"/>
                  </a:lnTo>
                  <a:lnTo>
                    <a:pt x="353" y="48"/>
                  </a:lnTo>
                  <a:lnTo>
                    <a:pt x="353" y="50"/>
                  </a:lnTo>
                  <a:lnTo>
                    <a:pt x="355" y="50"/>
                  </a:lnTo>
                  <a:lnTo>
                    <a:pt x="357" y="50"/>
                  </a:lnTo>
                  <a:lnTo>
                    <a:pt x="359" y="50"/>
                  </a:lnTo>
                  <a:lnTo>
                    <a:pt x="359" y="52"/>
                  </a:lnTo>
                  <a:lnTo>
                    <a:pt x="361" y="52"/>
                  </a:lnTo>
                  <a:lnTo>
                    <a:pt x="359" y="52"/>
                  </a:lnTo>
                  <a:lnTo>
                    <a:pt x="361" y="52"/>
                  </a:lnTo>
                  <a:lnTo>
                    <a:pt x="363" y="52"/>
                  </a:lnTo>
                  <a:lnTo>
                    <a:pt x="365" y="52"/>
                  </a:lnTo>
                  <a:lnTo>
                    <a:pt x="365" y="54"/>
                  </a:lnTo>
                  <a:lnTo>
                    <a:pt x="365" y="52"/>
                  </a:lnTo>
                  <a:lnTo>
                    <a:pt x="365" y="54"/>
                  </a:lnTo>
                  <a:lnTo>
                    <a:pt x="367" y="54"/>
                  </a:lnTo>
                  <a:lnTo>
                    <a:pt x="367" y="56"/>
                  </a:lnTo>
                  <a:lnTo>
                    <a:pt x="365" y="56"/>
                  </a:lnTo>
                  <a:lnTo>
                    <a:pt x="365" y="58"/>
                  </a:lnTo>
                  <a:lnTo>
                    <a:pt x="363" y="58"/>
                  </a:lnTo>
                  <a:lnTo>
                    <a:pt x="365" y="58"/>
                  </a:lnTo>
                  <a:lnTo>
                    <a:pt x="363" y="58"/>
                  </a:lnTo>
                  <a:lnTo>
                    <a:pt x="363" y="60"/>
                  </a:lnTo>
                  <a:lnTo>
                    <a:pt x="365" y="60"/>
                  </a:lnTo>
                  <a:lnTo>
                    <a:pt x="365" y="58"/>
                  </a:lnTo>
                  <a:lnTo>
                    <a:pt x="365" y="56"/>
                  </a:lnTo>
                  <a:lnTo>
                    <a:pt x="367" y="56"/>
                  </a:lnTo>
                  <a:lnTo>
                    <a:pt x="367" y="58"/>
                  </a:lnTo>
                  <a:lnTo>
                    <a:pt x="367" y="56"/>
                  </a:lnTo>
                  <a:lnTo>
                    <a:pt x="367" y="58"/>
                  </a:lnTo>
                  <a:lnTo>
                    <a:pt x="367" y="56"/>
                  </a:lnTo>
                  <a:lnTo>
                    <a:pt x="367" y="58"/>
                  </a:lnTo>
                  <a:lnTo>
                    <a:pt x="369" y="58"/>
                  </a:lnTo>
                  <a:lnTo>
                    <a:pt x="369" y="56"/>
                  </a:lnTo>
                  <a:lnTo>
                    <a:pt x="369" y="58"/>
                  </a:lnTo>
                  <a:lnTo>
                    <a:pt x="369" y="56"/>
                  </a:lnTo>
                  <a:lnTo>
                    <a:pt x="369" y="58"/>
                  </a:lnTo>
                  <a:lnTo>
                    <a:pt x="369" y="60"/>
                  </a:lnTo>
                  <a:lnTo>
                    <a:pt x="369" y="61"/>
                  </a:lnTo>
                  <a:lnTo>
                    <a:pt x="369" y="63"/>
                  </a:lnTo>
                  <a:lnTo>
                    <a:pt x="367" y="63"/>
                  </a:lnTo>
                  <a:lnTo>
                    <a:pt x="367" y="65"/>
                  </a:lnTo>
                  <a:lnTo>
                    <a:pt x="365" y="65"/>
                  </a:lnTo>
                  <a:lnTo>
                    <a:pt x="363" y="65"/>
                  </a:lnTo>
                  <a:lnTo>
                    <a:pt x="365" y="65"/>
                  </a:lnTo>
                  <a:lnTo>
                    <a:pt x="365" y="67"/>
                  </a:lnTo>
                  <a:lnTo>
                    <a:pt x="367" y="67"/>
                  </a:lnTo>
                  <a:lnTo>
                    <a:pt x="367" y="65"/>
                  </a:lnTo>
                  <a:lnTo>
                    <a:pt x="367" y="63"/>
                  </a:lnTo>
                  <a:lnTo>
                    <a:pt x="369" y="63"/>
                  </a:lnTo>
                  <a:lnTo>
                    <a:pt x="371" y="63"/>
                  </a:lnTo>
                  <a:lnTo>
                    <a:pt x="371" y="65"/>
                  </a:lnTo>
                  <a:lnTo>
                    <a:pt x="371" y="63"/>
                  </a:lnTo>
                  <a:lnTo>
                    <a:pt x="373" y="63"/>
                  </a:lnTo>
                  <a:lnTo>
                    <a:pt x="373" y="61"/>
                  </a:lnTo>
                  <a:lnTo>
                    <a:pt x="373" y="63"/>
                  </a:lnTo>
                  <a:lnTo>
                    <a:pt x="373" y="61"/>
                  </a:lnTo>
                  <a:lnTo>
                    <a:pt x="373" y="63"/>
                  </a:lnTo>
                  <a:lnTo>
                    <a:pt x="375" y="63"/>
                  </a:lnTo>
                  <a:lnTo>
                    <a:pt x="373" y="63"/>
                  </a:lnTo>
                  <a:lnTo>
                    <a:pt x="373" y="65"/>
                  </a:lnTo>
                  <a:lnTo>
                    <a:pt x="371" y="65"/>
                  </a:lnTo>
                  <a:lnTo>
                    <a:pt x="371" y="67"/>
                  </a:lnTo>
                  <a:lnTo>
                    <a:pt x="371" y="69"/>
                  </a:lnTo>
                  <a:lnTo>
                    <a:pt x="373" y="69"/>
                  </a:lnTo>
                  <a:lnTo>
                    <a:pt x="373" y="71"/>
                  </a:lnTo>
                  <a:lnTo>
                    <a:pt x="373" y="69"/>
                  </a:lnTo>
                  <a:lnTo>
                    <a:pt x="373" y="67"/>
                  </a:lnTo>
                  <a:lnTo>
                    <a:pt x="371" y="67"/>
                  </a:lnTo>
                  <a:lnTo>
                    <a:pt x="371" y="65"/>
                  </a:lnTo>
                  <a:lnTo>
                    <a:pt x="373" y="65"/>
                  </a:lnTo>
                  <a:lnTo>
                    <a:pt x="375" y="65"/>
                  </a:lnTo>
                  <a:lnTo>
                    <a:pt x="375" y="67"/>
                  </a:lnTo>
                  <a:lnTo>
                    <a:pt x="375" y="65"/>
                  </a:lnTo>
                  <a:lnTo>
                    <a:pt x="375" y="63"/>
                  </a:lnTo>
                  <a:lnTo>
                    <a:pt x="377" y="63"/>
                  </a:lnTo>
                  <a:lnTo>
                    <a:pt x="375" y="63"/>
                  </a:lnTo>
                  <a:lnTo>
                    <a:pt x="377" y="63"/>
                  </a:lnTo>
                  <a:lnTo>
                    <a:pt x="375" y="63"/>
                  </a:lnTo>
                  <a:lnTo>
                    <a:pt x="377" y="61"/>
                  </a:lnTo>
                  <a:lnTo>
                    <a:pt x="375" y="61"/>
                  </a:lnTo>
                  <a:lnTo>
                    <a:pt x="375" y="60"/>
                  </a:lnTo>
                  <a:lnTo>
                    <a:pt x="375" y="58"/>
                  </a:lnTo>
                  <a:lnTo>
                    <a:pt x="377" y="58"/>
                  </a:lnTo>
                  <a:lnTo>
                    <a:pt x="377" y="60"/>
                  </a:lnTo>
                  <a:lnTo>
                    <a:pt x="378" y="60"/>
                  </a:lnTo>
                  <a:lnTo>
                    <a:pt x="377" y="60"/>
                  </a:lnTo>
                  <a:lnTo>
                    <a:pt x="378" y="60"/>
                  </a:lnTo>
                  <a:lnTo>
                    <a:pt x="378" y="61"/>
                  </a:lnTo>
                  <a:lnTo>
                    <a:pt x="378" y="63"/>
                  </a:lnTo>
                  <a:lnTo>
                    <a:pt x="378" y="65"/>
                  </a:lnTo>
                  <a:lnTo>
                    <a:pt x="378" y="67"/>
                  </a:lnTo>
                  <a:lnTo>
                    <a:pt x="377" y="67"/>
                  </a:lnTo>
                  <a:lnTo>
                    <a:pt x="378" y="67"/>
                  </a:lnTo>
                  <a:lnTo>
                    <a:pt x="378" y="65"/>
                  </a:lnTo>
                  <a:lnTo>
                    <a:pt x="378" y="63"/>
                  </a:lnTo>
                  <a:lnTo>
                    <a:pt x="380" y="63"/>
                  </a:lnTo>
                  <a:lnTo>
                    <a:pt x="378" y="63"/>
                  </a:lnTo>
                  <a:lnTo>
                    <a:pt x="378" y="61"/>
                  </a:lnTo>
                  <a:lnTo>
                    <a:pt x="380" y="61"/>
                  </a:lnTo>
                  <a:lnTo>
                    <a:pt x="380" y="60"/>
                  </a:lnTo>
                  <a:lnTo>
                    <a:pt x="380" y="61"/>
                  </a:lnTo>
                  <a:lnTo>
                    <a:pt x="382" y="61"/>
                  </a:lnTo>
                  <a:lnTo>
                    <a:pt x="380" y="61"/>
                  </a:lnTo>
                  <a:lnTo>
                    <a:pt x="382" y="61"/>
                  </a:lnTo>
                  <a:lnTo>
                    <a:pt x="384" y="61"/>
                  </a:lnTo>
                  <a:lnTo>
                    <a:pt x="382" y="61"/>
                  </a:lnTo>
                  <a:lnTo>
                    <a:pt x="384" y="61"/>
                  </a:lnTo>
                  <a:lnTo>
                    <a:pt x="382" y="61"/>
                  </a:lnTo>
                  <a:lnTo>
                    <a:pt x="384" y="61"/>
                  </a:lnTo>
                  <a:lnTo>
                    <a:pt x="382" y="61"/>
                  </a:lnTo>
                  <a:lnTo>
                    <a:pt x="382" y="63"/>
                  </a:lnTo>
                  <a:lnTo>
                    <a:pt x="384" y="63"/>
                  </a:lnTo>
                  <a:lnTo>
                    <a:pt x="384" y="61"/>
                  </a:lnTo>
                  <a:lnTo>
                    <a:pt x="384" y="63"/>
                  </a:lnTo>
                  <a:lnTo>
                    <a:pt x="386" y="63"/>
                  </a:lnTo>
                  <a:lnTo>
                    <a:pt x="384" y="63"/>
                  </a:lnTo>
                  <a:lnTo>
                    <a:pt x="386" y="63"/>
                  </a:lnTo>
                  <a:lnTo>
                    <a:pt x="384" y="63"/>
                  </a:lnTo>
                  <a:lnTo>
                    <a:pt x="386" y="63"/>
                  </a:lnTo>
                  <a:lnTo>
                    <a:pt x="386" y="65"/>
                  </a:lnTo>
                  <a:lnTo>
                    <a:pt x="386" y="67"/>
                  </a:lnTo>
                  <a:lnTo>
                    <a:pt x="386" y="69"/>
                  </a:lnTo>
                  <a:lnTo>
                    <a:pt x="386" y="71"/>
                  </a:lnTo>
                  <a:lnTo>
                    <a:pt x="386" y="73"/>
                  </a:lnTo>
                  <a:lnTo>
                    <a:pt x="384" y="73"/>
                  </a:lnTo>
                  <a:lnTo>
                    <a:pt x="382" y="73"/>
                  </a:lnTo>
                  <a:lnTo>
                    <a:pt x="380" y="73"/>
                  </a:lnTo>
                  <a:lnTo>
                    <a:pt x="380" y="71"/>
                  </a:lnTo>
                  <a:lnTo>
                    <a:pt x="378" y="71"/>
                  </a:lnTo>
                  <a:lnTo>
                    <a:pt x="378" y="69"/>
                  </a:lnTo>
                  <a:lnTo>
                    <a:pt x="377" y="69"/>
                  </a:lnTo>
                  <a:lnTo>
                    <a:pt x="377" y="67"/>
                  </a:lnTo>
                  <a:lnTo>
                    <a:pt x="375" y="67"/>
                  </a:lnTo>
                  <a:lnTo>
                    <a:pt x="375" y="69"/>
                  </a:lnTo>
                  <a:lnTo>
                    <a:pt x="375" y="71"/>
                  </a:lnTo>
                  <a:lnTo>
                    <a:pt x="375" y="73"/>
                  </a:lnTo>
                  <a:lnTo>
                    <a:pt x="375" y="75"/>
                  </a:lnTo>
                  <a:lnTo>
                    <a:pt x="375" y="77"/>
                  </a:lnTo>
                  <a:lnTo>
                    <a:pt x="373" y="77"/>
                  </a:lnTo>
                  <a:lnTo>
                    <a:pt x="373" y="79"/>
                  </a:lnTo>
                  <a:lnTo>
                    <a:pt x="371" y="79"/>
                  </a:lnTo>
                  <a:lnTo>
                    <a:pt x="373" y="79"/>
                  </a:lnTo>
                  <a:lnTo>
                    <a:pt x="371" y="77"/>
                  </a:lnTo>
                  <a:lnTo>
                    <a:pt x="371" y="79"/>
                  </a:lnTo>
                  <a:lnTo>
                    <a:pt x="369" y="79"/>
                  </a:lnTo>
                  <a:lnTo>
                    <a:pt x="369" y="81"/>
                  </a:lnTo>
                  <a:lnTo>
                    <a:pt x="367" y="81"/>
                  </a:lnTo>
                  <a:lnTo>
                    <a:pt x="367" y="83"/>
                  </a:lnTo>
                  <a:lnTo>
                    <a:pt x="365" y="83"/>
                  </a:lnTo>
                  <a:lnTo>
                    <a:pt x="365" y="81"/>
                  </a:lnTo>
                  <a:lnTo>
                    <a:pt x="365" y="83"/>
                  </a:lnTo>
                  <a:lnTo>
                    <a:pt x="363" y="81"/>
                  </a:lnTo>
                  <a:lnTo>
                    <a:pt x="363" y="83"/>
                  </a:lnTo>
                  <a:lnTo>
                    <a:pt x="361" y="83"/>
                  </a:lnTo>
                  <a:lnTo>
                    <a:pt x="361" y="85"/>
                  </a:lnTo>
                  <a:lnTo>
                    <a:pt x="363" y="85"/>
                  </a:lnTo>
                  <a:lnTo>
                    <a:pt x="361" y="85"/>
                  </a:lnTo>
                  <a:lnTo>
                    <a:pt x="363" y="85"/>
                  </a:lnTo>
                  <a:lnTo>
                    <a:pt x="363" y="86"/>
                  </a:lnTo>
                  <a:lnTo>
                    <a:pt x="363" y="88"/>
                  </a:lnTo>
                  <a:lnTo>
                    <a:pt x="361" y="88"/>
                  </a:lnTo>
                  <a:lnTo>
                    <a:pt x="361" y="90"/>
                  </a:lnTo>
                  <a:lnTo>
                    <a:pt x="361" y="92"/>
                  </a:lnTo>
                  <a:lnTo>
                    <a:pt x="359" y="92"/>
                  </a:lnTo>
                  <a:lnTo>
                    <a:pt x="359" y="94"/>
                  </a:lnTo>
                  <a:lnTo>
                    <a:pt x="357" y="94"/>
                  </a:lnTo>
                  <a:lnTo>
                    <a:pt x="357" y="92"/>
                  </a:lnTo>
                  <a:lnTo>
                    <a:pt x="355" y="92"/>
                  </a:lnTo>
                  <a:lnTo>
                    <a:pt x="355" y="90"/>
                  </a:lnTo>
                  <a:lnTo>
                    <a:pt x="355" y="88"/>
                  </a:lnTo>
                  <a:lnTo>
                    <a:pt x="355" y="86"/>
                  </a:lnTo>
                  <a:lnTo>
                    <a:pt x="355" y="85"/>
                  </a:lnTo>
                  <a:lnTo>
                    <a:pt x="357" y="85"/>
                  </a:lnTo>
                  <a:lnTo>
                    <a:pt x="359" y="81"/>
                  </a:lnTo>
                  <a:lnTo>
                    <a:pt x="361" y="79"/>
                  </a:lnTo>
                  <a:lnTo>
                    <a:pt x="363" y="77"/>
                  </a:lnTo>
                  <a:lnTo>
                    <a:pt x="363" y="75"/>
                  </a:lnTo>
                  <a:lnTo>
                    <a:pt x="363" y="73"/>
                  </a:lnTo>
                  <a:lnTo>
                    <a:pt x="361" y="71"/>
                  </a:lnTo>
                  <a:lnTo>
                    <a:pt x="361" y="69"/>
                  </a:lnTo>
                  <a:lnTo>
                    <a:pt x="359" y="65"/>
                  </a:lnTo>
                  <a:lnTo>
                    <a:pt x="357" y="65"/>
                  </a:lnTo>
                  <a:lnTo>
                    <a:pt x="357" y="63"/>
                  </a:lnTo>
                  <a:lnTo>
                    <a:pt x="355" y="63"/>
                  </a:lnTo>
                  <a:lnTo>
                    <a:pt x="353" y="63"/>
                  </a:lnTo>
                  <a:lnTo>
                    <a:pt x="352" y="61"/>
                  </a:lnTo>
                  <a:lnTo>
                    <a:pt x="350" y="61"/>
                  </a:lnTo>
                  <a:lnTo>
                    <a:pt x="350" y="60"/>
                  </a:lnTo>
                  <a:lnTo>
                    <a:pt x="348" y="60"/>
                  </a:lnTo>
                  <a:lnTo>
                    <a:pt x="348" y="58"/>
                  </a:lnTo>
                  <a:lnTo>
                    <a:pt x="346" y="56"/>
                  </a:lnTo>
                  <a:lnTo>
                    <a:pt x="344" y="54"/>
                  </a:lnTo>
                  <a:lnTo>
                    <a:pt x="344" y="52"/>
                  </a:lnTo>
                  <a:lnTo>
                    <a:pt x="344" y="50"/>
                  </a:lnTo>
                  <a:lnTo>
                    <a:pt x="342" y="50"/>
                  </a:lnTo>
                  <a:lnTo>
                    <a:pt x="340" y="50"/>
                  </a:lnTo>
                  <a:lnTo>
                    <a:pt x="338" y="50"/>
                  </a:lnTo>
                  <a:lnTo>
                    <a:pt x="336" y="50"/>
                  </a:lnTo>
                  <a:lnTo>
                    <a:pt x="336" y="52"/>
                  </a:lnTo>
                  <a:lnTo>
                    <a:pt x="334" y="52"/>
                  </a:lnTo>
                  <a:lnTo>
                    <a:pt x="334" y="54"/>
                  </a:lnTo>
                  <a:lnTo>
                    <a:pt x="332" y="54"/>
                  </a:lnTo>
                  <a:lnTo>
                    <a:pt x="332" y="56"/>
                  </a:lnTo>
                  <a:lnTo>
                    <a:pt x="330" y="56"/>
                  </a:lnTo>
                  <a:lnTo>
                    <a:pt x="330" y="58"/>
                  </a:lnTo>
                  <a:lnTo>
                    <a:pt x="329" y="58"/>
                  </a:lnTo>
                  <a:lnTo>
                    <a:pt x="329" y="56"/>
                  </a:lnTo>
                  <a:lnTo>
                    <a:pt x="327" y="56"/>
                  </a:lnTo>
                  <a:lnTo>
                    <a:pt x="327" y="54"/>
                  </a:lnTo>
                  <a:lnTo>
                    <a:pt x="327" y="56"/>
                  </a:lnTo>
                  <a:lnTo>
                    <a:pt x="327" y="54"/>
                  </a:lnTo>
                  <a:lnTo>
                    <a:pt x="327" y="56"/>
                  </a:lnTo>
                  <a:lnTo>
                    <a:pt x="325" y="56"/>
                  </a:lnTo>
                  <a:lnTo>
                    <a:pt x="325" y="54"/>
                  </a:lnTo>
                  <a:lnTo>
                    <a:pt x="323" y="54"/>
                  </a:lnTo>
                  <a:lnTo>
                    <a:pt x="323" y="56"/>
                  </a:lnTo>
                  <a:lnTo>
                    <a:pt x="321" y="56"/>
                  </a:lnTo>
                  <a:lnTo>
                    <a:pt x="321" y="58"/>
                  </a:lnTo>
                  <a:lnTo>
                    <a:pt x="321" y="60"/>
                  </a:lnTo>
                  <a:lnTo>
                    <a:pt x="319" y="60"/>
                  </a:lnTo>
                  <a:lnTo>
                    <a:pt x="319" y="61"/>
                  </a:lnTo>
                  <a:lnTo>
                    <a:pt x="317" y="61"/>
                  </a:lnTo>
                  <a:lnTo>
                    <a:pt x="317" y="63"/>
                  </a:lnTo>
                  <a:lnTo>
                    <a:pt x="315" y="63"/>
                  </a:lnTo>
                  <a:lnTo>
                    <a:pt x="315" y="65"/>
                  </a:lnTo>
                  <a:lnTo>
                    <a:pt x="313" y="65"/>
                  </a:lnTo>
                  <a:lnTo>
                    <a:pt x="313" y="67"/>
                  </a:lnTo>
                  <a:lnTo>
                    <a:pt x="313" y="69"/>
                  </a:lnTo>
                  <a:lnTo>
                    <a:pt x="313" y="71"/>
                  </a:lnTo>
                  <a:lnTo>
                    <a:pt x="311" y="71"/>
                  </a:lnTo>
                  <a:lnTo>
                    <a:pt x="311" y="73"/>
                  </a:lnTo>
                  <a:lnTo>
                    <a:pt x="313" y="73"/>
                  </a:lnTo>
                  <a:lnTo>
                    <a:pt x="311" y="73"/>
                  </a:lnTo>
                  <a:lnTo>
                    <a:pt x="311" y="75"/>
                  </a:lnTo>
                  <a:lnTo>
                    <a:pt x="311" y="77"/>
                  </a:lnTo>
                  <a:lnTo>
                    <a:pt x="311" y="79"/>
                  </a:lnTo>
                  <a:lnTo>
                    <a:pt x="311" y="81"/>
                  </a:lnTo>
                  <a:lnTo>
                    <a:pt x="311" y="83"/>
                  </a:lnTo>
                  <a:lnTo>
                    <a:pt x="309" y="83"/>
                  </a:lnTo>
                  <a:lnTo>
                    <a:pt x="309" y="85"/>
                  </a:lnTo>
                  <a:lnTo>
                    <a:pt x="309" y="86"/>
                  </a:lnTo>
                  <a:lnTo>
                    <a:pt x="309" y="88"/>
                  </a:lnTo>
                  <a:lnTo>
                    <a:pt x="311" y="88"/>
                  </a:lnTo>
                  <a:lnTo>
                    <a:pt x="311" y="90"/>
                  </a:lnTo>
                  <a:lnTo>
                    <a:pt x="309" y="90"/>
                  </a:lnTo>
                  <a:lnTo>
                    <a:pt x="309" y="92"/>
                  </a:lnTo>
                  <a:lnTo>
                    <a:pt x="311" y="92"/>
                  </a:lnTo>
                  <a:lnTo>
                    <a:pt x="311" y="94"/>
                  </a:lnTo>
                  <a:lnTo>
                    <a:pt x="309" y="94"/>
                  </a:lnTo>
                  <a:lnTo>
                    <a:pt x="309" y="96"/>
                  </a:lnTo>
                  <a:lnTo>
                    <a:pt x="309" y="98"/>
                  </a:lnTo>
                  <a:lnTo>
                    <a:pt x="309" y="100"/>
                  </a:lnTo>
                  <a:lnTo>
                    <a:pt x="307" y="100"/>
                  </a:lnTo>
                  <a:lnTo>
                    <a:pt x="307" y="98"/>
                  </a:lnTo>
                  <a:lnTo>
                    <a:pt x="306" y="98"/>
                  </a:lnTo>
                  <a:lnTo>
                    <a:pt x="306" y="100"/>
                  </a:lnTo>
                  <a:lnTo>
                    <a:pt x="304" y="100"/>
                  </a:lnTo>
                  <a:lnTo>
                    <a:pt x="304" y="102"/>
                  </a:lnTo>
                  <a:lnTo>
                    <a:pt x="302" y="102"/>
                  </a:lnTo>
                  <a:lnTo>
                    <a:pt x="302" y="104"/>
                  </a:lnTo>
                  <a:lnTo>
                    <a:pt x="302" y="106"/>
                  </a:lnTo>
                  <a:lnTo>
                    <a:pt x="302" y="108"/>
                  </a:lnTo>
                  <a:lnTo>
                    <a:pt x="302" y="109"/>
                  </a:lnTo>
                  <a:lnTo>
                    <a:pt x="300" y="109"/>
                  </a:lnTo>
                  <a:lnTo>
                    <a:pt x="300" y="111"/>
                  </a:lnTo>
                  <a:lnTo>
                    <a:pt x="300" y="109"/>
                  </a:lnTo>
                  <a:lnTo>
                    <a:pt x="300" y="111"/>
                  </a:lnTo>
                  <a:lnTo>
                    <a:pt x="300" y="109"/>
                  </a:lnTo>
                  <a:lnTo>
                    <a:pt x="298" y="109"/>
                  </a:lnTo>
                  <a:lnTo>
                    <a:pt x="300" y="109"/>
                  </a:lnTo>
                  <a:lnTo>
                    <a:pt x="300" y="111"/>
                  </a:lnTo>
                  <a:lnTo>
                    <a:pt x="298" y="111"/>
                  </a:lnTo>
                  <a:lnTo>
                    <a:pt x="298" y="113"/>
                  </a:lnTo>
                  <a:lnTo>
                    <a:pt x="296" y="111"/>
                  </a:lnTo>
                  <a:lnTo>
                    <a:pt x="296" y="109"/>
                  </a:lnTo>
                  <a:lnTo>
                    <a:pt x="294" y="108"/>
                  </a:lnTo>
                  <a:lnTo>
                    <a:pt x="292" y="108"/>
                  </a:lnTo>
                  <a:lnTo>
                    <a:pt x="290" y="106"/>
                  </a:lnTo>
                  <a:lnTo>
                    <a:pt x="288" y="106"/>
                  </a:lnTo>
                  <a:lnTo>
                    <a:pt x="286" y="106"/>
                  </a:lnTo>
                  <a:lnTo>
                    <a:pt x="286" y="104"/>
                  </a:lnTo>
                  <a:lnTo>
                    <a:pt x="284" y="102"/>
                  </a:lnTo>
                  <a:lnTo>
                    <a:pt x="282" y="102"/>
                  </a:lnTo>
                  <a:lnTo>
                    <a:pt x="281" y="104"/>
                  </a:lnTo>
                  <a:lnTo>
                    <a:pt x="281" y="106"/>
                  </a:lnTo>
                  <a:lnTo>
                    <a:pt x="281" y="108"/>
                  </a:lnTo>
                  <a:lnTo>
                    <a:pt x="279" y="108"/>
                  </a:lnTo>
                  <a:lnTo>
                    <a:pt x="277" y="108"/>
                  </a:lnTo>
                  <a:lnTo>
                    <a:pt x="273" y="109"/>
                  </a:lnTo>
                  <a:lnTo>
                    <a:pt x="271" y="108"/>
                  </a:lnTo>
                  <a:lnTo>
                    <a:pt x="269" y="108"/>
                  </a:lnTo>
                  <a:lnTo>
                    <a:pt x="267" y="108"/>
                  </a:lnTo>
                  <a:lnTo>
                    <a:pt x="265" y="108"/>
                  </a:lnTo>
                  <a:lnTo>
                    <a:pt x="265" y="106"/>
                  </a:lnTo>
                  <a:lnTo>
                    <a:pt x="263" y="106"/>
                  </a:lnTo>
                  <a:lnTo>
                    <a:pt x="261" y="106"/>
                  </a:lnTo>
                  <a:lnTo>
                    <a:pt x="261" y="104"/>
                  </a:lnTo>
                  <a:lnTo>
                    <a:pt x="261" y="102"/>
                  </a:lnTo>
                  <a:lnTo>
                    <a:pt x="259" y="100"/>
                  </a:lnTo>
                  <a:lnTo>
                    <a:pt x="259" y="98"/>
                  </a:lnTo>
                  <a:lnTo>
                    <a:pt x="258" y="98"/>
                  </a:lnTo>
                  <a:lnTo>
                    <a:pt x="258" y="96"/>
                  </a:lnTo>
                  <a:lnTo>
                    <a:pt x="256" y="94"/>
                  </a:lnTo>
                  <a:lnTo>
                    <a:pt x="256" y="92"/>
                  </a:lnTo>
                  <a:lnTo>
                    <a:pt x="254" y="90"/>
                  </a:lnTo>
                  <a:lnTo>
                    <a:pt x="254" y="88"/>
                  </a:lnTo>
                  <a:lnTo>
                    <a:pt x="252" y="88"/>
                  </a:lnTo>
                  <a:lnTo>
                    <a:pt x="252" y="86"/>
                  </a:lnTo>
                  <a:lnTo>
                    <a:pt x="250" y="85"/>
                  </a:lnTo>
                  <a:lnTo>
                    <a:pt x="250" y="83"/>
                  </a:lnTo>
                  <a:lnTo>
                    <a:pt x="248" y="83"/>
                  </a:lnTo>
                  <a:lnTo>
                    <a:pt x="246" y="83"/>
                  </a:lnTo>
                  <a:lnTo>
                    <a:pt x="244" y="83"/>
                  </a:lnTo>
                  <a:lnTo>
                    <a:pt x="242" y="85"/>
                  </a:lnTo>
                  <a:lnTo>
                    <a:pt x="240" y="86"/>
                  </a:lnTo>
                  <a:lnTo>
                    <a:pt x="240" y="88"/>
                  </a:lnTo>
                  <a:lnTo>
                    <a:pt x="242" y="88"/>
                  </a:lnTo>
                  <a:lnTo>
                    <a:pt x="242" y="90"/>
                  </a:lnTo>
                  <a:lnTo>
                    <a:pt x="242" y="92"/>
                  </a:lnTo>
                  <a:lnTo>
                    <a:pt x="242" y="94"/>
                  </a:lnTo>
                  <a:lnTo>
                    <a:pt x="240" y="92"/>
                  </a:lnTo>
                  <a:lnTo>
                    <a:pt x="236" y="90"/>
                  </a:lnTo>
                  <a:lnTo>
                    <a:pt x="234" y="92"/>
                  </a:lnTo>
                  <a:lnTo>
                    <a:pt x="233" y="92"/>
                  </a:lnTo>
                  <a:lnTo>
                    <a:pt x="231" y="92"/>
                  </a:lnTo>
                  <a:lnTo>
                    <a:pt x="227" y="92"/>
                  </a:lnTo>
                  <a:lnTo>
                    <a:pt x="229" y="94"/>
                  </a:lnTo>
                  <a:lnTo>
                    <a:pt x="229" y="96"/>
                  </a:lnTo>
                  <a:lnTo>
                    <a:pt x="231" y="98"/>
                  </a:lnTo>
                  <a:lnTo>
                    <a:pt x="231" y="104"/>
                  </a:lnTo>
                  <a:lnTo>
                    <a:pt x="231" y="106"/>
                  </a:lnTo>
                  <a:lnTo>
                    <a:pt x="229" y="108"/>
                  </a:lnTo>
                  <a:lnTo>
                    <a:pt x="227" y="111"/>
                  </a:lnTo>
                  <a:lnTo>
                    <a:pt x="225" y="113"/>
                  </a:lnTo>
                  <a:lnTo>
                    <a:pt x="227" y="113"/>
                  </a:lnTo>
                  <a:lnTo>
                    <a:pt x="229" y="115"/>
                  </a:lnTo>
                  <a:lnTo>
                    <a:pt x="231" y="115"/>
                  </a:lnTo>
                  <a:lnTo>
                    <a:pt x="229" y="117"/>
                  </a:lnTo>
                  <a:lnTo>
                    <a:pt x="227" y="117"/>
                  </a:lnTo>
                  <a:lnTo>
                    <a:pt x="227" y="119"/>
                  </a:lnTo>
                  <a:lnTo>
                    <a:pt x="225" y="121"/>
                  </a:lnTo>
                  <a:lnTo>
                    <a:pt x="223" y="119"/>
                  </a:lnTo>
                  <a:lnTo>
                    <a:pt x="221" y="119"/>
                  </a:lnTo>
                  <a:lnTo>
                    <a:pt x="219" y="119"/>
                  </a:lnTo>
                  <a:lnTo>
                    <a:pt x="219" y="117"/>
                  </a:lnTo>
                  <a:lnTo>
                    <a:pt x="215" y="117"/>
                  </a:lnTo>
                  <a:lnTo>
                    <a:pt x="211" y="115"/>
                  </a:lnTo>
                  <a:lnTo>
                    <a:pt x="210" y="115"/>
                  </a:lnTo>
                  <a:lnTo>
                    <a:pt x="208" y="115"/>
                  </a:lnTo>
                  <a:lnTo>
                    <a:pt x="206" y="115"/>
                  </a:lnTo>
                  <a:lnTo>
                    <a:pt x="206" y="113"/>
                  </a:lnTo>
                  <a:lnTo>
                    <a:pt x="204" y="113"/>
                  </a:lnTo>
                  <a:lnTo>
                    <a:pt x="204" y="111"/>
                  </a:lnTo>
                  <a:lnTo>
                    <a:pt x="202" y="111"/>
                  </a:lnTo>
                  <a:lnTo>
                    <a:pt x="202" y="113"/>
                  </a:lnTo>
                  <a:lnTo>
                    <a:pt x="200" y="113"/>
                  </a:lnTo>
                  <a:lnTo>
                    <a:pt x="198" y="113"/>
                  </a:lnTo>
                  <a:lnTo>
                    <a:pt x="198" y="115"/>
                  </a:lnTo>
                  <a:lnTo>
                    <a:pt x="198" y="117"/>
                  </a:lnTo>
                  <a:lnTo>
                    <a:pt x="198" y="119"/>
                  </a:lnTo>
                  <a:lnTo>
                    <a:pt x="198" y="121"/>
                  </a:lnTo>
                  <a:lnTo>
                    <a:pt x="198" y="123"/>
                  </a:lnTo>
                  <a:lnTo>
                    <a:pt x="200" y="123"/>
                  </a:lnTo>
                  <a:lnTo>
                    <a:pt x="200" y="125"/>
                  </a:lnTo>
                  <a:lnTo>
                    <a:pt x="200" y="127"/>
                  </a:lnTo>
                  <a:lnTo>
                    <a:pt x="200" y="129"/>
                  </a:lnTo>
                  <a:lnTo>
                    <a:pt x="198" y="129"/>
                  </a:lnTo>
                  <a:lnTo>
                    <a:pt x="198" y="131"/>
                  </a:lnTo>
                  <a:lnTo>
                    <a:pt x="198" y="133"/>
                  </a:lnTo>
                  <a:lnTo>
                    <a:pt x="196" y="134"/>
                  </a:lnTo>
                  <a:lnTo>
                    <a:pt x="196" y="136"/>
                  </a:lnTo>
                  <a:lnTo>
                    <a:pt x="194" y="134"/>
                  </a:lnTo>
                  <a:lnTo>
                    <a:pt x="192" y="134"/>
                  </a:lnTo>
                  <a:lnTo>
                    <a:pt x="192" y="133"/>
                  </a:lnTo>
                  <a:lnTo>
                    <a:pt x="190" y="133"/>
                  </a:lnTo>
                  <a:lnTo>
                    <a:pt x="188" y="131"/>
                  </a:lnTo>
                  <a:lnTo>
                    <a:pt x="187" y="131"/>
                  </a:lnTo>
                  <a:lnTo>
                    <a:pt x="187" y="133"/>
                  </a:lnTo>
                  <a:lnTo>
                    <a:pt x="185" y="133"/>
                  </a:lnTo>
                  <a:lnTo>
                    <a:pt x="183" y="134"/>
                  </a:lnTo>
                  <a:lnTo>
                    <a:pt x="183" y="136"/>
                  </a:lnTo>
                  <a:lnTo>
                    <a:pt x="181" y="136"/>
                  </a:lnTo>
                  <a:lnTo>
                    <a:pt x="179" y="138"/>
                  </a:lnTo>
                  <a:lnTo>
                    <a:pt x="179" y="140"/>
                  </a:lnTo>
                  <a:lnTo>
                    <a:pt x="177" y="142"/>
                  </a:lnTo>
                  <a:lnTo>
                    <a:pt x="177" y="144"/>
                  </a:lnTo>
                  <a:lnTo>
                    <a:pt x="177" y="146"/>
                  </a:lnTo>
                  <a:lnTo>
                    <a:pt x="177" y="148"/>
                  </a:lnTo>
                  <a:lnTo>
                    <a:pt x="175" y="150"/>
                  </a:lnTo>
                  <a:lnTo>
                    <a:pt x="175" y="152"/>
                  </a:lnTo>
                  <a:lnTo>
                    <a:pt x="173" y="152"/>
                  </a:lnTo>
                  <a:lnTo>
                    <a:pt x="173" y="154"/>
                  </a:lnTo>
                  <a:lnTo>
                    <a:pt x="171" y="154"/>
                  </a:lnTo>
                  <a:lnTo>
                    <a:pt x="169" y="154"/>
                  </a:lnTo>
                  <a:lnTo>
                    <a:pt x="169" y="156"/>
                  </a:lnTo>
                  <a:lnTo>
                    <a:pt x="169" y="158"/>
                  </a:lnTo>
                  <a:lnTo>
                    <a:pt x="171" y="159"/>
                  </a:lnTo>
                  <a:lnTo>
                    <a:pt x="171" y="161"/>
                  </a:lnTo>
                  <a:lnTo>
                    <a:pt x="173" y="161"/>
                  </a:lnTo>
                  <a:lnTo>
                    <a:pt x="173" y="163"/>
                  </a:lnTo>
                  <a:lnTo>
                    <a:pt x="173" y="165"/>
                  </a:lnTo>
                  <a:lnTo>
                    <a:pt x="173" y="167"/>
                  </a:lnTo>
                  <a:lnTo>
                    <a:pt x="173" y="169"/>
                  </a:lnTo>
                  <a:lnTo>
                    <a:pt x="173" y="171"/>
                  </a:lnTo>
                  <a:lnTo>
                    <a:pt x="173" y="173"/>
                  </a:lnTo>
                  <a:lnTo>
                    <a:pt x="171" y="173"/>
                  </a:lnTo>
                  <a:lnTo>
                    <a:pt x="169" y="175"/>
                  </a:lnTo>
                  <a:lnTo>
                    <a:pt x="169" y="177"/>
                  </a:lnTo>
                  <a:lnTo>
                    <a:pt x="167" y="179"/>
                  </a:lnTo>
                  <a:lnTo>
                    <a:pt x="167" y="181"/>
                  </a:lnTo>
                  <a:lnTo>
                    <a:pt x="165" y="181"/>
                  </a:lnTo>
                  <a:lnTo>
                    <a:pt x="165" y="182"/>
                  </a:lnTo>
                  <a:lnTo>
                    <a:pt x="165" y="184"/>
                  </a:lnTo>
                  <a:lnTo>
                    <a:pt x="163" y="184"/>
                  </a:lnTo>
                  <a:lnTo>
                    <a:pt x="163" y="186"/>
                  </a:lnTo>
                  <a:lnTo>
                    <a:pt x="162" y="188"/>
                  </a:lnTo>
                  <a:lnTo>
                    <a:pt x="162" y="190"/>
                  </a:lnTo>
                  <a:lnTo>
                    <a:pt x="160" y="190"/>
                  </a:lnTo>
                  <a:lnTo>
                    <a:pt x="160" y="192"/>
                  </a:lnTo>
                  <a:lnTo>
                    <a:pt x="160" y="194"/>
                  </a:lnTo>
                  <a:lnTo>
                    <a:pt x="160" y="196"/>
                  </a:lnTo>
                  <a:lnTo>
                    <a:pt x="160" y="198"/>
                  </a:lnTo>
                  <a:lnTo>
                    <a:pt x="160" y="200"/>
                  </a:lnTo>
                  <a:lnTo>
                    <a:pt x="158" y="202"/>
                  </a:lnTo>
                  <a:lnTo>
                    <a:pt x="156" y="202"/>
                  </a:lnTo>
                  <a:lnTo>
                    <a:pt x="156" y="204"/>
                  </a:lnTo>
                  <a:lnTo>
                    <a:pt x="154" y="204"/>
                  </a:lnTo>
                  <a:lnTo>
                    <a:pt x="152" y="204"/>
                  </a:lnTo>
                  <a:lnTo>
                    <a:pt x="150" y="204"/>
                  </a:lnTo>
                  <a:lnTo>
                    <a:pt x="150" y="206"/>
                  </a:lnTo>
                  <a:lnTo>
                    <a:pt x="148" y="206"/>
                  </a:lnTo>
                  <a:lnTo>
                    <a:pt x="146" y="206"/>
                  </a:lnTo>
                  <a:lnTo>
                    <a:pt x="146" y="207"/>
                  </a:lnTo>
                  <a:lnTo>
                    <a:pt x="146" y="209"/>
                  </a:lnTo>
                  <a:lnTo>
                    <a:pt x="146" y="211"/>
                  </a:lnTo>
                  <a:lnTo>
                    <a:pt x="146" y="213"/>
                  </a:lnTo>
                  <a:lnTo>
                    <a:pt x="148" y="213"/>
                  </a:lnTo>
                  <a:lnTo>
                    <a:pt x="148" y="215"/>
                  </a:lnTo>
                  <a:lnTo>
                    <a:pt x="148" y="217"/>
                  </a:lnTo>
                  <a:lnTo>
                    <a:pt x="146" y="219"/>
                  </a:lnTo>
                  <a:lnTo>
                    <a:pt x="146" y="221"/>
                  </a:lnTo>
                  <a:lnTo>
                    <a:pt x="146" y="223"/>
                  </a:lnTo>
                  <a:lnTo>
                    <a:pt x="146" y="225"/>
                  </a:lnTo>
                  <a:lnTo>
                    <a:pt x="146" y="227"/>
                  </a:lnTo>
                  <a:lnTo>
                    <a:pt x="146" y="229"/>
                  </a:lnTo>
                  <a:lnTo>
                    <a:pt x="146" y="231"/>
                  </a:lnTo>
                  <a:lnTo>
                    <a:pt x="146" y="232"/>
                  </a:lnTo>
                  <a:lnTo>
                    <a:pt x="146" y="234"/>
                  </a:lnTo>
                  <a:lnTo>
                    <a:pt x="144" y="236"/>
                  </a:lnTo>
                  <a:lnTo>
                    <a:pt x="144" y="238"/>
                  </a:lnTo>
                  <a:lnTo>
                    <a:pt x="144" y="240"/>
                  </a:lnTo>
                  <a:lnTo>
                    <a:pt x="142" y="242"/>
                  </a:lnTo>
                  <a:lnTo>
                    <a:pt x="142" y="244"/>
                  </a:lnTo>
                  <a:lnTo>
                    <a:pt x="140" y="246"/>
                  </a:lnTo>
                  <a:lnTo>
                    <a:pt x="140" y="248"/>
                  </a:lnTo>
                  <a:lnTo>
                    <a:pt x="139" y="248"/>
                  </a:lnTo>
                  <a:lnTo>
                    <a:pt x="139" y="250"/>
                  </a:lnTo>
                  <a:lnTo>
                    <a:pt x="139" y="252"/>
                  </a:lnTo>
                  <a:lnTo>
                    <a:pt x="137" y="252"/>
                  </a:lnTo>
                  <a:lnTo>
                    <a:pt x="137" y="254"/>
                  </a:lnTo>
                  <a:lnTo>
                    <a:pt x="137" y="255"/>
                  </a:lnTo>
                  <a:lnTo>
                    <a:pt x="135" y="255"/>
                  </a:lnTo>
                  <a:lnTo>
                    <a:pt x="135" y="257"/>
                  </a:lnTo>
                  <a:lnTo>
                    <a:pt x="133" y="259"/>
                  </a:lnTo>
                  <a:lnTo>
                    <a:pt x="135" y="261"/>
                  </a:lnTo>
                  <a:lnTo>
                    <a:pt x="137" y="261"/>
                  </a:lnTo>
                  <a:lnTo>
                    <a:pt x="139" y="263"/>
                  </a:lnTo>
                  <a:lnTo>
                    <a:pt x="140" y="263"/>
                  </a:lnTo>
                  <a:lnTo>
                    <a:pt x="140" y="265"/>
                  </a:lnTo>
                  <a:lnTo>
                    <a:pt x="140" y="267"/>
                  </a:lnTo>
                  <a:lnTo>
                    <a:pt x="140" y="269"/>
                  </a:lnTo>
                  <a:lnTo>
                    <a:pt x="140" y="271"/>
                  </a:lnTo>
                  <a:lnTo>
                    <a:pt x="140" y="273"/>
                  </a:lnTo>
                  <a:lnTo>
                    <a:pt x="140" y="275"/>
                  </a:lnTo>
                  <a:lnTo>
                    <a:pt x="139" y="277"/>
                  </a:lnTo>
                  <a:lnTo>
                    <a:pt x="139" y="279"/>
                  </a:lnTo>
                  <a:lnTo>
                    <a:pt x="137" y="279"/>
                  </a:lnTo>
                  <a:lnTo>
                    <a:pt x="135" y="279"/>
                  </a:lnTo>
                  <a:lnTo>
                    <a:pt x="135" y="277"/>
                  </a:lnTo>
                  <a:lnTo>
                    <a:pt x="133" y="277"/>
                  </a:lnTo>
                  <a:lnTo>
                    <a:pt x="131" y="277"/>
                  </a:lnTo>
                  <a:lnTo>
                    <a:pt x="129" y="277"/>
                  </a:lnTo>
                  <a:lnTo>
                    <a:pt x="127" y="277"/>
                  </a:lnTo>
                  <a:lnTo>
                    <a:pt x="125" y="277"/>
                  </a:lnTo>
                  <a:lnTo>
                    <a:pt x="123" y="277"/>
                  </a:lnTo>
                  <a:lnTo>
                    <a:pt x="121" y="279"/>
                  </a:lnTo>
                  <a:lnTo>
                    <a:pt x="119" y="280"/>
                  </a:lnTo>
                  <a:lnTo>
                    <a:pt x="119" y="282"/>
                  </a:lnTo>
                  <a:lnTo>
                    <a:pt x="117" y="282"/>
                  </a:lnTo>
                  <a:lnTo>
                    <a:pt x="117" y="284"/>
                  </a:lnTo>
                  <a:lnTo>
                    <a:pt x="115" y="284"/>
                  </a:lnTo>
                  <a:lnTo>
                    <a:pt x="115" y="286"/>
                  </a:lnTo>
                  <a:lnTo>
                    <a:pt x="115" y="288"/>
                  </a:lnTo>
                  <a:lnTo>
                    <a:pt x="114" y="288"/>
                  </a:lnTo>
                  <a:lnTo>
                    <a:pt x="114" y="290"/>
                  </a:lnTo>
                  <a:lnTo>
                    <a:pt x="114" y="292"/>
                  </a:lnTo>
                  <a:lnTo>
                    <a:pt x="112" y="292"/>
                  </a:lnTo>
                  <a:lnTo>
                    <a:pt x="112" y="294"/>
                  </a:lnTo>
                  <a:lnTo>
                    <a:pt x="112" y="296"/>
                  </a:lnTo>
                  <a:lnTo>
                    <a:pt x="112" y="298"/>
                  </a:lnTo>
                  <a:lnTo>
                    <a:pt x="112" y="300"/>
                  </a:lnTo>
                  <a:lnTo>
                    <a:pt x="110" y="300"/>
                  </a:lnTo>
                  <a:lnTo>
                    <a:pt x="110" y="302"/>
                  </a:lnTo>
                  <a:lnTo>
                    <a:pt x="110" y="304"/>
                  </a:lnTo>
                  <a:lnTo>
                    <a:pt x="110" y="305"/>
                  </a:lnTo>
                  <a:lnTo>
                    <a:pt x="110" y="307"/>
                  </a:lnTo>
                  <a:lnTo>
                    <a:pt x="112" y="307"/>
                  </a:lnTo>
                  <a:lnTo>
                    <a:pt x="112" y="309"/>
                  </a:lnTo>
                  <a:lnTo>
                    <a:pt x="112" y="311"/>
                  </a:lnTo>
                  <a:lnTo>
                    <a:pt x="114" y="311"/>
                  </a:lnTo>
                  <a:lnTo>
                    <a:pt x="112" y="311"/>
                  </a:lnTo>
                  <a:lnTo>
                    <a:pt x="112" y="313"/>
                  </a:lnTo>
                  <a:lnTo>
                    <a:pt x="110" y="315"/>
                  </a:lnTo>
                  <a:lnTo>
                    <a:pt x="112" y="319"/>
                  </a:lnTo>
                  <a:lnTo>
                    <a:pt x="112" y="321"/>
                  </a:lnTo>
                  <a:lnTo>
                    <a:pt x="112" y="323"/>
                  </a:lnTo>
                  <a:lnTo>
                    <a:pt x="110" y="323"/>
                  </a:lnTo>
                  <a:lnTo>
                    <a:pt x="110" y="325"/>
                  </a:lnTo>
                  <a:lnTo>
                    <a:pt x="112" y="327"/>
                  </a:lnTo>
                  <a:lnTo>
                    <a:pt x="112" y="328"/>
                  </a:lnTo>
                  <a:lnTo>
                    <a:pt x="112" y="330"/>
                  </a:lnTo>
                  <a:lnTo>
                    <a:pt x="112" y="332"/>
                  </a:lnTo>
                  <a:lnTo>
                    <a:pt x="114" y="332"/>
                  </a:lnTo>
                  <a:lnTo>
                    <a:pt x="114" y="334"/>
                  </a:lnTo>
                  <a:lnTo>
                    <a:pt x="114" y="336"/>
                  </a:lnTo>
                  <a:lnTo>
                    <a:pt x="114" y="338"/>
                  </a:lnTo>
                  <a:lnTo>
                    <a:pt x="114" y="340"/>
                  </a:lnTo>
                  <a:lnTo>
                    <a:pt x="114" y="342"/>
                  </a:lnTo>
                  <a:lnTo>
                    <a:pt x="114" y="344"/>
                  </a:lnTo>
                  <a:lnTo>
                    <a:pt x="112" y="344"/>
                  </a:lnTo>
                  <a:lnTo>
                    <a:pt x="112" y="346"/>
                  </a:lnTo>
                  <a:lnTo>
                    <a:pt x="112" y="348"/>
                  </a:lnTo>
                  <a:lnTo>
                    <a:pt x="112" y="350"/>
                  </a:lnTo>
                  <a:lnTo>
                    <a:pt x="112" y="352"/>
                  </a:lnTo>
                  <a:lnTo>
                    <a:pt x="112" y="353"/>
                  </a:lnTo>
                  <a:lnTo>
                    <a:pt x="114" y="353"/>
                  </a:lnTo>
                  <a:lnTo>
                    <a:pt x="114" y="355"/>
                  </a:lnTo>
                  <a:lnTo>
                    <a:pt x="115" y="355"/>
                  </a:lnTo>
                  <a:lnTo>
                    <a:pt x="115" y="357"/>
                  </a:lnTo>
                  <a:lnTo>
                    <a:pt x="117" y="357"/>
                  </a:lnTo>
                  <a:lnTo>
                    <a:pt x="119" y="359"/>
                  </a:lnTo>
                  <a:lnTo>
                    <a:pt x="119" y="361"/>
                  </a:lnTo>
                  <a:lnTo>
                    <a:pt x="121" y="361"/>
                  </a:lnTo>
                  <a:lnTo>
                    <a:pt x="121" y="363"/>
                  </a:lnTo>
                  <a:lnTo>
                    <a:pt x="121" y="365"/>
                  </a:lnTo>
                  <a:lnTo>
                    <a:pt x="121" y="367"/>
                  </a:lnTo>
                  <a:lnTo>
                    <a:pt x="121" y="369"/>
                  </a:lnTo>
                  <a:lnTo>
                    <a:pt x="119" y="371"/>
                  </a:lnTo>
                  <a:lnTo>
                    <a:pt x="119" y="373"/>
                  </a:lnTo>
                  <a:lnTo>
                    <a:pt x="117" y="373"/>
                  </a:lnTo>
                  <a:lnTo>
                    <a:pt x="115" y="373"/>
                  </a:lnTo>
                  <a:lnTo>
                    <a:pt x="114" y="373"/>
                  </a:lnTo>
                  <a:lnTo>
                    <a:pt x="114" y="375"/>
                  </a:lnTo>
                  <a:lnTo>
                    <a:pt x="114" y="376"/>
                  </a:lnTo>
                  <a:lnTo>
                    <a:pt x="114" y="378"/>
                  </a:lnTo>
                  <a:lnTo>
                    <a:pt x="115" y="380"/>
                  </a:lnTo>
                  <a:lnTo>
                    <a:pt x="115" y="382"/>
                  </a:lnTo>
                  <a:lnTo>
                    <a:pt x="115" y="384"/>
                  </a:lnTo>
                  <a:lnTo>
                    <a:pt x="117" y="384"/>
                  </a:lnTo>
                  <a:lnTo>
                    <a:pt x="117" y="386"/>
                  </a:lnTo>
                  <a:lnTo>
                    <a:pt x="117" y="388"/>
                  </a:lnTo>
                  <a:lnTo>
                    <a:pt x="117" y="390"/>
                  </a:lnTo>
                  <a:lnTo>
                    <a:pt x="117" y="392"/>
                  </a:lnTo>
                  <a:lnTo>
                    <a:pt x="117" y="394"/>
                  </a:lnTo>
                  <a:lnTo>
                    <a:pt x="117" y="396"/>
                  </a:lnTo>
                  <a:lnTo>
                    <a:pt x="117" y="398"/>
                  </a:lnTo>
                  <a:lnTo>
                    <a:pt x="117" y="400"/>
                  </a:lnTo>
                  <a:lnTo>
                    <a:pt x="117" y="401"/>
                  </a:lnTo>
                  <a:lnTo>
                    <a:pt x="115" y="401"/>
                  </a:lnTo>
                  <a:lnTo>
                    <a:pt x="115" y="403"/>
                  </a:lnTo>
                  <a:lnTo>
                    <a:pt x="115" y="405"/>
                  </a:lnTo>
                  <a:lnTo>
                    <a:pt x="114" y="405"/>
                  </a:lnTo>
                  <a:lnTo>
                    <a:pt x="112" y="407"/>
                  </a:lnTo>
                  <a:lnTo>
                    <a:pt x="110" y="407"/>
                  </a:lnTo>
                  <a:lnTo>
                    <a:pt x="108" y="407"/>
                  </a:lnTo>
                  <a:lnTo>
                    <a:pt x="108" y="409"/>
                  </a:lnTo>
                  <a:lnTo>
                    <a:pt x="108" y="411"/>
                  </a:lnTo>
                  <a:lnTo>
                    <a:pt x="108" y="413"/>
                  </a:lnTo>
                  <a:lnTo>
                    <a:pt x="108" y="415"/>
                  </a:lnTo>
                  <a:lnTo>
                    <a:pt x="106" y="415"/>
                  </a:lnTo>
                  <a:lnTo>
                    <a:pt x="104" y="417"/>
                  </a:lnTo>
                  <a:lnTo>
                    <a:pt x="106" y="417"/>
                  </a:lnTo>
                  <a:lnTo>
                    <a:pt x="106" y="419"/>
                  </a:lnTo>
                  <a:lnTo>
                    <a:pt x="106" y="421"/>
                  </a:lnTo>
                  <a:lnTo>
                    <a:pt x="106" y="423"/>
                  </a:lnTo>
                  <a:lnTo>
                    <a:pt x="106" y="425"/>
                  </a:lnTo>
                  <a:lnTo>
                    <a:pt x="108" y="425"/>
                  </a:lnTo>
                  <a:lnTo>
                    <a:pt x="108" y="426"/>
                  </a:lnTo>
                  <a:lnTo>
                    <a:pt x="106" y="426"/>
                  </a:lnTo>
                  <a:lnTo>
                    <a:pt x="106" y="428"/>
                  </a:lnTo>
                  <a:lnTo>
                    <a:pt x="106" y="430"/>
                  </a:lnTo>
                  <a:lnTo>
                    <a:pt x="106" y="432"/>
                  </a:lnTo>
                  <a:lnTo>
                    <a:pt x="104" y="432"/>
                  </a:lnTo>
                  <a:lnTo>
                    <a:pt x="106" y="432"/>
                  </a:lnTo>
                  <a:lnTo>
                    <a:pt x="104" y="432"/>
                  </a:lnTo>
                  <a:lnTo>
                    <a:pt x="104" y="434"/>
                  </a:lnTo>
                  <a:lnTo>
                    <a:pt x="106" y="434"/>
                  </a:lnTo>
                  <a:lnTo>
                    <a:pt x="104" y="434"/>
                  </a:lnTo>
                  <a:lnTo>
                    <a:pt x="106" y="434"/>
                  </a:lnTo>
                  <a:lnTo>
                    <a:pt x="104" y="434"/>
                  </a:lnTo>
                  <a:lnTo>
                    <a:pt x="104" y="436"/>
                  </a:lnTo>
                  <a:lnTo>
                    <a:pt x="102" y="436"/>
                  </a:lnTo>
                  <a:lnTo>
                    <a:pt x="102" y="434"/>
                  </a:lnTo>
                  <a:lnTo>
                    <a:pt x="102" y="432"/>
                  </a:lnTo>
                  <a:lnTo>
                    <a:pt x="102" y="434"/>
                  </a:lnTo>
                  <a:lnTo>
                    <a:pt x="102" y="432"/>
                  </a:lnTo>
                  <a:lnTo>
                    <a:pt x="100" y="432"/>
                  </a:lnTo>
                  <a:lnTo>
                    <a:pt x="100" y="430"/>
                  </a:lnTo>
                  <a:lnTo>
                    <a:pt x="102" y="430"/>
                  </a:lnTo>
                  <a:lnTo>
                    <a:pt x="100" y="430"/>
                  </a:lnTo>
                  <a:lnTo>
                    <a:pt x="100" y="432"/>
                  </a:lnTo>
                  <a:lnTo>
                    <a:pt x="100" y="430"/>
                  </a:lnTo>
                  <a:lnTo>
                    <a:pt x="98" y="430"/>
                  </a:lnTo>
                  <a:lnTo>
                    <a:pt x="100" y="430"/>
                  </a:lnTo>
                  <a:lnTo>
                    <a:pt x="98" y="430"/>
                  </a:lnTo>
                  <a:lnTo>
                    <a:pt x="98" y="428"/>
                  </a:lnTo>
                  <a:lnTo>
                    <a:pt x="98" y="430"/>
                  </a:lnTo>
                  <a:lnTo>
                    <a:pt x="98" y="428"/>
                  </a:lnTo>
                  <a:lnTo>
                    <a:pt x="98" y="430"/>
                  </a:lnTo>
                  <a:lnTo>
                    <a:pt x="98" y="428"/>
                  </a:lnTo>
                  <a:lnTo>
                    <a:pt x="98" y="426"/>
                  </a:lnTo>
                  <a:lnTo>
                    <a:pt x="98" y="428"/>
                  </a:lnTo>
                  <a:lnTo>
                    <a:pt x="96" y="428"/>
                  </a:lnTo>
                  <a:lnTo>
                    <a:pt x="96" y="426"/>
                  </a:lnTo>
                  <a:lnTo>
                    <a:pt x="96" y="428"/>
                  </a:lnTo>
                  <a:lnTo>
                    <a:pt x="96" y="426"/>
                  </a:lnTo>
                  <a:lnTo>
                    <a:pt x="96" y="428"/>
                  </a:lnTo>
                  <a:lnTo>
                    <a:pt x="94" y="428"/>
                  </a:lnTo>
                  <a:lnTo>
                    <a:pt x="96" y="428"/>
                  </a:lnTo>
                  <a:lnTo>
                    <a:pt x="94" y="428"/>
                  </a:lnTo>
                  <a:lnTo>
                    <a:pt x="96" y="428"/>
                  </a:lnTo>
                  <a:lnTo>
                    <a:pt x="94" y="428"/>
                  </a:lnTo>
                  <a:lnTo>
                    <a:pt x="96" y="428"/>
                  </a:lnTo>
                  <a:lnTo>
                    <a:pt x="94" y="428"/>
                  </a:lnTo>
                  <a:lnTo>
                    <a:pt x="96" y="428"/>
                  </a:lnTo>
                  <a:lnTo>
                    <a:pt x="94" y="428"/>
                  </a:lnTo>
                  <a:lnTo>
                    <a:pt x="96" y="428"/>
                  </a:lnTo>
                  <a:lnTo>
                    <a:pt x="94" y="428"/>
                  </a:lnTo>
                  <a:lnTo>
                    <a:pt x="96" y="428"/>
                  </a:lnTo>
                  <a:lnTo>
                    <a:pt x="94" y="428"/>
                  </a:lnTo>
                  <a:lnTo>
                    <a:pt x="94" y="426"/>
                  </a:lnTo>
                  <a:lnTo>
                    <a:pt x="92" y="426"/>
                  </a:lnTo>
                  <a:lnTo>
                    <a:pt x="92" y="428"/>
                  </a:lnTo>
                  <a:lnTo>
                    <a:pt x="92" y="426"/>
                  </a:lnTo>
                  <a:lnTo>
                    <a:pt x="92" y="428"/>
                  </a:lnTo>
                  <a:lnTo>
                    <a:pt x="92" y="426"/>
                  </a:lnTo>
                  <a:lnTo>
                    <a:pt x="92" y="428"/>
                  </a:lnTo>
                  <a:lnTo>
                    <a:pt x="92" y="426"/>
                  </a:lnTo>
                  <a:lnTo>
                    <a:pt x="92" y="428"/>
                  </a:lnTo>
                  <a:lnTo>
                    <a:pt x="92" y="426"/>
                  </a:lnTo>
                  <a:lnTo>
                    <a:pt x="91" y="426"/>
                  </a:lnTo>
                  <a:lnTo>
                    <a:pt x="92" y="426"/>
                  </a:lnTo>
                  <a:lnTo>
                    <a:pt x="91" y="426"/>
                  </a:lnTo>
                  <a:lnTo>
                    <a:pt x="92" y="426"/>
                  </a:lnTo>
                  <a:lnTo>
                    <a:pt x="92" y="425"/>
                  </a:lnTo>
                  <a:lnTo>
                    <a:pt x="92" y="426"/>
                  </a:lnTo>
                  <a:lnTo>
                    <a:pt x="91" y="426"/>
                  </a:lnTo>
                  <a:lnTo>
                    <a:pt x="91" y="425"/>
                  </a:lnTo>
                  <a:lnTo>
                    <a:pt x="91" y="426"/>
                  </a:lnTo>
                  <a:lnTo>
                    <a:pt x="91" y="425"/>
                  </a:lnTo>
                  <a:lnTo>
                    <a:pt x="92" y="425"/>
                  </a:lnTo>
                  <a:lnTo>
                    <a:pt x="92" y="423"/>
                  </a:lnTo>
                  <a:lnTo>
                    <a:pt x="92" y="425"/>
                  </a:lnTo>
                  <a:lnTo>
                    <a:pt x="91" y="425"/>
                  </a:lnTo>
                  <a:lnTo>
                    <a:pt x="91" y="423"/>
                  </a:lnTo>
                  <a:lnTo>
                    <a:pt x="91" y="425"/>
                  </a:lnTo>
                  <a:lnTo>
                    <a:pt x="91" y="423"/>
                  </a:lnTo>
                  <a:lnTo>
                    <a:pt x="91" y="425"/>
                  </a:lnTo>
                  <a:lnTo>
                    <a:pt x="91" y="423"/>
                  </a:lnTo>
                  <a:lnTo>
                    <a:pt x="91" y="425"/>
                  </a:lnTo>
                  <a:lnTo>
                    <a:pt x="91" y="423"/>
                  </a:lnTo>
                  <a:lnTo>
                    <a:pt x="91" y="425"/>
                  </a:lnTo>
                  <a:lnTo>
                    <a:pt x="91" y="423"/>
                  </a:lnTo>
                  <a:lnTo>
                    <a:pt x="91" y="421"/>
                  </a:lnTo>
                  <a:lnTo>
                    <a:pt x="91" y="419"/>
                  </a:lnTo>
                  <a:lnTo>
                    <a:pt x="91" y="417"/>
                  </a:lnTo>
                  <a:lnTo>
                    <a:pt x="91" y="419"/>
                  </a:lnTo>
                  <a:lnTo>
                    <a:pt x="91" y="417"/>
                  </a:lnTo>
                  <a:lnTo>
                    <a:pt x="91" y="415"/>
                  </a:lnTo>
                  <a:lnTo>
                    <a:pt x="89" y="415"/>
                  </a:lnTo>
                  <a:lnTo>
                    <a:pt x="89" y="413"/>
                  </a:lnTo>
                  <a:lnTo>
                    <a:pt x="91" y="413"/>
                  </a:lnTo>
                  <a:lnTo>
                    <a:pt x="89" y="413"/>
                  </a:lnTo>
                  <a:lnTo>
                    <a:pt x="89" y="411"/>
                  </a:lnTo>
                  <a:lnTo>
                    <a:pt x="89" y="409"/>
                  </a:lnTo>
                  <a:lnTo>
                    <a:pt x="91" y="409"/>
                  </a:lnTo>
                  <a:lnTo>
                    <a:pt x="91" y="407"/>
                  </a:lnTo>
                  <a:lnTo>
                    <a:pt x="91" y="409"/>
                  </a:lnTo>
                  <a:lnTo>
                    <a:pt x="91" y="411"/>
                  </a:lnTo>
                  <a:lnTo>
                    <a:pt x="91" y="413"/>
                  </a:lnTo>
                  <a:lnTo>
                    <a:pt x="91" y="411"/>
                  </a:lnTo>
                  <a:lnTo>
                    <a:pt x="91" y="413"/>
                  </a:lnTo>
                  <a:lnTo>
                    <a:pt x="91" y="411"/>
                  </a:lnTo>
                  <a:lnTo>
                    <a:pt x="91" y="413"/>
                  </a:lnTo>
                  <a:lnTo>
                    <a:pt x="91" y="411"/>
                  </a:lnTo>
                  <a:lnTo>
                    <a:pt x="91" y="409"/>
                  </a:lnTo>
                  <a:lnTo>
                    <a:pt x="92" y="409"/>
                  </a:lnTo>
                  <a:lnTo>
                    <a:pt x="92" y="407"/>
                  </a:lnTo>
                  <a:lnTo>
                    <a:pt x="91" y="407"/>
                  </a:lnTo>
                  <a:lnTo>
                    <a:pt x="89" y="407"/>
                  </a:lnTo>
                  <a:lnTo>
                    <a:pt x="87" y="407"/>
                  </a:lnTo>
                  <a:lnTo>
                    <a:pt x="87" y="409"/>
                  </a:lnTo>
                  <a:lnTo>
                    <a:pt x="87" y="407"/>
                  </a:lnTo>
                  <a:lnTo>
                    <a:pt x="87" y="409"/>
                  </a:lnTo>
                  <a:lnTo>
                    <a:pt x="87" y="411"/>
                  </a:lnTo>
                  <a:lnTo>
                    <a:pt x="89" y="411"/>
                  </a:lnTo>
                  <a:lnTo>
                    <a:pt x="87" y="411"/>
                  </a:lnTo>
                  <a:lnTo>
                    <a:pt x="89" y="411"/>
                  </a:lnTo>
                  <a:lnTo>
                    <a:pt x="87" y="411"/>
                  </a:lnTo>
                  <a:lnTo>
                    <a:pt x="89" y="411"/>
                  </a:lnTo>
                  <a:lnTo>
                    <a:pt x="87" y="411"/>
                  </a:lnTo>
                  <a:lnTo>
                    <a:pt x="89" y="411"/>
                  </a:lnTo>
                  <a:lnTo>
                    <a:pt x="87" y="411"/>
                  </a:lnTo>
                  <a:lnTo>
                    <a:pt x="89" y="411"/>
                  </a:lnTo>
                  <a:lnTo>
                    <a:pt x="87" y="411"/>
                  </a:lnTo>
                  <a:lnTo>
                    <a:pt x="89" y="411"/>
                  </a:lnTo>
                  <a:lnTo>
                    <a:pt x="87" y="411"/>
                  </a:lnTo>
                  <a:lnTo>
                    <a:pt x="89" y="411"/>
                  </a:lnTo>
                  <a:lnTo>
                    <a:pt x="89" y="413"/>
                  </a:lnTo>
                  <a:lnTo>
                    <a:pt x="89" y="415"/>
                  </a:lnTo>
                  <a:lnTo>
                    <a:pt x="89" y="417"/>
                  </a:lnTo>
                  <a:lnTo>
                    <a:pt x="89" y="419"/>
                  </a:lnTo>
                  <a:lnTo>
                    <a:pt x="87" y="419"/>
                  </a:lnTo>
                  <a:lnTo>
                    <a:pt x="87" y="417"/>
                  </a:lnTo>
                  <a:lnTo>
                    <a:pt x="87" y="419"/>
                  </a:lnTo>
                  <a:lnTo>
                    <a:pt x="87" y="417"/>
                  </a:lnTo>
                  <a:lnTo>
                    <a:pt x="87" y="419"/>
                  </a:lnTo>
                  <a:lnTo>
                    <a:pt x="87" y="417"/>
                  </a:lnTo>
                  <a:lnTo>
                    <a:pt x="87" y="419"/>
                  </a:lnTo>
                  <a:lnTo>
                    <a:pt x="87" y="417"/>
                  </a:lnTo>
                  <a:lnTo>
                    <a:pt x="87" y="419"/>
                  </a:lnTo>
                  <a:lnTo>
                    <a:pt x="87" y="417"/>
                  </a:lnTo>
                  <a:lnTo>
                    <a:pt x="87" y="415"/>
                  </a:lnTo>
                  <a:lnTo>
                    <a:pt x="87" y="413"/>
                  </a:lnTo>
                  <a:lnTo>
                    <a:pt x="85" y="413"/>
                  </a:lnTo>
                  <a:lnTo>
                    <a:pt x="85" y="411"/>
                  </a:lnTo>
                  <a:lnTo>
                    <a:pt x="83" y="411"/>
                  </a:lnTo>
                  <a:lnTo>
                    <a:pt x="85" y="411"/>
                  </a:lnTo>
                  <a:lnTo>
                    <a:pt x="85" y="413"/>
                  </a:lnTo>
                  <a:lnTo>
                    <a:pt x="85" y="411"/>
                  </a:lnTo>
                  <a:lnTo>
                    <a:pt x="85" y="413"/>
                  </a:lnTo>
                  <a:lnTo>
                    <a:pt x="87" y="413"/>
                  </a:lnTo>
                  <a:lnTo>
                    <a:pt x="85" y="413"/>
                  </a:lnTo>
                  <a:lnTo>
                    <a:pt x="87" y="413"/>
                  </a:lnTo>
                  <a:lnTo>
                    <a:pt x="87" y="415"/>
                  </a:lnTo>
                  <a:lnTo>
                    <a:pt x="87" y="417"/>
                  </a:lnTo>
                  <a:lnTo>
                    <a:pt x="87" y="415"/>
                  </a:lnTo>
                  <a:lnTo>
                    <a:pt x="87" y="417"/>
                  </a:lnTo>
                  <a:lnTo>
                    <a:pt x="85" y="417"/>
                  </a:lnTo>
                  <a:lnTo>
                    <a:pt x="83" y="417"/>
                  </a:lnTo>
                  <a:lnTo>
                    <a:pt x="85" y="417"/>
                  </a:lnTo>
                  <a:lnTo>
                    <a:pt x="85" y="419"/>
                  </a:lnTo>
                  <a:lnTo>
                    <a:pt x="85" y="421"/>
                  </a:lnTo>
                  <a:lnTo>
                    <a:pt x="87" y="421"/>
                  </a:lnTo>
                  <a:lnTo>
                    <a:pt x="87" y="423"/>
                  </a:lnTo>
                  <a:lnTo>
                    <a:pt x="87" y="425"/>
                  </a:lnTo>
                  <a:lnTo>
                    <a:pt x="87" y="423"/>
                  </a:lnTo>
                  <a:lnTo>
                    <a:pt x="89" y="423"/>
                  </a:lnTo>
                  <a:lnTo>
                    <a:pt x="89" y="425"/>
                  </a:lnTo>
                  <a:lnTo>
                    <a:pt x="87" y="425"/>
                  </a:lnTo>
                  <a:lnTo>
                    <a:pt x="87" y="426"/>
                  </a:lnTo>
                  <a:lnTo>
                    <a:pt x="87" y="425"/>
                  </a:lnTo>
                  <a:lnTo>
                    <a:pt x="87" y="426"/>
                  </a:lnTo>
                  <a:lnTo>
                    <a:pt x="87" y="425"/>
                  </a:lnTo>
                  <a:lnTo>
                    <a:pt x="87" y="426"/>
                  </a:lnTo>
                  <a:lnTo>
                    <a:pt x="87" y="425"/>
                  </a:lnTo>
                  <a:lnTo>
                    <a:pt x="85" y="425"/>
                  </a:lnTo>
                  <a:lnTo>
                    <a:pt x="85" y="426"/>
                  </a:lnTo>
                  <a:lnTo>
                    <a:pt x="85" y="428"/>
                  </a:lnTo>
                  <a:lnTo>
                    <a:pt x="85" y="430"/>
                  </a:lnTo>
                  <a:close/>
                  <a:moveTo>
                    <a:pt x="163" y="96"/>
                  </a:moveTo>
                  <a:lnTo>
                    <a:pt x="165" y="96"/>
                  </a:lnTo>
                  <a:lnTo>
                    <a:pt x="167" y="96"/>
                  </a:lnTo>
                  <a:lnTo>
                    <a:pt x="167" y="98"/>
                  </a:lnTo>
                  <a:lnTo>
                    <a:pt x="167" y="100"/>
                  </a:lnTo>
                  <a:lnTo>
                    <a:pt x="167" y="102"/>
                  </a:lnTo>
                  <a:lnTo>
                    <a:pt x="165" y="102"/>
                  </a:lnTo>
                  <a:lnTo>
                    <a:pt x="165" y="104"/>
                  </a:lnTo>
                  <a:lnTo>
                    <a:pt x="165" y="106"/>
                  </a:lnTo>
                  <a:lnTo>
                    <a:pt x="165" y="104"/>
                  </a:lnTo>
                  <a:lnTo>
                    <a:pt x="167" y="104"/>
                  </a:lnTo>
                  <a:lnTo>
                    <a:pt x="167" y="106"/>
                  </a:lnTo>
                  <a:lnTo>
                    <a:pt x="167" y="108"/>
                  </a:lnTo>
                  <a:lnTo>
                    <a:pt x="165" y="108"/>
                  </a:lnTo>
                  <a:lnTo>
                    <a:pt x="165" y="109"/>
                  </a:lnTo>
                  <a:lnTo>
                    <a:pt x="167" y="109"/>
                  </a:lnTo>
                  <a:lnTo>
                    <a:pt x="165" y="109"/>
                  </a:lnTo>
                  <a:lnTo>
                    <a:pt x="165" y="111"/>
                  </a:lnTo>
                  <a:lnTo>
                    <a:pt x="165" y="113"/>
                  </a:lnTo>
                  <a:lnTo>
                    <a:pt x="163" y="113"/>
                  </a:lnTo>
                  <a:lnTo>
                    <a:pt x="165" y="113"/>
                  </a:lnTo>
                  <a:lnTo>
                    <a:pt x="165" y="111"/>
                  </a:lnTo>
                  <a:lnTo>
                    <a:pt x="165" y="109"/>
                  </a:lnTo>
                  <a:lnTo>
                    <a:pt x="167" y="109"/>
                  </a:lnTo>
                  <a:lnTo>
                    <a:pt x="165" y="109"/>
                  </a:lnTo>
                  <a:lnTo>
                    <a:pt x="167" y="109"/>
                  </a:lnTo>
                  <a:lnTo>
                    <a:pt x="167" y="108"/>
                  </a:lnTo>
                  <a:lnTo>
                    <a:pt x="169" y="108"/>
                  </a:lnTo>
                  <a:lnTo>
                    <a:pt x="169" y="109"/>
                  </a:lnTo>
                  <a:lnTo>
                    <a:pt x="169" y="108"/>
                  </a:lnTo>
                  <a:lnTo>
                    <a:pt x="169" y="106"/>
                  </a:lnTo>
                  <a:lnTo>
                    <a:pt x="171" y="106"/>
                  </a:lnTo>
                  <a:lnTo>
                    <a:pt x="173" y="106"/>
                  </a:lnTo>
                  <a:lnTo>
                    <a:pt x="171" y="106"/>
                  </a:lnTo>
                  <a:lnTo>
                    <a:pt x="171" y="104"/>
                  </a:lnTo>
                  <a:lnTo>
                    <a:pt x="169" y="104"/>
                  </a:lnTo>
                  <a:lnTo>
                    <a:pt x="169" y="102"/>
                  </a:lnTo>
                  <a:lnTo>
                    <a:pt x="171" y="102"/>
                  </a:lnTo>
                  <a:lnTo>
                    <a:pt x="171" y="100"/>
                  </a:lnTo>
                  <a:lnTo>
                    <a:pt x="171" y="102"/>
                  </a:lnTo>
                  <a:lnTo>
                    <a:pt x="173" y="102"/>
                  </a:lnTo>
                  <a:lnTo>
                    <a:pt x="173" y="100"/>
                  </a:lnTo>
                  <a:lnTo>
                    <a:pt x="171" y="100"/>
                  </a:lnTo>
                  <a:lnTo>
                    <a:pt x="171" y="98"/>
                  </a:lnTo>
                  <a:lnTo>
                    <a:pt x="173" y="98"/>
                  </a:lnTo>
                  <a:lnTo>
                    <a:pt x="173" y="100"/>
                  </a:lnTo>
                  <a:lnTo>
                    <a:pt x="175" y="100"/>
                  </a:lnTo>
                  <a:lnTo>
                    <a:pt x="175" y="102"/>
                  </a:lnTo>
                  <a:lnTo>
                    <a:pt x="177" y="102"/>
                  </a:lnTo>
                  <a:lnTo>
                    <a:pt x="175" y="102"/>
                  </a:lnTo>
                  <a:lnTo>
                    <a:pt x="177" y="102"/>
                  </a:lnTo>
                  <a:lnTo>
                    <a:pt x="175" y="102"/>
                  </a:lnTo>
                  <a:lnTo>
                    <a:pt x="177" y="102"/>
                  </a:lnTo>
                  <a:lnTo>
                    <a:pt x="175" y="102"/>
                  </a:lnTo>
                  <a:lnTo>
                    <a:pt x="177" y="102"/>
                  </a:lnTo>
                  <a:lnTo>
                    <a:pt x="175" y="102"/>
                  </a:lnTo>
                  <a:lnTo>
                    <a:pt x="177" y="102"/>
                  </a:lnTo>
                  <a:lnTo>
                    <a:pt x="177" y="104"/>
                  </a:lnTo>
                  <a:lnTo>
                    <a:pt x="175" y="104"/>
                  </a:lnTo>
                  <a:lnTo>
                    <a:pt x="177" y="104"/>
                  </a:lnTo>
                  <a:lnTo>
                    <a:pt x="175" y="104"/>
                  </a:lnTo>
                  <a:lnTo>
                    <a:pt x="177" y="104"/>
                  </a:lnTo>
                  <a:lnTo>
                    <a:pt x="175" y="104"/>
                  </a:lnTo>
                  <a:lnTo>
                    <a:pt x="177" y="104"/>
                  </a:lnTo>
                  <a:lnTo>
                    <a:pt x="177" y="106"/>
                  </a:lnTo>
                  <a:lnTo>
                    <a:pt x="175" y="106"/>
                  </a:lnTo>
                  <a:lnTo>
                    <a:pt x="177" y="106"/>
                  </a:lnTo>
                  <a:lnTo>
                    <a:pt x="177" y="108"/>
                  </a:lnTo>
                  <a:lnTo>
                    <a:pt x="175" y="108"/>
                  </a:lnTo>
                  <a:lnTo>
                    <a:pt x="177" y="108"/>
                  </a:lnTo>
                  <a:lnTo>
                    <a:pt x="175" y="108"/>
                  </a:lnTo>
                  <a:lnTo>
                    <a:pt x="177" y="108"/>
                  </a:lnTo>
                  <a:lnTo>
                    <a:pt x="177" y="109"/>
                  </a:lnTo>
                  <a:lnTo>
                    <a:pt x="177" y="108"/>
                  </a:lnTo>
                  <a:lnTo>
                    <a:pt x="177" y="109"/>
                  </a:lnTo>
                  <a:lnTo>
                    <a:pt x="177" y="108"/>
                  </a:lnTo>
                  <a:lnTo>
                    <a:pt x="177" y="109"/>
                  </a:lnTo>
                  <a:lnTo>
                    <a:pt x="175" y="109"/>
                  </a:lnTo>
                  <a:lnTo>
                    <a:pt x="175" y="111"/>
                  </a:lnTo>
                  <a:lnTo>
                    <a:pt x="175" y="109"/>
                  </a:lnTo>
                  <a:lnTo>
                    <a:pt x="175" y="111"/>
                  </a:lnTo>
                  <a:lnTo>
                    <a:pt x="175" y="113"/>
                  </a:lnTo>
                  <a:lnTo>
                    <a:pt x="175" y="111"/>
                  </a:lnTo>
                  <a:lnTo>
                    <a:pt x="173" y="111"/>
                  </a:lnTo>
                  <a:lnTo>
                    <a:pt x="173" y="113"/>
                  </a:lnTo>
                  <a:lnTo>
                    <a:pt x="173" y="111"/>
                  </a:lnTo>
                  <a:lnTo>
                    <a:pt x="173" y="113"/>
                  </a:lnTo>
                  <a:lnTo>
                    <a:pt x="171" y="113"/>
                  </a:lnTo>
                  <a:lnTo>
                    <a:pt x="169" y="113"/>
                  </a:lnTo>
                  <a:lnTo>
                    <a:pt x="169" y="115"/>
                  </a:lnTo>
                  <a:lnTo>
                    <a:pt x="169" y="113"/>
                  </a:lnTo>
                  <a:lnTo>
                    <a:pt x="169" y="115"/>
                  </a:lnTo>
                  <a:lnTo>
                    <a:pt x="169" y="117"/>
                  </a:lnTo>
                  <a:lnTo>
                    <a:pt x="169" y="115"/>
                  </a:lnTo>
                  <a:lnTo>
                    <a:pt x="169" y="117"/>
                  </a:lnTo>
                  <a:lnTo>
                    <a:pt x="169" y="115"/>
                  </a:lnTo>
                  <a:lnTo>
                    <a:pt x="169" y="117"/>
                  </a:lnTo>
                  <a:lnTo>
                    <a:pt x="167" y="117"/>
                  </a:lnTo>
                  <a:lnTo>
                    <a:pt x="169" y="117"/>
                  </a:lnTo>
                  <a:lnTo>
                    <a:pt x="167" y="117"/>
                  </a:lnTo>
                  <a:lnTo>
                    <a:pt x="167" y="119"/>
                  </a:lnTo>
                  <a:lnTo>
                    <a:pt x="165" y="119"/>
                  </a:lnTo>
                  <a:lnTo>
                    <a:pt x="165" y="117"/>
                  </a:lnTo>
                  <a:lnTo>
                    <a:pt x="167" y="117"/>
                  </a:lnTo>
                  <a:lnTo>
                    <a:pt x="165" y="117"/>
                  </a:lnTo>
                  <a:lnTo>
                    <a:pt x="167" y="117"/>
                  </a:lnTo>
                  <a:lnTo>
                    <a:pt x="165" y="117"/>
                  </a:lnTo>
                  <a:lnTo>
                    <a:pt x="167" y="117"/>
                  </a:lnTo>
                  <a:lnTo>
                    <a:pt x="165" y="117"/>
                  </a:lnTo>
                  <a:lnTo>
                    <a:pt x="165" y="115"/>
                  </a:lnTo>
                  <a:lnTo>
                    <a:pt x="165" y="117"/>
                  </a:lnTo>
                  <a:lnTo>
                    <a:pt x="163" y="117"/>
                  </a:lnTo>
                  <a:lnTo>
                    <a:pt x="165" y="117"/>
                  </a:lnTo>
                  <a:lnTo>
                    <a:pt x="165" y="119"/>
                  </a:lnTo>
                  <a:lnTo>
                    <a:pt x="165" y="117"/>
                  </a:lnTo>
                  <a:lnTo>
                    <a:pt x="165" y="119"/>
                  </a:lnTo>
                  <a:lnTo>
                    <a:pt x="165" y="117"/>
                  </a:lnTo>
                  <a:lnTo>
                    <a:pt x="163" y="117"/>
                  </a:lnTo>
                  <a:lnTo>
                    <a:pt x="163" y="119"/>
                  </a:lnTo>
                  <a:lnTo>
                    <a:pt x="165" y="119"/>
                  </a:lnTo>
                  <a:lnTo>
                    <a:pt x="163" y="119"/>
                  </a:lnTo>
                  <a:lnTo>
                    <a:pt x="163" y="121"/>
                  </a:lnTo>
                  <a:lnTo>
                    <a:pt x="163" y="119"/>
                  </a:lnTo>
                  <a:lnTo>
                    <a:pt x="165" y="119"/>
                  </a:lnTo>
                  <a:lnTo>
                    <a:pt x="163" y="119"/>
                  </a:lnTo>
                  <a:lnTo>
                    <a:pt x="165" y="119"/>
                  </a:lnTo>
                  <a:lnTo>
                    <a:pt x="165" y="121"/>
                  </a:lnTo>
                  <a:lnTo>
                    <a:pt x="163" y="121"/>
                  </a:lnTo>
                  <a:lnTo>
                    <a:pt x="163" y="119"/>
                  </a:lnTo>
                  <a:lnTo>
                    <a:pt x="163" y="121"/>
                  </a:lnTo>
                  <a:lnTo>
                    <a:pt x="163" y="119"/>
                  </a:lnTo>
                  <a:lnTo>
                    <a:pt x="163" y="121"/>
                  </a:lnTo>
                  <a:lnTo>
                    <a:pt x="163" y="119"/>
                  </a:lnTo>
                  <a:lnTo>
                    <a:pt x="163" y="121"/>
                  </a:lnTo>
                  <a:lnTo>
                    <a:pt x="163" y="119"/>
                  </a:lnTo>
                  <a:lnTo>
                    <a:pt x="163" y="121"/>
                  </a:lnTo>
                  <a:lnTo>
                    <a:pt x="163" y="123"/>
                  </a:lnTo>
                  <a:lnTo>
                    <a:pt x="162" y="123"/>
                  </a:lnTo>
                  <a:lnTo>
                    <a:pt x="162" y="121"/>
                  </a:lnTo>
                  <a:lnTo>
                    <a:pt x="162" y="123"/>
                  </a:lnTo>
                  <a:lnTo>
                    <a:pt x="162" y="121"/>
                  </a:lnTo>
                  <a:lnTo>
                    <a:pt x="162" y="123"/>
                  </a:lnTo>
                  <a:lnTo>
                    <a:pt x="162" y="121"/>
                  </a:lnTo>
                  <a:lnTo>
                    <a:pt x="162" y="123"/>
                  </a:lnTo>
                  <a:lnTo>
                    <a:pt x="162" y="121"/>
                  </a:lnTo>
                  <a:lnTo>
                    <a:pt x="160" y="121"/>
                  </a:lnTo>
                  <a:lnTo>
                    <a:pt x="162" y="121"/>
                  </a:lnTo>
                  <a:lnTo>
                    <a:pt x="160" y="121"/>
                  </a:lnTo>
                  <a:lnTo>
                    <a:pt x="158" y="121"/>
                  </a:lnTo>
                  <a:lnTo>
                    <a:pt x="160" y="121"/>
                  </a:lnTo>
                  <a:lnTo>
                    <a:pt x="158" y="121"/>
                  </a:lnTo>
                  <a:lnTo>
                    <a:pt x="158" y="119"/>
                  </a:lnTo>
                  <a:lnTo>
                    <a:pt x="160" y="119"/>
                  </a:lnTo>
                  <a:lnTo>
                    <a:pt x="160" y="117"/>
                  </a:lnTo>
                  <a:lnTo>
                    <a:pt x="162" y="117"/>
                  </a:lnTo>
                  <a:lnTo>
                    <a:pt x="160" y="117"/>
                  </a:lnTo>
                  <a:lnTo>
                    <a:pt x="162" y="117"/>
                  </a:lnTo>
                  <a:lnTo>
                    <a:pt x="162" y="115"/>
                  </a:lnTo>
                  <a:lnTo>
                    <a:pt x="162" y="113"/>
                  </a:lnTo>
                  <a:lnTo>
                    <a:pt x="162" y="115"/>
                  </a:lnTo>
                  <a:lnTo>
                    <a:pt x="162" y="117"/>
                  </a:lnTo>
                  <a:lnTo>
                    <a:pt x="162" y="115"/>
                  </a:lnTo>
                  <a:lnTo>
                    <a:pt x="162" y="117"/>
                  </a:lnTo>
                  <a:lnTo>
                    <a:pt x="160" y="117"/>
                  </a:lnTo>
                  <a:lnTo>
                    <a:pt x="162" y="117"/>
                  </a:lnTo>
                  <a:lnTo>
                    <a:pt x="160" y="117"/>
                  </a:lnTo>
                  <a:lnTo>
                    <a:pt x="160" y="119"/>
                  </a:lnTo>
                  <a:lnTo>
                    <a:pt x="160" y="117"/>
                  </a:lnTo>
                  <a:lnTo>
                    <a:pt x="160" y="119"/>
                  </a:lnTo>
                  <a:lnTo>
                    <a:pt x="160" y="117"/>
                  </a:lnTo>
                  <a:lnTo>
                    <a:pt x="158" y="117"/>
                  </a:lnTo>
                  <a:lnTo>
                    <a:pt x="160" y="117"/>
                  </a:lnTo>
                  <a:lnTo>
                    <a:pt x="158" y="117"/>
                  </a:lnTo>
                  <a:lnTo>
                    <a:pt x="158" y="119"/>
                  </a:lnTo>
                  <a:lnTo>
                    <a:pt x="160" y="119"/>
                  </a:lnTo>
                  <a:lnTo>
                    <a:pt x="158" y="119"/>
                  </a:lnTo>
                  <a:lnTo>
                    <a:pt x="160" y="119"/>
                  </a:lnTo>
                  <a:lnTo>
                    <a:pt x="158" y="119"/>
                  </a:lnTo>
                  <a:lnTo>
                    <a:pt x="158" y="121"/>
                  </a:lnTo>
                  <a:lnTo>
                    <a:pt x="158" y="119"/>
                  </a:lnTo>
                  <a:lnTo>
                    <a:pt x="158" y="121"/>
                  </a:lnTo>
                  <a:lnTo>
                    <a:pt x="158" y="119"/>
                  </a:lnTo>
                  <a:lnTo>
                    <a:pt x="158" y="121"/>
                  </a:lnTo>
                  <a:lnTo>
                    <a:pt x="156" y="121"/>
                  </a:lnTo>
                  <a:lnTo>
                    <a:pt x="156" y="119"/>
                  </a:lnTo>
                  <a:lnTo>
                    <a:pt x="156" y="121"/>
                  </a:lnTo>
                  <a:lnTo>
                    <a:pt x="158" y="121"/>
                  </a:lnTo>
                  <a:lnTo>
                    <a:pt x="156" y="121"/>
                  </a:lnTo>
                  <a:lnTo>
                    <a:pt x="156" y="123"/>
                  </a:lnTo>
                  <a:lnTo>
                    <a:pt x="156" y="121"/>
                  </a:lnTo>
                  <a:lnTo>
                    <a:pt x="156" y="123"/>
                  </a:lnTo>
                  <a:lnTo>
                    <a:pt x="156" y="121"/>
                  </a:lnTo>
                  <a:lnTo>
                    <a:pt x="156" y="123"/>
                  </a:lnTo>
                  <a:lnTo>
                    <a:pt x="156" y="121"/>
                  </a:lnTo>
                  <a:lnTo>
                    <a:pt x="156" y="123"/>
                  </a:lnTo>
                  <a:lnTo>
                    <a:pt x="156" y="121"/>
                  </a:lnTo>
                  <a:lnTo>
                    <a:pt x="156" y="123"/>
                  </a:lnTo>
                  <a:lnTo>
                    <a:pt x="154" y="123"/>
                  </a:lnTo>
                  <a:lnTo>
                    <a:pt x="156" y="123"/>
                  </a:lnTo>
                  <a:lnTo>
                    <a:pt x="154" y="123"/>
                  </a:lnTo>
                  <a:lnTo>
                    <a:pt x="154" y="121"/>
                  </a:lnTo>
                  <a:lnTo>
                    <a:pt x="154" y="119"/>
                  </a:lnTo>
                  <a:lnTo>
                    <a:pt x="156" y="119"/>
                  </a:lnTo>
                  <a:lnTo>
                    <a:pt x="154" y="119"/>
                  </a:lnTo>
                  <a:lnTo>
                    <a:pt x="156" y="119"/>
                  </a:lnTo>
                  <a:lnTo>
                    <a:pt x="156" y="117"/>
                  </a:lnTo>
                  <a:lnTo>
                    <a:pt x="156" y="119"/>
                  </a:lnTo>
                  <a:lnTo>
                    <a:pt x="156" y="117"/>
                  </a:lnTo>
                  <a:lnTo>
                    <a:pt x="156" y="115"/>
                  </a:lnTo>
                  <a:lnTo>
                    <a:pt x="158" y="115"/>
                  </a:lnTo>
                  <a:lnTo>
                    <a:pt x="158" y="117"/>
                  </a:lnTo>
                  <a:lnTo>
                    <a:pt x="158" y="115"/>
                  </a:lnTo>
                  <a:lnTo>
                    <a:pt x="158" y="117"/>
                  </a:lnTo>
                  <a:lnTo>
                    <a:pt x="158" y="115"/>
                  </a:lnTo>
                  <a:lnTo>
                    <a:pt x="158" y="117"/>
                  </a:lnTo>
                  <a:lnTo>
                    <a:pt x="158" y="115"/>
                  </a:lnTo>
                  <a:lnTo>
                    <a:pt x="158" y="117"/>
                  </a:lnTo>
                  <a:lnTo>
                    <a:pt x="158" y="115"/>
                  </a:lnTo>
                  <a:lnTo>
                    <a:pt x="158" y="117"/>
                  </a:lnTo>
                  <a:lnTo>
                    <a:pt x="160" y="117"/>
                  </a:lnTo>
                  <a:lnTo>
                    <a:pt x="160" y="115"/>
                  </a:lnTo>
                  <a:lnTo>
                    <a:pt x="160" y="117"/>
                  </a:lnTo>
                  <a:lnTo>
                    <a:pt x="158" y="117"/>
                  </a:lnTo>
                  <a:lnTo>
                    <a:pt x="158" y="115"/>
                  </a:lnTo>
                  <a:lnTo>
                    <a:pt x="158" y="117"/>
                  </a:lnTo>
                  <a:lnTo>
                    <a:pt x="158" y="115"/>
                  </a:lnTo>
                  <a:lnTo>
                    <a:pt x="156" y="115"/>
                  </a:lnTo>
                  <a:lnTo>
                    <a:pt x="158" y="115"/>
                  </a:lnTo>
                  <a:lnTo>
                    <a:pt x="156" y="115"/>
                  </a:lnTo>
                  <a:lnTo>
                    <a:pt x="158" y="115"/>
                  </a:lnTo>
                  <a:lnTo>
                    <a:pt x="156" y="115"/>
                  </a:lnTo>
                  <a:lnTo>
                    <a:pt x="158" y="115"/>
                  </a:lnTo>
                  <a:lnTo>
                    <a:pt x="156" y="115"/>
                  </a:lnTo>
                  <a:lnTo>
                    <a:pt x="158" y="115"/>
                  </a:lnTo>
                  <a:lnTo>
                    <a:pt x="158" y="113"/>
                  </a:lnTo>
                  <a:lnTo>
                    <a:pt x="158" y="115"/>
                  </a:lnTo>
                  <a:lnTo>
                    <a:pt x="158" y="113"/>
                  </a:lnTo>
                  <a:lnTo>
                    <a:pt x="158" y="115"/>
                  </a:lnTo>
                  <a:lnTo>
                    <a:pt x="158" y="113"/>
                  </a:lnTo>
                  <a:lnTo>
                    <a:pt x="156" y="113"/>
                  </a:lnTo>
                  <a:lnTo>
                    <a:pt x="156" y="111"/>
                  </a:lnTo>
                  <a:lnTo>
                    <a:pt x="158" y="111"/>
                  </a:lnTo>
                  <a:lnTo>
                    <a:pt x="160" y="111"/>
                  </a:lnTo>
                  <a:lnTo>
                    <a:pt x="158" y="111"/>
                  </a:lnTo>
                  <a:lnTo>
                    <a:pt x="160" y="111"/>
                  </a:lnTo>
                  <a:lnTo>
                    <a:pt x="158" y="111"/>
                  </a:lnTo>
                  <a:lnTo>
                    <a:pt x="160" y="111"/>
                  </a:lnTo>
                  <a:lnTo>
                    <a:pt x="160" y="109"/>
                  </a:lnTo>
                  <a:lnTo>
                    <a:pt x="160" y="111"/>
                  </a:lnTo>
                  <a:lnTo>
                    <a:pt x="160" y="109"/>
                  </a:lnTo>
                  <a:lnTo>
                    <a:pt x="162" y="109"/>
                  </a:lnTo>
                  <a:lnTo>
                    <a:pt x="162" y="111"/>
                  </a:lnTo>
                  <a:lnTo>
                    <a:pt x="162" y="109"/>
                  </a:lnTo>
                  <a:lnTo>
                    <a:pt x="163" y="109"/>
                  </a:lnTo>
                  <a:lnTo>
                    <a:pt x="162" y="109"/>
                  </a:lnTo>
                  <a:lnTo>
                    <a:pt x="160" y="109"/>
                  </a:lnTo>
                  <a:lnTo>
                    <a:pt x="160" y="108"/>
                  </a:lnTo>
                  <a:lnTo>
                    <a:pt x="160" y="106"/>
                  </a:lnTo>
                  <a:lnTo>
                    <a:pt x="162" y="106"/>
                  </a:lnTo>
                  <a:lnTo>
                    <a:pt x="163" y="106"/>
                  </a:lnTo>
                  <a:lnTo>
                    <a:pt x="163" y="108"/>
                  </a:lnTo>
                  <a:lnTo>
                    <a:pt x="163" y="106"/>
                  </a:lnTo>
                  <a:lnTo>
                    <a:pt x="162" y="106"/>
                  </a:lnTo>
                  <a:lnTo>
                    <a:pt x="160" y="106"/>
                  </a:lnTo>
                  <a:lnTo>
                    <a:pt x="160" y="104"/>
                  </a:lnTo>
                  <a:lnTo>
                    <a:pt x="160" y="102"/>
                  </a:lnTo>
                  <a:lnTo>
                    <a:pt x="162" y="102"/>
                  </a:lnTo>
                  <a:lnTo>
                    <a:pt x="162" y="104"/>
                  </a:lnTo>
                  <a:lnTo>
                    <a:pt x="162" y="102"/>
                  </a:lnTo>
                  <a:lnTo>
                    <a:pt x="163" y="102"/>
                  </a:lnTo>
                  <a:lnTo>
                    <a:pt x="162" y="102"/>
                  </a:lnTo>
                  <a:lnTo>
                    <a:pt x="162" y="100"/>
                  </a:lnTo>
                  <a:lnTo>
                    <a:pt x="163" y="100"/>
                  </a:lnTo>
                  <a:lnTo>
                    <a:pt x="162" y="100"/>
                  </a:lnTo>
                  <a:lnTo>
                    <a:pt x="162" y="98"/>
                  </a:lnTo>
                  <a:lnTo>
                    <a:pt x="163" y="98"/>
                  </a:lnTo>
                  <a:lnTo>
                    <a:pt x="163" y="96"/>
                  </a:lnTo>
                  <a:lnTo>
                    <a:pt x="162" y="96"/>
                  </a:lnTo>
                  <a:lnTo>
                    <a:pt x="163" y="96"/>
                  </a:lnTo>
                  <a:close/>
                  <a:moveTo>
                    <a:pt x="190" y="69"/>
                  </a:moveTo>
                  <a:lnTo>
                    <a:pt x="190" y="71"/>
                  </a:lnTo>
                  <a:lnTo>
                    <a:pt x="192" y="71"/>
                  </a:lnTo>
                  <a:lnTo>
                    <a:pt x="192" y="73"/>
                  </a:lnTo>
                  <a:lnTo>
                    <a:pt x="192" y="75"/>
                  </a:lnTo>
                  <a:lnTo>
                    <a:pt x="192" y="73"/>
                  </a:lnTo>
                  <a:lnTo>
                    <a:pt x="192" y="71"/>
                  </a:lnTo>
                  <a:lnTo>
                    <a:pt x="192" y="69"/>
                  </a:lnTo>
                  <a:lnTo>
                    <a:pt x="192" y="71"/>
                  </a:lnTo>
                  <a:lnTo>
                    <a:pt x="192" y="69"/>
                  </a:lnTo>
                  <a:lnTo>
                    <a:pt x="192" y="71"/>
                  </a:lnTo>
                  <a:lnTo>
                    <a:pt x="194" y="71"/>
                  </a:lnTo>
                  <a:lnTo>
                    <a:pt x="194" y="73"/>
                  </a:lnTo>
                  <a:lnTo>
                    <a:pt x="194" y="71"/>
                  </a:lnTo>
                  <a:lnTo>
                    <a:pt x="196" y="71"/>
                  </a:lnTo>
                  <a:lnTo>
                    <a:pt x="194" y="71"/>
                  </a:lnTo>
                  <a:lnTo>
                    <a:pt x="196" y="71"/>
                  </a:lnTo>
                  <a:lnTo>
                    <a:pt x="196" y="73"/>
                  </a:lnTo>
                  <a:lnTo>
                    <a:pt x="196" y="75"/>
                  </a:lnTo>
                  <a:lnTo>
                    <a:pt x="194" y="75"/>
                  </a:lnTo>
                  <a:lnTo>
                    <a:pt x="194" y="77"/>
                  </a:lnTo>
                  <a:lnTo>
                    <a:pt x="194" y="75"/>
                  </a:lnTo>
                  <a:lnTo>
                    <a:pt x="194" y="77"/>
                  </a:lnTo>
                  <a:lnTo>
                    <a:pt x="196" y="77"/>
                  </a:lnTo>
                  <a:lnTo>
                    <a:pt x="196" y="75"/>
                  </a:lnTo>
                  <a:lnTo>
                    <a:pt x="196" y="73"/>
                  </a:lnTo>
                  <a:lnTo>
                    <a:pt x="198" y="73"/>
                  </a:lnTo>
                  <a:lnTo>
                    <a:pt x="198" y="75"/>
                  </a:lnTo>
                  <a:lnTo>
                    <a:pt x="198" y="77"/>
                  </a:lnTo>
                  <a:lnTo>
                    <a:pt x="196" y="77"/>
                  </a:lnTo>
                  <a:lnTo>
                    <a:pt x="196" y="79"/>
                  </a:lnTo>
                  <a:lnTo>
                    <a:pt x="198" y="79"/>
                  </a:lnTo>
                  <a:lnTo>
                    <a:pt x="198" y="77"/>
                  </a:lnTo>
                  <a:lnTo>
                    <a:pt x="198" y="79"/>
                  </a:lnTo>
                  <a:lnTo>
                    <a:pt x="198" y="81"/>
                  </a:lnTo>
                  <a:lnTo>
                    <a:pt x="198" y="79"/>
                  </a:lnTo>
                  <a:lnTo>
                    <a:pt x="198" y="81"/>
                  </a:lnTo>
                  <a:lnTo>
                    <a:pt x="196" y="81"/>
                  </a:lnTo>
                  <a:lnTo>
                    <a:pt x="196" y="83"/>
                  </a:lnTo>
                  <a:lnTo>
                    <a:pt x="196" y="81"/>
                  </a:lnTo>
                  <a:lnTo>
                    <a:pt x="196" y="83"/>
                  </a:lnTo>
                  <a:lnTo>
                    <a:pt x="196" y="85"/>
                  </a:lnTo>
                  <a:lnTo>
                    <a:pt x="196" y="83"/>
                  </a:lnTo>
                  <a:lnTo>
                    <a:pt x="196" y="85"/>
                  </a:lnTo>
                  <a:lnTo>
                    <a:pt x="194" y="85"/>
                  </a:lnTo>
                  <a:lnTo>
                    <a:pt x="196" y="85"/>
                  </a:lnTo>
                  <a:lnTo>
                    <a:pt x="196" y="86"/>
                  </a:lnTo>
                  <a:lnTo>
                    <a:pt x="198" y="86"/>
                  </a:lnTo>
                  <a:lnTo>
                    <a:pt x="196" y="86"/>
                  </a:lnTo>
                  <a:lnTo>
                    <a:pt x="196" y="88"/>
                  </a:lnTo>
                  <a:lnTo>
                    <a:pt x="194" y="88"/>
                  </a:lnTo>
                  <a:lnTo>
                    <a:pt x="192" y="88"/>
                  </a:lnTo>
                  <a:lnTo>
                    <a:pt x="190" y="88"/>
                  </a:lnTo>
                  <a:lnTo>
                    <a:pt x="190" y="86"/>
                  </a:lnTo>
                  <a:lnTo>
                    <a:pt x="188" y="86"/>
                  </a:lnTo>
                  <a:lnTo>
                    <a:pt x="188" y="88"/>
                  </a:lnTo>
                  <a:lnTo>
                    <a:pt x="187" y="88"/>
                  </a:lnTo>
                  <a:lnTo>
                    <a:pt x="187" y="90"/>
                  </a:lnTo>
                  <a:lnTo>
                    <a:pt x="187" y="92"/>
                  </a:lnTo>
                  <a:lnTo>
                    <a:pt x="185" y="92"/>
                  </a:lnTo>
                  <a:lnTo>
                    <a:pt x="187" y="92"/>
                  </a:lnTo>
                  <a:lnTo>
                    <a:pt x="185" y="92"/>
                  </a:lnTo>
                  <a:lnTo>
                    <a:pt x="185" y="94"/>
                  </a:lnTo>
                  <a:lnTo>
                    <a:pt x="185" y="92"/>
                  </a:lnTo>
                  <a:lnTo>
                    <a:pt x="187" y="92"/>
                  </a:lnTo>
                  <a:lnTo>
                    <a:pt x="187" y="94"/>
                  </a:lnTo>
                  <a:lnTo>
                    <a:pt x="185" y="94"/>
                  </a:lnTo>
                  <a:lnTo>
                    <a:pt x="183" y="94"/>
                  </a:lnTo>
                  <a:lnTo>
                    <a:pt x="183" y="92"/>
                  </a:lnTo>
                  <a:lnTo>
                    <a:pt x="183" y="94"/>
                  </a:lnTo>
                  <a:lnTo>
                    <a:pt x="183" y="92"/>
                  </a:lnTo>
                  <a:lnTo>
                    <a:pt x="183" y="94"/>
                  </a:lnTo>
                  <a:lnTo>
                    <a:pt x="185" y="94"/>
                  </a:lnTo>
                  <a:lnTo>
                    <a:pt x="185" y="92"/>
                  </a:lnTo>
                  <a:lnTo>
                    <a:pt x="183" y="92"/>
                  </a:lnTo>
                  <a:lnTo>
                    <a:pt x="185" y="92"/>
                  </a:lnTo>
                  <a:lnTo>
                    <a:pt x="183" y="92"/>
                  </a:lnTo>
                  <a:lnTo>
                    <a:pt x="185" y="92"/>
                  </a:lnTo>
                  <a:lnTo>
                    <a:pt x="183" y="92"/>
                  </a:lnTo>
                  <a:lnTo>
                    <a:pt x="185" y="92"/>
                  </a:lnTo>
                  <a:lnTo>
                    <a:pt x="183" y="92"/>
                  </a:lnTo>
                  <a:lnTo>
                    <a:pt x="181" y="92"/>
                  </a:lnTo>
                  <a:lnTo>
                    <a:pt x="183" y="92"/>
                  </a:lnTo>
                  <a:lnTo>
                    <a:pt x="181" y="92"/>
                  </a:lnTo>
                  <a:lnTo>
                    <a:pt x="179" y="92"/>
                  </a:lnTo>
                  <a:lnTo>
                    <a:pt x="181" y="92"/>
                  </a:lnTo>
                  <a:lnTo>
                    <a:pt x="179" y="92"/>
                  </a:lnTo>
                  <a:lnTo>
                    <a:pt x="179" y="90"/>
                  </a:lnTo>
                  <a:lnTo>
                    <a:pt x="181" y="90"/>
                  </a:lnTo>
                  <a:lnTo>
                    <a:pt x="181" y="88"/>
                  </a:lnTo>
                  <a:lnTo>
                    <a:pt x="183" y="88"/>
                  </a:lnTo>
                  <a:lnTo>
                    <a:pt x="185" y="88"/>
                  </a:lnTo>
                  <a:lnTo>
                    <a:pt x="183" y="88"/>
                  </a:lnTo>
                  <a:lnTo>
                    <a:pt x="185" y="88"/>
                  </a:lnTo>
                  <a:lnTo>
                    <a:pt x="183" y="88"/>
                  </a:lnTo>
                  <a:lnTo>
                    <a:pt x="185" y="88"/>
                  </a:lnTo>
                  <a:lnTo>
                    <a:pt x="185" y="86"/>
                  </a:lnTo>
                  <a:lnTo>
                    <a:pt x="185" y="88"/>
                  </a:lnTo>
                  <a:lnTo>
                    <a:pt x="185" y="86"/>
                  </a:lnTo>
                  <a:lnTo>
                    <a:pt x="187" y="86"/>
                  </a:lnTo>
                  <a:lnTo>
                    <a:pt x="185" y="86"/>
                  </a:lnTo>
                  <a:lnTo>
                    <a:pt x="183" y="86"/>
                  </a:lnTo>
                  <a:lnTo>
                    <a:pt x="181" y="86"/>
                  </a:lnTo>
                  <a:lnTo>
                    <a:pt x="183" y="86"/>
                  </a:lnTo>
                  <a:lnTo>
                    <a:pt x="181" y="86"/>
                  </a:lnTo>
                  <a:lnTo>
                    <a:pt x="181" y="85"/>
                  </a:lnTo>
                  <a:lnTo>
                    <a:pt x="183" y="85"/>
                  </a:lnTo>
                  <a:lnTo>
                    <a:pt x="185" y="85"/>
                  </a:lnTo>
                  <a:lnTo>
                    <a:pt x="185" y="86"/>
                  </a:lnTo>
                  <a:lnTo>
                    <a:pt x="185" y="85"/>
                  </a:lnTo>
                  <a:lnTo>
                    <a:pt x="185" y="86"/>
                  </a:lnTo>
                  <a:lnTo>
                    <a:pt x="185" y="85"/>
                  </a:lnTo>
                  <a:lnTo>
                    <a:pt x="185" y="83"/>
                  </a:lnTo>
                  <a:lnTo>
                    <a:pt x="185" y="85"/>
                  </a:lnTo>
                  <a:lnTo>
                    <a:pt x="183" y="85"/>
                  </a:lnTo>
                  <a:lnTo>
                    <a:pt x="183" y="83"/>
                  </a:lnTo>
                  <a:lnTo>
                    <a:pt x="181" y="83"/>
                  </a:lnTo>
                  <a:lnTo>
                    <a:pt x="181" y="81"/>
                  </a:lnTo>
                  <a:lnTo>
                    <a:pt x="183" y="81"/>
                  </a:lnTo>
                  <a:lnTo>
                    <a:pt x="183" y="83"/>
                  </a:lnTo>
                  <a:lnTo>
                    <a:pt x="183" y="81"/>
                  </a:lnTo>
                  <a:lnTo>
                    <a:pt x="185" y="81"/>
                  </a:lnTo>
                  <a:lnTo>
                    <a:pt x="185" y="83"/>
                  </a:lnTo>
                  <a:lnTo>
                    <a:pt x="185" y="81"/>
                  </a:lnTo>
                  <a:lnTo>
                    <a:pt x="183" y="81"/>
                  </a:lnTo>
                  <a:lnTo>
                    <a:pt x="185" y="81"/>
                  </a:lnTo>
                  <a:lnTo>
                    <a:pt x="185" y="79"/>
                  </a:lnTo>
                  <a:lnTo>
                    <a:pt x="183" y="79"/>
                  </a:lnTo>
                  <a:lnTo>
                    <a:pt x="183" y="81"/>
                  </a:lnTo>
                  <a:lnTo>
                    <a:pt x="181" y="81"/>
                  </a:lnTo>
                  <a:lnTo>
                    <a:pt x="181" y="79"/>
                  </a:lnTo>
                  <a:lnTo>
                    <a:pt x="183" y="79"/>
                  </a:lnTo>
                  <a:lnTo>
                    <a:pt x="181" y="79"/>
                  </a:lnTo>
                  <a:lnTo>
                    <a:pt x="183" y="79"/>
                  </a:lnTo>
                  <a:lnTo>
                    <a:pt x="185" y="79"/>
                  </a:lnTo>
                  <a:lnTo>
                    <a:pt x="185" y="77"/>
                  </a:lnTo>
                  <a:lnTo>
                    <a:pt x="185" y="79"/>
                  </a:lnTo>
                  <a:lnTo>
                    <a:pt x="185" y="77"/>
                  </a:lnTo>
                  <a:lnTo>
                    <a:pt x="185" y="79"/>
                  </a:lnTo>
                  <a:lnTo>
                    <a:pt x="185" y="77"/>
                  </a:lnTo>
                  <a:lnTo>
                    <a:pt x="185" y="79"/>
                  </a:lnTo>
                  <a:lnTo>
                    <a:pt x="187" y="77"/>
                  </a:lnTo>
                  <a:lnTo>
                    <a:pt x="187" y="79"/>
                  </a:lnTo>
                  <a:lnTo>
                    <a:pt x="187" y="77"/>
                  </a:lnTo>
                  <a:lnTo>
                    <a:pt x="187" y="79"/>
                  </a:lnTo>
                  <a:lnTo>
                    <a:pt x="188" y="79"/>
                  </a:lnTo>
                  <a:lnTo>
                    <a:pt x="188" y="81"/>
                  </a:lnTo>
                  <a:lnTo>
                    <a:pt x="188" y="79"/>
                  </a:lnTo>
                  <a:lnTo>
                    <a:pt x="187" y="79"/>
                  </a:lnTo>
                  <a:lnTo>
                    <a:pt x="188" y="79"/>
                  </a:lnTo>
                  <a:lnTo>
                    <a:pt x="187" y="79"/>
                  </a:lnTo>
                  <a:lnTo>
                    <a:pt x="187" y="77"/>
                  </a:lnTo>
                  <a:lnTo>
                    <a:pt x="188" y="77"/>
                  </a:lnTo>
                  <a:lnTo>
                    <a:pt x="190" y="77"/>
                  </a:lnTo>
                  <a:lnTo>
                    <a:pt x="188" y="77"/>
                  </a:lnTo>
                  <a:lnTo>
                    <a:pt x="187" y="77"/>
                  </a:lnTo>
                  <a:lnTo>
                    <a:pt x="187" y="75"/>
                  </a:lnTo>
                  <a:lnTo>
                    <a:pt x="185" y="75"/>
                  </a:lnTo>
                  <a:lnTo>
                    <a:pt x="187" y="75"/>
                  </a:lnTo>
                  <a:lnTo>
                    <a:pt x="187" y="73"/>
                  </a:lnTo>
                  <a:lnTo>
                    <a:pt x="187" y="75"/>
                  </a:lnTo>
                  <a:lnTo>
                    <a:pt x="187" y="77"/>
                  </a:lnTo>
                  <a:lnTo>
                    <a:pt x="188" y="77"/>
                  </a:lnTo>
                  <a:lnTo>
                    <a:pt x="188" y="75"/>
                  </a:lnTo>
                  <a:lnTo>
                    <a:pt x="187" y="75"/>
                  </a:lnTo>
                  <a:lnTo>
                    <a:pt x="188" y="75"/>
                  </a:lnTo>
                  <a:lnTo>
                    <a:pt x="188" y="73"/>
                  </a:lnTo>
                  <a:lnTo>
                    <a:pt x="187" y="73"/>
                  </a:lnTo>
                  <a:lnTo>
                    <a:pt x="188" y="73"/>
                  </a:lnTo>
                  <a:lnTo>
                    <a:pt x="190" y="73"/>
                  </a:lnTo>
                  <a:lnTo>
                    <a:pt x="190" y="75"/>
                  </a:lnTo>
                  <a:lnTo>
                    <a:pt x="192" y="77"/>
                  </a:lnTo>
                  <a:lnTo>
                    <a:pt x="192" y="75"/>
                  </a:lnTo>
                  <a:lnTo>
                    <a:pt x="190" y="75"/>
                  </a:lnTo>
                  <a:lnTo>
                    <a:pt x="190" y="73"/>
                  </a:lnTo>
                  <a:lnTo>
                    <a:pt x="190" y="71"/>
                  </a:lnTo>
                  <a:lnTo>
                    <a:pt x="188" y="71"/>
                  </a:lnTo>
                  <a:lnTo>
                    <a:pt x="190" y="71"/>
                  </a:lnTo>
                  <a:lnTo>
                    <a:pt x="190" y="69"/>
                  </a:lnTo>
                  <a:close/>
                  <a:moveTo>
                    <a:pt x="275" y="15"/>
                  </a:moveTo>
                  <a:lnTo>
                    <a:pt x="277" y="15"/>
                  </a:lnTo>
                  <a:lnTo>
                    <a:pt x="277" y="17"/>
                  </a:lnTo>
                  <a:lnTo>
                    <a:pt x="275" y="17"/>
                  </a:lnTo>
                  <a:lnTo>
                    <a:pt x="277" y="17"/>
                  </a:lnTo>
                  <a:lnTo>
                    <a:pt x="275" y="17"/>
                  </a:lnTo>
                  <a:lnTo>
                    <a:pt x="277" y="17"/>
                  </a:lnTo>
                  <a:lnTo>
                    <a:pt x="277" y="19"/>
                  </a:lnTo>
                  <a:lnTo>
                    <a:pt x="279" y="19"/>
                  </a:lnTo>
                  <a:lnTo>
                    <a:pt x="277" y="19"/>
                  </a:lnTo>
                  <a:lnTo>
                    <a:pt x="279" y="19"/>
                  </a:lnTo>
                  <a:lnTo>
                    <a:pt x="277" y="19"/>
                  </a:lnTo>
                  <a:lnTo>
                    <a:pt x="277" y="21"/>
                  </a:lnTo>
                  <a:lnTo>
                    <a:pt x="275" y="21"/>
                  </a:lnTo>
                  <a:lnTo>
                    <a:pt x="275" y="23"/>
                  </a:lnTo>
                  <a:lnTo>
                    <a:pt x="275" y="21"/>
                  </a:lnTo>
                  <a:lnTo>
                    <a:pt x="275" y="23"/>
                  </a:lnTo>
                  <a:lnTo>
                    <a:pt x="273" y="23"/>
                  </a:lnTo>
                  <a:lnTo>
                    <a:pt x="275" y="23"/>
                  </a:lnTo>
                  <a:lnTo>
                    <a:pt x="273" y="23"/>
                  </a:lnTo>
                  <a:lnTo>
                    <a:pt x="273" y="25"/>
                  </a:lnTo>
                  <a:lnTo>
                    <a:pt x="271" y="25"/>
                  </a:lnTo>
                  <a:lnTo>
                    <a:pt x="271" y="27"/>
                  </a:lnTo>
                  <a:lnTo>
                    <a:pt x="273" y="27"/>
                  </a:lnTo>
                  <a:lnTo>
                    <a:pt x="271" y="27"/>
                  </a:lnTo>
                  <a:lnTo>
                    <a:pt x="271" y="29"/>
                  </a:lnTo>
                  <a:lnTo>
                    <a:pt x="271" y="27"/>
                  </a:lnTo>
                  <a:lnTo>
                    <a:pt x="269" y="27"/>
                  </a:lnTo>
                  <a:lnTo>
                    <a:pt x="271" y="27"/>
                  </a:lnTo>
                  <a:lnTo>
                    <a:pt x="269" y="27"/>
                  </a:lnTo>
                  <a:lnTo>
                    <a:pt x="271" y="27"/>
                  </a:lnTo>
                  <a:lnTo>
                    <a:pt x="271" y="29"/>
                  </a:lnTo>
                  <a:lnTo>
                    <a:pt x="269" y="29"/>
                  </a:lnTo>
                  <a:lnTo>
                    <a:pt x="269" y="27"/>
                  </a:lnTo>
                  <a:lnTo>
                    <a:pt x="269" y="29"/>
                  </a:lnTo>
                  <a:lnTo>
                    <a:pt x="269" y="31"/>
                  </a:lnTo>
                  <a:lnTo>
                    <a:pt x="267" y="31"/>
                  </a:lnTo>
                  <a:lnTo>
                    <a:pt x="267" y="29"/>
                  </a:lnTo>
                  <a:lnTo>
                    <a:pt x="267" y="31"/>
                  </a:lnTo>
                  <a:lnTo>
                    <a:pt x="267" y="29"/>
                  </a:lnTo>
                  <a:lnTo>
                    <a:pt x="265" y="29"/>
                  </a:lnTo>
                  <a:lnTo>
                    <a:pt x="267" y="29"/>
                  </a:lnTo>
                  <a:lnTo>
                    <a:pt x="265" y="29"/>
                  </a:lnTo>
                  <a:lnTo>
                    <a:pt x="267" y="29"/>
                  </a:lnTo>
                  <a:lnTo>
                    <a:pt x="265" y="29"/>
                  </a:lnTo>
                  <a:lnTo>
                    <a:pt x="267" y="29"/>
                  </a:lnTo>
                  <a:lnTo>
                    <a:pt x="267" y="31"/>
                  </a:lnTo>
                  <a:lnTo>
                    <a:pt x="265" y="31"/>
                  </a:lnTo>
                  <a:lnTo>
                    <a:pt x="265" y="29"/>
                  </a:lnTo>
                  <a:lnTo>
                    <a:pt x="265" y="31"/>
                  </a:lnTo>
                  <a:lnTo>
                    <a:pt x="265" y="29"/>
                  </a:lnTo>
                  <a:lnTo>
                    <a:pt x="267" y="29"/>
                  </a:lnTo>
                  <a:lnTo>
                    <a:pt x="265" y="29"/>
                  </a:lnTo>
                  <a:lnTo>
                    <a:pt x="265" y="31"/>
                  </a:lnTo>
                  <a:lnTo>
                    <a:pt x="263" y="31"/>
                  </a:lnTo>
                  <a:lnTo>
                    <a:pt x="261" y="31"/>
                  </a:lnTo>
                  <a:lnTo>
                    <a:pt x="263" y="31"/>
                  </a:lnTo>
                  <a:lnTo>
                    <a:pt x="261" y="31"/>
                  </a:lnTo>
                  <a:lnTo>
                    <a:pt x="263" y="31"/>
                  </a:lnTo>
                  <a:lnTo>
                    <a:pt x="261" y="31"/>
                  </a:lnTo>
                  <a:lnTo>
                    <a:pt x="263" y="31"/>
                  </a:lnTo>
                  <a:lnTo>
                    <a:pt x="261" y="31"/>
                  </a:lnTo>
                  <a:lnTo>
                    <a:pt x="263" y="31"/>
                  </a:lnTo>
                  <a:lnTo>
                    <a:pt x="263" y="33"/>
                  </a:lnTo>
                  <a:lnTo>
                    <a:pt x="261" y="33"/>
                  </a:lnTo>
                  <a:lnTo>
                    <a:pt x="261" y="31"/>
                  </a:lnTo>
                  <a:lnTo>
                    <a:pt x="261" y="33"/>
                  </a:lnTo>
                  <a:lnTo>
                    <a:pt x="259" y="33"/>
                  </a:lnTo>
                  <a:lnTo>
                    <a:pt x="259" y="31"/>
                  </a:lnTo>
                  <a:lnTo>
                    <a:pt x="259" y="29"/>
                  </a:lnTo>
                  <a:lnTo>
                    <a:pt x="259" y="31"/>
                  </a:lnTo>
                  <a:lnTo>
                    <a:pt x="259" y="33"/>
                  </a:lnTo>
                  <a:lnTo>
                    <a:pt x="258" y="33"/>
                  </a:lnTo>
                  <a:lnTo>
                    <a:pt x="258" y="31"/>
                  </a:lnTo>
                  <a:lnTo>
                    <a:pt x="258" y="33"/>
                  </a:lnTo>
                  <a:lnTo>
                    <a:pt x="258" y="31"/>
                  </a:lnTo>
                  <a:lnTo>
                    <a:pt x="258" y="29"/>
                  </a:lnTo>
                  <a:lnTo>
                    <a:pt x="259" y="29"/>
                  </a:lnTo>
                  <a:lnTo>
                    <a:pt x="259" y="27"/>
                  </a:lnTo>
                  <a:lnTo>
                    <a:pt x="259" y="29"/>
                  </a:lnTo>
                  <a:lnTo>
                    <a:pt x="259" y="27"/>
                  </a:lnTo>
                  <a:lnTo>
                    <a:pt x="258" y="27"/>
                  </a:lnTo>
                  <a:lnTo>
                    <a:pt x="256" y="27"/>
                  </a:lnTo>
                  <a:lnTo>
                    <a:pt x="256" y="25"/>
                  </a:lnTo>
                  <a:lnTo>
                    <a:pt x="254" y="25"/>
                  </a:lnTo>
                  <a:lnTo>
                    <a:pt x="256" y="25"/>
                  </a:lnTo>
                  <a:lnTo>
                    <a:pt x="256" y="23"/>
                  </a:lnTo>
                  <a:lnTo>
                    <a:pt x="256" y="25"/>
                  </a:lnTo>
                  <a:lnTo>
                    <a:pt x="256" y="23"/>
                  </a:lnTo>
                  <a:lnTo>
                    <a:pt x="256" y="25"/>
                  </a:lnTo>
                  <a:lnTo>
                    <a:pt x="258" y="25"/>
                  </a:lnTo>
                  <a:lnTo>
                    <a:pt x="259" y="25"/>
                  </a:lnTo>
                  <a:lnTo>
                    <a:pt x="259" y="23"/>
                  </a:lnTo>
                  <a:lnTo>
                    <a:pt x="259" y="25"/>
                  </a:lnTo>
                  <a:lnTo>
                    <a:pt x="261" y="25"/>
                  </a:lnTo>
                  <a:lnTo>
                    <a:pt x="261" y="23"/>
                  </a:lnTo>
                  <a:lnTo>
                    <a:pt x="261" y="21"/>
                  </a:lnTo>
                  <a:lnTo>
                    <a:pt x="261" y="23"/>
                  </a:lnTo>
                  <a:lnTo>
                    <a:pt x="263" y="23"/>
                  </a:lnTo>
                  <a:lnTo>
                    <a:pt x="263" y="21"/>
                  </a:lnTo>
                  <a:lnTo>
                    <a:pt x="263" y="23"/>
                  </a:lnTo>
                  <a:lnTo>
                    <a:pt x="265" y="23"/>
                  </a:lnTo>
                  <a:lnTo>
                    <a:pt x="263" y="23"/>
                  </a:lnTo>
                  <a:lnTo>
                    <a:pt x="265" y="23"/>
                  </a:lnTo>
                  <a:lnTo>
                    <a:pt x="263" y="23"/>
                  </a:lnTo>
                  <a:lnTo>
                    <a:pt x="265" y="23"/>
                  </a:lnTo>
                  <a:lnTo>
                    <a:pt x="263" y="23"/>
                  </a:lnTo>
                  <a:lnTo>
                    <a:pt x="263" y="25"/>
                  </a:lnTo>
                  <a:lnTo>
                    <a:pt x="265" y="25"/>
                  </a:lnTo>
                  <a:lnTo>
                    <a:pt x="265" y="27"/>
                  </a:lnTo>
                  <a:lnTo>
                    <a:pt x="267" y="27"/>
                  </a:lnTo>
                  <a:lnTo>
                    <a:pt x="265" y="27"/>
                  </a:lnTo>
                  <a:lnTo>
                    <a:pt x="267" y="27"/>
                  </a:lnTo>
                  <a:lnTo>
                    <a:pt x="265" y="27"/>
                  </a:lnTo>
                  <a:lnTo>
                    <a:pt x="265" y="25"/>
                  </a:lnTo>
                  <a:lnTo>
                    <a:pt x="267" y="25"/>
                  </a:lnTo>
                  <a:lnTo>
                    <a:pt x="267" y="27"/>
                  </a:lnTo>
                  <a:lnTo>
                    <a:pt x="267" y="25"/>
                  </a:lnTo>
                  <a:lnTo>
                    <a:pt x="265" y="25"/>
                  </a:lnTo>
                  <a:lnTo>
                    <a:pt x="267" y="25"/>
                  </a:lnTo>
                  <a:lnTo>
                    <a:pt x="267" y="23"/>
                  </a:lnTo>
                  <a:lnTo>
                    <a:pt x="267" y="21"/>
                  </a:lnTo>
                  <a:lnTo>
                    <a:pt x="265" y="21"/>
                  </a:lnTo>
                  <a:lnTo>
                    <a:pt x="265" y="19"/>
                  </a:lnTo>
                  <a:lnTo>
                    <a:pt x="267" y="19"/>
                  </a:lnTo>
                  <a:lnTo>
                    <a:pt x="267" y="21"/>
                  </a:lnTo>
                  <a:lnTo>
                    <a:pt x="269" y="21"/>
                  </a:lnTo>
                  <a:lnTo>
                    <a:pt x="267" y="21"/>
                  </a:lnTo>
                  <a:lnTo>
                    <a:pt x="269" y="21"/>
                  </a:lnTo>
                  <a:lnTo>
                    <a:pt x="269" y="23"/>
                  </a:lnTo>
                  <a:lnTo>
                    <a:pt x="269" y="25"/>
                  </a:lnTo>
                  <a:lnTo>
                    <a:pt x="271" y="25"/>
                  </a:lnTo>
                  <a:lnTo>
                    <a:pt x="271" y="23"/>
                  </a:lnTo>
                  <a:lnTo>
                    <a:pt x="271" y="25"/>
                  </a:lnTo>
                  <a:lnTo>
                    <a:pt x="271" y="23"/>
                  </a:lnTo>
                  <a:lnTo>
                    <a:pt x="271" y="21"/>
                  </a:lnTo>
                  <a:lnTo>
                    <a:pt x="273" y="21"/>
                  </a:lnTo>
                  <a:lnTo>
                    <a:pt x="271" y="21"/>
                  </a:lnTo>
                  <a:lnTo>
                    <a:pt x="273" y="21"/>
                  </a:lnTo>
                  <a:lnTo>
                    <a:pt x="273" y="19"/>
                  </a:lnTo>
                  <a:lnTo>
                    <a:pt x="271" y="19"/>
                  </a:lnTo>
                  <a:lnTo>
                    <a:pt x="271" y="21"/>
                  </a:lnTo>
                  <a:lnTo>
                    <a:pt x="271" y="19"/>
                  </a:lnTo>
                  <a:lnTo>
                    <a:pt x="273" y="19"/>
                  </a:lnTo>
                  <a:lnTo>
                    <a:pt x="271" y="19"/>
                  </a:lnTo>
                  <a:lnTo>
                    <a:pt x="273" y="19"/>
                  </a:lnTo>
                  <a:lnTo>
                    <a:pt x="271" y="19"/>
                  </a:lnTo>
                  <a:lnTo>
                    <a:pt x="271" y="17"/>
                  </a:lnTo>
                  <a:lnTo>
                    <a:pt x="271" y="19"/>
                  </a:lnTo>
                  <a:lnTo>
                    <a:pt x="271" y="17"/>
                  </a:lnTo>
                  <a:lnTo>
                    <a:pt x="271" y="19"/>
                  </a:lnTo>
                  <a:lnTo>
                    <a:pt x="271" y="17"/>
                  </a:lnTo>
                  <a:lnTo>
                    <a:pt x="273" y="17"/>
                  </a:lnTo>
                  <a:lnTo>
                    <a:pt x="273" y="19"/>
                  </a:lnTo>
                  <a:lnTo>
                    <a:pt x="273" y="17"/>
                  </a:lnTo>
                  <a:lnTo>
                    <a:pt x="273" y="19"/>
                  </a:lnTo>
                  <a:lnTo>
                    <a:pt x="275" y="19"/>
                  </a:lnTo>
                  <a:lnTo>
                    <a:pt x="275" y="17"/>
                  </a:lnTo>
                  <a:lnTo>
                    <a:pt x="275" y="15"/>
                  </a:lnTo>
                  <a:close/>
                  <a:moveTo>
                    <a:pt x="156" y="94"/>
                  </a:moveTo>
                  <a:lnTo>
                    <a:pt x="156" y="96"/>
                  </a:lnTo>
                  <a:lnTo>
                    <a:pt x="154" y="96"/>
                  </a:lnTo>
                  <a:lnTo>
                    <a:pt x="156" y="96"/>
                  </a:lnTo>
                  <a:lnTo>
                    <a:pt x="154" y="96"/>
                  </a:lnTo>
                  <a:lnTo>
                    <a:pt x="156" y="96"/>
                  </a:lnTo>
                  <a:lnTo>
                    <a:pt x="156" y="98"/>
                  </a:lnTo>
                  <a:lnTo>
                    <a:pt x="156" y="96"/>
                  </a:lnTo>
                  <a:lnTo>
                    <a:pt x="158" y="96"/>
                  </a:lnTo>
                  <a:lnTo>
                    <a:pt x="156" y="96"/>
                  </a:lnTo>
                  <a:lnTo>
                    <a:pt x="158" y="96"/>
                  </a:lnTo>
                  <a:lnTo>
                    <a:pt x="156" y="96"/>
                  </a:lnTo>
                  <a:lnTo>
                    <a:pt x="158" y="96"/>
                  </a:lnTo>
                  <a:lnTo>
                    <a:pt x="156" y="96"/>
                  </a:lnTo>
                  <a:lnTo>
                    <a:pt x="158" y="96"/>
                  </a:lnTo>
                  <a:lnTo>
                    <a:pt x="158" y="98"/>
                  </a:lnTo>
                  <a:lnTo>
                    <a:pt x="156" y="98"/>
                  </a:lnTo>
                  <a:lnTo>
                    <a:pt x="158" y="98"/>
                  </a:lnTo>
                  <a:lnTo>
                    <a:pt x="158" y="100"/>
                  </a:lnTo>
                  <a:lnTo>
                    <a:pt x="158" y="98"/>
                  </a:lnTo>
                  <a:lnTo>
                    <a:pt x="158" y="100"/>
                  </a:lnTo>
                  <a:lnTo>
                    <a:pt x="158" y="98"/>
                  </a:lnTo>
                  <a:lnTo>
                    <a:pt x="158" y="100"/>
                  </a:lnTo>
                  <a:lnTo>
                    <a:pt x="158" y="102"/>
                  </a:lnTo>
                  <a:lnTo>
                    <a:pt x="158" y="100"/>
                  </a:lnTo>
                  <a:lnTo>
                    <a:pt x="158" y="102"/>
                  </a:lnTo>
                  <a:lnTo>
                    <a:pt x="158" y="100"/>
                  </a:lnTo>
                  <a:lnTo>
                    <a:pt x="158" y="102"/>
                  </a:lnTo>
                  <a:lnTo>
                    <a:pt x="158" y="100"/>
                  </a:lnTo>
                  <a:lnTo>
                    <a:pt x="160" y="100"/>
                  </a:lnTo>
                  <a:lnTo>
                    <a:pt x="160" y="102"/>
                  </a:lnTo>
                  <a:lnTo>
                    <a:pt x="158" y="102"/>
                  </a:lnTo>
                  <a:lnTo>
                    <a:pt x="160" y="102"/>
                  </a:lnTo>
                  <a:lnTo>
                    <a:pt x="158" y="102"/>
                  </a:lnTo>
                  <a:lnTo>
                    <a:pt x="160" y="102"/>
                  </a:lnTo>
                  <a:lnTo>
                    <a:pt x="160" y="104"/>
                  </a:lnTo>
                  <a:lnTo>
                    <a:pt x="158" y="104"/>
                  </a:lnTo>
                  <a:lnTo>
                    <a:pt x="158" y="106"/>
                  </a:lnTo>
                  <a:lnTo>
                    <a:pt x="158" y="104"/>
                  </a:lnTo>
                  <a:lnTo>
                    <a:pt x="158" y="106"/>
                  </a:lnTo>
                  <a:lnTo>
                    <a:pt x="160" y="106"/>
                  </a:lnTo>
                  <a:lnTo>
                    <a:pt x="160" y="108"/>
                  </a:lnTo>
                  <a:lnTo>
                    <a:pt x="158" y="108"/>
                  </a:lnTo>
                  <a:lnTo>
                    <a:pt x="158" y="109"/>
                  </a:lnTo>
                  <a:lnTo>
                    <a:pt x="156" y="109"/>
                  </a:lnTo>
                  <a:lnTo>
                    <a:pt x="156" y="111"/>
                  </a:lnTo>
                  <a:lnTo>
                    <a:pt x="156" y="109"/>
                  </a:lnTo>
                  <a:lnTo>
                    <a:pt x="156" y="111"/>
                  </a:lnTo>
                  <a:lnTo>
                    <a:pt x="154" y="111"/>
                  </a:lnTo>
                  <a:lnTo>
                    <a:pt x="152" y="111"/>
                  </a:lnTo>
                  <a:lnTo>
                    <a:pt x="152" y="109"/>
                  </a:lnTo>
                  <a:lnTo>
                    <a:pt x="150" y="109"/>
                  </a:lnTo>
                  <a:lnTo>
                    <a:pt x="152" y="109"/>
                  </a:lnTo>
                  <a:lnTo>
                    <a:pt x="152" y="108"/>
                  </a:lnTo>
                  <a:lnTo>
                    <a:pt x="152" y="109"/>
                  </a:lnTo>
                  <a:lnTo>
                    <a:pt x="154" y="109"/>
                  </a:lnTo>
                  <a:lnTo>
                    <a:pt x="154" y="108"/>
                  </a:lnTo>
                  <a:lnTo>
                    <a:pt x="152" y="108"/>
                  </a:lnTo>
                  <a:lnTo>
                    <a:pt x="154" y="108"/>
                  </a:lnTo>
                  <a:lnTo>
                    <a:pt x="154" y="106"/>
                  </a:lnTo>
                  <a:lnTo>
                    <a:pt x="156" y="106"/>
                  </a:lnTo>
                  <a:lnTo>
                    <a:pt x="156" y="108"/>
                  </a:lnTo>
                  <a:lnTo>
                    <a:pt x="156" y="106"/>
                  </a:lnTo>
                  <a:lnTo>
                    <a:pt x="156" y="108"/>
                  </a:lnTo>
                  <a:lnTo>
                    <a:pt x="156" y="106"/>
                  </a:lnTo>
                  <a:lnTo>
                    <a:pt x="156" y="104"/>
                  </a:lnTo>
                  <a:lnTo>
                    <a:pt x="156" y="106"/>
                  </a:lnTo>
                  <a:lnTo>
                    <a:pt x="156" y="104"/>
                  </a:lnTo>
                  <a:lnTo>
                    <a:pt x="156" y="106"/>
                  </a:lnTo>
                  <a:lnTo>
                    <a:pt x="154" y="104"/>
                  </a:lnTo>
                  <a:lnTo>
                    <a:pt x="154" y="106"/>
                  </a:lnTo>
                  <a:lnTo>
                    <a:pt x="154" y="104"/>
                  </a:lnTo>
                  <a:lnTo>
                    <a:pt x="154" y="106"/>
                  </a:lnTo>
                  <a:lnTo>
                    <a:pt x="154" y="104"/>
                  </a:lnTo>
                  <a:lnTo>
                    <a:pt x="154" y="106"/>
                  </a:lnTo>
                  <a:lnTo>
                    <a:pt x="154" y="108"/>
                  </a:lnTo>
                  <a:lnTo>
                    <a:pt x="154" y="106"/>
                  </a:lnTo>
                  <a:lnTo>
                    <a:pt x="152" y="106"/>
                  </a:lnTo>
                  <a:lnTo>
                    <a:pt x="152" y="108"/>
                  </a:lnTo>
                  <a:lnTo>
                    <a:pt x="152" y="106"/>
                  </a:lnTo>
                  <a:lnTo>
                    <a:pt x="154" y="106"/>
                  </a:lnTo>
                  <a:lnTo>
                    <a:pt x="152" y="106"/>
                  </a:lnTo>
                  <a:lnTo>
                    <a:pt x="154" y="106"/>
                  </a:lnTo>
                  <a:lnTo>
                    <a:pt x="152" y="106"/>
                  </a:lnTo>
                  <a:lnTo>
                    <a:pt x="152" y="108"/>
                  </a:lnTo>
                  <a:lnTo>
                    <a:pt x="150" y="108"/>
                  </a:lnTo>
                  <a:lnTo>
                    <a:pt x="150" y="106"/>
                  </a:lnTo>
                  <a:lnTo>
                    <a:pt x="150" y="108"/>
                  </a:lnTo>
                  <a:lnTo>
                    <a:pt x="150" y="106"/>
                  </a:lnTo>
                  <a:lnTo>
                    <a:pt x="150" y="108"/>
                  </a:lnTo>
                  <a:lnTo>
                    <a:pt x="150" y="109"/>
                  </a:lnTo>
                  <a:lnTo>
                    <a:pt x="150" y="108"/>
                  </a:lnTo>
                  <a:lnTo>
                    <a:pt x="150" y="109"/>
                  </a:lnTo>
                  <a:lnTo>
                    <a:pt x="150" y="108"/>
                  </a:lnTo>
                  <a:lnTo>
                    <a:pt x="150" y="109"/>
                  </a:lnTo>
                  <a:lnTo>
                    <a:pt x="150" y="108"/>
                  </a:lnTo>
                  <a:lnTo>
                    <a:pt x="150" y="109"/>
                  </a:lnTo>
                  <a:lnTo>
                    <a:pt x="150" y="108"/>
                  </a:lnTo>
                  <a:lnTo>
                    <a:pt x="150" y="109"/>
                  </a:lnTo>
                  <a:lnTo>
                    <a:pt x="150" y="108"/>
                  </a:lnTo>
                  <a:lnTo>
                    <a:pt x="148" y="108"/>
                  </a:lnTo>
                  <a:lnTo>
                    <a:pt x="150" y="108"/>
                  </a:lnTo>
                  <a:lnTo>
                    <a:pt x="148" y="108"/>
                  </a:lnTo>
                  <a:lnTo>
                    <a:pt x="148" y="106"/>
                  </a:lnTo>
                  <a:lnTo>
                    <a:pt x="148" y="108"/>
                  </a:lnTo>
                  <a:lnTo>
                    <a:pt x="148" y="109"/>
                  </a:lnTo>
                  <a:lnTo>
                    <a:pt x="148" y="108"/>
                  </a:lnTo>
                  <a:lnTo>
                    <a:pt x="148" y="109"/>
                  </a:lnTo>
                  <a:lnTo>
                    <a:pt x="148" y="108"/>
                  </a:lnTo>
                  <a:lnTo>
                    <a:pt x="148" y="109"/>
                  </a:lnTo>
                  <a:lnTo>
                    <a:pt x="148" y="108"/>
                  </a:lnTo>
                  <a:lnTo>
                    <a:pt x="148" y="109"/>
                  </a:lnTo>
                  <a:lnTo>
                    <a:pt x="148" y="108"/>
                  </a:lnTo>
                  <a:lnTo>
                    <a:pt x="148" y="109"/>
                  </a:lnTo>
                  <a:lnTo>
                    <a:pt x="146" y="109"/>
                  </a:lnTo>
                  <a:lnTo>
                    <a:pt x="148" y="109"/>
                  </a:lnTo>
                  <a:lnTo>
                    <a:pt x="146" y="109"/>
                  </a:lnTo>
                  <a:lnTo>
                    <a:pt x="146" y="111"/>
                  </a:lnTo>
                  <a:lnTo>
                    <a:pt x="146" y="109"/>
                  </a:lnTo>
                  <a:lnTo>
                    <a:pt x="146" y="111"/>
                  </a:lnTo>
                  <a:lnTo>
                    <a:pt x="146" y="109"/>
                  </a:lnTo>
                  <a:lnTo>
                    <a:pt x="146" y="111"/>
                  </a:lnTo>
                  <a:lnTo>
                    <a:pt x="144" y="111"/>
                  </a:lnTo>
                  <a:lnTo>
                    <a:pt x="146" y="111"/>
                  </a:lnTo>
                  <a:lnTo>
                    <a:pt x="144" y="111"/>
                  </a:lnTo>
                  <a:lnTo>
                    <a:pt x="144" y="109"/>
                  </a:lnTo>
                  <a:lnTo>
                    <a:pt x="146" y="109"/>
                  </a:lnTo>
                  <a:lnTo>
                    <a:pt x="146" y="108"/>
                  </a:lnTo>
                  <a:lnTo>
                    <a:pt x="146" y="109"/>
                  </a:lnTo>
                  <a:lnTo>
                    <a:pt x="146" y="108"/>
                  </a:lnTo>
                  <a:lnTo>
                    <a:pt x="144" y="108"/>
                  </a:lnTo>
                  <a:lnTo>
                    <a:pt x="146" y="108"/>
                  </a:lnTo>
                  <a:lnTo>
                    <a:pt x="144" y="108"/>
                  </a:lnTo>
                  <a:lnTo>
                    <a:pt x="144" y="106"/>
                  </a:lnTo>
                  <a:lnTo>
                    <a:pt x="146" y="106"/>
                  </a:lnTo>
                  <a:lnTo>
                    <a:pt x="148" y="106"/>
                  </a:lnTo>
                  <a:lnTo>
                    <a:pt x="146" y="106"/>
                  </a:lnTo>
                  <a:lnTo>
                    <a:pt x="146" y="104"/>
                  </a:lnTo>
                  <a:lnTo>
                    <a:pt x="144" y="104"/>
                  </a:lnTo>
                  <a:lnTo>
                    <a:pt x="146" y="104"/>
                  </a:lnTo>
                  <a:lnTo>
                    <a:pt x="146" y="102"/>
                  </a:lnTo>
                  <a:lnTo>
                    <a:pt x="148" y="102"/>
                  </a:lnTo>
                  <a:lnTo>
                    <a:pt x="148" y="104"/>
                  </a:lnTo>
                  <a:lnTo>
                    <a:pt x="148" y="106"/>
                  </a:lnTo>
                  <a:lnTo>
                    <a:pt x="148" y="104"/>
                  </a:lnTo>
                  <a:lnTo>
                    <a:pt x="148" y="102"/>
                  </a:lnTo>
                  <a:lnTo>
                    <a:pt x="148" y="104"/>
                  </a:lnTo>
                  <a:lnTo>
                    <a:pt x="150" y="104"/>
                  </a:lnTo>
                  <a:lnTo>
                    <a:pt x="148" y="104"/>
                  </a:lnTo>
                  <a:lnTo>
                    <a:pt x="148" y="106"/>
                  </a:lnTo>
                  <a:lnTo>
                    <a:pt x="150" y="106"/>
                  </a:lnTo>
                  <a:lnTo>
                    <a:pt x="150" y="104"/>
                  </a:lnTo>
                  <a:lnTo>
                    <a:pt x="152" y="104"/>
                  </a:lnTo>
                  <a:lnTo>
                    <a:pt x="152" y="106"/>
                  </a:lnTo>
                  <a:lnTo>
                    <a:pt x="152" y="104"/>
                  </a:lnTo>
                  <a:lnTo>
                    <a:pt x="154" y="104"/>
                  </a:lnTo>
                  <a:lnTo>
                    <a:pt x="152" y="104"/>
                  </a:lnTo>
                  <a:lnTo>
                    <a:pt x="152" y="102"/>
                  </a:lnTo>
                  <a:lnTo>
                    <a:pt x="154" y="102"/>
                  </a:lnTo>
                  <a:lnTo>
                    <a:pt x="152" y="102"/>
                  </a:lnTo>
                  <a:lnTo>
                    <a:pt x="152" y="100"/>
                  </a:lnTo>
                  <a:lnTo>
                    <a:pt x="154" y="100"/>
                  </a:lnTo>
                  <a:lnTo>
                    <a:pt x="154" y="102"/>
                  </a:lnTo>
                  <a:lnTo>
                    <a:pt x="154" y="104"/>
                  </a:lnTo>
                  <a:lnTo>
                    <a:pt x="154" y="102"/>
                  </a:lnTo>
                  <a:lnTo>
                    <a:pt x="154" y="100"/>
                  </a:lnTo>
                  <a:lnTo>
                    <a:pt x="154" y="102"/>
                  </a:lnTo>
                  <a:lnTo>
                    <a:pt x="156" y="102"/>
                  </a:lnTo>
                  <a:lnTo>
                    <a:pt x="156" y="100"/>
                  </a:lnTo>
                  <a:lnTo>
                    <a:pt x="154" y="100"/>
                  </a:lnTo>
                  <a:lnTo>
                    <a:pt x="154" y="98"/>
                  </a:lnTo>
                  <a:lnTo>
                    <a:pt x="154" y="96"/>
                  </a:lnTo>
                  <a:lnTo>
                    <a:pt x="154" y="98"/>
                  </a:lnTo>
                  <a:lnTo>
                    <a:pt x="154" y="96"/>
                  </a:lnTo>
                  <a:lnTo>
                    <a:pt x="154" y="94"/>
                  </a:lnTo>
                  <a:lnTo>
                    <a:pt x="156" y="94"/>
                  </a:lnTo>
                  <a:close/>
                  <a:moveTo>
                    <a:pt x="208" y="58"/>
                  </a:moveTo>
                  <a:lnTo>
                    <a:pt x="210" y="58"/>
                  </a:lnTo>
                  <a:lnTo>
                    <a:pt x="210" y="60"/>
                  </a:lnTo>
                  <a:lnTo>
                    <a:pt x="211" y="60"/>
                  </a:lnTo>
                  <a:lnTo>
                    <a:pt x="211" y="61"/>
                  </a:lnTo>
                  <a:lnTo>
                    <a:pt x="213" y="61"/>
                  </a:lnTo>
                  <a:lnTo>
                    <a:pt x="213" y="63"/>
                  </a:lnTo>
                  <a:lnTo>
                    <a:pt x="211" y="63"/>
                  </a:lnTo>
                  <a:lnTo>
                    <a:pt x="211" y="65"/>
                  </a:lnTo>
                  <a:lnTo>
                    <a:pt x="210" y="65"/>
                  </a:lnTo>
                  <a:lnTo>
                    <a:pt x="210" y="67"/>
                  </a:lnTo>
                  <a:lnTo>
                    <a:pt x="208" y="67"/>
                  </a:lnTo>
                  <a:lnTo>
                    <a:pt x="208" y="69"/>
                  </a:lnTo>
                  <a:lnTo>
                    <a:pt x="210" y="69"/>
                  </a:lnTo>
                  <a:lnTo>
                    <a:pt x="210" y="71"/>
                  </a:lnTo>
                  <a:lnTo>
                    <a:pt x="210" y="69"/>
                  </a:lnTo>
                  <a:lnTo>
                    <a:pt x="210" y="71"/>
                  </a:lnTo>
                  <a:lnTo>
                    <a:pt x="208" y="71"/>
                  </a:lnTo>
                  <a:lnTo>
                    <a:pt x="206" y="71"/>
                  </a:lnTo>
                  <a:lnTo>
                    <a:pt x="206" y="73"/>
                  </a:lnTo>
                  <a:lnTo>
                    <a:pt x="204" y="73"/>
                  </a:lnTo>
                  <a:lnTo>
                    <a:pt x="202" y="73"/>
                  </a:lnTo>
                  <a:lnTo>
                    <a:pt x="200" y="73"/>
                  </a:lnTo>
                  <a:lnTo>
                    <a:pt x="198" y="73"/>
                  </a:lnTo>
                  <a:lnTo>
                    <a:pt x="198" y="71"/>
                  </a:lnTo>
                  <a:lnTo>
                    <a:pt x="198" y="69"/>
                  </a:lnTo>
                  <a:lnTo>
                    <a:pt x="200" y="69"/>
                  </a:lnTo>
                  <a:lnTo>
                    <a:pt x="202" y="69"/>
                  </a:lnTo>
                  <a:lnTo>
                    <a:pt x="202" y="71"/>
                  </a:lnTo>
                  <a:lnTo>
                    <a:pt x="202" y="69"/>
                  </a:lnTo>
                  <a:lnTo>
                    <a:pt x="204" y="69"/>
                  </a:lnTo>
                  <a:lnTo>
                    <a:pt x="202" y="69"/>
                  </a:lnTo>
                  <a:lnTo>
                    <a:pt x="200" y="69"/>
                  </a:lnTo>
                  <a:lnTo>
                    <a:pt x="200" y="67"/>
                  </a:lnTo>
                  <a:lnTo>
                    <a:pt x="200" y="65"/>
                  </a:lnTo>
                  <a:lnTo>
                    <a:pt x="202" y="65"/>
                  </a:lnTo>
                  <a:lnTo>
                    <a:pt x="202" y="67"/>
                  </a:lnTo>
                  <a:lnTo>
                    <a:pt x="202" y="65"/>
                  </a:lnTo>
                  <a:lnTo>
                    <a:pt x="204" y="65"/>
                  </a:lnTo>
                  <a:lnTo>
                    <a:pt x="206" y="65"/>
                  </a:lnTo>
                  <a:lnTo>
                    <a:pt x="204" y="65"/>
                  </a:lnTo>
                  <a:lnTo>
                    <a:pt x="202" y="65"/>
                  </a:lnTo>
                  <a:lnTo>
                    <a:pt x="202" y="63"/>
                  </a:lnTo>
                  <a:lnTo>
                    <a:pt x="202" y="61"/>
                  </a:lnTo>
                  <a:lnTo>
                    <a:pt x="204" y="61"/>
                  </a:lnTo>
                  <a:lnTo>
                    <a:pt x="204" y="63"/>
                  </a:lnTo>
                  <a:lnTo>
                    <a:pt x="204" y="61"/>
                  </a:lnTo>
                  <a:lnTo>
                    <a:pt x="204" y="63"/>
                  </a:lnTo>
                  <a:lnTo>
                    <a:pt x="206" y="63"/>
                  </a:lnTo>
                  <a:lnTo>
                    <a:pt x="206" y="61"/>
                  </a:lnTo>
                  <a:lnTo>
                    <a:pt x="208" y="61"/>
                  </a:lnTo>
                  <a:lnTo>
                    <a:pt x="206" y="61"/>
                  </a:lnTo>
                  <a:lnTo>
                    <a:pt x="206" y="63"/>
                  </a:lnTo>
                  <a:lnTo>
                    <a:pt x="208" y="63"/>
                  </a:lnTo>
                  <a:lnTo>
                    <a:pt x="206" y="63"/>
                  </a:lnTo>
                  <a:lnTo>
                    <a:pt x="206" y="65"/>
                  </a:lnTo>
                  <a:lnTo>
                    <a:pt x="208" y="65"/>
                  </a:lnTo>
                  <a:lnTo>
                    <a:pt x="206" y="65"/>
                  </a:lnTo>
                  <a:lnTo>
                    <a:pt x="208" y="65"/>
                  </a:lnTo>
                  <a:lnTo>
                    <a:pt x="206" y="65"/>
                  </a:lnTo>
                  <a:lnTo>
                    <a:pt x="208" y="65"/>
                  </a:lnTo>
                  <a:lnTo>
                    <a:pt x="206" y="65"/>
                  </a:lnTo>
                  <a:lnTo>
                    <a:pt x="208" y="65"/>
                  </a:lnTo>
                  <a:lnTo>
                    <a:pt x="208" y="67"/>
                  </a:lnTo>
                  <a:lnTo>
                    <a:pt x="208" y="65"/>
                  </a:lnTo>
                  <a:lnTo>
                    <a:pt x="208" y="67"/>
                  </a:lnTo>
                  <a:lnTo>
                    <a:pt x="208" y="65"/>
                  </a:lnTo>
                  <a:lnTo>
                    <a:pt x="208" y="67"/>
                  </a:lnTo>
                  <a:lnTo>
                    <a:pt x="208" y="65"/>
                  </a:lnTo>
                  <a:lnTo>
                    <a:pt x="208" y="63"/>
                  </a:lnTo>
                  <a:lnTo>
                    <a:pt x="208" y="61"/>
                  </a:lnTo>
                  <a:lnTo>
                    <a:pt x="208" y="63"/>
                  </a:lnTo>
                  <a:lnTo>
                    <a:pt x="208" y="61"/>
                  </a:lnTo>
                  <a:lnTo>
                    <a:pt x="208" y="60"/>
                  </a:lnTo>
                  <a:lnTo>
                    <a:pt x="206" y="60"/>
                  </a:lnTo>
                  <a:lnTo>
                    <a:pt x="208" y="60"/>
                  </a:lnTo>
                  <a:lnTo>
                    <a:pt x="206" y="60"/>
                  </a:lnTo>
                  <a:lnTo>
                    <a:pt x="208" y="60"/>
                  </a:lnTo>
                  <a:lnTo>
                    <a:pt x="208" y="58"/>
                  </a:lnTo>
                  <a:lnTo>
                    <a:pt x="208" y="60"/>
                  </a:lnTo>
                  <a:lnTo>
                    <a:pt x="208" y="58"/>
                  </a:lnTo>
                  <a:close/>
                  <a:moveTo>
                    <a:pt x="215" y="50"/>
                  </a:moveTo>
                  <a:lnTo>
                    <a:pt x="217" y="50"/>
                  </a:lnTo>
                  <a:lnTo>
                    <a:pt x="215" y="50"/>
                  </a:lnTo>
                  <a:lnTo>
                    <a:pt x="217" y="50"/>
                  </a:lnTo>
                  <a:lnTo>
                    <a:pt x="215" y="50"/>
                  </a:lnTo>
                  <a:lnTo>
                    <a:pt x="215" y="52"/>
                  </a:lnTo>
                  <a:lnTo>
                    <a:pt x="217" y="52"/>
                  </a:lnTo>
                  <a:lnTo>
                    <a:pt x="215" y="52"/>
                  </a:lnTo>
                  <a:lnTo>
                    <a:pt x="217" y="52"/>
                  </a:lnTo>
                  <a:lnTo>
                    <a:pt x="217" y="54"/>
                  </a:lnTo>
                  <a:lnTo>
                    <a:pt x="217" y="52"/>
                  </a:lnTo>
                  <a:lnTo>
                    <a:pt x="219" y="52"/>
                  </a:lnTo>
                  <a:lnTo>
                    <a:pt x="219" y="50"/>
                  </a:lnTo>
                  <a:lnTo>
                    <a:pt x="219" y="52"/>
                  </a:lnTo>
                  <a:lnTo>
                    <a:pt x="219" y="50"/>
                  </a:lnTo>
                  <a:lnTo>
                    <a:pt x="219" y="52"/>
                  </a:lnTo>
                  <a:lnTo>
                    <a:pt x="219" y="54"/>
                  </a:lnTo>
                  <a:lnTo>
                    <a:pt x="219" y="52"/>
                  </a:lnTo>
                  <a:lnTo>
                    <a:pt x="221" y="52"/>
                  </a:lnTo>
                  <a:lnTo>
                    <a:pt x="221" y="54"/>
                  </a:lnTo>
                  <a:lnTo>
                    <a:pt x="221" y="56"/>
                  </a:lnTo>
                  <a:lnTo>
                    <a:pt x="219" y="56"/>
                  </a:lnTo>
                  <a:lnTo>
                    <a:pt x="219" y="58"/>
                  </a:lnTo>
                  <a:lnTo>
                    <a:pt x="217" y="58"/>
                  </a:lnTo>
                  <a:lnTo>
                    <a:pt x="217" y="60"/>
                  </a:lnTo>
                  <a:lnTo>
                    <a:pt x="217" y="61"/>
                  </a:lnTo>
                  <a:lnTo>
                    <a:pt x="215" y="61"/>
                  </a:lnTo>
                  <a:lnTo>
                    <a:pt x="213" y="61"/>
                  </a:lnTo>
                  <a:lnTo>
                    <a:pt x="211" y="61"/>
                  </a:lnTo>
                  <a:lnTo>
                    <a:pt x="211" y="60"/>
                  </a:lnTo>
                  <a:lnTo>
                    <a:pt x="211" y="58"/>
                  </a:lnTo>
                  <a:lnTo>
                    <a:pt x="210" y="58"/>
                  </a:lnTo>
                  <a:lnTo>
                    <a:pt x="210" y="60"/>
                  </a:lnTo>
                  <a:lnTo>
                    <a:pt x="210" y="58"/>
                  </a:lnTo>
                  <a:lnTo>
                    <a:pt x="208" y="58"/>
                  </a:lnTo>
                  <a:lnTo>
                    <a:pt x="208" y="56"/>
                  </a:lnTo>
                  <a:lnTo>
                    <a:pt x="208" y="54"/>
                  </a:lnTo>
                  <a:lnTo>
                    <a:pt x="208" y="56"/>
                  </a:lnTo>
                  <a:lnTo>
                    <a:pt x="210" y="56"/>
                  </a:lnTo>
                  <a:lnTo>
                    <a:pt x="210" y="54"/>
                  </a:lnTo>
                  <a:lnTo>
                    <a:pt x="210" y="52"/>
                  </a:lnTo>
                  <a:lnTo>
                    <a:pt x="211" y="52"/>
                  </a:lnTo>
                  <a:lnTo>
                    <a:pt x="213" y="52"/>
                  </a:lnTo>
                  <a:lnTo>
                    <a:pt x="211" y="50"/>
                  </a:lnTo>
                  <a:lnTo>
                    <a:pt x="213" y="50"/>
                  </a:lnTo>
                  <a:lnTo>
                    <a:pt x="215" y="50"/>
                  </a:lnTo>
                  <a:close/>
                  <a:moveTo>
                    <a:pt x="277" y="25"/>
                  </a:moveTo>
                  <a:lnTo>
                    <a:pt x="277" y="27"/>
                  </a:lnTo>
                  <a:lnTo>
                    <a:pt x="279" y="27"/>
                  </a:lnTo>
                  <a:lnTo>
                    <a:pt x="279" y="25"/>
                  </a:lnTo>
                  <a:lnTo>
                    <a:pt x="279" y="27"/>
                  </a:lnTo>
                  <a:lnTo>
                    <a:pt x="279" y="29"/>
                  </a:lnTo>
                  <a:lnTo>
                    <a:pt x="279" y="31"/>
                  </a:lnTo>
                  <a:lnTo>
                    <a:pt x="281" y="33"/>
                  </a:lnTo>
                  <a:lnTo>
                    <a:pt x="279" y="33"/>
                  </a:lnTo>
                  <a:lnTo>
                    <a:pt x="279" y="35"/>
                  </a:lnTo>
                  <a:lnTo>
                    <a:pt x="281" y="35"/>
                  </a:lnTo>
                  <a:lnTo>
                    <a:pt x="279" y="35"/>
                  </a:lnTo>
                  <a:lnTo>
                    <a:pt x="279" y="37"/>
                  </a:lnTo>
                  <a:lnTo>
                    <a:pt x="277" y="37"/>
                  </a:lnTo>
                  <a:lnTo>
                    <a:pt x="277" y="38"/>
                  </a:lnTo>
                  <a:lnTo>
                    <a:pt x="275" y="38"/>
                  </a:lnTo>
                  <a:lnTo>
                    <a:pt x="275" y="40"/>
                  </a:lnTo>
                  <a:lnTo>
                    <a:pt x="273" y="40"/>
                  </a:lnTo>
                  <a:lnTo>
                    <a:pt x="271" y="40"/>
                  </a:lnTo>
                  <a:lnTo>
                    <a:pt x="271" y="38"/>
                  </a:lnTo>
                  <a:lnTo>
                    <a:pt x="271" y="37"/>
                  </a:lnTo>
                  <a:lnTo>
                    <a:pt x="273" y="37"/>
                  </a:lnTo>
                  <a:lnTo>
                    <a:pt x="273" y="35"/>
                  </a:lnTo>
                  <a:lnTo>
                    <a:pt x="273" y="37"/>
                  </a:lnTo>
                  <a:lnTo>
                    <a:pt x="271" y="37"/>
                  </a:lnTo>
                  <a:lnTo>
                    <a:pt x="271" y="38"/>
                  </a:lnTo>
                  <a:lnTo>
                    <a:pt x="269" y="38"/>
                  </a:lnTo>
                  <a:lnTo>
                    <a:pt x="271" y="38"/>
                  </a:lnTo>
                  <a:lnTo>
                    <a:pt x="269" y="38"/>
                  </a:lnTo>
                  <a:lnTo>
                    <a:pt x="269" y="37"/>
                  </a:lnTo>
                  <a:lnTo>
                    <a:pt x="269" y="38"/>
                  </a:lnTo>
                  <a:lnTo>
                    <a:pt x="269" y="37"/>
                  </a:lnTo>
                  <a:lnTo>
                    <a:pt x="267" y="37"/>
                  </a:lnTo>
                  <a:lnTo>
                    <a:pt x="267" y="35"/>
                  </a:lnTo>
                  <a:lnTo>
                    <a:pt x="269" y="35"/>
                  </a:lnTo>
                  <a:lnTo>
                    <a:pt x="269" y="37"/>
                  </a:lnTo>
                  <a:lnTo>
                    <a:pt x="269" y="35"/>
                  </a:lnTo>
                  <a:lnTo>
                    <a:pt x="269" y="37"/>
                  </a:lnTo>
                  <a:lnTo>
                    <a:pt x="269" y="35"/>
                  </a:lnTo>
                  <a:lnTo>
                    <a:pt x="269" y="33"/>
                  </a:lnTo>
                  <a:lnTo>
                    <a:pt x="271" y="33"/>
                  </a:lnTo>
                  <a:lnTo>
                    <a:pt x="271" y="31"/>
                  </a:lnTo>
                  <a:lnTo>
                    <a:pt x="273" y="31"/>
                  </a:lnTo>
                  <a:lnTo>
                    <a:pt x="273" y="33"/>
                  </a:lnTo>
                  <a:lnTo>
                    <a:pt x="273" y="31"/>
                  </a:lnTo>
                  <a:lnTo>
                    <a:pt x="273" y="33"/>
                  </a:lnTo>
                  <a:lnTo>
                    <a:pt x="273" y="31"/>
                  </a:lnTo>
                  <a:lnTo>
                    <a:pt x="273" y="29"/>
                  </a:lnTo>
                  <a:lnTo>
                    <a:pt x="273" y="31"/>
                  </a:lnTo>
                  <a:lnTo>
                    <a:pt x="275" y="31"/>
                  </a:lnTo>
                  <a:lnTo>
                    <a:pt x="275" y="33"/>
                  </a:lnTo>
                  <a:lnTo>
                    <a:pt x="273" y="33"/>
                  </a:lnTo>
                  <a:lnTo>
                    <a:pt x="275" y="33"/>
                  </a:lnTo>
                  <a:lnTo>
                    <a:pt x="273" y="33"/>
                  </a:lnTo>
                  <a:lnTo>
                    <a:pt x="275" y="33"/>
                  </a:lnTo>
                  <a:lnTo>
                    <a:pt x="275" y="31"/>
                  </a:lnTo>
                  <a:lnTo>
                    <a:pt x="275" y="33"/>
                  </a:lnTo>
                  <a:lnTo>
                    <a:pt x="275" y="31"/>
                  </a:lnTo>
                  <a:lnTo>
                    <a:pt x="275" y="29"/>
                  </a:lnTo>
                  <a:lnTo>
                    <a:pt x="275" y="31"/>
                  </a:lnTo>
                  <a:lnTo>
                    <a:pt x="275" y="29"/>
                  </a:lnTo>
                  <a:lnTo>
                    <a:pt x="277" y="29"/>
                  </a:lnTo>
                  <a:lnTo>
                    <a:pt x="277" y="31"/>
                  </a:lnTo>
                  <a:lnTo>
                    <a:pt x="277" y="29"/>
                  </a:lnTo>
                  <a:lnTo>
                    <a:pt x="275" y="29"/>
                  </a:lnTo>
                  <a:lnTo>
                    <a:pt x="277" y="29"/>
                  </a:lnTo>
                  <a:lnTo>
                    <a:pt x="277" y="31"/>
                  </a:lnTo>
                  <a:lnTo>
                    <a:pt x="279" y="31"/>
                  </a:lnTo>
                  <a:lnTo>
                    <a:pt x="279" y="29"/>
                  </a:lnTo>
                  <a:lnTo>
                    <a:pt x="277" y="29"/>
                  </a:lnTo>
                  <a:lnTo>
                    <a:pt x="277" y="27"/>
                  </a:lnTo>
                  <a:lnTo>
                    <a:pt x="275" y="27"/>
                  </a:lnTo>
                  <a:lnTo>
                    <a:pt x="275" y="25"/>
                  </a:lnTo>
                  <a:lnTo>
                    <a:pt x="277" y="25"/>
                  </a:lnTo>
                  <a:close/>
                  <a:moveTo>
                    <a:pt x="156" y="115"/>
                  </a:moveTo>
                  <a:lnTo>
                    <a:pt x="156" y="117"/>
                  </a:lnTo>
                  <a:lnTo>
                    <a:pt x="156" y="119"/>
                  </a:lnTo>
                  <a:lnTo>
                    <a:pt x="154" y="119"/>
                  </a:lnTo>
                  <a:lnTo>
                    <a:pt x="154" y="121"/>
                  </a:lnTo>
                  <a:lnTo>
                    <a:pt x="154" y="119"/>
                  </a:lnTo>
                  <a:lnTo>
                    <a:pt x="154" y="121"/>
                  </a:lnTo>
                  <a:lnTo>
                    <a:pt x="154" y="119"/>
                  </a:lnTo>
                  <a:lnTo>
                    <a:pt x="154" y="121"/>
                  </a:lnTo>
                  <a:lnTo>
                    <a:pt x="152" y="121"/>
                  </a:lnTo>
                  <a:lnTo>
                    <a:pt x="154" y="121"/>
                  </a:lnTo>
                  <a:lnTo>
                    <a:pt x="152" y="121"/>
                  </a:lnTo>
                  <a:lnTo>
                    <a:pt x="152" y="123"/>
                  </a:lnTo>
                  <a:lnTo>
                    <a:pt x="150" y="123"/>
                  </a:lnTo>
                  <a:lnTo>
                    <a:pt x="150" y="125"/>
                  </a:lnTo>
                  <a:lnTo>
                    <a:pt x="150" y="123"/>
                  </a:lnTo>
                  <a:lnTo>
                    <a:pt x="150" y="121"/>
                  </a:lnTo>
                  <a:lnTo>
                    <a:pt x="148" y="121"/>
                  </a:lnTo>
                  <a:lnTo>
                    <a:pt x="150" y="121"/>
                  </a:lnTo>
                  <a:lnTo>
                    <a:pt x="148" y="121"/>
                  </a:lnTo>
                  <a:lnTo>
                    <a:pt x="150" y="121"/>
                  </a:lnTo>
                  <a:lnTo>
                    <a:pt x="148" y="121"/>
                  </a:lnTo>
                  <a:lnTo>
                    <a:pt x="148" y="123"/>
                  </a:lnTo>
                  <a:lnTo>
                    <a:pt x="148" y="121"/>
                  </a:lnTo>
                  <a:lnTo>
                    <a:pt x="148" y="123"/>
                  </a:lnTo>
                  <a:lnTo>
                    <a:pt x="148" y="121"/>
                  </a:lnTo>
                  <a:lnTo>
                    <a:pt x="148" y="123"/>
                  </a:lnTo>
                  <a:lnTo>
                    <a:pt x="148" y="121"/>
                  </a:lnTo>
                  <a:lnTo>
                    <a:pt x="148" y="123"/>
                  </a:lnTo>
                  <a:lnTo>
                    <a:pt x="148" y="121"/>
                  </a:lnTo>
                  <a:lnTo>
                    <a:pt x="148" y="123"/>
                  </a:lnTo>
                  <a:lnTo>
                    <a:pt x="148" y="121"/>
                  </a:lnTo>
                  <a:lnTo>
                    <a:pt x="148" y="123"/>
                  </a:lnTo>
                  <a:lnTo>
                    <a:pt x="148" y="121"/>
                  </a:lnTo>
                  <a:lnTo>
                    <a:pt x="150" y="121"/>
                  </a:lnTo>
                  <a:lnTo>
                    <a:pt x="150" y="123"/>
                  </a:lnTo>
                  <a:lnTo>
                    <a:pt x="148" y="123"/>
                  </a:lnTo>
                  <a:lnTo>
                    <a:pt x="150" y="123"/>
                  </a:lnTo>
                  <a:lnTo>
                    <a:pt x="148" y="123"/>
                  </a:lnTo>
                  <a:lnTo>
                    <a:pt x="150" y="123"/>
                  </a:lnTo>
                  <a:lnTo>
                    <a:pt x="148" y="123"/>
                  </a:lnTo>
                  <a:lnTo>
                    <a:pt x="150" y="123"/>
                  </a:lnTo>
                  <a:lnTo>
                    <a:pt x="148" y="123"/>
                  </a:lnTo>
                  <a:lnTo>
                    <a:pt x="148" y="125"/>
                  </a:lnTo>
                  <a:lnTo>
                    <a:pt x="148" y="123"/>
                  </a:lnTo>
                  <a:lnTo>
                    <a:pt x="148" y="125"/>
                  </a:lnTo>
                  <a:lnTo>
                    <a:pt x="146" y="125"/>
                  </a:lnTo>
                  <a:lnTo>
                    <a:pt x="148" y="125"/>
                  </a:lnTo>
                  <a:lnTo>
                    <a:pt x="146" y="125"/>
                  </a:lnTo>
                  <a:lnTo>
                    <a:pt x="146" y="127"/>
                  </a:lnTo>
                  <a:lnTo>
                    <a:pt x="146" y="125"/>
                  </a:lnTo>
                  <a:lnTo>
                    <a:pt x="146" y="127"/>
                  </a:lnTo>
                  <a:lnTo>
                    <a:pt x="146" y="125"/>
                  </a:lnTo>
                  <a:lnTo>
                    <a:pt x="146" y="127"/>
                  </a:lnTo>
                  <a:lnTo>
                    <a:pt x="144" y="127"/>
                  </a:lnTo>
                  <a:lnTo>
                    <a:pt x="146" y="127"/>
                  </a:lnTo>
                  <a:lnTo>
                    <a:pt x="144" y="127"/>
                  </a:lnTo>
                  <a:lnTo>
                    <a:pt x="146" y="127"/>
                  </a:lnTo>
                  <a:lnTo>
                    <a:pt x="144" y="127"/>
                  </a:lnTo>
                  <a:lnTo>
                    <a:pt x="146" y="127"/>
                  </a:lnTo>
                  <a:lnTo>
                    <a:pt x="144" y="127"/>
                  </a:lnTo>
                  <a:lnTo>
                    <a:pt x="146" y="127"/>
                  </a:lnTo>
                  <a:lnTo>
                    <a:pt x="144" y="127"/>
                  </a:lnTo>
                  <a:lnTo>
                    <a:pt x="146" y="127"/>
                  </a:lnTo>
                  <a:lnTo>
                    <a:pt x="144" y="127"/>
                  </a:lnTo>
                  <a:lnTo>
                    <a:pt x="142" y="127"/>
                  </a:lnTo>
                  <a:lnTo>
                    <a:pt x="142" y="129"/>
                  </a:lnTo>
                  <a:lnTo>
                    <a:pt x="142" y="127"/>
                  </a:lnTo>
                  <a:lnTo>
                    <a:pt x="142" y="125"/>
                  </a:lnTo>
                  <a:lnTo>
                    <a:pt x="144" y="125"/>
                  </a:lnTo>
                  <a:lnTo>
                    <a:pt x="142" y="125"/>
                  </a:lnTo>
                  <a:lnTo>
                    <a:pt x="142" y="123"/>
                  </a:lnTo>
                  <a:lnTo>
                    <a:pt x="142" y="125"/>
                  </a:lnTo>
                  <a:lnTo>
                    <a:pt x="142" y="123"/>
                  </a:lnTo>
                  <a:lnTo>
                    <a:pt x="144" y="123"/>
                  </a:lnTo>
                  <a:lnTo>
                    <a:pt x="144" y="125"/>
                  </a:lnTo>
                  <a:lnTo>
                    <a:pt x="144" y="123"/>
                  </a:lnTo>
                  <a:lnTo>
                    <a:pt x="142" y="123"/>
                  </a:lnTo>
                  <a:lnTo>
                    <a:pt x="142" y="121"/>
                  </a:lnTo>
                  <a:lnTo>
                    <a:pt x="144" y="121"/>
                  </a:lnTo>
                  <a:lnTo>
                    <a:pt x="144" y="123"/>
                  </a:lnTo>
                  <a:lnTo>
                    <a:pt x="146" y="123"/>
                  </a:lnTo>
                  <a:lnTo>
                    <a:pt x="146" y="121"/>
                  </a:lnTo>
                  <a:lnTo>
                    <a:pt x="144" y="121"/>
                  </a:lnTo>
                  <a:lnTo>
                    <a:pt x="144" y="123"/>
                  </a:lnTo>
                  <a:lnTo>
                    <a:pt x="144" y="121"/>
                  </a:lnTo>
                  <a:lnTo>
                    <a:pt x="146" y="121"/>
                  </a:lnTo>
                  <a:lnTo>
                    <a:pt x="146" y="123"/>
                  </a:lnTo>
                  <a:lnTo>
                    <a:pt x="146" y="121"/>
                  </a:lnTo>
                  <a:lnTo>
                    <a:pt x="146" y="123"/>
                  </a:lnTo>
                  <a:lnTo>
                    <a:pt x="146" y="121"/>
                  </a:lnTo>
                  <a:lnTo>
                    <a:pt x="144" y="121"/>
                  </a:lnTo>
                  <a:lnTo>
                    <a:pt x="144" y="119"/>
                  </a:lnTo>
                  <a:lnTo>
                    <a:pt x="146" y="119"/>
                  </a:lnTo>
                  <a:lnTo>
                    <a:pt x="148" y="119"/>
                  </a:lnTo>
                  <a:lnTo>
                    <a:pt x="146" y="119"/>
                  </a:lnTo>
                  <a:lnTo>
                    <a:pt x="148" y="119"/>
                  </a:lnTo>
                  <a:lnTo>
                    <a:pt x="146" y="119"/>
                  </a:lnTo>
                  <a:lnTo>
                    <a:pt x="146" y="117"/>
                  </a:lnTo>
                  <a:lnTo>
                    <a:pt x="146" y="119"/>
                  </a:lnTo>
                  <a:lnTo>
                    <a:pt x="146" y="117"/>
                  </a:lnTo>
                  <a:lnTo>
                    <a:pt x="148" y="117"/>
                  </a:lnTo>
                  <a:lnTo>
                    <a:pt x="148" y="119"/>
                  </a:lnTo>
                  <a:lnTo>
                    <a:pt x="150" y="119"/>
                  </a:lnTo>
                  <a:lnTo>
                    <a:pt x="148" y="119"/>
                  </a:lnTo>
                  <a:lnTo>
                    <a:pt x="148" y="117"/>
                  </a:lnTo>
                  <a:lnTo>
                    <a:pt x="150" y="117"/>
                  </a:lnTo>
                  <a:lnTo>
                    <a:pt x="152" y="117"/>
                  </a:lnTo>
                  <a:lnTo>
                    <a:pt x="150" y="117"/>
                  </a:lnTo>
                  <a:lnTo>
                    <a:pt x="150" y="119"/>
                  </a:lnTo>
                  <a:lnTo>
                    <a:pt x="152" y="119"/>
                  </a:lnTo>
                  <a:lnTo>
                    <a:pt x="150" y="119"/>
                  </a:lnTo>
                  <a:lnTo>
                    <a:pt x="150" y="121"/>
                  </a:lnTo>
                  <a:lnTo>
                    <a:pt x="150" y="119"/>
                  </a:lnTo>
                  <a:lnTo>
                    <a:pt x="152" y="119"/>
                  </a:lnTo>
                  <a:lnTo>
                    <a:pt x="152" y="117"/>
                  </a:lnTo>
                  <a:lnTo>
                    <a:pt x="154" y="117"/>
                  </a:lnTo>
                  <a:lnTo>
                    <a:pt x="156" y="117"/>
                  </a:lnTo>
                  <a:lnTo>
                    <a:pt x="156" y="115"/>
                  </a:lnTo>
                  <a:close/>
                  <a:moveTo>
                    <a:pt x="169" y="81"/>
                  </a:moveTo>
                  <a:lnTo>
                    <a:pt x="169" y="83"/>
                  </a:lnTo>
                  <a:lnTo>
                    <a:pt x="171" y="83"/>
                  </a:lnTo>
                  <a:lnTo>
                    <a:pt x="171" y="85"/>
                  </a:lnTo>
                  <a:lnTo>
                    <a:pt x="171" y="83"/>
                  </a:lnTo>
                  <a:lnTo>
                    <a:pt x="171" y="85"/>
                  </a:lnTo>
                  <a:lnTo>
                    <a:pt x="169" y="85"/>
                  </a:lnTo>
                  <a:lnTo>
                    <a:pt x="169" y="86"/>
                  </a:lnTo>
                  <a:lnTo>
                    <a:pt x="169" y="88"/>
                  </a:lnTo>
                  <a:lnTo>
                    <a:pt x="169" y="86"/>
                  </a:lnTo>
                  <a:lnTo>
                    <a:pt x="169" y="88"/>
                  </a:lnTo>
                  <a:lnTo>
                    <a:pt x="169" y="90"/>
                  </a:lnTo>
                  <a:lnTo>
                    <a:pt x="167" y="90"/>
                  </a:lnTo>
                  <a:lnTo>
                    <a:pt x="167" y="92"/>
                  </a:lnTo>
                  <a:lnTo>
                    <a:pt x="165" y="92"/>
                  </a:lnTo>
                  <a:lnTo>
                    <a:pt x="165" y="94"/>
                  </a:lnTo>
                  <a:lnTo>
                    <a:pt x="165" y="92"/>
                  </a:lnTo>
                  <a:lnTo>
                    <a:pt x="165" y="94"/>
                  </a:lnTo>
                  <a:lnTo>
                    <a:pt x="163" y="94"/>
                  </a:lnTo>
                  <a:lnTo>
                    <a:pt x="165" y="94"/>
                  </a:lnTo>
                  <a:lnTo>
                    <a:pt x="163" y="94"/>
                  </a:lnTo>
                  <a:lnTo>
                    <a:pt x="163" y="96"/>
                  </a:lnTo>
                  <a:lnTo>
                    <a:pt x="163" y="94"/>
                  </a:lnTo>
                  <a:lnTo>
                    <a:pt x="163" y="96"/>
                  </a:lnTo>
                  <a:lnTo>
                    <a:pt x="162" y="96"/>
                  </a:lnTo>
                  <a:lnTo>
                    <a:pt x="163" y="96"/>
                  </a:lnTo>
                  <a:lnTo>
                    <a:pt x="162" y="96"/>
                  </a:lnTo>
                  <a:lnTo>
                    <a:pt x="163" y="96"/>
                  </a:lnTo>
                  <a:lnTo>
                    <a:pt x="162" y="96"/>
                  </a:lnTo>
                  <a:lnTo>
                    <a:pt x="163" y="96"/>
                  </a:lnTo>
                  <a:lnTo>
                    <a:pt x="162" y="96"/>
                  </a:lnTo>
                  <a:lnTo>
                    <a:pt x="162" y="94"/>
                  </a:lnTo>
                  <a:lnTo>
                    <a:pt x="162" y="96"/>
                  </a:lnTo>
                  <a:lnTo>
                    <a:pt x="162" y="94"/>
                  </a:lnTo>
                  <a:lnTo>
                    <a:pt x="162" y="96"/>
                  </a:lnTo>
                  <a:lnTo>
                    <a:pt x="162" y="98"/>
                  </a:lnTo>
                  <a:lnTo>
                    <a:pt x="162" y="100"/>
                  </a:lnTo>
                  <a:lnTo>
                    <a:pt x="160" y="100"/>
                  </a:lnTo>
                  <a:lnTo>
                    <a:pt x="160" y="98"/>
                  </a:lnTo>
                  <a:lnTo>
                    <a:pt x="160" y="96"/>
                  </a:lnTo>
                  <a:lnTo>
                    <a:pt x="160" y="94"/>
                  </a:lnTo>
                  <a:lnTo>
                    <a:pt x="162" y="94"/>
                  </a:lnTo>
                  <a:lnTo>
                    <a:pt x="160" y="94"/>
                  </a:lnTo>
                  <a:lnTo>
                    <a:pt x="162" y="94"/>
                  </a:lnTo>
                  <a:lnTo>
                    <a:pt x="162" y="92"/>
                  </a:lnTo>
                  <a:lnTo>
                    <a:pt x="162" y="90"/>
                  </a:lnTo>
                  <a:lnTo>
                    <a:pt x="163" y="90"/>
                  </a:lnTo>
                  <a:lnTo>
                    <a:pt x="162" y="90"/>
                  </a:lnTo>
                  <a:lnTo>
                    <a:pt x="163" y="90"/>
                  </a:lnTo>
                  <a:lnTo>
                    <a:pt x="163" y="88"/>
                  </a:lnTo>
                  <a:lnTo>
                    <a:pt x="165" y="88"/>
                  </a:lnTo>
                  <a:lnTo>
                    <a:pt x="165" y="86"/>
                  </a:lnTo>
                  <a:lnTo>
                    <a:pt x="165" y="85"/>
                  </a:lnTo>
                  <a:lnTo>
                    <a:pt x="167" y="85"/>
                  </a:lnTo>
                  <a:lnTo>
                    <a:pt x="167" y="83"/>
                  </a:lnTo>
                  <a:lnTo>
                    <a:pt x="167" y="85"/>
                  </a:lnTo>
                  <a:lnTo>
                    <a:pt x="167" y="83"/>
                  </a:lnTo>
                  <a:lnTo>
                    <a:pt x="169" y="83"/>
                  </a:lnTo>
                  <a:lnTo>
                    <a:pt x="169" y="81"/>
                  </a:lnTo>
                  <a:close/>
                  <a:moveTo>
                    <a:pt x="309" y="0"/>
                  </a:moveTo>
                  <a:lnTo>
                    <a:pt x="309" y="2"/>
                  </a:lnTo>
                  <a:lnTo>
                    <a:pt x="311" y="2"/>
                  </a:lnTo>
                  <a:lnTo>
                    <a:pt x="311" y="4"/>
                  </a:lnTo>
                  <a:lnTo>
                    <a:pt x="313" y="4"/>
                  </a:lnTo>
                  <a:lnTo>
                    <a:pt x="311" y="4"/>
                  </a:lnTo>
                  <a:lnTo>
                    <a:pt x="313" y="4"/>
                  </a:lnTo>
                  <a:lnTo>
                    <a:pt x="311" y="4"/>
                  </a:lnTo>
                  <a:lnTo>
                    <a:pt x="313" y="4"/>
                  </a:lnTo>
                  <a:lnTo>
                    <a:pt x="313" y="2"/>
                  </a:lnTo>
                  <a:lnTo>
                    <a:pt x="313" y="4"/>
                  </a:lnTo>
                  <a:lnTo>
                    <a:pt x="315" y="4"/>
                  </a:lnTo>
                  <a:lnTo>
                    <a:pt x="313" y="4"/>
                  </a:lnTo>
                  <a:lnTo>
                    <a:pt x="315" y="4"/>
                  </a:lnTo>
                  <a:lnTo>
                    <a:pt x="313" y="4"/>
                  </a:lnTo>
                  <a:lnTo>
                    <a:pt x="315" y="4"/>
                  </a:lnTo>
                  <a:lnTo>
                    <a:pt x="315" y="6"/>
                  </a:lnTo>
                  <a:lnTo>
                    <a:pt x="315" y="4"/>
                  </a:lnTo>
                  <a:lnTo>
                    <a:pt x="313" y="4"/>
                  </a:lnTo>
                  <a:lnTo>
                    <a:pt x="313" y="6"/>
                  </a:lnTo>
                  <a:lnTo>
                    <a:pt x="315" y="6"/>
                  </a:lnTo>
                  <a:lnTo>
                    <a:pt x="313" y="6"/>
                  </a:lnTo>
                  <a:lnTo>
                    <a:pt x="311" y="6"/>
                  </a:lnTo>
                  <a:lnTo>
                    <a:pt x="313" y="6"/>
                  </a:lnTo>
                  <a:lnTo>
                    <a:pt x="313" y="8"/>
                  </a:lnTo>
                  <a:lnTo>
                    <a:pt x="313" y="10"/>
                  </a:lnTo>
                  <a:lnTo>
                    <a:pt x="313" y="8"/>
                  </a:lnTo>
                  <a:lnTo>
                    <a:pt x="313" y="10"/>
                  </a:lnTo>
                  <a:lnTo>
                    <a:pt x="313" y="8"/>
                  </a:lnTo>
                  <a:lnTo>
                    <a:pt x="313" y="10"/>
                  </a:lnTo>
                  <a:lnTo>
                    <a:pt x="313" y="8"/>
                  </a:lnTo>
                  <a:lnTo>
                    <a:pt x="313" y="10"/>
                  </a:lnTo>
                  <a:lnTo>
                    <a:pt x="313" y="8"/>
                  </a:lnTo>
                  <a:lnTo>
                    <a:pt x="315" y="8"/>
                  </a:lnTo>
                  <a:lnTo>
                    <a:pt x="315" y="10"/>
                  </a:lnTo>
                  <a:lnTo>
                    <a:pt x="315" y="8"/>
                  </a:lnTo>
                  <a:lnTo>
                    <a:pt x="315" y="10"/>
                  </a:lnTo>
                  <a:lnTo>
                    <a:pt x="315" y="8"/>
                  </a:lnTo>
                  <a:lnTo>
                    <a:pt x="317" y="8"/>
                  </a:lnTo>
                  <a:lnTo>
                    <a:pt x="317" y="6"/>
                  </a:lnTo>
                  <a:lnTo>
                    <a:pt x="317" y="8"/>
                  </a:lnTo>
                  <a:lnTo>
                    <a:pt x="317" y="10"/>
                  </a:lnTo>
                  <a:lnTo>
                    <a:pt x="315" y="10"/>
                  </a:lnTo>
                  <a:lnTo>
                    <a:pt x="313" y="10"/>
                  </a:lnTo>
                  <a:lnTo>
                    <a:pt x="313" y="12"/>
                  </a:lnTo>
                  <a:lnTo>
                    <a:pt x="313" y="10"/>
                  </a:lnTo>
                  <a:lnTo>
                    <a:pt x="311" y="10"/>
                  </a:lnTo>
                  <a:lnTo>
                    <a:pt x="309" y="10"/>
                  </a:lnTo>
                  <a:lnTo>
                    <a:pt x="309" y="12"/>
                  </a:lnTo>
                  <a:lnTo>
                    <a:pt x="311" y="12"/>
                  </a:lnTo>
                  <a:lnTo>
                    <a:pt x="309" y="12"/>
                  </a:lnTo>
                  <a:lnTo>
                    <a:pt x="307" y="12"/>
                  </a:lnTo>
                  <a:lnTo>
                    <a:pt x="306" y="12"/>
                  </a:lnTo>
                  <a:lnTo>
                    <a:pt x="306" y="10"/>
                  </a:lnTo>
                  <a:lnTo>
                    <a:pt x="307" y="10"/>
                  </a:lnTo>
                  <a:lnTo>
                    <a:pt x="306" y="10"/>
                  </a:lnTo>
                  <a:lnTo>
                    <a:pt x="307" y="10"/>
                  </a:lnTo>
                  <a:lnTo>
                    <a:pt x="307" y="8"/>
                  </a:lnTo>
                  <a:lnTo>
                    <a:pt x="306" y="8"/>
                  </a:lnTo>
                  <a:lnTo>
                    <a:pt x="304" y="8"/>
                  </a:lnTo>
                  <a:lnTo>
                    <a:pt x="304" y="6"/>
                  </a:lnTo>
                  <a:lnTo>
                    <a:pt x="306" y="6"/>
                  </a:lnTo>
                  <a:lnTo>
                    <a:pt x="304" y="6"/>
                  </a:lnTo>
                  <a:lnTo>
                    <a:pt x="304" y="4"/>
                  </a:lnTo>
                  <a:lnTo>
                    <a:pt x="304" y="6"/>
                  </a:lnTo>
                  <a:lnTo>
                    <a:pt x="304" y="4"/>
                  </a:lnTo>
                  <a:lnTo>
                    <a:pt x="304" y="6"/>
                  </a:lnTo>
                  <a:lnTo>
                    <a:pt x="306" y="6"/>
                  </a:lnTo>
                  <a:lnTo>
                    <a:pt x="306" y="4"/>
                  </a:lnTo>
                  <a:lnTo>
                    <a:pt x="306" y="6"/>
                  </a:lnTo>
                  <a:lnTo>
                    <a:pt x="306" y="4"/>
                  </a:lnTo>
                  <a:lnTo>
                    <a:pt x="306" y="6"/>
                  </a:lnTo>
                  <a:lnTo>
                    <a:pt x="306" y="4"/>
                  </a:lnTo>
                  <a:lnTo>
                    <a:pt x="307" y="4"/>
                  </a:lnTo>
                  <a:lnTo>
                    <a:pt x="307" y="6"/>
                  </a:lnTo>
                  <a:lnTo>
                    <a:pt x="307" y="4"/>
                  </a:lnTo>
                  <a:lnTo>
                    <a:pt x="309" y="4"/>
                  </a:lnTo>
                  <a:lnTo>
                    <a:pt x="307" y="4"/>
                  </a:lnTo>
                  <a:lnTo>
                    <a:pt x="309" y="4"/>
                  </a:lnTo>
                  <a:lnTo>
                    <a:pt x="307" y="4"/>
                  </a:lnTo>
                  <a:lnTo>
                    <a:pt x="309" y="4"/>
                  </a:lnTo>
                  <a:lnTo>
                    <a:pt x="309" y="6"/>
                  </a:lnTo>
                  <a:lnTo>
                    <a:pt x="311" y="6"/>
                  </a:lnTo>
                  <a:lnTo>
                    <a:pt x="309" y="6"/>
                  </a:lnTo>
                  <a:lnTo>
                    <a:pt x="309" y="4"/>
                  </a:lnTo>
                  <a:lnTo>
                    <a:pt x="307" y="4"/>
                  </a:lnTo>
                  <a:lnTo>
                    <a:pt x="309" y="4"/>
                  </a:lnTo>
                  <a:lnTo>
                    <a:pt x="307" y="4"/>
                  </a:lnTo>
                  <a:lnTo>
                    <a:pt x="307" y="2"/>
                  </a:lnTo>
                  <a:lnTo>
                    <a:pt x="309" y="2"/>
                  </a:lnTo>
                  <a:lnTo>
                    <a:pt x="307" y="2"/>
                  </a:lnTo>
                  <a:lnTo>
                    <a:pt x="309" y="2"/>
                  </a:lnTo>
                  <a:lnTo>
                    <a:pt x="309" y="0"/>
                  </a:lnTo>
                  <a:close/>
                  <a:moveTo>
                    <a:pt x="66" y="290"/>
                  </a:moveTo>
                  <a:lnTo>
                    <a:pt x="66" y="292"/>
                  </a:lnTo>
                  <a:lnTo>
                    <a:pt x="64" y="292"/>
                  </a:lnTo>
                  <a:lnTo>
                    <a:pt x="66" y="292"/>
                  </a:lnTo>
                  <a:lnTo>
                    <a:pt x="66" y="294"/>
                  </a:lnTo>
                  <a:lnTo>
                    <a:pt x="66" y="292"/>
                  </a:lnTo>
                  <a:lnTo>
                    <a:pt x="68" y="292"/>
                  </a:lnTo>
                  <a:lnTo>
                    <a:pt x="68" y="294"/>
                  </a:lnTo>
                  <a:lnTo>
                    <a:pt x="68" y="292"/>
                  </a:lnTo>
                  <a:lnTo>
                    <a:pt x="68" y="294"/>
                  </a:lnTo>
                  <a:lnTo>
                    <a:pt x="69" y="294"/>
                  </a:lnTo>
                  <a:lnTo>
                    <a:pt x="68" y="294"/>
                  </a:lnTo>
                  <a:lnTo>
                    <a:pt x="68" y="296"/>
                  </a:lnTo>
                  <a:lnTo>
                    <a:pt x="66" y="296"/>
                  </a:lnTo>
                  <a:lnTo>
                    <a:pt x="64" y="296"/>
                  </a:lnTo>
                  <a:lnTo>
                    <a:pt x="62" y="296"/>
                  </a:lnTo>
                  <a:lnTo>
                    <a:pt x="64" y="296"/>
                  </a:lnTo>
                  <a:lnTo>
                    <a:pt x="62" y="296"/>
                  </a:lnTo>
                  <a:lnTo>
                    <a:pt x="60" y="296"/>
                  </a:lnTo>
                  <a:lnTo>
                    <a:pt x="60" y="298"/>
                  </a:lnTo>
                  <a:lnTo>
                    <a:pt x="58" y="298"/>
                  </a:lnTo>
                  <a:lnTo>
                    <a:pt x="56" y="298"/>
                  </a:lnTo>
                  <a:lnTo>
                    <a:pt x="56" y="296"/>
                  </a:lnTo>
                  <a:lnTo>
                    <a:pt x="56" y="294"/>
                  </a:lnTo>
                  <a:lnTo>
                    <a:pt x="58" y="294"/>
                  </a:lnTo>
                  <a:lnTo>
                    <a:pt x="56" y="294"/>
                  </a:lnTo>
                  <a:lnTo>
                    <a:pt x="56" y="296"/>
                  </a:lnTo>
                  <a:lnTo>
                    <a:pt x="56" y="294"/>
                  </a:lnTo>
                  <a:lnTo>
                    <a:pt x="58" y="294"/>
                  </a:lnTo>
                  <a:lnTo>
                    <a:pt x="60" y="294"/>
                  </a:lnTo>
                  <a:lnTo>
                    <a:pt x="58" y="294"/>
                  </a:lnTo>
                  <a:lnTo>
                    <a:pt x="60" y="294"/>
                  </a:lnTo>
                  <a:lnTo>
                    <a:pt x="62" y="294"/>
                  </a:lnTo>
                  <a:lnTo>
                    <a:pt x="60" y="294"/>
                  </a:lnTo>
                  <a:lnTo>
                    <a:pt x="62" y="294"/>
                  </a:lnTo>
                  <a:lnTo>
                    <a:pt x="60" y="294"/>
                  </a:lnTo>
                  <a:lnTo>
                    <a:pt x="60" y="292"/>
                  </a:lnTo>
                  <a:lnTo>
                    <a:pt x="62" y="292"/>
                  </a:lnTo>
                  <a:lnTo>
                    <a:pt x="64" y="292"/>
                  </a:lnTo>
                  <a:lnTo>
                    <a:pt x="64" y="290"/>
                  </a:lnTo>
                  <a:lnTo>
                    <a:pt x="64" y="292"/>
                  </a:lnTo>
                  <a:lnTo>
                    <a:pt x="64" y="290"/>
                  </a:lnTo>
                  <a:lnTo>
                    <a:pt x="64" y="292"/>
                  </a:lnTo>
                  <a:lnTo>
                    <a:pt x="64" y="290"/>
                  </a:lnTo>
                  <a:lnTo>
                    <a:pt x="64" y="292"/>
                  </a:lnTo>
                  <a:lnTo>
                    <a:pt x="64" y="290"/>
                  </a:lnTo>
                  <a:lnTo>
                    <a:pt x="66" y="290"/>
                  </a:lnTo>
                  <a:close/>
                  <a:moveTo>
                    <a:pt x="139" y="121"/>
                  </a:moveTo>
                  <a:lnTo>
                    <a:pt x="139" y="123"/>
                  </a:lnTo>
                  <a:lnTo>
                    <a:pt x="139" y="125"/>
                  </a:lnTo>
                  <a:lnTo>
                    <a:pt x="139" y="123"/>
                  </a:lnTo>
                  <a:lnTo>
                    <a:pt x="137" y="123"/>
                  </a:lnTo>
                  <a:lnTo>
                    <a:pt x="139" y="123"/>
                  </a:lnTo>
                  <a:lnTo>
                    <a:pt x="139" y="125"/>
                  </a:lnTo>
                  <a:lnTo>
                    <a:pt x="139" y="123"/>
                  </a:lnTo>
                  <a:lnTo>
                    <a:pt x="139" y="125"/>
                  </a:lnTo>
                  <a:lnTo>
                    <a:pt x="140" y="125"/>
                  </a:lnTo>
                  <a:lnTo>
                    <a:pt x="140" y="123"/>
                  </a:lnTo>
                  <a:lnTo>
                    <a:pt x="140" y="125"/>
                  </a:lnTo>
                  <a:lnTo>
                    <a:pt x="140" y="127"/>
                  </a:lnTo>
                  <a:lnTo>
                    <a:pt x="140" y="125"/>
                  </a:lnTo>
                  <a:lnTo>
                    <a:pt x="140" y="127"/>
                  </a:lnTo>
                  <a:lnTo>
                    <a:pt x="140" y="125"/>
                  </a:lnTo>
                  <a:lnTo>
                    <a:pt x="140" y="127"/>
                  </a:lnTo>
                  <a:lnTo>
                    <a:pt x="140" y="125"/>
                  </a:lnTo>
                  <a:lnTo>
                    <a:pt x="140" y="127"/>
                  </a:lnTo>
                  <a:lnTo>
                    <a:pt x="139" y="127"/>
                  </a:lnTo>
                  <a:lnTo>
                    <a:pt x="140" y="127"/>
                  </a:lnTo>
                  <a:lnTo>
                    <a:pt x="139" y="127"/>
                  </a:lnTo>
                  <a:lnTo>
                    <a:pt x="137" y="127"/>
                  </a:lnTo>
                  <a:lnTo>
                    <a:pt x="137" y="129"/>
                  </a:lnTo>
                  <a:lnTo>
                    <a:pt x="135" y="129"/>
                  </a:lnTo>
                  <a:lnTo>
                    <a:pt x="137" y="129"/>
                  </a:lnTo>
                  <a:lnTo>
                    <a:pt x="137" y="131"/>
                  </a:lnTo>
                  <a:lnTo>
                    <a:pt x="135" y="131"/>
                  </a:lnTo>
                  <a:lnTo>
                    <a:pt x="135" y="129"/>
                  </a:lnTo>
                  <a:lnTo>
                    <a:pt x="135" y="131"/>
                  </a:lnTo>
                  <a:lnTo>
                    <a:pt x="135" y="129"/>
                  </a:lnTo>
                  <a:lnTo>
                    <a:pt x="135" y="131"/>
                  </a:lnTo>
                  <a:lnTo>
                    <a:pt x="135" y="129"/>
                  </a:lnTo>
                  <a:lnTo>
                    <a:pt x="135" y="131"/>
                  </a:lnTo>
                  <a:lnTo>
                    <a:pt x="135" y="133"/>
                  </a:lnTo>
                  <a:lnTo>
                    <a:pt x="135" y="131"/>
                  </a:lnTo>
                  <a:lnTo>
                    <a:pt x="135" y="133"/>
                  </a:lnTo>
                  <a:lnTo>
                    <a:pt x="135" y="131"/>
                  </a:lnTo>
                  <a:lnTo>
                    <a:pt x="133" y="131"/>
                  </a:lnTo>
                  <a:lnTo>
                    <a:pt x="133" y="129"/>
                  </a:lnTo>
                  <a:lnTo>
                    <a:pt x="133" y="131"/>
                  </a:lnTo>
                  <a:lnTo>
                    <a:pt x="133" y="129"/>
                  </a:lnTo>
                  <a:lnTo>
                    <a:pt x="133" y="131"/>
                  </a:lnTo>
                  <a:lnTo>
                    <a:pt x="133" y="129"/>
                  </a:lnTo>
                  <a:lnTo>
                    <a:pt x="133" y="131"/>
                  </a:lnTo>
                  <a:lnTo>
                    <a:pt x="133" y="129"/>
                  </a:lnTo>
                  <a:lnTo>
                    <a:pt x="133" y="131"/>
                  </a:lnTo>
                  <a:lnTo>
                    <a:pt x="133" y="133"/>
                  </a:lnTo>
                  <a:lnTo>
                    <a:pt x="133" y="131"/>
                  </a:lnTo>
                  <a:lnTo>
                    <a:pt x="133" y="133"/>
                  </a:lnTo>
                  <a:lnTo>
                    <a:pt x="131" y="133"/>
                  </a:lnTo>
                  <a:lnTo>
                    <a:pt x="133" y="133"/>
                  </a:lnTo>
                  <a:lnTo>
                    <a:pt x="131" y="133"/>
                  </a:lnTo>
                  <a:lnTo>
                    <a:pt x="133" y="133"/>
                  </a:lnTo>
                  <a:lnTo>
                    <a:pt x="131" y="133"/>
                  </a:lnTo>
                  <a:lnTo>
                    <a:pt x="131" y="131"/>
                  </a:lnTo>
                  <a:lnTo>
                    <a:pt x="131" y="129"/>
                  </a:lnTo>
                  <a:lnTo>
                    <a:pt x="133" y="129"/>
                  </a:lnTo>
                  <a:lnTo>
                    <a:pt x="131" y="129"/>
                  </a:lnTo>
                  <a:lnTo>
                    <a:pt x="133" y="129"/>
                  </a:lnTo>
                  <a:lnTo>
                    <a:pt x="131" y="129"/>
                  </a:lnTo>
                  <a:lnTo>
                    <a:pt x="133" y="129"/>
                  </a:lnTo>
                  <a:lnTo>
                    <a:pt x="131" y="129"/>
                  </a:lnTo>
                  <a:lnTo>
                    <a:pt x="133" y="129"/>
                  </a:lnTo>
                  <a:lnTo>
                    <a:pt x="133" y="127"/>
                  </a:lnTo>
                  <a:lnTo>
                    <a:pt x="133" y="129"/>
                  </a:lnTo>
                  <a:lnTo>
                    <a:pt x="131" y="129"/>
                  </a:lnTo>
                  <a:lnTo>
                    <a:pt x="133" y="129"/>
                  </a:lnTo>
                  <a:lnTo>
                    <a:pt x="131" y="129"/>
                  </a:lnTo>
                  <a:lnTo>
                    <a:pt x="131" y="127"/>
                  </a:lnTo>
                  <a:lnTo>
                    <a:pt x="133" y="127"/>
                  </a:lnTo>
                  <a:lnTo>
                    <a:pt x="131" y="127"/>
                  </a:lnTo>
                  <a:lnTo>
                    <a:pt x="133" y="127"/>
                  </a:lnTo>
                  <a:lnTo>
                    <a:pt x="131" y="127"/>
                  </a:lnTo>
                  <a:lnTo>
                    <a:pt x="133" y="127"/>
                  </a:lnTo>
                  <a:lnTo>
                    <a:pt x="133" y="125"/>
                  </a:lnTo>
                  <a:lnTo>
                    <a:pt x="135" y="125"/>
                  </a:lnTo>
                  <a:lnTo>
                    <a:pt x="133" y="125"/>
                  </a:lnTo>
                  <a:lnTo>
                    <a:pt x="135" y="125"/>
                  </a:lnTo>
                  <a:lnTo>
                    <a:pt x="133" y="125"/>
                  </a:lnTo>
                  <a:lnTo>
                    <a:pt x="131" y="125"/>
                  </a:lnTo>
                  <a:lnTo>
                    <a:pt x="133" y="125"/>
                  </a:lnTo>
                  <a:lnTo>
                    <a:pt x="133" y="123"/>
                  </a:lnTo>
                  <a:lnTo>
                    <a:pt x="135" y="123"/>
                  </a:lnTo>
                  <a:lnTo>
                    <a:pt x="135" y="125"/>
                  </a:lnTo>
                  <a:lnTo>
                    <a:pt x="135" y="123"/>
                  </a:lnTo>
                  <a:lnTo>
                    <a:pt x="135" y="125"/>
                  </a:lnTo>
                  <a:lnTo>
                    <a:pt x="135" y="123"/>
                  </a:lnTo>
                  <a:lnTo>
                    <a:pt x="135" y="125"/>
                  </a:lnTo>
                  <a:lnTo>
                    <a:pt x="137" y="125"/>
                  </a:lnTo>
                  <a:lnTo>
                    <a:pt x="135" y="125"/>
                  </a:lnTo>
                  <a:lnTo>
                    <a:pt x="137" y="125"/>
                  </a:lnTo>
                  <a:lnTo>
                    <a:pt x="135" y="125"/>
                  </a:lnTo>
                  <a:lnTo>
                    <a:pt x="137" y="125"/>
                  </a:lnTo>
                  <a:lnTo>
                    <a:pt x="135" y="125"/>
                  </a:lnTo>
                  <a:lnTo>
                    <a:pt x="135" y="123"/>
                  </a:lnTo>
                  <a:lnTo>
                    <a:pt x="135" y="125"/>
                  </a:lnTo>
                  <a:lnTo>
                    <a:pt x="135" y="123"/>
                  </a:lnTo>
                  <a:lnTo>
                    <a:pt x="135" y="125"/>
                  </a:lnTo>
                  <a:lnTo>
                    <a:pt x="135" y="123"/>
                  </a:lnTo>
                  <a:lnTo>
                    <a:pt x="137" y="123"/>
                  </a:lnTo>
                  <a:lnTo>
                    <a:pt x="135" y="123"/>
                  </a:lnTo>
                  <a:lnTo>
                    <a:pt x="137" y="123"/>
                  </a:lnTo>
                  <a:lnTo>
                    <a:pt x="135" y="123"/>
                  </a:lnTo>
                  <a:lnTo>
                    <a:pt x="137" y="123"/>
                  </a:lnTo>
                  <a:lnTo>
                    <a:pt x="137" y="121"/>
                  </a:lnTo>
                  <a:lnTo>
                    <a:pt x="137" y="123"/>
                  </a:lnTo>
                  <a:lnTo>
                    <a:pt x="137" y="121"/>
                  </a:lnTo>
                  <a:lnTo>
                    <a:pt x="139" y="121"/>
                  </a:lnTo>
                  <a:close/>
                  <a:moveTo>
                    <a:pt x="281" y="21"/>
                  </a:moveTo>
                  <a:lnTo>
                    <a:pt x="282" y="21"/>
                  </a:lnTo>
                  <a:lnTo>
                    <a:pt x="282" y="23"/>
                  </a:lnTo>
                  <a:lnTo>
                    <a:pt x="282" y="21"/>
                  </a:lnTo>
                  <a:lnTo>
                    <a:pt x="284" y="21"/>
                  </a:lnTo>
                  <a:lnTo>
                    <a:pt x="284" y="23"/>
                  </a:lnTo>
                  <a:lnTo>
                    <a:pt x="284" y="21"/>
                  </a:lnTo>
                  <a:lnTo>
                    <a:pt x="284" y="23"/>
                  </a:lnTo>
                  <a:lnTo>
                    <a:pt x="286" y="23"/>
                  </a:lnTo>
                  <a:lnTo>
                    <a:pt x="286" y="25"/>
                  </a:lnTo>
                  <a:lnTo>
                    <a:pt x="286" y="27"/>
                  </a:lnTo>
                  <a:lnTo>
                    <a:pt x="286" y="29"/>
                  </a:lnTo>
                  <a:lnTo>
                    <a:pt x="284" y="29"/>
                  </a:lnTo>
                  <a:lnTo>
                    <a:pt x="286" y="29"/>
                  </a:lnTo>
                  <a:lnTo>
                    <a:pt x="284" y="29"/>
                  </a:lnTo>
                  <a:lnTo>
                    <a:pt x="284" y="31"/>
                  </a:lnTo>
                  <a:lnTo>
                    <a:pt x="282" y="31"/>
                  </a:lnTo>
                  <a:lnTo>
                    <a:pt x="281" y="31"/>
                  </a:lnTo>
                  <a:lnTo>
                    <a:pt x="281" y="29"/>
                  </a:lnTo>
                  <a:lnTo>
                    <a:pt x="281" y="27"/>
                  </a:lnTo>
                  <a:lnTo>
                    <a:pt x="279" y="27"/>
                  </a:lnTo>
                  <a:lnTo>
                    <a:pt x="281" y="27"/>
                  </a:lnTo>
                  <a:lnTo>
                    <a:pt x="281" y="25"/>
                  </a:lnTo>
                  <a:lnTo>
                    <a:pt x="279" y="25"/>
                  </a:lnTo>
                  <a:lnTo>
                    <a:pt x="281" y="25"/>
                  </a:lnTo>
                  <a:lnTo>
                    <a:pt x="279" y="25"/>
                  </a:lnTo>
                  <a:lnTo>
                    <a:pt x="281" y="25"/>
                  </a:lnTo>
                  <a:lnTo>
                    <a:pt x="281" y="23"/>
                  </a:lnTo>
                  <a:lnTo>
                    <a:pt x="279" y="23"/>
                  </a:lnTo>
                  <a:lnTo>
                    <a:pt x="279" y="21"/>
                  </a:lnTo>
                  <a:lnTo>
                    <a:pt x="281" y="21"/>
                  </a:lnTo>
                  <a:lnTo>
                    <a:pt x="279" y="21"/>
                  </a:lnTo>
                  <a:lnTo>
                    <a:pt x="281" y="21"/>
                  </a:lnTo>
                  <a:close/>
                  <a:moveTo>
                    <a:pt x="236" y="42"/>
                  </a:moveTo>
                  <a:lnTo>
                    <a:pt x="238" y="42"/>
                  </a:lnTo>
                  <a:lnTo>
                    <a:pt x="238" y="44"/>
                  </a:lnTo>
                  <a:lnTo>
                    <a:pt x="238" y="46"/>
                  </a:lnTo>
                  <a:lnTo>
                    <a:pt x="238" y="48"/>
                  </a:lnTo>
                  <a:lnTo>
                    <a:pt x="238" y="50"/>
                  </a:lnTo>
                  <a:lnTo>
                    <a:pt x="238" y="52"/>
                  </a:lnTo>
                  <a:lnTo>
                    <a:pt x="236" y="52"/>
                  </a:lnTo>
                  <a:lnTo>
                    <a:pt x="236" y="50"/>
                  </a:lnTo>
                  <a:lnTo>
                    <a:pt x="236" y="52"/>
                  </a:lnTo>
                  <a:lnTo>
                    <a:pt x="234" y="52"/>
                  </a:lnTo>
                  <a:lnTo>
                    <a:pt x="234" y="50"/>
                  </a:lnTo>
                  <a:lnTo>
                    <a:pt x="234" y="48"/>
                  </a:lnTo>
                  <a:lnTo>
                    <a:pt x="234" y="50"/>
                  </a:lnTo>
                  <a:lnTo>
                    <a:pt x="234" y="52"/>
                  </a:lnTo>
                  <a:lnTo>
                    <a:pt x="233" y="52"/>
                  </a:lnTo>
                  <a:lnTo>
                    <a:pt x="233" y="50"/>
                  </a:lnTo>
                  <a:lnTo>
                    <a:pt x="233" y="48"/>
                  </a:lnTo>
                  <a:lnTo>
                    <a:pt x="233" y="46"/>
                  </a:lnTo>
                  <a:lnTo>
                    <a:pt x="233" y="44"/>
                  </a:lnTo>
                  <a:lnTo>
                    <a:pt x="233" y="46"/>
                  </a:lnTo>
                  <a:lnTo>
                    <a:pt x="233" y="44"/>
                  </a:lnTo>
                  <a:lnTo>
                    <a:pt x="234" y="44"/>
                  </a:lnTo>
                  <a:lnTo>
                    <a:pt x="234" y="42"/>
                  </a:lnTo>
                  <a:lnTo>
                    <a:pt x="236" y="42"/>
                  </a:lnTo>
                  <a:close/>
                  <a:moveTo>
                    <a:pt x="265" y="37"/>
                  </a:moveTo>
                  <a:lnTo>
                    <a:pt x="265" y="38"/>
                  </a:lnTo>
                  <a:lnTo>
                    <a:pt x="267" y="38"/>
                  </a:lnTo>
                  <a:lnTo>
                    <a:pt x="267" y="37"/>
                  </a:lnTo>
                  <a:lnTo>
                    <a:pt x="267" y="38"/>
                  </a:lnTo>
                  <a:lnTo>
                    <a:pt x="269" y="38"/>
                  </a:lnTo>
                  <a:lnTo>
                    <a:pt x="269" y="40"/>
                  </a:lnTo>
                  <a:lnTo>
                    <a:pt x="269" y="38"/>
                  </a:lnTo>
                  <a:lnTo>
                    <a:pt x="269" y="40"/>
                  </a:lnTo>
                  <a:lnTo>
                    <a:pt x="271" y="40"/>
                  </a:lnTo>
                  <a:lnTo>
                    <a:pt x="271" y="42"/>
                  </a:lnTo>
                  <a:lnTo>
                    <a:pt x="269" y="42"/>
                  </a:lnTo>
                  <a:lnTo>
                    <a:pt x="267" y="42"/>
                  </a:lnTo>
                  <a:lnTo>
                    <a:pt x="265" y="42"/>
                  </a:lnTo>
                  <a:lnTo>
                    <a:pt x="267" y="42"/>
                  </a:lnTo>
                  <a:lnTo>
                    <a:pt x="265" y="42"/>
                  </a:lnTo>
                  <a:lnTo>
                    <a:pt x="263" y="42"/>
                  </a:lnTo>
                  <a:lnTo>
                    <a:pt x="263" y="40"/>
                  </a:lnTo>
                  <a:lnTo>
                    <a:pt x="261" y="40"/>
                  </a:lnTo>
                  <a:lnTo>
                    <a:pt x="261" y="38"/>
                  </a:lnTo>
                  <a:lnTo>
                    <a:pt x="263" y="38"/>
                  </a:lnTo>
                  <a:lnTo>
                    <a:pt x="261" y="38"/>
                  </a:lnTo>
                  <a:lnTo>
                    <a:pt x="261" y="37"/>
                  </a:lnTo>
                  <a:lnTo>
                    <a:pt x="263" y="37"/>
                  </a:lnTo>
                  <a:lnTo>
                    <a:pt x="263" y="38"/>
                  </a:lnTo>
                  <a:lnTo>
                    <a:pt x="263" y="37"/>
                  </a:lnTo>
                  <a:lnTo>
                    <a:pt x="263" y="38"/>
                  </a:lnTo>
                  <a:lnTo>
                    <a:pt x="263" y="37"/>
                  </a:lnTo>
                  <a:lnTo>
                    <a:pt x="263" y="38"/>
                  </a:lnTo>
                  <a:lnTo>
                    <a:pt x="265" y="38"/>
                  </a:lnTo>
                  <a:lnTo>
                    <a:pt x="265" y="37"/>
                  </a:lnTo>
                  <a:lnTo>
                    <a:pt x="265" y="38"/>
                  </a:lnTo>
                  <a:lnTo>
                    <a:pt x="265" y="37"/>
                  </a:lnTo>
                  <a:close/>
                  <a:moveTo>
                    <a:pt x="18" y="382"/>
                  </a:moveTo>
                  <a:lnTo>
                    <a:pt x="18" y="384"/>
                  </a:lnTo>
                  <a:lnTo>
                    <a:pt x="18" y="386"/>
                  </a:lnTo>
                  <a:lnTo>
                    <a:pt x="18" y="388"/>
                  </a:lnTo>
                  <a:lnTo>
                    <a:pt x="18" y="390"/>
                  </a:lnTo>
                  <a:lnTo>
                    <a:pt x="16" y="390"/>
                  </a:lnTo>
                  <a:lnTo>
                    <a:pt x="16" y="392"/>
                  </a:lnTo>
                  <a:lnTo>
                    <a:pt x="14" y="392"/>
                  </a:lnTo>
                  <a:lnTo>
                    <a:pt x="14" y="390"/>
                  </a:lnTo>
                  <a:lnTo>
                    <a:pt x="14" y="388"/>
                  </a:lnTo>
                  <a:lnTo>
                    <a:pt x="12" y="388"/>
                  </a:lnTo>
                  <a:lnTo>
                    <a:pt x="14" y="388"/>
                  </a:lnTo>
                  <a:lnTo>
                    <a:pt x="14" y="386"/>
                  </a:lnTo>
                  <a:lnTo>
                    <a:pt x="16" y="386"/>
                  </a:lnTo>
                  <a:lnTo>
                    <a:pt x="16" y="384"/>
                  </a:lnTo>
                  <a:lnTo>
                    <a:pt x="16" y="382"/>
                  </a:lnTo>
                  <a:lnTo>
                    <a:pt x="18" y="382"/>
                  </a:lnTo>
                  <a:close/>
                  <a:moveTo>
                    <a:pt x="221" y="40"/>
                  </a:moveTo>
                  <a:lnTo>
                    <a:pt x="221" y="42"/>
                  </a:lnTo>
                  <a:lnTo>
                    <a:pt x="221" y="44"/>
                  </a:lnTo>
                  <a:lnTo>
                    <a:pt x="221" y="42"/>
                  </a:lnTo>
                  <a:lnTo>
                    <a:pt x="223" y="42"/>
                  </a:lnTo>
                  <a:lnTo>
                    <a:pt x="223" y="44"/>
                  </a:lnTo>
                  <a:lnTo>
                    <a:pt x="223" y="46"/>
                  </a:lnTo>
                  <a:lnTo>
                    <a:pt x="223" y="44"/>
                  </a:lnTo>
                  <a:lnTo>
                    <a:pt x="225" y="44"/>
                  </a:lnTo>
                  <a:lnTo>
                    <a:pt x="223" y="44"/>
                  </a:lnTo>
                  <a:lnTo>
                    <a:pt x="225" y="44"/>
                  </a:lnTo>
                  <a:lnTo>
                    <a:pt x="225" y="46"/>
                  </a:lnTo>
                  <a:lnTo>
                    <a:pt x="225" y="48"/>
                  </a:lnTo>
                  <a:lnTo>
                    <a:pt x="227" y="48"/>
                  </a:lnTo>
                  <a:lnTo>
                    <a:pt x="225" y="48"/>
                  </a:lnTo>
                  <a:lnTo>
                    <a:pt x="227" y="48"/>
                  </a:lnTo>
                  <a:lnTo>
                    <a:pt x="227" y="46"/>
                  </a:lnTo>
                  <a:lnTo>
                    <a:pt x="227" y="48"/>
                  </a:lnTo>
                  <a:lnTo>
                    <a:pt x="227" y="46"/>
                  </a:lnTo>
                  <a:lnTo>
                    <a:pt x="227" y="48"/>
                  </a:lnTo>
                  <a:lnTo>
                    <a:pt x="225" y="48"/>
                  </a:lnTo>
                  <a:lnTo>
                    <a:pt x="227" y="48"/>
                  </a:lnTo>
                  <a:lnTo>
                    <a:pt x="229" y="48"/>
                  </a:lnTo>
                  <a:lnTo>
                    <a:pt x="227" y="48"/>
                  </a:lnTo>
                  <a:lnTo>
                    <a:pt x="227" y="50"/>
                  </a:lnTo>
                  <a:lnTo>
                    <a:pt x="225" y="50"/>
                  </a:lnTo>
                  <a:lnTo>
                    <a:pt x="225" y="52"/>
                  </a:lnTo>
                  <a:lnTo>
                    <a:pt x="225" y="50"/>
                  </a:lnTo>
                  <a:lnTo>
                    <a:pt x="223" y="50"/>
                  </a:lnTo>
                  <a:lnTo>
                    <a:pt x="221" y="50"/>
                  </a:lnTo>
                  <a:lnTo>
                    <a:pt x="221" y="48"/>
                  </a:lnTo>
                  <a:lnTo>
                    <a:pt x="223" y="48"/>
                  </a:lnTo>
                  <a:lnTo>
                    <a:pt x="221" y="48"/>
                  </a:lnTo>
                  <a:lnTo>
                    <a:pt x="221" y="46"/>
                  </a:lnTo>
                  <a:lnTo>
                    <a:pt x="221" y="44"/>
                  </a:lnTo>
                  <a:lnTo>
                    <a:pt x="219" y="44"/>
                  </a:lnTo>
                  <a:lnTo>
                    <a:pt x="219" y="42"/>
                  </a:lnTo>
                  <a:lnTo>
                    <a:pt x="221" y="42"/>
                  </a:lnTo>
                  <a:lnTo>
                    <a:pt x="219" y="42"/>
                  </a:lnTo>
                  <a:lnTo>
                    <a:pt x="221" y="42"/>
                  </a:lnTo>
                  <a:lnTo>
                    <a:pt x="219" y="42"/>
                  </a:lnTo>
                  <a:lnTo>
                    <a:pt x="221" y="42"/>
                  </a:lnTo>
                  <a:lnTo>
                    <a:pt x="221" y="40"/>
                  </a:lnTo>
                  <a:close/>
                  <a:moveTo>
                    <a:pt x="173" y="113"/>
                  </a:moveTo>
                  <a:lnTo>
                    <a:pt x="175" y="113"/>
                  </a:lnTo>
                  <a:lnTo>
                    <a:pt x="175" y="115"/>
                  </a:lnTo>
                  <a:lnTo>
                    <a:pt x="175" y="117"/>
                  </a:lnTo>
                  <a:lnTo>
                    <a:pt x="173" y="117"/>
                  </a:lnTo>
                  <a:lnTo>
                    <a:pt x="175" y="117"/>
                  </a:lnTo>
                  <a:lnTo>
                    <a:pt x="173" y="117"/>
                  </a:lnTo>
                  <a:lnTo>
                    <a:pt x="173" y="119"/>
                  </a:lnTo>
                  <a:lnTo>
                    <a:pt x="173" y="117"/>
                  </a:lnTo>
                  <a:lnTo>
                    <a:pt x="173" y="119"/>
                  </a:lnTo>
                  <a:lnTo>
                    <a:pt x="173" y="117"/>
                  </a:lnTo>
                  <a:lnTo>
                    <a:pt x="173" y="119"/>
                  </a:lnTo>
                  <a:lnTo>
                    <a:pt x="171" y="119"/>
                  </a:lnTo>
                  <a:lnTo>
                    <a:pt x="171" y="117"/>
                  </a:lnTo>
                  <a:lnTo>
                    <a:pt x="171" y="119"/>
                  </a:lnTo>
                  <a:lnTo>
                    <a:pt x="169" y="119"/>
                  </a:lnTo>
                  <a:lnTo>
                    <a:pt x="169" y="117"/>
                  </a:lnTo>
                  <a:lnTo>
                    <a:pt x="171" y="117"/>
                  </a:lnTo>
                  <a:lnTo>
                    <a:pt x="169" y="117"/>
                  </a:lnTo>
                  <a:lnTo>
                    <a:pt x="171" y="117"/>
                  </a:lnTo>
                  <a:lnTo>
                    <a:pt x="169" y="117"/>
                  </a:lnTo>
                  <a:lnTo>
                    <a:pt x="169" y="115"/>
                  </a:lnTo>
                  <a:lnTo>
                    <a:pt x="171" y="115"/>
                  </a:lnTo>
                  <a:lnTo>
                    <a:pt x="169" y="115"/>
                  </a:lnTo>
                  <a:lnTo>
                    <a:pt x="171" y="115"/>
                  </a:lnTo>
                  <a:lnTo>
                    <a:pt x="171" y="113"/>
                  </a:lnTo>
                  <a:lnTo>
                    <a:pt x="173" y="113"/>
                  </a:lnTo>
                  <a:close/>
                  <a:moveTo>
                    <a:pt x="125" y="131"/>
                  </a:moveTo>
                  <a:lnTo>
                    <a:pt x="127" y="131"/>
                  </a:lnTo>
                  <a:lnTo>
                    <a:pt x="125" y="131"/>
                  </a:lnTo>
                  <a:lnTo>
                    <a:pt x="127" y="131"/>
                  </a:lnTo>
                  <a:lnTo>
                    <a:pt x="127" y="133"/>
                  </a:lnTo>
                  <a:lnTo>
                    <a:pt x="125" y="133"/>
                  </a:lnTo>
                  <a:lnTo>
                    <a:pt x="127" y="133"/>
                  </a:lnTo>
                  <a:lnTo>
                    <a:pt x="125" y="133"/>
                  </a:lnTo>
                  <a:lnTo>
                    <a:pt x="127" y="133"/>
                  </a:lnTo>
                  <a:lnTo>
                    <a:pt x="125" y="133"/>
                  </a:lnTo>
                  <a:lnTo>
                    <a:pt x="125" y="134"/>
                  </a:lnTo>
                  <a:lnTo>
                    <a:pt x="125" y="133"/>
                  </a:lnTo>
                  <a:lnTo>
                    <a:pt x="127" y="133"/>
                  </a:lnTo>
                  <a:lnTo>
                    <a:pt x="127" y="134"/>
                  </a:lnTo>
                  <a:lnTo>
                    <a:pt x="127" y="133"/>
                  </a:lnTo>
                  <a:lnTo>
                    <a:pt x="127" y="134"/>
                  </a:lnTo>
                  <a:lnTo>
                    <a:pt x="127" y="136"/>
                  </a:lnTo>
                  <a:lnTo>
                    <a:pt x="125" y="136"/>
                  </a:lnTo>
                  <a:lnTo>
                    <a:pt x="127" y="136"/>
                  </a:lnTo>
                  <a:lnTo>
                    <a:pt x="125" y="136"/>
                  </a:lnTo>
                  <a:lnTo>
                    <a:pt x="127" y="136"/>
                  </a:lnTo>
                  <a:lnTo>
                    <a:pt x="125" y="136"/>
                  </a:lnTo>
                  <a:lnTo>
                    <a:pt x="125" y="134"/>
                  </a:lnTo>
                  <a:lnTo>
                    <a:pt x="125" y="136"/>
                  </a:lnTo>
                  <a:lnTo>
                    <a:pt x="123" y="136"/>
                  </a:lnTo>
                  <a:lnTo>
                    <a:pt x="125" y="136"/>
                  </a:lnTo>
                  <a:lnTo>
                    <a:pt x="123" y="136"/>
                  </a:lnTo>
                  <a:lnTo>
                    <a:pt x="125" y="136"/>
                  </a:lnTo>
                  <a:lnTo>
                    <a:pt x="123" y="136"/>
                  </a:lnTo>
                  <a:lnTo>
                    <a:pt x="125" y="136"/>
                  </a:lnTo>
                  <a:lnTo>
                    <a:pt x="125" y="138"/>
                  </a:lnTo>
                  <a:lnTo>
                    <a:pt x="125" y="136"/>
                  </a:lnTo>
                  <a:lnTo>
                    <a:pt x="125" y="138"/>
                  </a:lnTo>
                  <a:lnTo>
                    <a:pt x="125" y="140"/>
                  </a:lnTo>
                  <a:lnTo>
                    <a:pt x="125" y="138"/>
                  </a:lnTo>
                  <a:lnTo>
                    <a:pt x="125" y="140"/>
                  </a:lnTo>
                  <a:lnTo>
                    <a:pt x="125" y="138"/>
                  </a:lnTo>
                  <a:lnTo>
                    <a:pt x="125" y="140"/>
                  </a:lnTo>
                  <a:lnTo>
                    <a:pt x="125" y="138"/>
                  </a:lnTo>
                  <a:lnTo>
                    <a:pt x="123" y="138"/>
                  </a:lnTo>
                  <a:lnTo>
                    <a:pt x="123" y="140"/>
                  </a:lnTo>
                  <a:lnTo>
                    <a:pt x="123" y="138"/>
                  </a:lnTo>
                  <a:lnTo>
                    <a:pt x="123" y="140"/>
                  </a:lnTo>
                  <a:lnTo>
                    <a:pt x="123" y="142"/>
                  </a:lnTo>
                  <a:lnTo>
                    <a:pt x="121" y="142"/>
                  </a:lnTo>
                  <a:lnTo>
                    <a:pt x="121" y="140"/>
                  </a:lnTo>
                  <a:lnTo>
                    <a:pt x="121" y="142"/>
                  </a:lnTo>
                  <a:lnTo>
                    <a:pt x="121" y="140"/>
                  </a:lnTo>
                  <a:lnTo>
                    <a:pt x="121" y="138"/>
                  </a:lnTo>
                  <a:lnTo>
                    <a:pt x="123" y="138"/>
                  </a:lnTo>
                  <a:lnTo>
                    <a:pt x="123" y="136"/>
                  </a:lnTo>
                  <a:lnTo>
                    <a:pt x="123" y="134"/>
                  </a:lnTo>
                  <a:lnTo>
                    <a:pt x="123" y="133"/>
                  </a:lnTo>
                  <a:lnTo>
                    <a:pt x="125" y="133"/>
                  </a:lnTo>
                  <a:lnTo>
                    <a:pt x="125" y="131"/>
                  </a:lnTo>
                  <a:close/>
                  <a:moveTo>
                    <a:pt x="52" y="296"/>
                  </a:moveTo>
                  <a:lnTo>
                    <a:pt x="52" y="298"/>
                  </a:lnTo>
                  <a:lnTo>
                    <a:pt x="52" y="296"/>
                  </a:lnTo>
                  <a:lnTo>
                    <a:pt x="52" y="298"/>
                  </a:lnTo>
                  <a:lnTo>
                    <a:pt x="52" y="296"/>
                  </a:lnTo>
                  <a:lnTo>
                    <a:pt x="52" y="298"/>
                  </a:lnTo>
                  <a:lnTo>
                    <a:pt x="54" y="298"/>
                  </a:lnTo>
                  <a:lnTo>
                    <a:pt x="52" y="298"/>
                  </a:lnTo>
                  <a:lnTo>
                    <a:pt x="54" y="298"/>
                  </a:lnTo>
                  <a:lnTo>
                    <a:pt x="54" y="300"/>
                  </a:lnTo>
                  <a:lnTo>
                    <a:pt x="52" y="300"/>
                  </a:lnTo>
                  <a:lnTo>
                    <a:pt x="54" y="300"/>
                  </a:lnTo>
                  <a:lnTo>
                    <a:pt x="52" y="300"/>
                  </a:lnTo>
                  <a:lnTo>
                    <a:pt x="52" y="302"/>
                  </a:lnTo>
                  <a:lnTo>
                    <a:pt x="54" y="302"/>
                  </a:lnTo>
                  <a:lnTo>
                    <a:pt x="54" y="300"/>
                  </a:lnTo>
                  <a:lnTo>
                    <a:pt x="54" y="302"/>
                  </a:lnTo>
                  <a:lnTo>
                    <a:pt x="52" y="302"/>
                  </a:lnTo>
                  <a:lnTo>
                    <a:pt x="50" y="302"/>
                  </a:lnTo>
                  <a:lnTo>
                    <a:pt x="52" y="302"/>
                  </a:lnTo>
                  <a:lnTo>
                    <a:pt x="50" y="302"/>
                  </a:lnTo>
                  <a:lnTo>
                    <a:pt x="50" y="300"/>
                  </a:lnTo>
                  <a:lnTo>
                    <a:pt x="50" y="302"/>
                  </a:lnTo>
                  <a:lnTo>
                    <a:pt x="52" y="302"/>
                  </a:lnTo>
                  <a:lnTo>
                    <a:pt x="50" y="302"/>
                  </a:lnTo>
                  <a:lnTo>
                    <a:pt x="52" y="302"/>
                  </a:lnTo>
                  <a:lnTo>
                    <a:pt x="52" y="300"/>
                  </a:lnTo>
                  <a:lnTo>
                    <a:pt x="50" y="300"/>
                  </a:lnTo>
                  <a:lnTo>
                    <a:pt x="50" y="302"/>
                  </a:lnTo>
                  <a:lnTo>
                    <a:pt x="50" y="300"/>
                  </a:lnTo>
                  <a:lnTo>
                    <a:pt x="50" y="302"/>
                  </a:lnTo>
                  <a:lnTo>
                    <a:pt x="50" y="300"/>
                  </a:lnTo>
                  <a:lnTo>
                    <a:pt x="48" y="300"/>
                  </a:lnTo>
                  <a:lnTo>
                    <a:pt x="50" y="300"/>
                  </a:lnTo>
                  <a:lnTo>
                    <a:pt x="48" y="300"/>
                  </a:lnTo>
                  <a:lnTo>
                    <a:pt x="50" y="300"/>
                  </a:lnTo>
                  <a:lnTo>
                    <a:pt x="48" y="300"/>
                  </a:lnTo>
                  <a:lnTo>
                    <a:pt x="48" y="298"/>
                  </a:lnTo>
                  <a:lnTo>
                    <a:pt x="48" y="300"/>
                  </a:lnTo>
                  <a:lnTo>
                    <a:pt x="48" y="298"/>
                  </a:lnTo>
                  <a:lnTo>
                    <a:pt x="50" y="298"/>
                  </a:lnTo>
                  <a:lnTo>
                    <a:pt x="48" y="298"/>
                  </a:lnTo>
                  <a:lnTo>
                    <a:pt x="50" y="298"/>
                  </a:lnTo>
                  <a:lnTo>
                    <a:pt x="50" y="296"/>
                  </a:lnTo>
                  <a:lnTo>
                    <a:pt x="52" y="296"/>
                  </a:lnTo>
                  <a:lnTo>
                    <a:pt x="52" y="298"/>
                  </a:lnTo>
                  <a:lnTo>
                    <a:pt x="50" y="298"/>
                  </a:lnTo>
                  <a:lnTo>
                    <a:pt x="52" y="298"/>
                  </a:lnTo>
                  <a:lnTo>
                    <a:pt x="52" y="296"/>
                  </a:lnTo>
                  <a:lnTo>
                    <a:pt x="52" y="298"/>
                  </a:lnTo>
                  <a:lnTo>
                    <a:pt x="52" y="296"/>
                  </a:lnTo>
                  <a:close/>
                  <a:moveTo>
                    <a:pt x="12" y="405"/>
                  </a:moveTo>
                  <a:lnTo>
                    <a:pt x="14" y="405"/>
                  </a:lnTo>
                  <a:lnTo>
                    <a:pt x="12" y="405"/>
                  </a:lnTo>
                  <a:lnTo>
                    <a:pt x="14" y="405"/>
                  </a:lnTo>
                  <a:lnTo>
                    <a:pt x="14" y="407"/>
                  </a:lnTo>
                  <a:lnTo>
                    <a:pt x="16" y="407"/>
                  </a:lnTo>
                  <a:lnTo>
                    <a:pt x="16" y="409"/>
                  </a:lnTo>
                  <a:lnTo>
                    <a:pt x="14" y="409"/>
                  </a:lnTo>
                  <a:lnTo>
                    <a:pt x="16" y="409"/>
                  </a:lnTo>
                  <a:lnTo>
                    <a:pt x="16" y="411"/>
                  </a:lnTo>
                  <a:lnTo>
                    <a:pt x="16" y="409"/>
                  </a:lnTo>
                  <a:lnTo>
                    <a:pt x="16" y="411"/>
                  </a:lnTo>
                  <a:lnTo>
                    <a:pt x="14" y="411"/>
                  </a:lnTo>
                  <a:lnTo>
                    <a:pt x="14" y="409"/>
                  </a:lnTo>
                  <a:lnTo>
                    <a:pt x="14" y="411"/>
                  </a:lnTo>
                  <a:lnTo>
                    <a:pt x="12" y="411"/>
                  </a:lnTo>
                  <a:lnTo>
                    <a:pt x="14" y="411"/>
                  </a:lnTo>
                  <a:lnTo>
                    <a:pt x="12" y="411"/>
                  </a:lnTo>
                  <a:lnTo>
                    <a:pt x="12" y="409"/>
                  </a:lnTo>
                  <a:lnTo>
                    <a:pt x="12" y="407"/>
                  </a:lnTo>
                  <a:lnTo>
                    <a:pt x="12" y="405"/>
                  </a:lnTo>
                  <a:lnTo>
                    <a:pt x="12" y="407"/>
                  </a:lnTo>
                  <a:lnTo>
                    <a:pt x="12" y="405"/>
                  </a:lnTo>
                  <a:close/>
                  <a:moveTo>
                    <a:pt x="223" y="52"/>
                  </a:moveTo>
                  <a:lnTo>
                    <a:pt x="223" y="54"/>
                  </a:lnTo>
                  <a:lnTo>
                    <a:pt x="225" y="54"/>
                  </a:lnTo>
                  <a:lnTo>
                    <a:pt x="225" y="56"/>
                  </a:lnTo>
                  <a:lnTo>
                    <a:pt x="223" y="56"/>
                  </a:lnTo>
                  <a:lnTo>
                    <a:pt x="223" y="58"/>
                  </a:lnTo>
                  <a:lnTo>
                    <a:pt x="223" y="60"/>
                  </a:lnTo>
                  <a:lnTo>
                    <a:pt x="221" y="60"/>
                  </a:lnTo>
                  <a:lnTo>
                    <a:pt x="219" y="60"/>
                  </a:lnTo>
                  <a:lnTo>
                    <a:pt x="217" y="60"/>
                  </a:lnTo>
                  <a:lnTo>
                    <a:pt x="219" y="60"/>
                  </a:lnTo>
                  <a:lnTo>
                    <a:pt x="219" y="58"/>
                  </a:lnTo>
                  <a:lnTo>
                    <a:pt x="219" y="56"/>
                  </a:lnTo>
                  <a:lnTo>
                    <a:pt x="221" y="56"/>
                  </a:lnTo>
                  <a:lnTo>
                    <a:pt x="221" y="54"/>
                  </a:lnTo>
                  <a:lnTo>
                    <a:pt x="223" y="54"/>
                  </a:lnTo>
                  <a:lnTo>
                    <a:pt x="223" y="52"/>
                  </a:lnTo>
                  <a:close/>
                  <a:moveTo>
                    <a:pt x="18" y="401"/>
                  </a:moveTo>
                  <a:lnTo>
                    <a:pt x="18" y="403"/>
                  </a:lnTo>
                  <a:lnTo>
                    <a:pt x="18" y="405"/>
                  </a:lnTo>
                  <a:lnTo>
                    <a:pt x="16" y="405"/>
                  </a:lnTo>
                  <a:lnTo>
                    <a:pt x="18" y="405"/>
                  </a:lnTo>
                  <a:lnTo>
                    <a:pt x="18" y="407"/>
                  </a:lnTo>
                  <a:lnTo>
                    <a:pt x="16" y="407"/>
                  </a:lnTo>
                  <a:lnTo>
                    <a:pt x="18" y="407"/>
                  </a:lnTo>
                  <a:lnTo>
                    <a:pt x="16" y="407"/>
                  </a:lnTo>
                  <a:lnTo>
                    <a:pt x="16" y="405"/>
                  </a:lnTo>
                  <a:lnTo>
                    <a:pt x="16" y="407"/>
                  </a:lnTo>
                  <a:lnTo>
                    <a:pt x="14" y="407"/>
                  </a:lnTo>
                  <a:lnTo>
                    <a:pt x="16" y="407"/>
                  </a:lnTo>
                  <a:lnTo>
                    <a:pt x="14" y="407"/>
                  </a:lnTo>
                  <a:lnTo>
                    <a:pt x="14" y="405"/>
                  </a:lnTo>
                  <a:lnTo>
                    <a:pt x="12" y="405"/>
                  </a:lnTo>
                  <a:lnTo>
                    <a:pt x="12" y="403"/>
                  </a:lnTo>
                  <a:lnTo>
                    <a:pt x="14" y="403"/>
                  </a:lnTo>
                  <a:lnTo>
                    <a:pt x="14" y="405"/>
                  </a:lnTo>
                  <a:lnTo>
                    <a:pt x="14" y="403"/>
                  </a:lnTo>
                  <a:lnTo>
                    <a:pt x="12" y="403"/>
                  </a:lnTo>
                  <a:lnTo>
                    <a:pt x="14" y="403"/>
                  </a:lnTo>
                  <a:lnTo>
                    <a:pt x="12" y="403"/>
                  </a:lnTo>
                  <a:lnTo>
                    <a:pt x="14" y="403"/>
                  </a:lnTo>
                  <a:lnTo>
                    <a:pt x="12" y="403"/>
                  </a:lnTo>
                  <a:lnTo>
                    <a:pt x="14" y="403"/>
                  </a:lnTo>
                  <a:lnTo>
                    <a:pt x="14" y="405"/>
                  </a:lnTo>
                  <a:lnTo>
                    <a:pt x="14" y="403"/>
                  </a:lnTo>
                  <a:lnTo>
                    <a:pt x="14" y="405"/>
                  </a:lnTo>
                  <a:lnTo>
                    <a:pt x="14" y="403"/>
                  </a:lnTo>
                  <a:lnTo>
                    <a:pt x="14" y="405"/>
                  </a:lnTo>
                  <a:lnTo>
                    <a:pt x="14" y="403"/>
                  </a:lnTo>
                  <a:lnTo>
                    <a:pt x="14" y="401"/>
                  </a:lnTo>
                  <a:lnTo>
                    <a:pt x="14" y="403"/>
                  </a:lnTo>
                  <a:lnTo>
                    <a:pt x="14" y="401"/>
                  </a:lnTo>
                  <a:lnTo>
                    <a:pt x="14" y="403"/>
                  </a:lnTo>
                  <a:lnTo>
                    <a:pt x="14" y="401"/>
                  </a:lnTo>
                  <a:lnTo>
                    <a:pt x="14" y="403"/>
                  </a:lnTo>
                  <a:lnTo>
                    <a:pt x="16" y="403"/>
                  </a:lnTo>
                  <a:lnTo>
                    <a:pt x="14" y="403"/>
                  </a:lnTo>
                  <a:lnTo>
                    <a:pt x="16" y="403"/>
                  </a:lnTo>
                  <a:lnTo>
                    <a:pt x="16" y="401"/>
                  </a:lnTo>
                  <a:lnTo>
                    <a:pt x="16" y="403"/>
                  </a:lnTo>
                  <a:lnTo>
                    <a:pt x="16" y="401"/>
                  </a:lnTo>
                  <a:lnTo>
                    <a:pt x="18" y="401"/>
                  </a:lnTo>
                  <a:lnTo>
                    <a:pt x="16" y="401"/>
                  </a:lnTo>
                  <a:lnTo>
                    <a:pt x="18" y="401"/>
                  </a:lnTo>
                  <a:close/>
                  <a:moveTo>
                    <a:pt x="123" y="207"/>
                  </a:moveTo>
                  <a:lnTo>
                    <a:pt x="123" y="209"/>
                  </a:lnTo>
                  <a:lnTo>
                    <a:pt x="121" y="209"/>
                  </a:lnTo>
                  <a:lnTo>
                    <a:pt x="121" y="211"/>
                  </a:lnTo>
                  <a:lnTo>
                    <a:pt x="119" y="211"/>
                  </a:lnTo>
                  <a:lnTo>
                    <a:pt x="117" y="211"/>
                  </a:lnTo>
                  <a:lnTo>
                    <a:pt x="117" y="213"/>
                  </a:lnTo>
                  <a:lnTo>
                    <a:pt x="117" y="215"/>
                  </a:lnTo>
                  <a:lnTo>
                    <a:pt x="117" y="213"/>
                  </a:lnTo>
                  <a:lnTo>
                    <a:pt x="117" y="215"/>
                  </a:lnTo>
                  <a:lnTo>
                    <a:pt x="117" y="213"/>
                  </a:lnTo>
                  <a:lnTo>
                    <a:pt x="117" y="215"/>
                  </a:lnTo>
                  <a:lnTo>
                    <a:pt x="115" y="215"/>
                  </a:lnTo>
                  <a:lnTo>
                    <a:pt x="117" y="215"/>
                  </a:lnTo>
                  <a:lnTo>
                    <a:pt x="117" y="213"/>
                  </a:lnTo>
                  <a:lnTo>
                    <a:pt x="115" y="215"/>
                  </a:lnTo>
                  <a:lnTo>
                    <a:pt x="115" y="213"/>
                  </a:lnTo>
                  <a:lnTo>
                    <a:pt x="117" y="213"/>
                  </a:lnTo>
                  <a:lnTo>
                    <a:pt x="115" y="213"/>
                  </a:lnTo>
                  <a:lnTo>
                    <a:pt x="115" y="211"/>
                  </a:lnTo>
                  <a:lnTo>
                    <a:pt x="115" y="213"/>
                  </a:lnTo>
                  <a:lnTo>
                    <a:pt x="115" y="211"/>
                  </a:lnTo>
                  <a:lnTo>
                    <a:pt x="117" y="211"/>
                  </a:lnTo>
                  <a:lnTo>
                    <a:pt x="117" y="209"/>
                  </a:lnTo>
                  <a:lnTo>
                    <a:pt x="119" y="209"/>
                  </a:lnTo>
                  <a:lnTo>
                    <a:pt x="117" y="209"/>
                  </a:lnTo>
                  <a:lnTo>
                    <a:pt x="119" y="209"/>
                  </a:lnTo>
                  <a:lnTo>
                    <a:pt x="119" y="211"/>
                  </a:lnTo>
                  <a:lnTo>
                    <a:pt x="117" y="211"/>
                  </a:lnTo>
                  <a:lnTo>
                    <a:pt x="119" y="211"/>
                  </a:lnTo>
                  <a:lnTo>
                    <a:pt x="119" y="209"/>
                  </a:lnTo>
                  <a:lnTo>
                    <a:pt x="121" y="209"/>
                  </a:lnTo>
                  <a:lnTo>
                    <a:pt x="123" y="209"/>
                  </a:lnTo>
                  <a:lnTo>
                    <a:pt x="123" y="207"/>
                  </a:lnTo>
                  <a:close/>
                  <a:moveTo>
                    <a:pt x="187" y="98"/>
                  </a:moveTo>
                  <a:lnTo>
                    <a:pt x="188" y="98"/>
                  </a:lnTo>
                  <a:lnTo>
                    <a:pt x="188" y="100"/>
                  </a:lnTo>
                  <a:lnTo>
                    <a:pt x="190" y="100"/>
                  </a:lnTo>
                  <a:lnTo>
                    <a:pt x="188" y="100"/>
                  </a:lnTo>
                  <a:lnTo>
                    <a:pt x="188" y="102"/>
                  </a:lnTo>
                  <a:lnTo>
                    <a:pt x="187" y="102"/>
                  </a:lnTo>
                  <a:lnTo>
                    <a:pt x="187" y="104"/>
                  </a:lnTo>
                  <a:lnTo>
                    <a:pt x="185" y="104"/>
                  </a:lnTo>
                  <a:lnTo>
                    <a:pt x="185" y="102"/>
                  </a:lnTo>
                  <a:lnTo>
                    <a:pt x="185" y="100"/>
                  </a:lnTo>
                  <a:lnTo>
                    <a:pt x="185" y="98"/>
                  </a:lnTo>
                  <a:lnTo>
                    <a:pt x="185" y="100"/>
                  </a:lnTo>
                  <a:lnTo>
                    <a:pt x="187" y="100"/>
                  </a:lnTo>
                  <a:lnTo>
                    <a:pt x="187" y="98"/>
                  </a:lnTo>
                  <a:lnTo>
                    <a:pt x="185" y="98"/>
                  </a:lnTo>
                  <a:lnTo>
                    <a:pt x="187" y="98"/>
                  </a:lnTo>
                  <a:close/>
                  <a:moveTo>
                    <a:pt x="371" y="58"/>
                  </a:moveTo>
                  <a:lnTo>
                    <a:pt x="373" y="58"/>
                  </a:lnTo>
                  <a:lnTo>
                    <a:pt x="373" y="60"/>
                  </a:lnTo>
                  <a:lnTo>
                    <a:pt x="371" y="60"/>
                  </a:lnTo>
                  <a:lnTo>
                    <a:pt x="371" y="61"/>
                  </a:lnTo>
                  <a:lnTo>
                    <a:pt x="373" y="61"/>
                  </a:lnTo>
                  <a:lnTo>
                    <a:pt x="373" y="60"/>
                  </a:lnTo>
                  <a:lnTo>
                    <a:pt x="373" y="61"/>
                  </a:lnTo>
                  <a:lnTo>
                    <a:pt x="373" y="60"/>
                  </a:lnTo>
                  <a:lnTo>
                    <a:pt x="373" y="61"/>
                  </a:lnTo>
                  <a:lnTo>
                    <a:pt x="373" y="60"/>
                  </a:lnTo>
                  <a:lnTo>
                    <a:pt x="375" y="60"/>
                  </a:lnTo>
                  <a:lnTo>
                    <a:pt x="375" y="61"/>
                  </a:lnTo>
                  <a:lnTo>
                    <a:pt x="373" y="61"/>
                  </a:lnTo>
                  <a:lnTo>
                    <a:pt x="371" y="61"/>
                  </a:lnTo>
                  <a:lnTo>
                    <a:pt x="371" y="63"/>
                  </a:lnTo>
                  <a:lnTo>
                    <a:pt x="371" y="61"/>
                  </a:lnTo>
                  <a:lnTo>
                    <a:pt x="371" y="63"/>
                  </a:lnTo>
                  <a:lnTo>
                    <a:pt x="369" y="63"/>
                  </a:lnTo>
                  <a:lnTo>
                    <a:pt x="369" y="61"/>
                  </a:lnTo>
                  <a:lnTo>
                    <a:pt x="371" y="61"/>
                  </a:lnTo>
                  <a:lnTo>
                    <a:pt x="369" y="61"/>
                  </a:lnTo>
                  <a:lnTo>
                    <a:pt x="371" y="61"/>
                  </a:lnTo>
                  <a:lnTo>
                    <a:pt x="369" y="61"/>
                  </a:lnTo>
                  <a:lnTo>
                    <a:pt x="369" y="60"/>
                  </a:lnTo>
                  <a:lnTo>
                    <a:pt x="371" y="60"/>
                  </a:lnTo>
                  <a:lnTo>
                    <a:pt x="369" y="60"/>
                  </a:lnTo>
                  <a:lnTo>
                    <a:pt x="371" y="60"/>
                  </a:lnTo>
                  <a:lnTo>
                    <a:pt x="369" y="60"/>
                  </a:lnTo>
                  <a:lnTo>
                    <a:pt x="369" y="58"/>
                  </a:lnTo>
                  <a:lnTo>
                    <a:pt x="371" y="58"/>
                  </a:lnTo>
                  <a:lnTo>
                    <a:pt x="369" y="58"/>
                  </a:lnTo>
                  <a:lnTo>
                    <a:pt x="371" y="58"/>
                  </a:lnTo>
                  <a:close/>
                  <a:moveTo>
                    <a:pt x="21" y="330"/>
                  </a:moveTo>
                  <a:lnTo>
                    <a:pt x="21" y="332"/>
                  </a:lnTo>
                  <a:lnTo>
                    <a:pt x="23" y="332"/>
                  </a:lnTo>
                  <a:lnTo>
                    <a:pt x="23" y="334"/>
                  </a:lnTo>
                  <a:lnTo>
                    <a:pt x="21" y="334"/>
                  </a:lnTo>
                  <a:lnTo>
                    <a:pt x="21" y="336"/>
                  </a:lnTo>
                  <a:lnTo>
                    <a:pt x="20" y="336"/>
                  </a:lnTo>
                  <a:lnTo>
                    <a:pt x="20" y="334"/>
                  </a:lnTo>
                  <a:lnTo>
                    <a:pt x="20" y="332"/>
                  </a:lnTo>
                  <a:lnTo>
                    <a:pt x="20" y="330"/>
                  </a:lnTo>
                  <a:lnTo>
                    <a:pt x="21" y="330"/>
                  </a:lnTo>
                  <a:close/>
                  <a:moveTo>
                    <a:pt x="6" y="390"/>
                  </a:moveTo>
                  <a:lnTo>
                    <a:pt x="6" y="392"/>
                  </a:lnTo>
                  <a:lnTo>
                    <a:pt x="8" y="392"/>
                  </a:lnTo>
                  <a:lnTo>
                    <a:pt x="6" y="392"/>
                  </a:lnTo>
                  <a:lnTo>
                    <a:pt x="8" y="392"/>
                  </a:lnTo>
                  <a:lnTo>
                    <a:pt x="8" y="394"/>
                  </a:lnTo>
                  <a:lnTo>
                    <a:pt x="8" y="392"/>
                  </a:lnTo>
                  <a:lnTo>
                    <a:pt x="8" y="394"/>
                  </a:lnTo>
                  <a:lnTo>
                    <a:pt x="10" y="394"/>
                  </a:lnTo>
                  <a:lnTo>
                    <a:pt x="8" y="394"/>
                  </a:lnTo>
                  <a:lnTo>
                    <a:pt x="10" y="394"/>
                  </a:lnTo>
                  <a:lnTo>
                    <a:pt x="10" y="396"/>
                  </a:lnTo>
                  <a:lnTo>
                    <a:pt x="8" y="396"/>
                  </a:lnTo>
                  <a:lnTo>
                    <a:pt x="10" y="396"/>
                  </a:lnTo>
                  <a:lnTo>
                    <a:pt x="10" y="398"/>
                  </a:lnTo>
                  <a:lnTo>
                    <a:pt x="10" y="400"/>
                  </a:lnTo>
                  <a:lnTo>
                    <a:pt x="8" y="400"/>
                  </a:lnTo>
                  <a:lnTo>
                    <a:pt x="8" y="398"/>
                  </a:lnTo>
                  <a:lnTo>
                    <a:pt x="8" y="400"/>
                  </a:lnTo>
                  <a:lnTo>
                    <a:pt x="8" y="398"/>
                  </a:lnTo>
                  <a:lnTo>
                    <a:pt x="6" y="398"/>
                  </a:lnTo>
                  <a:lnTo>
                    <a:pt x="6" y="396"/>
                  </a:lnTo>
                  <a:lnTo>
                    <a:pt x="8" y="396"/>
                  </a:lnTo>
                  <a:lnTo>
                    <a:pt x="8" y="394"/>
                  </a:lnTo>
                  <a:lnTo>
                    <a:pt x="8" y="396"/>
                  </a:lnTo>
                  <a:lnTo>
                    <a:pt x="8" y="394"/>
                  </a:lnTo>
                  <a:lnTo>
                    <a:pt x="8" y="396"/>
                  </a:lnTo>
                  <a:lnTo>
                    <a:pt x="8" y="394"/>
                  </a:lnTo>
                  <a:lnTo>
                    <a:pt x="6" y="394"/>
                  </a:lnTo>
                  <a:lnTo>
                    <a:pt x="8" y="394"/>
                  </a:lnTo>
                  <a:lnTo>
                    <a:pt x="6" y="394"/>
                  </a:lnTo>
                  <a:lnTo>
                    <a:pt x="6" y="392"/>
                  </a:lnTo>
                  <a:lnTo>
                    <a:pt x="6" y="390"/>
                  </a:lnTo>
                  <a:lnTo>
                    <a:pt x="6" y="392"/>
                  </a:lnTo>
                  <a:lnTo>
                    <a:pt x="6" y="390"/>
                  </a:lnTo>
                  <a:lnTo>
                    <a:pt x="6" y="392"/>
                  </a:lnTo>
                  <a:lnTo>
                    <a:pt x="6" y="390"/>
                  </a:lnTo>
                  <a:close/>
                  <a:moveTo>
                    <a:pt x="46" y="307"/>
                  </a:moveTo>
                  <a:lnTo>
                    <a:pt x="44" y="307"/>
                  </a:lnTo>
                  <a:lnTo>
                    <a:pt x="46" y="307"/>
                  </a:lnTo>
                  <a:lnTo>
                    <a:pt x="44" y="307"/>
                  </a:lnTo>
                  <a:lnTo>
                    <a:pt x="46" y="307"/>
                  </a:lnTo>
                  <a:lnTo>
                    <a:pt x="46" y="309"/>
                  </a:lnTo>
                  <a:lnTo>
                    <a:pt x="46" y="311"/>
                  </a:lnTo>
                  <a:lnTo>
                    <a:pt x="46" y="313"/>
                  </a:lnTo>
                  <a:lnTo>
                    <a:pt x="44" y="313"/>
                  </a:lnTo>
                  <a:lnTo>
                    <a:pt x="43" y="313"/>
                  </a:lnTo>
                  <a:lnTo>
                    <a:pt x="41" y="313"/>
                  </a:lnTo>
                  <a:lnTo>
                    <a:pt x="41" y="311"/>
                  </a:lnTo>
                  <a:lnTo>
                    <a:pt x="43" y="311"/>
                  </a:lnTo>
                  <a:lnTo>
                    <a:pt x="43" y="309"/>
                  </a:lnTo>
                  <a:lnTo>
                    <a:pt x="43" y="311"/>
                  </a:lnTo>
                  <a:lnTo>
                    <a:pt x="43" y="309"/>
                  </a:lnTo>
                  <a:lnTo>
                    <a:pt x="43" y="311"/>
                  </a:lnTo>
                  <a:lnTo>
                    <a:pt x="43" y="309"/>
                  </a:lnTo>
                  <a:lnTo>
                    <a:pt x="44" y="309"/>
                  </a:lnTo>
                  <a:lnTo>
                    <a:pt x="44" y="311"/>
                  </a:lnTo>
                  <a:lnTo>
                    <a:pt x="43" y="311"/>
                  </a:lnTo>
                  <a:lnTo>
                    <a:pt x="44" y="311"/>
                  </a:lnTo>
                  <a:lnTo>
                    <a:pt x="43" y="311"/>
                  </a:lnTo>
                  <a:lnTo>
                    <a:pt x="44" y="311"/>
                  </a:lnTo>
                  <a:lnTo>
                    <a:pt x="44" y="309"/>
                  </a:lnTo>
                  <a:lnTo>
                    <a:pt x="46" y="309"/>
                  </a:lnTo>
                  <a:lnTo>
                    <a:pt x="44" y="309"/>
                  </a:lnTo>
                  <a:lnTo>
                    <a:pt x="46" y="309"/>
                  </a:lnTo>
                  <a:lnTo>
                    <a:pt x="44" y="309"/>
                  </a:lnTo>
                  <a:lnTo>
                    <a:pt x="46" y="309"/>
                  </a:lnTo>
                  <a:lnTo>
                    <a:pt x="44" y="309"/>
                  </a:lnTo>
                  <a:lnTo>
                    <a:pt x="44" y="307"/>
                  </a:lnTo>
                  <a:lnTo>
                    <a:pt x="46" y="307"/>
                  </a:lnTo>
                  <a:close/>
                  <a:moveTo>
                    <a:pt x="10" y="421"/>
                  </a:moveTo>
                  <a:lnTo>
                    <a:pt x="12" y="421"/>
                  </a:lnTo>
                  <a:lnTo>
                    <a:pt x="12" y="423"/>
                  </a:lnTo>
                  <a:lnTo>
                    <a:pt x="12" y="425"/>
                  </a:lnTo>
                  <a:lnTo>
                    <a:pt x="12" y="426"/>
                  </a:lnTo>
                  <a:lnTo>
                    <a:pt x="12" y="428"/>
                  </a:lnTo>
                  <a:lnTo>
                    <a:pt x="10" y="428"/>
                  </a:lnTo>
                  <a:lnTo>
                    <a:pt x="10" y="426"/>
                  </a:lnTo>
                  <a:lnTo>
                    <a:pt x="10" y="425"/>
                  </a:lnTo>
                  <a:lnTo>
                    <a:pt x="12" y="425"/>
                  </a:lnTo>
                  <a:lnTo>
                    <a:pt x="10" y="425"/>
                  </a:lnTo>
                  <a:lnTo>
                    <a:pt x="10" y="423"/>
                  </a:lnTo>
                  <a:lnTo>
                    <a:pt x="10" y="421"/>
                  </a:lnTo>
                  <a:close/>
                  <a:moveTo>
                    <a:pt x="62" y="286"/>
                  </a:moveTo>
                  <a:lnTo>
                    <a:pt x="64" y="286"/>
                  </a:lnTo>
                  <a:lnTo>
                    <a:pt x="64" y="288"/>
                  </a:lnTo>
                  <a:lnTo>
                    <a:pt x="64" y="290"/>
                  </a:lnTo>
                  <a:lnTo>
                    <a:pt x="64" y="288"/>
                  </a:lnTo>
                  <a:lnTo>
                    <a:pt x="64" y="290"/>
                  </a:lnTo>
                  <a:lnTo>
                    <a:pt x="64" y="288"/>
                  </a:lnTo>
                  <a:lnTo>
                    <a:pt x="64" y="290"/>
                  </a:lnTo>
                  <a:lnTo>
                    <a:pt x="62" y="290"/>
                  </a:lnTo>
                  <a:lnTo>
                    <a:pt x="60" y="290"/>
                  </a:lnTo>
                  <a:lnTo>
                    <a:pt x="62" y="290"/>
                  </a:lnTo>
                  <a:lnTo>
                    <a:pt x="60" y="290"/>
                  </a:lnTo>
                  <a:lnTo>
                    <a:pt x="58" y="290"/>
                  </a:lnTo>
                  <a:lnTo>
                    <a:pt x="60" y="290"/>
                  </a:lnTo>
                  <a:lnTo>
                    <a:pt x="58" y="290"/>
                  </a:lnTo>
                  <a:lnTo>
                    <a:pt x="56" y="290"/>
                  </a:lnTo>
                  <a:lnTo>
                    <a:pt x="54" y="290"/>
                  </a:lnTo>
                  <a:lnTo>
                    <a:pt x="56" y="290"/>
                  </a:lnTo>
                  <a:lnTo>
                    <a:pt x="58" y="290"/>
                  </a:lnTo>
                  <a:lnTo>
                    <a:pt x="58" y="288"/>
                  </a:lnTo>
                  <a:lnTo>
                    <a:pt x="58" y="290"/>
                  </a:lnTo>
                  <a:lnTo>
                    <a:pt x="58" y="288"/>
                  </a:lnTo>
                  <a:lnTo>
                    <a:pt x="58" y="290"/>
                  </a:lnTo>
                  <a:lnTo>
                    <a:pt x="58" y="288"/>
                  </a:lnTo>
                  <a:lnTo>
                    <a:pt x="58" y="290"/>
                  </a:lnTo>
                  <a:lnTo>
                    <a:pt x="58" y="288"/>
                  </a:lnTo>
                  <a:lnTo>
                    <a:pt x="58" y="290"/>
                  </a:lnTo>
                  <a:lnTo>
                    <a:pt x="58" y="288"/>
                  </a:lnTo>
                  <a:lnTo>
                    <a:pt x="60" y="288"/>
                  </a:lnTo>
                  <a:lnTo>
                    <a:pt x="62" y="288"/>
                  </a:lnTo>
                  <a:lnTo>
                    <a:pt x="62" y="286"/>
                  </a:lnTo>
                  <a:close/>
                  <a:moveTo>
                    <a:pt x="117" y="202"/>
                  </a:moveTo>
                  <a:lnTo>
                    <a:pt x="119" y="202"/>
                  </a:lnTo>
                  <a:lnTo>
                    <a:pt x="117" y="202"/>
                  </a:lnTo>
                  <a:lnTo>
                    <a:pt x="119" y="202"/>
                  </a:lnTo>
                  <a:lnTo>
                    <a:pt x="119" y="204"/>
                  </a:lnTo>
                  <a:lnTo>
                    <a:pt x="117" y="204"/>
                  </a:lnTo>
                  <a:lnTo>
                    <a:pt x="117" y="206"/>
                  </a:lnTo>
                  <a:lnTo>
                    <a:pt x="117" y="204"/>
                  </a:lnTo>
                  <a:lnTo>
                    <a:pt x="117" y="206"/>
                  </a:lnTo>
                  <a:lnTo>
                    <a:pt x="119" y="206"/>
                  </a:lnTo>
                  <a:lnTo>
                    <a:pt x="117" y="206"/>
                  </a:lnTo>
                  <a:lnTo>
                    <a:pt x="117" y="204"/>
                  </a:lnTo>
                  <a:lnTo>
                    <a:pt x="119" y="204"/>
                  </a:lnTo>
                  <a:lnTo>
                    <a:pt x="119" y="206"/>
                  </a:lnTo>
                  <a:lnTo>
                    <a:pt x="117" y="206"/>
                  </a:lnTo>
                  <a:lnTo>
                    <a:pt x="119" y="206"/>
                  </a:lnTo>
                  <a:lnTo>
                    <a:pt x="117" y="206"/>
                  </a:lnTo>
                  <a:lnTo>
                    <a:pt x="117" y="207"/>
                  </a:lnTo>
                  <a:lnTo>
                    <a:pt x="115" y="207"/>
                  </a:lnTo>
                  <a:lnTo>
                    <a:pt x="115" y="209"/>
                  </a:lnTo>
                  <a:lnTo>
                    <a:pt x="115" y="207"/>
                  </a:lnTo>
                  <a:lnTo>
                    <a:pt x="115" y="209"/>
                  </a:lnTo>
                  <a:lnTo>
                    <a:pt x="114" y="209"/>
                  </a:lnTo>
                  <a:lnTo>
                    <a:pt x="114" y="207"/>
                  </a:lnTo>
                  <a:lnTo>
                    <a:pt x="115" y="207"/>
                  </a:lnTo>
                  <a:lnTo>
                    <a:pt x="115" y="206"/>
                  </a:lnTo>
                  <a:lnTo>
                    <a:pt x="117" y="206"/>
                  </a:lnTo>
                  <a:lnTo>
                    <a:pt x="115" y="206"/>
                  </a:lnTo>
                  <a:lnTo>
                    <a:pt x="115" y="207"/>
                  </a:lnTo>
                  <a:lnTo>
                    <a:pt x="115" y="206"/>
                  </a:lnTo>
                  <a:lnTo>
                    <a:pt x="115" y="207"/>
                  </a:lnTo>
                  <a:lnTo>
                    <a:pt x="115" y="206"/>
                  </a:lnTo>
                  <a:lnTo>
                    <a:pt x="115" y="207"/>
                  </a:lnTo>
                  <a:lnTo>
                    <a:pt x="114" y="207"/>
                  </a:lnTo>
                  <a:lnTo>
                    <a:pt x="115" y="207"/>
                  </a:lnTo>
                  <a:lnTo>
                    <a:pt x="114" y="207"/>
                  </a:lnTo>
                  <a:lnTo>
                    <a:pt x="115" y="207"/>
                  </a:lnTo>
                  <a:lnTo>
                    <a:pt x="114" y="207"/>
                  </a:lnTo>
                  <a:lnTo>
                    <a:pt x="114" y="206"/>
                  </a:lnTo>
                  <a:lnTo>
                    <a:pt x="115" y="206"/>
                  </a:lnTo>
                  <a:lnTo>
                    <a:pt x="114" y="206"/>
                  </a:lnTo>
                  <a:lnTo>
                    <a:pt x="115" y="206"/>
                  </a:lnTo>
                  <a:lnTo>
                    <a:pt x="114" y="206"/>
                  </a:lnTo>
                  <a:lnTo>
                    <a:pt x="115" y="206"/>
                  </a:lnTo>
                  <a:lnTo>
                    <a:pt x="117" y="206"/>
                  </a:lnTo>
                  <a:lnTo>
                    <a:pt x="115" y="206"/>
                  </a:lnTo>
                  <a:lnTo>
                    <a:pt x="117" y="206"/>
                  </a:lnTo>
                  <a:lnTo>
                    <a:pt x="115" y="206"/>
                  </a:lnTo>
                  <a:lnTo>
                    <a:pt x="117" y="206"/>
                  </a:lnTo>
                  <a:lnTo>
                    <a:pt x="117" y="204"/>
                  </a:lnTo>
                  <a:lnTo>
                    <a:pt x="115" y="204"/>
                  </a:lnTo>
                  <a:lnTo>
                    <a:pt x="117" y="204"/>
                  </a:lnTo>
                  <a:lnTo>
                    <a:pt x="115" y="204"/>
                  </a:lnTo>
                  <a:lnTo>
                    <a:pt x="115" y="202"/>
                  </a:lnTo>
                  <a:lnTo>
                    <a:pt x="115" y="204"/>
                  </a:lnTo>
                  <a:lnTo>
                    <a:pt x="115" y="202"/>
                  </a:lnTo>
                  <a:lnTo>
                    <a:pt x="115" y="204"/>
                  </a:lnTo>
                  <a:lnTo>
                    <a:pt x="115" y="202"/>
                  </a:lnTo>
                  <a:lnTo>
                    <a:pt x="117" y="202"/>
                  </a:lnTo>
                  <a:lnTo>
                    <a:pt x="115" y="204"/>
                  </a:lnTo>
                  <a:lnTo>
                    <a:pt x="117" y="204"/>
                  </a:lnTo>
                  <a:lnTo>
                    <a:pt x="117" y="202"/>
                  </a:lnTo>
                  <a:close/>
                  <a:moveTo>
                    <a:pt x="96" y="257"/>
                  </a:moveTo>
                  <a:lnTo>
                    <a:pt x="98" y="257"/>
                  </a:lnTo>
                  <a:lnTo>
                    <a:pt x="98" y="259"/>
                  </a:lnTo>
                  <a:lnTo>
                    <a:pt x="98" y="261"/>
                  </a:lnTo>
                  <a:lnTo>
                    <a:pt x="100" y="261"/>
                  </a:lnTo>
                  <a:lnTo>
                    <a:pt x="102" y="261"/>
                  </a:lnTo>
                  <a:lnTo>
                    <a:pt x="100" y="261"/>
                  </a:lnTo>
                  <a:lnTo>
                    <a:pt x="100" y="263"/>
                  </a:lnTo>
                  <a:lnTo>
                    <a:pt x="98" y="263"/>
                  </a:lnTo>
                  <a:lnTo>
                    <a:pt x="98" y="261"/>
                  </a:lnTo>
                  <a:lnTo>
                    <a:pt x="96" y="261"/>
                  </a:lnTo>
                  <a:lnTo>
                    <a:pt x="96" y="259"/>
                  </a:lnTo>
                  <a:lnTo>
                    <a:pt x="98" y="259"/>
                  </a:lnTo>
                  <a:lnTo>
                    <a:pt x="96" y="259"/>
                  </a:lnTo>
                  <a:lnTo>
                    <a:pt x="94" y="259"/>
                  </a:lnTo>
                  <a:lnTo>
                    <a:pt x="94" y="257"/>
                  </a:lnTo>
                  <a:lnTo>
                    <a:pt x="96" y="257"/>
                  </a:lnTo>
                  <a:lnTo>
                    <a:pt x="94" y="257"/>
                  </a:lnTo>
                  <a:lnTo>
                    <a:pt x="96" y="257"/>
                  </a:lnTo>
                  <a:lnTo>
                    <a:pt x="94" y="257"/>
                  </a:lnTo>
                  <a:lnTo>
                    <a:pt x="96" y="257"/>
                  </a:lnTo>
                  <a:lnTo>
                    <a:pt x="94" y="257"/>
                  </a:lnTo>
                  <a:lnTo>
                    <a:pt x="96" y="257"/>
                  </a:lnTo>
                  <a:close/>
                  <a:moveTo>
                    <a:pt x="6" y="346"/>
                  </a:moveTo>
                  <a:lnTo>
                    <a:pt x="6" y="348"/>
                  </a:lnTo>
                  <a:lnTo>
                    <a:pt x="8" y="348"/>
                  </a:lnTo>
                  <a:lnTo>
                    <a:pt x="10" y="348"/>
                  </a:lnTo>
                  <a:lnTo>
                    <a:pt x="10" y="350"/>
                  </a:lnTo>
                  <a:lnTo>
                    <a:pt x="10" y="348"/>
                  </a:lnTo>
                  <a:lnTo>
                    <a:pt x="10" y="350"/>
                  </a:lnTo>
                  <a:lnTo>
                    <a:pt x="8" y="350"/>
                  </a:lnTo>
                  <a:lnTo>
                    <a:pt x="10" y="350"/>
                  </a:lnTo>
                  <a:lnTo>
                    <a:pt x="10" y="348"/>
                  </a:lnTo>
                  <a:lnTo>
                    <a:pt x="8" y="348"/>
                  </a:lnTo>
                  <a:lnTo>
                    <a:pt x="8" y="350"/>
                  </a:lnTo>
                  <a:lnTo>
                    <a:pt x="6" y="350"/>
                  </a:lnTo>
                  <a:lnTo>
                    <a:pt x="8" y="350"/>
                  </a:lnTo>
                  <a:lnTo>
                    <a:pt x="8" y="348"/>
                  </a:lnTo>
                  <a:lnTo>
                    <a:pt x="6" y="348"/>
                  </a:lnTo>
                  <a:lnTo>
                    <a:pt x="6" y="350"/>
                  </a:lnTo>
                  <a:lnTo>
                    <a:pt x="6" y="348"/>
                  </a:lnTo>
                  <a:lnTo>
                    <a:pt x="6" y="350"/>
                  </a:lnTo>
                  <a:lnTo>
                    <a:pt x="6" y="348"/>
                  </a:lnTo>
                  <a:lnTo>
                    <a:pt x="6" y="350"/>
                  </a:lnTo>
                  <a:lnTo>
                    <a:pt x="6" y="348"/>
                  </a:lnTo>
                  <a:lnTo>
                    <a:pt x="6" y="350"/>
                  </a:lnTo>
                  <a:lnTo>
                    <a:pt x="6" y="348"/>
                  </a:lnTo>
                  <a:lnTo>
                    <a:pt x="6" y="350"/>
                  </a:lnTo>
                  <a:lnTo>
                    <a:pt x="6" y="348"/>
                  </a:lnTo>
                  <a:lnTo>
                    <a:pt x="6" y="350"/>
                  </a:lnTo>
                  <a:lnTo>
                    <a:pt x="6" y="348"/>
                  </a:lnTo>
                  <a:lnTo>
                    <a:pt x="4" y="348"/>
                  </a:lnTo>
                  <a:lnTo>
                    <a:pt x="6" y="348"/>
                  </a:lnTo>
                  <a:lnTo>
                    <a:pt x="6" y="346"/>
                  </a:lnTo>
                  <a:lnTo>
                    <a:pt x="6" y="348"/>
                  </a:lnTo>
                  <a:lnTo>
                    <a:pt x="6" y="346"/>
                  </a:lnTo>
                  <a:close/>
                  <a:moveTo>
                    <a:pt x="96" y="246"/>
                  </a:moveTo>
                  <a:lnTo>
                    <a:pt x="96" y="248"/>
                  </a:lnTo>
                  <a:lnTo>
                    <a:pt x="96" y="246"/>
                  </a:lnTo>
                  <a:lnTo>
                    <a:pt x="96" y="248"/>
                  </a:lnTo>
                  <a:lnTo>
                    <a:pt x="98" y="248"/>
                  </a:lnTo>
                  <a:lnTo>
                    <a:pt x="96" y="248"/>
                  </a:lnTo>
                  <a:lnTo>
                    <a:pt x="98" y="248"/>
                  </a:lnTo>
                  <a:lnTo>
                    <a:pt x="96" y="248"/>
                  </a:lnTo>
                  <a:lnTo>
                    <a:pt x="98" y="248"/>
                  </a:lnTo>
                  <a:lnTo>
                    <a:pt x="100" y="248"/>
                  </a:lnTo>
                  <a:lnTo>
                    <a:pt x="98" y="248"/>
                  </a:lnTo>
                  <a:lnTo>
                    <a:pt x="100" y="248"/>
                  </a:lnTo>
                  <a:lnTo>
                    <a:pt x="98" y="248"/>
                  </a:lnTo>
                  <a:lnTo>
                    <a:pt x="98" y="250"/>
                  </a:lnTo>
                  <a:lnTo>
                    <a:pt x="98" y="252"/>
                  </a:lnTo>
                  <a:lnTo>
                    <a:pt x="96" y="252"/>
                  </a:lnTo>
                  <a:lnTo>
                    <a:pt x="96" y="250"/>
                  </a:lnTo>
                  <a:lnTo>
                    <a:pt x="96" y="252"/>
                  </a:lnTo>
                  <a:lnTo>
                    <a:pt x="96" y="250"/>
                  </a:lnTo>
                  <a:lnTo>
                    <a:pt x="96" y="252"/>
                  </a:lnTo>
                  <a:lnTo>
                    <a:pt x="96" y="250"/>
                  </a:lnTo>
                  <a:lnTo>
                    <a:pt x="96" y="252"/>
                  </a:lnTo>
                  <a:lnTo>
                    <a:pt x="96" y="250"/>
                  </a:lnTo>
                  <a:lnTo>
                    <a:pt x="96" y="252"/>
                  </a:lnTo>
                  <a:lnTo>
                    <a:pt x="96" y="250"/>
                  </a:lnTo>
                  <a:lnTo>
                    <a:pt x="96" y="252"/>
                  </a:lnTo>
                  <a:lnTo>
                    <a:pt x="96" y="250"/>
                  </a:lnTo>
                  <a:lnTo>
                    <a:pt x="96" y="248"/>
                  </a:lnTo>
                  <a:lnTo>
                    <a:pt x="96" y="250"/>
                  </a:lnTo>
                  <a:lnTo>
                    <a:pt x="96" y="248"/>
                  </a:lnTo>
                  <a:lnTo>
                    <a:pt x="96" y="250"/>
                  </a:lnTo>
                  <a:lnTo>
                    <a:pt x="96" y="248"/>
                  </a:lnTo>
                  <a:lnTo>
                    <a:pt x="96" y="250"/>
                  </a:lnTo>
                  <a:lnTo>
                    <a:pt x="96" y="248"/>
                  </a:lnTo>
                  <a:lnTo>
                    <a:pt x="96" y="250"/>
                  </a:lnTo>
                  <a:lnTo>
                    <a:pt x="96" y="248"/>
                  </a:lnTo>
                  <a:lnTo>
                    <a:pt x="96" y="250"/>
                  </a:lnTo>
                  <a:lnTo>
                    <a:pt x="96" y="248"/>
                  </a:lnTo>
                  <a:lnTo>
                    <a:pt x="96" y="250"/>
                  </a:lnTo>
                  <a:lnTo>
                    <a:pt x="94" y="250"/>
                  </a:lnTo>
                  <a:lnTo>
                    <a:pt x="94" y="248"/>
                  </a:lnTo>
                  <a:lnTo>
                    <a:pt x="96" y="248"/>
                  </a:lnTo>
                  <a:lnTo>
                    <a:pt x="94" y="248"/>
                  </a:lnTo>
                  <a:lnTo>
                    <a:pt x="94" y="250"/>
                  </a:lnTo>
                  <a:lnTo>
                    <a:pt x="92" y="250"/>
                  </a:lnTo>
                  <a:lnTo>
                    <a:pt x="94" y="250"/>
                  </a:lnTo>
                  <a:lnTo>
                    <a:pt x="94" y="248"/>
                  </a:lnTo>
                  <a:lnTo>
                    <a:pt x="96" y="248"/>
                  </a:lnTo>
                  <a:lnTo>
                    <a:pt x="96" y="246"/>
                  </a:lnTo>
                  <a:close/>
                  <a:moveTo>
                    <a:pt x="58" y="304"/>
                  </a:moveTo>
                  <a:lnTo>
                    <a:pt x="58" y="305"/>
                  </a:lnTo>
                  <a:lnTo>
                    <a:pt x="58" y="304"/>
                  </a:lnTo>
                  <a:lnTo>
                    <a:pt x="58" y="305"/>
                  </a:lnTo>
                  <a:lnTo>
                    <a:pt x="58" y="304"/>
                  </a:lnTo>
                  <a:lnTo>
                    <a:pt x="58" y="305"/>
                  </a:lnTo>
                  <a:lnTo>
                    <a:pt x="60" y="305"/>
                  </a:lnTo>
                  <a:lnTo>
                    <a:pt x="58" y="305"/>
                  </a:lnTo>
                  <a:lnTo>
                    <a:pt x="60" y="305"/>
                  </a:lnTo>
                  <a:lnTo>
                    <a:pt x="58" y="305"/>
                  </a:lnTo>
                  <a:lnTo>
                    <a:pt x="58" y="307"/>
                  </a:lnTo>
                  <a:lnTo>
                    <a:pt x="56" y="307"/>
                  </a:lnTo>
                  <a:lnTo>
                    <a:pt x="56" y="305"/>
                  </a:lnTo>
                  <a:lnTo>
                    <a:pt x="54" y="305"/>
                  </a:lnTo>
                  <a:lnTo>
                    <a:pt x="54" y="304"/>
                  </a:lnTo>
                  <a:lnTo>
                    <a:pt x="56" y="304"/>
                  </a:lnTo>
                  <a:lnTo>
                    <a:pt x="54" y="304"/>
                  </a:lnTo>
                  <a:lnTo>
                    <a:pt x="56" y="304"/>
                  </a:lnTo>
                  <a:lnTo>
                    <a:pt x="56" y="305"/>
                  </a:lnTo>
                  <a:lnTo>
                    <a:pt x="58" y="305"/>
                  </a:lnTo>
                  <a:lnTo>
                    <a:pt x="56" y="305"/>
                  </a:lnTo>
                  <a:lnTo>
                    <a:pt x="56" y="304"/>
                  </a:lnTo>
                  <a:lnTo>
                    <a:pt x="58" y="304"/>
                  </a:lnTo>
                  <a:close/>
                  <a:moveTo>
                    <a:pt x="173" y="96"/>
                  </a:moveTo>
                  <a:lnTo>
                    <a:pt x="175" y="96"/>
                  </a:lnTo>
                  <a:lnTo>
                    <a:pt x="177" y="96"/>
                  </a:lnTo>
                  <a:lnTo>
                    <a:pt x="177" y="98"/>
                  </a:lnTo>
                  <a:lnTo>
                    <a:pt x="177" y="96"/>
                  </a:lnTo>
                  <a:lnTo>
                    <a:pt x="177" y="98"/>
                  </a:lnTo>
                  <a:lnTo>
                    <a:pt x="177" y="100"/>
                  </a:lnTo>
                  <a:lnTo>
                    <a:pt x="175" y="100"/>
                  </a:lnTo>
                  <a:lnTo>
                    <a:pt x="175" y="98"/>
                  </a:lnTo>
                  <a:lnTo>
                    <a:pt x="173" y="98"/>
                  </a:lnTo>
                  <a:lnTo>
                    <a:pt x="173" y="96"/>
                  </a:lnTo>
                  <a:lnTo>
                    <a:pt x="171" y="96"/>
                  </a:lnTo>
                  <a:lnTo>
                    <a:pt x="173" y="96"/>
                  </a:lnTo>
                  <a:lnTo>
                    <a:pt x="173" y="94"/>
                  </a:lnTo>
                  <a:lnTo>
                    <a:pt x="173" y="96"/>
                  </a:lnTo>
                  <a:close/>
                  <a:moveTo>
                    <a:pt x="18" y="334"/>
                  </a:moveTo>
                  <a:lnTo>
                    <a:pt x="20" y="334"/>
                  </a:lnTo>
                  <a:lnTo>
                    <a:pt x="20" y="336"/>
                  </a:lnTo>
                  <a:lnTo>
                    <a:pt x="20" y="334"/>
                  </a:lnTo>
                  <a:lnTo>
                    <a:pt x="20" y="336"/>
                  </a:lnTo>
                  <a:lnTo>
                    <a:pt x="18" y="336"/>
                  </a:lnTo>
                  <a:lnTo>
                    <a:pt x="20" y="336"/>
                  </a:lnTo>
                  <a:lnTo>
                    <a:pt x="18" y="336"/>
                  </a:lnTo>
                  <a:lnTo>
                    <a:pt x="18" y="338"/>
                  </a:lnTo>
                  <a:lnTo>
                    <a:pt x="16" y="338"/>
                  </a:lnTo>
                  <a:lnTo>
                    <a:pt x="16" y="336"/>
                  </a:lnTo>
                  <a:lnTo>
                    <a:pt x="16" y="334"/>
                  </a:lnTo>
                  <a:lnTo>
                    <a:pt x="18" y="334"/>
                  </a:lnTo>
                  <a:close/>
                  <a:moveTo>
                    <a:pt x="183" y="100"/>
                  </a:moveTo>
                  <a:lnTo>
                    <a:pt x="183" y="102"/>
                  </a:lnTo>
                  <a:lnTo>
                    <a:pt x="185" y="102"/>
                  </a:lnTo>
                  <a:lnTo>
                    <a:pt x="183" y="102"/>
                  </a:lnTo>
                  <a:lnTo>
                    <a:pt x="185" y="102"/>
                  </a:lnTo>
                  <a:lnTo>
                    <a:pt x="183" y="102"/>
                  </a:lnTo>
                  <a:lnTo>
                    <a:pt x="185" y="102"/>
                  </a:lnTo>
                  <a:lnTo>
                    <a:pt x="185" y="104"/>
                  </a:lnTo>
                  <a:lnTo>
                    <a:pt x="185" y="106"/>
                  </a:lnTo>
                  <a:lnTo>
                    <a:pt x="183" y="106"/>
                  </a:lnTo>
                  <a:lnTo>
                    <a:pt x="181" y="106"/>
                  </a:lnTo>
                  <a:lnTo>
                    <a:pt x="181" y="104"/>
                  </a:lnTo>
                  <a:lnTo>
                    <a:pt x="181" y="102"/>
                  </a:lnTo>
                  <a:lnTo>
                    <a:pt x="183" y="102"/>
                  </a:lnTo>
                  <a:lnTo>
                    <a:pt x="183" y="100"/>
                  </a:lnTo>
                  <a:close/>
                  <a:moveTo>
                    <a:pt x="129" y="129"/>
                  </a:moveTo>
                  <a:lnTo>
                    <a:pt x="131" y="129"/>
                  </a:lnTo>
                  <a:lnTo>
                    <a:pt x="131" y="131"/>
                  </a:lnTo>
                  <a:lnTo>
                    <a:pt x="131" y="129"/>
                  </a:lnTo>
                  <a:lnTo>
                    <a:pt x="131" y="131"/>
                  </a:lnTo>
                  <a:lnTo>
                    <a:pt x="131" y="133"/>
                  </a:lnTo>
                  <a:lnTo>
                    <a:pt x="129" y="133"/>
                  </a:lnTo>
                  <a:lnTo>
                    <a:pt x="131" y="133"/>
                  </a:lnTo>
                  <a:lnTo>
                    <a:pt x="129" y="133"/>
                  </a:lnTo>
                  <a:lnTo>
                    <a:pt x="131" y="133"/>
                  </a:lnTo>
                  <a:lnTo>
                    <a:pt x="129" y="133"/>
                  </a:lnTo>
                  <a:lnTo>
                    <a:pt x="131" y="133"/>
                  </a:lnTo>
                  <a:lnTo>
                    <a:pt x="129" y="133"/>
                  </a:lnTo>
                  <a:lnTo>
                    <a:pt x="129" y="134"/>
                  </a:lnTo>
                  <a:lnTo>
                    <a:pt x="129" y="133"/>
                  </a:lnTo>
                  <a:lnTo>
                    <a:pt x="129" y="134"/>
                  </a:lnTo>
                  <a:lnTo>
                    <a:pt x="127" y="134"/>
                  </a:lnTo>
                  <a:lnTo>
                    <a:pt x="127" y="133"/>
                  </a:lnTo>
                  <a:lnTo>
                    <a:pt x="127" y="134"/>
                  </a:lnTo>
                  <a:lnTo>
                    <a:pt x="127" y="133"/>
                  </a:lnTo>
                  <a:lnTo>
                    <a:pt x="127" y="131"/>
                  </a:lnTo>
                  <a:lnTo>
                    <a:pt x="129" y="131"/>
                  </a:lnTo>
                  <a:lnTo>
                    <a:pt x="129" y="133"/>
                  </a:lnTo>
                  <a:lnTo>
                    <a:pt x="129" y="131"/>
                  </a:lnTo>
                  <a:lnTo>
                    <a:pt x="129" y="133"/>
                  </a:lnTo>
                  <a:lnTo>
                    <a:pt x="129" y="131"/>
                  </a:lnTo>
                  <a:lnTo>
                    <a:pt x="129" y="129"/>
                  </a:lnTo>
                  <a:lnTo>
                    <a:pt x="129" y="131"/>
                  </a:lnTo>
                  <a:lnTo>
                    <a:pt x="129" y="129"/>
                  </a:lnTo>
                  <a:close/>
                  <a:moveTo>
                    <a:pt x="148" y="111"/>
                  </a:moveTo>
                  <a:lnTo>
                    <a:pt x="150" y="111"/>
                  </a:lnTo>
                  <a:lnTo>
                    <a:pt x="152" y="111"/>
                  </a:lnTo>
                  <a:lnTo>
                    <a:pt x="152" y="113"/>
                  </a:lnTo>
                  <a:lnTo>
                    <a:pt x="154" y="113"/>
                  </a:lnTo>
                  <a:lnTo>
                    <a:pt x="152" y="113"/>
                  </a:lnTo>
                  <a:lnTo>
                    <a:pt x="154" y="113"/>
                  </a:lnTo>
                  <a:lnTo>
                    <a:pt x="152" y="113"/>
                  </a:lnTo>
                  <a:lnTo>
                    <a:pt x="152" y="115"/>
                  </a:lnTo>
                  <a:lnTo>
                    <a:pt x="152" y="113"/>
                  </a:lnTo>
                  <a:lnTo>
                    <a:pt x="152" y="115"/>
                  </a:lnTo>
                  <a:lnTo>
                    <a:pt x="150" y="115"/>
                  </a:lnTo>
                  <a:lnTo>
                    <a:pt x="148" y="115"/>
                  </a:lnTo>
                  <a:lnTo>
                    <a:pt x="150" y="115"/>
                  </a:lnTo>
                  <a:lnTo>
                    <a:pt x="148" y="115"/>
                  </a:lnTo>
                  <a:lnTo>
                    <a:pt x="150" y="115"/>
                  </a:lnTo>
                  <a:lnTo>
                    <a:pt x="148" y="115"/>
                  </a:lnTo>
                  <a:lnTo>
                    <a:pt x="148" y="113"/>
                  </a:lnTo>
                  <a:lnTo>
                    <a:pt x="148" y="111"/>
                  </a:lnTo>
                  <a:close/>
                  <a:moveTo>
                    <a:pt x="284" y="8"/>
                  </a:moveTo>
                  <a:lnTo>
                    <a:pt x="286" y="8"/>
                  </a:lnTo>
                  <a:lnTo>
                    <a:pt x="286" y="10"/>
                  </a:lnTo>
                  <a:lnTo>
                    <a:pt x="288" y="10"/>
                  </a:lnTo>
                  <a:lnTo>
                    <a:pt x="286" y="10"/>
                  </a:lnTo>
                  <a:lnTo>
                    <a:pt x="288" y="10"/>
                  </a:lnTo>
                  <a:lnTo>
                    <a:pt x="286" y="10"/>
                  </a:lnTo>
                  <a:lnTo>
                    <a:pt x="288" y="10"/>
                  </a:lnTo>
                  <a:lnTo>
                    <a:pt x="286" y="10"/>
                  </a:lnTo>
                  <a:lnTo>
                    <a:pt x="288" y="10"/>
                  </a:lnTo>
                  <a:lnTo>
                    <a:pt x="286" y="10"/>
                  </a:lnTo>
                  <a:lnTo>
                    <a:pt x="286" y="12"/>
                  </a:lnTo>
                  <a:lnTo>
                    <a:pt x="286" y="10"/>
                  </a:lnTo>
                  <a:lnTo>
                    <a:pt x="286" y="12"/>
                  </a:lnTo>
                  <a:lnTo>
                    <a:pt x="286" y="10"/>
                  </a:lnTo>
                  <a:lnTo>
                    <a:pt x="286" y="12"/>
                  </a:lnTo>
                  <a:lnTo>
                    <a:pt x="286" y="10"/>
                  </a:lnTo>
                  <a:lnTo>
                    <a:pt x="288" y="10"/>
                  </a:lnTo>
                  <a:lnTo>
                    <a:pt x="288" y="12"/>
                  </a:lnTo>
                  <a:lnTo>
                    <a:pt x="286" y="12"/>
                  </a:lnTo>
                  <a:lnTo>
                    <a:pt x="286" y="13"/>
                  </a:lnTo>
                  <a:lnTo>
                    <a:pt x="284" y="13"/>
                  </a:lnTo>
                  <a:lnTo>
                    <a:pt x="284" y="12"/>
                  </a:lnTo>
                  <a:lnTo>
                    <a:pt x="282" y="12"/>
                  </a:lnTo>
                  <a:lnTo>
                    <a:pt x="284" y="12"/>
                  </a:lnTo>
                  <a:lnTo>
                    <a:pt x="282" y="12"/>
                  </a:lnTo>
                  <a:lnTo>
                    <a:pt x="284" y="12"/>
                  </a:lnTo>
                  <a:lnTo>
                    <a:pt x="284" y="10"/>
                  </a:lnTo>
                  <a:lnTo>
                    <a:pt x="286" y="10"/>
                  </a:lnTo>
                  <a:lnTo>
                    <a:pt x="284" y="10"/>
                  </a:lnTo>
                  <a:lnTo>
                    <a:pt x="286" y="10"/>
                  </a:lnTo>
                  <a:lnTo>
                    <a:pt x="284" y="10"/>
                  </a:lnTo>
                  <a:lnTo>
                    <a:pt x="286" y="10"/>
                  </a:lnTo>
                  <a:lnTo>
                    <a:pt x="284" y="10"/>
                  </a:lnTo>
                  <a:lnTo>
                    <a:pt x="282" y="10"/>
                  </a:lnTo>
                  <a:lnTo>
                    <a:pt x="284" y="10"/>
                  </a:lnTo>
                  <a:lnTo>
                    <a:pt x="282" y="10"/>
                  </a:lnTo>
                  <a:lnTo>
                    <a:pt x="284" y="10"/>
                  </a:lnTo>
                  <a:lnTo>
                    <a:pt x="282" y="10"/>
                  </a:lnTo>
                  <a:lnTo>
                    <a:pt x="284" y="10"/>
                  </a:lnTo>
                  <a:lnTo>
                    <a:pt x="284" y="8"/>
                  </a:lnTo>
                  <a:lnTo>
                    <a:pt x="282" y="8"/>
                  </a:lnTo>
                  <a:lnTo>
                    <a:pt x="284" y="8"/>
                  </a:lnTo>
                  <a:lnTo>
                    <a:pt x="282" y="8"/>
                  </a:lnTo>
                  <a:lnTo>
                    <a:pt x="284" y="8"/>
                  </a:lnTo>
                  <a:close/>
                  <a:moveTo>
                    <a:pt x="108" y="219"/>
                  </a:moveTo>
                  <a:lnTo>
                    <a:pt x="108" y="221"/>
                  </a:lnTo>
                  <a:lnTo>
                    <a:pt x="108" y="219"/>
                  </a:lnTo>
                  <a:lnTo>
                    <a:pt x="108" y="221"/>
                  </a:lnTo>
                  <a:lnTo>
                    <a:pt x="110" y="221"/>
                  </a:lnTo>
                  <a:lnTo>
                    <a:pt x="108" y="221"/>
                  </a:lnTo>
                  <a:lnTo>
                    <a:pt x="110" y="221"/>
                  </a:lnTo>
                  <a:lnTo>
                    <a:pt x="108" y="221"/>
                  </a:lnTo>
                  <a:lnTo>
                    <a:pt x="110" y="221"/>
                  </a:lnTo>
                  <a:lnTo>
                    <a:pt x="108" y="221"/>
                  </a:lnTo>
                  <a:lnTo>
                    <a:pt x="110" y="221"/>
                  </a:lnTo>
                  <a:lnTo>
                    <a:pt x="108" y="221"/>
                  </a:lnTo>
                  <a:lnTo>
                    <a:pt x="110" y="221"/>
                  </a:lnTo>
                  <a:lnTo>
                    <a:pt x="110" y="223"/>
                  </a:lnTo>
                  <a:lnTo>
                    <a:pt x="108" y="223"/>
                  </a:lnTo>
                  <a:lnTo>
                    <a:pt x="108" y="225"/>
                  </a:lnTo>
                  <a:lnTo>
                    <a:pt x="108" y="223"/>
                  </a:lnTo>
                  <a:lnTo>
                    <a:pt x="108" y="225"/>
                  </a:lnTo>
                  <a:lnTo>
                    <a:pt x="108" y="223"/>
                  </a:lnTo>
                  <a:lnTo>
                    <a:pt x="108" y="225"/>
                  </a:lnTo>
                  <a:lnTo>
                    <a:pt x="108" y="223"/>
                  </a:lnTo>
                  <a:lnTo>
                    <a:pt x="108" y="225"/>
                  </a:lnTo>
                  <a:lnTo>
                    <a:pt x="108" y="223"/>
                  </a:lnTo>
                  <a:lnTo>
                    <a:pt x="108" y="225"/>
                  </a:lnTo>
                  <a:lnTo>
                    <a:pt x="108" y="223"/>
                  </a:lnTo>
                  <a:lnTo>
                    <a:pt x="106" y="223"/>
                  </a:lnTo>
                  <a:lnTo>
                    <a:pt x="108" y="223"/>
                  </a:lnTo>
                  <a:lnTo>
                    <a:pt x="106" y="223"/>
                  </a:lnTo>
                  <a:lnTo>
                    <a:pt x="106" y="221"/>
                  </a:lnTo>
                  <a:lnTo>
                    <a:pt x="108" y="221"/>
                  </a:lnTo>
                  <a:lnTo>
                    <a:pt x="108" y="219"/>
                  </a:lnTo>
                  <a:close/>
                  <a:moveTo>
                    <a:pt x="142" y="165"/>
                  </a:moveTo>
                  <a:lnTo>
                    <a:pt x="142" y="167"/>
                  </a:lnTo>
                  <a:lnTo>
                    <a:pt x="142" y="169"/>
                  </a:lnTo>
                  <a:lnTo>
                    <a:pt x="142" y="171"/>
                  </a:lnTo>
                  <a:lnTo>
                    <a:pt x="142" y="173"/>
                  </a:lnTo>
                  <a:lnTo>
                    <a:pt x="142" y="171"/>
                  </a:lnTo>
                  <a:lnTo>
                    <a:pt x="142" y="173"/>
                  </a:lnTo>
                  <a:lnTo>
                    <a:pt x="140" y="173"/>
                  </a:lnTo>
                  <a:lnTo>
                    <a:pt x="140" y="171"/>
                  </a:lnTo>
                  <a:lnTo>
                    <a:pt x="140" y="169"/>
                  </a:lnTo>
                  <a:lnTo>
                    <a:pt x="139" y="169"/>
                  </a:lnTo>
                  <a:lnTo>
                    <a:pt x="140" y="169"/>
                  </a:lnTo>
                  <a:lnTo>
                    <a:pt x="140" y="167"/>
                  </a:lnTo>
                  <a:lnTo>
                    <a:pt x="140" y="169"/>
                  </a:lnTo>
                  <a:lnTo>
                    <a:pt x="139" y="169"/>
                  </a:lnTo>
                  <a:lnTo>
                    <a:pt x="139" y="167"/>
                  </a:lnTo>
                  <a:lnTo>
                    <a:pt x="139" y="169"/>
                  </a:lnTo>
                  <a:lnTo>
                    <a:pt x="139" y="167"/>
                  </a:lnTo>
                  <a:lnTo>
                    <a:pt x="140" y="167"/>
                  </a:lnTo>
                  <a:lnTo>
                    <a:pt x="139" y="167"/>
                  </a:lnTo>
                  <a:lnTo>
                    <a:pt x="140" y="167"/>
                  </a:lnTo>
                  <a:lnTo>
                    <a:pt x="140" y="169"/>
                  </a:lnTo>
                  <a:lnTo>
                    <a:pt x="140" y="167"/>
                  </a:lnTo>
                  <a:lnTo>
                    <a:pt x="142" y="167"/>
                  </a:lnTo>
                  <a:lnTo>
                    <a:pt x="142" y="165"/>
                  </a:lnTo>
                  <a:close/>
                  <a:moveTo>
                    <a:pt x="215" y="42"/>
                  </a:moveTo>
                  <a:lnTo>
                    <a:pt x="215" y="44"/>
                  </a:lnTo>
                  <a:lnTo>
                    <a:pt x="215" y="46"/>
                  </a:lnTo>
                  <a:lnTo>
                    <a:pt x="215" y="48"/>
                  </a:lnTo>
                  <a:lnTo>
                    <a:pt x="213" y="48"/>
                  </a:lnTo>
                  <a:lnTo>
                    <a:pt x="213" y="46"/>
                  </a:lnTo>
                  <a:lnTo>
                    <a:pt x="211" y="46"/>
                  </a:lnTo>
                  <a:lnTo>
                    <a:pt x="213" y="46"/>
                  </a:lnTo>
                  <a:lnTo>
                    <a:pt x="211" y="46"/>
                  </a:lnTo>
                  <a:lnTo>
                    <a:pt x="213" y="46"/>
                  </a:lnTo>
                  <a:lnTo>
                    <a:pt x="213" y="44"/>
                  </a:lnTo>
                  <a:lnTo>
                    <a:pt x="213" y="42"/>
                  </a:lnTo>
                  <a:lnTo>
                    <a:pt x="215" y="42"/>
                  </a:lnTo>
                  <a:close/>
                  <a:moveTo>
                    <a:pt x="238" y="52"/>
                  </a:moveTo>
                  <a:lnTo>
                    <a:pt x="240" y="52"/>
                  </a:lnTo>
                  <a:lnTo>
                    <a:pt x="240" y="54"/>
                  </a:lnTo>
                  <a:lnTo>
                    <a:pt x="242" y="54"/>
                  </a:lnTo>
                  <a:lnTo>
                    <a:pt x="242" y="52"/>
                  </a:lnTo>
                  <a:lnTo>
                    <a:pt x="242" y="54"/>
                  </a:lnTo>
                  <a:lnTo>
                    <a:pt x="240" y="54"/>
                  </a:lnTo>
                  <a:lnTo>
                    <a:pt x="240" y="56"/>
                  </a:lnTo>
                  <a:lnTo>
                    <a:pt x="238" y="56"/>
                  </a:lnTo>
                  <a:lnTo>
                    <a:pt x="238" y="54"/>
                  </a:lnTo>
                  <a:lnTo>
                    <a:pt x="236" y="54"/>
                  </a:lnTo>
                  <a:lnTo>
                    <a:pt x="236" y="52"/>
                  </a:lnTo>
                  <a:lnTo>
                    <a:pt x="238" y="52"/>
                  </a:lnTo>
                  <a:close/>
                  <a:moveTo>
                    <a:pt x="4" y="367"/>
                  </a:moveTo>
                  <a:lnTo>
                    <a:pt x="8" y="367"/>
                  </a:lnTo>
                  <a:lnTo>
                    <a:pt x="8" y="373"/>
                  </a:lnTo>
                  <a:lnTo>
                    <a:pt x="4" y="373"/>
                  </a:lnTo>
                  <a:lnTo>
                    <a:pt x="4" y="367"/>
                  </a:lnTo>
                  <a:close/>
                  <a:moveTo>
                    <a:pt x="208" y="48"/>
                  </a:moveTo>
                  <a:lnTo>
                    <a:pt x="210" y="48"/>
                  </a:lnTo>
                  <a:lnTo>
                    <a:pt x="210" y="50"/>
                  </a:lnTo>
                  <a:lnTo>
                    <a:pt x="210" y="48"/>
                  </a:lnTo>
                  <a:lnTo>
                    <a:pt x="211" y="48"/>
                  </a:lnTo>
                  <a:lnTo>
                    <a:pt x="210" y="48"/>
                  </a:lnTo>
                  <a:lnTo>
                    <a:pt x="210" y="50"/>
                  </a:lnTo>
                  <a:lnTo>
                    <a:pt x="211" y="50"/>
                  </a:lnTo>
                  <a:lnTo>
                    <a:pt x="211" y="48"/>
                  </a:lnTo>
                  <a:lnTo>
                    <a:pt x="211" y="50"/>
                  </a:lnTo>
                  <a:lnTo>
                    <a:pt x="211" y="52"/>
                  </a:lnTo>
                  <a:lnTo>
                    <a:pt x="210" y="52"/>
                  </a:lnTo>
                  <a:lnTo>
                    <a:pt x="208" y="52"/>
                  </a:lnTo>
                  <a:lnTo>
                    <a:pt x="208" y="54"/>
                  </a:lnTo>
                  <a:lnTo>
                    <a:pt x="208" y="52"/>
                  </a:lnTo>
                  <a:lnTo>
                    <a:pt x="208" y="50"/>
                  </a:lnTo>
                  <a:lnTo>
                    <a:pt x="208" y="48"/>
                  </a:lnTo>
                  <a:close/>
                  <a:moveTo>
                    <a:pt x="29" y="328"/>
                  </a:moveTo>
                  <a:lnTo>
                    <a:pt x="31" y="328"/>
                  </a:lnTo>
                  <a:lnTo>
                    <a:pt x="33" y="328"/>
                  </a:lnTo>
                  <a:lnTo>
                    <a:pt x="31" y="328"/>
                  </a:lnTo>
                  <a:lnTo>
                    <a:pt x="31" y="330"/>
                  </a:lnTo>
                  <a:lnTo>
                    <a:pt x="29" y="330"/>
                  </a:lnTo>
                  <a:lnTo>
                    <a:pt x="27" y="330"/>
                  </a:lnTo>
                  <a:lnTo>
                    <a:pt x="27" y="328"/>
                  </a:lnTo>
                  <a:lnTo>
                    <a:pt x="25" y="328"/>
                  </a:lnTo>
                  <a:lnTo>
                    <a:pt x="27" y="328"/>
                  </a:lnTo>
                  <a:lnTo>
                    <a:pt x="29" y="328"/>
                  </a:lnTo>
                  <a:close/>
                  <a:moveTo>
                    <a:pt x="234" y="58"/>
                  </a:moveTo>
                  <a:lnTo>
                    <a:pt x="236" y="58"/>
                  </a:lnTo>
                  <a:lnTo>
                    <a:pt x="236" y="61"/>
                  </a:lnTo>
                  <a:lnTo>
                    <a:pt x="234" y="61"/>
                  </a:lnTo>
                  <a:lnTo>
                    <a:pt x="234" y="58"/>
                  </a:lnTo>
                  <a:close/>
                  <a:moveTo>
                    <a:pt x="110" y="240"/>
                  </a:moveTo>
                  <a:lnTo>
                    <a:pt x="110" y="242"/>
                  </a:lnTo>
                  <a:lnTo>
                    <a:pt x="108" y="242"/>
                  </a:lnTo>
                  <a:lnTo>
                    <a:pt x="110" y="242"/>
                  </a:lnTo>
                  <a:lnTo>
                    <a:pt x="108" y="242"/>
                  </a:lnTo>
                  <a:lnTo>
                    <a:pt x="108" y="244"/>
                  </a:lnTo>
                  <a:lnTo>
                    <a:pt x="106" y="244"/>
                  </a:lnTo>
                  <a:lnTo>
                    <a:pt x="106" y="242"/>
                  </a:lnTo>
                  <a:lnTo>
                    <a:pt x="108" y="242"/>
                  </a:lnTo>
                  <a:lnTo>
                    <a:pt x="106" y="242"/>
                  </a:lnTo>
                  <a:lnTo>
                    <a:pt x="108" y="242"/>
                  </a:lnTo>
                  <a:lnTo>
                    <a:pt x="108" y="240"/>
                  </a:lnTo>
                  <a:lnTo>
                    <a:pt x="108" y="242"/>
                  </a:lnTo>
                  <a:lnTo>
                    <a:pt x="108" y="240"/>
                  </a:lnTo>
                  <a:lnTo>
                    <a:pt x="110" y="240"/>
                  </a:lnTo>
                  <a:close/>
                  <a:moveTo>
                    <a:pt x="6" y="382"/>
                  </a:moveTo>
                  <a:lnTo>
                    <a:pt x="8" y="382"/>
                  </a:lnTo>
                  <a:lnTo>
                    <a:pt x="8" y="384"/>
                  </a:lnTo>
                  <a:lnTo>
                    <a:pt x="8" y="386"/>
                  </a:lnTo>
                  <a:lnTo>
                    <a:pt x="8" y="384"/>
                  </a:lnTo>
                  <a:lnTo>
                    <a:pt x="10" y="384"/>
                  </a:lnTo>
                  <a:lnTo>
                    <a:pt x="10" y="386"/>
                  </a:lnTo>
                  <a:lnTo>
                    <a:pt x="10" y="384"/>
                  </a:lnTo>
                  <a:lnTo>
                    <a:pt x="10" y="386"/>
                  </a:lnTo>
                  <a:lnTo>
                    <a:pt x="10" y="388"/>
                  </a:lnTo>
                  <a:lnTo>
                    <a:pt x="10" y="386"/>
                  </a:lnTo>
                  <a:lnTo>
                    <a:pt x="8" y="386"/>
                  </a:lnTo>
                  <a:lnTo>
                    <a:pt x="8" y="384"/>
                  </a:lnTo>
                  <a:lnTo>
                    <a:pt x="8" y="386"/>
                  </a:lnTo>
                  <a:lnTo>
                    <a:pt x="8" y="384"/>
                  </a:lnTo>
                  <a:lnTo>
                    <a:pt x="8" y="386"/>
                  </a:lnTo>
                  <a:lnTo>
                    <a:pt x="8" y="384"/>
                  </a:lnTo>
                  <a:lnTo>
                    <a:pt x="6" y="384"/>
                  </a:lnTo>
                  <a:lnTo>
                    <a:pt x="8" y="384"/>
                  </a:lnTo>
                  <a:lnTo>
                    <a:pt x="6" y="384"/>
                  </a:lnTo>
                  <a:lnTo>
                    <a:pt x="6" y="382"/>
                  </a:lnTo>
                  <a:lnTo>
                    <a:pt x="6" y="384"/>
                  </a:lnTo>
                  <a:lnTo>
                    <a:pt x="6" y="382"/>
                  </a:lnTo>
                  <a:lnTo>
                    <a:pt x="6" y="384"/>
                  </a:lnTo>
                  <a:lnTo>
                    <a:pt x="6" y="382"/>
                  </a:lnTo>
                  <a:close/>
                  <a:moveTo>
                    <a:pt x="8" y="407"/>
                  </a:moveTo>
                  <a:lnTo>
                    <a:pt x="12" y="407"/>
                  </a:lnTo>
                  <a:lnTo>
                    <a:pt x="12" y="411"/>
                  </a:lnTo>
                  <a:lnTo>
                    <a:pt x="8" y="411"/>
                  </a:lnTo>
                  <a:lnTo>
                    <a:pt x="8" y="407"/>
                  </a:lnTo>
                  <a:close/>
                  <a:moveTo>
                    <a:pt x="96" y="246"/>
                  </a:moveTo>
                  <a:lnTo>
                    <a:pt x="94" y="246"/>
                  </a:lnTo>
                  <a:lnTo>
                    <a:pt x="96" y="246"/>
                  </a:lnTo>
                  <a:lnTo>
                    <a:pt x="96" y="248"/>
                  </a:lnTo>
                  <a:lnTo>
                    <a:pt x="94" y="248"/>
                  </a:lnTo>
                  <a:lnTo>
                    <a:pt x="94" y="250"/>
                  </a:lnTo>
                  <a:lnTo>
                    <a:pt x="92" y="250"/>
                  </a:lnTo>
                  <a:lnTo>
                    <a:pt x="91" y="250"/>
                  </a:lnTo>
                  <a:lnTo>
                    <a:pt x="92" y="250"/>
                  </a:lnTo>
                  <a:lnTo>
                    <a:pt x="91" y="250"/>
                  </a:lnTo>
                  <a:lnTo>
                    <a:pt x="92" y="250"/>
                  </a:lnTo>
                  <a:lnTo>
                    <a:pt x="92" y="248"/>
                  </a:lnTo>
                  <a:lnTo>
                    <a:pt x="92" y="250"/>
                  </a:lnTo>
                  <a:lnTo>
                    <a:pt x="92" y="248"/>
                  </a:lnTo>
                  <a:lnTo>
                    <a:pt x="92" y="250"/>
                  </a:lnTo>
                  <a:lnTo>
                    <a:pt x="92" y="248"/>
                  </a:lnTo>
                  <a:lnTo>
                    <a:pt x="92" y="250"/>
                  </a:lnTo>
                  <a:lnTo>
                    <a:pt x="92" y="248"/>
                  </a:lnTo>
                  <a:lnTo>
                    <a:pt x="92" y="250"/>
                  </a:lnTo>
                  <a:lnTo>
                    <a:pt x="91" y="250"/>
                  </a:lnTo>
                  <a:lnTo>
                    <a:pt x="91" y="248"/>
                  </a:lnTo>
                  <a:lnTo>
                    <a:pt x="92" y="248"/>
                  </a:lnTo>
                  <a:lnTo>
                    <a:pt x="91" y="248"/>
                  </a:lnTo>
                  <a:lnTo>
                    <a:pt x="92" y="248"/>
                  </a:lnTo>
                  <a:lnTo>
                    <a:pt x="91" y="248"/>
                  </a:lnTo>
                  <a:lnTo>
                    <a:pt x="92" y="248"/>
                  </a:lnTo>
                  <a:lnTo>
                    <a:pt x="91" y="248"/>
                  </a:lnTo>
                  <a:lnTo>
                    <a:pt x="92" y="248"/>
                  </a:lnTo>
                  <a:lnTo>
                    <a:pt x="91" y="248"/>
                  </a:lnTo>
                  <a:lnTo>
                    <a:pt x="92" y="248"/>
                  </a:lnTo>
                  <a:lnTo>
                    <a:pt x="94" y="248"/>
                  </a:lnTo>
                  <a:lnTo>
                    <a:pt x="94" y="246"/>
                  </a:lnTo>
                  <a:lnTo>
                    <a:pt x="94" y="248"/>
                  </a:lnTo>
                  <a:lnTo>
                    <a:pt x="94" y="246"/>
                  </a:lnTo>
                  <a:lnTo>
                    <a:pt x="96" y="246"/>
                  </a:lnTo>
                  <a:close/>
                  <a:moveTo>
                    <a:pt x="52" y="304"/>
                  </a:moveTo>
                  <a:lnTo>
                    <a:pt x="52" y="305"/>
                  </a:lnTo>
                  <a:lnTo>
                    <a:pt x="54" y="305"/>
                  </a:lnTo>
                  <a:lnTo>
                    <a:pt x="54" y="307"/>
                  </a:lnTo>
                  <a:lnTo>
                    <a:pt x="52" y="307"/>
                  </a:lnTo>
                  <a:lnTo>
                    <a:pt x="54" y="307"/>
                  </a:lnTo>
                  <a:lnTo>
                    <a:pt x="52" y="307"/>
                  </a:lnTo>
                  <a:lnTo>
                    <a:pt x="50" y="307"/>
                  </a:lnTo>
                  <a:lnTo>
                    <a:pt x="50" y="305"/>
                  </a:lnTo>
                  <a:lnTo>
                    <a:pt x="52" y="305"/>
                  </a:lnTo>
                  <a:lnTo>
                    <a:pt x="52" y="304"/>
                  </a:lnTo>
                  <a:close/>
                  <a:moveTo>
                    <a:pt x="154" y="134"/>
                  </a:moveTo>
                  <a:lnTo>
                    <a:pt x="156" y="134"/>
                  </a:lnTo>
                  <a:lnTo>
                    <a:pt x="154" y="134"/>
                  </a:lnTo>
                  <a:lnTo>
                    <a:pt x="154" y="136"/>
                  </a:lnTo>
                  <a:lnTo>
                    <a:pt x="156" y="136"/>
                  </a:lnTo>
                  <a:lnTo>
                    <a:pt x="158" y="136"/>
                  </a:lnTo>
                  <a:lnTo>
                    <a:pt x="156" y="136"/>
                  </a:lnTo>
                  <a:lnTo>
                    <a:pt x="158" y="136"/>
                  </a:lnTo>
                  <a:lnTo>
                    <a:pt x="156" y="136"/>
                  </a:lnTo>
                  <a:lnTo>
                    <a:pt x="156" y="138"/>
                  </a:lnTo>
                  <a:lnTo>
                    <a:pt x="156" y="136"/>
                  </a:lnTo>
                  <a:lnTo>
                    <a:pt x="158" y="136"/>
                  </a:lnTo>
                  <a:lnTo>
                    <a:pt x="158" y="138"/>
                  </a:lnTo>
                  <a:lnTo>
                    <a:pt x="158" y="136"/>
                  </a:lnTo>
                  <a:lnTo>
                    <a:pt x="158" y="138"/>
                  </a:lnTo>
                  <a:lnTo>
                    <a:pt x="156" y="138"/>
                  </a:lnTo>
                  <a:lnTo>
                    <a:pt x="154" y="138"/>
                  </a:lnTo>
                  <a:lnTo>
                    <a:pt x="152" y="138"/>
                  </a:lnTo>
                  <a:lnTo>
                    <a:pt x="154" y="138"/>
                  </a:lnTo>
                  <a:lnTo>
                    <a:pt x="152" y="138"/>
                  </a:lnTo>
                  <a:lnTo>
                    <a:pt x="154" y="138"/>
                  </a:lnTo>
                  <a:lnTo>
                    <a:pt x="152" y="138"/>
                  </a:lnTo>
                  <a:lnTo>
                    <a:pt x="154" y="138"/>
                  </a:lnTo>
                  <a:lnTo>
                    <a:pt x="152" y="138"/>
                  </a:lnTo>
                  <a:lnTo>
                    <a:pt x="154" y="138"/>
                  </a:lnTo>
                  <a:lnTo>
                    <a:pt x="154" y="136"/>
                  </a:lnTo>
                  <a:lnTo>
                    <a:pt x="152" y="136"/>
                  </a:lnTo>
                  <a:lnTo>
                    <a:pt x="152" y="138"/>
                  </a:lnTo>
                  <a:lnTo>
                    <a:pt x="152" y="136"/>
                  </a:lnTo>
                  <a:lnTo>
                    <a:pt x="154" y="136"/>
                  </a:lnTo>
                  <a:lnTo>
                    <a:pt x="152" y="136"/>
                  </a:lnTo>
                  <a:lnTo>
                    <a:pt x="154" y="136"/>
                  </a:lnTo>
                  <a:lnTo>
                    <a:pt x="154" y="134"/>
                  </a:lnTo>
                  <a:lnTo>
                    <a:pt x="154" y="136"/>
                  </a:lnTo>
                  <a:lnTo>
                    <a:pt x="154" y="134"/>
                  </a:lnTo>
                  <a:lnTo>
                    <a:pt x="156" y="134"/>
                  </a:lnTo>
                  <a:lnTo>
                    <a:pt x="154" y="134"/>
                  </a:lnTo>
                  <a:lnTo>
                    <a:pt x="156" y="134"/>
                  </a:lnTo>
                  <a:lnTo>
                    <a:pt x="154" y="134"/>
                  </a:lnTo>
                  <a:lnTo>
                    <a:pt x="156" y="134"/>
                  </a:lnTo>
                  <a:lnTo>
                    <a:pt x="154" y="134"/>
                  </a:lnTo>
                  <a:close/>
                  <a:moveTo>
                    <a:pt x="6" y="386"/>
                  </a:moveTo>
                  <a:lnTo>
                    <a:pt x="8" y="386"/>
                  </a:lnTo>
                  <a:lnTo>
                    <a:pt x="10" y="386"/>
                  </a:lnTo>
                  <a:lnTo>
                    <a:pt x="10" y="388"/>
                  </a:lnTo>
                  <a:lnTo>
                    <a:pt x="10" y="390"/>
                  </a:lnTo>
                  <a:lnTo>
                    <a:pt x="10" y="388"/>
                  </a:lnTo>
                  <a:lnTo>
                    <a:pt x="10" y="390"/>
                  </a:lnTo>
                  <a:lnTo>
                    <a:pt x="10" y="388"/>
                  </a:lnTo>
                  <a:lnTo>
                    <a:pt x="10" y="390"/>
                  </a:lnTo>
                  <a:lnTo>
                    <a:pt x="10" y="388"/>
                  </a:lnTo>
                  <a:lnTo>
                    <a:pt x="10" y="390"/>
                  </a:lnTo>
                  <a:lnTo>
                    <a:pt x="10" y="388"/>
                  </a:lnTo>
                  <a:lnTo>
                    <a:pt x="8" y="388"/>
                  </a:lnTo>
                  <a:lnTo>
                    <a:pt x="6" y="388"/>
                  </a:lnTo>
                  <a:lnTo>
                    <a:pt x="8" y="388"/>
                  </a:lnTo>
                  <a:lnTo>
                    <a:pt x="6" y="388"/>
                  </a:lnTo>
                  <a:lnTo>
                    <a:pt x="8" y="388"/>
                  </a:lnTo>
                  <a:lnTo>
                    <a:pt x="8" y="386"/>
                  </a:lnTo>
                  <a:lnTo>
                    <a:pt x="8" y="388"/>
                  </a:lnTo>
                  <a:lnTo>
                    <a:pt x="8" y="386"/>
                  </a:lnTo>
                  <a:lnTo>
                    <a:pt x="6" y="386"/>
                  </a:lnTo>
                  <a:close/>
                  <a:moveTo>
                    <a:pt x="6" y="388"/>
                  </a:moveTo>
                  <a:lnTo>
                    <a:pt x="8" y="388"/>
                  </a:lnTo>
                  <a:lnTo>
                    <a:pt x="8" y="390"/>
                  </a:lnTo>
                  <a:lnTo>
                    <a:pt x="8" y="388"/>
                  </a:lnTo>
                  <a:lnTo>
                    <a:pt x="10" y="388"/>
                  </a:lnTo>
                  <a:lnTo>
                    <a:pt x="10" y="390"/>
                  </a:lnTo>
                  <a:lnTo>
                    <a:pt x="10" y="392"/>
                  </a:lnTo>
                  <a:lnTo>
                    <a:pt x="10" y="390"/>
                  </a:lnTo>
                  <a:lnTo>
                    <a:pt x="10" y="392"/>
                  </a:lnTo>
                  <a:lnTo>
                    <a:pt x="10" y="390"/>
                  </a:lnTo>
                  <a:lnTo>
                    <a:pt x="10" y="392"/>
                  </a:lnTo>
                  <a:lnTo>
                    <a:pt x="10" y="390"/>
                  </a:lnTo>
                  <a:lnTo>
                    <a:pt x="10" y="392"/>
                  </a:lnTo>
                  <a:lnTo>
                    <a:pt x="10" y="390"/>
                  </a:lnTo>
                  <a:lnTo>
                    <a:pt x="10" y="392"/>
                  </a:lnTo>
                  <a:lnTo>
                    <a:pt x="8" y="392"/>
                  </a:lnTo>
                  <a:lnTo>
                    <a:pt x="8" y="390"/>
                  </a:lnTo>
                  <a:lnTo>
                    <a:pt x="8" y="392"/>
                  </a:lnTo>
                  <a:lnTo>
                    <a:pt x="8" y="390"/>
                  </a:lnTo>
                  <a:lnTo>
                    <a:pt x="8" y="392"/>
                  </a:lnTo>
                  <a:lnTo>
                    <a:pt x="8" y="390"/>
                  </a:lnTo>
                  <a:lnTo>
                    <a:pt x="8" y="388"/>
                  </a:lnTo>
                  <a:lnTo>
                    <a:pt x="8" y="390"/>
                  </a:lnTo>
                  <a:lnTo>
                    <a:pt x="8" y="388"/>
                  </a:lnTo>
                  <a:lnTo>
                    <a:pt x="8" y="390"/>
                  </a:lnTo>
                  <a:lnTo>
                    <a:pt x="8" y="388"/>
                  </a:lnTo>
                  <a:lnTo>
                    <a:pt x="8" y="390"/>
                  </a:lnTo>
                  <a:lnTo>
                    <a:pt x="8" y="388"/>
                  </a:lnTo>
                  <a:lnTo>
                    <a:pt x="6" y="388"/>
                  </a:lnTo>
                  <a:close/>
                  <a:moveTo>
                    <a:pt x="163" y="133"/>
                  </a:moveTo>
                  <a:lnTo>
                    <a:pt x="163" y="134"/>
                  </a:lnTo>
                  <a:lnTo>
                    <a:pt x="165" y="134"/>
                  </a:lnTo>
                  <a:lnTo>
                    <a:pt x="167" y="134"/>
                  </a:lnTo>
                  <a:lnTo>
                    <a:pt x="165" y="134"/>
                  </a:lnTo>
                  <a:lnTo>
                    <a:pt x="167" y="134"/>
                  </a:lnTo>
                  <a:lnTo>
                    <a:pt x="165" y="134"/>
                  </a:lnTo>
                  <a:lnTo>
                    <a:pt x="167" y="134"/>
                  </a:lnTo>
                  <a:lnTo>
                    <a:pt x="165" y="134"/>
                  </a:lnTo>
                  <a:lnTo>
                    <a:pt x="167" y="134"/>
                  </a:lnTo>
                  <a:lnTo>
                    <a:pt x="165" y="134"/>
                  </a:lnTo>
                  <a:lnTo>
                    <a:pt x="165" y="136"/>
                  </a:lnTo>
                  <a:lnTo>
                    <a:pt x="165" y="134"/>
                  </a:lnTo>
                  <a:lnTo>
                    <a:pt x="163" y="134"/>
                  </a:lnTo>
                  <a:lnTo>
                    <a:pt x="165" y="134"/>
                  </a:lnTo>
                  <a:lnTo>
                    <a:pt x="163" y="134"/>
                  </a:lnTo>
                  <a:lnTo>
                    <a:pt x="162" y="134"/>
                  </a:lnTo>
                  <a:lnTo>
                    <a:pt x="160" y="134"/>
                  </a:lnTo>
                  <a:lnTo>
                    <a:pt x="162" y="134"/>
                  </a:lnTo>
                  <a:lnTo>
                    <a:pt x="162" y="133"/>
                  </a:lnTo>
                  <a:lnTo>
                    <a:pt x="162" y="134"/>
                  </a:lnTo>
                  <a:lnTo>
                    <a:pt x="163" y="134"/>
                  </a:lnTo>
                  <a:lnTo>
                    <a:pt x="163" y="133"/>
                  </a:lnTo>
                  <a:lnTo>
                    <a:pt x="163" y="134"/>
                  </a:lnTo>
                  <a:lnTo>
                    <a:pt x="163" y="133"/>
                  </a:lnTo>
                  <a:close/>
                  <a:moveTo>
                    <a:pt x="35" y="321"/>
                  </a:moveTo>
                  <a:lnTo>
                    <a:pt x="35" y="323"/>
                  </a:lnTo>
                  <a:lnTo>
                    <a:pt x="33" y="323"/>
                  </a:lnTo>
                  <a:lnTo>
                    <a:pt x="31" y="323"/>
                  </a:lnTo>
                  <a:lnTo>
                    <a:pt x="31" y="321"/>
                  </a:lnTo>
                  <a:lnTo>
                    <a:pt x="33" y="321"/>
                  </a:lnTo>
                  <a:lnTo>
                    <a:pt x="35" y="321"/>
                  </a:lnTo>
                  <a:close/>
                  <a:moveTo>
                    <a:pt x="188" y="90"/>
                  </a:moveTo>
                  <a:lnTo>
                    <a:pt x="190" y="90"/>
                  </a:lnTo>
                  <a:lnTo>
                    <a:pt x="190" y="96"/>
                  </a:lnTo>
                  <a:lnTo>
                    <a:pt x="188" y="96"/>
                  </a:lnTo>
                  <a:lnTo>
                    <a:pt x="188" y="90"/>
                  </a:lnTo>
                  <a:close/>
                  <a:moveTo>
                    <a:pt x="46" y="309"/>
                  </a:moveTo>
                  <a:lnTo>
                    <a:pt x="50" y="309"/>
                  </a:lnTo>
                  <a:lnTo>
                    <a:pt x="50" y="311"/>
                  </a:lnTo>
                  <a:lnTo>
                    <a:pt x="46" y="311"/>
                  </a:lnTo>
                  <a:lnTo>
                    <a:pt x="46" y="309"/>
                  </a:lnTo>
                  <a:close/>
                  <a:moveTo>
                    <a:pt x="60" y="300"/>
                  </a:moveTo>
                  <a:lnTo>
                    <a:pt x="62" y="300"/>
                  </a:lnTo>
                  <a:lnTo>
                    <a:pt x="62" y="302"/>
                  </a:lnTo>
                  <a:lnTo>
                    <a:pt x="60" y="302"/>
                  </a:lnTo>
                  <a:lnTo>
                    <a:pt x="58" y="302"/>
                  </a:lnTo>
                  <a:lnTo>
                    <a:pt x="60" y="302"/>
                  </a:lnTo>
                  <a:lnTo>
                    <a:pt x="58" y="302"/>
                  </a:lnTo>
                  <a:lnTo>
                    <a:pt x="60" y="302"/>
                  </a:lnTo>
                  <a:lnTo>
                    <a:pt x="58" y="302"/>
                  </a:lnTo>
                  <a:lnTo>
                    <a:pt x="60" y="302"/>
                  </a:lnTo>
                  <a:lnTo>
                    <a:pt x="58" y="302"/>
                  </a:lnTo>
                  <a:lnTo>
                    <a:pt x="58" y="300"/>
                  </a:lnTo>
                  <a:lnTo>
                    <a:pt x="58" y="302"/>
                  </a:lnTo>
                  <a:lnTo>
                    <a:pt x="58" y="300"/>
                  </a:lnTo>
                  <a:lnTo>
                    <a:pt x="60" y="300"/>
                  </a:lnTo>
                  <a:close/>
                  <a:moveTo>
                    <a:pt x="102" y="248"/>
                  </a:moveTo>
                  <a:lnTo>
                    <a:pt x="102" y="250"/>
                  </a:lnTo>
                  <a:lnTo>
                    <a:pt x="102" y="248"/>
                  </a:lnTo>
                  <a:lnTo>
                    <a:pt x="102" y="250"/>
                  </a:lnTo>
                  <a:lnTo>
                    <a:pt x="104" y="250"/>
                  </a:lnTo>
                  <a:lnTo>
                    <a:pt x="102" y="250"/>
                  </a:lnTo>
                  <a:lnTo>
                    <a:pt x="100" y="250"/>
                  </a:lnTo>
                  <a:lnTo>
                    <a:pt x="98" y="250"/>
                  </a:lnTo>
                  <a:lnTo>
                    <a:pt x="100" y="250"/>
                  </a:lnTo>
                  <a:lnTo>
                    <a:pt x="98" y="250"/>
                  </a:lnTo>
                  <a:lnTo>
                    <a:pt x="100" y="250"/>
                  </a:lnTo>
                  <a:lnTo>
                    <a:pt x="98" y="250"/>
                  </a:lnTo>
                  <a:lnTo>
                    <a:pt x="100" y="250"/>
                  </a:lnTo>
                  <a:lnTo>
                    <a:pt x="100" y="248"/>
                  </a:lnTo>
                  <a:lnTo>
                    <a:pt x="102" y="248"/>
                  </a:lnTo>
                  <a:close/>
                  <a:moveTo>
                    <a:pt x="10" y="411"/>
                  </a:moveTo>
                  <a:lnTo>
                    <a:pt x="10" y="417"/>
                  </a:lnTo>
                  <a:lnTo>
                    <a:pt x="10" y="411"/>
                  </a:lnTo>
                  <a:close/>
                  <a:moveTo>
                    <a:pt x="106" y="240"/>
                  </a:moveTo>
                  <a:lnTo>
                    <a:pt x="106" y="242"/>
                  </a:lnTo>
                  <a:lnTo>
                    <a:pt x="104" y="242"/>
                  </a:lnTo>
                  <a:lnTo>
                    <a:pt x="104" y="244"/>
                  </a:lnTo>
                  <a:lnTo>
                    <a:pt x="102" y="244"/>
                  </a:lnTo>
                  <a:lnTo>
                    <a:pt x="102" y="242"/>
                  </a:lnTo>
                  <a:lnTo>
                    <a:pt x="102" y="244"/>
                  </a:lnTo>
                  <a:lnTo>
                    <a:pt x="102" y="242"/>
                  </a:lnTo>
                  <a:lnTo>
                    <a:pt x="102" y="244"/>
                  </a:lnTo>
                  <a:lnTo>
                    <a:pt x="102" y="242"/>
                  </a:lnTo>
                  <a:lnTo>
                    <a:pt x="104" y="242"/>
                  </a:lnTo>
                  <a:lnTo>
                    <a:pt x="104" y="240"/>
                  </a:lnTo>
                  <a:lnTo>
                    <a:pt x="104" y="242"/>
                  </a:lnTo>
                  <a:lnTo>
                    <a:pt x="104" y="240"/>
                  </a:lnTo>
                  <a:lnTo>
                    <a:pt x="106" y="240"/>
                  </a:lnTo>
                  <a:lnTo>
                    <a:pt x="106" y="242"/>
                  </a:lnTo>
                  <a:lnTo>
                    <a:pt x="106" y="240"/>
                  </a:lnTo>
                  <a:lnTo>
                    <a:pt x="106" y="242"/>
                  </a:lnTo>
                  <a:lnTo>
                    <a:pt x="106" y="240"/>
                  </a:lnTo>
                  <a:lnTo>
                    <a:pt x="106" y="242"/>
                  </a:lnTo>
                  <a:lnTo>
                    <a:pt x="106" y="240"/>
                  </a:lnTo>
                  <a:close/>
                  <a:moveTo>
                    <a:pt x="6" y="342"/>
                  </a:moveTo>
                  <a:lnTo>
                    <a:pt x="10" y="342"/>
                  </a:lnTo>
                  <a:lnTo>
                    <a:pt x="10" y="346"/>
                  </a:lnTo>
                  <a:lnTo>
                    <a:pt x="6" y="346"/>
                  </a:lnTo>
                  <a:lnTo>
                    <a:pt x="6" y="342"/>
                  </a:lnTo>
                  <a:close/>
                  <a:moveTo>
                    <a:pt x="96" y="255"/>
                  </a:moveTo>
                  <a:lnTo>
                    <a:pt x="100" y="255"/>
                  </a:lnTo>
                  <a:lnTo>
                    <a:pt x="100" y="259"/>
                  </a:lnTo>
                  <a:lnTo>
                    <a:pt x="96" y="259"/>
                  </a:lnTo>
                  <a:lnTo>
                    <a:pt x="96" y="255"/>
                  </a:lnTo>
                  <a:close/>
                  <a:moveTo>
                    <a:pt x="252" y="37"/>
                  </a:moveTo>
                  <a:lnTo>
                    <a:pt x="254" y="37"/>
                  </a:lnTo>
                  <a:lnTo>
                    <a:pt x="254" y="42"/>
                  </a:lnTo>
                  <a:lnTo>
                    <a:pt x="252" y="42"/>
                  </a:lnTo>
                  <a:lnTo>
                    <a:pt x="252" y="37"/>
                  </a:lnTo>
                  <a:close/>
                  <a:moveTo>
                    <a:pt x="217" y="46"/>
                  </a:moveTo>
                  <a:lnTo>
                    <a:pt x="221" y="46"/>
                  </a:lnTo>
                  <a:lnTo>
                    <a:pt x="221" y="48"/>
                  </a:lnTo>
                  <a:lnTo>
                    <a:pt x="217" y="48"/>
                  </a:lnTo>
                  <a:lnTo>
                    <a:pt x="217" y="46"/>
                  </a:lnTo>
                  <a:close/>
                  <a:moveTo>
                    <a:pt x="25" y="328"/>
                  </a:moveTo>
                  <a:lnTo>
                    <a:pt x="25" y="330"/>
                  </a:lnTo>
                  <a:lnTo>
                    <a:pt x="25" y="328"/>
                  </a:lnTo>
                  <a:lnTo>
                    <a:pt x="25" y="330"/>
                  </a:lnTo>
                  <a:lnTo>
                    <a:pt x="27" y="330"/>
                  </a:lnTo>
                  <a:lnTo>
                    <a:pt x="25" y="330"/>
                  </a:lnTo>
                  <a:lnTo>
                    <a:pt x="27" y="330"/>
                  </a:lnTo>
                  <a:lnTo>
                    <a:pt x="25" y="330"/>
                  </a:lnTo>
                  <a:lnTo>
                    <a:pt x="23" y="330"/>
                  </a:lnTo>
                  <a:lnTo>
                    <a:pt x="25" y="330"/>
                  </a:lnTo>
                  <a:lnTo>
                    <a:pt x="25" y="328"/>
                  </a:lnTo>
                  <a:lnTo>
                    <a:pt x="25" y="330"/>
                  </a:lnTo>
                  <a:lnTo>
                    <a:pt x="25" y="328"/>
                  </a:lnTo>
                  <a:close/>
                  <a:moveTo>
                    <a:pt x="139" y="121"/>
                  </a:moveTo>
                  <a:lnTo>
                    <a:pt x="142" y="121"/>
                  </a:lnTo>
                  <a:lnTo>
                    <a:pt x="142" y="125"/>
                  </a:lnTo>
                  <a:lnTo>
                    <a:pt x="139" y="125"/>
                  </a:lnTo>
                  <a:lnTo>
                    <a:pt x="139" y="121"/>
                  </a:lnTo>
                  <a:close/>
                  <a:moveTo>
                    <a:pt x="119" y="198"/>
                  </a:moveTo>
                  <a:lnTo>
                    <a:pt x="123" y="198"/>
                  </a:lnTo>
                  <a:lnTo>
                    <a:pt x="123" y="202"/>
                  </a:lnTo>
                  <a:lnTo>
                    <a:pt x="119" y="202"/>
                  </a:lnTo>
                  <a:lnTo>
                    <a:pt x="119" y="198"/>
                  </a:lnTo>
                  <a:close/>
                  <a:moveTo>
                    <a:pt x="294" y="4"/>
                  </a:moveTo>
                  <a:lnTo>
                    <a:pt x="298" y="4"/>
                  </a:lnTo>
                  <a:lnTo>
                    <a:pt x="298" y="8"/>
                  </a:lnTo>
                  <a:lnTo>
                    <a:pt x="294" y="8"/>
                  </a:lnTo>
                  <a:lnTo>
                    <a:pt x="294" y="4"/>
                  </a:lnTo>
                  <a:close/>
                  <a:moveTo>
                    <a:pt x="21" y="425"/>
                  </a:moveTo>
                  <a:lnTo>
                    <a:pt x="23" y="425"/>
                  </a:lnTo>
                  <a:lnTo>
                    <a:pt x="23" y="426"/>
                  </a:lnTo>
                  <a:lnTo>
                    <a:pt x="21" y="426"/>
                  </a:lnTo>
                  <a:lnTo>
                    <a:pt x="21" y="425"/>
                  </a:lnTo>
                  <a:close/>
                  <a:moveTo>
                    <a:pt x="238" y="46"/>
                  </a:moveTo>
                  <a:lnTo>
                    <a:pt x="240" y="46"/>
                  </a:lnTo>
                  <a:lnTo>
                    <a:pt x="240" y="50"/>
                  </a:lnTo>
                  <a:lnTo>
                    <a:pt x="238" y="50"/>
                  </a:lnTo>
                  <a:lnTo>
                    <a:pt x="238" y="46"/>
                  </a:lnTo>
                  <a:close/>
                  <a:moveTo>
                    <a:pt x="33" y="317"/>
                  </a:moveTo>
                  <a:lnTo>
                    <a:pt x="35" y="317"/>
                  </a:lnTo>
                  <a:lnTo>
                    <a:pt x="35" y="319"/>
                  </a:lnTo>
                  <a:lnTo>
                    <a:pt x="33" y="319"/>
                  </a:lnTo>
                  <a:lnTo>
                    <a:pt x="33" y="317"/>
                  </a:lnTo>
                  <a:close/>
                  <a:moveTo>
                    <a:pt x="10" y="400"/>
                  </a:moveTo>
                  <a:lnTo>
                    <a:pt x="12" y="400"/>
                  </a:lnTo>
                  <a:lnTo>
                    <a:pt x="12" y="403"/>
                  </a:lnTo>
                  <a:lnTo>
                    <a:pt x="10" y="403"/>
                  </a:lnTo>
                  <a:lnTo>
                    <a:pt x="10" y="400"/>
                  </a:lnTo>
                  <a:close/>
                  <a:moveTo>
                    <a:pt x="150" y="123"/>
                  </a:moveTo>
                  <a:lnTo>
                    <a:pt x="152" y="123"/>
                  </a:lnTo>
                  <a:lnTo>
                    <a:pt x="152" y="127"/>
                  </a:lnTo>
                  <a:lnTo>
                    <a:pt x="150" y="127"/>
                  </a:lnTo>
                  <a:lnTo>
                    <a:pt x="150" y="123"/>
                  </a:lnTo>
                  <a:close/>
                  <a:moveTo>
                    <a:pt x="21" y="400"/>
                  </a:moveTo>
                  <a:lnTo>
                    <a:pt x="23" y="400"/>
                  </a:lnTo>
                  <a:lnTo>
                    <a:pt x="23" y="401"/>
                  </a:lnTo>
                  <a:lnTo>
                    <a:pt x="21" y="401"/>
                  </a:lnTo>
                  <a:lnTo>
                    <a:pt x="21" y="400"/>
                  </a:lnTo>
                  <a:close/>
                  <a:moveTo>
                    <a:pt x="150" y="98"/>
                  </a:moveTo>
                  <a:lnTo>
                    <a:pt x="154" y="98"/>
                  </a:lnTo>
                  <a:lnTo>
                    <a:pt x="154" y="100"/>
                  </a:lnTo>
                  <a:lnTo>
                    <a:pt x="150" y="100"/>
                  </a:lnTo>
                  <a:lnTo>
                    <a:pt x="150" y="98"/>
                  </a:lnTo>
                  <a:close/>
                  <a:moveTo>
                    <a:pt x="100" y="257"/>
                  </a:moveTo>
                  <a:lnTo>
                    <a:pt x="102" y="257"/>
                  </a:lnTo>
                  <a:lnTo>
                    <a:pt x="102" y="261"/>
                  </a:lnTo>
                  <a:lnTo>
                    <a:pt x="100" y="261"/>
                  </a:lnTo>
                  <a:lnTo>
                    <a:pt x="100" y="257"/>
                  </a:lnTo>
                  <a:close/>
                  <a:moveTo>
                    <a:pt x="85" y="425"/>
                  </a:moveTo>
                  <a:lnTo>
                    <a:pt x="87" y="425"/>
                  </a:lnTo>
                  <a:lnTo>
                    <a:pt x="87" y="428"/>
                  </a:lnTo>
                  <a:lnTo>
                    <a:pt x="85" y="428"/>
                  </a:lnTo>
                  <a:lnTo>
                    <a:pt x="85" y="425"/>
                  </a:lnTo>
                  <a:close/>
                  <a:moveTo>
                    <a:pt x="125" y="200"/>
                  </a:moveTo>
                  <a:lnTo>
                    <a:pt x="127" y="200"/>
                  </a:lnTo>
                  <a:lnTo>
                    <a:pt x="125" y="200"/>
                  </a:lnTo>
                  <a:lnTo>
                    <a:pt x="125" y="202"/>
                  </a:lnTo>
                  <a:lnTo>
                    <a:pt x="123" y="202"/>
                  </a:lnTo>
                  <a:lnTo>
                    <a:pt x="123" y="200"/>
                  </a:lnTo>
                  <a:lnTo>
                    <a:pt x="125" y="200"/>
                  </a:lnTo>
                  <a:close/>
                  <a:moveTo>
                    <a:pt x="54" y="304"/>
                  </a:moveTo>
                  <a:lnTo>
                    <a:pt x="56" y="304"/>
                  </a:lnTo>
                  <a:lnTo>
                    <a:pt x="56" y="307"/>
                  </a:lnTo>
                  <a:lnTo>
                    <a:pt x="54" y="307"/>
                  </a:lnTo>
                  <a:lnTo>
                    <a:pt x="54" y="304"/>
                  </a:lnTo>
                  <a:close/>
                  <a:moveTo>
                    <a:pt x="142" y="156"/>
                  </a:moveTo>
                  <a:lnTo>
                    <a:pt x="144" y="156"/>
                  </a:lnTo>
                  <a:lnTo>
                    <a:pt x="144" y="159"/>
                  </a:lnTo>
                  <a:lnTo>
                    <a:pt x="142" y="159"/>
                  </a:lnTo>
                  <a:lnTo>
                    <a:pt x="142" y="156"/>
                  </a:lnTo>
                  <a:close/>
                  <a:moveTo>
                    <a:pt x="6" y="363"/>
                  </a:moveTo>
                  <a:lnTo>
                    <a:pt x="8" y="363"/>
                  </a:lnTo>
                  <a:lnTo>
                    <a:pt x="8" y="365"/>
                  </a:lnTo>
                  <a:lnTo>
                    <a:pt x="6" y="365"/>
                  </a:lnTo>
                  <a:lnTo>
                    <a:pt x="6" y="363"/>
                  </a:lnTo>
                  <a:close/>
                  <a:moveTo>
                    <a:pt x="16" y="428"/>
                  </a:moveTo>
                  <a:lnTo>
                    <a:pt x="18" y="428"/>
                  </a:lnTo>
                  <a:lnTo>
                    <a:pt x="18" y="430"/>
                  </a:lnTo>
                  <a:lnTo>
                    <a:pt x="16" y="430"/>
                  </a:lnTo>
                  <a:lnTo>
                    <a:pt x="16" y="428"/>
                  </a:lnTo>
                  <a:close/>
                  <a:moveTo>
                    <a:pt x="148" y="163"/>
                  </a:moveTo>
                  <a:lnTo>
                    <a:pt x="148" y="165"/>
                  </a:lnTo>
                  <a:lnTo>
                    <a:pt x="146" y="165"/>
                  </a:lnTo>
                  <a:lnTo>
                    <a:pt x="144" y="165"/>
                  </a:lnTo>
                  <a:lnTo>
                    <a:pt x="146" y="165"/>
                  </a:lnTo>
                  <a:lnTo>
                    <a:pt x="146" y="163"/>
                  </a:lnTo>
                  <a:lnTo>
                    <a:pt x="146" y="165"/>
                  </a:lnTo>
                  <a:lnTo>
                    <a:pt x="146" y="163"/>
                  </a:lnTo>
                  <a:lnTo>
                    <a:pt x="146" y="165"/>
                  </a:lnTo>
                  <a:lnTo>
                    <a:pt x="146" y="163"/>
                  </a:lnTo>
                  <a:lnTo>
                    <a:pt x="148" y="163"/>
                  </a:lnTo>
                  <a:close/>
                  <a:moveTo>
                    <a:pt x="16" y="409"/>
                  </a:moveTo>
                  <a:lnTo>
                    <a:pt x="20" y="409"/>
                  </a:lnTo>
                  <a:lnTo>
                    <a:pt x="20" y="413"/>
                  </a:lnTo>
                  <a:lnTo>
                    <a:pt x="16" y="413"/>
                  </a:lnTo>
                  <a:lnTo>
                    <a:pt x="16" y="409"/>
                  </a:lnTo>
                  <a:close/>
                  <a:moveTo>
                    <a:pt x="12" y="401"/>
                  </a:moveTo>
                  <a:lnTo>
                    <a:pt x="14" y="401"/>
                  </a:lnTo>
                  <a:lnTo>
                    <a:pt x="14" y="403"/>
                  </a:lnTo>
                  <a:lnTo>
                    <a:pt x="12" y="403"/>
                  </a:lnTo>
                  <a:lnTo>
                    <a:pt x="12" y="401"/>
                  </a:lnTo>
                  <a:close/>
                  <a:moveTo>
                    <a:pt x="156" y="133"/>
                  </a:moveTo>
                  <a:lnTo>
                    <a:pt x="158" y="133"/>
                  </a:lnTo>
                  <a:lnTo>
                    <a:pt x="158" y="136"/>
                  </a:lnTo>
                  <a:lnTo>
                    <a:pt x="156" y="136"/>
                  </a:lnTo>
                  <a:lnTo>
                    <a:pt x="156" y="133"/>
                  </a:lnTo>
                  <a:close/>
                  <a:moveTo>
                    <a:pt x="2" y="373"/>
                  </a:moveTo>
                  <a:lnTo>
                    <a:pt x="4" y="373"/>
                  </a:lnTo>
                  <a:lnTo>
                    <a:pt x="4" y="375"/>
                  </a:lnTo>
                  <a:lnTo>
                    <a:pt x="2" y="375"/>
                  </a:lnTo>
                  <a:lnTo>
                    <a:pt x="2" y="373"/>
                  </a:lnTo>
                  <a:close/>
                  <a:moveTo>
                    <a:pt x="210" y="65"/>
                  </a:moveTo>
                  <a:lnTo>
                    <a:pt x="211" y="65"/>
                  </a:lnTo>
                  <a:lnTo>
                    <a:pt x="211" y="69"/>
                  </a:lnTo>
                  <a:lnTo>
                    <a:pt x="210" y="69"/>
                  </a:lnTo>
                  <a:lnTo>
                    <a:pt x="210" y="65"/>
                  </a:lnTo>
                  <a:close/>
                  <a:moveTo>
                    <a:pt x="6" y="376"/>
                  </a:moveTo>
                  <a:lnTo>
                    <a:pt x="8" y="376"/>
                  </a:lnTo>
                  <a:lnTo>
                    <a:pt x="8" y="378"/>
                  </a:lnTo>
                  <a:lnTo>
                    <a:pt x="6" y="378"/>
                  </a:lnTo>
                  <a:lnTo>
                    <a:pt x="6" y="376"/>
                  </a:lnTo>
                  <a:close/>
                  <a:moveTo>
                    <a:pt x="37" y="459"/>
                  </a:moveTo>
                  <a:lnTo>
                    <a:pt x="39" y="459"/>
                  </a:lnTo>
                  <a:lnTo>
                    <a:pt x="39" y="461"/>
                  </a:lnTo>
                  <a:lnTo>
                    <a:pt x="37" y="461"/>
                  </a:lnTo>
                  <a:lnTo>
                    <a:pt x="37" y="459"/>
                  </a:lnTo>
                  <a:close/>
                  <a:moveTo>
                    <a:pt x="94" y="284"/>
                  </a:moveTo>
                  <a:lnTo>
                    <a:pt x="98" y="284"/>
                  </a:lnTo>
                  <a:lnTo>
                    <a:pt x="98" y="288"/>
                  </a:lnTo>
                  <a:lnTo>
                    <a:pt x="94" y="288"/>
                  </a:lnTo>
                  <a:lnTo>
                    <a:pt x="94" y="284"/>
                  </a:lnTo>
                  <a:close/>
                  <a:moveTo>
                    <a:pt x="229" y="40"/>
                  </a:moveTo>
                  <a:lnTo>
                    <a:pt x="231" y="40"/>
                  </a:lnTo>
                  <a:lnTo>
                    <a:pt x="231" y="44"/>
                  </a:lnTo>
                  <a:lnTo>
                    <a:pt x="229" y="44"/>
                  </a:lnTo>
                  <a:lnTo>
                    <a:pt x="229" y="40"/>
                  </a:lnTo>
                  <a:close/>
                  <a:moveTo>
                    <a:pt x="12" y="426"/>
                  </a:moveTo>
                  <a:lnTo>
                    <a:pt x="14" y="426"/>
                  </a:lnTo>
                  <a:lnTo>
                    <a:pt x="14" y="428"/>
                  </a:lnTo>
                  <a:lnTo>
                    <a:pt x="12" y="428"/>
                  </a:lnTo>
                  <a:lnTo>
                    <a:pt x="12" y="426"/>
                  </a:lnTo>
                  <a:close/>
                  <a:moveTo>
                    <a:pt x="127" y="181"/>
                  </a:moveTo>
                  <a:lnTo>
                    <a:pt x="131" y="181"/>
                  </a:lnTo>
                  <a:lnTo>
                    <a:pt x="131" y="182"/>
                  </a:lnTo>
                  <a:lnTo>
                    <a:pt x="127" y="182"/>
                  </a:lnTo>
                  <a:lnTo>
                    <a:pt x="127" y="181"/>
                  </a:lnTo>
                  <a:close/>
                  <a:moveTo>
                    <a:pt x="66" y="290"/>
                  </a:moveTo>
                  <a:lnTo>
                    <a:pt x="68" y="290"/>
                  </a:lnTo>
                  <a:lnTo>
                    <a:pt x="68" y="292"/>
                  </a:lnTo>
                  <a:lnTo>
                    <a:pt x="66" y="292"/>
                  </a:lnTo>
                  <a:lnTo>
                    <a:pt x="66" y="290"/>
                  </a:lnTo>
                  <a:close/>
                  <a:moveTo>
                    <a:pt x="171" y="131"/>
                  </a:moveTo>
                  <a:lnTo>
                    <a:pt x="173" y="131"/>
                  </a:lnTo>
                  <a:lnTo>
                    <a:pt x="173" y="133"/>
                  </a:lnTo>
                  <a:lnTo>
                    <a:pt x="171" y="133"/>
                  </a:lnTo>
                  <a:lnTo>
                    <a:pt x="171" y="131"/>
                  </a:lnTo>
                  <a:close/>
                  <a:moveTo>
                    <a:pt x="250" y="52"/>
                  </a:moveTo>
                  <a:lnTo>
                    <a:pt x="252" y="52"/>
                  </a:lnTo>
                  <a:lnTo>
                    <a:pt x="252" y="54"/>
                  </a:lnTo>
                  <a:lnTo>
                    <a:pt x="250" y="54"/>
                  </a:lnTo>
                  <a:lnTo>
                    <a:pt x="250" y="52"/>
                  </a:lnTo>
                  <a:close/>
                  <a:moveTo>
                    <a:pt x="94" y="430"/>
                  </a:moveTo>
                  <a:lnTo>
                    <a:pt x="96" y="430"/>
                  </a:lnTo>
                  <a:lnTo>
                    <a:pt x="96" y="432"/>
                  </a:lnTo>
                  <a:lnTo>
                    <a:pt x="94" y="432"/>
                  </a:lnTo>
                  <a:lnTo>
                    <a:pt x="94" y="430"/>
                  </a:lnTo>
                  <a:close/>
                  <a:moveTo>
                    <a:pt x="121" y="194"/>
                  </a:moveTo>
                  <a:lnTo>
                    <a:pt x="123" y="194"/>
                  </a:lnTo>
                  <a:lnTo>
                    <a:pt x="123" y="196"/>
                  </a:lnTo>
                  <a:lnTo>
                    <a:pt x="121" y="196"/>
                  </a:lnTo>
                  <a:lnTo>
                    <a:pt x="121" y="194"/>
                  </a:lnTo>
                  <a:close/>
                  <a:moveTo>
                    <a:pt x="123" y="194"/>
                  </a:moveTo>
                  <a:lnTo>
                    <a:pt x="125" y="194"/>
                  </a:lnTo>
                  <a:lnTo>
                    <a:pt x="125" y="196"/>
                  </a:lnTo>
                  <a:lnTo>
                    <a:pt x="123" y="196"/>
                  </a:lnTo>
                  <a:lnTo>
                    <a:pt x="123" y="194"/>
                  </a:lnTo>
                  <a:close/>
                  <a:moveTo>
                    <a:pt x="129" y="179"/>
                  </a:moveTo>
                  <a:lnTo>
                    <a:pt x="133" y="179"/>
                  </a:lnTo>
                  <a:lnTo>
                    <a:pt x="133" y="181"/>
                  </a:lnTo>
                  <a:lnTo>
                    <a:pt x="129" y="181"/>
                  </a:lnTo>
                  <a:lnTo>
                    <a:pt x="129" y="179"/>
                  </a:lnTo>
                  <a:close/>
                  <a:moveTo>
                    <a:pt x="284" y="6"/>
                  </a:moveTo>
                  <a:lnTo>
                    <a:pt x="286" y="6"/>
                  </a:lnTo>
                  <a:lnTo>
                    <a:pt x="286" y="8"/>
                  </a:lnTo>
                  <a:lnTo>
                    <a:pt x="284" y="8"/>
                  </a:lnTo>
                  <a:lnTo>
                    <a:pt x="284" y="6"/>
                  </a:lnTo>
                  <a:close/>
                  <a:moveTo>
                    <a:pt x="4" y="380"/>
                  </a:moveTo>
                  <a:lnTo>
                    <a:pt x="6" y="380"/>
                  </a:lnTo>
                  <a:lnTo>
                    <a:pt x="6" y="382"/>
                  </a:lnTo>
                  <a:lnTo>
                    <a:pt x="4" y="382"/>
                  </a:lnTo>
                  <a:lnTo>
                    <a:pt x="4" y="380"/>
                  </a:lnTo>
                  <a:close/>
                  <a:moveTo>
                    <a:pt x="62" y="446"/>
                  </a:moveTo>
                  <a:lnTo>
                    <a:pt x="66" y="446"/>
                  </a:lnTo>
                  <a:lnTo>
                    <a:pt x="66" y="449"/>
                  </a:lnTo>
                  <a:lnTo>
                    <a:pt x="62" y="449"/>
                  </a:lnTo>
                  <a:lnTo>
                    <a:pt x="62" y="446"/>
                  </a:lnTo>
                  <a:close/>
                  <a:moveTo>
                    <a:pt x="204" y="60"/>
                  </a:moveTo>
                  <a:lnTo>
                    <a:pt x="206" y="60"/>
                  </a:lnTo>
                  <a:lnTo>
                    <a:pt x="206" y="61"/>
                  </a:lnTo>
                  <a:lnTo>
                    <a:pt x="204" y="61"/>
                  </a:lnTo>
                  <a:lnTo>
                    <a:pt x="204" y="60"/>
                  </a:lnTo>
                  <a:close/>
                  <a:moveTo>
                    <a:pt x="110" y="229"/>
                  </a:moveTo>
                  <a:lnTo>
                    <a:pt x="112" y="229"/>
                  </a:lnTo>
                  <a:lnTo>
                    <a:pt x="112" y="232"/>
                  </a:lnTo>
                  <a:lnTo>
                    <a:pt x="110" y="232"/>
                  </a:lnTo>
                  <a:lnTo>
                    <a:pt x="110" y="229"/>
                  </a:lnTo>
                  <a:close/>
                  <a:moveTo>
                    <a:pt x="18" y="426"/>
                  </a:moveTo>
                  <a:lnTo>
                    <a:pt x="20" y="426"/>
                  </a:lnTo>
                  <a:lnTo>
                    <a:pt x="20" y="428"/>
                  </a:lnTo>
                  <a:lnTo>
                    <a:pt x="18" y="428"/>
                  </a:lnTo>
                  <a:lnTo>
                    <a:pt x="18" y="426"/>
                  </a:lnTo>
                  <a:close/>
                  <a:moveTo>
                    <a:pt x="208" y="44"/>
                  </a:moveTo>
                  <a:lnTo>
                    <a:pt x="210" y="44"/>
                  </a:lnTo>
                  <a:lnTo>
                    <a:pt x="210" y="46"/>
                  </a:lnTo>
                  <a:lnTo>
                    <a:pt x="208" y="46"/>
                  </a:lnTo>
                  <a:lnTo>
                    <a:pt x="208" y="44"/>
                  </a:lnTo>
                  <a:close/>
                  <a:moveTo>
                    <a:pt x="85" y="428"/>
                  </a:moveTo>
                  <a:lnTo>
                    <a:pt x="87" y="428"/>
                  </a:lnTo>
                  <a:lnTo>
                    <a:pt x="87" y="432"/>
                  </a:lnTo>
                  <a:lnTo>
                    <a:pt x="85" y="432"/>
                  </a:lnTo>
                  <a:lnTo>
                    <a:pt x="85" y="428"/>
                  </a:lnTo>
                  <a:close/>
                  <a:moveTo>
                    <a:pt x="29" y="327"/>
                  </a:moveTo>
                  <a:lnTo>
                    <a:pt x="29" y="328"/>
                  </a:lnTo>
                  <a:lnTo>
                    <a:pt x="27" y="328"/>
                  </a:lnTo>
                  <a:lnTo>
                    <a:pt x="25" y="328"/>
                  </a:lnTo>
                  <a:lnTo>
                    <a:pt x="23" y="328"/>
                  </a:lnTo>
                  <a:lnTo>
                    <a:pt x="25" y="328"/>
                  </a:lnTo>
                  <a:lnTo>
                    <a:pt x="25" y="327"/>
                  </a:lnTo>
                  <a:lnTo>
                    <a:pt x="27" y="327"/>
                  </a:lnTo>
                  <a:lnTo>
                    <a:pt x="25" y="327"/>
                  </a:lnTo>
                  <a:lnTo>
                    <a:pt x="27" y="327"/>
                  </a:lnTo>
                  <a:lnTo>
                    <a:pt x="27" y="328"/>
                  </a:lnTo>
                  <a:lnTo>
                    <a:pt x="27" y="327"/>
                  </a:lnTo>
                  <a:lnTo>
                    <a:pt x="27" y="328"/>
                  </a:lnTo>
                  <a:lnTo>
                    <a:pt x="27" y="327"/>
                  </a:lnTo>
                  <a:lnTo>
                    <a:pt x="27" y="328"/>
                  </a:lnTo>
                  <a:lnTo>
                    <a:pt x="27" y="327"/>
                  </a:lnTo>
                  <a:lnTo>
                    <a:pt x="29" y="327"/>
                  </a:lnTo>
                  <a:close/>
                  <a:moveTo>
                    <a:pt x="8" y="403"/>
                  </a:moveTo>
                  <a:lnTo>
                    <a:pt x="10" y="403"/>
                  </a:lnTo>
                  <a:lnTo>
                    <a:pt x="10" y="405"/>
                  </a:lnTo>
                  <a:lnTo>
                    <a:pt x="8" y="405"/>
                  </a:lnTo>
                  <a:lnTo>
                    <a:pt x="8" y="403"/>
                  </a:lnTo>
                  <a:close/>
                  <a:moveTo>
                    <a:pt x="121" y="202"/>
                  </a:moveTo>
                  <a:lnTo>
                    <a:pt x="123" y="202"/>
                  </a:lnTo>
                  <a:lnTo>
                    <a:pt x="123" y="204"/>
                  </a:lnTo>
                  <a:lnTo>
                    <a:pt x="121" y="204"/>
                  </a:lnTo>
                  <a:lnTo>
                    <a:pt x="121" y="202"/>
                  </a:lnTo>
                  <a:close/>
                  <a:moveTo>
                    <a:pt x="117" y="146"/>
                  </a:moveTo>
                  <a:lnTo>
                    <a:pt x="119" y="146"/>
                  </a:lnTo>
                  <a:lnTo>
                    <a:pt x="119" y="150"/>
                  </a:lnTo>
                  <a:lnTo>
                    <a:pt x="117" y="150"/>
                  </a:lnTo>
                  <a:lnTo>
                    <a:pt x="117" y="146"/>
                  </a:lnTo>
                  <a:close/>
                  <a:moveTo>
                    <a:pt x="119" y="204"/>
                  </a:moveTo>
                  <a:lnTo>
                    <a:pt x="121" y="204"/>
                  </a:lnTo>
                  <a:lnTo>
                    <a:pt x="121" y="206"/>
                  </a:lnTo>
                  <a:lnTo>
                    <a:pt x="119" y="206"/>
                  </a:lnTo>
                  <a:lnTo>
                    <a:pt x="119" y="204"/>
                  </a:lnTo>
                  <a:close/>
                  <a:moveTo>
                    <a:pt x="21" y="325"/>
                  </a:moveTo>
                  <a:lnTo>
                    <a:pt x="23" y="325"/>
                  </a:lnTo>
                  <a:lnTo>
                    <a:pt x="23" y="327"/>
                  </a:lnTo>
                  <a:lnTo>
                    <a:pt x="21" y="327"/>
                  </a:lnTo>
                  <a:lnTo>
                    <a:pt x="21" y="325"/>
                  </a:lnTo>
                  <a:close/>
                  <a:moveTo>
                    <a:pt x="298" y="8"/>
                  </a:moveTo>
                  <a:lnTo>
                    <a:pt x="300" y="8"/>
                  </a:lnTo>
                  <a:lnTo>
                    <a:pt x="300" y="10"/>
                  </a:lnTo>
                  <a:lnTo>
                    <a:pt x="298" y="10"/>
                  </a:lnTo>
                  <a:lnTo>
                    <a:pt x="298" y="8"/>
                  </a:lnTo>
                  <a:close/>
                  <a:moveTo>
                    <a:pt x="311" y="21"/>
                  </a:moveTo>
                  <a:lnTo>
                    <a:pt x="313" y="21"/>
                  </a:lnTo>
                  <a:lnTo>
                    <a:pt x="313" y="25"/>
                  </a:lnTo>
                  <a:lnTo>
                    <a:pt x="311" y="25"/>
                  </a:lnTo>
                  <a:lnTo>
                    <a:pt x="311" y="21"/>
                  </a:lnTo>
                  <a:close/>
                  <a:moveTo>
                    <a:pt x="48" y="311"/>
                  </a:moveTo>
                  <a:lnTo>
                    <a:pt x="50" y="311"/>
                  </a:lnTo>
                  <a:lnTo>
                    <a:pt x="50" y="313"/>
                  </a:lnTo>
                  <a:lnTo>
                    <a:pt x="48" y="313"/>
                  </a:lnTo>
                  <a:lnTo>
                    <a:pt x="48" y="311"/>
                  </a:lnTo>
                  <a:close/>
                  <a:moveTo>
                    <a:pt x="39" y="323"/>
                  </a:moveTo>
                  <a:lnTo>
                    <a:pt x="43" y="323"/>
                  </a:lnTo>
                  <a:lnTo>
                    <a:pt x="39" y="323"/>
                  </a:lnTo>
                  <a:close/>
                  <a:moveTo>
                    <a:pt x="175" y="94"/>
                  </a:moveTo>
                  <a:lnTo>
                    <a:pt x="177" y="94"/>
                  </a:lnTo>
                  <a:lnTo>
                    <a:pt x="177" y="96"/>
                  </a:lnTo>
                  <a:lnTo>
                    <a:pt x="175" y="96"/>
                  </a:lnTo>
                  <a:lnTo>
                    <a:pt x="175" y="94"/>
                  </a:lnTo>
                  <a:close/>
                  <a:moveTo>
                    <a:pt x="4" y="376"/>
                  </a:moveTo>
                  <a:lnTo>
                    <a:pt x="6" y="376"/>
                  </a:lnTo>
                  <a:lnTo>
                    <a:pt x="6" y="378"/>
                  </a:lnTo>
                  <a:lnTo>
                    <a:pt x="4" y="378"/>
                  </a:lnTo>
                  <a:lnTo>
                    <a:pt x="4" y="376"/>
                  </a:lnTo>
                  <a:close/>
                  <a:moveTo>
                    <a:pt x="92" y="426"/>
                  </a:moveTo>
                  <a:lnTo>
                    <a:pt x="94" y="426"/>
                  </a:lnTo>
                  <a:lnTo>
                    <a:pt x="94" y="428"/>
                  </a:lnTo>
                  <a:lnTo>
                    <a:pt x="92" y="428"/>
                  </a:lnTo>
                  <a:lnTo>
                    <a:pt x="92" y="426"/>
                  </a:lnTo>
                  <a:close/>
                  <a:moveTo>
                    <a:pt x="114" y="219"/>
                  </a:moveTo>
                  <a:lnTo>
                    <a:pt x="115" y="219"/>
                  </a:lnTo>
                  <a:lnTo>
                    <a:pt x="115" y="223"/>
                  </a:lnTo>
                  <a:lnTo>
                    <a:pt x="114" y="223"/>
                  </a:lnTo>
                  <a:lnTo>
                    <a:pt x="114" y="219"/>
                  </a:lnTo>
                  <a:close/>
                  <a:moveTo>
                    <a:pt x="89" y="419"/>
                  </a:moveTo>
                  <a:lnTo>
                    <a:pt x="91" y="419"/>
                  </a:lnTo>
                  <a:lnTo>
                    <a:pt x="91" y="421"/>
                  </a:lnTo>
                  <a:lnTo>
                    <a:pt x="89" y="421"/>
                  </a:lnTo>
                  <a:lnTo>
                    <a:pt x="89" y="419"/>
                  </a:lnTo>
                  <a:close/>
                  <a:moveTo>
                    <a:pt x="6" y="375"/>
                  </a:moveTo>
                  <a:lnTo>
                    <a:pt x="8" y="375"/>
                  </a:lnTo>
                  <a:lnTo>
                    <a:pt x="6" y="375"/>
                  </a:lnTo>
                  <a:close/>
                  <a:moveTo>
                    <a:pt x="20" y="448"/>
                  </a:moveTo>
                  <a:lnTo>
                    <a:pt x="21" y="448"/>
                  </a:lnTo>
                  <a:lnTo>
                    <a:pt x="21" y="449"/>
                  </a:lnTo>
                  <a:lnTo>
                    <a:pt x="20" y="449"/>
                  </a:lnTo>
                  <a:lnTo>
                    <a:pt x="20" y="448"/>
                  </a:lnTo>
                  <a:close/>
                  <a:moveTo>
                    <a:pt x="79" y="277"/>
                  </a:moveTo>
                  <a:lnTo>
                    <a:pt x="81" y="277"/>
                  </a:lnTo>
                  <a:lnTo>
                    <a:pt x="81" y="279"/>
                  </a:lnTo>
                  <a:lnTo>
                    <a:pt x="79" y="279"/>
                  </a:lnTo>
                  <a:lnTo>
                    <a:pt x="79" y="277"/>
                  </a:lnTo>
                  <a:close/>
                  <a:moveTo>
                    <a:pt x="4" y="371"/>
                  </a:moveTo>
                  <a:lnTo>
                    <a:pt x="4" y="373"/>
                  </a:lnTo>
                  <a:lnTo>
                    <a:pt x="4" y="371"/>
                  </a:lnTo>
                  <a:close/>
                  <a:moveTo>
                    <a:pt x="304" y="40"/>
                  </a:moveTo>
                  <a:lnTo>
                    <a:pt x="306" y="40"/>
                  </a:lnTo>
                  <a:lnTo>
                    <a:pt x="306" y="42"/>
                  </a:lnTo>
                  <a:lnTo>
                    <a:pt x="304" y="42"/>
                  </a:lnTo>
                  <a:lnTo>
                    <a:pt x="304" y="40"/>
                  </a:lnTo>
                  <a:close/>
                  <a:moveTo>
                    <a:pt x="77" y="277"/>
                  </a:moveTo>
                  <a:lnTo>
                    <a:pt x="79" y="277"/>
                  </a:lnTo>
                  <a:lnTo>
                    <a:pt x="79" y="279"/>
                  </a:lnTo>
                  <a:lnTo>
                    <a:pt x="77" y="279"/>
                  </a:lnTo>
                  <a:lnTo>
                    <a:pt x="77" y="277"/>
                  </a:lnTo>
                  <a:close/>
                  <a:moveTo>
                    <a:pt x="4" y="350"/>
                  </a:moveTo>
                  <a:lnTo>
                    <a:pt x="6" y="350"/>
                  </a:lnTo>
                  <a:lnTo>
                    <a:pt x="6" y="352"/>
                  </a:lnTo>
                  <a:lnTo>
                    <a:pt x="4" y="352"/>
                  </a:lnTo>
                  <a:lnTo>
                    <a:pt x="4" y="350"/>
                  </a:lnTo>
                  <a:close/>
                  <a:moveTo>
                    <a:pt x="117" y="188"/>
                  </a:moveTo>
                  <a:lnTo>
                    <a:pt x="119" y="188"/>
                  </a:lnTo>
                  <a:lnTo>
                    <a:pt x="119" y="190"/>
                  </a:lnTo>
                  <a:lnTo>
                    <a:pt x="117" y="190"/>
                  </a:lnTo>
                  <a:lnTo>
                    <a:pt x="117" y="188"/>
                  </a:lnTo>
                  <a:close/>
                  <a:moveTo>
                    <a:pt x="240" y="50"/>
                  </a:moveTo>
                  <a:lnTo>
                    <a:pt x="242" y="50"/>
                  </a:lnTo>
                  <a:lnTo>
                    <a:pt x="242" y="52"/>
                  </a:lnTo>
                  <a:lnTo>
                    <a:pt x="240" y="52"/>
                  </a:lnTo>
                  <a:lnTo>
                    <a:pt x="240" y="50"/>
                  </a:lnTo>
                  <a:close/>
                  <a:moveTo>
                    <a:pt x="8" y="392"/>
                  </a:moveTo>
                  <a:lnTo>
                    <a:pt x="10" y="392"/>
                  </a:lnTo>
                  <a:lnTo>
                    <a:pt x="10" y="394"/>
                  </a:lnTo>
                  <a:lnTo>
                    <a:pt x="8" y="394"/>
                  </a:lnTo>
                  <a:lnTo>
                    <a:pt x="8" y="392"/>
                  </a:lnTo>
                  <a:close/>
                  <a:moveTo>
                    <a:pt x="123" y="192"/>
                  </a:moveTo>
                  <a:lnTo>
                    <a:pt x="123" y="196"/>
                  </a:lnTo>
                  <a:lnTo>
                    <a:pt x="123" y="192"/>
                  </a:lnTo>
                  <a:close/>
                  <a:moveTo>
                    <a:pt x="135" y="169"/>
                  </a:moveTo>
                  <a:lnTo>
                    <a:pt x="137" y="169"/>
                  </a:lnTo>
                  <a:lnTo>
                    <a:pt x="137" y="171"/>
                  </a:lnTo>
                  <a:lnTo>
                    <a:pt x="135" y="171"/>
                  </a:lnTo>
                  <a:lnTo>
                    <a:pt x="135" y="169"/>
                  </a:lnTo>
                  <a:close/>
                  <a:moveTo>
                    <a:pt x="115" y="217"/>
                  </a:moveTo>
                  <a:lnTo>
                    <a:pt x="117" y="217"/>
                  </a:lnTo>
                  <a:lnTo>
                    <a:pt x="117" y="219"/>
                  </a:lnTo>
                  <a:lnTo>
                    <a:pt x="115" y="219"/>
                  </a:lnTo>
                  <a:lnTo>
                    <a:pt x="115" y="217"/>
                  </a:lnTo>
                  <a:close/>
                  <a:moveTo>
                    <a:pt x="60" y="290"/>
                  </a:moveTo>
                  <a:lnTo>
                    <a:pt x="64" y="290"/>
                  </a:lnTo>
                  <a:lnTo>
                    <a:pt x="64" y="292"/>
                  </a:lnTo>
                  <a:lnTo>
                    <a:pt x="60" y="292"/>
                  </a:lnTo>
                  <a:lnTo>
                    <a:pt x="60" y="290"/>
                  </a:lnTo>
                  <a:close/>
                  <a:moveTo>
                    <a:pt x="21" y="426"/>
                  </a:moveTo>
                  <a:lnTo>
                    <a:pt x="23" y="426"/>
                  </a:lnTo>
                  <a:lnTo>
                    <a:pt x="23" y="428"/>
                  </a:lnTo>
                  <a:lnTo>
                    <a:pt x="21" y="428"/>
                  </a:lnTo>
                  <a:lnTo>
                    <a:pt x="21" y="426"/>
                  </a:lnTo>
                  <a:close/>
                  <a:moveTo>
                    <a:pt x="121" y="188"/>
                  </a:moveTo>
                  <a:lnTo>
                    <a:pt x="123" y="188"/>
                  </a:lnTo>
                  <a:lnTo>
                    <a:pt x="123" y="190"/>
                  </a:lnTo>
                  <a:lnTo>
                    <a:pt x="121" y="190"/>
                  </a:lnTo>
                  <a:lnTo>
                    <a:pt x="121" y="188"/>
                  </a:lnTo>
                  <a:close/>
                  <a:moveTo>
                    <a:pt x="46" y="307"/>
                  </a:moveTo>
                  <a:lnTo>
                    <a:pt x="48" y="307"/>
                  </a:lnTo>
                  <a:lnTo>
                    <a:pt x="48" y="309"/>
                  </a:lnTo>
                  <a:lnTo>
                    <a:pt x="46" y="309"/>
                  </a:lnTo>
                  <a:lnTo>
                    <a:pt x="46" y="307"/>
                  </a:lnTo>
                  <a:close/>
                  <a:moveTo>
                    <a:pt x="8" y="369"/>
                  </a:moveTo>
                  <a:lnTo>
                    <a:pt x="8" y="371"/>
                  </a:lnTo>
                  <a:lnTo>
                    <a:pt x="8" y="369"/>
                  </a:lnTo>
                  <a:close/>
                  <a:moveTo>
                    <a:pt x="169" y="121"/>
                  </a:moveTo>
                  <a:lnTo>
                    <a:pt x="171" y="121"/>
                  </a:lnTo>
                  <a:lnTo>
                    <a:pt x="169" y="121"/>
                  </a:lnTo>
                  <a:close/>
                  <a:moveTo>
                    <a:pt x="25" y="321"/>
                  </a:moveTo>
                  <a:lnTo>
                    <a:pt x="27" y="321"/>
                  </a:lnTo>
                  <a:lnTo>
                    <a:pt x="27" y="323"/>
                  </a:lnTo>
                  <a:lnTo>
                    <a:pt x="25" y="323"/>
                  </a:lnTo>
                  <a:lnTo>
                    <a:pt x="25" y="321"/>
                  </a:lnTo>
                  <a:close/>
                  <a:moveTo>
                    <a:pt x="14" y="332"/>
                  </a:moveTo>
                  <a:lnTo>
                    <a:pt x="16" y="332"/>
                  </a:lnTo>
                  <a:lnTo>
                    <a:pt x="14" y="332"/>
                  </a:lnTo>
                  <a:close/>
                  <a:moveTo>
                    <a:pt x="18" y="332"/>
                  </a:moveTo>
                  <a:lnTo>
                    <a:pt x="18" y="334"/>
                  </a:lnTo>
                  <a:lnTo>
                    <a:pt x="18" y="332"/>
                  </a:lnTo>
                  <a:close/>
                  <a:moveTo>
                    <a:pt x="246" y="37"/>
                  </a:moveTo>
                  <a:lnTo>
                    <a:pt x="248" y="37"/>
                  </a:lnTo>
                  <a:lnTo>
                    <a:pt x="248" y="38"/>
                  </a:lnTo>
                  <a:lnTo>
                    <a:pt x="246" y="38"/>
                  </a:lnTo>
                  <a:lnTo>
                    <a:pt x="246" y="37"/>
                  </a:lnTo>
                  <a:close/>
                  <a:moveTo>
                    <a:pt x="4" y="352"/>
                  </a:moveTo>
                  <a:lnTo>
                    <a:pt x="6" y="352"/>
                  </a:lnTo>
                  <a:lnTo>
                    <a:pt x="6" y="353"/>
                  </a:lnTo>
                  <a:lnTo>
                    <a:pt x="4" y="353"/>
                  </a:lnTo>
                  <a:lnTo>
                    <a:pt x="4" y="352"/>
                  </a:lnTo>
                  <a:close/>
                  <a:moveTo>
                    <a:pt x="92" y="428"/>
                  </a:moveTo>
                  <a:lnTo>
                    <a:pt x="94" y="428"/>
                  </a:lnTo>
                  <a:lnTo>
                    <a:pt x="94" y="430"/>
                  </a:lnTo>
                  <a:lnTo>
                    <a:pt x="92" y="430"/>
                  </a:lnTo>
                  <a:lnTo>
                    <a:pt x="92" y="428"/>
                  </a:lnTo>
                  <a:close/>
                  <a:moveTo>
                    <a:pt x="56" y="302"/>
                  </a:moveTo>
                  <a:lnTo>
                    <a:pt x="58" y="302"/>
                  </a:lnTo>
                  <a:lnTo>
                    <a:pt x="56" y="302"/>
                  </a:lnTo>
                  <a:close/>
                  <a:moveTo>
                    <a:pt x="27" y="319"/>
                  </a:moveTo>
                  <a:lnTo>
                    <a:pt x="29" y="319"/>
                  </a:lnTo>
                  <a:lnTo>
                    <a:pt x="29" y="321"/>
                  </a:lnTo>
                  <a:lnTo>
                    <a:pt x="27" y="321"/>
                  </a:lnTo>
                  <a:lnTo>
                    <a:pt x="27" y="319"/>
                  </a:lnTo>
                  <a:close/>
                  <a:moveTo>
                    <a:pt x="29" y="321"/>
                  </a:moveTo>
                  <a:lnTo>
                    <a:pt x="31" y="321"/>
                  </a:lnTo>
                  <a:lnTo>
                    <a:pt x="31" y="323"/>
                  </a:lnTo>
                  <a:lnTo>
                    <a:pt x="29" y="323"/>
                  </a:lnTo>
                  <a:lnTo>
                    <a:pt x="29" y="321"/>
                  </a:lnTo>
                  <a:close/>
                  <a:moveTo>
                    <a:pt x="177" y="96"/>
                  </a:moveTo>
                  <a:lnTo>
                    <a:pt x="179" y="96"/>
                  </a:lnTo>
                  <a:lnTo>
                    <a:pt x="179" y="98"/>
                  </a:lnTo>
                  <a:lnTo>
                    <a:pt x="177" y="98"/>
                  </a:lnTo>
                  <a:lnTo>
                    <a:pt x="177" y="96"/>
                  </a:lnTo>
                  <a:close/>
                  <a:moveTo>
                    <a:pt x="234" y="54"/>
                  </a:moveTo>
                  <a:lnTo>
                    <a:pt x="236" y="54"/>
                  </a:lnTo>
                  <a:lnTo>
                    <a:pt x="236" y="56"/>
                  </a:lnTo>
                  <a:lnTo>
                    <a:pt x="234" y="56"/>
                  </a:lnTo>
                  <a:lnTo>
                    <a:pt x="234" y="54"/>
                  </a:lnTo>
                  <a:close/>
                  <a:moveTo>
                    <a:pt x="23" y="323"/>
                  </a:moveTo>
                  <a:lnTo>
                    <a:pt x="25" y="323"/>
                  </a:lnTo>
                  <a:lnTo>
                    <a:pt x="25" y="325"/>
                  </a:lnTo>
                  <a:lnTo>
                    <a:pt x="23" y="325"/>
                  </a:lnTo>
                  <a:lnTo>
                    <a:pt x="23" y="323"/>
                  </a:lnTo>
                  <a:close/>
                  <a:moveTo>
                    <a:pt x="58" y="292"/>
                  </a:moveTo>
                  <a:lnTo>
                    <a:pt x="60" y="292"/>
                  </a:lnTo>
                  <a:lnTo>
                    <a:pt x="60" y="294"/>
                  </a:lnTo>
                  <a:lnTo>
                    <a:pt x="58" y="294"/>
                  </a:lnTo>
                  <a:lnTo>
                    <a:pt x="58" y="292"/>
                  </a:lnTo>
                  <a:close/>
                  <a:moveTo>
                    <a:pt x="115" y="215"/>
                  </a:moveTo>
                  <a:lnTo>
                    <a:pt x="117" y="215"/>
                  </a:lnTo>
                  <a:lnTo>
                    <a:pt x="117" y="217"/>
                  </a:lnTo>
                  <a:lnTo>
                    <a:pt x="115" y="217"/>
                  </a:lnTo>
                  <a:lnTo>
                    <a:pt x="115" y="215"/>
                  </a:lnTo>
                  <a:close/>
                  <a:moveTo>
                    <a:pt x="154" y="123"/>
                  </a:moveTo>
                  <a:lnTo>
                    <a:pt x="154" y="125"/>
                  </a:lnTo>
                  <a:lnTo>
                    <a:pt x="154" y="123"/>
                  </a:lnTo>
                  <a:close/>
                  <a:moveTo>
                    <a:pt x="8" y="407"/>
                  </a:moveTo>
                  <a:lnTo>
                    <a:pt x="10" y="407"/>
                  </a:lnTo>
                  <a:lnTo>
                    <a:pt x="10" y="409"/>
                  </a:lnTo>
                  <a:lnTo>
                    <a:pt x="8" y="409"/>
                  </a:lnTo>
                  <a:lnTo>
                    <a:pt x="8" y="407"/>
                  </a:lnTo>
                  <a:close/>
                  <a:moveTo>
                    <a:pt x="29" y="453"/>
                  </a:moveTo>
                  <a:lnTo>
                    <a:pt x="31" y="453"/>
                  </a:lnTo>
                  <a:lnTo>
                    <a:pt x="31" y="455"/>
                  </a:lnTo>
                  <a:lnTo>
                    <a:pt x="29" y="455"/>
                  </a:lnTo>
                  <a:lnTo>
                    <a:pt x="29" y="453"/>
                  </a:lnTo>
                  <a:close/>
                  <a:moveTo>
                    <a:pt x="225" y="44"/>
                  </a:moveTo>
                  <a:lnTo>
                    <a:pt x="227" y="44"/>
                  </a:lnTo>
                  <a:lnTo>
                    <a:pt x="227" y="46"/>
                  </a:lnTo>
                  <a:lnTo>
                    <a:pt x="225" y="46"/>
                  </a:lnTo>
                  <a:lnTo>
                    <a:pt x="225" y="44"/>
                  </a:lnTo>
                  <a:close/>
                  <a:moveTo>
                    <a:pt x="16" y="407"/>
                  </a:moveTo>
                  <a:lnTo>
                    <a:pt x="16" y="409"/>
                  </a:lnTo>
                  <a:lnTo>
                    <a:pt x="16" y="407"/>
                  </a:lnTo>
                  <a:close/>
                  <a:moveTo>
                    <a:pt x="23" y="323"/>
                  </a:moveTo>
                  <a:lnTo>
                    <a:pt x="25" y="323"/>
                  </a:lnTo>
                  <a:lnTo>
                    <a:pt x="25" y="325"/>
                  </a:lnTo>
                  <a:lnTo>
                    <a:pt x="23" y="325"/>
                  </a:lnTo>
                  <a:lnTo>
                    <a:pt x="23" y="323"/>
                  </a:lnTo>
                  <a:close/>
                  <a:moveTo>
                    <a:pt x="198" y="67"/>
                  </a:moveTo>
                  <a:lnTo>
                    <a:pt x="200" y="67"/>
                  </a:lnTo>
                  <a:lnTo>
                    <a:pt x="198" y="67"/>
                  </a:lnTo>
                  <a:close/>
                  <a:moveTo>
                    <a:pt x="200" y="63"/>
                  </a:moveTo>
                  <a:lnTo>
                    <a:pt x="200" y="65"/>
                  </a:lnTo>
                  <a:lnTo>
                    <a:pt x="200" y="63"/>
                  </a:lnTo>
                  <a:close/>
                  <a:moveTo>
                    <a:pt x="292" y="8"/>
                  </a:moveTo>
                  <a:lnTo>
                    <a:pt x="296" y="8"/>
                  </a:lnTo>
                  <a:lnTo>
                    <a:pt x="296" y="10"/>
                  </a:lnTo>
                  <a:lnTo>
                    <a:pt x="292" y="10"/>
                  </a:lnTo>
                  <a:lnTo>
                    <a:pt x="292" y="8"/>
                  </a:lnTo>
                  <a:close/>
                  <a:moveTo>
                    <a:pt x="210" y="48"/>
                  </a:moveTo>
                  <a:lnTo>
                    <a:pt x="210" y="50"/>
                  </a:lnTo>
                  <a:lnTo>
                    <a:pt x="210" y="48"/>
                  </a:lnTo>
                  <a:close/>
                  <a:moveTo>
                    <a:pt x="163" y="129"/>
                  </a:moveTo>
                  <a:lnTo>
                    <a:pt x="165" y="129"/>
                  </a:lnTo>
                  <a:lnTo>
                    <a:pt x="165" y="131"/>
                  </a:lnTo>
                  <a:lnTo>
                    <a:pt x="163" y="131"/>
                  </a:lnTo>
                  <a:lnTo>
                    <a:pt x="163" y="129"/>
                  </a:lnTo>
                  <a:close/>
                  <a:moveTo>
                    <a:pt x="12" y="334"/>
                  </a:moveTo>
                  <a:lnTo>
                    <a:pt x="14" y="334"/>
                  </a:lnTo>
                  <a:lnTo>
                    <a:pt x="14" y="336"/>
                  </a:lnTo>
                  <a:lnTo>
                    <a:pt x="12" y="336"/>
                  </a:lnTo>
                  <a:lnTo>
                    <a:pt x="12" y="334"/>
                  </a:lnTo>
                  <a:close/>
                  <a:moveTo>
                    <a:pt x="71" y="290"/>
                  </a:moveTo>
                  <a:lnTo>
                    <a:pt x="71" y="292"/>
                  </a:lnTo>
                  <a:lnTo>
                    <a:pt x="71" y="290"/>
                  </a:lnTo>
                  <a:close/>
                  <a:moveTo>
                    <a:pt x="250" y="56"/>
                  </a:moveTo>
                  <a:lnTo>
                    <a:pt x="252" y="56"/>
                  </a:lnTo>
                  <a:lnTo>
                    <a:pt x="250" y="56"/>
                  </a:lnTo>
                  <a:close/>
                  <a:moveTo>
                    <a:pt x="12" y="423"/>
                  </a:moveTo>
                  <a:lnTo>
                    <a:pt x="12" y="425"/>
                  </a:lnTo>
                  <a:lnTo>
                    <a:pt x="12" y="423"/>
                  </a:lnTo>
                  <a:close/>
                  <a:moveTo>
                    <a:pt x="12" y="411"/>
                  </a:moveTo>
                  <a:lnTo>
                    <a:pt x="14" y="411"/>
                  </a:lnTo>
                  <a:lnTo>
                    <a:pt x="14" y="413"/>
                  </a:lnTo>
                  <a:lnTo>
                    <a:pt x="12" y="413"/>
                  </a:lnTo>
                  <a:lnTo>
                    <a:pt x="12" y="411"/>
                  </a:lnTo>
                  <a:close/>
                  <a:moveTo>
                    <a:pt x="114" y="211"/>
                  </a:moveTo>
                  <a:lnTo>
                    <a:pt x="115" y="211"/>
                  </a:lnTo>
                  <a:lnTo>
                    <a:pt x="115" y="215"/>
                  </a:lnTo>
                  <a:lnTo>
                    <a:pt x="114" y="215"/>
                  </a:lnTo>
                  <a:lnTo>
                    <a:pt x="114" y="211"/>
                  </a:lnTo>
                  <a:close/>
                  <a:moveTo>
                    <a:pt x="114" y="209"/>
                  </a:moveTo>
                  <a:lnTo>
                    <a:pt x="115" y="209"/>
                  </a:lnTo>
                  <a:lnTo>
                    <a:pt x="115" y="211"/>
                  </a:lnTo>
                  <a:lnTo>
                    <a:pt x="114" y="211"/>
                  </a:lnTo>
                  <a:lnTo>
                    <a:pt x="114" y="209"/>
                  </a:lnTo>
                  <a:close/>
                  <a:moveTo>
                    <a:pt x="16" y="430"/>
                  </a:moveTo>
                  <a:lnTo>
                    <a:pt x="18" y="430"/>
                  </a:lnTo>
                  <a:lnTo>
                    <a:pt x="16" y="430"/>
                  </a:lnTo>
                  <a:close/>
                  <a:moveTo>
                    <a:pt x="123" y="186"/>
                  </a:moveTo>
                  <a:lnTo>
                    <a:pt x="125" y="186"/>
                  </a:lnTo>
                  <a:lnTo>
                    <a:pt x="125" y="188"/>
                  </a:lnTo>
                  <a:lnTo>
                    <a:pt x="123" y="188"/>
                  </a:lnTo>
                  <a:lnTo>
                    <a:pt x="123" y="186"/>
                  </a:lnTo>
                  <a:close/>
                  <a:moveTo>
                    <a:pt x="225" y="52"/>
                  </a:moveTo>
                  <a:lnTo>
                    <a:pt x="227" y="52"/>
                  </a:lnTo>
                  <a:lnTo>
                    <a:pt x="227" y="54"/>
                  </a:lnTo>
                  <a:lnTo>
                    <a:pt x="225" y="54"/>
                  </a:lnTo>
                  <a:lnTo>
                    <a:pt x="225" y="52"/>
                  </a:lnTo>
                  <a:close/>
                  <a:moveTo>
                    <a:pt x="8" y="357"/>
                  </a:moveTo>
                  <a:lnTo>
                    <a:pt x="10" y="357"/>
                  </a:lnTo>
                  <a:lnTo>
                    <a:pt x="8" y="357"/>
                  </a:lnTo>
                  <a:close/>
                  <a:moveTo>
                    <a:pt x="110" y="236"/>
                  </a:moveTo>
                  <a:lnTo>
                    <a:pt x="110" y="238"/>
                  </a:lnTo>
                  <a:lnTo>
                    <a:pt x="110" y="236"/>
                  </a:lnTo>
                  <a:close/>
                  <a:moveTo>
                    <a:pt x="10" y="348"/>
                  </a:moveTo>
                  <a:lnTo>
                    <a:pt x="12" y="348"/>
                  </a:lnTo>
                  <a:lnTo>
                    <a:pt x="10" y="348"/>
                  </a:lnTo>
                  <a:close/>
                  <a:moveTo>
                    <a:pt x="154" y="148"/>
                  </a:moveTo>
                  <a:lnTo>
                    <a:pt x="156" y="148"/>
                  </a:lnTo>
                  <a:lnTo>
                    <a:pt x="154" y="148"/>
                  </a:lnTo>
                  <a:close/>
                  <a:moveTo>
                    <a:pt x="125" y="184"/>
                  </a:moveTo>
                  <a:lnTo>
                    <a:pt x="125" y="186"/>
                  </a:lnTo>
                  <a:lnTo>
                    <a:pt x="125" y="184"/>
                  </a:lnTo>
                  <a:close/>
                  <a:moveTo>
                    <a:pt x="16" y="411"/>
                  </a:moveTo>
                  <a:lnTo>
                    <a:pt x="18" y="411"/>
                  </a:lnTo>
                  <a:lnTo>
                    <a:pt x="18" y="413"/>
                  </a:lnTo>
                  <a:lnTo>
                    <a:pt x="16" y="413"/>
                  </a:lnTo>
                  <a:lnTo>
                    <a:pt x="16" y="411"/>
                  </a:lnTo>
                  <a:close/>
                  <a:moveTo>
                    <a:pt x="211" y="48"/>
                  </a:moveTo>
                  <a:lnTo>
                    <a:pt x="213" y="48"/>
                  </a:lnTo>
                  <a:lnTo>
                    <a:pt x="213" y="50"/>
                  </a:lnTo>
                  <a:lnTo>
                    <a:pt x="211" y="50"/>
                  </a:lnTo>
                  <a:lnTo>
                    <a:pt x="211" y="48"/>
                  </a:lnTo>
                  <a:close/>
                  <a:moveTo>
                    <a:pt x="223" y="42"/>
                  </a:moveTo>
                  <a:lnTo>
                    <a:pt x="223" y="44"/>
                  </a:lnTo>
                  <a:lnTo>
                    <a:pt x="223" y="42"/>
                  </a:lnTo>
                  <a:close/>
                  <a:moveTo>
                    <a:pt x="8" y="400"/>
                  </a:moveTo>
                  <a:lnTo>
                    <a:pt x="10" y="400"/>
                  </a:lnTo>
                  <a:lnTo>
                    <a:pt x="10" y="401"/>
                  </a:lnTo>
                  <a:lnTo>
                    <a:pt x="8" y="401"/>
                  </a:lnTo>
                  <a:lnTo>
                    <a:pt x="8" y="400"/>
                  </a:lnTo>
                  <a:close/>
                  <a:moveTo>
                    <a:pt x="8" y="359"/>
                  </a:moveTo>
                  <a:lnTo>
                    <a:pt x="10" y="359"/>
                  </a:lnTo>
                  <a:lnTo>
                    <a:pt x="8" y="359"/>
                  </a:lnTo>
                  <a:close/>
                  <a:moveTo>
                    <a:pt x="6" y="376"/>
                  </a:moveTo>
                  <a:lnTo>
                    <a:pt x="6" y="378"/>
                  </a:lnTo>
                  <a:lnTo>
                    <a:pt x="6" y="376"/>
                  </a:lnTo>
                  <a:close/>
                  <a:moveTo>
                    <a:pt x="60" y="286"/>
                  </a:moveTo>
                  <a:lnTo>
                    <a:pt x="62" y="286"/>
                  </a:lnTo>
                  <a:lnTo>
                    <a:pt x="60" y="286"/>
                  </a:lnTo>
                  <a:close/>
                  <a:moveTo>
                    <a:pt x="110" y="221"/>
                  </a:moveTo>
                  <a:lnTo>
                    <a:pt x="112" y="221"/>
                  </a:lnTo>
                  <a:lnTo>
                    <a:pt x="110" y="221"/>
                  </a:lnTo>
                  <a:close/>
                  <a:moveTo>
                    <a:pt x="114" y="240"/>
                  </a:moveTo>
                  <a:lnTo>
                    <a:pt x="115" y="240"/>
                  </a:lnTo>
                  <a:lnTo>
                    <a:pt x="115" y="242"/>
                  </a:lnTo>
                  <a:lnTo>
                    <a:pt x="114" y="242"/>
                  </a:lnTo>
                  <a:lnTo>
                    <a:pt x="114" y="240"/>
                  </a:lnTo>
                  <a:close/>
                  <a:moveTo>
                    <a:pt x="20" y="428"/>
                  </a:moveTo>
                  <a:lnTo>
                    <a:pt x="21" y="428"/>
                  </a:lnTo>
                  <a:lnTo>
                    <a:pt x="21" y="430"/>
                  </a:lnTo>
                  <a:lnTo>
                    <a:pt x="20" y="430"/>
                  </a:lnTo>
                  <a:lnTo>
                    <a:pt x="20" y="428"/>
                  </a:lnTo>
                  <a:close/>
                  <a:moveTo>
                    <a:pt x="2" y="365"/>
                  </a:moveTo>
                  <a:lnTo>
                    <a:pt x="4" y="365"/>
                  </a:lnTo>
                  <a:lnTo>
                    <a:pt x="2" y="365"/>
                  </a:lnTo>
                  <a:close/>
                  <a:moveTo>
                    <a:pt x="133" y="179"/>
                  </a:moveTo>
                  <a:lnTo>
                    <a:pt x="135" y="179"/>
                  </a:lnTo>
                  <a:lnTo>
                    <a:pt x="133" y="179"/>
                  </a:lnTo>
                  <a:close/>
                  <a:moveTo>
                    <a:pt x="4" y="388"/>
                  </a:moveTo>
                  <a:lnTo>
                    <a:pt x="6" y="388"/>
                  </a:lnTo>
                  <a:lnTo>
                    <a:pt x="4" y="388"/>
                  </a:lnTo>
                  <a:close/>
                  <a:moveTo>
                    <a:pt x="169" y="104"/>
                  </a:moveTo>
                  <a:lnTo>
                    <a:pt x="171" y="104"/>
                  </a:lnTo>
                  <a:lnTo>
                    <a:pt x="171" y="106"/>
                  </a:lnTo>
                  <a:lnTo>
                    <a:pt x="169" y="106"/>
                  </a:lnTo>
                  <a:lnTo>
                    <a:pt x="169" y="104"/>
                  </a:lnTo>
                  <a:close/>
                  <a:moveTo>
                    <a:pt x="27" y="321"/>
                  </a:moveTo>
                  <a:lnTo>
                    <a:pt x="27" y="323"/>
                  </a:lnTo>
                  <a:lnTo>
                    <a:pt x="27" y="321"/>
                  </a:lnTo>
                  <a:close/>
                  <a:moveTo>
                    <a:pt x="8" y="346"/>
                  </a:moveTo>
                  <a:lnTo>
                    <a:pt x="8" y="348"/>
                  </a:lnTo>
                  <a:lnTo>
                    <a:pt x="8" y="346"/>
                  </a:lnTo>
                  <a:close/>
                  <a:moveTo>
                    <a:pt x="18" y="332"/>
                  </a:moveTo>
                  <a:lnTo>
                    <a:pt x="20" y="332"/>
                  </a:lnTo>
                  <a:lnTo>
                    <a:pt x="20" y="334"/>
                  </a:lnTo>
                  <a:lnTo>
                    <a:pt x="18" y="334"/>
                  </a:lnTo>
                  <a:lnTo>
                    <a:pt x="18" y="332"/>
                  </a:lnTo>
                  <a:close/>
                  <a:moveTo>
                    <a:pt x="48" y="311"/>
                  </a:moveTo>
                  <a:lnTo>
                    <a:pt x="48" y="313"/>
                  </a:lnTo>
                  <a:lnTo>
                    <a:pt x="48" y="311"/>
                  </a:lnTo>
                  <a:close/>
                  <a:moveTo>
                    <a:pt x="123" y="188"/>
                  </a:moveTo>
                  <a:lnTo>
                    <a:pt x="125" y="188"/>
                  </a:lnTo>
                  <a:lnTo>
                    <a:pt x="125" y="190"/>
                  </a:lnTo>
                  <a:lnTo>
                    <a:pt x="123" y="190"/>
                  </a:lnTo>
                  <a:lnTo>
                    <a:pt x="123" y="188"/>
                  </a:lnTo>
                  <a:close/>
                  <a:moveTo>
                    <a:pt x="4" y="355"/>
                  </a:moveTo>
                  <a:lnTo>
                    <a:pt x="6" y="355"/>
                  </a:lnTo>
                  <a:lnTo>
                    <a:pt x="6" y="357"/>
                  </a:lnTo>
                  <a:lnTo>
                    <a:pt x="4" y="357"/>
                  </a:lnTo>
                  <a:lnTo>
                    <a:pt x="4" y="355"/>
                  </a:lnTo>
                  <a:close/>
                  <a:moveTo>
                    <a:pt x="110" y="227"/>
                  </a:moveTo>
                  <a:lnTo>
                    <a:pt x="112" y="227"/>
                  </a:lnTo>
                  <a:lnTo>
                    <a:pt x="112" y="229"/>
                  </a:lnTo>
                  <a:lnTo>
                    <a:pt x="110" y="229"/>
                  </a:lnTo>
                  <a:lnTo>
                    <a:pt x="110" y="227"/>
                  </a:lnTo>
                  <a:close/>
                  <a:moveTo>
                    <a:pt x="112" y="223"/>
                  </a:moveTo>
                  <a:lnTo>
                    <a:pt x="112" y="225"/>
                  </a:lnTo>
                  <a:lnTo>
                    <a:pt x="112" y="223"/>
                  </a:lnTo>
                  <a:close/>
                  <a:moveTo>
                    <a:pt x="273" y="46"/>
                  </a:moveTo>
                  <a:lnTo>
                    <a:pt x="275" y="46"/>
                  </a:lnTo>
                  <a:lnTo>
                    <a:pt x="275" y="48"/>
                  </a:lnTo>
                  <a:lnTo>
                    <a:pt x="273" y="48"/>
                  </a:lnTo>
                  <a:lnTo>
                    <a:pt x="273" y="46"/>
                  </a:lnTo>
                  <a:close/>
                  <a:moveTo>
                    <a:pt x="244" y="50"/>
                  </a:moveTo>
                  <a:lnTo>
                    <a:pt x="246" y="50"/>
                  </a:lnTo>
                  <a:lnTo>
                    <a:pt x="246" y="52"/>
                  </a:lnTo>
                  <a:lnTo>
                    <a:pt x="244" y="52"/>
                  </a:lnTo>
                  <a:lnTo>
                    <a:pt x="244" y="50"/>
                  </a:lnTo>
                  <a:close/>
                  <a:moveTo>
                    <a:pt x="117" y="215"/>
                  </a:moveTo>
                  <a:lnTo>
                    <a:pt x="117" y="217"/>
                  </a:lnTo>
                  <a:lnTo>
                    <a:pt x="117" y="215"/>
                  </a:lnTo>
                  <a:close/>
                  <a:moveTo>
                    <a:pt x="92" y="246"/>
                  </a:moveTo>
                  <a:lnTo>
                    <a:pt x="94" y="246"/>
                  </a:lnTo>
                  <a:lnTo>
                    <a:pt x="92" y="246"/>
                  </a:lnTo>
                  <a:close/>
                  <a:moveTo>
                    <a:pt x="137" y="169"/>
                  </a:moveTo>
                  <a:lnTo>
                    <a:pt x="139" y="169"/>
                  </a:lnTo>
                  <a:lnTo>
                    <a:pt x="137" y="169"/>
                  </a:lnTo>
                  <a:close/>
                  <a:moveTo>
                    <a:pt x="94" y="430"/>
                  </a:moveTo>
                  <a:lnTo>
                    <a:pt x="94" y="432"/>
                  </a:lnTo>
                  <a:lnTo>
                    <a:pt x="94" y="430"/>
                  </a:lnTo>
                  <a:close/>
                  <a:moveTo>
                    <a:pt x="150" y="102"/>
                  </a:moveTo>
                  <a:lnTo>
                    <a:pt x="152" y="102"/>
                  </a:lnTo>
                  <a:lnTo>
                    <a:pt x="152" y="104"/>
                  </a:lnTo>
                  <a:lnTo>
                    <a:pt x="150" y="104"/>
                  </a:lnTo>
                  <a:lnTo>
                    <a:pt x="150" y="102"/>
                  </a:lnTo>
                  <a:close/>
                  <a:moveTo>
                    <a:pt x="10" y="342"/>
                  </a:moveTo>
                  <a:lnTo>
                    <a:pt x="12" y="342"/>
                  </a:lnTo>
                  <a:lnTo>
                    <a:pt x="12" y="344"/>
                  </a:lnTo>
                  <a:lnTo>
                    <a:pt x="10" y="344"/>
                  </a:lnTo>
                  <a:lnTo>
                    <a:pt x="10" y="342"/>
                  </a:lnTo>
                  <a:close/>
                  <a:moveTo>
                    <a:pt x="98" y="246"/>
                  </a:moveTo>
                  <a:lnTo>
                    <a:pt x="100" y="246"/>
                  </a:lnTo>
                  <a:lnTo>
                    <a:pt x="100" y="248"/>
                  </a:lnTo>
                  <a:lnTo>
                    <a:pt x="98" y="248"/>
                  </a:lnTo>
                  <a:lnTo>
                    <a:pt x="98" y="246"/>
                  </a:lnTo>
                  <a:close/>
                  <a:moveTo>
                    <a:pt x="71" y="284"/>
                  </a:moveTo>
                  <a:lnTo>
                    <a:pt x="71" y="286"/>
                  </a:lnTo>
                  <a:lnTo>
                    <a:pt x="71" y="284"/>
                  </a:lnTo>
                  <a:close/>
                  <a:moveTo>
                    <a:pt x="68" y="440"/>
                  </a:moveTo>
                  <a:lnTo>
                    <a:pt x="69" y="440"/>
                  </a:lnTo>
                  <a:lnTo>
                    <a:pt x="68" y="440"/>
                  </a:lnTo>
                  <a:close/>
                  <a:moveTo>
                    <a:pt x="148" y="163"/>
                  </a:moveTo>
                  <a:lnTo>
                    <a:pt x="150" y="163"/>
                  </a:lnTo>
                  <a:lnTo>
                    <a:pt x="150" y="165"/>
                  </a:lnTo>
                  <a:lnTo>
                    <a:pt x="148" y="165"/>
                  </a:lnTo>
                  <a:lnTo>
                    <a:pt x="148" y="163"/>
                  </a:lnTo>
                  <a:close/>
                  <a:moveTo>
                    <a:pt x="16" y="332"/>
                  </a:moveTo>
                  <a:lnTo>
                    <a:pt x="18" y="332"/>
                  </a:lnTo>
                  <a:lnTo>
                    <a:pt x="18" y="334"/>
                  </a:lnTo>
                  <a:lnTo>
                    <a:pt x="16" y="334"/>
                  </a:lnTo>
                  <a:lnTo>
                    <a:pt x="16" y="332"/>
                  </a:lnTo>
                  <a:close/>
                  <a:moveTo>
                    <a:pt x="52" y="302"/>
                  </a:moveTo>
                  <a:lnTo>
                    <a:pt x="54" y="302"/>
                  </a:lnTo>
                  <a:lnTo>
                    <a:pt x="54" y="304"/>
                  </a:lnTo>
                  <a:lnTo>
                    <a:pt x="52" y="304"/>
                  </a:lnTo>
                  <a:lnTo>
                    <a:pt x="52" y="302"/>
                  </a:lnTo>
                  <a:close/>
                  <a:moveTo>
                    <a:pt x="12" y="336"/>
                  </a:moveTo>
                  <a:lnTo>
                    <a:pt x="14" y="336"/>
                  </a:lnTo>
                  <a:lnTo>
                    <a:pt x="14" y="338"/>
                  </a:lnTo>
                  <a:lnTo>
                    <a:pt x="12" y="338"/>
                  </a:lnTo>
                  <a:lnTo>
                    <a:pt x="12" y="336"/>
                  </a:lnTo>
                  <a:close/>
                  <a:moveTo>
                    <a:pt x="114" y="204"/>
                  </a:moveTo>
                  <a:lnTo>
                    <a:pt x="115" y="204"/>
                  </a:lnTo>
                  <a:lnTo>
                    <a:pt x="115" y="206"/>
                  </a:lnTo>
                  <a:lnTo>
                    <a:pt x="114" y="206"/>
                  </a:lnTo>
                  <a:lnTo>
                    <a:pt x="114" y="204"/>
                  </a:lnTo>
                  <a:close/>
                  <a:moveTo>
                    <a:pt x="6" y="357"/>
                  </a:moveTo>
                  <a:lnTo>
                    <a:pt x="6" y="359"/>
                  </a:lnTo>
                  <a:lnTo>
                    <a:pt x="6" y="357"/>
                  </a:lnTo>
                  <a:close/>
                  <a:moveTo>
                    <a:pt x="92" y="430"/>
                  </a:moveTo>
                  <a:lnTo>
                    <a:pt x="94" y="430"/>
                  </a:lnTo>
                  <a:lnTo>
                    <a:pt x="92" y="430"/>
                  </a:lnTo>
                  <a:close/>
                  <a:moveTo>
                    <a:pt x="8" y="403"/>
                  </a:moveTo>
                  <a:lnTo>
                    <a:pt x="8" y="405"/>
                  </a:lnTo>
                  <a:lnTo>
                    <a:pt x="8" y="403"/>
                  </a:lnTo>
                  <a:close/>
                  <a:moveTo>
                    <a:pt x="8" y="398"/>
                  </a:moveTo>
                  <a:lnTo>
                    <a:pt x="8" y="400"/>
                  </a:lnTo>
                  <a:lnTo>
                    <a:pt x="8" y="398"/>
                  </a:lnTo>
                  <a:close/>
                  <a:moveTo>
                    <a:pt x="112" y="209"/>
                  </a:moveTo>
                  <a:lnTo>
                    <a:pt x="114" y="209"/>
                  </a:lnTo>
                  <a:lnTo>
                    <a:pt x="114" y="211"/>
                  </a:lnTo>
                  <a:lnTo>
                    <a:pt x="112" y="211"/>
                  </a:lnTo>
                  <a:lnTo>
                    <a:pt x="112" y="209"/>
                  </a:lnTo>
                  <a:close/>
                  <a:moveTo>
                    <a:pt x="92" y="246"/>
                  </a:moveTo>
                  <a:lnTo>
                    <a:pt x="94" y="246"/>
                  </a:lnTo>
                  <a:lnTo>
                    <a:pt x="92" y="246"/>
                  </a:lnTo>
                  <a:close/>
                  <a:moveTo>
                    <a:pt x="62" y="448"/>
                  </a:moveTo>
                  <a:lnTo>
                    <a:pt x="62" y="449"/>
                  </a:lnTo>
                  <a:lnTo>
                    <a:pt x="62" y="448"/>
                  </a:lnTo>
                  <a:close/>
                  <a:moveTo>
                    <a:pt x="2" y="380"/>
                  </a:moveTo>
                  <a:lnTo>
                    <a:pt x="4" y="380"/>
                  </a:lnTo>
                  <a:lnTo>
                    <a:pt x="4" y="382"/>
                  </a:lnTo>
                  <a:lnTo>
                    <a:pt x="2" y="382"/>
                  </a:lnTo>
                  <a:lnTo>
                    <a:pt x="2" y="380"/>
                  </a:lnTo>
                  <a:close/>
                  <a:moveTo>
                    <a:pt x="64" y="446"/>
                  </a:moveTo>
                  <a:lnTo>
                    <a:pt x="66" y="446"/>
                  </a:lnTo>
                  <a:lnTo>
                    <a:pt x="66" y="448"/>
                  </a:lnTo>
                  <a:lnTo>
                    <a:pt x="64" y="448"/>
                  </a:lnTo>
                  <a:lnTo>
                    <a:pt x="64" y="446"/>
                  </a:lnTo>
                  <a:close/>
                  <a:moveTo>
                    <a:pt x="4" y="384"/>
                  </a:moveTo>
                  <a:lnTo>
                    <a:pt x="4" y="386"/>
                  </a:lnTo>
                  <a:lnTo>
                    <a:pt x="4" y="384"/>
                  </a:lnTo>
                  <a:close/>
                  <a:moveTo>
                    <a:pt x="373" y="58"/>
                  </a:moveTo>
                  <a:lnTo>
                    <a:pt x="375" y="58"/>
                  </a:lnTo>
                  <a:lnTo>
                    <a:pt x="375" y="60"/>
                  </a:lnTo>
                  <a:lnTo>
                    <a:pt x="373" y="60"/>
                  </a:lnTo>
                  <a:lnTo>
                    <a:pt x="373" y="58"/>
                  </a:lnTo>
                  <a:close/>
                  <a:moveTo>
                    <a:pt x="137" y="161"/>
                  </a:moveTo>
                  <a:lnTo>
                    <a:pt x="139" y="161"/>
                  </a:lnTo>
                  <a:lnTo>
                    <a:pt x="139" y="163"/>
                  </a:lnTo>
                  <a:lnTo>
                    <a:pt x="137" y="163"/>
                  </a:lnTo>
                  <a:lnTo>
                    <a:pt x="137" y="161"/>
                  </a:lnTo>
                  <a:close/>
                  <a:moveTo>
                    <a:pt x="125" y="186"/>
                  </a:moveTo>
                  <a:lnTo>
                    <a:pt x="125" y="188"/>
                  </a:lnTo>
                  <a:lnTo>
                    <a:pt x="125" y="186"/>
                  </a:lnTo>
                  <a:close/>
                  <a:moveTo>
                    <a:pt x="23" y="327"/>
                  </a:moveTo>
                  <a:lnTo>
                    <a:pt x="23" y="328"/>
                  </a:lnTo>
                  <a:lnTo>
                    <a:pt x="23" y="327"/>
                  </a:lnTo>
                  <a:close/>
                  <a:moveTo>
                    <a:pt x="66" y="290"/>
                  </a:moveTo>
                  <a:lnTo>
                    <a:pt x="68" y="290"/>
                  </a:lnTo>
                  <a:lnTo>
                    <a:pt x="66" y="290"/>
                  </a:lnTo>
                  <a:close/>
                  <a:moveTo>
                    <a:pt x="8" y="355"/>
                  </a:moveTo>
                  <a:lnTo>
                    <a:pt x="10" y="355"/>
                  </a:lnTo>
                  <a:lnTo>
                    <a:pt x="8" y="355"/>
                  </a:lnTo>
                  <a:close/>
                  <a:moveTo>
                    <a:pt x="204" y="50"/>
                  </a:moveTo>
                  <a:lnTo>
                    <a:pt x="206" y="50"/>
                  </a:lnTo>
                  <a:lnTo>
                    <a:pt x="206" y="52"/>
                  </a:lnTo>
                  <a:lnTo>
                    <a:pt x="204" y="52"/>
                  </a:lnTo>
                  <a:lnTo>
                    <a:pt x="204" y="50"/>
                  </a:lnTo>
                  <a:close/>
                  <a:moveTo>
                    <a:pt x="4" y="386"/>
                  </a:moveTo>
                  <a:lnTo>
                    <a:pt x="6" y="386"/>
                  </a:lnTo>
                  <a:lnTo>
                    <a:pt x="6" y="388"/>
                  </a:lnTo>
                  <a:lnTo>
                    <a:pt x="4" y="388"/>
                  </a:lnTo>
                  <a:lnTo>
                    <a:pt x="4" y="386"/>
                  </a:lnTo>
                  <a:close/>
                  <a:moveTo>
                    <a:pt x="71" y="436"/>
                  </a:moveTo>
                  <a:lnTo>
                    <a:pt x="73" y="436"/>
                  </a:lnTo>
                  <a:lnTo>
                    <a:pt x="73" y="438"/>
                  </a:lnTo>
                  <a:lnTo>
                    <a:pt x="71" y="438"/>
                  </a:lnTo>
                  <a:lnTo>
                    <a:pt x="71" y="436"/>
                  </a:lnTo>
                  <a:close/>
                  <a:moveTo>
                    <a:pt x="16" y="330"/>
                  </a:moveTo>
                  <a:lnTo>
                    <a:pt x="18" y="330"/>
                  </a:lnTo>
                  <a:lnTo>
                    <a:pt x="18" y="332"/>
                  </a:lnTo>
                  <a:lnTo>
                    <a:pt x="16" y="332"/>
                  </a:lnTo>
                  <a:lnTo>
                    <a:pt x="16" y="330"/>
                  </a:lnTo>
                  <a:close/>
                  <a:moveTo>
                    <a:pt x="46" y="307"/>
                  </a:moveTo>
                  <a:lnTo>
                    <a:pt x="48" y="307"/>
                  </a:lnTo>
                  <a:lnTo>
                    <a:pt x="48" y="309"/>
                  </a:lnTo>
                  <a:lnTo>
                    <a:pt x="46" y="309"/>
                  </a:lnTo>
                  <a:lnTo>
                    <a:pt x="46" y="307"/>
                  </a:lnTo>
                  <a:close/>
                  <a:moveTo>
                    <a:pt x="133" y="177"/>
                  </a:moveTo>
                  <a:lnTo>
                    <a:pt x="133" y="179"/>
                  </a:lnTo>
                  <a:lnTo>
                    <a:pt x="133" y="177"/>
                  </a:lnTo>
                  <a:close/>
                  <a:moveTo>
                    <a:pt x="150" y="102"/>
                  </a:moveTo>
                  <a:lnTo>
                    <a:pt x="150" y="104"/>
                  </a:lnTo>
                  <a:lnTo>
                    <a:pt x="150" y="102"/>
                  </a:lnTo>
                  <a:close/>
                  <a:moveTo>
                    <a:pt x="167" y="100"/>
                  </a:moveTo>
                  <a:lnTo>
                    <a:pt x="169" y="100"/>
                  </a:lnTo>
                  <a:lnTo>
                    <a:pt x="169" y="102"/>
                  </a:lnTo>
                  <a:lnTo>
                    <a:pt x="167" y="102"/>
                  </a:lnTo>
                  <a:lnTo>
                    <a:pt x="167" y="100"/>
                  </a:lnTo>
                  <a:close/>
                  <a:moveTo>
                    <a:pt x="10" y="407"/>
                  </a:moveTo>
                  <a:lnTo>
                    <a:pt x="12" y="407"/>
                  </a:lnTo>
                  <a:lnTo>
                    <a:pt x="12" y="409"/>
                  </a:lnTo>
                  <a:lnTo>
                    <a:pt x="10" y="409"/>
                  </a:lnTo>
                  <a:lnTo>
                    <a:pt x="10" y="407"/>
                  </a:lnTo>
                  <a:close/>
                  <a:moveTo>
                    <a:pt x="150" y="100"/>
                  </a:moveTo>
                  <a:lnTo>
                    <a:pt x="150" y="102"/>
                  </a:lnTo>
                  <a:lnTo>
                    <a:pt x="150" y="100"/>
                  </a:lnTo>
                  <a:close/>
                  <a:moveTo>
                    <a:pt x="271" y="15"/>
                  </a:moveTo>
                  <a:lnTo>
                    <a:pt x="271" y="17"/>
                  </a:lnTo>
                  <a:lnTo>
                    <a:pt x="271" y="15"/>
                  </a:lnTo>
                  <a:close/>
                  <a:moveTo>
                    <a:pt x="4" y="373"/>
                  </a:moveTo>
                  <a:lnTo>
                    <a:pt x="6" y="373"/>
                  </a:lnTo>
                  <a:lnTo>
                    <a:pt x="4" y="373"/>
                  </a:lnTo>
                  <a:close/>
                  <a:moveTo>
                    <a:pt x="6" y="380"/>
                  </a:moveTo>
                  <a:lnTo>
                    <a:pt x="8" y="380"/>
                  </a:lnTo>
                  <a:lnTo>
                    <a:pt x="8" y="382"/>
                  </a:lnTo>
                  <a:lnTo>
                    <a:pt x="6" y="382"/>
                  </a:lnTo>
                  <a:lnTo>
                    <a:pt x="6" y="380"/>
                  </a:lnTo>
                  <a:close/>
                  <a:moveTo>
                    <a:pt x="20" y="403"/>
                  </a:moveTo>
                  <a:lnTo>
                    <a:pt x="21" y="403"/>
                  </a:lnTo>
                  <a:lnTo>
                    <a:pt x="21" y="405"/>
                  </a:lnTo>
                  <a:lnTo>
                    <a:pt x="20" y="405"/>
                  </a:lnTo>
                  <a:lnTo>
                    <a:pt x="20" y="403"/>
                  </a:lnTo>
                  <a:close/>
                  <a:moveTo>
                    <a:pt x="330" y="17"/>
                  </a:moveTo>
                  <a:lnTo>
                    <a:pt x="332" y="17"/>
                  </a:lnTo>
                  <a:lnTo>
                    <a:pt x="332" y="19"/>
                  </a:lnTo>
                  <a:lnTo>
                    <a:pt x="330" y="19"/>
                  </a:lnTo>
                  <a:lnTo>
                    <a:pt x="330" y="17"/>
                  </a:lnTo>
                  <a:close/>
                  <a:moveTo>
                    <a:pt x="50" y="459"/>
                  </a:moveTo>
                  <a:lnTo>
                    <a:pt x="52" y="459"/>
                  </a:lnTo>
                  <a:lnTo>
                    <a:pt x="50" y="459"/>
                  </a:lnTo>
                  <a:close/>
                  <a:moveTo>
                    <a:pt x="114" y="196"/>
                  </a:moveTo>
                  <a:lnTo>
                    <a:pt x="115" y="196"/>
                  </a:lnTo>
                  <a:lnTo>
                    <a:pt x="115" y="198"/>
                  </a:lnTo>
                  <a:lnTo>
                    <a:pt x="114" y="198"/>
                  </a:lnTo>
                  <a:lnTo>
                    <a:pt x="114" y="196"/>
                  </a:lnTo>
                  <a:close/>
                  <a:moveTo>
                    <a:pt x="4" y="425"/>
                  </a:moveTo>
                  <a:lnTo>
                    <a:pt x="6" y="425"/>
                  </a:lnTo>
                  <a:lnTo>
                    <a:pt x="4" y="425"/>
                  </a:lnTo>
                  <a:close/>
                  <a:moveTo>
                    <a:pt x="112" y="209"/>
                  </a:moveTo>
                  <a:lnTo>
                    <a:pt x="114" y="209"/>
                  </a:lnTo>
                  <a:lnTo>
                    <a:pt x="114" y="211"/>
                  </a:lnTo>
                  <a:lnTo>
                    <a:pt x="112" y="211"/>
                  </a:lnTo>
                  <a:lnTo>
                    <a:pt x="112" y="209"/>
                  </a:lnTo>
                  <a:close/>
                  <a:moveTo>
                    <a:pt x="252" y="56"/>
                  </a:moveTo>
                  <a:lnTo>
                    <a:pt x="254" y="56"/>
                  </a:lnTo>
                  <a:lnTo>
                    <a:pt x="254" y="58"/>
                  </a:lnTo>
                  <a:lnTo>
                    <a:pt x="252" y="58"/>
                  </a:lnTo>
                  <a:lnTo>
                    <a:pt x="252" y="56"/>
                  </a:lnTo>
                  <a:close/>
                  <a:moveTo>
                    <a:pt x="104" y="242"/>
                  </a:moveTo>
                  <a:lnTo>
                    <a:pt x="106" y="242"/>
                  </a:lnTo>
                  <a:lnTo>
                    <a:pt x="106" y="244"/>
                  </a:lnTo>
                  <a:lnTo>
                    <a:pt x="104" y="244"/>
                  </a:lnTo>
                  <a:lnTo>
                    <a:pt x="104" y="242"/>
                  </a:lnTo>
                  <a:close/>
                  <a:moveTo>
                    <a:pt x="211" y="44"/>
                  </a:moveTo>
                  <a:lnTo>
                    <a:pt x="211" y="46"/>
                  </a:lnTo>
                  <a:lnTo>
                    <a:pt x="211" y="44"/>
                  </a:lnTo>
                  <a:close/>
                  <a:moveTo>
                    <a:pt x="100" y="246"/>
                  </a:moveTo>
                  <a:lnTo>
                    <a:pt x="102" y="246"/>
                  </a:lnTo>
                  <a:lnTo>
                    <a:pt x="102" y="248"/>
                  </a:lnTo>
                  <a:lnTo>
                    <a:pt x="100" y="248"/>
                  </a:lnTo>
                  <a:lnTo>
                    <a:pt x="100" y="246"/>
                  </a:lnTo>
                  <a:close/>
                  <a:moveTo>
                    <a:pt x="4" y="357"/>
                  </a:moveTo>
                  <a:lnTo>
                    <a:pt x="6" y="357"/>
                  </a:lnTo>
                  <a:lnTo>
                    <a:pt x="4" y="357"/>
                  </a:lnTo>
                  <a:close/>
                  <a:moveTo>
                    <a:pt x="91" y="261"/>
                  </a:moveTo>
                  <a:lnTo>
                    <a:pt x="92" y="261"/>
                  </a:lnTo>
                  <a:lnTo>
                    <a:pt x="91" y="261"/>
                  </a:lnTo>
                  <a:close/>
                  <a:moveTo>
                    <a:pt x="8" y="400"/>
                  </a:moveTo>
                  <a:lnTo>
                    <a:pt x="8" y="401"/>
                  </a:lnTo>
                  <a:lnTo>
                    <a:pt x="8" y="400"/>
                  </a:lnTo>
                  <a:close/>
                  <a:moveTo>
                    <a:pt x="137" y="171"/>
                  </a:moveTo>
                  <a:lnTo>
                    <a:pt x="139" y="171"/>
                  </a:lnTo>
                  <a:lnTo>
                    <a:pt x="139" y="173"/>
                  </a:lnTo>
                  <a:lnTo>
                    <a:pt x="137" y="173"/>
                  </a:lnTo>
                  <a:lnTo>
                    <a:pt x="137" y="171"/>
                  </a:lnTo>
                  <a:close/>
                  <a:moveTo>
                    <a:pt x="139" y="167"/>
                  </a:moveTo>
                  <a:lnTo>
                    <a:pt x="139" y="169"/>
                  </a:lnTo>
                  <a:lnTo>
                    <a:pt x="139" y="167"/>
                  </a:lnTo>
                  <a:close/>
                  <a:moveTo>
                    <a:pt x="23" y="328"/>
                  </a:moveTo>
                  <a:lnTo>
                    <a:pt x="25" y="328"/>
                  </a:lnTo>
                  <a:lnTo>
                    <a:pt x="23" y="328"/>
                  </a:lnTo>
                  <a:close/>
                  <a:moveTo>
                    <a:pt x="6" y="355"/>
                  </a:moveTo>
                  <a:lnTo>
                    <a:pt x="8" y="355"/>
                  </a:lnTo>
                  <a:lnTo>
                    <a:pt x="8" y="357"/>
                  </a:lnTo>
                  <a:lnTo>
                    <a:pt x="6" y="357"/>
                  </a:lnTo>
                  <a:lnTo>
                    <a:pt x="6" y="355"/>
                  </a:lnTo>
                  <a:close/>
                  <a:moveTo>
                    <a:pt x="288" y="13"/>
                  </a:moveTo>
                  <a:lnTo>
                    <a:pt x="290" y="13"/>
                  </a:lnTo>
                  <a:lnTo>
                    <a:pt x="290" y="15"/>
                  </a:lnTo>
                  <a:lnTo>
                    <a:pt x="288" y="15"/>
                  </a:lnTo>
                  <a:lnTo>
                    <a:pt x="288" y="13"/>
                  </a:lnTo>
                  <a:close/>
                  <a:moveTo>
                    <a:pt x="323" y="33"/>
                  </a:moveTo>
                  <a:lnTo>
                    <a:pt x="323" y="35"/>
                  </a:lnTo>
                  <a:lnTo>
                    <a:pt x="323" y="33"/>
                  </a:lnTo>
                  <a:close/>
                  <a:moveTo>
                    <a:pt x="52" y="304"/>
                  </a:moveTo>
                  <a:lnTo>
                    <a:pt x="54" y="304"/>
                  </a:lnTo>
                  <a:lnTo>
                    <a:pt x="54" y="305"/>
                  </a:lnTo>
                  <a:lnTo>
                    <a:pt x="52" y="305"/>
                  </a:lnTo>
                  <a:lnTo>
                    <a:pt x="52" y="304"/>
                  </a:lnTo>
                  <a:close/>
                  <a:moveTo>
                    <a:pt x="96" y="244"/>
                  </a:moveTo>
                  <a:lnTo>
                    <a:pt x="96" y="246"/>
                  </a:lnTo>
                  <a:lnTo>
                    <a:pt x="96" y="244"/>
                  </a:lnTo>
                  <a:close/>
                  <a:moveTo>
                    <a:pt x="181" y="115"/>
                  </a:moveTo>
                  <a:lnTo>
                    <a:pt x="183" y="115"/>
                  </a:lnTo>
                  <a:lnTo>
                    <a:pt x="181" y="115"/>
                  </a:lnTo>
                  <a:close/>
                  <a:moveTo>
                    <a:pt x="29" y="453"/>
                  </a:moveTo>
                  <a:lnTo>
                    <a:pt x="29" y="455"/>
                  </a:lnTo>
                  <a:lnTo>
                    <a:pt x="29" y="453"/>
                  </a:lnTo>
                  <a:close/>
                  <a:moveTo>
                    <a:pt x="388" y="35"/>
                  </a:moveTo>
                  <a:lnTo>
                    <a:pt x="390" y="35"/>
                  </a:lnTo>
                  <a:lnTo>
                    <a:pt x="390" y="37"/>
                  </a:lnTo>
                  <a:lnTo>
                    <a:pt x="388" y="37"/>
                  </a:lnTo>
                  <a:lnTo>
                    <a:pt x="388" y="35"/>
                  </a:lnTo>
                  <a:close/>
                  <a:moveTo>
                    <a:pt x="39" y="321"/>
                  </a:moveTo>
                  <a:lnTo>
                    <a:pt x="41" y="321"/>
                  </a:lnTo>
                  <a:lnTo>
                    <a:pt x="39" y="321"/>
                  </a:lnTo>
                  <a:close/>
                  <a:moveTo>
                    <a:pt x="20" y="425"/>
                  </a:moveTo>
                  <a:lnTo>
                    <a:pt x="20" y="426"/>
                  </a:lnTo>
                  <a:lnTo>
                    <a:pt x="20" y="425"/>
                  </a:lnTo>
                  <a:close/>
                  <a:moveTo>
                    <a:pt x="96" y="250"/>
                  </a:moveTo>
                  <a:lnTo>
                    <a:pt x="98" y="250"/>
                  </a:lnTo>
                  <a:lnTo>
                    <a:pt x="98" y="252"/>
                  </a:lnTo>
                  <a:lnTo>
                    <a:pt x="96" y="252"/>
                  </a:lnTo>
                  <a:lnTo>
                    <a:pt x="96" y="250"/>
                  </a:lnTo>
                  <a:close/>
                  <a:moveTo>
                    <a:pt x="208" y="67"/>
                  </a:moveTo>
                  <a:lnTo>
                    <a:pt x="210" y="67"/>
                  </a:lnTo>
                  <a:lnTo>
                    <a:pt x="208" y="67"/>
                  </a:lnTo>
                  <a:close/>
                  <a:moveTo>
                    <a:pt x="48" y="300"/>
                  </a:moveTo>
                  <a:lnTo>
                    <a:pt x="50" y="300"/>
                  </a:lnTo>
                  <a:lnTo>
                    <a:pt x="50" y="302"/>
                  </a:lnTo>
                  <a:lnTo>
                    <a:pt x="48" y="302"/>
                  </a:lnTo>
                  <a:lnTo>
                    <a:pt x="48" y="300"/>
                  </a:lnTo>
                  <a:close/>
                  <a:moveTo>
                    <a:pt x="18" y="432"/>
                  </a:moveTo>
                  <a:lnTo>
                    <a:pt x="18" y="434"/>
                  </a:lnTo>
                  <a:lnTo>
                    <a:pt x="18" y="432"/>
                  </a:lnTo>
                  <a:close/>
                  <a:moveTo>
                    <a:pt x="6" y="384"/>
                  </a:moveTo>
                  <a:lnTo>
                    <a:pt x="6" y="386"/>
                  </a:lnTo>
                  <a:lnTo>
                    <a:pt x="6" y="384"/>
                  </a:lnTo>
                  <a:close/>
                  <a:moveTo>
                    <a:pt x="110" y="154"/>
                  </a:moveTo>
                  <a:lnTo>
                    <a:pt x="112" y="154"/>
                  </a:lnTo>
                  <a:lnTo>
                    <a:pt x="110" y="154"/>
                  </a:lnTo>
                  <a:close/>
                  <a:moveTo>
                    <a:pt x="69" y="292"/>
                  </a:moveTo>
                  <a:lnTo>
                    <a:pt x="71" y="292"/>
                  </a:lnTo>
                  <a:lnTo>
                    <a:pt x="71" y="294"/>
                  </a:lnTo>
                  <a:lnTo>
                    <a:pt x="69" y="294"/>
                  </a:lnTo>
                  <a:lnTo>
                    <a:pt x="69" y="292"/>
                  </a:lnTo>
                  <a:close/>
                  <a:moveTo>
                    <a:pt x="2" y="371"/>
                  </a:moveTo>
                  <a:lnTo>
                    <a:pt x="4" y="371"/>
                  </a:lnTo>
                  <a:lnTo>
                    <a:pt x="4" y="373"/>
                  </a:lnTo>
                  <a:lnTo>
                    <a:pt x="2" y="373"/>
                  </a:lnTo>
                  <a:lnTo>
                    <a:pt x="2" y="371"/>
                  </a:lnTo>
                  <a:close/>
                  <a:moveTo>
                    <a:pt x="18" y="425"/>
                  </a:moveTo>
                  <a:lnTo>
                    <a:pt x="20" y="425"/>
                  </a:lnTo>
                  <a:lnTo>
                    <a:pt x="20" y="426"/>
                  </a:lnTo>
                  <a:lnTo>
                    <a:pt x="18" y="426"/>
                  </a:lnTo>
                  <a:lnTo>
                    <a:pt x="18" y="425"/>
                  </a:lnTo>
                  <a:close/>
                  <a:moveTo>
                    <a:pt x="275" y="27"/>
                  </a:moveTo>
                  <a:lnTo>
                    <a:pt x="277" y="27"/>
                  </a:lnTo>
                  <a:lnTo>
                    <a:pt x="277" y="29"/>
                  </a:lnTo>
                  <a:lnTo>
                    <a:pt x="275" y="29"/>
                  </a:lnTo>
                  <a:lnTo>
                    <a:pt x="275" y="27"/>
                  </a:lnTo>
                  <a:close/>
                  <a:moveTo>
                    <a:pt x="231" y="67"/>
                  </a:moveTo>
                  <a:lnTo>
                    <a:pt x="233" y="67"/>
                  </a:lnTo>
                  <a:lnTo>
                    <a:pt x="231" y="67"/>
                  </a:lnTo>
                  <a:close/>
                  <a:moveTo>
                    <a:pt x="98" y="252"/>
                  </a:moveTo>
                  <a:lnTo>
                    <a:pt x="100" y="252"/>
                  </a:lnTo>
                  <a:lnTo>
                    <a:pt x="98" y="252"/>
                  </a:lnTo>
                  <a:close/>
                  <a:moveTo>
                    <a:pt x="10" y="380"/>
                  </a:moveTo>
                  <a:lnTo>
                    <a:pt x="12" y="380"/>
                  </a:lnTo>
                  <a:lnTo>
                    <a:pt x="10" y="380"/>
                  </a:lnTo>
                  <a:close/>
                  <a:moveTo>
                    <a:pt x="10" y="396"/>
                  </a:moveTo>
                  <a:lnTo>
                    <a:pt x="12" y="396"/>
                  </a:lnTo>
                  <a:lnTo>
                    <a:pt x="12" y="398"/>
                  </a:lnTo>
                  <a:lnTo>
                    <a:pt x="10" y="398"/>
                  </a:lnTo>
                  <a:lnTo>
                    <a:pt x="10" y="396"/>
                  </a:lnTo>
                  <a:close/>
                  <a:moveTo>
                    <a:pt x="117" y="207"/>
                  </a:moveTo>
                  <a:lnTo>
                    <a:pt x="117" y="209"/>
                  </a:lnTo>
                  <a:lnTo>
                    <a:pt x="117" y="207"/>
                  </a:lnTo>
                  <a:close/>
                  <a:moveTo>
                    <a:pt x="21" y="426"/>
                  </a:moveTo>
                  <a:lnTo>
                    <a:pt x="21" y="428"/>
                  </a:lnTo>
                  <a:lnTo>
                    <a:pt x="21" y="426"/>
                  </a:lnTo>
                  <a:close/>
                  <a:moveTo>
                    <a:pt x="114" y="238"/>
                  </a:moveTo>
                  <a:lnTo>
                    <a:pt x="115" y="238"/>
                  </a:lnTo>
                  <a:lnTo>
                    <a:pt x="114" y="238"/>
                  </a:lnTo>
                  <a:close/>
                  <a:moveTo>
                    <a:pt x="20" y="432"/>
                  </a:moveTo>
                  <a:lnTo>
                    <a:pt x="21" y="432"/>
                  </a:lnTo>
                  <a:lnTo>
                    <a:pt x="21" y="434"/>
                  </a:lnTo>
                  <a:lnTo>
                    <a:pt x="20" y="434"/>
                  </a:lnTo>
                  <a:lnTo>
                    <a:pt x="20" y="432"/>
                  </a:lnTo>
                  <a:close/>
                  <a:moveTo>
                    <a:pt x="52" y="302"/>
                  </a:moveTo>
                  <a:lnTo>
                    <a:pt x="52" y="304"/>
                  </a:lnTo>
                  <a:lnTo>
                    <a:pt x="52" y="302"/>
                  </a:lnTo>
                  <a:close/>
                  <a:moveTo>
                    <a:pt x="129" y="181"/>
                  </a:moveTo>
                  <a:lnTo>
                    <a:pt x="131" y="181"/>
                  </a:lnTo>
                  <a:lnTo>
                    <a:pt x="129" y="181"/>
                  </a:lnTo>
                  <a:close/>
                  <a:moveTo>
                    <a:pt x="50" y="302"/>
                  </a:moveTo>
                  <a:lnTo>
                    <a:pt x="52" y="302"/>
                  </a:lnTo>
                  <a:lnTo>
                    <a:pt x="50" y="302"/>
                  </a:lnTo>
                  <a:close/>
                  <a:moveTo>
                    <a:pt x="112" y="211"/>
                  </a:moveTo>
                  <a:lnTo>
                    <a:pt x="114" y="211"/>
                  </a:lnTo>
                  <a:lnTo>
                    <a:pt x="114" y="213"/>
                  </a:lnTo>
                  <a:lnTo>
                    <a:pt x="112" y="213"/>
                  </a:lnTo>
                  <a:lnTo>
                    <a:pt x="112" y="211"/>
                  </a:lnTo>
                  <a:close/>
                  <a:moveTo>
                    <a:pt x="2" y="367"/>
                  </a:moveTo>
                  <a:lnTo>
                    <a:pt x="4" y="367"/>
                  </a:lnTo>
                  <a:lnTo>
                    <a:pt x="4" y="369"/>
                  </a:lnTo>
                  <a:lnTo>
                    <a:pt x="2" y="369"/>
                  </a:lnTo>
                  <a:lnTo>
                    <a:pt x="2" y="367"/>
                  </a:lnTo>
                  <a:close/>
                  <a:moveTo>
                    <a:pt x="114" y="204"/>
                  </a:moveTo>
                  <a:lnTo>
                    <a:pt x="115" y="204"/>
                  </a:lnTo>
                  <a:lnTo>
                    <a:pt x="115" y="206"/>
                  </a:lnTo>
                  <a:lnTo>
                    <a:pt x="114" y="206"/>
                  </a:lnTo>
                  <a:lnTo>
                    <a:pt x="114" y="204"/>
                  </a:lnTo>
                  <a:close/>
                  <a:moveTo>
                    <a:pt x="56" y="292"/>
                  </a:moveTo>
                  <a:lnTo>
                    <a:pt x="58" y="292"/>
                  </a:lnTo>
                  <a:lnTo>
                    <a:pt x="58" y="294"/>
                  </a:lnTo>
                  <a:lnTo>
                    <a:pt x="56" y="294"/>
                  </a:lnTo>
                  <a:lnTo>
                    <a:pt x="56" y="292"/>
                  </a:lnTo>
                  <a:close/>
                  <a:moveTo>
                    <a:pt x="12" y="426"/>
                  </a:moveTo>
                  <a:lnTo>
                    <a:pt x="14" y="426"/>
                  </a:lnTo>
                  <a:lnTo>
                    <a:pt x="14" y="428"/>
                  </a:lnTo>
                  <a:lnTo>
                    <a:pt x="12" y="428"/>
                  </a:lnTo>
                  <a:lnTo>
                    <a:pt x="12" y="426"/>
                  </a:lnTo>
                  <a:close/>
                  <a:moveTo>
                    <a:pt x="114" y="207"/>
                  </a:moveTo>
                  <a:lnTo>
                    <a:pt x="114" y="209"/>
                  </a:lnTo>
                  <a:lnTo>
                    <a:pt x="114" y="207"/>
                  </a:lnTo>
                  <a:close/>
                  <a:moveTo>
                    <a:pt x="246" y="38"/>
                  </a:moveTo>
                  <a:lnTo>
                    <a:pt x="246" y="40"/>
                  </a:lnTo>
                  <a:lnTo>
                    <a:pt x="246" y="38"/>
                  </a:lnTo>
                  <a:close/>
                  <a:moveTo>
                    <a:pt x="117" y="196"/>
                  </a:moveTo>
                  <a:lnTo>
                    <a:pt x="119" y="196"/>
                  </a:lnTo>
                  <a:lnTo>
                    <a:pt x="119" y="198"/>
                  </a:lnTo>
                  <a:lnTo>
                    <a:pt x="117" y="198"/>
                  </a:lnTo>
                  <a:lnTo>
                    <a:pt x="117" y="196"/>
                  </a:lnTo>
                  <a:close/>
                  <a:moveTo>
                    <a:pt x="10" y="394"/>
                  </a:moveTo>
                  <a:lnTo>
                    <a:pt x="10" y="396"/>
                  </a:lnTo>
                  <a:lnTo>
                    <a:pt x="10" y="394"/>
                  </a:lnTo>
                  <a:close/>
                  <a:moveTo>
                    <a:pt x="91" y="261"/>
                  </a:moveTo>
                  <a:lnTo>
                    <a:pt x="92" y="261"/>
                  </a:lnTo>
                  <a:lnTo>
                    <a:pt x="92" y="263"/>
                  </a:lnTo>
                  <a:lnTo>
                    <a:pt x="91" y="263"/>
                  </a:lnTo>
                  <a:lnTo>
                    <a:pt x="91" y="261"/>
                  </a:lnTo>
                  <a:close/>
                  <a:moveTo>
                    <a:pt x="41" y="461"/>
                  </a:moveTo>
                  <a:lnTo>
                    <a:pt x="43" y="461"/>
                  </a:lnTo>
                  <a:lnTo>
                    <a:pt x="41" y="461"/>
                  </a:lnTo>
                  <a:close/>
                  <a:moveTo>
                    <a:pt x="10" y="405"/>
                  </a:moveTo>
                  <a:lnTo>
                    <a:pt x="12" y="405"/>
                  </a:lnTo>
                  <a:lnTo>
                    <a:pt x="10" y="405"/>
                  </a:lnTo>
                  <a:close/>
                  <a:moveTo>
                    <a:pt x="91" y="426"/>
                  </a:moveTo>
                  <a:lnTo>
                    <a:pt x="92" y="426"/>
                  </a:lnTo>
                  <a:lnTo>
                    <a:pt x="91" y="426"/>
                  </a:lnTo>
                  <a:close/>
                  <a:moveTo>
                    <a:pt x="16" y="332"/>
                  </a:moveTo>
                  <a:lnTo>
                    <a:pt x="18" y="332"/>
                  </a:lnTo>
                  <a:lnTo>
                    <a:pt x="16" y="332"/>
                  </a:lnTo>
                  <a:close/>
                  <a:moveTo>
                    <a:pt x="175" y="94"/>
                  </a:moveTo>
                  <a:lnTo>
                    <a:pt x="177" y="94"/>
                  </a:lnTo>
                  <a:lnTo>
                    <a:pt x="175" y="94"/>
                  </a:lnTo>
                  <a:close/>
                  <a:moveTo>
                    <a:pt x="48" y="307"/>
                  </a:moveTo>
                  <a:lnTo>
                    <a:pt x="50" y="307"/>
                  </a:lnTo>
                  <a:lnTo>
                    <a:pt x="48" y="307"/>
                  </a:lnTo>
                  <a:close/>
                  <a:moveTo>
                    <a:pt x="4" y="376"/>
                  </a:moveTo>
                  <a:lnTo>
                    <a:pt x="6" y="376"/>
                  </a:lnTo>
                  <a:lnTo>
                    <a:pt x="4" y="376"/>
                  </a:lnTo>
                  <a:close/>
                  <a:moveTo>
                    <a:pt x="64" y="298"/>
                  </a:moveTo>
                  <a:lnTo>
                    <a:pt x="66" y="298"/>
                  </a:lnTo>
                  <a:lnTo>
                    <a:pt x="64" y="298"/>
                  </a:lnTo>
                  <a:close/>
                  <a:moveTo>
                    <a:pt x="4" y="363"/>
                  </a:moveTo>
                  <a:lnTo>
                    <a:pt x="4" y="365"/>
                  </a:lnTo>
                  <a:lnTo>
                    <a:pt x="4" y="363"/>
                  </a:lnTo>
                  <a:close/>
                  <a:moveTo>
                    <a:pt x="117" y="198"/>
                  </a:moveTo>
                  <a:lnTo>
                    <a:pt x="119" y="198"/>
                  </a:lnTo>
                  <a:lnTo>
                    <a:pt x="117" y="198"/>
                  </a:lnTo>
                  <a:close/>
                  <a:moveTo>
                    <a:pt x="131" y="175"/>
                  </a:moveTo>
                  <a:lnTo>
                    <a:pt x="131" y="177"/>
                  </a:lnTo>
                  <a:lnTo>
                    <a:pt x="131" y="175"/>
                  </a:lnTo>
                  <a:close/>
                  <a:moveTo>
                    <a:pt x="110" y="190"/>
                  </a:moveTo>
                  <a:lnTo>
                    <a:pt x="110" y="192"/>
                  </a:lnTo>
                  <a:lnTo>
                    <a:pt x="110" y="190"/>
                  </a:lnTo>
                  <a:close/>
                  <a:moveTo>
                    <a:pt x="6" y="380"/>
                  </a:moveTo>
                  <a:lnTo>
                    <a:pt x="8" y="380"/>
                  </a:lnTo>
                  <a:lnTo>
                    <a:pt x="8" y="382"/>
                  </a:lnTo>
                  <a:lnTo>
                    <a:pt x="6" y="382"/>
                  </a:lnTo>
                  <a:lnTo>
                    <a:pt x="6" y="380"/>
                  </a:lnTo>
                  <a:close/>
                  <a:moveTo>
                    <a:pt x="66" y="444"/>
                  </a:moveTo>
                  <a:lnTo>
                    <a:pt x="68" y="444"/>
                  </a:lnTo>
                  <a:lnTo>
                    <a:pt x="68" y="446"/>
                  </a:lnTo>
                  <a:lnTo>
                    <a:pt x="66" y="446"/>
                  </a:lnTo>
                  <a:lnTo>
                    <a:pt x="66" y="444"/>
                  </a:lnTo>
                  <a:close/>
                  <a:moveTo>
                    <a:pt x="71" y="284"/>
                  </a:moveTo>
                  <a:lnTo>
                    <a:pt x="73" y="284"/>
                  </a:lnTo>
                  <a:lnTo>
                    <a:pt x="73" y="286"/>
                  </a:lnTo>
                  <a:lnTo>
                    <a:pt x="71" y="286"/>
                  </a:lnTo>
                  <a:lnTo>
                    <a:pt x="71" y="284"/>
                  </a:lnTo>
                  <a:close/>
                  <a:moveTo>
                    <a:pt x="106" y="221"/>
                  </a:moveTo>
                  <a:lnTo>
                    <a:pt x="106" y="223"/>
                  </a:lnTo>
                  <a:lnTo>
                    <a:pt x="106" y="221"/>
                  </a:lnTo>
                  <a:close/>
                  <a:moveTo>
                    <a:pt x="142" y="161"/>
                  </a:moveTo>
                  <a:lnTo>
                    <a:pt x="144" y="161"/>
                  </a:lnTo>
                  <a:lnTo>
                    <a:pt x="144" y="163"/>
                  </a:lnTo>
                  <a:lnTo>
                    <a:pt x="142" y="163"/>
                  </a:lnTo>
                  <a:lnTo>
                    <a:pt x="142" y="161"/>
                  </a:lnTo>
                  <a:close/>
                  <a:moveTo>
                    <a:pt x="66" y="444"/>
                  </a:moveTo>
                  <a:lnTo>
                    <a:pt x="66" y="446"/>
                  </a:lnTo>
                  <a:lnTo>
                    <a:pt x="66" y="444"/>
                  </a:lnTo>
                  <a:close/>
                  <a:moveTo>
                    <a:pt x="4" y="353"/>
                  </a:moveTo>
                  <a:lnTo>
                    <a:pt x="4" y="355"/>
                  </a:lnTo>
                  <a:lnTo>
                    <a:pt x="4" y="353"/>
                  </a:lnTo>
                  <a:close/>
                  <a:moveTo>
                    <a:pt x="269" y="19"/>
                  </a:moveTo>
                  <a:lnTo>
                    <a:pt x="269" y="21"/>
                  </a:lnTo>
                  <a:lnTo>
                    <a:pt x="269" y="19"/>
                  </a:lnTo>
                  <a:close/>
                  <a:moveTo>
                    <a:pt x="100" y="263"/>
                  </a:moveTo>
                  <a:lnTo>
                    <a:pt x="100" y="265"/>
                  </a:lnTo>
                  <a:lnTo>
                    <a:pt x="100" y="263"/>
                  </a:lnTo>
                  <a:close/>
                  <a:moveTo>
                    <a:pt x="66" y="444"/>
                  </a:moveTo>
                  <a:lnTo>
                    <a:pt x="66" y="446"/>
                  </a:lnTo>
                  <a:lnTo>
                    <a:pt x="66" y="444"/>
                  </a:lnTo>
                  <a:close/>
                  <a:moveTo>
                    <a:pt x="112" y="227"/>
                  </a:moveTo>
                  <a:lnTo>
                    <a:pt x="112" y="229"/>
                  </a:lnTo>
                  <a:lnTo>
                    <a:pt x="112" y="227"/>
                  </a:lnTo>
                  <a:close/>
                  <a:moveTo>
                    <a:pt x="10" y="378"/>
                  </a:moveTo>
                  <a:lnTo>
                    <a:pt x="10" y="380"/>
                  </a:lnTo>
                  <a:lnTo>
                    <a:pt x="10" y="378"/>
                  </a:lnTo>
                  <a:close/>
                  <a:moveTo>
                    <a:pt x="158" y="121"/>
                  </a:moveTo>
                  <a:lnTo>
                    <a:pt x="158" y="123"/>
                  </a:lnTo>
                  <a:lnTo>
                    <a:pt x="158" y="121"/>
                  </a:lnTo>
                  <a:close/>
                  <a:moveTo>
                    <a:pt x="200" y="65"/>
                  </a:moveTo>
                  <a:lnTo>
                    <a:pt x="200" y="67"/>
                  </a:lnTo>
                  <a:lnTo>
                    <a:pt x="200" y="65"/>
                  </a:lnTo>
                  <a:close/>
                  <a:moveTo>
                    <a:pt x="87" y="407"/>
                  </a:moveTo>
                  <a:lnTo>
                    <a:pt x="89" y="407"/>
                  </a:lnTo>
                  <a:lnTo>
                    <a:pt x="87" y="407"/>
                  </a:lnTo>
                  <a:close/>
                  <a:moveTo>
                    <a:pt x="177" y="98"/>
                  </a:moveTo>
                  <a:lnTo>
                    <a:pt x="179" y="98"/>
                  </a:lnTo>
                  <a:lnTo>
                    <a:pt x="179" y="100"/>
                  </a:lnTo>
                  <a:lnTo>
                    <a:pt x="177" y="100"/>
                  </a:lnTo>
                  <a:lnTo>
                    <a:pt x="177" y="98"/>
                  </a:lnTo>
                  <a:close/>
                  <a:moveTo>
                    <a:pt x="10" y="405"/>
                  </a:moveTo>
                  <a:lnTo>
                    <a:pt x="10" y="407"/>
                  </a:lnTo>
                  <a:lnTo>
                    <a:pt x="10" y="405"/>
                  </a:lnTo>
                  <a:close/>
                  <a:moveTo>
                    <a:pt x="160" y="134"/>
                  </a:moveTo>
                  <a:lnTo>
                    <a:pt x="160" y="136"/>
                  </a:lnTo>
                  <a:lnTo>
                    <a:pt x="160" y="134"/>
                  </a:lnTo>
                  <a:close/>
                  <a:moveTo>
                    <a:pt x="6" y="375"/>
                  </a:moveTo>
                  <a:lnTo>
                    <a:pt x="6" y="376"/>
                  </a:lnTo>
                  <a:lnTo>
                    <a:pt x="6" y="375"/>
                  </a:lnTo>
                  <a:close/>
                  <a:moveTo>
                    <a:pt x="14" y="332"/>
                  </a:moveTo>
                  <a:lnTo>
                    <a:pt x="14" y="334"/>
                  </a:lnTo>
                  <a:lnTo>
                    <a:pt x="14" y="332"/>
                  </a:lnTo>
                  <a:close/>
                  <a:moveTo>
                    <a:pt x="198" y="63"/>
                  </a:moveTo>
                  <a:lnTo>
                    <a:pt x="198" y="65"/>
                  </a:lnTo>
                  <a:lnTo>
                    <a:pt x="198" y="63"/>
                  </a:lnTo>
                  <a:close/>
                  <a:moveTo>
                    <a:pt x="177" y="100"/>
                  </a:moveTo>
                  <a:lnTo>
                    <a:pt x="179" y="100"/>
                  </a:lnTo>
                  <a:lnTo>
                    <a:pt x="177" y="100"/>
                  </a:lnTo>
                  <a:close/>
                  <a:moveTo>
                    <a:pt x="87" y="267"/>
                  </a:moveTo>
                  <a:lnTo>
                    <a:pt x="87" y="269"/>
                  </a:lnTo>
                  <a:lnTo>
                    <a:pt x="87" y="267"/>
                  </a:lnTo>
                  <a:close/>
                  <a:moveTo>
                    <a:pt x="21" y="432"/>
                  </a:moveTo>
                  <a:lnTo>
                    <a:pt x="21" y="434"/>
                  </a:lnTo>
                  <a:lnTo>
                    <a:pt x="21" y="432"/>
                  </a:lnTo>
                  <a:close/>
                  <a:moveTo>
                    <a:pt x="196" y="67"/>
                  </a:moveTo>
                  <a:lnTo>
                    <a:pt x="198" y="67"/>
                  </a:lnTo>
                  <a:lnTo>
                    <a:pt x="198" y="69"/>
                  </a:lnTo>
                  <a:lnTo>
                    <a:pt x="196" y="69"/>
                  </a:lnTo>
                  <a:lnTo>
                    <a:pt x="196" y="67"/>
                  </a:lnTo>
                  <a:close/>
                  <a:moveTo>
                    <a:pt x="16" y="432"/>
                  </a:moveTo>
                  <a:lnTo>
                    <a:pt x="18" y="432"/>
                  </a:lnTo>
                  <a:lnTo>
                    <a:pt x="16" y="432"/>
                  </a:lnTo>
                  <a:close/>
                  <a:moveTo>
                    <a:pt x="73" y="436"/>
                  </a:moveTo>
                  <a:lnTo>
                    <a:pt x="75" y="436"/>
                  </a:lnTo>
                  <a:lnTo>
                    <a:pt x="75" y="438"/>
                  </a:lnTo>
                  <a:lnTo>
                    <a:pt x="73" y="438"/>
                  </a:lnTo>
                  <a:lnTo>
                    <a:pt x="73" y="436"/>
                  </a:lnTo>
                  <a:close/>
                  <a:moveTo>
                    <a:pt x="4" y="367"/>
                  </a:moveTo>
                  <a:lnTo>
                    <a:pt x="4" y="369"/>
                  </a:lnTo>
                  <a:lnTo>
                    <a:pt x="4" y="367"/>
                  </a:lnTo>
                  <a:close/>
                  <a:moveTo>
                    <a:pt x="6" y="388"/>
                  </a:moveTo>
                  <a:lnTo>
                    <a:pt x="6" y="390"/>
                  </a:lnTo>
                  <a:lnTo>
                    <a:pt x="6" y="388"/>
                  </a:lnTo>
                  <a:close/>
                  <a:moveTo>
                    <a:pt x="79" y="280"/>
                  </a:moveTo>
                  <a:lnTo>
                    <a:pt x="79" y="282"/>
                  </a:lnTo>
                  <a:lnTo>
                    <a:pt x="79" y="280"/>
                  </a:lnTo>
                  <a:close/>
                  <a:moveTo>
                    <a:pt x="21" y="327"/>
                  </a:moveTo>
                  <a:lnTo>
                    <a:pt x="23" y="327"/>
                  </a:lnTo>
                  <a:lnTo>
                    <a:pt x="23" y="328"/>
                  </a:lnTo>
                  <a:lnTo>
                    <a:pt x="21" y="328"/>
                  </a:lnTo>
                  <a:lnTo>
                    <a:pt x="21" y="327"/>
                  </a:lnTo>
                  <a:close/>
                  <a:moveTo>
                    <a:pt x="21" y="434"/>
                  </a:moveTo>
                  <a:lnTo>
                    <a:pt x="21" y="436"/>
                  </a:lnTo>
                  <a:lnTo>
                    <a:pt x="21" y="434"/>
                  </a:lnTo>
                  <a:close/>
                  <a:moveTo>
                    <a:pt x="2" y="357"/>
                  </a:moveTo>
                  <a:lnTo>
                    <a:pt x="4" y="357"/>
                  </a:lnTo>
                  <a:lnTo>
                    <a:pt x="2" y="357"/>
                  </a:lnTo>
                  <a:close/>
                  <a:moveTo>
                    <a:pt x="94" y="244"/>
                  </a:moveTo>
                  <a:lnTo>
                    <a:pt x="96" y="244"/>
                  </a:lnTo>
                  <a:lnTo>
                    <a:pt x="94" y="244"/>
                  </a:lnTo>
                  <a:close/>
                  <a:moveTo>
                    <a:pt x="148" y="142"/>
                  </a:moveTo>
                  <a:lnTo>
                    <a:pt x="150" y="142"/>
                  </a:lnTo>
                  <a:lnTo>
                    <a:pt x="148" y="142"/>
                  </a:lnTo>
                  <a:close/>
                  <a:moveTo>
                    <a:pt x="77" y="282"/>
                  </a:moveTo>
                  <a:lnTo>
                    <a:pt x="79" y="282"/>
                  </a:lnTo>
                  <a:lnTo>
                    <a:pt x="77" y="282"/>
                  </a:lnTo>
                  <a:close/>
                  <a:moveTo>
                    <a:pt x="131" y="182"/>
                  </a:moveTo>
                  <a:lnTo>
                    <a:pt x="133" y="182"/>
                  </a:lnTo>
                  <a:lnTo>
                    <a:pt x="131" y="182"/>
                  </a:lnTo>
                  <a:close/>
                  <a:moveTo>
                    <a:pt x="10" y="407"/>
                  </a:moveTo>
                  <a:lnTo>
                    <a:pt x="10" y="409"/>
                  </a:lnTo>
                  <a:lnTo>
                    <a:pt x="10" y="407"/>
                  </a:lnTo>
                  <a:close/>
                  <a:moveTo>
                    <a:pt x="71" y="436"/>
                  </a:moveTo>
                  <a:lnTo>
                    <a:pt x="73" y="436"/>
                  </a:lnTo>
                  <a:lnTo>
                    <a:pt x="71" y="436"/>
                  </a:lnTo>
                  <a:close/>
                  <a:moveTo>
                    <a:pt x="198" y="63"/>
                  </a:moveTo>
                  <a:lnTo>
                    <a:pt x="200" y="63"/>
                  </a:lnTo>
                  <a:lnTo>
                    <a:pt x="198" y="63"/>
                  </a:lnTo>
                  <a:close/>
                  <a:moveTo>
                    <a:pt x="110" y="192"/>
                  </a:moveTo>
                  <a:lnTo>
                    <a:pt x="112" y="192"/>
                  </a:lnTo>
                  <a:lnTo>
                    <a:pt x="110" y="192"/>
                  </a:lnTo>
                  <a:close/>
                  <a:moveTo>
                    <a:pt x="114" y="215"/>
                  </a:moveTo>
                  <a:lnTo>
                    <a:pt x="115" y="215"/>
                  </a:lnTo>
                  <a:lnTo>
                    <a:pt x="114" y="215"/>
                  </a:lnTo>
                  <a:close/>
                  <a:moveTo>
                    <a:pt x="66" y="279"/>
                  </a:moveTo>
                  <a:lnTo>
                    <a:pt x="68" y="279"/>
                  </a:lnTo>
                  <a:lnTo>
                    <a:pt x="68" y="280"/>
                  </a:lnTo>
                  <a:lnTo>
                    <a:pt x="66" y="280"/>
                  </a:lnTo>
                  <a:lnTo>
                    <a:pt x="66" y="279"/>
                  </a:lnTo>
                  <a:close/>
                  <a:moveTo>
                    <a:pt x="56" y="294"/>
                  </a:moveTo>
                  <a:lnTo>
                    <a:pt x="56" y="296"/>
                  </a:lnTo>
                  <a:lnTo>
                    <a:pt x="56" y="294"/>
                  </a:lnTo>
                  <a:close/>
                  <a:moveTo>
                    <a:pt x="114" y="215"/>
                  </a:moveTo>
                  <a:lnTo>
                    <a:pt x="114" y="217"/>
                  </a:lnTo>
                  <a:lnTo>
                    <a:pt x="114" y="215"/>
                  </a:lnTo>
                  <a:close/>
                  <a:moveTo>
                    <a:pt x="83" y="273"/>
                  </a:moveTo>
                  <a:lnTo>
                    <a:pt x="83" y="275"/>
                  </a:lnTo>
                  <a:lnTo>
                    <a:pt x="83" y="273"/>
                  </a:lnTo>
                  <a:close/>
                  <a:moveTo>
                    <a:pt x="6" y="380"/>
                  </a:moveTo>
                  <a:lnTo>
                    <a:pt x="8" y="380"/>
                  </a:lnTo>
                  <a:lnTo>
                    <a:pt x="8" y="382"/>
                  </a:lnTo>
                  <a:lnTo>
                    <a:pt x="6" y="382"/>
                  </a:lnTo>
                  <a:lnTo>
                    <a:pt x="6" y="380"/>
                  </a:lnTo>
                  <a:close/>
                  <a:moveTo>
                    <a:pt x="123" y="186"/>
                  </a:moveTo>
                  <a:lnTo>
                    <a:pt x="125" y="186"/>
                  </a:lnTo>
                  <a:lnTo>
                    <a:pt x="123" y="186"/>
                  </a:lnTo>
                  <a:close/>
                  <a:moveTo>
                    <a:pt x="8" y="382"/>
                  </a:moveTo>
                  <a:lnTo>
                    <a:pt x="10" y="382"/>
                  </a:lnTo>
                  <a:lnTo>
                    <a:pt x="10" y="384"/>
                  </a:lnTo>
                  <a:lnTo>
                    <a:pt x="8" y="384"/>
                  </a:lnTo>
                  <a:lnTo>
                    <a:pt x="8" y="382"/>
                  </a:lnTo>
                  <a:close/>
                  <a:moveTo>
                    <a:pt x="66" y="444"/>
                  </a:moveTo>
                  <a:lnTo>
                    <a:pt x="68" y="444"/>
                  </a:lnTo>
                  <a:lnTo>
                    <a:pt x="66" y="444"/>
                  </a:lnTo>
                  <a:close/>
                  <a:moveTo>
                    <a:pt x="58" y="307"/>
                  </a:moveTo>
                  <a:lnTo>
                    <a:pt x="60" y="307"/>
                  </a:lnTo>
                  <a:lnTo>
                    <a:pt x="58" y="307"/>
                  </a:lnTo>
                  <a:close/>
                  <a:moveTo>
                    <a:pt x="94" y="250"/>
                  </a:moveTo>
                  <a:lnTo>
                    <a:pt x="96" y="250"/>
                  </a:lnTo>
                  <a:lnTo>
                    <a:pt x="94" y="250"/>
                  </a:lnTo>
                  <a:close/>
                  <a:moveTo>
                    <a:pt x="85" y="267"/>
                  </a:moveTo>
                  <a:lnTo>
                    <a:pt x="87" y="267"/>
                  </a:lnTo>
                  <a:lnTo>
                    <a:pt x="87" y="269"/>
                  </a:lnTo>
                  <a:lnTo>
                    <a:pt x="85" y="269"/>
                  </a:lnTo>
                  <a:lnTo>
                    <a:pt x="85" y="267"/>
                  </a:lnTo>
                  <a:close/>
                  <a:moveTo>
                    <a:pt x="89" y="421"/>
                  </a:moveTo>
                  <a:lnTo>
                    <a:pt x="89" y="423"/>
                  </a:lnTo>
                  <a:lnTo>
                    <a:pt x="89" y="421"/>
                  </a:lnTo>
                  <a:close/>
                  <a:moveTo>
                    <a:pt x="60" y="286"/>
                  </a:moveTo>
                  <a:lnTo>
                    <a:pt x="62" y="286"/>
                  </a:lnTo>
                  <a:lnTo>
                    <a:pt x="60" y="286"/>
                  </a:lnTo>
                  <a:close/>
                  <a:moveTo>
                    <a:pt x="12" y="430"/>
                  </a:moveTo>
                  <a:lnTo>
                    <a:pt x="14" y="430"/>
                  </a:lnTo>
                  <a:lnTo>
                    <a:pt x="12" y="430"/>
                  </a:lnTo>
                  <a:close/>
                  <a:moveTo>
                    <a:pt x="14" y="425"/>
                  </a:moveTo>
                  <a:lnTo>
                    <a:pt x="14" y="426"/>
                  </a:lnTo>
                  <a:lnTo>
                    <a:pt x="14" y="425"/>
                  </a:lnTo>
                  <a:close/>
                  <a:moveTo>
                    <a:pt x="60" y="286"/>
                  </a:moveTo>
                  <a:lnTo>
                    <a:pt x="62" y="286"/>
                  </a:lnTo>
                  <a:lnTo>
                    <a:pt x="60" y="286"/>
                  </a:lnTo>
                  <a:close/>
                  <a:moveTo>
                    <a:pt x="175" y="92"/>
                  </a:moveTo>
                  <a:lnTo>
                    <a:pt x="175" y="94"/>
                  </a:lnTo>
                  <a:lnTo>
                    <a:pt x="175" y="92"/>
                  </a:lnTo>
                  <a:close/>
                  <a:moveTo>
                    <a:pt x="10" y="388"/>
                  </a:moveTo>
                  <a:lnTo>
                    <a:pt x="12" y="388"/>
                  </a:lnTo>
                  <a:lnTo>
                    <a:pt x="10" y="388"/>
                  </a:lnTo>
                  <a:close/>
                  <a:moveTo>
                    <a:pt x="96" y="428"/>
                  </a:moveTo>
                  <a:lnTo>
                    <a:pt x="96" y="430"/>
                  </a:lnTo>
                  <a:lnTo>
                    <a:pt x="96" y="428"/>
                  </a:lnTo>
                  <a:close/>
                  <a:moveTo>
                    <a:pt x="10" y="411"/>
                  </a:moveTo>
                  <a:lnTo>
                    <a:pt x="12" y="411"/>
                  </a:lnTo>
                  <a:lnTo>
                    <a:pt x="12" y="413"/>
                  </a:lnTo>
                  <a:lnTo>
                    <a:pt x="10" y="413"/>
                  </a:lnTo>
                  <a:lnTo>
                    <a:pt x="10" y="411"/>
                  </a:lnTo>
                  <a:close/>
                  <a:moveTo>
                    <a:pt x="6" y="398"/>
                  </a:moveTo>
                  <a:lnTo>
                    <a:pt x="8" y="398"/>
                  </a:lnTo>
                  <a:lnTo>
                    <a:pt x="6" y="398"/>
                  </a:lnTo>
                  <a:close/>
                  <a:moveTo>
                    <a:pt x="18" y="405"/>
                  </a:moveTo>
                  <a:lnTo>
                    <a:pt x="18" y="407"/>
                  </a:lnTo>
                  <a:lnTo>
                    <a:pt x="18" y="405"/>
                  </a:lnTo>
                  <a:close/>
                  <a:moveTo>
                    <a:pt x="10" y="413"/>
                  </a:moveTo>
                  <a:lnTo>
                    <a:pt x="12" y="413"/>
                  </a:lnTo>
                  <a:lnTo>
                    <a:pt x="10" y="413"/>
                  </a:lnTo>
                  <a:close/>
                  <a:moveTo>
                    <a:pt x="94" y="246"/>
                  </a:moveTo>
                  <a:lnTo>
                    <a:pt x="96" y="246"/>
                  </a:lnTo>
                  <a:lnTo>
                    <a:pt x="94" y="246"/>
                  </a:lnTo>
                  <a:close/>
                  <a:moveTo>
                    <a:pt x="92" y="257"/>
                  </a:moveTo>
                  <a:lnTo>
                    <a:pt x="92" y="259"/>
                  </a:lnTo>
                  <a:lnTo>
                    <a:pt x="92" y="257"/>
                  </a:lnTo>
                  <a:close/>
                  <a:moveTo>
                    <a:pt x="92" y="259"/>
                  </a:moveTo>
                  <a:lnTo>
                    <a:pt x="94" y="259"/>
                  </a:lnTo>
                  <a:lnTo>
                    <a:pt x="94" y="261"/>
                  </a:lnTo>
                  <a:lnTo>
                    <a:pt x="92" y="261"/>
                  </a:lnTo>
                  <a:lnTo>
                    <a:pt x="92" y="259"/>
                  </a:lnTo>
                  <a:close/>
                  <a:moveTo>
                    <a:pt x="91" y="261"/>
                  </a:moveTo>
                  <a:lnTo>
                    <a:pt x="91" y="263"/>
                  </a:lnTo>
                  <a:lnTo>
                    <a:pt x="91" y="261"/>
                  </a:lnTo>
                  <a:close/>
                  <a:moveTo>
                    <a:pt x="348" y="33"/>
                  </a:moveTo>
                  <a:lnTo>
                    <a:pt x="348" y="35"/>
                  </a:lnTo>
                  <a:lnTo>
                    <a:pt x="348" y="33"/>
                  </a:lnTo>
                  <a:close/>
                  <a:moveTo>
                    <a:pt x="6" y="350"/>
                  </a:moveTo>
                  <a:lnTo>
                    <a:pt x="6" y="352"/>
                  </a:lnTo>
                  <a:lnTo>
                    <a:pt x="6" y="350"/>
                  </a:lnTo>
                  <a:close/>
                  <a:moveTo>
                    <a:pt x="131" y="175"/>
                  </a:moveTo>
                  <a:lnTo>
                    <a:pt x="131" y="177"/>
                  </a:lnTo>
                  <a:lnTo>
                    <a:pt x="131" y="175"/>
                  </a:lnTo>
                  <a:close/>
                  <a:moveTo>
                    <a:pt x="4" y="378"/>
                  </a:moveTo>
                  <a:lnTo>
                    <a:pt x="6" y="378"/>
                  </a:lnTo>
                  <a:lnTo>
                    <a:pt x="6" y="380"/>
                  </a:lnTo>
                  <a:lnTo>
                    <a:pt x="4" y="380"/>
                  </a:lnTo>
                  <a:lnTo>
                    <a:pt x="4" y="378"/>
                  </a:lnTo>
                  <a:close/>
                  <a:moveTo>
                    <a:pt x="110" y="231"/>
                  </a:moveTo>
                  <a:lnTo>
                    <a:pt x="110" y="232"/>
                  </a:lnTo>
                  <a:lnTo>
                    <a:pt x="110" y="231"/>
                  </a:lnTo>
                  <a:close/>
                  <a:moveTo>
                    <a:pt x="92" y="428"/>
                  </a:moveTo>
                  <a:lnTo>
                    <a:pt x="92" y="430"/>
                  </a:lnTo>
                  <a:lnTo>
                    <a:pt x="92" y="428"/>
                  </a:lnTo>
                  <a:close/>
                  <a:moveTo>
                    <a:pt x="208" y="71"/>
                  </a:moveTo>
                  <a:lnTo>
                    <a:pt x="208" y="73"/>
                  </a:lnTo>
                  <a:lnTo>
                    <a:pt x="208" y="71"/>
                  </a:lnTo>
                  <a:close/>
                  <a:moveTo>
                    <a:pt x="8" y="357"/>
                  </a:moveTo>
                  <a:lnTo>
                    <a:pt x="10" y="357"/>
                  </a:lnTo>
                  <a:lnTo>
                    <a:pt x="8" y="357"/>
                  </a:lnTo>
                  <a:close/>
                  <a:moveTo>
                    <a:pt x="25" y="325"/>
                  </a:moveTo>
                  <a:lnTo>
                    <a:pt x="25" y="327"/>
                  </a:lnTo>
                  <a:lnTo>
                    <a:pt x="25" y="325"/>
                  </a:lnTo>
                  <a:close/>
                  <a:moveTo>
                    <a:pt x="89" y="292"/>
                  </a:moveTo>
                  <a:lnTo>
                    <a:pt x="89" y="294"/>
                  </a:lnTo>
                  <a:lnTo>
                    <a:pt x="89" y="292"/>
                  </a:lnTo>
                  <a:close/>
                  <a:moveTo>
                    <a:pt x="152" y="111"/>
                  </a:moveTo>
                  <a:lnTo>
                    <a:pt x="154" y="111"/>
                  </a:lnTo>
                  <a:lnTo>
                    <a:pt x="154" y="113"/>
                  </a:lnTo>
                  <a:lnTo>
                    <a:pt x="152" y="113"/>
                  </a:lnTo>
                  <a:lnTo>
                    <a:pt x="152" y="111"/>
                  </a:lnTo>
                  <a:close/>
                  <a:moveTo>
                    <a:pt x="69" y="290"/>
                  </a:moveTo>
                  <a:lnTo>
                    <a:pt x="71" y="290"/>
                  </a:lnTo>
                  <a:lnTo>
                    <a:pt x="71" y="292"/>
                  </a:lnTo>
                  <a:lnTo>
                    <a:pt x="69" y="292"/>
                  </a:lnTo>
                  <a:lnTo>
                    <a:pt x="69" y="290"/>
                  </a:lnTo>
                  <a:close/>
                  <a:moveTo>
                    <a:pt x="300" y="44"/>
                  </a:moveTo>
                  <a:lnTo>
                    <a:pt x="302" y="44"/>
                  </a:lnTo>
                  <a:lnTo>
                    <a:pt x="302" y="46"/>
                  </a:lnTo>
                  <a:lnTo>
                    <a:pt x="300" y="46"/>
                  </a:lnTo>
                  <a:lnTo>
                    <a:pt x="300" y="44"/>
                  </a:lnTo>
                  <a:close/>
                  <a:moveTo>
                    <a:pt x="4" y="369"/>
                  </a:moveTo>
                  <a:lnTo>
                    <a:pt x="4" y="371"/>
                  </a:lnTo>
                  <a:lnTo>
                    <a:pt x="4" y="369"/>
                  </a:lnTo>
                  <a:close/>
                  <a:moveTo>
                    <a:pt x="75" y="282"/>
                  </a:moveTo>
                  <a:lnTo>
                    <a:pt x="77" y="282"/>
                  </a:lnTo>
                  <a:lnTo>
                    <a:pt x="77" y="284"/>
                  </a:lnTo>
                  <a:lnTo>
                    <a:pt x="75" y="284"/>
                  </a:lnTo>
                  <a:lnTo>
                    <a:pt x="75" y="282"/>
                  </a:lnTo>
                  <a:close/>
                  <a:moveTo>
                    <a:pt x="94" y="432"/>
                  </a:moveTo>
                  <a:lnTo>
                    <a:pt x="96" y="432"/>
                  </a:lnTo>
                  <a:lnTo>
                    <a:pt x="96" y="434"/>
                  </a:lnTo>
                  <a:lnTo>
                    <a:pt x="94" y="434"/>
                  </a:lnTo>
                  <a:lnTo>
                    <a:pt x="94" y="432"/>
                  </a:lnTo>
                  <a:close/>
                  <a:moveTo>
                    <a:pt x="8" y="411"/>
                  </a:moveTo>
                  <a:lnTo>
                    <a:pt x="10" y="411"/>
                  </a:lnTo>
                  <a:lnTo>
                    <a:pt x="8" y="411"/>
                  </a:lnTo>
                  <a:close/>
                  <a:moveTo>
                    <a:pt x="175" y="92"/>
                  </a:moveTo>
                  <a:lnTo>
                    <a:pt x="177" y="92"/>
                  </a:lnTo>
                  <a:lnTo>
                    <a:pt x="175" y="92"/>
                  </a:lnTo>
                  <a:close/>
                  <a:moveTo>
                    <a:pt x="56" y="294"/>
                  </a:moveTo>
                  <a:lnTo>
                    <a:pt x="58" y="294"/>
                  </a:lnTo>
                  <a:lnTo>
                    <a:pt x="56" y="294"/>
                  </a:lnTo>
                  <a:close/>
                  <a:moveTo>
                    <a:pt x="121" y="192"/>
                  </a:moveTo>
                  <a:lnTo>
                    <a:pt x="123" y="192"/>
                  </a:lnTo>
                  <a:lnTo>
                    <a:pt x="121" y="192"/>
                  </a:lnTo>
                  <a:close/>
                  <a:moveTo>
                    <a:pt x="302" y="42"/>
                  </a:moveTo>
                  <a:lnTo>
                    <a:pt x="304" y="42"/>
                  </a:lnTo>
                  <a:lnTo>
                    <a:pt x="304" y="44"/>
                  </a:lnTo>
                  <a:lnTo>
                    <a:pt x="302" y="44"/>
                  </a:lnTo>
                  <a:lnTo>
                    <a:pt x="302" y="42"/>
                  </a:lnTo>
                  <a:close/>
                  <a:moveTo>
                    <a:pt x="12" y="425"/>
                  </a:moveTo>
                  <a:lnTo>
                    <a:pt x="14" y="425"/>
                  </a:lnTo>
                  <a:lnTo>
                    <a:pt x="12" y="425"/>
                  </a:lnTo>
                  <a:close/>
                  <a:moveTo>
                    <a:pt x="96" y="254"/>
                  </a:moveTo>
                  <a:lnTo>
                    <a:pt x="98" y="254"/>
                  </a:lnTo>
                  <a:lnTo>
                    <a:pt x="96" y="254"/>
                  </a:lnTo>
                  <a:close/>
                  <a:moveTo>
                    <a:pt x="114" y="236"/>
                  </a:moveTo>
                  <a:lnTo>
                    <a:pt x="115" y="236"/>
                  </a:lnTo>
                  <a:lnTo>
                    <a:pt x="114" y="236"/>
                  </a:lnTo>
                  <a:close/>
                  <a:moveTo>
                    <a:pt x="4" y="388"/>
                  </a:moveTo>
                  <a:lnTo>
                    <a:pt x="6" y="388"/>
                  </a:lnTo>
                  <a:lnTo>
                    <a:pt x="6" y="390"/>
                  </a:lnTo>
                  <a:lnTo>
                    <a:pt x="4" y="390"/>
                  </a:lnTo>
                  <a:lnTo>
                    <a:pt x="4" y="388"/>
                  </a:lnTo>
                  <a:close/>
                  <a:moveTo>
                    <a:pt x="119" y="144"/>
                  </a:moveTo>
                  <a:lnTo>
                    <a:pt x="121" y="144"/>
                  </a:lnTo>
                  <a:lnTo>
                    <a:pt x="119" y="144"/>
                  </a:lnTo>
                  <a:close/>
                  <a:moveTo>
                    <a:pt x="139" y="156"/>
                  </a:moveTo>
                  <a:lnTo>
                    <a:pt x="139" y="158"/>
                  </a:lnTo>
                  <a:lnTo>
                    <a:pt x="139" y="156"/>
                  </a:lnTo>
                  <a:close/>
                  <a:moveTo>
                    <a:pt x="37" y="459"/>
                  </a:moveTo>
                  <a:lnTo>
                    <a:pt x="37" y="461"/>
                  </a:lnTo>
                  <a:lnTo>
                    <a:pt x="37" y="459"/>
                  </a:lnTo>
                  <a:close/>
                  <a:moveTo>
                    <a:pt x="83" y="271"/>
                  </a:moveTo>
                  <a:lnTo>
                    <a:pt x="85" y="271"/>
                  </a:lnTo>
                  <a:lnTo>
                    <a:pt x="83" y="271"/>
                  </a:lnTo>
                  <a:close/>
                  <a:moveTo>
                    <a:pt x="342" y="23"/>
                  </a:moveTo>
                  <a:lnTo>
                    <a:pt x="342" y="25"/>
                  </a:lnTo>
                  <a:lnTo>
                    <a:pt x="342" y="23"/>
                  </a:lnTo>
                  <a:close/>
                  <a:moveTo>
                    <a:pt x="66" y="294"/>
                  </a:moveTo>
                  <a:lnTo>
                    <a:pt x="68" y="294"/>
                  </a:lnTo>
                  <a:lnTo>
                    <a:pt x="68" y="296"/>
                  </a:lnTo>
                  <a:lnTo>
                    <a:pt x="66" y="296"/>
                  </a:lnTo>
                  <a:lnTo>
                    <a:pt x="66" y="294"/>
                  </a:lnTo>
                  <a:close/>
                  <a:moveTo>
                    <a:pt x="129" y="177"/>
                  </a:moveTo>
                  <a:lnTo>
                    <a:pt x="131" y="177"/>
                  </a:lnTo>
                  <a:lnTo>
                    <a:pt x="129" y="177"/>
                  </a:lnTo>
                  <a:close/>
                  <a:moveTo>
                    <a:pt x="160" y="133"/>
                  </a:moveTo>
                  <a:lnTo>
                    <a:pt x="160" y="134"/>
                  </a:lnTo>
                  <a:lnTo>
                    <a:pt x="160" y="133"/>
                  </a:lnTo>
                  <a:close/>
                  <a:moveTo>
                    <a:pt x="304" y="2"/>
                  </a:moveTo>
                  <a:lnTo>
                    <a:pt x="306" y="2"/>
                  </a:lnTo>
                  <a:lnTo>
                    <a:pt x="306" y="4"/>
                  </a:lnTo>
                  <a:lnTo>
                    <a:pt x="304" y="4"/>
                  </a:lnTo>
                  <a:lnTo>
                    <a:pt x="304" y="2"/>
                  </a:lnTo>
                  <a:close/>
                  <a:moveTo>
                    <a:pt x="353" y="46"/>
                  </a:moveTo>
                  <a:lnTo>
                    <a:pt x="355" y="46"/>
                  </a:lnTo>
                  <a:lnTo>
                    <a:pt x="355" y="48"/>
                  </a:lnTo>
                  <a:lnTo>
                    <a:pt x="353" y="48"/>
                  </a:lnTo>
                  <a:lnTo>
                    <a:pt x="353" y="46"/>
                  </a:lnTo>
                  <a:close/>
                  <a:moveTo>
                    <a:pt x="4" y="369"/>
                  </a:moveTo>
                  <a:lnTo>
                    <a:pt x="6" y="369"/>
                  </a:lnTo>
                  <a:lnTo>
                    <a:pt x="4" y="369"/>
                  </a:lnTo>
                  <a:close/>
                  <a:moveTo>
                    <a:pt x="300" y="42"/>
                  </a:moveTo>
                  <a:lnTo>
                    <a:pt x="302" y="42"/>
                  </a:lnTo>
                  <a:lnTo>
                    <a:pt x="302" y="44"/>
                  </a:lnTo>
                  <a:lnTo>
                    <a:pt x="300" y="44"/>
                  </a:lnTo>
                  <a:lnTo>
                    <a:pt x="300" y="42"/>
                  </a:lnTo>
                  <a:close/>
                  <a:moveTo>
                    <a:pt x="6" y="365"/>
                  </a:moveTo>
                  <a:lnTo>
                    <a:pt x="6" y="367"/>
                  </a:lnTo>
                  <a:lnTo>
                    <a:pt x="6" y="365"/>
                  </a:lnTo>
                  <a:close/>
                  <a:moveTo>
                    <a:pt x="304" y="12"/>
                  </a:moveTo>
                  <a:lnTo>
                    <a:pt x="304" y="13"/>
                  </a:lnTo>
                  <a:lnTo>
                    <a:pt x="304" y="12"/>
                  </a:lnTo>
                  <a:close/>
                  <a:moveTo>
                    <a:pt x="6" y="390"/>
                  </a:moveTo>
                  <a:lnTo>
                    <a:pt x="6" y="392"/>
                  </a:lnTo>
                  <a:lnTo>
                    <a:pt x="6" y="390"/>
                  </a:lnTo>
                  <a:close/>
                  <a:moveTo>
                    <a:pt x="6" y="386"/>
                  </a:moveTo>
                  <a:lnTo>
                    <a:pt x="6" y="388"/>
                  </a:lnTo>
                  <a:lnTo>
                    <a:pt x="6" y="386"/>
                  </a:lnTo>
                  <a:close/>
                  <a:moveTo>
                    <a:pt x="8" y="407"/>
                  </a:moveTo>
                  <a:lnTo>
                    <a:pt x="10" y="407"/>
                  </a:lnTo>
                  <a:lnTo>
                    <a:pt x="8" y="407"/>
                  </a:lnTo>
                  <a:close/>
                  <a:moveTo>
                    <a:pt x="300" y="42"/>
                  </a:moveTo>
                  <a:lnTo>
                    <a:pt x="300" y="44"/>
                  </a:lnTo>
                  <a:lnTo>
                    <a:pt x="300" y="42"/>
                  </a:lnTo>
                  <a:close/>
                  <a:moveTo>
                    <a:pt x="73" y="290"/>
                  </a:moveTo>
                  <a:lnTo>
                    <a:pt x="73" y="292"/>
                  </a:lnTo>
                  <a:lnTo>
                    <a:pt x="73" y="290"/>
                  </a:lnTo>
                  <a:close/>
                  <a:moveTo>
                    <a:pt x="12" y="411"/>
                  </a:moveTo>
                  <a:lnTo>
                    <a:pt x="12" y="413"/>
                  </a:lnTo>
                  <a:lnTo>
                    <a:pt x="12" y="411"/>
                  </a:lnTo>
                  <a:close/>
                  <a:moveTo>
                    <a:pt x="204" y="54"/>
                  </a:moveTo>
                  <a:lnTo>
                    <a:pt x="206" y="54"/>
                  </a:lnTo>
                  <a:lnTo>
                    <a:pt x="204" y="54"/>
                  </a:lnTo>
                  <a:close/>
                  <a:moveTo>
                    <a:pt x="54" y="294"/>
                  </a:moveTo>
                  <a:lnTo>
                    <a:pt x="56" y="294"/>
                  </a:lnTo>
                  <a:lnTo>
                    <a:pt x="56" y="296"/>
                  </a:lnTo>
                  <a:lnTo>
                    <a:pt x="54" y="296"/>
                  </a:lnTo>
                  <a:lnTo>
                    <a:pt x="54" y="294"/>
                  </a:lnTo>
                  <a:close/>
                  <a:moveTo>
                    <a:pt x="25" y="330"/>
                  </a:moveTo>
                  <a:lnTo>
                    <a:pt x="27" y="330"/>
                  </a:lnTo>
                  <a:lnTo>
                    <a:pt x="25" y="330"/>
                  </a:lnTo>
                  <a:close/>
                  <a:moveTo>
                    <a:pt x="327" y="27"/>
                  </a:moveTo>
                  <a:lnTo>
                    <a:pt x="329" y="27"/>
                  </a:lnTo>
                  <a:lnTo>
                    <a:pt x="327" y="27"/>
                  </a:lnTo>
                  <a:close/>
                  <a:moveTo>
                    <a:pt x="43" y="309"/>
                  </a:moveTo>
                  <a:lnTo>
                    <a:pt x="44" y="309"/>
                  </a:lnTo>
                  <a:lnTo>
                    <a:pt x="43" y="309"/>
                  </a:lnTo>
                  <a:close/>
                  <a:moveTo>
                    <a:pt x="106" y="252"/>
                  </a:moveTo>
                  <a:lnTo>
                    <a:pt x="106" y="254"/>
                  </a:lnTo>
                  <a:lnTo>
                    <a:pt x="106" y="252"/>
                  </a:lnTo>
                  <a:close/>
                  <a:moveTo>
                    <a:pt x="75" y="430"/>
                  </a:moveTo>
                  <a:lnTo>
                    <a:pt x="77" y="430"/>
                  </a:lnTo>
                  <a:lnTo>
                    <a:pt x="77" y="432"/>
                  </a:lnTo>
                  <a:lnTo>
                    <a:pt x="75" y="432"/>
                  </a:lnTo>
                  <a:lnTo>
                    <a:pt x="75" y="430"/>
                  </a:lnTo>
                  <a:close/>
                  <a:moveTo>
                    <a:pt x="313" y="6"/>
                  </a:moveTo>
                  <a:lnTo>
                    <a:pt x="313" y="8"/>
                  </a:lnTo>
                  <a:lnTo>
                    <a:pt x="313" y="6"/>
                  </a:lnTo>
                  <a:close/>
                  <a:moveTo>
                    <a:pt x="131" y="177"/>
                  </a:moveTo>
                  <a:lnTo>
                    <a:pt x="131" y="179"/>
                  </a:lnTo>
                  <a:lnTo>
                    <a:pt x="131" y="177"/>
                  </a:lnTo>
                  <a:close/>
                  <a:moveTo>
                    <a:pt x="16" y="430"/>
                  </a:moveTo>
                  <a:lnTo>
                    <a:pt x="18" y="430"/>
                  </a:lnTo>
                  <a:lnTo>
                    <a:pt x="18" y="432"/>
                  </a:lnTo>
                  <a:lnTo>
                    <a:pt x="16" y="432"/>
                  </a:lnTo>
                  <a:lnTo>
                    <a:pt x="16" y="430"/>
                  </a:lnTo>
                  <a:close/>
                  <a:moveTo>
                    <a:pt x="91" y="246"/>
                  </a:moveTo>
                  <a:lnTo>
                    <a:pt x="91" y="248"/>
                  </a:lnTo>
                  <a:lnTo>
                    <a:pt x="91" y="246"/>
                  </a:lnTo>
                  <a:close/>
                  <a:moveTo>
                    <a:pt x="117" y="213"/>
                  </a:moveTo>
                  <a:lnTo>
                    <a:pt x="119" y="213"/>
                  </a:lnTo>
                  <a:lnTo>
                    <a:pt x="119" y="215"/>
                  </a:lnTo>
                  <a:lnTo>
                    <a:pt x="117" y="215"/>
                  </a:lnTo>
                  <a:lnTo>
                    <a:pt x="117" y="213"/>
                  </a:lnTo>
                  <a:close/>
                  <a:moveTo>
                    <a:pt x="92" y="430"/>
                  </a:moveTo>
                  <a:lnTo>
                    <a:pt x="92" y="432"/>
                  </a:lnTo>
                  <a:lnTo>
                    <a:pt x="92" y="430"/>
                  </a:lnTo>
                  <a:close/>
                  <a:moveTo>
                    <a:pt x="142" y="109"/>
                  </a:moveTo>
                  <a:lnTo>
                    <a:pt x="144" y="109"/>
                  </a:lnTo>
                  <a:lnTo>
                    <a:pt x="144" y="111"/>
                  </a:lnTo>
                  <a:lnTo>
                    <a:pt x="142" y="111"/>
                  </a:lnTo>
                  <a:lnTo>
                    <a:pt x="142" y="109"/>
                  </a:lnTo>
                  <a:close/>
                  <a:moveTo>
                    <a:pt x="43" y="309"/>
                  </a:moveTo>
                  <a:lnTo>
                    <a:pt x="43" y="311"/>
                  </a:lnTo>
                  <a:lnTo>
                    <a:pt x="43" y="309"/>
                  </a:lnTo>
                  <a:close/>
                  <a:moveTo>
                    <a:pt x="98" y="263"/>
                  </a:moveTo>
                  <a:lnTo>
                    <a:pt x="100" y="263"/>
                  </a:lnTo>
                  <a:lnTo>
                    <a:pt x="98" y="263"/>
                  </a:lnTo>
                  <a:close/>
                  <a:moveTo>
                    <a:pt x="56" y="290"/>
                  </a:moveTo>
                  <a:lnTo>
                    <a:pt x="58" y="290"/>
                  </a:lnTo>
                  <a:lnTo>
                    <a:pt x="56" y="290"/>
                  </a:lnTo>
                  <a:close/>
                  <a:moveTo>
                    <a:pt x="115" y="204"/>
                  </a:moveTo>
                  <a:lnTo>
                    <a:pt x="117" y="204"/>
                  </a:lnTo>
                  <a:lnTo>
                    <a:pt x="117" y="206"/>
                  </a:lnTo>
                  <a:lnTo>
                    <a:pt x="115" y="206"/>
                  </a:lnTo>
                  <a:lnTo>
                    <a:pt x="115" y="204"/>
                  </a:lnTo>
                  <a:close/>
                  <a:moveTo>
                    <a:pt x="54" y="455"/>
                  </a:moveTo>
                  <a:lnTo>
                    <a:pt x="54" y="457"/>
                  </a:lnTo>
                  <a:lnTo>
                    <a:pt x="54" y="455"/>
                  </a:lnTo>
                  <a:close/>
                  <a:moveTo>
                    <a:pt x="44" y="307"/>
                  </a:moveTo>
                  <a:lnTo>
                    <a:pt x="44" y="309"/>
                  </a:lnTo>
                  <a:lnTo>
                    <a:pt x="44" y="307"/>
                  </a:lnTo>
                  <a:close/>
                  <a:moveTo>
                    <a:pt x="58" y="292"/>
                  </a:moveTo>
                  <a:lnTo>
                    <a:pt x="58" y="294"/>
                  </a:lnTo>
                  <a:lnTo>
                    <a:pt x="58" y="292"/>
                  </a:lnTo>
                  <a:close/>
                  <a:moveTo>
                    <a:pt x="4" y="376"/>
                  </a:moveTo>
                  <a:lnTo>
                    <a:pt x="6" y="376"/>
                  </a:lnTo>
                  <a:lnTo>
                    <a:pt x="4" y="376"/>
                  </a:lnTo>
                  <a:close/>
                  <a:moveTo>
                    <a:pt x="123" y="188"/>
                  </a:moveTo>
                  <a:lnTo>
                    <a:pt x="125" y="188"/>
                  </a:lnTo>
                  <a:lnTo>
                    <a:pt x="123" y="188"/>
                  </a:lnTo>
                  <a:close/>
                  <a:moveTo>
                    <a:pt x="14" y="434"/>
                  </a:moveTo>
                  <a:lnTo>
                    <a:pt x="14" y="436"/>
                  </a:lnTo>
                  <a:lnTo>
                    <a:pt x="14" y="434"/>
                  </a:lnTo>
                  <a:close/>
                  <a:moveTo>
                    <a:pt x="18" y="405"/>
                  </a:moveTo>
                  <a:lnTo>
                    <a:pt x="18" y="407"/>
                  </a:lnTo>
                  <a:lnTo>
                    <a:pt x="18" y="405"/>
                  </a:lnTo>
                  <a:close/>
                  <a:moveTo>
                    <a:pt x="104" y="240"/>
                  </a:moveTo>
                  <a:lnTo>
                    <a:pt x="106" y="240"/>
                  </a:lnTo>
                  <a:lnTo>
                    <a:pt x="104" y="240"/>
                  </a:lnTo>
                  <a:close/>
                  <a:moveTo>
                    <a:pt x="62" y="284"/>
                  </a:moveTo>
                  <a:lnTo>
                    <a:pt x="64" y="284"/>
                  </a:lnTo>
                  <a:lnTo>
                    <a:pt x="64" y="286"/>
                  </a:lnTo>
                  <a:lnTo>
                    <a:pt x="62" y="286"/>
                  </a:lnTo>
                  <a:lnTo>
                    <a:pt x="62" y="284"/>
                  </a:lnTo>
                  <a:close/>
                  <a:moveTo>
                    <a:pt x="8" y="355"/>
                  </a:moveTo>
                  <a:lnTo>
                    <a:pt x="10" y="355"/>
                  </a:lnTo>
                  <a:lnTo>
                    <a:pt x="8" y="355"/>
                  </a:lnTo>
                  <a:close/>
                  <a:moveTo>
                    <a:pt x="56" y="315"/>
                  </a:moveTo>
                  <a:lnTo>
                    <a:pt x="58" y="315"/>
                  </a:lnTo>
                  <a:lnTo>
                    <a:pt x="56" y="315"/>
                  </a:lnTo>
                  <a:close/>
                  <a:moveTo>
                    <a:pt x="89" y="407"/>
                  </a:moveTo>
                  <a:lnTo>
                    <a:pt x="89" y="409"/>
                  </a:lnTo>
                  <a:lnTo>
                    <a:pt x="89" y="407"/>
                  </a:lnTo>
                  <a:close/>
                  <a:moveTo>
                    <a:pt x="8" y="390"/>
                  </a:moveTo>
                  <a:lnTo>
                    <a:pt x="8" y="392"/>
                  </a:lnTo>
                  <a:lnTo>
                    <a:pt x="8" y="390"/>
                  </a:lnTo>
                  <a:close/>
                  <a:moveTo>
                    <a:pt x="137" y="158"/>
                  </a:moveTo>
                  <a:lnTo>
                    <a:pt x="139" y="158"/>
                  </a:lnTo>
                  <a:lnTo>
                    <a:pt x="137" y="158"/>
                  </a:lnTo>
                  <a:close/>
                  <a:moveTo>
                    <a:pt x="41" y="459"/>
                  </a:moveTo>
                  <a:lnTo>
                    <a:pt x="41" y="461"/>
                  </a:lnTo>
                  <a:lnTo>
                    <a:pt x="41" y="459"/>
                  </a:lnTo>
                  <a:close/>
                  <a:moveTo>
                    <a:pt x="150" y="102"/>
                  </a:moveTo>
                  <a:lnTo>
                    <a:pt x="152" y="102"/>
                  </a:lnTo>
                  <a:lnTo>
                    <a:pt x="150" y="102"/>
                  </a:lnTo>
                  <a:close/>
                  <a:moveTo>
                    <a:pt x="60" y="286"/>
                  </a:moveTo>
                  <a:lnTo>
                    <a:pt x="60" y="288"/>
                  </a:lnTo>
                  <a:lnTo>
                    <a:pt x="60" y="286"/>
                  </a:lnTo>
                  <a:close/>
                  <a:moveTo>
                    <a:pt x="311" y="12"/>
                  </a:moveTo>
                  <a:lnTo>
                    <a:pt x="313" y="12"/>
                  </a:lnTo>
                  <a:lnTo>
                    <a:pt x="311" y="12"/>
                  </a:lnTo>
                  <a:close/>
                  <a:moveTo>
                    <a:pt x="10" y="396"/>
                  </a:moveTo>
                  <a:lnTo>
                    <a:pt x="10" y="398"/>
                  </a:lnTo>
                  <a:lnTo>
                    <a:pt x="10" y="396"/>
                  </a:lnTo>
                  <a:close/>
                  <a:moveTo>
                    <a:pt x="94" y="250"/>
                  </a:moveTo>
                  <a:lnTo>
                    <a:pt x="96" y="250"/>
                  </a:lnTo>
                  <a:lnTo>
                    <a:pt x="96" y="252"/>
                  </a:lnTo>
                  <a:lnTo>
                    <a:pt x="94" y="252"/>
                  </a:lnTo>
                  <a:lnTo>
                    <a:pt x="94" y="250"/>
                  </a:lnTo>
                  <a:close/>
                  <a:moveTo>
                    <a:pt x="20" y="448"/>
                  </a:moveTo>
                  <a:lnTo>
                    <a:pt x="20" y="449"/>
                  </a:lnTo>
                  <a:lnTo>
                    <a:pt x="20" y="448"/>
                  </a:lnTo>
                  <a:close/>
                  <a:moveTo>
                    <a:pt x="50" y="296"/>
                  </a:moveTo>
                  <a:lnTo>
                    <a:pt x="50" y="298"/>
                  </a:lnTo>
                  <a:lnTo>
                    <a:pt x="50" y="296"/>
                  </a:lnTo>
                  <a:close/>
                  <a:moveTo>
                    <a:pt x="8" y="348"/>
                  </a:moveTo>
                  <a:lnTo>
                    <a:pt x="10" y="348"/>
                  </a:lnTo>
                  <a:lnTo>
                    <a:pt x="8" y="348"/>
                  </a:lnTo>
                  <a:close/>
                  <a:moveTo>
                    <a:pt x="12" y="400"/>
                  </a:moveTo>
                  <a:lnTo>
                    <a:pt x="14" y="400"/>
                  </a:lnTo>
                  <a:lnTo>
                    <a:pt x="12" y="400"/>
                  </a:lnTo>
                  <a:close/>
                  <a:moveTo>
                    <a:pt x="304" y="31"/>
                  </a:moveTo>
                  <a:lnTo>
                    <a:pt x="304" y="33"/>
                  </a:lnTo>
                  <a:lnTo>
                    <a:pt x="304" y="31"/>
                  </a:lnTo>
                  <a:close/>
                  <a:moveTo>
                    <a:pt x="68" y="279"/>
                  </a:moveTo>
                  <a:lnTo>
                    <a:pt x="68" y="280"/>
                  </a:lnTo>
                  <a:lnTo>
                    <a:pt x="68" y="279"/>
                  </a:lnTo>
                  <a:close/>
                  <a:moveTo>
                    <a:pt x="66" y="296"/>
                  </a:moveTo>
                  <a:lnTo>
                    <a:pt x="66" y="298"/>
                  </a:lnTo>
                  <a:lnTo>
                    <a:pt x="66" y="296"/>
                  </a:lnTo>
                  <a:close/>
                  <a:moveTo>
                    <a:pt x="121" y="196"/>
                  </a:moveTo>
                  <a:lnTo>
                    <a:pt x="123" y="196"/>
                  </a:lnTo>
                  <a:lnTo>
                    <a:pt x="121" y="196"/>
                  </a:lnTo>
                  <a:close/>
                  <a:moveTo>
                    <a:pt x="125" y="182"/>
                  </a:moveTo>
                  <a:lnTo>
                    <a:pt x="127" y="182"/>
                  </a:lnTo>
                  <a:lnTo>
                    <a:pt x="125" y="182"/>
                  </a:lnTo>
                  <a:close/>
                  <a:moveTo>
                    <a:pt x="77" y="280"/>
                  </a:moveTo>
                  <a:lnTo>
                    <a:pt x="77" y="282"/>
                  </a:lnTo>
                  <a:lnTo>
                    <a:pt x="77" y="280"/>
                  </a:lnTo>
                  <a:close/>
                  <a:moveTo>
                    <a:pt x="302" y="40"/>
                  </a:moveTo>
                  <a:lnTo>
                    <a:pt x="304" y="40"/>
                  </a:lnTo>
                  <a:lnTo>
                    <a:pt x="302" y="40"/>
                  </a:lnTo>
                  <a:close/>
                  <a:moveTo>
                    <a:pt x="10" y="421"/>
                  </a:moveTo>
                  <a:lnTo>
                    <a:pt x="10" y="423"/>
                  </a:lnTo>
                  <a:lnTo>
                    <a:pt x="10" y="421"/>
                  </a:lnTo>
                  <a:close/>
                  <a:moveTo>
                    <a:pt x="29" y="317"/>
                  </a:moveTo>
                  <a:lnTo>
                    <a:pt x="31" y="317"/>
                  </a:lnTo>
                  <a:lnTo>
                    <a:pt x="29" y="317"/>
                  </a:lnTo>
                  <a:close/>
                  <a:moveTo>
                    <a:pt x="83" y="271"/>
                  </a:moveTo>
                  <a:lnTo>
                    <a:pt x="85" y="271"/>
                  </a:lnTo>
                  <a:lnTo>
                    <a:pt x="85" y="273"/>
                  </a:lnTo>
                  <a:lnTo>
                    <a:pt x="83" y="273"/>
                  </a:lnTo>
                  <a:lnTo>
                    <a:pt x="83" y="271"/>
                  </a:lnTo>
                  <a:close/>
                  <a:moveTo>
                    <a:pt x="204" y="48"/>
                  </a:moveTo>
                  <a:lnTo>
                    <a:pt x="206" y="48"/>
                  </a:lnTo>
                  <a:lnTo>
                    <a:pt x="204" y="48"/>
                  </a:lnTo>
                  <a:close/>
                  <a:moveTo>
                    <a:pt x="144" y="161"/>
                  </a:moveTo>
                  <a:lnTo>
                    <a:pt x="144" y="163"/>
                  </a:lnTo>
                  <a:lnTo>
                    <a:pt x="144" y="161"/>
                  </a:lnTo>
                  <a:close/>
                  <a:moveTo>
                    <a:pt x="6" y="390"/>
                  </a:moveTo>
                  <a:lnTo>
                    <a:pt x="6" y="392"/>
                  </a:lnTo>
                  <a:lnTo>
                    <a:pt x="6" y="390"/>
                  </a:lnTo>
                  <a:close/>
                  <a:moveTo>
                    <a:pt x="6" y="394"/>
                  </a:moveTo>
                  <a:lnTo>
                    <a:pt x="6" y="396"/>
                  </a:lnTo>
                  <a:lnTo>
                    <a:pt x="6" y="394"/>
                  </a:lnTo>
                  <a:close/>
                  <a:moveTo>
                    <a:pt x="4" y="382"/>
                  </a:moveTo>
                  <a:lnTo>
                    <a:pt x="6" y="382"/>
                  </a:lnTo>
                  <a:lnTo>
                    <a:pt x="4" y="382"/>
                  </a:lnTo>
                  <a:close/>
                  <a:moveTo>
                    <a:pt x="4" y="367"/>
                  </a:moveTo>
                  <a:lnTo>
                    <a:pt x="6" y="367"/>
                  </a:lnTo>
                  <a:lnTo>
                    <a:pt x="6" y="369"/>
                  </a:lnTo>
                  <a:lnTo>
                    <a:pt x="4" y="369"/>
                  </a:lnTo>
                  <a:lnTo>
                    <a:pt x="4" y="367"/>
                  </a:lnTo>
                  <a:close/>
                  <a:moveTo>
                    <a:pt x="367" y="54"/>
                  </a:moveTo>
                  <a:lnTo>
                    <a:pt x="369" y="54"/>
                  </a:lnTo>
                  <a:lnTo>
                    <a:pt x="367" y="54"/>
                  </a:lnTo>
                  <a:close/>
                  <a:moveTo>
                    <a:pt x="152" y="117"/>
                  </a:moveTo>
                  <a:lnTo>
                    <a:pt x="152" y="119"/>
                  </a:lnTo>
                  <a:lnTo>
                    <a:pt x="152" y="117"/>
                  </a:lnTo>
                  <a:close/>
                  <a:moveTo>
                    <a:pt x="288" y="13"/>
                  </a:moveTo>
                  <a:lnTo>
                    <a:pt x="288" y="15"/>
                  </a:lnTo>
                  <a:lnTo>
                    <a:pt x="288" y="13"/>
                  </a:lnTo>
                  <a:close/>
                  <a:moveTo>
                    <a:pt x="160" y="129"/>
                  </a:moveTo>
                  <a:lnTo>
                    <a:pt x="160" y="131"/>
                  </a:lnTo>
                  <a:lnTo>
                    <a:pt x="160" y="129"/>
                  </a:lnTo>
                  <a:close/>
                  <a:moveTo>
                    <a:pt x="146" y="144"/>
                  </a:moveTo>
                  <a:lnTo>
                    <a:pt x="148" y="144"/>
                  </a:lnTo>
                  <a:lnTo>
                    <a:pt x="148" y="146"/>
                  </a:lnTo>
                  <a:lnTo>
                    <a:pt x="146" y="146"/>
                  </a:lnTo>
                  <a:lnTo>
                    <a:pt x="146" y="144"/>
                  </a:lnTo>
                  <a:close/>
                  <a:moveTo>
                    <a:pt x="46" y="311"/>
                  </a:moveTo>
                  <a:lnTo>
                    <a:pt x="48" y="311"/>
                  </a:lnTo>
                  <a:lnTo>
                    <a:pt x="46" y="311"/>
                  </a:lnTo>
                  <a:close/>
                  <a:moveTo>
                    <a:pt x="194" y="69"/>
                  </a:moveTo>
                  <a:lnTo>
                    <a:pt x="194" y="71"/>
                  </a:lnTo>
                  <a:lnTo>
                    <a:pt x="194" y="69"/>
                  </a:lnTo>
                  <a:close/>
                  <a:moveTo>
                    <a:pt x="77" y="279"/>
                  </a:moveTo>
                  <a:lnTo>
                    <a:pt x="79" y="279"/>
                  </a:lnTo>
                  <a:lnTo>
                    <a:pt x="77" y="279"/>
                  </a:lnTo>
                  <a:close/>
                  <a:moveTo>
                    <a:pt x="152" y="102"/>
                  </a:moveTo>
                  <a:lnTo>
                    <a:pt x="152" y="104"/>
                  </a:lnTo>
                  <a:lnTo>
                    <a:pt x="152" y="102"/>
                  </a:lnTo>
                  <a:close/>
                  <a:moveTo>
                    <a:pt x="112" y="229"/>
                  </a:moveTo>
                  <a:lnTo>
                    <a:pt x="114" y="229"/>
                  </a:lnTo>
                  <a:lnTo>
                    <a:pt x="114" y="231"/>
                  </a:lnTo>
                  <a:lnTo>
                    <a:pt x="112" y="231"/>
                  </a:lnTo>
                  <a:lnTo>
                    <a:pt x="112" y="229"/>
                  </a:lnTo>
                  <a:close/>
                  <a:moveTo>
                    <a:pt x="135" y="121"/>
                  </a:moveTo>
                  <a:lnTo>
                    <a:pt x="137" y="121"/>
                  </a:lnTo>
                  <a:lnTo>
                    <a:pt x="137" y="123"/>
                  </a:lnTo>
                  <a:lnTo>
                    <a:pt x="135" y="123"/>
                  </a:lnTo>
                  <a:lnTo>
                    <a:pt x="135" y="121"/>
                  </a:lnTo>
                  <a:close/>
                  <a:moveTo>
                    <a:pt x="6" y="375"/>
                  </a:moveTo>
                  <a:lnTo>
                    <a:pt x="6" y="376"/>
                  </a:lnTo>
                  <a:lnTo>
                    <a:pt x="6" y="375"/>
                  </a:lnTo>
                  <a:close/>
                  <a:moveTo>
                    <a:pt x="85" y="428"/>
                  </a:moveTo>
                  <a:lnTo>
                    <a:pt x="85" y="430"/>
                  </a:lnTo>
                  <a:lnTo>
                    <a:pt x="85" y="428"/>
                  </a:lnTo>
                  <a:close/>
                  <a:moveTo>
                    <a:pt x="121" y="194"/>
                  </a:moveTo>
                  <a:lnTo>
                    <a:pt x="121" y="196"/>
                  </a:lnTo>
                  <a:lnTo>
                    <a:pt x="121" y="194"/>
                  </a:lnTo>
                  <a:close/>
                  <a:moveTo>
                    <a:pt x="56" y="453"/>
                  </a:moveTo>
                  <a:lnTo>
                    <a:pt x="56" y="455"/>
                  </a:lnTo>
                  <a:lnTo>
                    <a:pt x="56" y="453"/>
                  </a:lnTo>
                  <a:close/>
                  <a:moveTo>
                    <a:pt x="137" y="163"/>
                  </a:moveTo>
                  <a:lnTo>
                    <a:pt x="139" y="163"/>
                  </a:lnTo>
                  <a:lnTo>
                    <a:pt x="137" y="163"/>
                  </a:lnTo>
                  <a:close/>
                  <a:moveTo>
                    <a:pt x="306" y="40"/>
                  </a:moveTo>
                  <a:lnTo>
                    <a:pt x="306" y="42"/>
                  </a:lnTo>
                  <a:lnTo>
                    <a:pt x="306" y="40"/>
                  </a:lnTo>
                  <a:close/>
                  <a:moveTo>
                    <a:pt x="10" y="405"/>
                  </a:moveTo>
                  <a:lnTo>
                    <a:pt x="12" y="405"/>
                  </a:lnTo>
                  <a:lnTo>
                    <a:pt x="10" y="405"/>
                  </a:lnTo>
                  <a:close/>
                  <a:moveTo>
                    <a:pt x="169" y="133"/>
                  </a:moveTo>
                  <a:lnTo>
                    <a:pt x="171" y="133"/>
                  </a:lnTo>
                  <a:lnTo>
                    <a:pt x="169" y="133"/>
                  </a:lnTo>
                  <a:close/>
                  <a:moveTo>
                    <a:pt x="68" y="294"/>
                  </a:moveTo>
                  <a:lnTo>
                    <a:pt x="69" y="294"/>
                  </a:lnTo>
                  <a:lnTo>
                    <a:pt x="68" y="294"/>
                  </a:lnTo>
                  <a:close/>
                  <a:moveTo>
                    <a:pt x="58" y="292"/>
                  </a:moveTo>
                  <a:lnTo>
                    <a:pt x="60" y="292"/>
                  </a:lnTo>
                  <a:lnTo>
                    <a:pt x="58" y="292"/>
                  </a:lnTo>
                  <a:close/>
                  <a:moveTo>
                    <a:pt x="6" y="378"/>
                  </a:moveTo>
                  <a:lnTo>
                    <a:pt x="6" y="380"/>
                  </a:lnTo>
                  <a:lnTo>
                    <a:pt x="6" y="378"/>
                  </a:lnTo>
                  <a:close/>
                  <a:moveTo>
                    <a:pt x="194" y="98"/>
                  </a:moveTo>
                  <a:lnTo>
                    <a:pt x="194" y="100"/>
                  </a:lnTo>
                  <a:lnTo>
                    <a:pt x="194" y="98"/>
                  </a:lnTo>
                  <a:close/>
                  <a:moveTo>
                    <a:pt x="98" y="257"/>
                  </a:moveTo>
                  <a:lnTo>
                    <a:pt x="98" y="259"/>
                  </a:lnTo>
                  <a:lnTo>
                    <a:pt x="98" y="257"/>
                  </a:lnTo>
                  <a:close/>
                  <a:moveTo>
                    <a:pt x="8" y="382"/>
                  </a:moveTo>
                  <a:lnTo>
                    <a:pt x="8" y="384"/>
                  </a:lnTo>
                  <a:lnTo>
                    <a:pt x="8" y="382"/>
                  </a:lnTo>
                  <a:close/>
                  <a:moveTo>
                    <a:pt x="217" y="60"/>
                  </a:moveTo>
                  <a:lnTo>
                    <a:pt x="217" y="61"/>
                  </a:lnTo>
                  <a:lnTo>
                    <a:pt x="217" y="60"/>
                  </a:lnTo>
                  <a:close/>
                  <a:moveTo>
                    <a:pt x="29" y="327"/>
                  </a:moveTo>
                  <a:lnTo>
                    <a:pt x="31" y="327"/>
                  </a:lnTo>
                  <a:lnTo>
                    <a:pt x="31" y="328"/>
                  </a:lnTo>
                  <a:lnTo>
                    <a:pt x="29" y="328"/>
                  </a:lnTo>
                  <a:lnTo>
                    <a:pt x="29" y="327"/>
                  </a:lnTo>
                  <a:close/>
                  <a:moveTo>
                    <a:pt x="133" y="131"/>
                  </a:moveTo>
                  <a:lnTo>
                    <a:pt x="133" y="133"/>
                  </a:lnTo>
                  <a:lnTo>
                    <a:pt x="133" y="131"/>
                  </a:lnTo>
                  <a:close/>
                  <a:moveTo>
                    <a:pt x="85" y="419"/>
                  </a:moveTo>
                  <a:lnTo>
                    <a:pt x="87" y="419"/>
                  </a:lnTo>
                  <a:lnTo>
                    <a:pt x="85" y="419"/>
                  </a:lnTo>
                  <a:close/>
                  <a:moveTo>
                    <a:pt x="8" y="409"/>
                  </a:moveTo>
                  <a:lnTo>
                    <a:pt x="10" y="409"/>
                  </a:lnTo>
                  <a:lnTo>
                    <a:pt x="8" y="409"/>
                  </a:lnTo>
                  <a:close/>
                  <a:moveTo>
                    <a:pt x="91" y="248"/>
                  </a:moveTo>
                  <a:lnTo>
                    <a:pt x="91" y="250"/>
                  </a:lnTo>
                  <a:lnTo>
                    <a:pt x="91" y="248"/>
                  </a:lnTo>
                  <a:close/>
                  <a:moveTo>
                    <a:pt x="71" y="436"/>
                  </a:moveTo>
                  <a:lnTo>
                    <a:pt x="73" y="436"/>
                  </a:lnTo>
                  <a:lnTo>
                    <a:pt x="73" y="438"/>
                  </a:lnTo>
                  <a:lnTo>
                    <a:pt x="71" y="438"/>
                  </a:lnTo>
                  <a:lnTo>
                    <a:pt x="71" y="436"/>
                  </a:lnTo>
                  <a:close/>
                  <a:moveTo>
                    <a:pt x="4" y="386"/>
                  </a:moveTo>
                  <a:lnTo>
                    <a:pt x="4" y="388"/>
                  </a:lnTo>
                  <a:lnTo>
                    <a:pt x="4" y="386"/>
                  </a:lnTo>
                  <a:close/>
                  <a:moveTo>
                    <a:pt x="98" y="248"/>
                  </a:moveTo>
                  <a:lnTo>
                    <a:pt x="100" y="248"/>
                  </a:lnTo>
                  <a:lnTo>
                    <a:pt x="100" y="250"/>
                  </a:lnTo>
                  <a:lnTo>
                    <a:pt x="98" y="250"/>
                  </a:lnTo>
                  <a:lnTo>
                    <a:pt x="98" y="248"/>
                  </a:lnTo>
                  <a:close/>
                  <a:moveTo>
                    <a:pt x="123" y="188"/>
                  </a:moveTo>
                  <a:lnTo>
                    <a:pt x="125" y="188"/>
                  </a:lnTo>
                  <a:lnTo>
                    <a:pt x="123" y="188"/>
                  </a:lnTo>
                  <a:close/>
                  <a:moveTo>
                    <a:pt x="290" y="12"/>
                  </a:moveTo>
                  <a:lnTo>
                    <a:pt x="292" y="12"/>
                  </a:lnTo>
                  <a:lnTo>
                    <a:pt x="292" y="13"/>
                  </a:lnTo>
                  <a:lnTo>
                    <a:pt x="290" y="13"/>
                  </a:lnTo>
                  <a:lnTo>
                    <a:pt x="290" y="12"/>
                  </a:lnTo>
                  <a:close/>
                  <a:moveTo>
                    <a:pt x="148" y="142"/>
                  </a:moveTo>
                  <a:lnTo>
                    <a:pt x="150" y="142"/>
                  </a:lnTo>
                  <a:lnTo>
                    <a:pt x="148" y="142"/>
                  </a:lnTo>
                  <a:close/>
                  <a:moveTo>
                    <a:pt x="10" y="415"/>
                  </a:moveTo>
                  <a:lnTo>
                    <a:pt x="10" y="417"/>
                  </a:lnTo>
                  <a:lnTo>
                    <a:pt x="10" y="415"/>
                  </a:lnTo>
                  <a:close/>
                  <a:moveTo>
                    <a:pt x="114" y="200"/>
                  </a:moveTo>
                  <a:lnTo>
                    <a:pt x="114" y="202"/>
                  </a:lnTo>
                  <a:lnTo>
                    <a:pt x="114" y="200"/>
                  </a:lnTo>
                  <a:close/>
                  <a:moveTo>
                    <a:pt x="91" y="246"/>
                  </a:moveTo>
                  <a:lnTo>
                    <a:pt x="92" y="246"/>
                  </a:lnTo>
                  <a:lnTo>
                    <a:pt x="91" y="246"/>
                  </a:lnTo>
                  <a:close/>
                  <a:moveTo>
                    <a:pt x="50" y="309"/>
                  </a:moveTo>
                  <a:lnTo>
                    <a:pt x="52" y="309"/>
                  </a:lnTo>
                  <a:lnTo>
                    <a:pt x="50" y="309"/>
                  </a:lnTo>
                  <a:close/>
                  <a:moveTo>
                    <a:pt x="114" y="211"/>
                  </a:moveTo>
                  <a:lnTo>
                    <a:pt x="114" y="213"/>
                  </a:lnTo>
                  <a:lnTo>
                    <a:pt x="114" y="211"/>
                  </a:lnTo>
                  <a:close/>
                  <a:moveTo>
                    <a:pt x="210" y="67"/>
                  </a:moveTo>
                  <a:lnTo>
                    <a:pt x="210" y="69"/>
                  </a:lnTo>
                  <a:lnTo>
                    <a:pt x="210" y="67"/>
                  </a:lnTo>
                  <a:close/>
                  <a:moveTo>
                    <a:pt x="52" y="457"/>
                  </a:moveTo>
                  <a:lnTo>
                    <a:pt x="52" y="459"/>
                  </a:lnTo>
                  <a:lnTo>
                    <a:pt x="52" y="457"/>
                  </a:lnTo>
                  <a:close/>
                  <a:moveTo>
                    <a:pt x="10" y="344"/>
                  </a:moveTo>
                  <a:lnTo>
                    <a:pt x="12" y="344"/>
                  </a:lnTo>
                  <a:lnTo>
                    <a:pt x="10" y="344"/>
                  </a:lnTo>
                  <a:close/>
                  <a:moveTo>
                    <a:pt x="188" y="88"/>
                  </a:moveTo>
                  <a:lnTo>
                    <a:pt x="190" y="88"/>
                  </a:lnTo>
                  <a:lnTo>
                    <a:pt x="188" y="88"/>
                  </a:lnTo>
                  <a:close/>
                  <a:moveTo>
                    <a:pt x="85" y="417"/>
                  </a:moveTo>
                  <a:lnTo>
                    <a:pt x="85" y="419"/>
                  </a:lnTo>
                  <a:lnTo>
                    <a:pt x="85" y="417"/>
                  </a:lnTo>
                  <a:close/>
                  <a:moveTo>
                    <a:pt x="325" y="15"/>
                  </a:moveTo>
                  <a:lnTo>
                    <a:pt x="327" y="15"/>
                  </a:lnTo>
                  <a:lnTo>
                    <a:pt x="327" y="17"/>
                  </a:lnTo>
                  <a:lnTo>
                    <a:pt x="325" y="17"/>
                  </a:lnTo>
                  <a:lnTo>
                    <a:pt x="325" y="15"/>
                  </a:lnTo>
                  <a:close/>
                  <a:moveTo>
                    <a:pt x="89" y="252"/>
                  </a:moveTo>
                  <a:lnTo>
                    <a:pt x="91" y="252"/>
                  </a:lnTo>
                  <a:lnTo>
                    <a:pt x="89" y="252"/>
                  </a:lnTo>
                  <a:close/>
                  <a:moveTo>
                    <a:pt x="142" y="111"/>
                  </a:moveTo>
                  <a:lnTo>
                    <a:pt x="144" y="111"/>
                  </a:lnTo>
                  <a:lnTo>
                    <a:pt x="142" y="111"/>
                  </a:lnTo>
                  <a:close/>
                  <a:moveTo>
                    <a:pt x="68" y="294"/>
                  </a:moveTo>
                  <a:lnTo>
                    <a:pt x="69" y="294"/>
                  </a:lnTo>
                  <a:lnTo>
                    <a:pt x="68" y="294"/>
                  </a:lnTo>
                  <a:close/>
                  <a:moveTo>
                    <a:pt x="10" y="405"/>
                  </a:moveTo>
                  <a:lnTo>
                    <a:pt x="10" y="407"/>
                  </a:lnTo>
                  <a:lnTo>
                    <a:pt x="10" y="405"/>
                  </a:lnTo>
                  <a:close/>
                  <a:moveTo>
                    <a:pt x="150" y="140"/>
                  </a:moveTo>
                  <a:lnTo>
                    <a:pt x="150" y="142"/>
                  </a:lnTo>
                  <a:lnTo>
                    <a:pt x="150" y="140"/>
                  </a:lnTo>
                  <a:close/>
                  <a:moveTo>
                    <a:pt x="35" y="313"/>
                  </a:moveTo>
                  <a:lnTo>
                    <a:pt x="37" y="313"/>
                  </a:lnTo>
                  <a:lnTo>
                    <a:pt x="37" y="315"/>
                  </a:lnTo>
                  <a:lnTo>
                    <a:pt x="35" y="315"/>
                  </a:lnTo>
                  <a:lnTo>
                    <a:pt x="35" y="313"/>
                  </a:lnTo>
                  <a:close/>
                  <a:moveTo>
                    <a:pt x="306" y="4"/>
                  </a:moveTo>
                  <a:lnTo>
                    <a:pt x="306" y="6"/>
                  </a:lnTo>
                  <a:lnTo>
                    <a:pt x="306" y="4"/>
                  </a:lnTo>
                  <a:close/>
                  <a:moveTo>
                    <a:pt x="108" y="238"/>
                  </a:moveTo>
                  <a:lnTo>
                    <a:pt x="110" y="238"/>
                  </a:lnTo>
                  <a:lnTo>
                    <a:pt x="108" y="238"/>
                  </a:lnTo>
                  <a:close/>
                  <a:moveTo>
                    <a:pt x="68" y="296"/>
                  </a:moveTo>
                  <a:lnTo>
                    <a:pt x="68" y="298"/>
                  </a:lnTo>
                  <a:lnTo>
                    <a:pt x="68" y="296"/>
                  </a:lnTo>
                  <a:close/>
                  <a:moveTo>
                    <a:pt x="131" y="177"/>
                  </a:moveTo>
                  <a:lnTo>
                    <a:pt x="131" y="179"/>
                  </a:lnTo>
                  <a:lnTo>
                    <a:pt x="131" y="177"/>
                  </a:lnTo>
                  <a:close/>
                  <a:moveTo>
                    <a:pt x="10" y="405"/>
                  </a:moveTo>
                  <a:lnTo>
                    <a:pt x="10" y="407"/>
                  </a:lnTo>
                  <a:lnTo>
                    <a:pt x="10" y="405"/>
                  </a:lnTo>
                  <a:close/>
                  <a:moveTo>
                    <a:pt x="92" y="246"/>
                  </a:moveTo>
                  <a:lnTo>
                    <a:pt x="94" y="246"/>
                  </a:lnTo>
                  <a:lnTo>
                    <a:pt x="92" y="246"/>
                  </a:lnTo>
                  <a:close/>
                  <a:moveTo>
                    <a:pt x="119" y="196"/>
                  </a:moveTo>
                  <a:lnTo>
                    <a:pt x="121" y="196"/>
                  </a:lnTo>
                  <a:lnTo>
                    <a:pt x="119" y="196"/>
                  </a:lnTo>
                  <a:close/>
                  <a:moveTo>
                    <a:pt x="68" y="292"/>
                  </a:moveTo>
                  <a:lnTo>
                    <a:pt x="68" y="294"/>
                  </a:lnTo>
                  <a:lnTo>
                    <a:pt x="68" y="292"/>
                  </a:lnTo>
                  <a:close/>
                  <a:moveTo>
                    <a:pt x="6" y="382"/>
                  </a:moveTo>
                  <a:lnTo>
                    <a:pt x="6" y="384"/>
                  </a:lnTo>
                  <a:lnTo>
                    <a:pt x="6" y="382"/>
                  </a:lnTo>
                  <a:close/>
                  <a:moveTo>
                    <a:pt x="87" y="426"/>
                  </a:moveTo>
                  <a:lnTo>
                    <a:pt x="89" y="426"/>
                  </a:lnTo>
                  <a:lnTo>
                    <a:pt x="87" y="426"/>
                  </a:lnTo>
                  <a:close/>
                  <a:moveTo>
                    <a:pt x="110" y="219"/>
                  </a:moveTo>
                  <a:lnTo>
                    <a:pt x="110" y="221"/>
                  </a:lnTo>
                  <a:lnTo>
                    <a:pt x="110" y="219"/>
                  </a:lnTo>
                  <a:close/>
                  <a:moveTo>
                    <a:pt x="110" y="229"/>
                  </a:moveTo>
                  <a:lnTo>
                    <a:pt x="112" y="229"/>
                  </a:lnTo>
                  <a:lnTo>
                    <a:pt x="110" y="229"/>
                  </a:lnTo>
                  <a:close/>
                  <a:moveTo>
                    <a:pt x="135" y="167"/>
                  </a:moveTo>
                  <a:lnTo>
                    <a:pt x="137" y="167"/>
                  </a:lnTo>
                  <a:lnTo>
                    <a:pt x="135" y="167"/>
                  </a:lnTo>
                  <a:close/>
                  <a:moveTo>
                    <a:pt x="4" y="388"/>
                  </a:moveTo>
                  <a:lnTo>
                    <a:pt x="6" y="388"/>
                  </a:lnTo>
                  <a:lnTo>
                    <a:pt x="4" y="388"/>
                  </a:lnTo>
                  <a:close/>
                  <a:moveTo>
                    <a:pt x="4" y="375"/>
                  </a:moveTo>
                  <a:lnTo>
                    <a:pt x="6" y="375"/>
                  </a:lnTo>
                  <a:lnTo>
                    <a:pt x="6" y="376"/>
                  </a:lnTo>
                  <a:lnTo>
                    <a:pt x="4" y="376"/>
                  </a:lnTo>
                  <a:lnTo>
                    <a:pt x="4" y="375"/>
                  </a:lnTo>
                  <a:close/>
                  <a:moveTo>
                    <a:pt x="236" y="56"/>
                  </a:moveTo>
                  <a:lnTo>
                    <a:pt x="236" y="58"/>
                  </a:lnTo>
                  <a:lnTo>
                    <a:pt x="236" y="56"/>
                  </a:lnTo>
                  <a:close/>
                  <a:moveTo>
                    <a:pt x="119" y="188"/>
                  </a:moveTo>
                  <a:lnTo>
                    <a:pt x="121" y="188"/>
                  </a:lnTo>
                  <a:lnTo>
                    <a:pt x="119" y="188"/>
                  </a:lnTo>
                  <a:close/>
                  <a:moveTo>
                    <a:pt x="31" y="323"/>
                  </a:moveTo>
                  <a:lnTo>
                    <a:pt x="31" y="325"/>
                  </a:lnTo>
                  <a:lnTo>
                    <a:pt x="31" y="323"/>
                  </a:lnTo>
                  <a:close/>
                  <a:moveTo>
                    <a:pt x="4" y="378"/>
                  </a:moveTo>
                  <a:lnTo>
                    <a:pt x="4" y="380"/>
                  </a:lnTo>
                  <a:lnTo>
                    <a:pt x="4" y="378"/>
                  </a:lnTo>
                  <a:close/>
                  <a:moveTo>
                    <a:pt x="10" y="380"/>
                  </a:moveTo>
                  <a:lnTo>
                    <a:pt x="12" y="380"/>
                  </a:lnTo>
                  <a:lnTo>
                    <a:pt x="10" y="380"/>
                  </a:lnTo>
                  <a:close/>
                  <a:moveTo>
                    <a:pt x="18" y="432"/>
                  </a:moveTo>
                  <a:lnTo>
                    <a:pt x="20" y="432"/>
                  </a:lnTo>
                  <a:lnTo>
                    <a:pt x="18" y="432"/>
                  </a:lnTo>
                  <a:close/>
                  <a:moveTo>
                    <a:pt x="304" y="35"/>
                  </a:moveTo>
                  <a:lnTo>
                    <a:pt x="304" y="37"/>
                  </a:lnTo>
                  <a:lnTo>
                    <a:pt x="304" y="35"/>
                  </a:lnTo>
                  <a:close/>
                  <a:moveTo>
                    <a:pt x="112" y="217"/>
                  </a:moveTo>
                  <a:lnTo>
                    <a:pt x="114" y="217"/>
                  </a:lnTo>
                  <a:lnTo>
                    <a:pt x="112" y="217"/>
                  </a:lnTo>
                  <a:close/>
                  <a:moveTo>
                    <a:pt x="92" y="246"/>
                  </a:moveTo>
                  <a:lnTo>
                    <a:pt x="94" y="246"/>
                  </a:lnTo>
                  <a:lnTo>
                    <a:pt x="92" y="246"/>
                  </a:lnTo>
                  <a:close/>
                  <a:moveTo>
                    <a:pt x="140" y="125"/>
                  </a:moveTo>
                  <a:lnTo>
                    <a:pt x="142" y="125"/>
                  </a:lnTo>
                  <a:lnTo>
                    <a:pt x="142" y="127"/>
                  </a:lnTo>
                  <a:lnTo>
                    <a:pt x="140" y="127"/>
                  </a:lnTo>
                  <a:lnTo>
                    <a:pt x="140" y="125"/>
                  </a:lnTo>
                  <a:close/>
                  <a:moveTo>
                    <a:pt x="148" y="102"/>
                  </a:moveTo>
                  <a:lnTo>
                    <a:pt x="150" y="102"/>
                  </a:lnTo>
                  <a:lnTo>
                    <a:pt x="148" y="102"/>
                  </a:lnTo>
                  <a:close/>
                  <a:moveTo>
                    <a:pt x="6" y="376"/>
                  </a:moveTo>
                  <a:lnTo>
                    <a:pt x="6" y="378"/>
                  </a:lnTo>
                  <a:lnTo>
                    <a:pt x="6" y="376"/>
                  </a:lnTo>
                  <a:close/>
                  <a:moveTo>
                    <a:pt x="52" y="457"/>
                  </a:moveTo>
                  <a:lnTo>
                    <a:pt x="52" y="459"/>
                  </a:lnTo>
                  <a:lnTo>
                    <a:pt x="52" y="457"/>
                  </a:lnTo>
                  <a:close/>
                  <a:moveTo>
                    <a:pt x="10" y="421"/>
                  </a:moveTo>
                  <a:lnTo>
                    <a:pt x="10" y="423"/>
                  </a:lnTo>
                  <a:lnTo>
                    <a:pt x="10" y="421"/>
                  </a:lnTo>
                  <a:close/>
                  <a:moveTo>
                    <a:pt x="115" y="182"/>
                  </a:moveTo>
                  <a:lnTo>
                    <a:pt x="117" y="182"/>
                  </a:lnTo>
                  <a:lnTo>
                    <a:pt x="115" y="182"/>
                  </a:lnTo>
                  <a:close/>
                  <a:moveTo>
                    <a:pt x="39" y="459"/>
                  </a:moveTo>
                  <a:lnTo>
                    <a:pt x="39" y="461"/>
                  </a:lnTo>
                  <a:lnTo>
                    <a:pt x="39" y="459"/>
                  </a:lnTo>
                  <a:close/>
                  <a:moveTo>
                    <a:pt x="110" y="221"/>
                  </a:moveTo>
                  <a:lnTo>
                    <a:pt x="110" y="223"/>
                  </a:lnTo>
                  <a:lnTo>
                    <a:pt x="110" y="221"/>
                  </a:lnTo>
                  <a:close/>
                  <a:moveTo>
                    <a:pt x="89" y="250"/>
                  </a:moveTo>
                  <a:lnTo>
                    <a:pt x="91" y="250"/>
                  </a:lnTo>
                  <a:lnTo>
                    <a:pt x="89" y="250"/>
                  </a:lnTo>
                  <a:close/>
                  <a:moveTo>
                    <a:pt x="58" y="292"/>
                  </a:moveTo>
                  <a:lnTo>
                    <a:pt x="58" y="294"/>
                  </a:lnTo>
                  <a:lnTo>
                    <a:pt x="58" y="292"/>
                  </a:lnTo>
                  <a:close/>
                  <a:moveTo>
                    <a:pt x="6" y="400"/>
                  </a:moveTo>
                  <a:lnTo>
                    <a:pt x="8" y="400"/>
                  </a:lnTo>
                  <a:lnTo>
                    <a:pt x="6" y="400"/>
                  </a:lnTo>
                  <a:close/>
                  <a:moveTo>
                    <a:pt x="18" y="332"/>
                  </a:moveTo>
                  <a:lnTo>
                    <a:pt x="20" y="332"/>
                  </a:lnTo>
                  <a:lnTo>
                    <a:pt x="18" y="332"/>
                  </a:lnTo>
                  <a:close/>
                  <a:moveTo>
                    <a:pt x="60" y="286"/>
                  </a:moveTo>
                  <a:lnTo>
                    <a:pt x="62" y="286"/>
                  </a:lnTo>
                  <a:lnTo>
                    <a:pt x="60" y="286"/>
                  </a:lnTo>
                  <a:close/>
                  <a:moveTo>
                    <a:pt x="21" y="419"/>
                  </a:moveTo>
                  <a:lnTo>
                    <a:pt x="23" y="419"/>
                  </a:lnTo>
                  <a:lnTo>
                    <a:pt x="21" y="419"/>
                  </a:lnTo>
                  <a:close/>
                  <a:moveTo>
                    <a:pt x="54" y="457"/>
                  </a:moveTo>
                  <a:lnTo>
                    <a:pt x="56" y="457"/>
                  </a:lnTo>
                  <a:lnTo>
                    <a:pt x="54" y="457"/>
                  </a:lnTo>
                  <a:close/>
                  <a:moveTo>
                    <a:pt x="91" y="246"/>
                  </a:moveTo>
                  <a:lnTo>
                    <a:pt x="92" y="246"/>
                  </a:lnTo>
                  <a:lnTo>
                    <a:pt x="91" y="246"/>
                  </a:lnTo>
                  <a:close/>
                  <a:moveTo>
                    <a:pt x="8" y="405"/>
                  </a:moveTo>
                  <a:lnTo>
                    <a:pt x="10" y="405"/>
                  </a:lnTo>
                  <a:lnTo>
                    <a:pt x="10" y="407"/>
                  </a:lnTo>
                  <a:lnTo>
                    <a:pt x="8" y="407"/>
                  </a:lnTo>
                  <a:lnTo>
                    <a:pt x="8" y="405"/>
                  </a:lnTo>
                  <a:close/>
                  <a:moveTo>
                    <a:pt x="114" y="200"/>
                  </a:moveTo>
                  <a:lnTo>
                    <a:pt x="114" y="202"/>
                  </a:lnTo>
                  <a:lnTo>
                    <a:pt x="114" y="200"/>
                  </a:lnTo>
                  <a:close/>
                  <a:moveTo>
                    <a:pt x="4" y="380"/>
                  </a:moveTo>
                  <a:lnTo>
                    <a:pt x="6" y="380"/>
                  </a:lnTo>
                  <a:lnTo>
                    <a:pt x="6" y="382"/>
                  </a:lnTo>
                  <a:lnTo>
                    <a:pt x="4" y="382"/>
                  </a:lnTo>
                  <a:lnTo>
                    <a:pt x="4" y="380"/>
                  </a:lnTo>
                  <a:close/>
                  <a:moveTo>
                    <a:pt x="52" y="302"/>
                  </a:moveTo>
                  <a:lnTo>
                    <a:pt x="54" y="302"/>
                  </a:lnTo>
                  <a:lnTo>
                    <a:pt x="52" y="302"/>
                  </a:lnTo>
                  <a:close/>
                  <a:moveTo>
                    <a:pt x="96" y="254"/>
                  </a:moveTo>
                  <a:lnTo>
                    <a:pt x="98" y="254"/>
                  </a:lnTo>
                  <a:lnTo>
                    <a:pt x="98" y="255"/>
                  </a:lnTo>
                  <a:lnTo>
                    <a:pt x="96" y="255"/>
                  </a:lnTo>
                  <a:lnTo>
                    <a:pt x="96" y="254"/>
                  </a:lnTo>
                  <a:close/>
                  <a:moveTo>
                    <a:pt x="60" y="286"/>
                  </a:moveTo>
                  <a:lnTo>
                    <a:pt x="60" y="288"/>
                  </a:lnTo>
                  <a:lnTo>
                    <a:pt x="60" y="286"/>
                  </a:lnTo>
                  <a:close/>
                  <a:moveTo>
                    <a:pt x="4" y="365"/>
                  </a:moveTo>
                  <a:lnTo>
                    <a:pt x="6" y="365"/>
                  </a:lnTo>
                  <a:lnTo>
                    <a:pt x="4" y="365"/>
                  </a:lnTo>
                  <a:close/>
                  <a:moveTo>
                    <a:pt x="114" y="200"/>
                  </a:moveTo>
                  <a:lnTo>
                    <a:pt x="114" y="202"/>
                  </a:lnTo>
                  <a:lnTo>
                    <a:pt x="114" y="200"/>
                  </a:lnTo>
                  <a:close/>
                  <a:moveTo>
                    <a:pt x="2" y="384"/>
                  </a:moveTo>
                  <a:lnTo>
                    <a:pt x="4" y="384"/>
                  </a:lnTo>
                  <a:lnTo>
                    <a:pt x="2" y="384"/>
                  </a:lnTo>
                  <a:close/>
                  <a:moveTo>
                    <a:pt x="91" y="261"/>
                  </a:moveTo>
                  <a:lnTo>
                    <a:pt x="91" y="263"/>
                  </a:lnTo>
                  <a:lnTo>
                    <a:pt x="91" y="261"/>
                  </a:lnTo>
                  <a:close/>
                  <a:moveTo>
                    <a:pt x="137" y="167"/>
                  </a:moveTo>
                  <a:lnTo>
                    <a:pt x="139" y="167"/>
                  </a:lnTo>
                  <a:lnTo>
                    <a:pt x="137" y="167"/>
                  </a:lnTo>
                  <a:close/>
                  <a:moveTo>
                    <a:pt x="117" y="196"/>
                  </a:moveTo>
                  <a:lnTo>
                    <a:pt x="119" y="196"/>
                  </a:lnTo>
                  <a:lnTo>
                    <a:pt x="119" y="198"/>
                  </a:lnTo>
                  <a:lnTo>
                    <a:pt x="117" y="198"/>
                  </a:lnTo>
                  <a:lnTo>
                    <a:pt x="117" y="196"/>
                  </a:lnTo>
                  <a:close/>
                  <a:moveTo>
                    <a:pt x="85" y="417"/>
                  </a:moveTo>
                  <a:lnTo>
                    <a:pt x="85" y="419"/>
                  </a:lnTo>
                  <a:lnTo>
                    <a:pt x="85" y="417"/>
                  </a:lnTo>
                  <a:close/>
                  <a:moveTo>
                    <a:pt x="206" y="46"/>
                  </a:moveTo>
                  <a:lnTo>
                    <a:pt x="208" y="46"/>
                  </a:lnTo>
                  <a:lnTo>
                    <a:pt x="206" y="46"/>
                  </a:lnTo>
                  <a:close/>
                  <a:moveTo>
                    <a:pt x="123" y="184"/>
                  </a:moveTo>
                  <a:lnTo>
                    <a:pt x="125" y="184"/>
                  </a:lnTo>
                  <a:lnTo>
                    <a:pt x="123" y="184"/>
                  </a:lnTo>
                  <a:close/>
                  <a:moveTo>
                    <a:pt x="240" y="61"/>
                  </a:moveTo>
                  <a:lnTo>
                    <a:pt x="240" y="63"/>
                  </a:lnTo>
                  <a:lnTo>
                    <a:pt x="240" y="61"/>
                  </a:lnTo>
                  <a:close/>
                  <a:moveTo>
                    <a:pt x="150" y="100"/>
                  </a:moveTo>
                  <a:lnTo>
                    <a:pt x="152" y="100"/>
                  </a:lnTo>
                  <a:lnTo>
                    <a:pt x="150" y="100"/>
                  </a:lnTo>
                  <a:close/>
                  <a:moveTo>
                    <a:pt x="110" y="215"/>
                  </a:moveTo>
                  <a:lnTo>
                    <a:pt x="110" y="217"/>
                  </a:lnTo>
                  <a:lnTo>
                    <a:pt x="110" y="215"/>
                  </a:lnTo>
                  <a:close/>
                  <a:moveTo>
                    <a:pt x="8" y="403"/>
                  </a:moveTo>
                  <a:lnTo>
                    <a:pt x="10" y="403"/>
                  </a:lnTo>
                  <a:lnTo>
                    <a:pt x="8" y="403"/>
                  </a:lnTo>
                  <a:close/>
                  <a:moveTo>
                    <a:pt x="115" y="182"/>
                  </a:moveTo>
                  <a:lnTo>
                    <a:pt x="117" y="182"/>
                  </a:lnTo>
                  <a:lnTo>
                    <a:pt x="115" y="182"/>
                  </a:lnTo>
                  <a:close/>
                  <a:moveTo>
                    <a:pt x="89" y="423"/>
                  </a:moveTo>
                  <a:lnTo>
                    <a:pt x="91" y="423"/>
                  </a:lnTo>
                  <a:lnTo>
                    <a:pt x="91" y="425"/>
                  </a:lnTo>
                  <a:lnTo>
                    <a:pt x="89" y="425"/>
                  </a:lnTo>
                  <a:lnTo>
                    <a:pt x="89" y="423"/>
                  </a:lnTo>
                  <a:close/>
                  <a:moveTo>
                    <a:pt x="25" y="321"/>
                  </a:moveTo>
                  <a:lnTo>
                    <a:pt x="25" y="323"/>
                  </a:lnTo>
                  <a:lnTo>
                    <a:pt x="25" y="321"/>
                  </a:lnTo>
                  <a:close/>
                  <a:moveTo>
                    <a:pt x="6" y="392"/>
                  </a:moveTo>
                  <a:lnTo>
                    <a:pt x="6" y="394"/>
                  </a:lnTo>
                  <a:lnTo>
                    <a:pt x="6" y="392"/>
                  </a:lnTo>
                  <a:close/>
                  <a:moveTo>
                    <a:pt x="50" y="302"/>
                  </a:moveTo>
                  <a:lnTo>
                    <a:pt x="50" y="304"/>
                  </a:lnTo>
                  <a:lnTo>
                    <a:pt x="50" y="302"/>
                  </a:lnTo>
                  <a:close/>
                  <a:moveTo>
                    <a:pt x="39" y="459"/>
                  </a:moveTo>
                  <a:lnTo>
                    <a:pt x="39" y="461"/>
                  </a:lnTo>
                  <a:lnTo>
                    <a:pt x="39" y="459"/>
                  </a:lnTo>
                  <a:close/>
                  <a:moveTo>
                    <a:pt x="10" y="378"/>
                  </a:moveTo>
                  <a:lnTo>
                    <a:pt x="10" y="380"/>
                  </a:lnTo>
                  <a:lnTo>
                    <a:pt x="10" y="378"/>
                  </a:lnTo>
                  <a:close/>
                  <a:moveTo>
                    <a:pt x="96" y="254"/>
                  </a:moveTo>
                  <a:lnTo>
                    <a:pt x="98" y="254"/>
                  </a:lnTo>
                  <a:lnTo>
                    <a:pt x="96" y="254"/>
                  </a:lnTo>
                  <a:close/>
                  <a:moveTo>
                    <a:pt x="165" y="133"/>
                  </a:moveTo>
                  <a:lnTo>
                    <a:pt x="165" y="134"/>
                  </a:lnTo>
                  <a:lnTo>
                    <a:pt x="165" y="133"/>
                  </a:lnTo>
                  <a:close/>
                  <a:moveTo>
                    <a:pt x="162" y="121"/>
                  </a:moveTo>
                  <a:lnTo>
                    <a:pt x="162" y="123"/>
                  </a:lnTo>
                  <a:lnTo>
                    <a:pt x="162" y="121"/>
                  </a:lnTo>
                  <a:close/>
                  <a:moveTo>
                    <a:pt x="39" y="321"/>
                  </a:moveTo>
                  <a:lnTo>
                    <a:pt x="41" y="321"/>
                  </a:lnTo>
                  <a:lnTo>
                    <a:pt x="39" y="321"/>
                  </a:lnTo>
                  <a:close/>
                  <a:moveTo>
                    <a:pt x="23" y="421"/>
                  </a:moveTo>
                  <a:lnTo>
                    <a:pt x="25" y="421"/>
                  </a:lnTo>
                  <a:lnTo>
                    <a:pt x="23" y="421"/>
                  </a:lnTo>
                  <a:close/>
                  <a:moveTo>
                    <a:pt x="369" y="56"/>
                  </a:moveTo>
                  <a:lnTo>
                    <a:pt x="369" y="58"/>
                  </a:lnTo>
                  <a:lnTo>
                    <a:pt x="369" y="56"/>
                  </a:lnTo>
                  <a:close/>
                  <a:moveTo>
                    <a:pt x="114" y="204"/>
                  </a:moveTo>
                  <a:lnTo>
                    <a:pt x="115" y="204"/>
                  </a:lnTo>
                  <a:lnTo>
                    <a:pt x="114" y="204"/>
                  </a:lnTo>
                  <a:close/>
                  <a:moveTo>
                    <a:pt x="92" y="428"/>
                  </a:moveTo>
                  <a:lnTo>
                    <a:pt x="92" y="430"/>
                  </a:lnTo>
                  <a:lnTo>
                    <a:pt x="92" y="428"/>
                  </a:lnTo>
                  <a:close/>
                  <a:moveTo>
                    <a:pt x="54" y="300"/>
                  </a:moveTo>
                  <a:lnTo>
                    <a:pt x="54" y="302"/>
                  </a:lnTo>
                  <a:lnTo>
                    <a:pt x="54" y="300"/>
                  </a:lnTo>
                  <a:close/>
                  <a:moveTo>
                    <a:pt x="10" y="407"/>
                  </a:moveTo>
                  <a:lnTo>
                    <a:pt x="10" y="409"/>
                  </a:lnTo>
                  <a:lnTo>
                    <a:pt x="10" y="407"/>
                  </a:lnTo>
                  <a:close/>
                  <a:moveTo>
                    <a:pt x="6" y="388"/>
                  </a:moveTo>
                  <a:lnTo>
                    <a:pt x="8" y="388"/>
                  </a:lnTo>
                  <a:lnTo>
                    <a:pt x="6" y="388"/>
                  </a:lnTo>
                  <a:close/>
                  <a:moveTo>
                    <a:pt x="244" y="42"/>
                  </a:moveTo>
                  <a:lnTo>
                    <a:pt x="244" y="44"/>
                  </a:lnTo>
                  <a:lnTo>
                    <a:pt x="244" y="42"/>
                  </a:lnTo>
                  <a:close/>
                  <a:moveTo>
                    <a:pt x="4" y="376"/>
                  </a:moveTo>
                  <a:lnTo>
                    <a:pt x="6" y="376"/>
                  </a:lnTo>
                  <a:lnTo>
                    <a:pt x="4" y="376"/>
                  </a:lnTo>
                  <a:close/>
                  <a:moveTo>
                    <a:pt x="91" y="250"/>
                  </a:moveTo>
                  <a:lnTo>
                    <a:pt x="92" y="250"/>
                  </a:lnTo>
                  <a:lnTo>
                    <a:pt x="91" y="250"/>
                  </a:lnTo>
                  <a:close/>
                  <a:moveTo>
                    <a:pt x="12" y="411"/>
                  </a:moveTo>
                  <a:lnTo>
                    <a:pt x="14" y="411"/>
                  </a:lnTo>
                  <a:lnTo>
                    <a:pt x="12" y="411"/>
                  </a:lnTo>
                  <a:close/>
                  <a:moveTo>
                    <a:pt x="10" y="378"/>
                  </a:moveTo>
                  <a:lnTo>
                    <a:pt x="10" y="380"/>
                  </a:lnTo>
                  <a:lnTo>
                    <a:pt x="10" y="378"/>
                  </a:lnTo>
                  <a:close/>
                  <a:moveTo>
                    <a:pt x="20" y="411"/>
                  </a:moveTo>
                  <a:lnTo>
                    <a:pt x="20" y="413"/>
                  </a:lnTo>
                  <a:lnTo>
                    <a:pt x="20" y="411"/>
                  </a:lnTo>
                  <a:close/>
                  <a:moveTo>
                    <a:pt x="211" y="48"/>
                  </a:moveTo>
                  <a:lnTo>
                    <a:pt x="211" y="50"/>
                  </a:lnTo>
                  <a:lnTo>
                    <a:pt x="211" y="48"/>
                  </a:lnTo>
                  <a:close/>
                  <a:moveTo>
                    <a:pt x="68" y="294"/>
                  </a:moveTo>
                  <a:lnTo>
                    <a:pt x="68" y="296"/>
                  </a:lnTo>
                  <a:lnTo>
                    <a:pt x="68" y="294"/>
                  </a:lnTo>
                  <a:close/>
                  <a:moveTo>
                    <a:pt x="91" y="246"/>
                  </a:moveTo>
                  <a:lnTo>
                    <a:pt x="92" y="246"/>
                  </a:lnTo>
                  <a:lnTo>
                    <a:pt x="91" y="246"/>
                  </a:lnTo>
                  <a:close/>
                  <a:moveTo>
                    <a:pt x="148" y="108"/>
                  </a:moveTo>
                  <a:lnTo>
                    <a:pt x="150" y="108"/>
                  </a:lnTo>
                  <a:lnTo>
                    <a:pt x="148" y="108"/>
                  </a:lnTo>
                  <a:close/>
                  <a:moveTo>
                    <a:pt x="91" y="430"/>
                  </a:moveTo>
                  <a:lnTo>
                    <a:pt x="92" y="430"/>
                  </a:lnTo>
                  <a:lnTo>
                    <a:pt x="91" y="430"/>
                  </a:lnTo>
                  <a:close/>
                  <a:moveTo>
                    <a:pt x="21" y="421"/>
                  </a:moveTo>
                  <a:lnTo>
                    <a:pt x="23" y="421"/>
                  </a:lnTo>
                  <a:lnTo>
                    <a:pt x="23" y="423"/>
                  </a:lnTo>
                  <a:lnTo>
                    <a:pt x="21" y="423"/>
                  </a:lnTo>
                  <a:lnTo>
                    <a:pt x="21" y="421"/>
                  </a:lnTo>
                  <a:close/>
                  <a:moveTo>
                    <a:pt x="91" y="250"/>
                  </a:moveTo>
                  <a:lnTo>
                    <a:pt x="92" y="250"/>
                  </a:lnTo>
                  <a:lnTo>
                    <a:pt x="91" y="250"/>
                  </a:lnTo>
                  <a:close/>
                  <a:moveTo>
                    <a:pt x="94" y="246"/>
                  </a:moveTo>
                  <a:lnTo>
                    <a:pt x="96" y="246"/>
                  </a:lnTo>
                  <a:lnTo>
                    <a:pt x="94" y="246"/>
                  </a:lnTo>
                  <a:close/>
                  <a:moveTo>
                    <a:pt x="10" y="405"/>
                  </a:moveTo>
                  <a:lnTo>
                    <a:pt x="10" y="407"/>
                  </a:lnTo>
                  <a:lnTo>
                    <a:pt x="10" y="405"/>
                  </a:lnTo>
                  <a:close/>
                  <a:moveTo>
                    <a:pt x="54" y="296"/>
                  </a:moveTo>
                  <a:lnTo>
                    <a:pt x="56" y="296"/>
                  </a:lnTo>
                  <a:lnTo>
                    <a:pt x="54" y="296"/>
                  </a:lnTo>
                  <a:close/>
                  <a:moveTo>
                    <a:pt x="114" y="215"/>
                  </a:moveTo>
                  <a:lnTo>
                    <a:pt x="114" y="217"/>
                  </a:lnTo>
                  <a:lnTo>
                    <a:pt x="114" y="215"/>
                  </a:lnTo>
                  <a:close/>
                  <a:moveTo>
                    <a:pt x="66" y="296"/>
                  </a:moveTo>
                  <a:lnTo>
                    <a:pt x="66" y="298"/>
                  </a:lnTo>
                  <a:lnTo>
                    <a:pt x="66" y="296"/>
                  </a:lnTo>
                  <a:close/>
                  <a:moveTo>
                    <a:pt x="102" y="259"/>
                  </a:moveTo>
                  <a:lnTo>
                    <a:pt x="102" y="261"/>
                  </a:lnTo>
                  <a:lnTo>
                    <a:pt x="102" y="259"/>
                  </a:lnTo>
                  <a:close/>
                  <a:moveTo>
                    <a:pt x="114" y="225"/>
                  </a:moveTo>
                  <a:lnTo>
                    <a:pt x="114" y="227"/>
                  </a:lnTo>
                  <a:lnTo>
                    <a:pt x="114" y="225"/>
                  </a:lnTo>
                  <a:close/>
                  <a:moveTo>
                    <a:pt x="54" y="296"/>
                  </a:moveTo>
                  <a:lnTo>
                    <a:pt x="56" y="296"/>
                  </a:lnTo>
                  <a:lnTo>
                    <a:pt x="54" y="296"/>
                  </a:lnTo>
                  <a:close/>
                  <a:moveTo>
                    <a:pt x="8" y="390"/>
                  </a:moveTo>
                  <a:lnTo>
                    <a:pt x="8" y="392"/>
                  </a:lnTo>
                  <a:lnTo>
                    <a:pt x="8" y="390"/>
                  </a:lnTo>
                  <a:close/>
                  <a:moveTo>
                    <a:pt x="306" y="2"/>
                  </a:moveTo>
                  <a:lnTo>
                    <a:pt x="306" y="4"/>
                  </a:lnTo>
                  <a:lnTo>
                    <a:pt x="306" y="2"/>
                  </a:lnTo>
                  <a:close/>
                  <a:moveTo>
                    <a:pt x="2" y="384"/>
                  </a:moveTo>
                  <a:lnTo>
                    <a:pt x="4" y="384"/>
                  </a:lnTo>
                  <a:lnTo>
                    <a:pt x="2" y="384"/>
                  </a:lnTo>
                  <a:close/>
                  <a:moveTo>
                    <a:pt x="21" y="421"/>
                  </a:moveTo>
                  <a:lnTo>
                    <a:pt x="21" y="423"/>
                  </a:lnTo>
                  <a:lnTo>
                    <a:pt x="21" y="421"/>
                  </a:lnTo>
                  <a:close/>
                  <a:moveTo>
                    <a:pt x="210" y="81"/>
                  </a:moveTo>
                  <a:lnTo>
                    <a:pt x="211" y="81"/>
                  </a:lnTo>
                  <a:lnTo>
                    <a:pt x="211" y="83"/>
                  </a:lnTo>
                  <a:lnTo>
                    <a:pt x="210" y="83"/>
                  </a:lnTo>
                  <a:lnTo>
                    <a:pt x="210" y="81"/>
                  </a:lnTo>
                  <a:close/>
                  <a:moveTo>
                    <a:pt x="66" y="290"/>
                  </a:moveTo>
                  <a:lnTo>
                    <a:pt x="66" y="292"/>
                  </a:lnTo>
                  <a:lnTo>
                    <a:pt x="66" y="290"/>
                  </a:lnTo>
                  <a:close/>
                  <a:moveTo>
                    <a:pt x="94" y="428"/>
                  </a:moveTo>
                  <a:lnTo>
                    <a:pt x="94" y="430"/>
                  </a:lnTo>
                  <a:lnTo>
                    <a:pt x="94" y="428"/>
                  </a:lnTo>
                  <a:close/>
                  <a:moveTo>
                    <a:pt x="6" y="380"/>
                  </a:moveTo>
                  <a:lnTo>
                    <a:pt x="8" y="380"/>
                  </a:lnTo>
                  <a:lnTo>
                    <a:pt x="6" y="380"/>
                  </a:lnTo>
                  <a:close/>
                  <a:moveTo>
                    <a:pt x="64" y="280"/>
                  </a:moveTo>
                  <a:lnTo>
                    <a:pt x="64" y="282"/>
                  </a:lnTo>
                  <a:lnTo>
                    <a:pt x="64" y="280"/>
                  </a:lnTo>
                  <a:close/>
                  <a:moveTo>
                    <a:pt x="2" y="382"/>
                  </a:moveTo>
                  <a:lnTo>
                    <a:pt x="4" y="382"/>
                  </a:lnTo>
                  <a:lnTo>
                    <a:pt x="2" y="382"/>
                  </a:lnTo>
                  <a:close/>
                  <a:moveTo>
                    <a:pt x="127" y="131"/>
                  </a:moveTo>
                  <a:lnTo>
                    <a:pt x="127" y="133"/>
                  </a:lnTo>
                  <a:lnTo>
                    <a:pt x="127" y="131"/>
                  </a:lnTo>
                  <a:close/>
                  <a:moveTo>
                    <a:pt x="121" y="198"/>
                  </a:moveTo>
                  <a:lnTo>
                    <a:pt x="121" y="200"/>
                  </a:lnTo>
                  <a:lnTo>
                    <a:pt x="121" y="198"/>
                  </a:lnTo>
                  <a:close/>
                  <a:moveTo>
                    <a:pt x="133" y="133"/>
                  </a:moveTo>
                  <a:lnTo>
                    <a:pt x="135" y="133"/>
                  </a:lnTo>
                  <a:lnTo>
                    <a:pt x="133" y="133"/>
                  </a:lnTo>
                  <a:close/>
                  <a:moveTo>
                    <a:pt x="10" y="411"/>
                  </a:moveTo>
                  <a:lnTo>
                    <a:pt x="12" y="411"/>
                  </a:lnTo>
                  <a:lnTo>
                    <a:pt x="10" y="411"/>
                  </a:lnTo>
                  <a:close/>
                  <a:moveTo>
                    <a:pt x="54" y="304"/>
                  </a:moveTo>
                  <a:lnTo>
                    <a:pt x="54" y="305"/>
                  </a:lnTo>
                  <a:lnTo>
                    <a:pt x="54" y="304"/>
                  </a:lnTo>
                  <a:close/>
                  <a:moveTo>
                    <a:pt x="96" y="430"/>
                  </a:moveTo>
                  <a:lnTo>
                    <a:pt x="96" y="432"/>
                  </a:lnTo>
                  <a:lnTo>
                    <a:pt x="96" y="430"/>
                  </a:lnTo>
                  <a:close/>
                  <a:moveTo>
                    <a:pt x="110" y="219"/>
                  </a:moveTo>
                  <a:lnTo>
                    <a:pt x="110" y="221"/>
                  </a:lnTo>
                  <a:lnTo>
                    <a:pt x="110" y="219"/>
                  </a:lnTo>
                  <a:close/>
                  <a:moveTo>
                    <a:pt x="77" y="279"/>
                  </a:moveTo>
                  <a:lnTo>
                    <a:pt x="79" y="279"/>
                  </a:lnTo>
                  <a:lnTo>
                    <a:pt x="77" y="279"/>
                  </a:lnTo>
                  <a:close/>
                  <a:moveTo>
                    <a:pt x="114" y="221"/>
                  </a:moveTo>
                  <a:lnTo>
                    <a:pt x="114" y="223"/>
                  </a:lnTo>
                  <a:lnTo>
                    <a:pt x="114" y="221"/>
                  </a:lnTo>
                  <a:close/>
                  <a:moveTo>
                    <a:pt x="121" y="192"/>
                  </a:moveTo>
                  <a:lnTo>
                    <a:pt x="123" y="192"/>
                  </a:lnTo>
                  <a:lnTo>
                    <a:pt x="121" y="192"/>
                  </a:lnTo>
                  <a:close/>
                  <a:moveTo>
                    <a:pt x="121" y="194"/>
                  </a:moveTo>
                  <a:lnTo>
                    <a:pt x="121" y="196"/>
                  </a:lnTo>
                  <a:lnTo>
                    <a:pt x="121" y="194"/>
                  </a:lnTo>
                  <a:close/>
                  <a:moveTo>
                    <a:pt x="14" y="411"/>
                  </a:moveTo>
                  <a:lnTo>
                    <a:pt x="14" y="413"/>
                  </a:lnTo>
                  <a:lnTo>
                    <a:pt x="14" y="411"/>
                  </a:lnTo>
                  <a:close/>
                  <a:moveTo>
                    <a:pt x="6" y="390"/>
                  </a:moveTo>
                  <a:lnTo>
                    <a:pt x="6" y="392"/>
                  </a:lnTo>
                  <a:lnTo>
                    <a:pt x="6" y="390"/>
                  </a:lnTo>
                  <a:close/>
                  <a:moveTo>
                    <a:pt x="114" y="215"/>
                  </a:moveTo>
                  <a:lnTo>
                    <a:pt x="114" y="217"/>
                  </a:lnTo>
                  <a:lnTo>
                    <a:pt x="114" y="215"/>
                  </a:lnTo>
                  <a:close/>
                  <a:moveTo>
                    <a:pt x="98" y="252"/>
                  </a:moveTo>
                  <a:lnTo>
                    <a:pt x="98" y="254"/>
                  </a:lnTo>
                  <a:lnTo>
                    <a:pt x="98" y="252"/>
                  </a:lnTo>
                  <a:close/>
                  <a:moveTo>
                    <a:pt x="8" y="380"/>
                  </a:moveTo>
                  <a:lnTo>
                    <a:pt x="10" y="380"/>
                  </a:lnTo>
                  <a:lnTo>
                    <a:pt x="8" y="380"/>
                  </a:lnTo>
                  <a:close/>
                  <a:moveTo>
                    <a:pt x="68" y="279"/>
                  </a:moveTo>
                  <a:lnTo>
                    <a:pt x="68" y="280"/>
                  </a:lnTo>
                  <a:lnTo>
                    <a:pt x="68" y="279"/>
                  </a:lnTo>
                  <a:close/>
                  <a:moveTo>
                    <a:pt x="92" y="244"/>
                  </a:moveTo>
                  <a:lnTo>
                    <a:pt x="92" y="246"/>
                  </a:lnTo>
                  <a:lnTo>
                    <a:pt x="92" y="244"/>
                  </a:lnTo>
                  <a:close/>
                  <a:moveTo>
                    <a:pt x="110" y="232"/>
                  </a:moveTo>
                  <a:lnTo>
                    <a:pt x="110" y="234"/>
                  </a:lnTo>
                  <a:lnTo>
                    <a:pt x="110" y="232"/>
                  </a:lnTo>
                  <a:close/>
                  <a:moveTo>
                    <a:pt x="121" y="196"/>
                  </a:moveTo>
                  <a:lnTo>
                    <a:pt x="123" y="196"/>
                  </a:lnTo>
                  <a:lnTo>
                    <a:pt x="121" y="196"/>
                  </a:lnTo>
                  <a:close/>
                  <a:moveTo>
                    <a:pt x="6" y="355"/>
                  </a:moveTo>
                  <a:lnTo>
                    <a:pt x="6" y="357"/>
                  </a:lnTo>
                  <a:lnTo>
                    <a:pt x="6" y="355"/>
                  </a:lnTo>
                  <a:close/>
                  <a:moveTo>
                    <a:pt x="117" y="184"/>
                  </a:moveTo>
                  <a:lnTo>
                    <a:pt x="117" y="186"/>
                  </a:lnTo>
                  <a:lnTo>
                    <a:pt x="117" y="184"/>
                  </a:lnTo>
                  <a:close/>
                  <a:moveTo>
                    <a:pt x="91" y="246"/>
                  </a:moveTo>
                  <a:lnTo>
                    <a:pt x="92" y="246"/>
                  </a:lnTo>
                  <a:lnTo>
                    <a:pt x="91" y="246"/>
                  </a:lnTo>
                  <a:close/>
                  <a:moveTo>
                    <a:pt x="87" y="428"/>
                  </a:moveTo>
                  <a:lnTo>
                    <a:pt x="87" y="430"/>
                  </a:lnTo>
                  <a:lnTo>
                    <a:pt x="87" y="428"/>
                  </a:lnTo>
                  <a:close/>
                  <a:moveTo>
                    <a:pt x="87" y="428"/>
                  </a:moveTo>
                  <a:lnTo>
                    <a:pt x="87" y="430"/>
                  </a:lnTo>
                  <a:lnTo>
                    <a:pt x="87" y="428"/>
                  </a:lnTo>
                  <a:close/>
                  <a:moveTo>
                    <a:pt x="2" y="371"/>
                  </a:moveTo>
                  <a:lnTo>
                    <a:pt x="2" y="373"/>
                  </a:lnTo>
                  <a:lnTo>
                    <a:pt x="2" y="371"/>
                  </a:lnTo>
                  <a:close/>
                  <a:moveTo>
                    <a:pt x="115" y="209"/>
                  </a:moveTo>
                  <a:lnTo>
                    <a:pt x="115" y="211"/>
                  </a:lnTo>
                  <a:lnTo>
                    <a:pt x="115" y="209"/>
                  </a:lnTo>
                  <a:close/>
                  <a:moveTo>
                    <a:pt x="58" y="288"/>
                  </a:moveTo>
                  <a:lnTo>
                    <a:pt x="60" y="288"/>
                  </a:lnTo>
                  <a:lnTo>
                    <a:pt x="58" y="288"/>
                  </a:lnTo>
                  <a:close/>
                  <a:moveTo>
                    <a:pt x="123" y="186"/>
                  </a:moveTo>
                  <a:lnTo>
                    <a:pt x="125" y="186"/>
                  </a:lnTo>
                  <a:lnTo>
                    <a:pt x="123" y="186"/>
                  </a:lnTo>
                  <a:close/>
                  <a:moveTo>
                    <a:pt x="92" y="250"/>
                  </a:moveTo>
                  <a:lnTo>
                    <a:pt x="94" y="250"/>
                  </a:lnTo>
                  <a:lnTo>
                    <a:pt x="94" y="252"/>
                  </a:lnTo>
                  <a:lnTo>
                    <a:pt x="92" y="252"/>
                  </a:lnTo>
                  <a:lnTo>
                    <a:pt x="92" y="250"/>
                  </a:lnTo>
                  <a:close/>
                  <a:moveTo>
                    <a:pt x="52" y="457"/>
                  </a:moveTo>
                  <a:lnTo>
                    <a:pt x="52" y="459"/>
                  </a:lnTo>
                  <a:lnTo>
                    <a:pt x="52" y="457"/>
                  </a:lnTo>
                  <a:close/>
                  <a:moveTo>
                    <a:pt x="94" y="244"/>
                  </a:moveTo>
                  <a:lnTo>
                    <a:pt x="94" y="246"/>
                  </a:lnTo>
                  <a:lnTo>
                    <a:pt x="94" y="244"/>
                  </a:lnTo>
                  <a:close/>
                  <a:moveTo>
                    <a:pt x="6" y="394"/>
                  </a:moveTo>
                  <a:lnTo>
                    <a:pt x="6" y="396"/>
                  </a:lnTo>
                  <a:lnTo>
                    <a:pt x="6" y="394"/>
                  </a:lnTo>
                  <a:close/>
                  <a:moveTo>
                    <a:pt x="43" y="309"/>
                  </a:moveTo>
                  <a:lnTo>
                    <a:pt x="44" y="309"/>
                  </a:lnTo>
                  <a:lnTo>
                    <a:pt x="43" y="309"/>
                  </a:lnTo>
                  <a:close/>
                  <a:moveTo>
                    <a:pt x="94" y="250"/>
                  </a:moveTo>
                  <a:lnTo>
                    <a:pt x="94" y="252"/>
                  </a:lnTo>
                  <a:lnTo>
                    <a:pt x="94" y="250"/>
                  </a:lnTo>
                  <a:close/>
                  <a:moveTo>
                    <a:pt x="91" y="248"/>
                  </a:moveTo>
                  <a:lnTo>
                    <a:pt x="92" y="248"/>
                  </a:lnTo>
                  <a:lnTo>
                    <a:pt x="91" y="248"/>
                  </a:lnTo>
                  <a:close/>
                  <a:moveTo>
                    <a:pt x="43" y="461"/>
                  </a:moveTo>
                  <a:lnTo>
                    <a:pt x="44" y="461"/>
                  </a:lnTo>
                  <a:lnTo>
                    <a:pt x="43" y="461"/>
                  </a:lnTo>
                  <a:close/>
                  <a:moveTo>
                    <a:pt x="4" y="369"/>
                  </a:moveTo>
                  <a:lnTo>
                    <a:pt x="6" y="369"/>
                  </a:lnTo>
                  <a:lnTo>
                    <a:pt x="4" y="369"/>
                  </a:lnTo>
                  <a:close/>
                  <a:moveTo>
                    <a:pt x="89" y="419"/>
                  </a:moveTo>
                  <a:lnTo>
                    <a:pt x="91" y="419"/>
                  </a:lnTo>
                  <a:lnTo>
                    <a:pt x="89" y="419"/>
                  </a:lnTo>
                  <a:close/>
                  <a:moveTo>
                    <a:pt x="20" y="432"/>
                  </a:moveTo>
                  <a:lnTo>
                    <a:pt x="20" y="434"/>
                  </a:lnTo>
                  <a:lnTo>
                    <a:pt x="20" y="432"/>
                  </a:lnTo>
                  <a:close/>
                  <a:moveTo>
                    <a:pt x="91" y="259"/>
                  </a:moveTo>
                  <a:lnTo>
                    <a:pt x="92" y="259"/>
                  </a:lnTo>
                  <a:lnTo>
                    <a:pt x="92" y="261"/>
                  </a:lnTo>
                  <a:lnTo>
                    <a:pt x="91" y="261"/>
                  </a:lnTo>
                  <a:lnTo>
                    <a:pt x="91" y="259"/>
                  </a:lnTo>
                  <a:close/>
                  <a:moveTo>
                    <a:pt x="21" y="403"/>
                  </a:moveTo>
                  <a:lnTo>
                    <a:pt x="21" y="405"/>
                  </a:lnTo>
                  <a:lnTo>
                    <a:pt x="21" y="403"/>
                  </a:lnTo>
                  <a:close/>
                  <a:moveTo>
                    <a:pt x="85" y="426"/>
                  </a:moveTo>
                  <a:lnTo>
                    <a:pt x="85" y="428"/>
                  </a:lnTo>
                  <a:lnTo>
                    <a:pt x="85" y="426"/>
                  </a:lnTo>
                  <a:close/>
                  <a:moveTo>
                    <a:pt x="137" y="171"/>
                  </a:moveTo>
                  <a:lnTo>
                    <a:pt x="139" y="171"/>
                  </a:lnTo>
                  <a:lnTo>
                    <a:pt x="137" y="171"/>
                  </a:lnTo>
                  <a:close/>
                  <a:moveTo>
                    <a:pt x="4" y="369"/>
                  </a:moveTo>
                  <a:lnTo>
                    <a:pt x="4" y="371"/>
                  </a:lnTo>
                  <a:lnTo>
                    <a:pt x="4" y="369"/>
                  </a:lnTo>
                  <a:close/>
                  <a:moveTo>
                    <a:pt x="152" y="148"/>
                  </a:moveTo>
                  <a:lnTo>
                    <a:pt x="154" y="148"/>
                  </a:lnTo>
                  <a:lnTo>
                    <a:pt x="152" y="148"/>
                  </a:lnTo>
                  <a:close/>
                  <a:moveTo>
                    <a:pt x="6" y="396"/>
                  </a:moveTo>
                  <a:lnTo>
                    <a:pt x="8" y="396"/>
                  </a:lnTo>
                  <a:lnTo>
                    <a:pt x="6" y="396"/>
                  </a:lnTo>
                  <a:close/>
                  <a:moveTo>
                    <a:pt x="160" y="133"/>
                  </a:moveTo>
                  <a:lnTo>
                    <a:pt x="162" y="133"/>
                  </a:lnTo>
                  <a:lnTo>
                    <a:pt x="162" y="134"/>
                  </a:lnTo>
                  <a:lnTo>
                    <a:pt x="160" y="134"/>
                  </a:lnTo>
                  <a:lnTo>
                    <a:pt x="160" y="133"/>
                  </a:lnTo>
                  <a:close/>
                  <a:moveTo>
                    <a:pt x="10" y="421"/>
                  </a:moveTo>
                  <a:lnTo>
                    <a:pt x="12" y="421"/>
                  </a:lnTo>
                  <a:lnTo>
                    <a:pt x="10" y="421"/>
                  </a:lnTo>
                  <a:close/>
                  <a:moveTo>
                    <a:pt x="142" y="121"/>
                  </a:moveTo>
                  <a:lnTo>
                    <a:pt x="142" y="123"/>
                  </a:lnTo>
                  <a:lnTo>
                    <a:pt x="142" y="121"/>
                  </a:lnTo>
                  <a:close/>
                  <a:moveTo>
                    <a:pt x="62" y="449"/>
                  </a:moveTo>
                  <a:lnTo>
                    <a:pt x="64" y="449"/>
                  </a:lnTo>
                  <a:lnTo>
                    <a:pt x="62" y="449"/>
                  </a:lnTo>
                  <a:close/>
                  <a:moveTo>
                    <a:pt x="152" y="136"/>
                  </a:moveTo>
                  <a:lnTo>
                    <a:pt x="152" y="138"/>
                  </a:lnTo>
                  <a:lnTo>
                    <a:pt x="152" y="136"/>
                  </a:lnTo>
                  <a:close/>
                  <a:moveTo>
                    <a:pt x="18" y="405"/>
                  </a:moveTo>
                  <a:lnTo>
                    <a:pt x="18" y="407"/>
                  </a:lnTo>
                  <a:lnTo>
                    <a:pt x="18" y="405"/>
                  </a:lnTo>
                  <a:close/>
                  <a:moveTo>
                    <a:pt x="27" y="319"/>
                  </a:moveTo>
                  <a:lnTo>
                    <a:pt x="27" y="321"/>
                  </a:lnTo>
                  <a:lnTo>
                    <a:pt x="27" y="319"/>
                  </a:lnTo>
                  <a:close/>
                  <a:moveTo>
                    <a:pt x="2" y="384"/>
                  </a:moveTo>
                  <a:lnTo>
                    <a:pt x="4" y="384"/>
                  </a:lnTo>
                  <a:lnTo>
                    <a:pt x="2" y="384"/>
                  </a:lnTo>
                  <a:close/>
                  <a:moveTo>
                    <a:pt x="60" y="282"/>
                  </a:moveTo>
                  <a:lnTo>
                    <a:pt x="60" y="284"/>
                  </a:lnTo>
                  <a:lnTo>
                    <a:pt x="60" y="282"/>
                  </a:lnTo>
                  <a:close/>
                  <a:moveTo>
                    <a:pt x="144" y="165"/>
                  </a:moveTo>
                  <a:lnTo>
                    <a:pt x="144" y="167"/>
                  </a:lnTo>
                  <a:lnTo>
                    <a:pt x="144" y="165"/>
                  </a:lnTo>
                  <a:close/>
                  <a:moveTo>
                    <a:pt x="29" y="453"/>
                  </a:moveTo>
                  <a:lnTo>
                    <a:pt x="29" y="455"/>
                  </a:lnTo>
                  <a:lnTo>
                    <a:pt x="29" y="453"/>
                  </a:lnTo>
                  <a:close/>
                  <a:moveTo>
                    <a:pt x="271" y="46"/>
                  </a:moveTo>
                  <a:lnTo>
                    <a:pt x="271" y="48"/>
                  </a:lnTo>
                  <a:lnTo>
                    <a:pt x="271" y="46"/>
                  </a:lnTo>
                  <a:close/>
                  <a:moveTo>
                    <a:pt x="81" y="432"/>
                  </a:moveTo>
                  <a:lnTo>
                    <a:pt x="81" y="434"/>
                  </a:lnTo>
                  <a:lnTo>
                    <a:pt x="81" y="432"/>
                  </a:lnTo>
                  <a:close/>
                  <a:moveTo>
                    <a:pt x="68" y="279"/>
                  </a:moveTo>
                  <a:lnTo>
                    <a:pt x="69" y="279"/>
                  </a:lnTo>
                  <a:lnTo>
                    <a:pt x="68" y="279"/>
                  </a:lnTo>
                  <a:close/>
                  <a:moveTo>
                    <a:pt x="54" y="296"/>
                  </a:moveTo>
                  <a:lnTo>
                    <a:pt x="56" y="296"/>
                  </a:lnTo>
                  <a:lnTo>
                    <a:pt x="54" y="296"/>
                  </a:lnTo>
                  <a:close/>
                  <a:moveTo>
                    <a:pt x="4" y="382"/>
                  </a:moveTo>
                  <a:lnTo>
                    <a:pt x="6" y="382"/>
                  </a:lnTo>
                  <a:lnTo>
                    <a:pt x="4" y="382"/>
                  </a:lnTo>
                  <a:close/>
                  <a:moveTo>
                    <a:pt x="94" y="244"/>
                  </a:moveTo>
                  <a:lnTo>
                    <a:pt x="96" y="244"/>
                  </a:lnTo>
                  <a:lnTo>
                    <a:pt x="94" y="244"/>
                  </a:lnTo>
                  <a:close/>
                  <a:moveTo>
                    <a:pt x="62" y="284"/>
                  </a:moveTo>
                  <a:lnTo>
                    <a:pt x="62" y="286"/>
                  </a:lnTo>
                  <a:lnTo>
                    <a:pt x="62" y="284"/>
                  </a:lnTo>
                  <a:close/>
                  <a:moveTo>
                    <a:pt x="115" y="215"/>
                  </a:moveTo>
                  <a:lnTo>
                    <a:pt x="115" y="217"/>
                  </a:lnTo>
                  <a:lnTo>
                    <a:pt x="115" y="215"/>
                  </a:lnTo>
                  <a:close/>
                  <a:moveTo>
                    <a:pt x="158" y="119"/>
                  </a:moveTo>
                  <a:lnTo>
                    <a:pt x="158" y="121"/>
                  </a:lnTo>
                  <a:lnTo>
                    <a:pt x="158" y="119"/>
                  </a:lnTo>
                  <a:close/>
                  <a:moveTo>
                    <a:pt x="117" y="198"/>
                  </a:moveTo>
                  <a:lnTo>
                    <a:pt x="119" y="198"/>
                  </a:lnTo>
                  <a:lnTo>
                    <a:pt x="117" y="198"/>
                  </a:lnTo>
                  <a:close/>
                  <a:moveTo>
                    <a:pt x="142" y="161"/>
                  </a:moveTo>
                  <a:lnTo>
                    <a:pt x="144" y="161"/>
                  </a:lnTo>
                  <a:lnTo>
                    <a:pt x="142" y="161"/>
                  </a:lnTo>
                  <a:close/>
                  <a:moveTo>
                    <a:pt x="8" y="363"/>
                  </a:moveTo>
                  <a:lnTo>
                    <a:pt x="8" y="365"/>
                  </a:lnTo>
                  <a:lnTo>
                    <a:pt x="8" y="363"/>
                  </a:lnTo>
                  <a:close/>
                  <a:moveTo>
                    <a:pt x="148" y="129"/>
                  </a:moveTo>
                  <a:lnTo>
                    <a:pt x="150" y="129"/>
                  </a:lnTo>
                  <a:lnTo>
                    <a:pt x="148" y="129"/>
                  </a:lnTo>
                  <a:close/>
                  <a:moveTo>
                    <a:pt x="92" y="244"/>
                  </a:moveTo>
                  <a:lnTo>
                    <a:pt x="92" y="246"/>
                  </a:lnTo>
                  <a:lnTo>
                    <a:pt x="92" y="244"/>
                  </a:lnTo>
                  <a:close/>
                  <a:moveTo>
                    <a:pt x="152" y="106"/>
                  </a:moveTo>
                  <a:lnTo>
                    <a:pt x="152" y="108"/>
                  </a:lnTo>
                  <a:lnTo>
                    <a:pt x="152" y="106"/>
                  </a:lnTo>
                  <a:close/>
                  <a:moveTo>
                    <a:pt x="6" y="392"/>
                  </a:moveTo>
                  <a:lnTo>
                    <a:pt x="6" y="394"/>
                  </a:lnTo>
                  <a:lnTo>
                    <a:pt x="6" y="392"/>
                  </a:lnTo>
                  <a:close/>
                  <a:moveTo>
                    <a:pt x="27" y="328"/>
                  </a:moveTo>
                  <a:lnTo>
                    <a:pt x="29" y="328"/>
                  </a:lnTo>
                  <a:lnTo>
                    <a:pt x="27" y="328"/>
                  </a:lnTo>
                  <a:close/>
                  <a:moveTo>
                    <a:pt x="92" y="246"/>
                  </a:moveTo>
                  <a:lnTo>
                    <a:pt x="94" y="246"/>
                  </a:lnTo>
                  <a:lnTo>
                    <a:pt x="92" y="246"/>
                  </a:lnTo>
                  <a:close/>
                  <a:moveTo>
                    <a:pt x="50" y="302"/>
                  </a:moveTo>
                  <a:lnTo>
                    <a:pt x="52" y="302"/>
                  </a:lnTo>
                  <a:lnTo>
                    <a:pt x="50" y="302"/>
                  </a:lnTo>
                  <a:close/>
                  <a:moveTo>
                    <a:pt x="123" y="184"/>
                  </a:moveTo>
                  <a:lnTo>
                    <a:pt x="125" y="184"/>
                  </a:lnTo>
                  <a:lnTo>
                    <a:pt x="123" y="184"/>
                  </a:lnTo>
                  <a:close/>
                  <a:moveTo>
                    <a:pt x="110" y="231"/>
                  </a:moveTo>
                  <a:lnTo>
                    <a:pt x="110" y="232"/>
                  </a:lnTo>
                  <a:lnTo>
                    <a:pt x="110" y="231"/>
                  </a:lnTo>
                  <a:close/>
                  <a:moveTo>
                    <a:pt x="158" y="119"/>
                  </a:moveTo>
                  <a:lnTo>
                    <a:pt x="158" y="121"/>
                  </a:lnTo>
                  <a:lnTo>
                    <a:pt x="158" y="119"/>
                  </a:lnTo>
                  <a:close/>
                  <a:moveTo>
                    <a:pt x="94" y="428"/>
                  </a:moveTo>
                  <a:lnTo>
                    <a:pt x="94" y="430"/>
                  </a:lnTo>
                  <a:lnTo>
                    <a:pt x="94" y="428"/>
                  </a:lnTo>
                  <a:close/>
                  <a:moveTo>
                    <a:pt x="8" y="390"/>
                  </a:moveTo>
                  <a:lnTo>
                    <a:pt x="8" y="392"/>
                  </a:lnTo>
                  <a:lnTo>
                    <a:pt x="8" y="390"/>
                  </a:lnTo>
                  <a:close/>
                  <a:moveTo>
                    <a:pt x="162" y="123"/>
                  </a:moveTo>
                  <a:lnTo>
                    <a:pt x="162" y="125"/>
                  </a:lnTo>
                  <a:lnTo>
                    <a:pt x="162" y="123"/>
                  </a:lnTo>
                  <a:close/>
                  <a:moveTo>
                    <a:pt x="112" y="202"/>
                  </a:moveTo>
                  <a:lnTo>
                    <a:pt x="114" y="202"/>
                  </a:lnTo>
                  <a:lnTo>
                    <a:pt x="112" y="202"/>
                  </a:lnTo>
                  <a:close/>
                  <a:moveTo>
                    <a:pt x="8" y="413"/>
                  </a:moveTo>
                  <a:lnTo>
                    <a:pt x="10" y="413"/>
                  </a:lnTo>
                  <a:lnTo>
                    <a:pt x="8" y="413"/>
                  </a:lnTo>
                  <a:close/>
                  <a:moveTo>
                    <a:pt x="10" y="403"/>
                  </a:moveTo>
                  <a:lnTo>
                    <a:pt x="12" y="403"/>
                  </a:lnTo>
                  <a:lnTo>
                    <a:pt x="10" y="403"/>
                  </a:lnTo>
                  <a:close/>
                  <a:moveTo>
                    <a:pt x="58" y="319"/>
                  </a:moveTo>
                  <a:lnTo>
                    <a:pt x="58" y="321"/>
                  </a:lnTo>
                  <a:lnTo>
                    <a:pt x="58" y="319"/>
                  </a:lnTo>
                  <a:close/>
                  <a:moveTo>
                    <a:pt x="108" y="156"/>
                  </a:moveTo>
                  <a:lnTo>
                    <a:pt x="108" y="158"/>
                  </a:lnTo>
                  <a:lnTo>
                    <a:pt x="108" y="156"/>
                  </a:lnTo>
                  <a:close/>
                  <a:moveTo>
                    <a:pt x="60" y="451"/>
                  </a:moveTo>
                  <a:lnTo>
                    <a:pt x="60" y="453"/>
                  </a:lnTo>
                  <a:lnTo>
                    <a:pt x="60" y="451"/>
                  </a:lnTo>
                  <a:close/>
                  <a:moveTo>
                    <a:pt x="112" y="211"/>
                  </a:moveTo>
                  <a:lnTo>
                    <a:pt x="112" y="213"/>
                  </a:lnTo>
                  <a:lnTo>
                    <a:pt x="112" y="211"/>
                  </a:lnTo>
                  <a:close/>
                  <a:moveTo>
                    <a:pt x="43" y="461"/>
                  </a:moveTo>
                  <a:lnTo>
                    <a:pt x="44" y="461"/>
                  </a:lnTo>
                  <a:lnTo>
                    <a:pt x="43" y="461"/>
                  </a:lnTo>
                  <a:close/>
                  <a:moveTo>
                    <a:pt x="119" y="186"/>
                  </a:moveTo>
                  <a:lnTo>
                    <a:pt x="121" y="186"/>
                  </a:lnTo>
                  <a:lnTo>
                    <a:pt x="119" y="186"/>
                  </a:lnTo>
                  <a:close/>
                  <a:moveTo>
                    <a:pt x="121" y="190"/>
                  </a:moveTo>
                  <a:lnTo>
                    <a:pt x="121" y="192"/>
                  </a:lnTo>
                  <a:lnTo>
                    <a:pt x="121" y="190"/>
                  </a:lnTo>
                  <a:close/>
                  <a:moveTo>
                    <a:pt x="144" y="109"/>
                  </a:moveTo>
                  <a:lnTo>
                    <a:pt x="144" y="111"/>
                  </a:lnTo>
                  <a:lnTo>
                    <a:pt x="144" y="109"/>
                  </a:lnTo>
                  <a:close/>
                  <a:moveTo>
                    <a:pt x="2" y="357"/>
                  </a:moveTo>
                  <a:lnTo>
                    <a:pt x="4" y="357"/>
                  </a:lnTo>
                  <a:lnTo>
                    <a:pt x="2" y="357"/>
                  </a:lnTo>
                  <a:close/>
                  <a:moveTo>
                    <a:pt x="2" y="371"/>
                  </a:moveTo>
                  <a:lnTo>
                    <a:pt x="2" y="373"/>
                  </a:lnTo>
                  <a:lnTo>
                    <a:pt x="2" y="371"/>
                  </a:lnTo>
                  <a:close/>
                  <a:moveTo>
                    <a:pt x="140" y="167"/>
                  </a:moveTo>
                  <a:lnTo>
                    <a:pt x="142" y="167"/>
                  </a:lnTo>
                  <a:lnTo>
                    <a:pt x="140" y="167"/>
                  </a:lnTo>
                  <a:close/>
                  <a:moveTo>
                    <a:pt x="54" y="290"/>
                  </a:moveTo>
                  <a:lnTo>
                    <a:pt x="56" y="290"/>
                  </a:lnTo>
                  <a:lnTo>
                    <a:pt x="54" y="290"/>
                  </a:lnTo>
                  <a:close/>
                  <a:moveTo>
                    <a:pt x="112" y="215"/>
                  </a:moveTo>
                  <a:lnTo>
                    <a:pt x="112" y="217"/>
                  </a:lnTo>
                  <a:lnTo>
                    <a:pt x="112" y="215"/>
                  </a:lnTo>
                  <a:close/>
                  <a:moveTo>
                    <a:pt x="160" y="134"/>
                  </a:moveTo>
                  <a:lnTo>
                    <a:pt x="160" y="136"/>
                  </a:lnTo>
                  <a:lnTo>
                    <a:pt x="160" y="134"/>
                  </a:lnTo>
                  <a:close/>
                  <a:moveTo>
                    <a:pt x="58" y="292"/>
                  </a:moveTo>
                  <a:lnTo>
                    <a:pt x="58" y="294"/>
                  </a:lnTo>
                  <a:lnTo>
                    <a:pt x="58" y="292"/>
                  </a:lnTo>
                  <a:close/>
                  <a:moveTo>
                    <a:pt x="50" y="305"/>
                  </a:moveTo>
                  <a:lnTo>
                    <a:pt x="50" y="307"/>
                  </a:lnTo>
                  <a:lnTo>
                    <a:pt x="50" y="305"/>
                  </a:lnTo>
                  <a:close/>
                  <a:moveTo>
                    <a:pt x="89" y="411"/>
                  </a:moveTo>
                  <a:lnTo>
                    <a:pt x="89" y="413"/>
                  </a:lnTo>
                  <a:lnTo>
                    <a:pt x="89" y="411"/>
                  </a:lnTo>
                  <a:close/>
                  <a:moveTo>
                    <a:pt x="121" y="192"/>
                  </a:moveTo>
                  <a:lnTo>
                    <a:pt x="123" y="192"/>
                  </a:lnTo>
                  <a:lnTo>
                    <a:pt x="121" y="192"/>
                  </a:lnTo>
                  <a:close/>
                  <a:moveTo>
                    <a:pt x="41" y="311"/>
                  </a:moveTo>
                  <a:lnTo>
                    <a:pt x="43" y="311"/>
                  </a:lnTo>
                  <a:lnTo>
                    <a:pt x="41" y="311"/>
                  </a:lnTo>
                  <a:close/>
                  <a:moveTo>
                    <a:pt x="150" y="109"/>
                  </a:moveTo>
                  <a:lnTo>
                    <a:pt x="150" y="111"/>
                  </a:lnTo>
                  <a:lnTo>
                    <a:pt x="150" y="109"/>
                  </a:lnTo>
                  <a:close/>
                  <a:moveTo>
                    <a:pt x="158" y="115"/>
                  </a:moveTo>
                  <a:lnTo>
                    <a:pt x="158" y="117"/>
                  </a:lnTo>
                  <a:lnTo>
                    <a:pt x="158" y="115"/>
                  </a:lnTo>
                  <a:close/>
                  <a:moveTo>
                    <a:pt x="54" y="296"/>
                  </a:moveTo>
                  <a:lnTo>
                    <a:pt x="56" y="296"/>
                  </a:lnTo>
                  <a:lnTo>
                    <a:pt x="54" y="296"/>
                  </a:lnTo>
                  <a:close/>
                  <a:moveTo>
                    <a:pt x="83" y="269"/>
                  </a:moveTo>
                  <a:lnTo>
                    <a:pt x="83" y="271"/>
                  </a:lnTo>
                  <a:lnTo>
                    <a:pt x="83" y="269"/>
                  </a:lnTo>
                  <a:close/>
                  <a:moveTo>
                    <a:pt x="39" y="459"/>
                  </a:moveTo>
                  <a:lnTo>
                    <a:pt x="41" y="459"/>
                  </a:lnTo>
                  <a:lnTo>
                    <a:pt x="41" y="461"/>
                  </a:lnTo>
                  <a:lnTo>
                    <a:pt x="39" y="461"/>
                  </a:lnTo>
                  <a:lnTo>
                    <a:pt x="39" y="459"/>
                  </a:lnTo>
                  <a:close/>
                  <a:moveTo>
                    <a:pt x="91" y="407"/>
                  </a:moveTo>
                  <a:lnTo>
                    <a:pt x="92" y="407"/>
                  </a:lnTo>
                  <a:lnTo>
                    <a:pt x="91" y="407"/>
                  </a:lnTo>
                  <a:close/>
                  <a:moveTo>
                    <a:pt x="75" y="430"/>
                  </a:moveTo>
                  <a:lnTo>
                    <a:pt x="77" y="430"/>
                  </a:lnTo>
                  <a:lnTo>
                    <a:pt x="75" y="430"/>
                  </a:lnTo>
                  <a:close/>
                  <a:moveTo>
                    <a:pt x="25" y="328"/>
                  </a:moveTo>
                  <a:lnTo>
                    <a:pt x="27" y="328"/>
                  </a:lnTo>
                  <a:lnTo>
                    <a:pt x="25" y="328"/>
                  </a:lnTo>
                  <a:close/>
                  <a:moveTo>
                    <a:pt x="98" y="252"/>
                  </a:moveTo>
                  <a:lnTo>
                    <a:pt x="98" y="254"/>
                  </a:lnTo>
                  <a:lnTo>
                    <a:pt x="98" y="252"/>
                  </a:lnTo>
                  <a:close/>
                  <a:moveTo>
                    <a:pt x="133" y="171"/>
                  </a:moveTo>
                  <a:lnTo>
                    <a:pt x="135" y="171"/>
                  </a:lnTo>
                  <a:lnTo>
                    <a:pt x="133" y="171"/>
                  </a:lnTo>
                  <a:close/>
                  <a:moveTo>
                    <a:pt x="6" y="375"/>
                  </a:moveTo>
                  <a:lnTo>
                    <a:pt x="8" y="375"/>
                  </a:lnTo>
                  <a:lnTo>
                    <a:pt x="6" y="375"/>
                  </a:lnTo>
                  <a:close/>
                  <a:moveTo>
                    <a:pt x="114" y="204"/>
                  </a:moveTo>
                  <a:lnTo>
                    <a:pt x="115" y="204"/>
                  </a:lnTo>
                  <a:lnTo>
                    <a:pt x="114" y="204"/>
                  </a:lnTo>
                  <a:close/>
                  <a:moveTo>
                    <a:pt x="108" y="219"/>
                  </a:moveTo>
                  <a:lnTo>
                    <a:pt x="110" y="219"/>
                  </a:lnTo>
                  <a:lnTo>
                    <a:pt x="108" y="219"/>
                  </a:lnTo>
                  <a:close/>
                  <a:moveTo>
                    <a:pt x="12" y="425"/>
                  </a:moveTo>
                  <a:lnTo>
                    <a:pt x="12" y="426"/>
                  </a:lnTo>
                  <a:lnTo>
                    <a:pt x="12" y="425"/>
                  </a:lnTo>
                  <a:close/>
                  <a:moveTo>
                    <a:pt x="54" y="307"/>
                  </a:moveTo>
                  <a:lnTo>
                    <a:pt x="56" y="307"/>
                  </a:lnTo>
                  <a:lnTo>
                    <a:pt x="56" y="309"/>
                  </a:lnTo>
                  <a:lnTo>
                    <a:pt x="54" y="309"/>
                  </a:lnTo>
                  <a:lnTo>
                    <a:pt x="54" y="307"/>
                  </a:lnTo>
                  <a:close/>
                  <a:moveTo>
                    <a:pt x="89" y="407"/>
                  </a:moveTo>
                  <a:lnTo>
                    <a:pt x="89" y="409"/>
                  </a:lnTo>
                  <a:lnTo>
                    <a:pt x="89" y="407"/>
                  </a:lnTo>
                  <a:close/>
                  <a:moveTo>
                    <a:pt x="64" y="446"/>
                  </a:moveTo>
                  <a:lnTo>
                    <a:pt x="64" y="448"/>
                  </a:lnTo>
                  <a:lnTo>
                    <a:pt x="64" y="446"/>
                  </a:lnTo>
                  <a:close/>
                  <a:moveTo>
                    <a:pt x="87" y="409"/>
                  </a:moveTo>
                  <a:lnTo>
                    <a:pt x="89" y="409"/>
                  </a:lnTo>
                  <a:lnTo>
                    <a:pt x="87" y="409"/>
                  </a:lnTo>
                  <a:close/>
                  <a:moveTo>
                    <a:pt x="102" y="244"/>
                  </a:moveTo>
                  <a:lnTo>
                    <a:pt x="104" y="244"/>
                  </a:lnTo>
                  <a:lnTo>
                    <a:pt x="104" y="246"/>
                  </a:lnTo>
                  <a:lnTo>
                    <a:pt x="102" y="246"/>
                  </a:lnTo>
                  <a:lnTo>
                    <a:pt x="102" y="244"/>
                  </a:lnTo>
                  <a:close/>
                  <a:moveTo>
                    <a:pt x="135" y="165"/>
                  </a:moveTo>
                  <a:lnTo>
                    <a:pt x="137" y="165"/>
                  </a:lnTo>
                  <a:lnTo>
                    <a:pt x="137" y="167"/>
                  </a:lnTo>
                  <a:lnTo>
                    <a:pt x="135" y="167"/>
                  </a:lnTo>
                  <a:lnTo>
                    <a:pt x="135" y="165"/>
                  </a:lnTo>
                  <a:close/>
                  <a:moveTo>
                    <a:pt x="20" y="432"/>
                  </a:moveTo>
                  <a:lnTo>
                    <a:pt x="20" y="434"/>
                  </a:lnTo>
                  <a:lnTo>
                    <a:pt x="20" y="432"/>
                  </a:lnTo>
                  <a:close/>
                  <a:moveTo>
                    <a:pt x="112" y="202"/>
                  </a:moveTo>
                  <a:lnTo>
                    <a:pt x="114" y="202"/>
                  </a:lnTo>
                  <a:lnTo>
                    <a:pt x="112" y="202"/>
                  </a:lnTo>
                  <a:close/>
                  <a:moveTo>
                    <a:pt x="4" y="373"/>
                  </a:moveTo>
                  <a:lnTo>
                    <a:pt x="4" y="375"/>
                  </a:lnTo>
                  <a:lnTo>
                    <a:pt x="4" y="373"/>
                  </a:lnTo>
                  <a:close/>
                  <a:moveTo>
                    <a:pt x="142" y="158"/>
                  </a:moveTo>
                  <a:lnTo>
                    <a:pt x="142" y="159"/>
                  </a:lnTo>
                  <a:lnTo>
                    <a:pt x="142" y="158"/>
                  </a:lnTo>
                  <a:close/>
                  <a:moveTo>
                    <a:pt x="114" y="213"/>
                  </a:moveTo>
                  <a:lnTo>
                    <a:pt x="114" y="215"/>
                  </a:lnTo>
                  <a:lnTo>
                    <a:pt x="114" y="213"/>
                  </a:lnTo>
                  <a:close/>
                  <a:moveTo>
                    <a:pt x="104" y="209"/>
                  </a:moveTo>
                  <a:lnTo>
                    <a:pt x="106" y="209"/>
                  </a:lnTo>
                  <a:lnTo>
                    <a:pt x="104" y="209"/>
                  </a:lnTo>
                  <a:close/>
                  <a:moveTo>
                    <a:pt x="311" y="19"/>
                  </a:moveTo>
                  <a:lnTo>
                    <a:pt x="311" y="21"/>
                  </a:lnTo>
                  <a:lnTo>
                    <a:pt x="311" y="19"/>
                  </a:lnTo>
                  <a:close/>
                  <a:moveTo>
                    <a:pt x="4" y="367"/>
                  </a:moveTo>
                  <a:lnTo>
                    <a:pt x="4" y="369"/>
                  </a:lnTo>
                  <a:lnTo>
                    <a:pt x="4" y="367"/>
                  </a:lnTo>
                  <a:close/>
                  <a:moveTo>
                    <a:pt x="92" y="254"/>
                  </a:moveTo>
                  <a:lnTo>
                    <a:pt x="94" y="254"/>
                  </a:lnTo>
                  <a:lnTo>
                    <a:pt x="92" y="254"/>
                  </a:lnTo>
                  <a:close/>
                  <a:moveTo>
                    <a:pt x="152" y="136"/>
                  </a:moveTo>
                  <a:lnTo>
                    <a:pt x="152" y="138"/>
                  </a:lnTo>
                  <a:lnTo>
                    <a:pt x="152" y="136"/>
                  </a:lnTo>
                  <a:close/>
                  <a:moveTo>
                    <a:pt x="23" y="327"/>
                  </a:moveTo>
                  <a:lnTo>
                    <a:pt x="23" y="328"/>
                  </a:lnTo>
                  <a:lnTo>
                    <a:pt x="23" y="327"/>
                  </a:lnTo>
                  <a:close/>
                  <a:moveTo>
                    <a:pt x="137" y="158"/>
                  </a:moveTo>
                  <a:lnTo>
                    <a:pt x="139" y="158"/>
                  </a:lnTo>
                  <a:lnTo>
                    <a:pt x="137" y="158"/>
                  </a:lnTo>
                  <a:close/>
                  <a:moveTo>
                    <a:pt x="181" y="115"/>
                  </a:moveTo>
                  <a:lnTo>
                    <a:pt x="181" y="117"/>
                  </a:lnTo>
                  <a:lnTo>
                    <a:pt x="181" y="115"/>
                  </a:lnTo>
                  <a:close/>
                  <a:moveTo>
                    <a:pt x="154" y="134"/>
                  </a:moveTo>
                  <a:lnTo>
                    <a:pt x="156" y="134"/>
                  </a:lnTo>
                  <a:lnTo>
                    <a:pt x="154" y="134"/>
                  </a:lnTo>
                  <a:close/>
                  <a:moveTo>
                    <a:pt x="89" y="407"/>
                  </a:moveTo>
                  <a:lnTo>
                    <a:pt x="89" y="409"/>
                  </a:lnTo>
                  <a:lnTo>
                    <a:pt x="89" y="407"/>
                  </a:lnTo>
                  <a:close/>
                  <a:moveTo>
                    <a:pt x="150" y="108"/>
                  </a:moveTo>
                  <a:lnTo>
                    <a:pt x="150" y="109"/>
                  </a:lnTo>
                  <a:lnTo>
                    <a:pt x="150" y="108"/>
                  </a:lnTo>
                  <a:close/>
                  <a:moveTo>
                    <a:pt x="2" y="378"/>
                  </a:moveTo>
                  <a:lnTo>
                    <a:pt x="4" y="378"/>
                  </a:lnTo>
                  <a:lnTo>
                    <a:pt x="2" y="378"/>
                  </a:lnTo>
                  <a:close/>
                  <a:moveTo>
                    <a:pt x="56" y="288"/>
                  </a:moveTo>
                  <a:lnTo>
                    <a:pt x="56" y="290"/>
                  </a:lnTo>
                  <a:lnTo>
                    <a:pt x="56" y="288"/>
                  </a:lnTo>
                  <a:close/>
                  <a:moveTo>
                    <a:pt x="114" y="209"/>
                  </a:moveTo>
                  <a:lnTo>
                    <a:pt x="115" y="209"/>
                  </a:lnTo>
                  <a:lnTo>
                    <a:pt x="114" y="209"/>
                  </a:lnTo>
                  <a:close/>
                  <a:moveTo>
                    <a:pt x="2" y="382"/>
                  </a:moveTo>
                  <a:lnTo>
                    <a:pt x="4" y="382"/>
                  </a:lnTo>
                  <a:lnTo>
                    <a:pt x="2" y="382"/>
                  </a:lnTo>
                  <a:close/>
                  <a:moveTo>
                    <a:pt x="68" y="279"/>
                  </a:moveTo>
                  <a:lnTo>
                    <a:pt x="68" y="280"/>
                  </a:lnTo>
                  <a:lnTo>
                    <a:pt x="68" y="279"/>
                  </a:lnTo>
                  <a:close/>
                  <a:moveTo>
                    <a:pt x="81" y="273"/>
                  </a:moveTo>
                  <a:lnTo>
                    <a:pt x="83" y="273"/>
                  </a:lnTo>
                  <a:lnTo>
                    <a:pt x="81" y="273"/>
                  </a:lnTo>
                  <a:close/>
                  <a:moveTo>
                    <a:pt x="60" y="286"/>
                  </a:moveTo>
                  <a:lnTo>
                    <a:pt x="60" y="288"/>
                  </a:lnTo>
                  <a:lnTo>
                    <a:pt x="60" y="286"/>
                  </a:lnTo>
                  <a:close/>
                  <a:moveTo>
                    <a:pt x="125" y="188"/>
                  </a:moveTo>
                  <a:lnTo>
                    <a:pt x="127" y="188"/>
                  </a:lnTo>
                  <a:lnTo>
                    <a:pt x="125" y="188"/>
                  </a:lnTo>
                  <a:close/>
                  <a:moveTo>
                    <a:pt x="89" y="426"/>
                  </a:moveTo>
                  <a:lnTo>
                    <a:pt x="89" y="428"/>
                  </a:lnTo>
                  <a:lnTo>
                    <a:pt x="89" y="426"/>
                  </a:lnTo>
                  <a:close/>
                  <a:moveTo>
                    <a:pt x="2" y="382"/>
                  </a:moveTo>
                  <a:lnTo>
                    <a:pt x="4" y="382"/>
                  </a:lnTo>
                  <a:lnTo>
                    <a:pt x="4" y="384"/>
                  </a:lnTo>
                  <a:lnTo>
                    <a:pt x="2" y="384"/>
                  </a:lnTo>
                  <a:lnTo>
                    <a:pt x="2" y="382"/>
                  </a:lnTo>
                  <a:close/>
                  <a:moveTo>
                    <a:pt x="4" y="355"/>
                  </a:moveTo>
                  <a:lnTo>
                    <a:pt x="6" y="355"/>
                  </a:lnTo>
                  <a:lnTo>
                    <a:pt x="4" y="355"/>
                  </a:lnTo>
                  <a:close/>
                  <a:moveTo>
                    <a:pt x="304" y="40"/>
                  </a:moveTo>
                  <a:lnTo>
                    <a:pt x="306" y="40"/>
                  </a:lnTo>
                  <a:lnTo>
                    <a:pt x="304" y="40"/>
                  </a:lnTo>
                  <a:close/>
                  <a:moveTo>
                    <a:pt x="14" y="361"/>
                  </a:moveTo>
                  <a:lnTo>
                    <a:pt x="16" y="361"/>
                  </a:lnTo>
                  <a:lnTo>
                    <a:pt x="14" y="361"/>
                  </a:lnTo>
                  <a:close/>
                  <a:moveTo>
                    <a:pt x="304" y="4"/>
                  </a:moveTo>
                  <a:lnTo>
                    <a:pt x="306" y="4"/>
                  </a:lnTo>
                  <a:lnTo>
                    <a:pt x="304" y="4"/>
                  </a:lnTo>
                  <a:close/>
                  <a:moveTo>
                    <a:pt x="56" y="453"/>
                  </a:moveTo>
                  <a:lnTo>
                    <a:pt x="58" y="453"/>
                  </a:lnTo>
                  <a:lnTo>
                    <a:pt x="56" y="453"/>
                  </a:lnTo>
                  <a:close/>
                  <a:moveTo>
                    <a:pt x="87" y="430"/>
                  </a:moveTo>
                  <a:lnTo>
                    <a:pt x="87" y="432"/>
                  </a:lnTo>
                  <a:lnTo>
                    <a:pt x="87" y="430"/>
                  </a:lnTo>
                  <a:close/>
                  <a:moveTo>
                    <a:pt x="313" y="6"/>
                  </a:moveTo>
                  <a:lnTo>
                    <a:pt x="313" y="8"/>
                  </a:lnTo>
                  <a:lnTo>
                    <a:pt x="313" y="6"/>
                  </a:lnTo>
                  <a:close/>
                  <a:moveTo>
                    <a:pt x="94" y="428"/>
                  </a:moveTo>
                  <a:lnTo>
                    <a:pt x="94" y="430"/>
                  </a:lnTo>
                  <a:lnTo>
                    <a:pt x="94" y="428"/>
                  </a:lnTo>
                  <a:close/>
                  <a:moveTo>
                    <a:pt x="23" y="400"/>
                  </a:moveTo>
                  <a:lnTo>
                    <a:pt x="23" y="401"/>
                  </a:lnTo>
                  <a:lnTo>
                    <a:pt x="23" y="400"/>
                  </a:lnTo>
                  <a:close/>
                  <a:moveTo>
                    <a:pt x="123" y="196"/>
                  </a:moveTo>
                  <a:lnTo>
                    <a:pt x="123" y="198"/>
                  </a:lnTo>
                  <a:lnTo>
                    <a:pt x="123" y="196"/>
                  </a:lnTo>
                  <a:close/>
                  <a:moveTo>
                    <a:pt x="112" y="202"/>
                  </a:moveTo>
                  <a:lnTo>
                    <a:pt x="114" y="202"/>
                  </a:lnTo>
                  <a:lnTo>
                    <a:pt x="112" y="202"/>
                  </a:lnTo>
                  <a:close/>
                  <a:moveTo>
                    <a:pt x="156" y="125"/>
                  </a:moveTo>
                  <a:lnTo>
                    <a:pt x="158" y="125"/>
                  </a:lnTo>
                  <a:lnTo>
                    <a:pt x="156" y="125"/>
                  </a:lnTo>
                  <a:close/>
                  <a:moveTo>
                    <a:pt x="58" y="286"/>
                  </a:moveTo>
                  <a:lnTo>
                    <a:pt x="60" y="286"/>
                  </a:lnTo>
                  <a:lnTo>
                    <a:pt x="58" y="286"/>
                  </a:lnTo>
                  <a:close/>
                  <a:moveTo>
                    <a:pt x="110" y="154"/>
                  </a:moveTo>
                  <a:lnTo>
                    <a:pt x="112" y="154"/>
                  </a:lnTo>
                  <a:lnTo>
                    <a:pt x="110" y="154"/>
                  </a:lnTo>
                  <a:close/>
                  <a:moveTo>
                    <a:pt x="133" y="131"/>
                  </a:moveTo>
                  <a:lnTo>
                    <a:pt x="133" y="133"/>
                  </a:lnTo>
                  <a:lnTo>
                    <a:pt x="133" y="131"/>
                  </a:lnTo>
                  <a:close/>
                  <a:moveTo>
                    <a:pt x="139" y="163"/>
                  </a:moveTo>
                  <a:lnTo>
                    <a:pt x="139" y="165"/>
                  </a:lnTo>
                  <a:lnTo>
                    <a:pt x="139" y="163"/>
                  </a:lnTo>
                  <a:close/>
                  <a:moveTo>
                    <a:pt x="146" y="125"/>
                  </a:moveTo>
                  <a:lnTo>
                    <a:pt x="148" y="125"/>
                  </a:lnTo>
                  <a:lnTo>
                    <a:pt x="148" y="127"/>
                  </a:lnTo>
                  <a:lnTo>
                    <a:pt x="146" y="127"/>
                  </a:lnTo>
                  <a:lnTo>
                    <a:pt x="146" y="125"/>
                  </a:lnTo>
                  <a:close/>
                  <a:moveTo>
                    <a:pt x="89" y="426"/>
                  </a:moveTo>
                  <a:lnTo>
                    <a:pt x="89" y="428"/>
                  </a:lnTo>
                  <a:lnTo>
                    <a:pt x="89" y="426"/>
                  </a:lnTo>
                  <a:close/>
                  <a:moveTo>
                    <a:pt x="140" y="167"/>
                  </a:moveTo>
                  <a:lnTo>
                    <a:pt x="142" y="167"/>
                  </a:lnTo>
                  <a:lnTo>
                    <a:pt x="140" y="167"/>
                  </a:lnTo>
                  <a:close/>
                  <a:moveTo>
                    <a:pt x="77" y="430"/>
                  </a:moveTo>
                  <a:lnTo>
                    <a:pt x="77" y="432"/>
                  </a:lnTo>
                  <a:lnTo>
                    <a:pt x="77" y="430"/>
                  </a:lnTo>
                  <a:close/>
                  <a:moveTo>
                    <a:pt x="23" y="327"/>
                  </a:moveTo>
                  <a:lnTo>
                    <a:pt x="25" y="327"/>
                  </a:lnTo>
                  <a:lnTo>
                    <a:pt x="23" y="327"/>
                  </a:lnTo>
                  <a:close/>
                  <a:moveTo>
                    <a:pt x="117" y="198"/>
                  </a:moveTo>
                  <a:lnTo>
                    <a:pt x="119" y="198"/>
                  </a:lnTo>
                  <a:lnTo>
                    <a:pt x="117" y="198"/>
                  </a:lnTo>
                  <a:close/>
                  <a:moveTo>
                    <a:pt x="114" y="206"/>
                  </a:moveTo>
                  <a:lnTo>
                    <a:pt x="115" y="206"/>
                  </a:lnTo>
                  <a:lnTo>
                    <a:pt x="114" y="206"/>
                  </a:lnTo>
                  <a:close/>
                  <a:moveTo>
                    <a:pt x="8" y="348"/>
                  </a:moveTo>
                  <a:lnTo>
                    <a:pt x="10" y="348"/>
                  </a:lnTo>
                  <a:lnTo>
                    <a:pt x="8" y="348"/>
                  </a:lnTo>
                  <a:close/>
                  <a:moveTo>
                    <a:pt x="73" y="434"/>
                  </a:moveTo>
                  <a:lnTo>
                    <a:pt x="73" y="436"/>
                  </a:lnTo>
                  <a:lnTo>
                    <a:pt x="73" y="434"/>
                  </a:lnTo>
                  <a:close/>
                  <a:moveTo>
                    <a:pt x="142" y="125"/>
                  </a:moveTo>
                  <a:lnTo>
                    <a:pt x="142" y="127"/>
                  </a:lnTo>
                  <a:lnTo>
                    <a:pt x="142" y="125"/>
                  </a:lnTo>
                  <a:close/>
                  <a:moveTo>
                    <a:pt x="77" y="430"/>
                  </a:moveTo>
                  <a:lnTo>
                    <a:pt x="77" y="432"/>
                  </a:lnTo>
                  <a:lnTo>
                    <a:pt x="77" y="430"/>
                  </a:lnTo>
                  <a:close/>
                  <a:moveTo>
                    <a:pt x="8" y="413"/>
                  </a:moveTo>
                  <a:lnTo>
                    <a:pt x="10" y="413"/>
                  </a:lnTo>
                  <a:lnTo>
                    <a:pt x="8" y="413"/>
                  </a:lnTo>
                  <a:close/>
                  <a:moveTo>
                    <a:pt x="115" y="209"/>
                  </a:moveTo>
                  <a:lnTo>
                    <a:pt x="117" y="209"/>
                  </a:lnTo>
                  <a:lnTo>
                    <a:pt x="115" y="209"/>
                  </a:lnTo>
                  <a:close/>
                  <a:moveTo>
                    <a:pt x="112" y="229"/>
                  </a:moveTo>
                  <a:lnTo>
                    <a:pt x="112" y="231"/>
                  </a:lnTo>
                  <a:lnTo>
                    <a:pt x="112" y="229"/>
                  </a:lnTo>
                  <a:close/>
                  <a:moveTo>
                    <a:pt x="60" y="282"/>
                  </a:moveTo>
                  <a:lnTo>
                    <a:pt x="60" y="284"/>
                  </a:lnTo>
                  <a:lnTo>
                    <a:pt x="60" y="282"/>
                  </a:lnTo>
                  <a:close/>
                  <a:moveTo>
                    <a:pt x="135" y="165"/>
                  </a:moveTo>
                  <a:lnTo>
                    <a:pt x="137" y="165"/>
                  </a:lnTo>
                  <a:lnTo>
                    <a:pt x="135" y="165"/>
                  </a:lnTo>
                  <a:close/>
                  <a:moveTo>
                    <a:pt x="4" y="365"/>
                  </a:moveTo>
                  <a:lnTo>
                    <a:pt x="4" y="367"/>
                  </a:lnTo>
                  <a:lnTo>
                    <a:pt x="4" y="365"/>
                  </a:lnTo>
                  <a:close/>
                  <a:moveTo>
                    <a:pt x="37" y="459"/>
                  </a:moveTo>
                  <a:lnTo>
                    <a:pt x="37" y="461"/>
                  </a:lnTo>
                  <a:lnTo>
                    <a:pt x="37" y="459"/>
                  </a:lnTo>
                  <a:close/>
                  <a:moveTo>
                    <a:pt x="12" y="405"/>
                  </a:moveTo>
                  <a:lnTo>
                    <a:pt x="12" y="407"/>
                  </a:lnTo>
                  <a:lnTo>
                    <a:pt x="12" y="405"/>
                  </a:lnTo>
                  <a:close/>
                  <a:moveTo>
                    <a:pt x="98" y="250"/>
                  </a:moveTo>
                  <a:lnTo>
                    <a:pt x="98" y="252"/>
                  </a:lnTo>
                  <a:lnTo>
                    <a:pt x="98" y="250"/>
                  </a:lnTo>
                  <a:close/>
                  <a:moveTo>
                    <a:pt x="48" y="298"/>
                  </a:moveTo>
                  <a:lnTo>
                    <a:pt x="50" y="298"/>
                  </a:lnTo>
                  <a:lnTo>
                    <a:pt x="48" y="298"/>
                  </a:lnTo>
                  <a:close/>
                  <a:moveTo>
                    <a:pt x="129" y="179"/>
                  </a:moveTo>
                  <a:lnTo>
                    <a:pt x="129" y="181"/>
                  </a:lnTo>
                  <a:lnTo>
                    <a:pt x="129" y="179"/>
                  </a:lnTo>
                  <a:close/>
                  <a:moveTo>
                    <a:pt x="52" y="307"/>
                  </a:moveTo>
                  <a:lnTo>
                    <a:pt x="54" y="307"/>
                  </a:lnTo>
                  <a:lnTo>
                    <a:pt x="52" y="307"/>
                  </a:lnTo>
                  <a:close/>
                  <a:moveTo>
                    <a:pt x="117" y="198"/>
                  </a:moveTo>
                  <a:lnTo>
                    <a:pt x="119" y="198"/>
                  </a:lnTo>
                  <a:lnTo>
                    <a:pt x="119" y="200"/>
                  </a:lnTo>
                  <a:lnTo>
                    <a:pt x="117" y="200"/>
                  </a:lnTo>
                  <a:lnTo>
                    <a:pt x="117" y="198"/>
                  </a:lnTo>
                  <a:close/>
                  <a:moveTo>
                    <a:pt x="89" y="250"/>
                  </a:moveTo>
                  <a:lnTo>
                    <a:pt x="91" y="250"/>
                  </a:lnTo>
                  <a:lnTo>
                    <a:pt x="89" y="250"/>
                  </a:lnTo>
                  <a:close/>
                  <a:moveTo>
                    <a:pt x="4" y="382"/>
                  </a:moveTo>
                  <a:lnTo>
                    <a:pt x="6" y="382"/>
                  </a:lnTo>
                  <a:lnTo>
                    <a:pt x="4" y="382"/>
                  </a:lnTo>
                  <a:close/>
                  <a:moveTo>
                    <a:pt x="6" y="375"/>
                  </a:moveTo>
                  <a:lnTo>
                    <a:pt x="6" y="376"/>
                  </a:lnTo>
                  <a:lnTo>
                    <a:pt x="6" y="375"/>
                  </a:lnTo>
                  <a:close/>
                  <a:moveTo>
                    <a:pt x="10" y="401"/>
                  </a:moveTo>
                  <a:lnTo>
                    <a:pt x="10" y="403"/>
                  </a:lnTo>
                  <a:lnTo>
                    <a:pt x="10" y="401"/>
                  </a:lnTo>
                  <a:close/>
                  <a:moveTo>
                    <a:pt x="104" y="240"/>
                  </a:moveTo>
                  <a:lnTo>
                    <a:pt x="106" y="240"/>
                  </a:lnTo>
                  <a:lnTo>
                    <a:pt x="104" y="240"/>
                  </a:lnTo>
                  <a:close/>
                  <a:moveTo>
                    <a:pt x="60" y="282"/>
                  </a:moveTo>
                  <a:lnTo>
                    <a:pt x="62" y="282"/>
                  </a:lnTo>
                  <a:lnTo>
                    <a:pt x="62" y="284"/>
                  </a:lnTo>
                  <a:lnTo>
                    <a:pt x="60" y="284"/>
                  </a:lnTo>
                  <a:lnTo>
                    <a:pt x="60" y="282"/>
                  </a:lnTo>
                  <a:close/>
                  <a:moveTo>
                    <a:pt x="102" y="242"/>
                  </a:moveTo>
                  <a:lnTo>
                    <a:pt x="102" y="244"/>
                  </a:lnTo>
                  <a:lnTo>
                    <a:pt x="102" y="242"/>
                  </a:lnTo>
                  <a:close/>
                  <a:moveTo>
                    <a:pt x="16" y="423"/>
                  </a:moveTo>
                  <a:lnTo>
                    <a:pt x="16" y="425"/>
                  </a:lnTo>
                  <a:lnTo>
                    <a:pt x="16" y="423"/>
                  </a:lnTo>
                  <a:close/>
                  <a:moveTo>
                    <a:pt x="139" y="127"/>
                  </a:moveTo>
                  <a:lnTo>
                    <a:pt x="140" y="127"/>
                  </a:lnTo>
                  <a:lnTo>
                    <a:pt x="139" y="127"/>
                  </a:lnTo>
                  <a:close/>
                  <a:moveTo>
                    <a:pt x="87" y="426"/>
                  </a:moveTo>
                  <a:lnTo>
                    <a:pt x="89" y="426"/>
                  </a:lnTo>
                  <a:lnTo>
                    <a:pt x="87" y="426"/>
                  </a:lnTo>
                  <a:close/>
                  <a:moveTo>
                    <a:pt x="121" y="188"/>
                  </a:moveTo>
                  <a:lnTo>
                    <a:pt x="121" y="190"/>
                  </a:lnTo>
                  <a:lnTo>
                    <a:pt x="121" y="188"/>
                  </a:lnTo>
                  <a:close/>
                  <a:moveTo>
                    <a:pt x="6" y="400"/>
                  </a:moveTo>
                  <a:lnTo>
                    <a:pt x="8" y="400"/>
                  </a:lnTo>
                  <a:lnTo>
                    <a:pt x="6" y="400"/>
                  </a:lnTo>
                  <a:close/>
                  <a:moveTo>
                    <a:pt x="135" y="165"/>
                  </a:moveTo>
                  <a:lnTo>
                    <a:pt x="135" y="167"/>
                  </a:lnTo>
                  <a:lnTo>
                    <a:pt x="135" y="165"/>
                  </a:lnTo>
                  <a:close/>
                  <a:moveTo>
                    <a:pt x="112" y="217"/>
                  </a:moveTo>
                  <a:lnTo>
                    <a:pt x="114" y="217"/>
                  </a:lnTo>
                  <a:lnTo>
                    <a:pt x="112" y="217"/>
                  </a:lnTo>
                  <a:close/>
                  <a:moveTo>
                    <a:pt x="139" y="167"/>
                  </a:moveTo>
                  <a:lnTo>
                    <a:pt x="139" y="169"/>
                  </a:lnTo>
                  <a:lnTo>
                    <a:pt x="139" y="167"/>
                  </a:lnTo>
                  <a:close/>
                  <a:moveTo>
                    <a:pt x="89" y="261"/>
                  </a:moveTo>
                  <a:lnTo>
                    <a:pt x="91" y="261"/>
                  </a:lnTo>
                  <a:lnTo>
                    <a:pt x="89" y="261"/>
                  </a:lnTo>
                  <a:close/>
                  <a:moveTo>
                    <a:pt x="56" y="292"/>
                  </a:moveTo>
                  <a:lnTo>
                    <a:pt x="58" y="292"/>
                  </a:lnTo>
                  <a:lnTo>
                    <a:pt x="56" y="292"/>
                  </a:lnTo>
                  <a:close/>
                  <a:moveTo>
                    <a:pt x="139" y="156"/>
                  </a:moveTo>
                  <a:lnTo>
                    <a:pt x="139" y="158"/>
                  </a:lnTo>
                  <a:lnTo>
                    <a:pt x="139" y="156"/>
                  </a:lnTo>
                  <a:close/>
                  <a:moveTo>
                    <a:pt x="87" y="426"/>
                  </a:moveTo>
                  <a:lnTo>
                    <a:pt x="87" y="428"/>
                  </a:lnTo>
                  <a:lnTo>
                    <a:pt x="87" y="426"/>
                  </a:lnTo>
                  <a:close/>
                  <a:moveTo>
                    <a:pt x="85" y="428"/>
                  </a:moveTo>
                  <a:lnTo>
                    <a:pt x="85" y="430"/>
                  </a:lnTo>
                  <a:lnTo>
                    <a:pt x="85" y="428"/>
                  </a:lnTo>
                  <a:close/>
                  <a:moveTo>
                    <a:pt x="12" y="338"/>
                  </a:moveTo>
                  <a:lnTo>
                    <a:pt x="14" y="338"/>
                  </a:lnTo>
                  <a:lnTo>
                    <a:pt x="12" y="338"/>
                  </a:lnTo>
                  <a:close/>
                  <a:moveTo>
                    <a:pt x="348" y="8"/>
                  </a:moveTo>
                  <a:lnTo>
                    <a:pt x="348" y="10"/>
                  </a:lnTo>
                  <a:lnTo>
                    <a:pt x="348" y="8"/>
                  </a:lnTo>
                  <a:close/>
                  <a:moveTo>
                    <a:pt x="4" y="369"/>
                  </a:moveTo>
                  <a:lnTo>
                    <a:pt x="4" y="371"/>
                  </a:lnTo>
                  <a:lnTo>
                    <a:pt x="4" y="369"/>
                  </a:lnTo>
                  <a:close/>
                  <a:moveTo>
                    <a:pt x="150" y="142"/>
                  </a:moveTo>
                  <a:lnTo>
                    <a:pt x="150" y="144"/>
                  </a:lnTo>
                  <a:lnTo>
                    <a:pt x="150" y="142"/>
                  </a:lnTo>
                  <a:close/>
                  <a:moveTo>
                    <a:pt x="152" y="144"/>
                  </a:moveTo>
                  <a:lnTo>
                    <a:pt x="154" y="144"/>
                  </a:lnTo>
                  <a:lnTo>
                    <a:pt x="152" y="144"/>
                  </a:lnTo>
                  <a:close/>
                  <a:moveTo>
                    <a:pt x="58" y="284"/>
                  </a:moveTo>
                  <a:lnTo>
                    <a:pt x="60" y="284"/>
                  </a:lnTo>
                  <a:lnTo>
                    <a:pt x="58" y="284"/>
                  </a:lnTo>
                  <a:close/>
                  <a:moveTo>
                    <a:pt x="115" y="206"/>
                  </a:moveTo>
                  <a:lnTo>
                    <a:pt x="117" y="206"/>
                  </a:lnTo>
                  <a:lnTo>
                    <a:pt x="115" y="206"/>
                  </a:lnTo>
                  <a:close/>
                  <a:moveTo>
                    <a:pt x="75" y="286"/>
                  </a:moveTo>
                  <a:lnTo>
                    <a:pt x="75" y="288"/>
                  </a:lnTo>
                  <a:lnTo>
                    <a:pt x="75" y="286"/>
                  </a:lnTo>
                  <a:close/>
                  <a:moveTo>
                    <a:pt x="4" y="382"/>
                  </a:moveTo>
                  <a:lnTo>
                    <a:pt x="4" y="384"/>
                  </a:lnTo>
                  <a:lnTo>
                    <a:pt x="4" y="382"/>
                  </a:lnTo>
                  <a:close/>
                  <a:moveTo>
                    <a:pt x="96" y="257"/>
                  </a:moveTo>
                  <a:lnTo>
                    <a:pt x="98" y="257"/>
                  </a:lnTo>
                  <a:lnTo>
                    <a:pt x="96" y="257"/>
                  </a:lnTo>
                  <a:close/>
                  <a:moveTo>
                    <a:pt x="12" y="407"/>
                  </a:moveTo>
                  <a:lnTo>
                    <a:pt x="12" y="409"/>
                  </a:lnTo>
                  <a:lnTo>
                    <a:pt x="12" y="407"/>
                  </a:lnTo>
                  <a:close/>
                  <a:moveTo>
                    <a:pt x="89" y="265"/>
                  </a:moveTo>
                  <a:lnTo>
                    <a:pt x="89" y="267"/>
                  </a:lnTo>
                  <a:lnTo>
                    <a:pt x="89" y="265"/>
                  </a:lnTo>
                  <a:close/>
                  <a:moveTo>
                    <a:pt x="60" y="451"/>
                  </a:moveTo>
                  <a:lnTo>
                    <a:pt x="62" y="451"/>
                  </a:lnTo>
                  <a:lnTo>
                    <a:pt x="60" y="451"/>
                  </a:lnTo>
                  <a:close/>
                  <a:moveTo>
                    <a:pt x="56" y="286"/>
                  </a:moveTo>
                  <a:lnTo>
                    <a:pt x="58" y="286"/>
                  </a:lnTo>
                  <a:lnTo>
                    <a:pt x="58" y="288"/>
                  </a:lnTo>
                  <a:lnTo>
                    <a:pt x="56" y="288"/>
                  </a:lnTo>
                  <a:lnTo>
                    <a:pt x="56" y="286"/>
                  </a:lnTo>
                  <a:close/>
                  <a:moveTo>
                    <a:pt x="115" y="198"/>
                  </a:moveTo>
                  <a:lnTo>
                    <a:pt x="117" y="198"/>
                  </a:lnTo>
                  <a:lnTo>
                    <a:pt x="115" y="198"/>
                  </a:lnTo>
                  <a:close/>
                  <a:moveTo>
                    <a:pt x="20" y="334"/>
                  </a:moveTo>
                  <a:lnTo>
                    <a:pt x="20" y="336"/>
                  </a:lnTo>
                  <a:lnTo>
                    <a:pt x="20" y="334"/>
                  </a:lnTo>
                  <a:close/>
                  <a:moveTo>
                    <a:pt x="204" y="54"/>
                  </a:moveTo>
                  <a:lnTo>
                    <a:pt x="206" y="54"/>
                  </a:lnTo>
                  <a:lnTo>
                    <a:pt x="204" y="54"/>
                  </a:lnTo>
                  <a:close/>
                  <a:moveTo>
                    <a:pt x="21" y="426"/>
                  </a:moveTo>
                  <a:lnTo>
                    <a:pt x="21" y="428"/>
                  </a:lnTo>
                  <a:lnTo>
                    <a:pt x="21" y="426"/>
                  </a:lnTo>
                  <a:close/>
                  <a:moveTo>
                    <a:pt x="8" y="415"/>
                  </a:moveTo>
                  <a:lnTo>
                    <a:pt x="10" y="415"/>
                  </a:lnTo>
                  <a:lnTo>
                    <a:pt x="10" y="417"/>
                  </a:lnTo>
                  <a:lnTo>
                    <a:pt x="8" y="417"/>
                  </a:lnTo>
                  <a:lnTo>
                    <a:pt x="8" y="415"/>
                  </a:lnTo>
                  <a:close/>
                  <a:moveTo>
                    <a:pt x="117" y="188"/>
                  </a:moveTo>
                  <a:lnTo>
                    <a:pt x="119" y="188"/>
                  </a:lnTo>
                  <a:lnTo>
                    <a:pt x="117" y="188"/>
                  </a:lnTo>
                  <a:close/>
                  <a:moveTo>
                    <a:pt x="117" y="198"/>
                  </a:moveTo>
                  <a:lnTo>
                    <a:pt x="117" y="200"/>
                  </a:lnTo>
                  <a:lnTo>
                    <a:pt x="117" y="198"/>
                  </a:lnTo>
                  <a:close/>
                  <a:moveTo>
                    <a:pt x="94" y="428"/>
                  </a:moveTo>
                  <a:lnTo>
                    <a:pt x="94" y="430"/>
                  </a:lnTo>
                  <a:lnTo>
                    <a:pt x="94" y="428"/>
                  </a:lnTo>
                  <a:close/>
                  <a:moveTo>
                    <a:pt x="165" y="83"/>
                  </a:moveTo>
                  <a:lnTo>
                    <a:pt x="165" y="85"/>
                  </a:lnTo>
                  <a:lnTo>
                    <a:pt x="165" y="83"/>
                  </a:lnTo>
                  <a:close/>
                  <a:moveTo>
                    <a:pt x="137" y="127"/>
                  </a:moveTo>
                  <a:lnTo>
                    <a:pt x="137" y="129"/>
                  </a:lnTo>
                  <a:lnTo>
                    <a:pt x="137" y="127"/>
                  </a:lnTo>
                  <a:close/>
                  <a:moveTo>
                    <a:pt x="148" y="129"/>
                  </a:moveTo>
                  <a:lnTo>
                    <a:pt x="150" y="129"/>
                  </a:lnTo>
                  <a:lnTo>
                    <a:pt x="148" y="129"/>
                  </a:lnTo>
                  <a:close/>
                  <a:moveTo>
                    <a:pt x="110" y="221"/>
                  </a:moveTo>
                  <a:lnTo>
                    <a:pt x="110" y="223"/>
                  </a:lnTo>
                  <a:lnTo>
                    <a:pt x="110" y="221"/>
                  </a:lnTo>
                  <a:close/>
                  <a:moveTo>
                    <a:pt x="137" y="158"/>
                  </a:moveTo>
                  <a:lnTo>
                    <a:pt x="139" y="158"/>
                  </a:lnTo>
                  <a:lnTo>
                    <a:pt x="137" y="158"/>
                  </a:lnTo>
                  <a:close/>
                  <a:moveTo>
                    <a:pt x="92" y="246"/>
                  </a:moveTo>
                  <a:lnTo>
                    <a:pt x="92" y="248"/>
                  </a:lnTo>
                  <a:lnTo>
                    <a:pt x="92" y="246"/>
                  </a:lnTo>
                  <a:close/>
                  <a:moveTo>
                    <a:pt x="8" y="382"/>
                  </a:moveTo>
                  <a:lnTo>
                    <a:pt x="10" y="382"/>
                  </a:lnTo>
                  <a:lnTo>
                    <a:pt x="8" y="382"/>
                  </a:lnTo>
                  <a:close/>
                  <a:moveTo>
                    <a:pt x="114" y="213"/>
                  </a:moveTo>
                  <a:lnTo>
                    <a:pt x="114" y="215"/>
                  </a:lnTo>
                  <a:lnTo>
                    <a:pt x="114" y="213"/>
                  </a:lnTo>
                  <a:close/>
                  <a:moveTo>
                    <a:pt x="18" y="403"/>
                  </a:moveTo>
                  <a:lnTo>
                    <a:pt x="18" y="405"/>
                  </a:lnTo>
                  <a:lnTo>
                    <a:pt x="18" y="403"/>
                  </a:lnTo>
                  <a:close/>
                  <a:moveTo>
                    <a:pt x="200" y="67"/>
                  </a:moveTo>
                  <a:lnTo>
                    <a:pt x="200" y="69"/>
                  </a:lnTo>
                  <a:lnTo>
                    <a:pt x="200" y="67"/>
                  </a:lnTo>
                  <a:close/>
                  <a:moveTo>
                    <a:pt x="81" y="277"/>
                  </a:moveTo>
                  <a:lnTo>
                    <a:pt x="81" y="279"/>
                  </a:lnTo>
                  <a:lnTo>
                    <a:pt x="81" y="277"/>
                  </a:lnTo>
                  <a:close/>
                  <a:moveTo>
                    <a:pt x="152" y="136"/>
                  </a:moveTo>
                  <a:lnTo>
                    <a:pt x="152" y="138"/>
                  </a:lnTo>
                  <a:lnTo>
                    <a:pt x="152" y="136"/>
                  </a:lnTo>
                  <a:close/>
                  <a:moveTo>
                    <a:pt x="6" y="350"/>
                  </a:moveTo>
                  <a:lnTo>
                    <a:pt x="6" y="352"/>
                  </a:lnTo>
                  <a:lnTo>
                    <a:pt x="6" y="350"/>
                  </a:lnTo>
                  <a:close/>
                  <a:moveTo>
                    <a:pt x="94" y="248"/>
                  </a:moveTo>
                  <a:lnTo>
                    <a:pt x="96" y="248"/>
                  </a:lnTo>
                  <a:lnTo>
                    <a:pt x="94" y="248"/>
                  </a:lnTo>
                  <a:close/>
                  <a:moveTo>
                    <a:pt x="81" y="432"/>
                  </a:moveTo>
                  <a:lnTo>
                    <a:pt x="83" y="432"/>
                  </a:lnTo>
                  <a:lnTo>
                    <a:pt x="81" y="432"/>
                  </a:lnTo>
                  <a:close/>
                  <a:moveTo>
                    <a:pt x="91" y="248"/>
                  </a:moveTo>
                  <a:lnTo>
                    <a:pt x="91" y="250"/>
                  </a:lnTo>
                  <a:lnTo>
                    <a:pt x="91" y="248"/>
                  </a:lnTo>
                  <a:close/>
                  <a:moveTo>
                    <a:pt x="154" y="134"/>
                  </a:moveTo>
                  <a:lnTo>
                    <a:pt x="156" y="134"/>
                  </a:lnTo>
                  <a:lnTo>
                    <a:pt x="154" y="134"/>
                  </a:lnTo>
                  <a:close/>
                  <a:moveTo>
                    <a:pt x="146" y="142"/>
                  </a:moveTo>
                  <a:lnTo>
                    <a:pt x="146" y="144"/>
                  </a:lnTo>
                  <a:lnTo>
                    <a:pt x="146" y="142"/>
                  </a:lnTo>
                  <a:close/>
                  <a:moveTo>
                    <a:pt x="139" y="161"/>
                  </a:moveTo>
                  <a:lnTo>
                    <a:pt x="139" y="163"/>
                  </a:lnTo>
                  <a:lnTo>
                    <a:pt x="139" y="161"/>
                  </a:lnTo>
                  <a:close/>
                  <a:moveTo>
                    <a:pt x="62" y="286"/>
                  </a:moveTo>
                  <a:lnTo>
                    <a:pt x="64" y="286"/>
                  </a:lnTo>
                  <a:lnTo>
                    <a:pt x="62" y="286"/>
                  </a:lnTo>
                  <a:close/>
                  <a:moveTo>
                    <a:pt x="135" y="169"/>
                  </a:moveTo>
                  <a:lnTo>
                    <a:pt x="137" y="169"/>
                  </a:lnTo>
                  <a:lnTo>
                    <a:pt x="135" y="169"/>
                  </a:lnTo>
                  <a:close/>
                  <a:moveTo>
                    <a:pt x="60" y="286"/>
                  </a:moveTo>
                  <a:lnTo>
                    <a:pt x="60" y="288"/>
                  </a:lnTo>
                  <a:lnTo>
                    <a:pt x="60" y="286"/>
                  </a:lnTo>
                  <a:close/>
                  <a:moveTo>
                    <a:pt x="129" y="175"/>
                  </a:moveTo>
                  <a:lnTo>
                    <a:pt x="129" y="177"/>
                  </a:lnTo>
                  <a:lnTo>
                    <a:pt x="129" y="175"/>
                  </a:lnTo>
                  <a:close/>
                  <a:moveTo>
                    <a:pt x="187" y="77"/>
                  </a:moveTo>
                  <a:lnTo>
                    <a:pt x="187" y="79"/>
                  </a:lnTo>
                  <a:lnTo>
                    <a:pt x="187" y="77"/>
                  </a:lnTo>
                  <a:close/>
                  <a:moveTo>
                    <a:pt x="121" y="194"/>
                  </a:moveTo>
                  <a:lnTo>
                    <a:pt x="121" y="196"/>
                  </a:lnTo>
                  <a:lnTo>
                    <a:pt x="121" y="194"/>
                  </a:lnTo>
                  <a:close/>
                  <a:moveTo>
                    <a:pt x="163" y="123"/>
                  </a:moveTo>
                  <a:lnTo>
                    <a:pt x="163" y="125"/>
                  </a:lnTo>
                  <a:lnTo>
                    <a:pt x="163" y="123"/>
                  </a:lnTo>
                  <a:close/>
                  <a:moveTo>
                    <a:pt x="66" y="280"/>
                  </a:moveTo>
                  <a:lnTo>
                    <a:pt x="68" y="280"/>
                  </a:lnTo>
                  <a:lnTo>
                    <a:pt x="66" y="280"/>
                  </a:lnTo>
                  <a:close/>
                  <a:moveTo>
                    <a:pt x="139" y="158"/>
                  </a:moveTo>
                  <a:lnTo>
                    <a:pt x="140" y="158"/>
                  </a:lnTo>
                  <a:lnTo>
                    <a:pt x="139" y="158"/>
                  </a:lnTo>
                  <a:close/>
                  <a:moveTo>
                    <a:pt x="112" y="200"/>
                  </a:moveTo>
                  <a:lnTo>
                    <a:pt x="114" y="200"/>
                  </a:lnTo>
                  <a:lnTo>
                    <a:pt x="112" y="200"/>
                  </a:lnTo>
                  <a:close/>
                  <a:moveTo>
                    <a:pt x="102" y="242"/>
                  </a:moveTo>
                  <a:lnTo>
                    <a:pt x="104" y="242"/>
                  </a:lnTo>
                  <a:lnTo>
                    <a:pt x="102" y="242"/>
                  </a:lnTo>
                  <a:close/>
                  <a:moveTo>
                    <a:pt x="110" y="240"/>
                  </a:moveTo>
                  <a:lnTo>
                    <a:pt x="110" y="242"/>
                  </a:lnTo>
                  <a:lnTo>
                    <a:pt x="110" y="240"/>
                  </a:lnTo>
                  <a:close/>
                  <a:moveTo>
                    <a:pt x="96" y="250"/>
                  </a:moveTo>
                  <a:lnTo>
                    <a:pt x="96" y="252"/>
                  </a:lnTo>
                  <a:lnTo>
                    <a:pt x="96" y="250"/>
                  </a:lnTo>
                  <a:close/>
                  <a:moveTo>
                    <a:pt x="139" y="163"/>
                  </a:moveTo>
                  <a:lnTo>
                    <a:pt x="140" y="163"/>
                  </a:lnTo>
                  <a:lnTo>
                    <a:pt x="139" y="163"/>
                  </a:lnTo>
                  <a:close/>
                  <a:moveTo>
                    <a:pt x="135" y="165"/>
                  </a:moveTo>
                  <a:lnTo>
                    <a:pt x="135" y="167"/>
                  </a:lnTo>
                  <a:lnTo>
                    <a:pt x="135" y="165"/>
                  </a:lnTo>
                  <a:close/>
                  <a:moveTo>
                    <a:pt x="150" y="109"/>
                  </a:moveTo>
                  <a:lnTo>
                    <a:pt x="150" y="111"/>
                  </a:lnTo>
                  <a:lnTo>
                    <a:pt x="150" y="109"/>
                  </a:lnTo>
                  <a:close/>
                  <a:moveTo>
                    <a:pt x="150" y="138"/>
                  </a:moveTo>
                  <a:lnTo>
                    <a:pt x="152" y="138"/>
                  </a:lnTo>
                  <a:lnTo>
                    <a:pt x="150" y="138"/>
                  </a:lnTo>
                  <a:close/>
                  <a:moveTo>
                    <a:pt x="148" y="152"/>
                  </a:moveTo>
                  <a:lnTo>
                    <a:pt x="150" y="152"/>
                  </a:lnTo>
                  <a:lnTo>
                    <a:pt x="148" y="152"/>
                  </a:lnTo>
                  <a:close/>
                  <a:moveTo>
                    <a:pt x="2" y="376"/>
                  </a:moveTo>
                  <a:lnTo>
                    <a:pt x="2" y="378"/>
                  </a:lnTo>
                  <a:lnTo>
                    <a:pt x="2" y="376"/>
                  </a:lnTo>
                  <a:close/>
                  <a:moveTo>
                    <a:pt x="91" y="250"/>
                  </a:moveTo>
                  <a:lnTo>
                    <a:pt x="91" y="252"/>
                  </a:lnTo>
                  <a:lnTo>
                    <a:pt x="91" y="250"/>
                  </a:lnTo>
                  <a:close/>
                  <a:moveTo>
                    <a:pt x="18" y="425"/>
                  </a:moveTo>
                  <a:lnTo>
                    <a:pt x="20" y="425"/>
                  </a:lnTo>
                  <a:lnTo>
                    <a:pt x="20" y="426"/>
                  </a:lnTo>
                  <a:lnTo>
                    <a:pt x="18" y="426"/>
                  </a:lnTo>
                  <a:lnTo>
                    <a:pt x="18" y="425"/>
                  </a:lnTo>
                  <a:close/>
                  <a:moveTo>
                    <a:pt x="52" y="296"/>
                  </a:moveTo>
                  <a:lnTo>
                    <a:pt x="52" y="298"/>
                  </a:lnTo>
                  <a:lnTo>
                    <a:pt x="52" y="296"/>
                  </a:lnTo>
                  <a:close/>
                  <a:moveTo>
                    <a:pt x="43" y="309"/>
                  </a:moveTo>
                  <a:lnTo>
                    <a:pt x="43" y="311"/>
                  </a:lnTo>
                  <a:lnTo>
                    <a:pt x="43" y="309"/>
                  </a:lnTo>
                  <a:close/>
                  <a:moveTo>
                    <a:pt x="89" y="263"/>
                  </a:moveTo>
                  <a:lnTo>
                    <a:pt x="89" y="265"/>
                  </a:lnTo>
                  <a:lnTo>
                    <a:pt x="89" y="263"/>
                  </a:lnTo>
                  <a:close/>
                  <a:moveTo>
                    <a:pt x="135" y="167"/>
                  </a:moveTo>
                  <a:lnTo>
                    <a:pt x="137" y="167"/>
                  </a:lnTo>
                  <a:lnTo>
                    <a:pt x="135" y="167"/>
                  </a:lnTo>
                  <a:close/>
                  <a:moveTo>
                    <a:pt x="85" y="417"/>
                  </a:moveTo>
                  <a:lnTo>
                    <a:pt x="85" y="419"/>
                  </a:lnTo>
                  <a:lnTo>
                    <a:pt x="85" y="417"/>
                  </a:lnTo>
                  <a:close/>
                  <a:moveTo>
                    <a:pt x="37" y="323"/>
                  </a:moveTo>
                  <a:lnTo>
                    <a:pt x="39" y="323"/>
                  </a:lnTo>
                  <a:lnTo>
                    <a:pt x="39" y="325"/>
                  </a:lnTo>
                  <a:lnTo>
                    <a:pt x="37" y="325"/>
                  </a:lnTo>
                  <a:lnTo>
                    <a:pt x="37" y="323"/>
                  </a:lnTo>
                  <a:close/>
                  <a:moveTo>
                    <a:pt x="6" y="386"/>
                  </a:moveTo>
                  <a:lnTo>
                    <a:pt x="6" y="388"/>
                  </a:lnTo>
                  <a:lnTo>
                    <a:pt x="6" y="386"/>
                  </a:lnTo>
                  <a:close/>
                  <a:moveTo>
                    <a:pt x="8" y="417"/>
                  </a:moveTo>
                  <a:lnTo>
                    <a:pt x="10" y="417"/>
                  </a:lnTo>
                  <a:lnTo>
                    <a:pt x="8" y="417"/>
                  </a:lnTo>
                  <a:close/>
                  <a:moveTo>
                    <a:pt x="54" y="290"/>
                  </a:moveTo>
                  <a:lnTo>
                    <a:pt x="56" y="290"/>
                  </a:lnTo>
                  <a:lnTo>
                    <a:pt x="54" y="290"/>
                  </a:lnTo>
                  <a:close/>
                  <a:moveTo>
                    <a:pt x="96" y="254"/>
                  </a:moveTo>
                  <a:lnTo>
                    <a:pt x="98" y="254"/>
                  </a:lnTo>
                  <a:lnTo>
                    <a:pt x="96" y="254"/>
                  </a:lnTo>
                  <a:close/>
                  <a:moveTo>
                    <a:pt x="121" y="194"/>
                  </a:moveTo>
                  <a:lnTo>
                    <a:pt x="121" y="196"/>
                  </a:lnTo>
                  <a:lnTo>
                    <a:pt x="121" y="194"/>
                  </a:lnTo>
                  <a:close/>
                  <a:moveTo>
                    <a:pt x="104" y="225"/>
                  </a:moveTo>
                  <a:lnTo>
                    <a:pt x="106" y="225"/>
                  </a:lnTo>
                  <a:lnTo>
                    <a:pt x="104" y="225"/>
                  </a:lnTo>
                  <a:close/>
                  <a:moveTo>
                    <a:pt x="142" y="171"/>
                  </a:moveTo>
                  <a:lnTo>
                    <a:pt x="142" y="173"/>
                  </a:lnTo>
                  <a:lnTo>
                    <a:pt x="142" y="171"/>
                  </a:lnTo>
                  <a:close/>
                  <a:moveTo>
                    <a:pt x="123" y="184"/>
                  </a:moveTo>
                  <a:lnTo>
                    <a:pt x="123" y="186"/>
                  </a:lnTo>
                  <a:lnTo>
                    <a:pt x="123" y="184"/>
                  </a:lnTo>
                  <a:close/>
                  <a:moveTo>
                    <a:pt x="265" y="29"/>
                  </a:moveTo>
                  <a:lnTo>
                    <a:pt x="265" y="31"/>
                  </a:lnTo>
                  <a:lnTo>
                    <a:pt x="265" y="29"/>
                  </a:lnTo>
                  <a:close/>
                  <a:moveTo>
                    <a:pt x="81" y="277"/>
                  </a:moveTo>
                  <a:lnTo>
                    <a:pt x="81" y="279"/>
                  </a:lnTo>
                  <a:lnTo>
                    <a:pt x="81" y="277"/>
                  </a:lnTo>
                  <a:close/>
                  <a:moveTo>
                    <a:pt x="54" y="296"/>
                  </a:moveTo>
                  <a:lnTo>
                    <a:pt x="56" y="296"/>
                  </a:lnTo>
                  <a:lnTo>
                    <a:pt x="54" y="296"/>
                  </a:lnTo>
                  <a:close/>
                  <a:moveTo>
                    <a:pt x="18" y="405"/>
                  </a:moveTo>
                  <a:lnTo>
                    <a:pt x="18" y="407"/>
                  </a:lnTo>
                  <a:lnTo>
                    <a:pt x="18" y="405"/>
                  </a:lnTo>
                  <a:close/>
                  <a:moveTo>
                    <a:pt x="92" y="246"/>
                  </a:moveTo>
                  <a:lnTo>
                    <a:pt x="92" y="248"/>
                  </a:lnTo>
                  <a:lnTo>
                    <a:pt x="92" y="246"/>
                  </a:lnTo>
                  <a:close/>
                  <a:moveTo>
                    <a:pt x="68" y="279"/>
                  </a:moveTo>
                  <a:lnTo>
                    <a:pt x="68" y="280"/>
                  </a:lnTo>
                  <a:lnTo>
                    <a:pt x="68" y="279"/>
                  </a:lnTo>
                  <a:close/>
                  <a:moveTo>
                    <a:pt x="140" y="156"/>
                  </a:moveTo>
                  <a:lnTo>
                    <a:pt x="140" y="158"/>
                  </a:lnTo>
                  <a:lnTo>
                    <a:pt x="140" y="156"/>
                  </a:lnTo>
                  <a:close/>
                  <a:moveTo>
                    <a:pt x="10" y="407"/>
                  </a:moveTo>
                  <a:lnTo>
                    <a:pt x="10" y="409"/>
                  </a:lnTo>
                  <a:lnTo>
                    <a:pt x="10" y="407"/>
                  </a:lnTo>
                  <a:close/>
                  <a:moveTo>
                    <a:pt x="146" y="152"/>
                  </a:moveTo>
                  <a:lnTo>
                    <a:pt x="146" y="154"/>
                  </a:lnTo>
                  <a:lnTo>
                    <a:pt x="146" y="152"/>
                  </a:lnTo>
                  <a:close/>
                  <a:moveTo>
                    <a:pt x="112" y="207"/>
                  </a:moveTo>
                  <a:lnTo>
                    <a:pt x="114" y="207"/>
                  </a:lnTo>
                  <a:lnTo>
                    <a:pt x="112" y="207"/>
                  </a:lnTo>
                  <a:close/>
                  <a:moveTo>
                    <a:pt x="102" y="252"/>
                  </a:moveTo>
                  <a:lnTo>
                    <a:pt x="102" y="254"/>
                  </a:lnTo>
                  <a:lnTo>
                    <a:pt x="102" y="252"/>
                  </a:lnTo>
                  <a:close/>
                  <a:moveTo>
                    <a:pt x="91" y="248"/>
                  </a:moveTo>
                  <a:lnTo>
                    <a:pt x="91" y="250"/>
                  </a:lnTo>
                  <a:lnTo>
                    <a:pt x="91" y="248"/>
                  </a:lnTo>
                  <a:close/>
                  <a:moveTo>
                    <a:pt x="127" y="186"/>
                  </a:moveTo>
                  <a:lnTo>
                    <a:pt x="129" y="186"/>
                  </a:lnTo>
                  <a:lnTo>
                    <a:pt x="127" y="186"/>
                  </a:lnTo>
                  <a:close/>
                  <a:moveTo>
                    <a:pt x="56" y="292"/>
                  </a:moveTo>
                  <a:lnTo>
                    <a:pt x="58" y="292"/>
                  </a:lnTo>
                  <a:lnTo>
                    <a:pt x="56" y="292"/>
                  </a:lnTo>
                  <a:close/>
                  <a:moveTo>
                    <a:pt x="112" y="215"/>
                  </a:moveTo>
                  <a:lnTo>
                    <a:pt x="112" y="217"/>
                  </a:lnTo>
                  <a:lnTo>
                    <a:pt x="112" y="215"/>
                  </a:lnTo>
                  <a:close/>
                  <a:moveTo>
                    <a:pt x="150" y="109"/>
                  </a:moveTo>
                  <a:lnTo>
                    <a:pt x="150" y="111"/>
                  </a:lnTo>
                  <a:lnTo>
                    <a:pt x="150" y="109"/>
                  </a:lnTo>
                  <a:close/>
                  <a:moveTo>
                    <a:pt x="144" y="106"/>
                  </a:moveTo>
                  <a:lnTo>
                    <a:pt x="146" y="106"/>
                  </a:lnTo>
                  <a:lnTo>
                    <a:pt x="144" y="106"/>
                  </a:lnTo>
                  <a:close/>
                  <a:moveTo>
                    <a:pt x="4" y="367"/>
                  </a:moveTo>
                  <a:lnTo>
                    <a:pt x="4" y="369"/>
                  </a:lnTo>
                  <a:lnTo>
                    <a:pt x="4" y="367"/>
                  </a:lnTo>
                  <a:close/>
                  <a:moveTo>
                    <a:pt x="137" y="158"/>
                  </a:moveTo>
                  <a:lnTo>
                    <a:pt x="139" y="158"/>
                  </a:lnTo>
                  <a:lnTo>
                    <a:pt x="137" y="158"/>
                  </a:lnTo>
                  <a:close/>
                  <a:moveTo>
                    <a:pt x="69" y="292"/>
                  </a:moveTo>
                  <a:lnTo>
                    <a:pt x="71" y="292"/>
                  </a:lnTo>
                  <a:lnTo>
                    <a:pt x="69" y="292"/>
                  </a:lnTo>
                  <a:close/>
                  <a:moveTo>
                    <a:pt x="112" y="202"/>
                  </a:moveTo>
                  <a:lnTo>
                    <a:pt x="114" y="202"/>
                  </a:lnTo>
                  <a:lnTo>
                    <a:pt x="112" y="202"/>
                  </a:lnTo>
                  <a:close/>
                  <a:moveTo>
                    <a:pt x="117" y="198"/>
                  </a:moveTo>
                  <a:lnTo>
                    <a:pt x="119" y="198"/>
                  </a:lnTo>
                  <a:lnTo>
                    <a:pt x="119" y="200"/>
                  </a:lnTo>
                  <a:lnTo>
                    <a:pt x="117" y="200"/>
                  </a:lnTo>
                  <a:lnTo>
                    <a:pt x="117" y="198"/>
                  </a:lnTo>
                  <a:close/>
                  <a:moveTo>
                    <a:pt x="43" y="309"/>
                  </a:moveTo>
                  <a:lnTo>
                    <a:pt x="44" y="309"/>
                  </a:lnTo>
                  <a:lnTo>
                    <a:pt x="43" y="309"/>
                  </a:lnTo>
                  <a:close/>
                  <a:moveTo>
                    <a:pt x="62" y="298"/>
                  </a:moveTo>
                  <a:lnTo>
                    <a:pt x="64" y="298"/>
                  </a:lnTo>
                  <a:lnTo>
                    <a:pt x="62" y="298"/>
                  </a:lnTo>
                  <a:close/>
                  <a:moveTo>
                    <a:pt x="87" y="430"/>
                  </a:moveTo>
                  <a:lnTo>
                    <a:pt x="89" y="430"/>
                  </a:lnTo>
                  <a:lnTo>
                    <a:pt x="89" y="432"/>
                  </a:lnTo>
                  <a:lnTo>
                    <a:pt x="87" y="432"/>
                  </a:lnTo>
                  <a:lnTo>
                    <a:pt x="87" y="430"/>
                  </a:lnTo>
                  <a:close/>
                  <a:moveTo>
                    <a:pt x="12" y="430"/>
                  </a:moveTo>
                  <a:lnTo>
                    <a:pt x="14" y="430"/>
                  </a:lnTo>
                  <a:lnTo>
                    <a:pt x="14" y="432"/>
                  </a:lnTo>
                  <a:lnTo>
                    <a:pt x="12" y="432"/>
                  </a:lnTo>
                  <a:lnTo>
                    <a:pt x="12" y="430"/>
                  </a:lnTo>
                  <a:close/>
                  <a:moveTo>
                    <a:pt x="10" y="415"/>
                  </a:moveTo>
                  <a:lnTo>
                    <a:pt x="10" y="417"/>
                  </a:lnTo>
                  <a:lnTo>
                    <a:pt x="10" y="415"/>
                  </a:lnTo>
                  <a:close/>
                  <a:moveTo>
                    <a:pt x="6" y="390"/>
                  </a:moveTo>
                  <a:lnTo>
                    <a:pt x="6" y="392"/>
                  </a:lnTo>
                  <a:lnTo>
                    <a:pt x="6" y="390"/>
                  </a:lnTo>
                  <a:close/>
                  <a:moveTo>
                    <a:pt x="92" y="244"/>
                  </a:moveTo>
                  <a:lnTo>
                    <a:pt x="92" y="246"/>
                  </a:lnTo>
                  <a:lnTo>
                    <a:pt x="92" y="244"/>
                  </a:lnTo>
                  <a:close/>
                  <a:moveTo>
                    <a:pt x="119" y="188"/>
                  </a:moveTo>
                  <a:lnTo>
                    <a:pt x="121" y="188"/>
                  </a:lnTo>
                  <a:lnTo>
                    <a:pt x="119" y="188"/>
                  </a:lnTo>
                  <a:close/>
                  <a:moveTo>
                    <a:pt x="117" y="182"/>
                  </a:moveTo>
                  <a:lnTo>
                    <a:pt x="119" y="182"/>
                  </a:lnTo>
                  <a:lnTo>
                    <a:pt x="117" y="182"/>
                  </a:lnTo>
                  <a:close/>
                  <a:moveTo>
                    <a:pt x="6" y="353"/>
                  </a:moveTo>
                  <a:lnTo>
                    <a:pt x="6" y="355"/>
                  </a:lnTo>
                  <a:lnTo>
                    <a:pt x="6" y="353"/>
                  </a:lnTo>
                  <a:close/>
                  <a:moveTo>
                    <a:pt x="298" y="6"/>
                  </a:moveTo>
                  <a:lnTo>
                    <a:pt x="300" y="6"/>
                  </a:lnTo>
                  <a:lnTo>
                    <a:pt x="298" y="6"/>
                  </a:lnTo>
                  <a:close/>
                  <a:moveTo>
                    <a:pt x="112" y="188"/>
                  </a:moveTo>
                  <a:lnTo>
                    <a:pt x="114" y="188"/>
                  </a:lnTo>
                  <a:lnTo>
                    <a:pt x="112" y="188"/>
                  </a:lnTo>
                  <a:close/>
                  <a:moveTo>
                    <a:pt x="96" y="246"/>
                  </a:moveTo>
                  <a:lnTo>
                    <a:pt x="98" y="246"/>
                  </a:lnTo>
                  <a:lnTo>
                    <a:pt x="96" y="246"/>
                  </a:lnTo>
                  <a:close/>
                  <a:moveTo>
                    <a:pt x="114" y="209"/>
                  </a:moveTo>
                  <a:lnTo>
                    <a:pt x="115" y="209"/>
                  </a:lnTo>
                  <a:lnTo>
                    <a:pt x="115" y="211"/>
                  </a:lnTo>
                  <a:lnTo>
                    <a:pt x="114" y="211"/>
                  </a:lnTo>
                  <a:lnTo>
                    <a:pt x="114" y="209"/>
                  </a:lnTo>
                  <a:close/>
                  <a:moveTo>
                    <a:pt x="91" y="248"/>
                  </a:moveTo>
                  <a:lnTo>
                    <a:pt x="91" y="250"/>
                  </a:lnTo>
                  <a:lnTo>
                    <a:pt x="91" y="248"/>
                  </a:lnTo>
                  <a:close/>
                  <a:moveTo>
                    <a:pt x="94" y="432"/>
                  </a:moveTo>
                  <a:lnTo>
                    <a:pt x="96" y="432"/>
                  </a:lnTo>
                  <a:lnTo>
                    <a:pt x="94" y="432"/>
                  </a:lnTo>
                  <a:close/>
                  <a:moveTo>
                    <a:pt x="112" y="202"/>
                  </a:moveTo>
                  <a:lnTo>
                    <a:pt x="114" y="202"/>
                  </a:lnTo>
                  <a:lnTo>
                    <a:pt x="112" y="202"/>
                  </a:lnTo>
                  <a:close/>
                  <a:moveTo>
                    <a:pt x="52" y="457"/>
                  </a:moveTo>
                  <a:lnTo>
                    <a:pt x="52" y="459"/>
                  </a:lnTo>
                  <a:lnTo>
                    <a:pt x="52" y="457"/>
                  </a:lnTo>
                  <a:close/>
                  <a:moveTo>
                    <a:pt x="6" y="386"/>
                  </a:moveTo>
                  <a:lnTo>
                    <a:pt x="6" y="388"/>
                  </a:lnTo>
                  <a:lnTo>
                    <a:pt x="6" y="386"/>
                  </a:lnTo>
                  <a:close/>
                  <a:moveTo>
                    <a:pt x="60" y="290"/>
                  </a:moveTo>
                  <a:lnTo>
                    <a:pt x="60" y="292"/>
                  </a:lnTo>
                  <a:lnTo>
                    <a:pt x="60" y="290"/>
                  </a:lnTo>
                  <a:close/>
                  <a:moveTo>
                    <a:pt x="58" y="286"/>
                  </a:moveTo>
                  <a:lnTo>
                    <a:pt x="60" y="286"/>
                  </a:lnTo>
                  <a:lnTo>
                    <a:pt x="58" y="286"/>
                  </a:lnTo>
                  <a:close/>
                  <a:moveTo>
                    <a:pt x="108" y="219"/>
                  </a:moveTo>
                  <a:lnTo>
                    <a:pt x="108" y="221"/>
                  </a:lnTo>
                  <a:lnTo>
                    <a:pt x="108" y="219"/>
                  </a:lnTo>
                  <a:close/>
                  <a:moveTo>
                    <a:pt x="58" y="286"/>
                  </a:moveTo>
                  <a:lnTo>
                    <a:pt x="60" y="286"/>
                  </a:lnTo>
                  <a:lnTo>
                    <a:pt x="58" y="286"/>
                  </a:lnTo>
                  <a:close/>
                  <a:moveTo>
                    <a:pt x="64" y="280"/>
                  </a:moveTo>
                  <a:lnTo>
                    <a:pt x="64" y="282"/>
                  </a:lnTo>
                  <a:lnTo>
                    <a:pt x="64" y="280"/>
                  </a:lnTo>
                  <a:close/>
                  <a:moveTo>
                    <a:pt x="137" y="127"/>
                  </a:moveTo>
                  <a:lnTo>
                    <a:pt x="137" y="129"/>
                  </a:lnTo>
                  <a:lnTo>
                    <a:pt x="137" y="127"/>
                  </a:lnTo>
                  <a:close/>
                  <a:moveTo>
                    <a:pt x="114" y="206"/>
                  </a:moveTo>
                  <a:lnTo>
                    <a:pt x="114" y="207"/>
                  </a:lnTo>
                  <a:lnTo>
                    <a:pt x="114" y="206"/>
                  </a:lnTo>
                  <a:close/>
                  <a:moveTo>
                    <a:pt x="14" y="426"/>
                  </a:moveTo>
                  <a:lnTo>
                    <a:pt x="16" y="426"/>
                  </a:lnTo>
                  <a:lnTo>
                    <a:pt x="14" y="426"/>
                  </a:lnTo>
                  <a:close/>
                  <a:moveTo>
                    <a:pt x="39" y="321"/>
                  </a:moveTo>
                  <a:lnTo>
                    <a:pt x="41" y="321"/>
                  </a:lnTo>
                  <a:lnTo>
                    <a:pt x="39" y="321"/>
                  </a:lnTo>
                  <a:close/>
                  <a:moveTo>
                    <a:pt x="8" y="400"/>
                  </a:moveTo>
                  <a:lnTo>
                    <a:pt x="8" y="401"/>
                  </a:lnTo>
                  <a:lnTo>
                    <a:pt x="8" y="400"/>
                  </a:lnTo>
                  <a:close/>
                  <a:moveTo>
                    <a:pt x="12" y="423"/>
                  </a:moveTo>
                  <a:lnTo>
                    <a:pt x="12" y="425"/>
                  </a:lnTo>
                  <a:lnTo>
                    <a:pt x="12" y="423"/>
                  </a:lnTo>
                  <a:close/>
                  <a:moveTo>
                    <a:pt x="98" y="284"/>
                  </a:moveTo>
                  <a:lnTo>
                    <a:pt x="100" y="284"/>
                  </a:lnTo>
                  <a:lnTo>
                    <a:pt x="98" y="284"/>
                  </a:lnTo>
                  <a:close/>
                  <a:moveTo>
                    <a:pt x="92" y="259"/>
                  </a:moveTo>
                  <a:lnTo>
                    <a:pt x="94" y="259"/>
                  </a:lnTo>
                  <a:lnTo>
                    <a:pt x="92" y="259"/>
                  </a:lnTo>
                  <a:close/>
                  <a:moveTo>
                    <a:pt x="75" y="432"/>
                  </a:moveTo>
                  <a:lnTo>
                    <a:pt x="75" y="434"/>
                  </a:lnTo>
                  <a:lnTo>
                    <a:pt x="75" y="432"/>
                  </a:lnTo>
                  <a:close/>
                  <a:moveTo>
                    <a:pt x="31" y="317"/>
                  </a:moveTo>
                  <a:lnTo>
                    <a:pt x="31" y="319"/>
                  </a:lnTo>
                  <a:lnTo>
                    <a:pt x="31" y="317"/>
                  </a:lnTo>
                  <a:close/>
                  <a:moveTo>
                    <a:pt x="121" y="190"/>
                  </a:moveTo>
                  <a:lnTo>
                    <a:pt x="123" y="190"/>
                  </a:lnTo>
                  <a:lnTo>
                    <a:pt x="123" y="192"/>
                  </a:lnTo>
                  <a:lnTo>
                    <a:pt x="121" y="192"/>
                  </a:lnTo>
                  <a:lnTo>
                    <a:pt x="121" y="190"/>
                  </a:lnTo>
                  <a:close/>
                  <a:moveTo>
                    <a:pt x="248" y="54"/>
                  </a:moveTo>
                  <a:lnTo>
                    <a:pt x="250" y="54"/>
                  </a:lnTo>
                  <a:lnTo>
                    <a:pt x="248" y="54"/>
                  </a:lnTo>
                  <a:close/>
                  <a:moveTo>
                    <a:pt x="112" y="209"/>
                  </a:moveTo>
                  <a:lnTo>
                    <a:pt x="112" y="211"/>
                  </a:lnTo>
                  <a:lnTo>
                    <a:pt x="112" y="209"/>
                  </a:lnTo>
                  <a:close/>
                  <a:moveTo>
                    <a:pt x="119" y="198"/>
                  </a:moveTo>
                  <a:lnTo>
                    <a:pt x="119" y="200"/>
                  </a:lnTo>
                  <a:lnTo>
                    <a:pt x="119" y="198"/>
                  </a:lnTo>
                  <a:close/>
                  <a:moveTo>
                    <a:pt x="6" y="396"/>
                  </a:moveTo>
                  <a:lnTo>
                    <a:pt x="6" y="398"/>
                  </a:lnTo>
                  <a:lnTo>
                    <a:pt x="6" y="396"/>
                  </a:lnTo>
                  <a:close/>
                  <a:moveTo>
                    <a:pt x="123" y="182"/>
                  </a:moveTo>
                  <a:lnTo>
                    <a:pt x="125" y="182"/>
                  </a:lnTo>
                  <a:lnTo>
                    <a:pt x="123" y="182"/>
                  </a:lnTo>
                  <a:close/>
                  <a:moveTo>
                    <a:pt x="54" y="298"/>
                  </a:moveTo>
                  <a:lnTo>
                    <a:pt x="56" y="298"/>
                  </a:lnTo>
                  <a:lnTo>
                    <a:pt x="54" y="298"/>
                  </a:lnTo>
                  <a:close/>
                  <a:moveTo>
                    <a:pt x="286" y="17"/>
                  </a:moveTo>
                  <a:lnTo>
                    <a:pt x="288" y="17"/>
                  </a:lnTo>
                  <a:lnTo>
                    <a:pt x="288" y="19"/>
                  </a:lnTo>
                  <a:lnTo>
                    <a:pt x="286" y="19"/>
                  </a:lnTo>
                  <a:lnTo>
                    <a:pt x="286" y="17"/>
                  </a:lnTo>
                  <a:close/>
                  <a:moveTo>
                    <a:pt x="66" y="444"/>
                  </a:moveTo>
                  <a:lnTo>
                    <a:pt x="68" y="444"/>
                  </a:lnTo>
                  <a:lnTo>
                    <a:pt x="68" y="446"/>
                  </a:lnTo>
                  <a:lnTo>
                    <a:pt x="66" y="446"/>
                  </a:lnTo>
                  <a:lnTo>
                    <a:pt x="66" y="444"/>
                  </a:lnTo>
                  <a:close/>
                  <a:moveTo>
                    <a:pt x="114" y="221"/>
                  </a:moveTo>
                  <a:lnTo>
                    <a:pt x="115" y="221"/>
                  </a:lnTo>
                  <a:lnTo>
                    <a:pt x="114" y="221"/>
                  </a:lnTo>
                  <a:close/>
                  <a:moveTo>
                    <a:pt x="115" y="202"/>
                  </a:moveTo>
                  <a:lnTo>
                    <a:pt x="115" y="204"/>
                  </a:lnTo>
                  <a:lnTo>
                    <a:pt x="115" y="202"/>
                  </a:lnTo>
                  <a:close/>
                  <a:moveTo>
                    <a:pt x="54" y="296"/>
                  </a:moveTo>
                  <a:lnTo>
                    <a:pt x="56" y="296"/>
                  </a:lnTo>
                  <a:lnTo>
                    <a:pt x="54" y="296"/>
                  </a:lnTo>
                  <a:close/>
                  <a:moveTo>
                    <a:pt x="94" y="250"/>
                  </a:moveTo>
                  <a:lnTo>
                    <a:pt x="94" y="252"/>
                  </a:lnTo>
                  <a:lnTo>
                    <a:pt x="94" y="250"/>
                  </a:lnTo>
                  <a:close/>
                  <a:moveTo>
                    <a:pt x="135" y="167"/>
                  </a:moveTo>
                  <a:lnTo>
                    <a:pt x="137" y="167"/>
                  </a:lnTo>
                  <a:lnTo>
                    <a:pt x="135" y="167"/>
                  </a:lnTo>
                  <a:close/>
                  <a:moveTo>
                    <a:pt x="133" y="173"/>
                  </a:moveTo>
                  <a:lnTo>
                    <a:pt x="135" y="173"/>
                  </a:lnTo>
                  <a:lnTo>
                    <a:pt x="133" y="173"/>
                  </a:lnTo>
                  <a:close/>
                  <a:moveTo>
                    <a:pt x="119" y="196"/>
                  </a:moveTo>
                  <a:lnTo>
                    <a:pt x="119" y="198"/>
                  </a:lnTo>
                  <a:lnTo>
                    <a:pt x="119" y="196"/>
                  </a:lnTo>
                  <a:close/>
                  <a:moveTo>
                    <a:pt x="127" y="179"/>
                  </a:moveTo>
                  <a:lnTo>
                    <a:pt x="127" y="181"/>
                  </a:lnTo>
                  <a:lnTo>
                    <a:pt x="127" y="179"/>
                  </a:lnTo>
                  <a:close/>
                  <a:moveTo>
                    <a:pt x="39" y="311"/>
                  </a:moveTo>
                  <a:lnTo>
                    <a:pt x="41" y="311"/>
                  </a:lnTo>
                  <a:lnTo>
                    <a:pt x="39" y="311"/>
                  </a:lnTo>
                  <a:close/>
                  <a:moveTo>
                    <a:pt x="121" y="198"/>
                  </a:moveTo>
                  <a:lnTo>
                    <a:pt x="121" y="200"/>
                  </a:lnTo>
                  <a:lnTo>
                    <a:pt x="121" y="198"/>
                  </a:lnTo>
                  <a:close/>
                  <a:moveTo>
                    <a:pt x="60" y="290"/>
                  </a:moveTo>
                  <a:lnTo>
                    <a:pt x="62" y="290"/>
                  </a:lnTo>
                  <a:lnTo>
                    <a:pt x="60" y="290"/>
                  </a:lnTo>
                  <a:close/>
                  <a:moveTo>
                    <a:pt x="108" y="192"/>
                  </a:moveTo>
                  <a:lnTo>
                    <a:pt x="110" y="192"/>
                  </a:lnTo>
                  <a:lnTo>
                    <a:pt x="108" y="192"/>
                  </a:lnTo>
                  <a:close/>
                  <a:moveTo>
                    <a:pt x="18" y="426"/>
                  </a:moveTo>
                  <a:lnTo>
                    <a:pt x="20" y="426"/>
                  </a:lnTo>
                  <a:lnTo>
                    <a:pt x="18" y="426"/>
                  </a:lnTo>
                  <a:close/>
                  <a:moveTo>
                    <a:pt x="18" y="432"/>
                  </a:moveTo>
                  <a:lnTo>
                    <a:pt x="18" y="434"/>
                  </a:lnTo>
                  <a:lnTo>
                    <a:pt x="18" y="432"/>
                  </a:lnTo>
                  <a:close/>
                  <a:moveTo>
                    <a:pt x="6" y="400"/>
                  </a:moveTo>
                  <a:lnTo>
                    <a:pt x="8" y="400"/>
                  </a:lnTo>
                  <a:lnTo>
                    <a:pt x="6" y="400"/>
                  </a:lnTo>
                  <a:close/>
                  <a:moveTo>
                    <a:pt x="33" y="459"/>
                  </a:moveTo>
                  <a:lnTo>
                    <a:pt x="35" y="459"/>
                  </a:lnTo>
                  <a:lnTo>
                    <a:pt x="33" y="459"/>
                  </a:lnTo>
                  <a:close/>
                  <a:moveTo>
                    <a:pt x="133" y="171"/>
                  </a:moveTo>
                  <a:lnTo>
                    <a:pt x="135" y="171"/>
                  </a:lnTo>
                  <a:lnTo>
                    <a:pt x="133" y="171"/>
                  </a:lnTo>
                  <a:close/>
                  <a:moveTo>
                    <a:pt x="110" y="207"/>
                  </a:moveTo>
                  <a:lnTo>
                    <a:pt x="110" y="209"/>
                  </a:lnTo>
                  <a:lnTo>
                    <a:pt x="110" y="207"/>
                  </a:lnTo>
                  <a:close/>
                  <a:moveTo>
                    <a:pt x="263" y="31"/>
                  </a:moveTo>
                  <a:lnTo>
                    <a:pt x="265" y="31"/>
                  </a:lnTo>
                  <a:lnTo>
                    <a:pt x="265" y="33"/>
                  </a:lnTo>
                  <a:lnTo>
                    <a:pt x="263" y="33"/>
                  </a:lnTo>
                  <a:lnTo>
                    <a:pt x="263" y="31"/>
                  </a:lnTo>
                  <a:close/>
                  <a:moveTo>
                    <a:pt x="8" y="407"/>
                  </a:moveTo>
                  <a:lnTo>
                    <a:pt x="8" y="409"/>
                  </a:lnTo>
                  <a:lnTo>
                    <a:pt x="8" y="407"/>
                  </a:lnTo>
                  <a:close/>
                  <a:moveTo>
                    <a:pt x="48" y="305"/>
                  </a:moveTo>
                  <a:lnTo>
                    <a:pt x="50" y="305"/>
                  </a:lnTo>
                  <a:lnTo>
                    <a:pt x="50" y="307"/>
                  </a:lnTo>
                  <a:lnTo>
                    <a:pt x="48" y="307"/>
                  </a:lnTo>
                  <a:lnTo>
                    <a:pt x="48" y="305"/>
                  </a:lnTo>
                  <a:close/>
                  <a:moveTo>
                    <a:pt x="10" y="405"/>
                  </a:moveTo>
                  <a:lnTo>
                    <a:pt x="10" y="407"/>
                  </a:lnTo>
                  <a:lnTo>
                    <a:pt x="10" y="405"/>
                  </a:lnTo>
                  <a:close/>
                  <a:moveTo>
                    <a:pt x="12" y="332"/>
                  </a:moveTo>
                  <a:lnTo>
                    <a:pt x="12" y="334"/>
                  </a:lnTo>
                  <a:lnTo>
                    <a:pt x="12" y="332"/>
                  </a:lnTo>
                  <a:close/>
                  <a:moveTo>
                    <a:pt x="119" y="186"/>
                  </a:moveTo>
                  <a:lnTo>
                    <a:pt x="119" y="188"/>
                  </a:lnTo>
                  <a:lnTo>
                    <a:pt x="119" y="186"/>
                  </a:lnTo>
                  <a:close/>
                  <a:moveTo>
                    <a:pt x="148" y="123"/>
                  </a:moveTo>
                  <a:lnTo>
                    <a:pt x="148" y="125"/>
                  </a:lnTo>
                  <a:lnTo>
                    <a:pt x="148" y="123"/>
                  </a:lnTo>
                  <a:close/>
                  <a:moveTo>
                    <a:pt x="79" y="288"/>
                  </a:moveTo>
                  <a:lnTo>
                    <a:pt x="81" y="288"/>
                  </a:lnTo>
                  <a:lnTo>
                    <a:pt x="79" y="288"/>
                  </a:lnTo>
                  <a:close/>
                  <a:moveTo>
                    <a:pt x="77" y="282"/>
                  </a:moveTo>
                  <a:lnTo>
                    <a:pt x="77" y="284"/>
                  </a:lnTo>
                  <a:lnTo>
                    <a:pt x="77" y="282"/>
                  </a:lnTo>
                  <a:close/>
                  <a:moveTo>
                    <a:pt x="77" y="279"/>
                  </a:moveTo>
                  <a:lnTo>
                    <a:pt x="79" y="279"/>
                  </a:lnTo>
                  <a:lnTo>
                    <a:pt x="77" y="279"/>
                  </a:lnTo>
                  <a:close/>
                  <a:moveTo>
                    <a:pt x="89" y="252"/>
                  </a:moveTo>
                  <a:lnTo>
                    <a:pt x="91" y="252"/>
                  </a:lnTo>
                  <a:lnTo>
                    <a:pt x="89" y="252"/>
                  </a:lnTo>
                  <a:close/>
                  <a:moveTo>
                    <a:pt x="98" y="250"/>
                  </a:moveTo>
                  <a:lnTo>
                    <a:pt x="100" y="250"/>
                  </a:lnTo>
                  <a:lnTo>
                    <a:pt x="98" y="250"/>
                  </a:lnTo>
                  <a:close/>
                  <a:moveTo>
                    <a:pt x="110" y="217"/>
                  </a:moveTo>
                  <a:lnTo>
                    <a:pt x="112" y="217"/>
                  </a:lnTo>
                  <a:lnTo>
                    <a:pt x="110" y="217"/>
                  </a:lnTo>
                  <a:close/>
                  <a:moveTo>
                    <a:pt x="62" y="284"/>
                  </a:moveTo>
                  <a:lnTo>
                    <a:pt x="62" y="286"/>
                  </a:lnTo>
                  <a:lnTo>
                    <a:pt x="62" y="284"/>
                  </a:lnTo>
                  <a:close/>
                  <a:moveTo>
                    <a:pt x="115" y="204"/>
                  </a:moveTo>
                  <a:lnTo>
                    <a:pt x="117" y="204"/>
                  </a:lnTo>
                  <a:lnTo>
                    <a:pt x="115" y="204"/>
                  </a:lnTo>
                  <a:close/>
                  <a:moveTo>
                    <a:pt x="60" y="286"/>
                  </a:moveTo>
                  <a:lnTo>
                    <a:pt x="60" y="288"/>
                  </a:lnTo>
                  <a:lnTo>
                    <a:pt x="60" y="286"/>
                  </a:lnTo>
                  <a:close/>
                  <a:moveTo>
                    <a:pt x="131" y="181"/>
                  </a:moveTo>
                  <a:lnTo>
                    <a:pt x="133" y="181"/>
                  </a:lnTo>
                  <a:lnTo>
                    <a:pt x="131" y="181"/>
                  </a:lnTo>
                  <a:close/>
                  <a:moveTo>
                    <a:pt x="4" y="376"/>
                  </a:moveTo>
                  <a:lnTo>
                    <a:pt x="6" y="376"/>
                  </a:lnTo>
                  <a:lnTo>
                    <a:pt x="4" y="376"/>
                  </a:lnTo>
                  <a:close/>
                  <a:moveTo>
                    <a:pt x="115" y="209"/>
                  </a:moveTo>
                  <a:lnTo>
                    <a:pt x="117" y="209"/>
                  </a:lnTo>
                  <a:lnTo>
                    <a:pt x="115" y="209"/>
                  </a:lnTo>
                  <a:close/>
                  <a:moveTo>
                    <a:pt x="16" y="434"/>
                  </a:moveTo>
                  <a:lnTo>
                    <a:pt x="16" y="436"/>
                  </a:lnTo>
                  <a:lnTo>
                    <a:pt x="16" y="434"/>
                  </a:lnTo>
                  <a:close/>
                  <a:moveTo>
                    <a:pt x="18" y="403"/>
                  </a:moveTo>
                  <a:lnTo>
                    <a:pt x="18" y="405"/>
                  </a:lnTo>
                  <a:lnTo>
                    <a:pt x="18" y="403"/>
                  </a:lnTo>
                  <a:close/>
                  <a:moveTo>
                    <a:pt x="83" y="269"/>
                  </a:moveTo>
                  <a:lnTo>
                    <a:pt x="85" y="269"/>
                  </a:lnTo>
                  <a:lnTo>
                    <a:pt x="83" y="269"/>
                  </a:lnTo>
                  <a:close/>
                  <a:moveTo>
                    <a:pt x="112" y="217"/>
                  </a:moveTo>
                  <a:lnTo>
                    <a:pt x="114" y="217"/>
                  </a:lnTo>
                  <a:lnTo>
                    <a:pt x="112" y="217"/>
                  </a:lnTo>
                  <a:close/>
                  <a:moveTo>
                    <a:pt x="148" y="152"/>
                  </a:moveTo>
                  <a:lnTo>
                    <a:pt x="150" y="152"/>
                  </a:lnTo>
                  <a:lnTo>
                    <a:pt x="148" y="152"/>
                  </a:lnTo>
                  <a:close/>
                  <a:moveTo>
                    <a:pt x="121" y="190"/>
                  </a:moveTo>
                  <a:lnTo>
                    <a:pt x="123" y="190"/>
                  </a:lnTo>
                  <a:lnTo>
                    <a:pt x="123" y="192"/>
                  </a:lnTo>
                  <a:lnTo>
                    <a:pt x="121" y="192"/>
                  </a:lnTo>
                  <a:lnTo>
                    <a:pt x="121" y="190"/>
                  </a:lnTo>
                  <a:close/>
                  <a:moveTo>
                    <a:pt x="208" y="46"/>
                  </a:moveTo>
                  <a:lnTo>
                    <a:pt x="210" y="46"/>
                  </a:lnTo>
                  <a:lnTo>
                    <a:pt x="208" y="46"/>
                  </a:lnTo>
                  <a:close/>
                  <a:moveTo>
                    <a:pt x="91" y="254"/>
                  </a:moveTo>
                  <a:lnTo>
                    <a:pt x="92" y="254"/>
                  </a:lnTo>
                  <a:lnTo>
                    <a:pt x="91" y="254"/>
                  </a:lnTo>
                  <a:close/>
                  <a:moveTo>
                    <a:pt x="104" y="219"/>
                  </a:moveTo>
                  <a:lnTo>
                    <a:pt x="106" y="219"/>
                  </a:lnTo>
                  <a:lnTo>
                    <a:pt x="104" y="219"/>
                  </a:lnTo>
                  <a:close/>
                  <a:moveTo>
                    <a:pt x="71" y="284"/>
                  </a:moveTo>
                  <a:lnTo>
                    <a:pt x="71" y="286"/>
                  </a:lnTo>
                  <a:lnTo>
                    <a:pt x="71" y="284"/>
                  </a:lnTo>
                  <a:close/>
                  <a:moveTo>
                    <a:pt x="112" y="227"/>
                  </a:moveTo>
                  <a:lnTo>
                    <a:pt x="112" y="229"/>
                  </a:lnTo>
                  <a:lnTo>
                    <a:pt x="112" y="227"/>
                  </a:lnTo>
                  <a:close/>
                  <a:moveTo>
                    <a:pt x="75" y="282"/>
                  </a:moveTo>
                  <a:lnTo>
                    <a:pt x="75" y="284"/>
                  </a:lnTo>
                  <a:lnTo>
                    <a:pt x="75" y="282"/>
                  </a:lnTo>
                  <a:close/>
                  <a:moveTo>
                    <a:pt x="115" y="204"/>
                  </a:moveTo>
                  <a:lnTo>
                    <a:pt x="115" y="206"/>
                  </a:lnTo>
                  <a:lnTo>
                    <a:pt x="115" y="204"/>
                  </a:lnTo>
                  <a:close/>
                  <a:moveTo>
                    <a:pt x="115" y="215"/>
                  </a:moveTo>
                  <a:lnTo>
                    <a:pt x="115" y="217"/>
                  </a:lnTo>
                  <a:lnTo>
                    <a:pt x="115" y="215"/>
                  </a:lnTo>
                  <a:close/>
                  <a:moveTo>
                    <a:pt x="115" y="202"/>
                  </a:moveTo>
                  <a:lnTo>
                    <a:pt x="115" y="204"/>
                  </a:lnTo>
                  <a:lnTo>
                    <a:pt x="115" y="202"/>
                  </a:lnTo>
                  <a:close/>
                  <a:moveTo>
                    <a:pt x="135" y="165"/>
                  </a:moveTo>
                  <a:lnTo>
                    <a:pt x="135" y="167"/>
                  </a:lnTo>
                  <a:lnTo>
                    <a:pt x="135" y="165"/>
                  </a:lnTo>
                  <a:close/>
                  <a:moveTo>
                    <a:pt x="94" y="250"/>
                  </a:moveTo>
                  <a:lnTo>
                    <a:pt x="96" y="250"/>
                  </a:lnTo>
                  <a:lnTo>
                    <a:pt x="94" y="250"/>
                  </a:lnTo>
                  <a:close/>
                  <a:moveTo>
                    <a:pt x="6" y="398"/>
                  </a:moveTo>
                  <a:lnTo>
                    <a:pt x="6" y="400"/>
                  </a:lnTo>
                  <a:lnTo>
                    <a:pt x="6" y="398"/>
                  </a:lnTo>
                  <a:close/>
                  <a:moveTo>
                    <a:pt x="115" y="181"/>
                  </a:moveTo>
                  <a:lnTo>
                    <a:pt x="115" y="182"/>
                  </a:lnTo>
                  <a:lnTo>
                    <a:pt x="115" y="181"/>
                  </a:lnTo>
                  <a:close/>
                  <a:moveTo>
                    <a:pt x="119" y="196"/>
                  </a:moveTo>
                  <a:lnTo>
                    <a:pt x="119" y="198"/>
                  </a:lnTo>
                  <a:lnTo>
                    <a:pt x="119" y="196"/>
                  </a:lnTo>
                  <a:close/>
                  <a:moveTo>
                    <a:pt x="4" y="363"/>
                  </a:moveTo>
                  <a:lnTo>
                    <a:pt x="6" y="363"/>
                  </a:lnTo>
                  <a:lnTo>
                    <a:pt x="4" y="363"/>
                  </a:lnTo>
                  <a:close/>
                  <a:moveTo>
                    <a:pt x="114" y="221"/>
                  </a:moveTo>
                  <a:lnTo>
                    <a:pt x="115" y="221"/>
                  </a:lnTo>
                  <a:lnTo>
                    <a:pt x="114" y="221"/>
                  </a:lnTo>
                  <a:close/>
                  <a:moveTo>
                    <a:pt x="169" y="113"/>
                  </a:moveTo>
                  <a:lnTo>
                    <a:pt x="169" y="115"/>
                  </a:lnTo>
                  <a:lnTo>
                    <a:pt x="169" y="113"/>
                  </a:lnTo>
                  <a:close/>
                  <a:moveTo>
                    <a:pt x="4" y="382"/>
                  </a:moveTo>
                  <a:lnTo>
                    <a:pt x="6" y="382"/>
                  </a:lnTo>
                  <a:lnTo>
                    <a:pt x="4" y="382"/>
                  </a:lnTo>
                  <a:close/>
                  <a:moveTo>
                    <a:pt x="6" y="396"/>
                  </a:moveTo>
                  <a:lnTo>
                    <a:pt x="8" y="396"/>
                  </a:lnTo>
                  <a:lnTo>
                    <a:pt x="6" y="396"/>
                  </a:lnTo>
                  <a:close/>
                  <a:moveTo>
                    <a:pt x="92" y="259"/>
                  </a:moveTo>
                  <a:lnTo>
                    <a:pt x="94" y="259"/>
                  </a:lnTo>
                  <a:lnTo>
                    <a:pt x="92" y="259"/>
                  </a:lnTo>
                  <a:close/>
                  <a:moveTo>
                    <a:pt x="50" y="459"/>
                  </a:moveTo>
                  <a:lnTo>
                    <a:pt x="52" y="459"/>
                  </a:lnTo>
                  <a:lnTo>
                    <a:pt x="50" y="459"/>
                  </a:lnTo>
                  <a:close/>
                  <a:moveTo>
                    <a:pt x="185" y="75"/>
                  </a:moveTo>
                  <a:lnTo>
                    <a:pt x="185" y="77"/>
                  </a:lnTo>
                  <a:lnTo>
                    <a:pt x="185" y="75"/>
                  </a:lnTo>
                  <a:close/>
                  <a:moveTo>
                    <a:pt x="112" y="211"/>
                  </a:moveTo>
                  <a:lnTo>
                    <a:pt x="112" y="213"/>
                  </a:lnTo>
                  <a:lnTo>
                    <a:pt x="112" y="211"/>
                  </a:lnTo>
                  <a:close/>
                  <a:moveTo>
                    <a:pt x="6" y="392"/>
                  </a:moveTo>
                  <a:lnTo>
                    <a:pt x="6" y="394"/>
                  </a:lnTo>
                  <a:lnTo>
                    <a:pt x="6" y="392"/>
                  </a:lnTo>
                  <a:close/>
                  <a:moveTo>
                    <a:pt x="137" y="158"/>
                  </a:moveTo>
                  <a:lnTo>
                    <a:pt x="139" y="158"/>
                  </a:lnTo>
                  <a:lnTo>
                    <a:pt x="137" y="158"/>
                  </a:lnTo>
                  <a:close/>
                  <a:moveTo>
                    <a:pt x="81" y="432"/>
                  </a:moveTo>
                  <a:lnTo>
                    <a:pt x="83" y="432"/>
                  </a:lnTo>
                  <a:lnTo>
                    <a:pt x="81" y="432"/>
                  </a:lnTo>
                  <a:close/>
                  <a:moveTo>
                    <a:pt x="14" y="430"/>
                  </a:moveTo>
                  <a:lnTo>
                    <a:pt x="14" y="432"/>
                  </a:lnTo>
                  <a:lnTo>
                    <a:pt x="14" y="430"/>
                  </a:lnTo>
                  <a:close/>
                  <a:moveTo>
                    <a:pt x="146" y="152"/>
                  </a:moveTo>
                  <a:lnTo>
                    <a:pt x="146" y="154"/>
                  </a:lnTo>
                  <a:lnTo>
                    <a:pt x="146" y="152"/>
                  </a:lnTo>
                  <a:close/>
                  <a:moveTo>
                    <a:pt x="4" y="382"/>
                  </a:moveTo>
                  <a:lnTo>
                    <a:pt x="6" y="382"/>
                  </a:lnTo>
                  <a:lnTo>
                    <a:pt x="4" y="382"/>
                  </a:lnTo>
                  <a:close/>
                  <a:moveTo>
                    <a:pt x="56" y="288"/>
                  </a:moveTo>
                  <a:lnTo>
                    <a:pt x="58" y="288"/>
                  </a:lnTo>
                  <a:lnTo>
                    <a:pt x="58" y="290"/>
                  </a:lnTo>
                  <a:lnTo>
                    <a:pt x="56" y="290"/>
                  </a:lnTo>
                  <a:lnTo>
                    <a:pt x="56" y="288"/>
                  </a:lnTo>
                  <a:close/>
                  <a:moveTo>
                    <a:pt x="119" y="146"/>
                  </a:moveTo>
                  <a:lnTo>
                    <a:pt x="121" y="146"/>
                  </a:lnTo>
                  <a:lnTo>
                    <a:pt x="119" y="146"/>
                  </a:lnTo>
                  <a:close/>
                  <a:moveTo>
                    <a:pt x="110" y="231"/>
                  </a:moveTo>
                  <a:lnTo>
                    <a:pt x="112" y="231"/>
                  </a:lnTo>
                  <a:lnTo>
                    <a:pt x="112" y="232"/>
                  </a:lnTo>
                  <a:lnTo>
                    <a:pt x="110" y="232"/>
                  </a:lnTo>
                  <a:lnTo>
                    <a:pt x="110" y="231"/>
                  </a:lnTo>
                  <a:close/>
                  <a:moveTo>
                    <a:pt x="146" y="125"/>
                  </a:moveTo>
                  <a:lnTo>
                    <a:pt x="148" y="125"/>
                  </a:lnTo>
                  <a:lnTo>
                    <a:pt x="146" y="125"/>
                  </a:lnTo>
                  <a:close/>
                  <a:moveTo>
                    <a:pt x="10" y="371"/>
                  </a:moveTo>
                  <a:lnTo>
                    <a:pt x="10" y="373"/>
                  </a:lnTo>
                  <a:lnTo>
                    <a:pt x="10" y="371"/>
                  </a:lnTo>
                  <a:close/>
                  <a:moveTo>
                    <a:pt x="98" y="252"/>
                  </a:moveTo>
                  <a:lnTo>
                    <a:pt x="98" y="254"/>
                  </a:lnTo>
                  <a:lnTo>
                    <a:pt x="98" y="252"/>
                  </a:lnTo>
                  <a:close/>
                  <a:moveTo>
                    <a:pt x="334" y="13"/>
                  </a:moveTo>
                  <a:lnTo>
                    <a:pt x="336" y="13"/>
                  </a:lnTo>
                  <a:lnTo>
                    <a:pt x="336" y="15"/>
                  </a:lnTo>
                  <a:lnTo>
                    <a:pt x="334" y="15"/>
                  </a:lnTo>
                  <a:lnTo>
                    <a:pt x="334" y="13"/>
                  </a:lnTo>
                  <a:close/>
                  <a:moveTo>
                    <a:pt x="150" y="140"/>
                  </a:moveTo>
                  <a:lnTo>
                    <a:pt x="150" y="142"/>
                  </a:lnTo>
                  <a:lnTo>
                    <a:pt x="150" y="140"/>
                  </a:lnTo>
                  <a:close/>
                  <a:moveTo>
                    <a:pt x="14" y="425"/>
                  </a:moveTo>
                  <a:lnTo>
                    <a:pt x="14" y="426"/>
                  </a:lnTo>
                  <a:lnTo>
                    <a:pt x="14" y="425"/>
                  </a:lnTo>
                  <a:close/>
                  <a:moveTo>
                    <a:pt x="112" y="211"/>
                  </a:moveTo>
                  <a:lnTo>
                    <a:pt x="112" y="213"/>
                  </a:lnTo>
                  <a:lnTo>
                    <a:pt x="112" y="211"/>
                  </a:lnTo>
                  <a:close/>
                  <a:moveTo>
                    <a:pt x="110" y="217"/>
                  </a:moveTo>
                  <a:lnTo>
                    <a:pt x="110" y="219"/>
                  </a:lnTo>
                  <a:lnTo>
                    <a:pt x="110" y="217"/>
                  </a:lnTo>
                  <a:close/>
                  <a:moveTo>
                    <a:pt x="54" y="296"/>
                  </a:moveTo>
                  <a:lnTo>
                    <a:pt x="56" y="296"/>
                  </a:lnTo>
                  <a:lnTo>
                    <a:pt x="54" y="296"/>
                  </a:lnTo>
                  <a:close/>
                  <a:moveTo>
                    <a:pt x="68" y="442"/>
                  </a:moveTo>
                  <a:lnTo>
                    <a:pt x="69" y="442"/>
                  </a:lnTo>
                  <a:lnTo>
                    <a:pt x="68" y="442"/>
                  </a:lnTo>
                  <a:close/>
                  <a:moveTo>
                    <a:pt x="2" y="384"/>
                  </a:moveTo>
                  <a:lnTo>
                    <a:pt x="4" y="384"/>
                  </a:lnTo>
                  <a:lnTo>
                    <a:pt x="2" y="384"/>
                  </a:lnTo>
                  <a:close/>
                  <a:moveTo>
                    <a:pt x="108" y="192"/>
                  </a:moveTo>
                  <a:lnTo>
                    <a:pt x="110" y="192"/>
                  </a:lnTo>
                  <a:lnTo>
                    <a:pt x="108" y="192"/>
                  </a:lnTo>
                  <a:close/>
                  <a:moveTo>
                    <a:pt x="108" y="219"/>
                  </a:moveTo>
                  <a:lnTo>
                    <a:pt x="110" y="219"/>
                  </a:lnTo>
                  <a:lnTo>
                    <a:pt x="108" y="219"/>
                  </a:lnTo>
                  <a:close/>
                  <a:moveTo>
                    <a:pt x="8" y="401"/>
                  </a:moveTo>
                  <a:lnTo>
                    <a:pt x="8" y="403"/>
                  </a:lnTo>
                  <a:lnTo>
                    <a:pt x="8" y="401"/>
                  </a:lnTo>
                  <a:close/>
                  <a:moveTo>
                    <a:pt x="131" y="188"/>
                  </a:moveTo>
                  <a:lnTo>
                    <a:pt x="133" y="188"/>
                  </a:lnTo>
                  <a:lnTo>
                    <a:pt x="131" y="188"/>
                  </a:lnTo>
                  <a:close/>
                  <a:moveTo>
                    <a:pt x="92" y="248"/>
                  </a:moveTo>
                  <a:lnTo>
                    <a:pt x="94" y="248"/>
                  </a:lnTo>
                  <a:lnTo>
                    <a:pt x="92" y="248"/>
                  </a:lnTo>
                  <a:close/>
                  <a:moveTo>
                    <a:pt x="139" y="127"/>
                  </a:moveTo>
                  <a:lnTo>
                    <a:pt x="139" y="129"/>
                  </a:lnTo>
                  <a:lnTo>
                    <a:pt x="139" y="127"/>
                  </a:lnTo>
                  <a:close/>
                  <a:moveTo>
                    <a:pt x="139" y="173"/>
                  </a:moveTo>
                  <a:lnTo>
                    <a:pt x="139" y="175"/>
                  </a:lnTo>
                  <a:lnTo>
                    <a:pt x="139" y="173"/>
                  </a:lnTo>
                  <a:close/>
                  <a:moveTo>
                    <a:pt x="12" y="415"/>
                  </a:moveTo>
                  <a:lnTo>
                    <a:pt x="14" y="415"/>
                  </a:lnTo>
                  <a:lnTo>
                    <a:pt x="12" y="415"/>
                  </a:lnTo>
                  <a:close/>
                  <a:moveTo>
                    <a:pt x="6" y="382"/>
                  </a:moveTo>
                  <a:lnTo>
                    <a:pt x="8" y="382"/>
                  </a:lnTo>
                  <a:lnTo>
                    <a:pt x="6" y="382"/>
                  </a:lnTo>
                  <a:close/>
                  <a:moveTo>
                    <a:pt x="52" y="302"/>
                  </a:moveTo>
                  <a:lnTo>
                    <a:pt x="54" y="302"/>
                  </a:lnTo>
                  <a:lnTo>
                    <a:pt x="52" y="302"/>
                  </a:lnTo>
                  <a:close/>
                  <a:moveTo>
                    <a:pt x="240" y="60"/>
                  </a:moveTo>
                  <a:lnTo>
                    <a:pt x="240" y="61"/>
                  </a:lnTo>
                  <a:lnTo>
                    <a:pt x="240" y="60"/>
                  </a:lnTo>
                  <a:close/>
                  <a:moveTo>
                    <a:pt x="144" y="106"/>
                  </a:moveTo>
                  <a:lnTo>
                    <a:pt x="146" y="106"/>
                  </a:lnTo>
                  <a:lnTo>
                    <a:pt x="144" y="106"/>
                  </a:lnTo>
                  <a:close/>
                  <a:moveTo>
                    <a:pt x="77" y="282"/>
                  </a:moveTo>
                  <a:lnTo>
                    <a:pt x="79" y="282"/>
                  </a:lnTo>
                  <a:lnTo>
                    <a:pt x="77" y="282"/>
                  </a:lnTo>
                  <a:close/>
                  <a:moveTo>
                    <a:pt x="66" y="290"/>
                  </a:moveTo>
                  <a:lnTo>
                    <a:pt x="68" y="290"/>
                  </a:lnTo>
                  <a:lnTo>
                    <a:pt x="66" y="290"/>
                  </a:lnTo>
                  <a:close/>
                  <a:moveTo>
                    <a:pt x="106" y="207"/>
                  </a:moveTo>
                  <a:lnTo>
                    <a:pt x="106" y="209"/>
                  </a:lnTo>
                  <a:lnTo>
                    <a:pt x="106" y="207"/>
                  </a:lnTo>
                  <a:close/>
                  <a:moveTo>
                    <a:pt x="135" y="167"/>
                  </a:moveTo>
                  <a:lnTo>
                    <a:pt x="137" y="167"/>
                  </a:lnTo>
                  <a:lnTo>
                    <a:pt x="135" y="167"/>
                  </a:lnTo>
                  <a:close/>
                  <a:moveTo>
                    <a:pt x="58" y="292"/>
                  </a:moveTo>
                  <a:lnTo>
                    <a:pt x="60" y="292"/>
                  </a:lnTo>
                  <a:lnTo>
                    <a:pt x="58" y="292"/>
                  </a:lnTo>
                  <a:close/>
                  <a:moveTo>
                    <a:pt x="137" y="169"/>
                  </a:moveTo>
                  <a:lnTo>
                    <a:pt x="139" y="169"/>
                  </a:lnTo>
                  <a:lnTo>
                    <a:pt x="137" y="169"/>
                  </a:lnTo>
                  <a:close/>
                  <a:moveTo>
                    <a:pt x="10" y="405"/>
                  </a:moveTo>
                  <a:lnTo>
                    <a:pt x="10" y="407"/>
                  </a:lnTo>
                  <a:lnTo>
                    <a:pt x="10" y="405"/>
                  </a:lnTo>
                  <a:close/>
                  <a:moveTo>
                    <a:pt x="139" y="127"/>
                  </a:moveTo>
                  <a:lnTo>
                    <a:pt x="139" y="129"/>
                  </a:lnTo>
                  <a:lnTo>
                    <a:pt x="139" y="127"/>
                  </a:lnTo>
                  <a:close/>
                  <a:moveTo>
                    <a:pt x="144" y="104"/>
                  </a:moveTo>
                  <a:lnTo>
                    <a:pt x="144" y="106"/>
                  </a:lnTo>
                  <a:lnTo>
                    <a:pt x="144" y="104"/>
                  </a:lnTo>
                  <a:close/>
                  <a:moveTo>
                    <a:pt x="94" y="250"/>
                  </a:moveTo>
                  <a:lnTo>
                    <a:pt x="94" y="252"/>
                  </a:lnTo>
                  <a:lnTo>
                    <a:pt x="94" y="250"/>
                  </a:lnTo>
                  <a:close/>
                  <a:moveTo>
                    <a:pt x="66" y="444"/>
                  </a:moveTo>
                  <a:lnTo>
                    <a:pt x="66" y="446"/>
                  </a:lnTo>
                  <a:lnTo>
                    <a:pt x="66" y="444"/>
                  </a:lnTo>
                  <a:close/>
                  <a:moveTo>
                    <a:pt x="43" y="461"/>
                  </a:moveTo>
                  <a:lnTo>
                    <a:pt x="44" y="461"/>
                  </a:lnTo>
                  <a:lnTo>
                    <a:pt x="43" y="461"/>
                  </a:lnTo>
                  <a:close/>
                  <a:moveTo>
                    <a:pt x="144" y="111"/>
                  </a:moveTo>
                  <a:lnTo>
                    <a:pt x="146" y="111"/>
                  </a:lnTo>
                  <a:lnTo>
                    <a:pt x="144" y="111"/>
                  </a:lnTo>
                  <a:close/>
                  <a:moveTo>
                    <a:pt x="115" y="231"/>
                  </a:moveTo>
                  <a:lnTo>
                    <a:pt x="117" y="231"/>
                  </a:lnTo>
                  <a:lnTo>
                    <a:pt x="115" y="231"/>
                  </a:lnTo>
                  <a:close/>
                  <a:moveTo>
                    <a:pt x="169" y="121"/>
                  </a:moveTo>
                  <a:lnTo>
                    <a:pt x="171" y="121"/>
                  </a:lnTo>
                  <a:lnTo>
                    <a:pt x="169" y="121"/>
                  </a:lnTo>
                  <a:close/>
                  <a:moveTo>
                    <a:pt x="102" y="259"/>
                  </a:moveTo>
                  <a:lnTo>
                    <a:pt x="104" y="259"/>
                  </a:lnTo>
                  <a:lnTo>
                    <a:pt x="102" y="259"/>
                  </a:lnTo>
                  <a:close/>
                  <a:moveTo>
                    <a:pt x="56" y="313"/>
                  </a:moveTo>
                  <a:lnTo>
                    <a:pt x="56" y="315"/>
                  </a:lnTo>
                  <a:lnTo>
                    <a:pt x="56" y="313"/>
                  </a:lnTo>
                  <a:close/>
                  <a:moveTo>
                    <a:pt x="4" y="382"/>
                  </a:moveTo>
                  <a:lnTo>
                    <a:pt x="6" y="382"/>
                  </a:lnTo>
                  <a:lnTo>
                    <a:pt x="4" y="382"/>
                  </a:lnTo>
                  <a:close/>
                  <a:moveTo>
                    <a:pt x="108" y="232"/>
                  </a:moveTo>
                  <a:lnTo>
                    <a:pt x="110" y="232"/>
                  </a:lnTo>
                  <a:lnTo>
                    <a:pt x="108" y="232"/>
                  </a:lnTo>
                  <a:close/>
                  <a:moveTo>
                    <a:pt x="112" y="217"/>
                  </a:moveTo>
                  <a:lnTo>
                    <a:pt x="114" y="217"/>
                  </a:lnTo>
                  <a:lnTo>
                    <a:pt x="112" y="217"/>
                  </a:lnTo>
                  <a:close/>
                  <a:moveTo>
                    <a:pt x="129" y="177"/>
                  </a:moveTo>
                  <a:lnTo>
                    <a:pt x="131" y="177"/>
                  </a:lnTo>
                  <a:lnTo>
                    <a:pt x="129" y="177"/>
                  </a:lnTo>
                  <a:close/>
                  <a:moveTo>
                    <a:pt x="123" y="186"/>
                  </a:moveTo>
                  <a:lnTo>
                    <a:pt x="125" y="186"/>
                  </a:lnTo>
                  <a:lnTo>
                    <a:pt x="123" y="186"/>
                  </a:lnTo>
                  <a:close/>
                  <a:moveTo>
                    <a:pt x="114" y="204"/>
                  </a:moveTo>
                  <a:lnTo>
                    <a:pt x="114" y="206"/>
                  </a:lnTo>
                  <a:lnTo>
                    <a:pt x="114" y="204"/>
                  </a:lnTo>
                  <a:close/>
                  <a:moveTo>
                    <a:pt x="96" y="244"/>
                  </a:moveTo>
                  <a:lnTo>
                    <a:pt x="96" y="246"/>
                  </a:lnTo>
                  <a:lnTo>
                    <a:pt x="96" y="244"/>
                  </a:lnTo>
                  <a:close/>
                  <a:moveTo>
                    <a:pt x="139" y="161"/>
                  </a:moveTo>
                  <a:lnTo>
                    <a:pt x="140" y="161"/>
                  </a:lnTo>
                  <a:lnTo>
                    <a:pt x="139" y="161"/>
                  </a:lnTo>
                  <a:close/>
                  <a:moveTo>
                    <a:pt x="140" y="156"/>
                  </a:moveTo>
                  <a:lnTo>
                    <a:pt x="140" y="158"/>
                  </a:lnTo>
                  <a:lnTo>
                    <a:pt x="140" y="156"/>
                  </a:lnTo>
                  <a:close/>
                  <a:moveTo>
                    <a:pt x="56" y="288"/>
                  </a:moveTo>
                  <a:lnTo>
                    <a:pt x="56" y="290"/>
                  </a:lnTo>
                  <a:lnTo>
                    <a:pt x="56" y="288"/>
                  </a:lnTo>
                  <a:close/>
                  <a:moveTo>
                    <a:pt x="127" y="182"/>
                  </a:moveTo>
                  <a:lnTo>
                    <a:pt x="127" y="184"/>
                  </a:lnTo>
                  <a:lnTo>
                    <a:pt x="127" y="182"/>
                  </a:lnTo>
                  <a:close/>
                  <a:moveTo>
                    <a:pt x="94" y="432"/>
                  </a:moveTo>
                  <a:lnTo>
                    <a:pt x="96" y="432"/>
                  </a:lnTo>
                  <a:lnTo>
                    <a:pt x="94" y="432"/>
                  </a:lnTo>
                  <a:close/>
                  <a:moveTo>
                    <a:pt x="92" y="254"/>
                  </a:moveTo>
                  <a:lnTo>
                    <a:pt x="94" y="254"/>
                  </a:lnTo>
                  <a:lnTo>
                    <a:pt x="92" y="254"/>
                  </a:lnTo>
                  <a:close/>
                  <a:moveTo>
                    <a:pt x="58" y="282"/>
                  </a:moveTo>
                  <a:lnTo>
                    <a:pt x="58" y="284"/>
                  </a:lnTo>
                  <a:lnTo>
                    <a:pt x="58" y="282"/>
                  </a:lnTo>
                  <a:close/>
                  <a:moveTo>
                    <a:pt x="102" y="263"/>
                  </a:moveTo>
                  <a:lnTo>
                    <a:pt x="102" y="265"/>
                  </a:lnTo>
                  <a:lnTo>
                    <a:pt x="102" y="263"/>
                  </a:lnTo>
                  <a:close/>
                  <a:moveTo>
                    <a:pt x="6" y="376"/>
                  </a:moveTo>
                  <a:lnTo>
                    <a:pt x="8" y="376"/>
                  </a:lnTo>
                  <a:lnTo>
                    <a:pt x="6" y="376"/>
                  </a:lnTo>
                  <a:close/>
                  <a:moveTo>
                    <a:pt x="73" y="434"/>
                  </a:moveTo>
                  <a:lnTo>
                    <a:pt x="73" y="436"/>
                  </a:lnTo>
                  <a:lnTo>
                    <a:pt x="73" y="434"/>
                  </a:lnTo>
                  <a:close/>
                  <a:moveTo>
                    <a:pt x="110" y="207"/>
                  </a:moveTo>
                  <a:lnTo>
                    <a:pt x="110" y="209"/>
                  </a:lnTo>
                  <a:lnTo>
                    <a:pt x="110" y="207"/>
                  </a:lnTo>
                  <a:close/>
                  <a:moveTo>
                    <a:pt x="8" y="388"/>
                  </a:moveTo>
                  <a:lnTo>
                    <a:pt x="8" y="390"/>
                  </a:lnTo>
                  <a:lnTo>
                    <a:pt x="8" y="388"/>
                  </a:lnTo>
                  <a:close/>
                  <a:moveTo>
                    <a:pt x="4" y="390"/>
                  </a:moveTo>
                  <a:lnTo>
                    <a:pt x="6" y="390"/>
                  </a:lnTo>
                  <a:lnTo>
                    <a:pt x="4" y="390"/>
                  </a:lnTo>
                  <a:close/>
                  <a:moveTo>
                    <a:pt x="115" y="202"/>
                  </a:moveTo>
                  <a:lnTo>
                    <a:pt x="115" y="204"/>
                  </a:lnTo>
                  <a:lnTo>
                    <a:pt x="115" y="202"/>
                  </a:lnTo>
                  <a:close/>
                  <a:moveTo>
                    <a:pt x="6" y="382"/>
                  </a:moveTo>
                  <a:lnTo>
                    <a:pt x="8" y="382"/>
                  </a:lnTo>
                  <a:lnTo>
                    <a:pt x="6" y="382"/>
                  </a:lnTo>
                  <a:close/>
                  <a:moveTo>
                    <a:pt x="110" y="219"/>
                  </a:moveTo>
                  <a:lnTo>
                    <a:pt x="110" y="221"/>
                  </a:lnTo>
                  <a:lnTo>
                    <a:pt x="110" y="219"/>
                  </a:lnTo>
                  <a:close/>
                  <a:moveTo>
                    <a:pt x="4" y="376"/>
                  </a:moveTo>
                  <a:lnTo>
                    <a:pt x="6" y="376"/>
                  </a:lnTo>
                  <a:lnTo>
                    <a:pt x="4" y="376"/>
                  </a:lnTo>
                  <a:close/>
                  <a:moveTo>
                    <a:pt x="192" y="98"/>
                  </a:moveTo>
                  <a:lnTo>
                    <a:pt x="194" y="98"/>
                  </a:lnTo>
                  <a:lnTo>
                    <a:pt x="192" y="98"/>
                  </a:lnTo>
                  <a:close/>
                  <a:moveTo>
                    <a:pt x="110" y="207"/>
                  </a:moveTo>
                  <a:lnTo>
                    <a:pt x="110" y="209"/>
                  </a:lnTo>
                  <a:lnTo>
                    <a:pt x="110" y="207"/>
                  </a:lnTo>
                  <a:close/>
                  <a:moveTo>
                    <a:pt x="123" y="188"/>
                  </a:moveTo>
                  <a:lnTo>
                    <a:pt x="123" y="190"/>
                  </a:lnTo>
                  <a:lnTo>
                    <a:pt x="123" y="188"/>
                  </a:lnTo>
                  <a:close/>
                  <a:moveTo>
                    <a:pt x="135" y="165"/>
                  </a:moveTo>
                  <a:lnTo>
                    <a:pt x="137" y="165"/>
                  </a:lnTo>
                  <a:lnTo>
                    <a:pt x="135" y="165"/>
                  </a:lnTo>
                  <a:close/>
                  <a:moveTo>
                    <a:pt x="14" y="432"/>
                  </a:moveTo>
                  <a:lnTo>
                    <a:pt x="16" y="432"/>
                  </a:lnTo>
                  <a:lnTo>
                    <a:pt x="14" y="432"/>
                  </a:lnTo>
                  <a:close/>
                  <a:moveTo>
                    <a:pt x="10" y="405"/>
                  </a:moveTo>
                  <a:lnTo>
                    <a:pt x="10" y="407"/>
                  </a:lnTo>
                  <a:lnTo>
                    <a:pt x="10" y="405"/>
                  </a:lnTo>
                  <a:close/>
                  <a:moveTo>
                    <a:pt x="14" y="430"/>
                  </a:moveTo>
                  <a:lnTo>
                    <a:pt x="14" y="432"/>
                  </a:lnTo>
                  <a:lnTo>
                    <a:pt x="14" y="430"/>
                  </a:lnTo>
                  <a:close/>
                  <a:moveTo>
                    <a:pt x="16" y="434"/>
                  </a:moveTo>
                  <a:lnTo>
                    <a:pt x="16" y="436"/>
                  </a:lnTo>
                  <a:lnTo>
                    <a:pt x="16" y="434"/>
                  </a:lnTo>
                  <a:close/>
                  <a:moveTo>
                    <a:pt x="110" y="215"/>
                  </a:moveTo>
                  <a:lnTo>
                    <a:pt x="112" y="215"/>
                  </a:lnTo>
                  <a:lnTo>
                    <a:pt x="110" y="215"/>
                  </a:lnTo>
                  <a:close/>
                  <a:moveTo>
                    <a:pt x="211" y="48"/>
                  </a:moveTo>
                  <a:lnTo>
                    <a:pt x="213" y="48"/>
                  </a:lnTo>
                  <a:lnTo>
                    <a:pt x="211" y="48"/>
                  </a:lnTo>
                  <a:close/>
                  <a:moveTo>
                    <a:pt x="115" y="213"/>
                  </a:moveTo>
                  <a:lnTo>
                    <a:pt x="117" y="213"/>
                  </a:lnTo>
                  <a:lnTo>
                    <a:pt x="115" y="213"/>
                  </a:lnTo>
                  <a:close/>
                  <a:moveTo>
                    <a:pt x="110" y="215"/>
                  </a:moveTo>
                  <a:lnTo>
                    <a:pt x="112" y="215"/>
                  </a:lnTo>
                  <a:lnTo>
                    <a:pt x="112" y="217"/>
                  </a:lnTo>
                  <a:lnTo>
                    <a:pt x="110" y="217"/>
                  </a:lnTo>
                  <a:lnTo>
                    <a:pt x="110" y="215"/>
                  </a:lnTo>
                  <a:close/>
                  <a:moveTo>
                    <a:pt x="117" y="221"/>
                  </a:moveTo>
                  <a:lnTo>
                    <a:pt x="119" y="221"/>
                  </a:lnTo>
                  <a:lnTo>
                    <a:pt x="117" y="221"/>
                  </a:lnTo>
                  <a:close/>
                  <a:moveTo>
                    <a:pt x="91" y="265"/>
                  </a:moveTo>
                  <a:lnTo>
                    <a:pt x="92" y="265"/>
                  </a:lnTo>
                  <a:lnTo>
                    <a:pt x="91" y="265"/>
                  </a:lnTo>
                  <a:close/>
                  <a:moveTo>
                    <a:pt x="112" y="211"/>
                  </a:moveTo>
                  <a:lnTo>
                    <a:pt x="114" y="211"/>
                  </a:lnTo>
                  <a:lnTo>
                    <a:pt x="114" y="213"/>
                  </a:lnTo>
                  <a:lnTo>
                    <a:pt x="112" y="213"/>
                  </a:lnTo>
                  <a:lnTo>
                    <a:pt x="112" y="211"/>
                  </a:lnTo>
                  <a:close/>
                  <a:moveTo>
                    <a:pt x="123" y="186"/>
                  </a:moveTo>
                  <a:lnTo>
                    <a:pt x="125" y="186"/>
                  </a:lnTo>
                  <a:lnTo>
                    <a:pt x="123" y="186"/>
                  </a:lnTo>
                  <a:close/>
                  <a:moveTo>
                    <a:pt x="115" y="181"/>
                  </a:moveTo>
                  <a:lnTo>
                    <a:pt x="115" y="182"/>
                  </a:lnTo>
                  <a:lnTo>
                    <a:pt x="115" y="181"/>
                  </a:lnTo>
                  <a:close/>
                  <a:moveTo>
                    <a:pt x="110" y="213"/>
                  </a:moveTo>
                  <a:lnTo>
                    <a:pt x="112" y="213"/>
                  </a:lnTo>
                  <a:lnTo>
                    <a:pt x="110" y="213"/>
                  </a:lnTo>
                  <a:close/>
                  <a:moveTo>
                    <a:pt x="60" y="282"/>
                  </a:moveTo>
                  <a:lnTo>
                    <a:pt x="60" y="284"/>
                  </a:lnTo>
                  <a:lnTo>
                    <a:pt x="60" y="282"/>
                  </a:lnTo>
                  <a:close/>
                  <a:moveTo>
                    <a:pt x="125" y="181"/>
                  </a:moveTo>
                  <a:lnTo>
                    <a:pt x="125" y="182"/>
                  </a:lnTo>
                  <a:lnTo>
                    <a:pt x="125" y="181"/>
                  </a:lnTo>
                  <a:close/>
                  <a:moveTo>
                    <a:pt x="148" y="127"/>
                  </a:moveTo>
                  <a:lnTo>
                    <a:pt x="150" y="127"/>
                  </a:lnTo>
                  <a:lnTo>
                    <a:pt x="148" y="127"/>
                  </a:lnTo>
                  <a:close/>
                  <a:moveTo>
                    <a:pt x="73" y="436"/>
                  </a:moveTo>
                  <a:lnTo>
                    <a:pt x="75" y="436"/>
                  </a:lnTo>
                  <a:lnTo>
                    <a:pt x="73" y="436"/>
                  </a:lnTo>
                  <a:close/>
                  <a:moveTo>
                    <a:pt x="31" y="317"/>
                  </a:moveTo>
                  <a:lnTo>
                    <a:pt x="33" y="317"/>
                  </a:lnTo>
                  <a:lnTo>
                    <a:pt x="33" y="319"/>
                  </a:lnTo>
                  <a:lnTo>
                    <a:pt x="31" y="319"/>
                  </a:lnTo>
                  <a:lnTo>
                    <a:pt x="31" y="317"/>
                  </a:lnTo>
                  <a:close/>
                  <a:moveTo>
                    <a:pt x="104" y="225"/>
                  </a:moveTo>
                  <a:lnTo>
                    <a:pt x="106" y="225"/>
                  </a:lnTo>
                  <a:lnTo>
                    <a:pt x="104" y="225"/>
                  </a:lnTo>
                  <a:close/>
                  <a:moveTo>
                    <a:pt x="27" y="319"/>
                  </a:moveTo>
                  <a:lnTo>
                    <a:pt x="27" y="321"/>
                  </a:lnTo>
                  <a:lnTo>
                    <a:pt x="27" y="319"/>
                  </a:lnTo>
                  <a:close/>
                  <a:moveTo>
                    <a:pt x="131" y="177"/>
                  </a:moveTo>
                  <a:lnTo>
                    <a:pt x="131" y="179"/>
                  </a:lnTo>
                  <a:lnTo>
                    <a:pt x="131" y="177"/>
                  </a:lnTo>
                  <a:close/>
                  <a:moveTo>
                    <a:pt x="81" y="280"/>
                  </a:moveTo>
                  <a:lnTo>
                    <a:pt x="83" y="280"/>
                  </a:lnTo>
                  <a:lnTo>
                    <a:pt x="81" y="280"/>
                  </a:lnTo>
                  <a:close/>
                  <a:moveTo>
                    <a:pt x="137" y="158"/>
                  </a:moveTo>
                  <a:lnTo>
                    <a:pt x="139" y="158"/>
                  </a:lnTo>
                  <a:lnTo>
                    <a:pt x="137" y="158"/>
                  </a:lnTo>
                  <a:close/>
                  <a:moveTo>
                    <a:pt x="139" y="127"/>
                  </a:moveTo>
                  <a:lnTo>
                    <a:pt x="140" y="127"/>
                  </a:lnTo>
                  <a:lnTo>
                    <a:pt x="139" y="127"/>
                  </a:lnTo>
                  <a:close/>
                  <a:moveTo>
                    <a:pt x="56" y="292"/>
                  </a:moveTo>
                  <a:lnTo>
                    <a:pt x="56" y="294"/>
                  </a:lnTo>
                  <a:lnTo>
                    <a:pt x="56" y="292"/>
                  </a:lnTo>
                  <a:close/>
                  <a:moveTo>
                    <a:pt x="56" y="292"/>
                  </a:moveTo>
                  <a:lnTo>
                    <a:pt x="56" y="294"/>
                  </a:lnTo>
                  <a:lnTo>
                    <a:pt x="56" y="292"/>
                  </a:lnTo>
                  <a:close/>
                  <a:moveTo>
                    <a:pt x="52" y="296"/>
                  </a:moveTo>
                  <a:lnTo>
                    <a:pt x="52" y="298"/>
                  </a:lnTo>
                  <a:lnTo>
                    <a:pt x="52" y="296"/>
                  </a:lnTo>
                  <a:close/>
                  <a:moveTo>
                    <a:pt x="152" y="136"/>
                  </a:moveTo>
                  <a:lnTo>
                    <a:pt x="152" y="138"/>
                  </a:lnTo>
                  <a:lnTo>
                    <a:pt x="152" y="136"/>
                  </a:lnTo>
                  <a:close/>
                  <a:moveTo>
                    <a:pt x="129" y="133"/>
                  </a:moveTo>
                  <a:lnTo>
                    <a:pt x="131" y="133"/>
                  </a:lnTo>
                  <a:lnTo>
                    <a:pt x="129" y="133"/>
                  </a:lnTo>
                  <a:close/>
                  <a:moveTo>
                    <a:pt x="117" y="188"/>
                  </a:moveTo>
                  <a:lnTo>
                    <a:pt x="119" y="188"/>
                  </a:lnTo>
                  <a:lnTo>
                    <a:pt x="117" y="188"/>
                  </a:lnTo>
                  <a:close/>
                  <a:moveTo>
                    <a:pt x="302" y="44"/>
                  </a:moveTo>
                  <a:lnTo>
                    <a:pt x="304" y="44"/>
                  </a:lnTo>
                  <a:lnTo>
                    <a:pt x="302" y="44"/>
                  </a:lnTo>
                  <a:close/>
                  <a:moveTo>
                    <a:pt x="56" y="290"/>
                  </a:moveTo>
                  <a:lnTo>
                    <a:pt x="58" y="290"/>
                  </a:lnTo>
                  <a:lnTo>
                    <a:pt x="56" y="290"/>
                  </a:lnTo>
                  <a:close/>
                  <a:moveTo>
                    <a:pt x="112" y="202"/>
                  </a:moveTo>
                  <a:lnTo>
                    <a:pt x="114" y="202"/>
                  </a:lnTo>
                  <a:lnTo>
                    <a:pt x="112" y="202"/>
                  </a:lnTo>
                  <a:close/>
                  <a:moveTo>
                    <a:pt x="12" y="398"/>
                  </a:moveTo>
                  <a:lnTo>
                    <a:pt x="12" y="400"/>
                  </a:lnTo>
                  <a:lnTo>
                    <a:pt x="12" y="398"/>
                  </a:lnTo>
                  <a:close/>
                  <a:moveTo>
                    <a:pt x="148" y="102"/>
                  </a:moveTo>
                  <a:lnTo>
                    <a:pt x="148" y="104"/>
                  </a:lnTo>
                  <a:lnTo>
                    <a:pt x="148" y="102"/>
                  </a:lnTo>
                  <a:close/>
                  <a:moveTo>
                    <a:pt x="98" y="279"/>
                  </a:moveTo>
                  <a:lnTo>
                    <a:pt x="100" y="279"/>
                  </a:lnTo>
                  <a:lnTo>
                    <a:pt x="98" y="279"/>
                  </a:lnTo>
                  <a:close/>
                  <a:moveTo>
                    <a:pt x="77" y="284"/>
                  </a:moveTo>
                  <a:lnTo>
                    <a:pt x="79" y="284"/>
                  </a:lnTo>
                  <a:lnTo>
                    <a:pt x="77" y="284"/>
                  </a:lnTo>
                  <a:close/>
                  <a:moveTo>
                    <a:pt x="83" y="271"/>
                  </a:moveTo>
                  <a:lnTo>
                    <a:pt x="85" y="271"/>
                  </a:lnTo>
                  <a:lnTo>
                    <a:pt x="83" y="271"/>
                  </a:lnTo>
                  <a:close/>
                  <a:moveTo>
                    <a:pt x="163" y="134"/>
                  </a:moveTo>
                  <a:lnTo>
                    <a:pt x="165" y="134"/>
                  </a:lnTo>
                  <a:lnTo>
                    <a:pt x="163" y="134"/>
                  </a:lnTo>
                  <a:close/>
                  <a:moveTo>
                    <a:pt x="92" y="246"/>
                  </a:moveTo>
                  <a:lnTo>
                    <a:pt x="94" y="246"/>
                  </a:lnTo>
                  <a:lnTo>
                    <a:pt x="92" y="246"/>
                  </a:lnTo>
                  <a:close/>
                  <a:moveTo>
                    <a:pt x="140" y="159"/>
                  </a:moveTo>
                  <a:lnTo>
                    <a:pt x="142" y="159"/>
                  </a:lnTo>
                  <a:lnTo>
                    <a:pt x="140" y="159"/>
                  </a:lnTo>
                  <a:close/>
                  <a:moveTo>
                    <a:pt x="6" y="365"/>
                  </a:moveTo>
                  <a:lnTo>
                    <a:pt x="6" y="367"/>
                  </a:lnTo>
                  <a:lnTo>
                    <a:pt x="6" y="365"/>
                  </a:lnTo>
                  <a:close/>
                  <a:moveTo>
                    <a:pt x="115" y="209"/>
                  </a:moveTo>
                  <a:lnTo>
                    <a:pt x="115" y="211"/>
                  </a:lnTo>
                  <a:lnTo>
                    <a:pt x="115" y="209"/>
                  </a:lnTo>
                  <a:close/>
                  <a:moveTo>
                    <a:pt x="48" y="302"/>
                  </a:moveTo>
                  <a:lnTo>
                    <a:pt x="48" y="304"/>
                  </a:lnTo>
                  <a:lnTo>
                    <a:pt x="48" y="302"/>
                  </a:lnTo>
                  <a:close/>
                  <a:moveTo>
                    <a:pt x="6" y="392"/>
                  </a:moveTo>
                  <a:lnTo>
                    <a:pt x="6" y="394"/>
                  </a:lnTo>
                  <a:lnTo>
                    <a:pt x="6" y="392"/>
                  </a:lnTo>
                  <a:close/>
                  <a:moveTo>
                    <a:pt x="211" y="48"/>
                  </a:moveTo>
                  <a:lnTo>
                    <a:pt x="213" y="48"/>
                  </a:lnTo>
                  <a:lnTo>
                    <a:pt x="211" y="48"/>
                  </a:lnTo>
                  <a:close/>
                  <a:moveTo>
                    <a:pt x="100" y="254"/>
                  </a:moveTo>
                  <a:lnTo>
                    <a:pt x="102" y="254"/>
                  </a:lnTo>
                  <a:lnTo>
                    <a:pt x="100" y="254"/>
                  </a:lnTo>
                  <a:close/>
                  <a:moveTo>
                    <a:pt x="114" y="204"/>
                  </a:moveTo>
                  <a:lnTo>
                    <a:pt x="114" y="206"/>
                  </a:lnTo>
                  <a:lnTo>
                    <a:pt x="114" y="204"/>
                  </a:lnTo>
                  <a:close/>
                  <a:moveTo>
                    <a:pt x="148" y="142"/>
                  </a:moveTo>
                  <a:lnTo>
                    <a:pt x="150" y="142"/>
                  </a:lnTo>
                  <a:lnTo>
                    <a:pt x="148" y="142"/>
                  </a:lnTo>
                  <a:close/>
                  <a:moveTo>
                    <a:pt x="69" y="275"/>
                  </a:moveTo>
                  <a:lnTo>
                    <a:pt x="69" y="277"/>
                  </a:lnTo>
                  <a:lnTo>
                    <a:pt x="69" y="275"/>
                  </a:lnTo>
                  <a:close/>
                  <a:moveTo>
                    <a:pt x="114" y="215"/>
                  </a:moveTo>
                  <a:lnTo>
                    <a:pt x="114" y="217"/>
                  </a:lnTo>
                  <a:lnTo>
                    <a:pt x="114" y="215"/>
                  </a:lnTo>
                  <a:close/>
                  <a:moveTo>
                    <a:pt x="6" y="357"/>
                  </a:moveTo>
                  <a:lnTo>
                    <a:pt x="8" y="357"/>
                  </a:lnTo>
                  <a:lnTo>
                    <a:pt x="6" y="357"/>
                  </a:lnTo>
                  <a:close/>
                  <a:moveTo>
                    <a:pt x="58" y="286"/>
                  </a:moveTo>
                  <a:lnTo>
                    <a:pt x="60" y="286"/>
                  </a:lnTo>
                  <a:lnTo>
                    <a:pt x="58" y="286"/>
                  </a:lnTo>
                  <a:close/>
                  <a:moveTo>
                    <a:pt x="37" y="459"/>
                  </a:moveTo>
                  <a:lnTo>
                    <a:pt x="37" y="461"/>
                  </a:lnTo>
                  <a:lnTo>
                    <a:pt x="37" y="459"/>
                  </a:lnTo>
                  <a:close/>
                  <a:moveTo>
                    <a:pt x="160" y="121"/>
                  </a:moveTo>
                  <a:lnTo>
                    <a:pt x="160" y="123"/>
                  </a:lnTo>
                  <a:lnTo>
                    <a:pt x="160" y="121"/>
                  </a:lnTo>
                  <a:close/>
                  <a:moveTo>
                    <a:pt x="92" y="244"/>
                  </a:moveTo>
                  <a:lnTo>
                    <a:pt x="92" y="246"/>
                  </a:lnTo>
                  <a:lnTo>
                    <a:pt x="92" y="244"/>
                  </a:lnTo>
                  <a:close/>
                  <a:moveTo>
                    <a:pt x="12" y="432"/>
                  </a:moveTo>
                  <a:lnTo>
                    <a:pt x="14" y="432"/>
                  </a:lnTo>
                  <a:lnTo>
                    <a:pt x="12" y="432"/>
                  </a:lnTo>
                  <a:close/>
                  <a:moveTo>
                    <a:pt x="139" y="158"/>
                  </a:moveTo>
                  <a:lnTo>
                    <a:pt x="140" y="158"/>
                  </a:lnTo>
                  <a:lnTo>
                    <a:pt x="139" y="158"/>
                  </a:lnTo>
                  <a:close/>
                  <a:moveTo>
                    <a:pt x="204" y="54"/>
                  </a:moveTo>
                  <a:lnTo>
                    <a:pt x="206" y="54"/>
                  </a:lnTo>
                  <a:lnTo>
                    <a:pt x="204" y="54"/>
                  </a:lnTo>
                  <a:close/>
                  <a:moveTo>
                    <a:pt x="91" y="246"/>
                  </a:moveTo>
                  <a:lnTo>
                    <a:pt x="91" y="248"/>
                  </a:lnTo>
                  <a:lnTo>
                    <a:pt x="91" y="246"/>
                  </a:lnTo>
                  <a:close/>
                  <a:moveTo>
                    <a:pt x="8" y="400"/>
                  </a:moveTo>
                  <a:lnTo>
                    <a:pt x="8" y="401"/>
                  </a:lnTo>
                  <a:lnTo>
                    <a:pt x="8" y="400"/>
                  </a:lnTo>
                  <a:close/>
                  <a:moveTo>
                    <a:pt x="48" y="300"/>
                  </a:moveTo>
                  <a:lnTo>
                    <a:pt x="48" y="302"/>
                  </a:lnTo>
                  <a:lnTo>
                    <a:pt x="48" y="300"/>
                  </a:lnTo>
                  <a:close/>
                  <a:moveTo>
                    <a:pt x="110" y="154"/>
                  </a:moveTo>
                  <a:lnTo>
                    <a:pt x="112" y="154"/>
                  </a:lnTo>
                  <a:lnTo>
                    <a:pt x="110" y="154"/>
                  </a:lnTo>
                  <a:close/>
                  <a:moveTo>
                    <a:pt x="139" y="158"/>
                  </a:moveTo>
                  <a:lnTo>
                    <a:pt x="140" y="158"/>
                  </a:lnTo>
                  <a:lnTo>
                    <a:pt x="139" y="158"/>
                  </a:lnTo>
                  <a:close/>
                  <a:moveTo>
                    <a:pt x="117" y="184"/>
                  </a:moveTo>
                  <a:lnTo>
                    <a:pt x="117" y="186"/>
                  </a:lnTo>
                  <a:lnTo>
                    <a:pt x="117" y="184"/>
                  </a:lnTo>
                  <a:close/>
                  <a:moveTo>
                    <a:pt x="94" y="432"/>
                  </a:moveTo>
                  <a:lnTo>
                    <a:pt x="96" y="432"/>
                  </a:lnTo>
                  <a:lnTo>
                    <a:pt x="94" y="432"/>
                  </a:lnTo>
                  <a:close/>
                  <a:moveTo>
                    <a:pt x="2" y="371"/>
                  </a:moveTo>
                  <a:lnTo>
                    <a:pt x="4" y="371"/>
                  </a:lnTo>
                  <a:lnTo>
                    <a:pt x="2" y="371"/>
                  </a:lnTo>
                  <a:close/>
                  <a:moveTo>
                    <a:pt x="10" y="413"/>
                  </a:moveTo>
                  <a:lnTo>
                    <a:pt x="12" y="413"/>
                  </a:lnTo>
                  <a:lnTo>
                    <a:pt x="10" y="413"/>
                  </a:lnTo>
                  <a:close/>
                  <a:moveTo>
                    <a:pt x="275" y="52"/>
                  </a:moveTo>
                  <a:lnTo>
                    <a:pt x="277" y="52"/>
                  </a:lnTo>
                  <a:lnTo>
                    <a:pt x="275" y="52"/>
                  </a:lnTo>
                  <a:close/>
                  <a:moveTo>
                    <a:pt x="160" y="136"/>
                  </a:moveTo>
                  <a:lnTo>
                    <a:pt x="162" y="136"/>
                  </a:lnTo>
                  <a:lnTo>
                    <a:pt x="160" y="136"/>
                  </a:lnTo>
                  <a:close/>
                  <a:moveTo>
                    <a:pt x="89" y="426"/>
                  </a:moveTo>
                  <a:lnTo>
                    <a:pt x="89" y="428"/>
                  </a:lnTo>
                  <a:lnTo>
                    <a:pt x="89" y="426"/>
                  </a:lnTo>
                  <a:close/>
                  <a:moveTo>
                    <a:pt x="39" y="459"/>
                  </a:moveTo>
                  <a:lnTo>
                    <a:pt x="39" y="461"/>
                  </a:lnTo>
                  <a:lnTo>
                    <a:pt x="39" y="459"/>
                  </a:lnTo>
                  <a:close/>
                  <a:moveTo>
                    <a:pt x="54" y="298"/>
                  </a:moveTo>
                  <a:lnTo>
                    <a:pt x="54" y="300"/>
                  </a:lnTo>
                  <a:lnTo>
                    <a:pt x="54" y="298"/>
                  </a:lnTo>
                  <a:close/>
                  <a:moveTo>
                    <a:pt x="135" y="167"/>
                  </a:moveTo>
                  <a:lnTo>
                    <a:pt x="137" y="167"/>
                  </a:lnTo>
                  <a:lnTo>
                    <a:pt x="135" y="167"/>
                  </a:lnTo>
                  <a:close/>
                  <a:moveTo>
                    <a:pt x="4" y="382"/>
                  </a:moveTo>
                  <a:lnTo>
                    <a:pt x="6" y="382"/>
                  </a:lnTo>
                  <a:lnTo>
                    <a:pt x="4" y="382"/>
                  </a:lnTo>
                  <a:close/>
                  <a:moveTo>
                    <a:pt x="106" y="207"/>
                  </a:moveTo>
                  <a:lnTo>
                    <a:pt x="106" y="209"/>
                  </a:lnTo>
                  <a:lnTo>
                    <a:pt x="106" y="207"/>
                  </a:lnTo>
                  <a:close/>
                  <a:moveTo>
                    <a:pt x="150" y="144"/>
                  </a:moveTo>
                  <a:lnTo>
                    <a:pt x="150" y="146"/>
                  </a:lnTo>
                  <a:lnTo>
                    <a:pt x="150" y="144"/>
                  </a:lnTo>
                  <a:close/>
                  <a:moveTo>
                    <a:pt x="133" y="131"/>
                  </a:moveTo>
                  <a:lnTo>
                    <a:pt x="133" y="133"/>
                  </a:lnTo>
                  <a:lnTo>
                    <a:pt x="133" y="131"/>
                  </a:lnTo>
                  <a:close/>
                  <a:moveTo>
                    <a:pt x="102" y="259"/>
                  </a:moveTo>
                  <a:lnTo>
                    <a:pt x="102" y="261"/>
                  </a:lnTo>
                  <a:lnTo>
                    <a:pt x="102" y="259"/>
                  </a:lnTo>
                  <a:close/>
                  <a:moveTo>
                    <a:pt x="81" y="271"/>
                  </a:moveTo>
                  <a:lnTo>
                    <a:pt x="81" y="273"/>
                  </a:lnTo>
                  <a:lnTo>
                    <a:pt x="81" y="271"/>
                  </a:lnTo>
                  <a:close/>
                  <a:moveTo>
                    <a:pt x="102" y="238"/>
                  </a:moveTo>
                  <a:lnTo>
                    <a:pt x="104" y="238"/>
                  </a:lnTo>
                  <a:lnTo>
                    <a:pt x="102" y="238"/>
                  </a:lnTo>
                  <a:close/>
                  <a:moveTo>
                    <a:pt x="35" y="313"/>
                  </a:moveTo>
                  <a:lnTo>
                    <a:pt x="35" y="315"/>
                  </a:lnTo>
                  <a:lnTo>
                    <a:pt x="35" y="313"/>
                  </a:lnTo>
                  <a:close/>
                  <a:moveTo>
                    <a:pt x="150" y="104"/>
                  </a:moveTo>
                  <a:lnTo>
                    <a:pt x="152" y="104"/>
                  </a:lnTo>
                  <a:lnTo>
                    <a:pt x="150" y="104"/>
                  </a:lnTo>
                  <a:close/>
                  <a:moveTo>
                    <a:pt x="112" y="221"/>
                  </a:moveTo>
                  <a:lnTo>
                    <a:pt x="112" y="223"/>
                  </a:lnTo>
                  <a:lnTo>
                    <a:pt x="112" y="221"/>
                  </a:lnTo>
                  <a:close/>
                  <a:moveTo>
                    <a:pt x="125" y="181"/>
                  </a:moveTo>
                  <a:lnTo>
                    <a:pt x="125" y="182"/>
                  </a:lnTo>
                  <a:lnTo>
                    <a:pt x="125" y="181"/>
                  </a:lnTo>
                  <a:close/>
                  <a:moveTo>
                    <a:pt x="60" y="296"/>
                  </a:moveTo>
                  <a:lnTo>
                    <a:pt x="60" y="298"/>
                  </a:lnTo>
                  <a:lnTo>
                    <a:pt x="60" y="296"/>
                  </a:lnTo>
                  <a:close/>
                  <a:moveTo>
                    <a:pt x="94" y="246"/>
                  </a:moveTo>
                  <a:lnTo>
                    <a:pt x="96" y="246"/>
                  </a:lnTo>
                  <a:lnTo>
                    <a:pt x="94" y="246"/>
                  </a:lnTo>
                  <a:close/>
                  <a:moveTo>
                    <a:pt x="6" y="394"/>
                  </a:moveTo>
                  <a:lnTo>
                    <a:pt x="6" y="396"/>
                  </a:lnTo>
                  <a:lnTo>
                    <a:pt x="6" y="394"/>
                  </a:lnTo>
                  <a:close/>
                  <a:moveTo>
                    <a:pt x="112" y="215"/>
                  </a:moveTo>
                  <a:lnTo>
                    <a:pt x="114" y="215"/>
                  </a:lnTo>
                  <a:lnTo>
                    <a:pt x="114" y="217"/>
                  </a:lnTo>
                  <a:lnTo>
                    <a:pt x="112" y="217"/>
                  </a:lnTo>
                  <a:lnTo>
                    <a:pt x="112" y="215"/>
                  </a:lnTo>
                  <a:close/>
                  <a:moveTo>
                    <a:pt x="89" y="248"/>
                  </a:moveTo>
                  <a:lnTo>
                    <a:pt x="91" y="248"/>
                  </a:lnTo>
                  <a:lnTo>
                    <a:pt x="89" y="248"/>
                  </a:lnTo>
                  <a:close/>
                  <a:moveTo>
                    <a:pt x="4" y="388"/>
                  </a:moveTo>
                  <a:lnTo>
                    <a:pt x="6" y="388"/>
                  </a:lnTo>
                  <a:lnTo>
                    <a:pt x="4" y="388"/>
                  </a:lnTo>
                  <a:close/>
                  <a:moveTo>
                    <a:pt x="125" y="181"/>
                  </a:moveTo>
                  <a:lnTo>
                    <a:pt x="127" y="181"/>
                  </a:lnTo>
                  <a:lnTo>
                    <a:pt x="125" y="181"/>
                  </a:lnTo>
                  <a:close/>
                  <a:moveTo>
                    <a:pt x="146" y="148"/>
                  </a:moveTo>
                  <a:lnTo>
                    <a:pt x="148" y="148"/>
                  </a:lnTo>
                  <a:lnTo>
                    <a:pt x="146" y="148"/>
                  </a:lnTo>
                  <a:close/>
                  <a:moveTo>
                    <a:pt x="114" y="204"/>
                  </a:moveTo>
                  <a:lnTo>
                    <a:pt x="114" y="206"/>
                  </a:lnTo>
                  <a:lnTo>
                    <a:pt x="114" y="204"/>
                  </a:lnTo>
                  <a:close/>
                  <a:moveTo>
                    <a:pt x="91" y="265"/>
                  </a:moveTo>
                  <a:lnTo>
                    <a:pt x="91" y="267"/>
                  </a:lnTo>
                  <a:lnTo>
                    <a:pt x="91" y="265"/>
                  </a:lnTo>
                  <a:close/>
                  <a:moveTo>
                    <a:pt x="89" y="250"/>
                  </a:moveTo>
                  <a:lnTo>
                    <a:pt x="89" y="252"/>
                  </a:lnTo>
                  <a:lnTo>
                    <a:pt x="89" y="250"/>
                  </a:lnTo>
                  <a:close/>
                  <a:moveTo>
                    <a:pt x="133" y="171"/>
                  </a:moveTo>
                  <a:lnTo>
                    <a:pt x="135" y="171"/>
                  </a:lnTo>
                  <a:lnTo>
                    <a:pt x="133" y="171"/>
                  </a:lnTo>
                  <a:close/>
                  <a:moveTo>
                    <a:pt x="104" y="219"/>
                  </a:moveTo>
                  <a:lnTo>
                    <a:pt x="106" y="219"/>
                  </a:lnTo>
                  <a:lnTo>
                    <a:pt x="104" y="219"/>
                  </a:lnTo>
                  <a:close/>
                  <a:moveTo>
                    <a:pt x="114" y="213"/>
                  </a:moveTo>
                  <a:lnTo>
                    <a:pt x="114" y="215"/>
                  </a:lnTo>
                  <a:lnTo>
                    <a:pt x="114" y="213"/>
                  </a:lnTo>
                  <a:close/>
                  <a:moveTo>
                    <a:pt x="10" y="428"/>
                  </a:moveTo>
                  <a:lnTo>
                    <a:pt x="12" y="428"/>
                  </a:lnTo>
                  <a:lnTo>
                    <a:pt x="10" y="428"/>
                  </a:lnTo>
                  <a:close/>
                  <a:moveTo>
                    <a:pt x="10" y="342"/>
                  </a:moveTo>
                  <a:lnTo>
                    <a:pt x="10" y="344"/>
                  </a:lnTo>
                  <a:lnTo>
                    <a:pt x="10" y="342"/>
                  </a:lnTo>
                  <a:close/>
                  <a:moveTo>
                    <a:pt x="221" y="73"/>
                  </a:moveTo>
                  <a:lnTo>
                    <a:pt x="223" y="73"/>
                  </a:lnTo>
                  <a:lnTo>
                    <a:pt x="221" y="73"/>
                  </a:lnTo>
                  <a:close/>
                  <a:moveTo>
                    <a:pt x="62" y="298"/>
                  </a:moveTo>
                  <a:lnTo>
                    <a:pt x="64" y="298"/>
                  </a:lnTo>
                  <a:lnTo>
                    <a:pt x="62" y="298"/>
                  </a:lnTo>
                  <a:close/>
                  <a:moveTo>
                    <a:pt x="8" y="401"/>
                  </a:moveTo>
                  <a:lnTo>
                    <a:pt x="10" y="401"/>
                  </a:lnTo>
                  <a:lnTo>
                    <a:pt x="8" y="401"/>
                  </a:lnTo>
                  <a:close/>
                  <a:moveTo>
                    <a:pt x="23" y="328"/>
                  </a:moveTo>
                  <a:lnTo>
                    <a:pt x="25" y="328"/>
                  </a:lnTo>
                  <a:lnTo>
                    <a:pt x="25" y="330"/>
                  </a:lnTo>
                  <a:lnTo>
                    <a:pt x="23" y="330"/>
                  </a:lnTo>
                  <a:lnTo>
                    <a:pt x="23" y="328"/>
                  </a:lnTo>
                  <a:close/>
                  <a:moveTo>
                    <a:pt x="20" y="334"/>
                  </a:moveTo>
                  <a:lnTo>
                    <a:pt x="20" y="336"/>
                  </a:lnTo>
                  <a:lnTo>
                    <a:pt x="20" y="334"/>
                  </a:lnTo>
                  <a:close/>
                  <a:moveTo>
                    <a:pt x="156" y="125"/>
                  </a:moveTo>
                  <a:lnTo>
                    <a:pt x="158" y="125"/>
                  </a:lnTo>
                  <a:lnTo>
                    <a:pt x="156" y="125"/>
                  </a:lnTo>
                  <a:close/>
                  <a:moveTo>
                    <a:pt x="54" y="457"/>
                  </a:moveTo>
                  <a:lnTo>
                    <a:pt x="56" y="457"/>
                  </a:lnTo>
                  <a:lnTo>
                    <a:pt x="54" y="457"/>
                  </a:lnTo>
                  <a:close/>
                  <a:moveTo>
                    <a:pt x="104" y="248"/>
                  </a:moveTo>
                  <a:lnTo>
                    <a:pt x="104" y="250"/>
                  </a:lnTo>
                  <a:lnTo>
                    <a:pt x="104" y="248"/>
                  </a:lnTo>
                  <a:close/>
                  <a:moveTo>
                    <a:pt x="158" y="123"/>
                  </a:moveTo>
                  <a:lnTo>
                    <a:pt x="160" y="123"/>
                  </a:lnTo>
                  <a:lnTo>
                    <a:pt x="158" y="123"/>
                  </a:lnTo>
                  <a:close/>
                  <a:moveTo>
                    <a:pt x="150" y="140"/>
                  </a:moveTo>
                  <a:lnTo>
                    <a:pt x="150" y="142"/>
                  </a:lnTo>
                  <a:lnTo>
                    <a:pt x="150" y="140"/>
                  </a:lnTo>
                  <a:close/>
                  <a:moveTo>
                    <a:pt x="304" y="4"/>
                  </a:moveTo>
                  <a:lnTo>
                    <a:pt x="306" y="4"/>
                  </a:lnTo>
                  <a:lnTo>
                    <a:pt x="306" y="6"/>
                  </a:lnTo>
                  <a:lnTo>
                    <a:pt x="304" y="6"/>
                  </a:lnTo>
                  <a:lnTo>
                    <a:pt x="304" y="4"/>
                  </a:lnTo>
                  <a:close/>
                  <a:moveTo>
                    <a:pt x="33" y="459"/>
                  </a:moveTo>
                  <a:lnTo>
                    <a:pt x="35" y="459"/>
                  </a:lnTo>
                  <a:lnTo>
                    <a:pt x="33" y="459"/>
                  </a:lnTo>
                  <a:close/>
                  <a:moveTo>
                    <a:pt x="194" y="98"/>
                  </a:moveTo>
                  <a:lnTo>
                    <a:pt x="194" y="100"/>
                  </a:lnTo>
                  <a:lnTo>
                    <a:pt x="194" y="98"/>
                  </a:lnTo>
                  <a:close/>
                  <a:moveTo>
                    <a:pt x="33" y="317"/>
                  </a:moveTo>
                  <a:lnTo>
                    <a:pt x="33" y="319"/>
                  </a:lnTo>
                  <a:lnTo>
                    <a:pt x="33" y="317"/>
                  </a:lnTo>
                  <a:close/>
                  <a:moveTo>
                    <a:pt x="6" y="386"/>
                  </a:moveTo>
                  <a:lnTo>
                    <a:pt x="8" y="386"/>
                  </a:lnTo>
                  <a:lnTo>
                    <a:pt x="6" y="386"/>
                  </a:lnTo>
                  <a:close/>
                  <a:moveTo>
                    <a:pt x="112" y="209"/>
                  </a:moveTo>
                  <a:lnTo>
                    <a:pt x="112" y="211"/>
                  </a:lnTo>
                  <a:lnTo>
                    <a:pt x="112" y="209"/>
                  </a:lnTo>
                  <a:close/>
                  <a:moveTo>
                    <a:pt x="92" y="244"/>
                  </a:moveTo>
                  <a:lnTo>
                    <a:pt x="92" y="246"/>
                  </a:lnTo>
                  <a:lnTo>
                    <a:pt x="92" y="244"/>
                  </a:lnTo>
                  <a:close/>
                  <a:moveTo>
                    <a:pt x="179" y="85"/>
                  </a:moveTo>
                  <a:lnTo>
                    <a:pt x="181" y="85"/>
                  </a:lnTo>
                  <a:lnTo>
                    <a:pt x="179" y="85"/>
                  </a:lnTo>
                  <a:close/>
                  <a:moveTo>
                    <a:pt x="115" y="198"/>
                  </a:moveTo>
                  <a:lnTo>
                    <a:pt x="117" y="198"/>
                  </a:lnTo>
                  <a:lnTo>
                    <a:pt x="115" y="198"/>
                  </a:lnTo>
                  <a:close/>
                  <a:moveTo>
                    <a:pt x="0" y="375"/>
                  </a:moveTo>
                  <a:lnTo>
                    <a:pt x="2" y="375"/>
                  </a:lnTo>
                  <a:lnTo>
                    <a:pt x="0" y="375"/>
                  </a:lnTo>
                  <a:close/>
                  <a:moveTo>
                    <a:pt x="54" y="307"/>
                  </a:moveTo>
                  <a:lnTo>
                    <a:pt x="56" y="307"/>
                  </a:lnTo>
                  <a:lnTo>
                    <a:pt x="54" y="307"/>
                  </a:lnTo>
                  <a:close/>
                  <a:moveTo>
                    <a:pt x="83" y="271"/>
                  </a:moveTo>
                  <a:lnTo>
                    <a:pt x="85" y="271"/>
                  </a:lnTo>
                  <a:lnTo>
                    <a:pt x="83" y="271"/>
                  </a:lnTo>
                  <a:close/>
                  <a:moveTo>
                    <a:pt x="2" y="369"/>
                  </a:moveTo>
                  <a:lnTo>
                    <a:pt x="4" y="369"/>
                  </a:lnTo>
                  <a:lnTo>
                    <a:pt x="2" y="369"/>
                  </a:lnTo>
                  <a:close/>
                  <a:moveTo>
                    <a:pt x="104" y="225"/>
                  </a:moveTo>
                  <a:lnTo>
                    <a:pt x="106" y="225"/>
                  </a:lnTo>
                  <a:lnTo>
                    <a:pt x="104" y="225"/>
                  </a:lnTo>
                  <a:close/>
                  <a:moveTo>
                    <a:pt x="50" y="305"/>
                  </a:moveTo>
                  <a:lnTo>
                    <a:pt x="52" y="305"/>
                  </a:lnTo>
                  <a:lnTo>
                    <a:pt x="50" y="305"/>
                  </a:lnTo>
                  <a:close/>
                  <a:moveTo>
                    <a:pt x="112" y="207"/>
                  </a:moveTo>
                  <a:lnTo>
                    <a:pt x="114" y="207"/>
                  </a:lnTo>
                  <a:lnTo>
                    <a:pt x="112" y="207"/>
                  </a:lnTo>
                  <a:close/>
                  <a:moveTo>
                    <a:pt x="92" y="246"/>
                  </a:moveTo>
                  <a:lnTo>
                    <a:pt x="92" y="248"/>
                  </a:lnTo>
                  <a:lnTo>
                    <a:pt x="92" y="246"/>
                  </a:lnTo>
                  <a:close/>
                  <a:moveTo>
                    <a:pt x="106" y="215"/>
                  </a:moveTo>
                  <a:lnTo>
                    <a:pt x="108" y="215"/>
                  </a:lnTo>
                  <a:lnTo>
                    <a:pt x="106" y="215"/>
                  </a:lnTo>
                  <a:close/>
                  <a:moveTo>
                    <a:pt x="133" y="171"/>
                  </a:moveTo>
                  <a:lnTo>
                    <a:pt x="135" y="171"/>
                  </a:lnTo>
                  <a:lnTo>
                    <a:pt x="133" y="171"/>
                  </a:lnTo>
                  <a:close/>
                  <a:moveTo>
                    <a:pt x="150" y="117"/>
                  </a:moveTo>
                  <a:lnTo>
                    <a:pt x="152" y="117"/>
                  </a:lnTo>
                  <a:lnTo>
                    <a:pt x="150" y="117"/>
                  </a:lnTo>
                  <a:close/>
                  <a:moveTo>
                    <a:pt x="112" y="229"/>
                  </a:moveTo>
                  <a:lnTo>
                    <a:pt x="112" y="231"/>
                  </a:lnTo>
                  <a:lnTo>
                    <a:pt x="112" y="229"/>
                  </a:lnTo>
                  <a:close/>
                  <a:moveTo>
                    <a:pt x="110" y="219"/>
                  </a:moveTo>
                  <a:lnTo>
                    <a:pt x="112" y="219"/>
                  </a:lnTo>
                  <a:lnTo>
                    <a:pt x="110" y="219"/>
                  </a:lnTo>
                  <a:close/>
                  <a:moveTo>
                    <a:pt x="6" y="359"/>
                  </a:moveTo>
                  <a:lnTo>
                    <a:pt x="8" y="359"/>
                  </a:lnTo>
                  <a:lnTo>
                    <a:pt x="6" y="359"/>
                  </a:lnTo>
                  <a:close/>
                  <a:moveTo>
                    <a:pt x="10" y="425"/>
                  </a:moveTo>
                  <a:lnTo>
                    <a:pt x="10" y="426"/>
                  </a:lnTo>
                  <a:lnTo>
                    <a:pt x="10" y="425"/>
                  </a:lnTo>
                  <a:close/>
                  <a:moveTo>
                    <a:pt x="123" y="184"/>
                  </a:moveTo>
                  <a:lnTo>
                    <a:pt x="125" y="184"/>
                  </a:lnTo>
                  <a:lnTo>
                    <a:pt x="123" y="184"/>
                  </a:lnTo>
                  <a:close/>
                  <a:moveTo>
                    <a:pt x="117" y="184"/>
                  </a:moveTo>
                  <a:lnTo>
                    <a:pt x="117" y="186"/>
                  </a:lnTo>
                  <a:lnTo>
                    <a:pt x="117" y="184"/>
                  </a:lnTo>
                  <a:close/>
                  <a:moveTo>
                    <a:pt x="221" y="42"/>
                  </a:moveTo>
                  <a:lnTo>
                    <a:pt x="223" y="42"/>
                  </a:lnTo>
                  <a:lnTo>
                    <a:pt x="221" y="42"/>
                  </a:lnTo>
                  <a:close/>
                  <a:moveTo>
                    <a:pt x="91" y="248"/>
                  </a:moveTo>
                  <a:lnTo>
                    <a:pt x="92" y="248"/>
                  </a:lnTo>
                  <a:lnTo>
                    <a:pt x="91" y="248"/>
                  </a:lnTo>
                  <a:close/>
                  <a:moveTo>
                    <a:pt x="114" y="204"/>
                  </a:moveTo>
                  <a:lnTo>
                    <a:pt x="114" y="206"/>
                  </a:lnTo>
                  <a:lnTo>
                    <a:pt x="114" y="204"/>
                  </a:lnTo>
                  <a:close/>
                  <a:moveTo>
                    <a:pt x="104" y="234"/>
                  </a:moveTo>
                  <a:lnTo>
                    <a:pt x="104" y="236"/>
                  </a:lnTo>
                  <a:lnTo>
                    <a:pt x="104" y="234"/>
                  </a:lnTo>
                  <a:close/>
                  <a:moveTo>
                    <a:pt x="123" y="190"/>
                  </a:moveTo>
                  <a:lnTo>
                    <a:pt x="123" y="192"/>
                  </a:lnTo>
                  <a:lnTo>
                    <a:pt x="123" y="190"/>
                  </a:lnTo>
                  <a:close/>
                  <a:moveTo>
                    <a:pt x="112" y="227"/>
                  </a:moveTo>
                  <a:lnTo>
                    <a:pt x="114" y="227"/>
                  </a:lnTo>
                  <a:lnTo>
                    <a:pt x="114" y="229"/>
                  </a:lnTo>
                  <a:lnTo>
                    <a:pt x="112" y="229"/>
                  </a:lnTo>
                  <a:lnTo>
                    <a:pt x="112" y="227"/>
                  </a:lnTo>
                  <a:close/>
                  <a:moveTo>
                    <a:pt x="150" y="142"/>
                  </a:moveTo>
                  <a:lnTo>
                    <a:pt x="152" y="142"/>
                  </a:lnTo>
                  <a:lnTo>
                    <a:pt x="152" y="144"/>
                  </a:lnTo>
                  <a:lnTo>
                    <a:pt x="150" y="144"/>
                  </a:lnTo>
                  <a:lnTo>
                    <a:pt x="150" y="142"/>
                  </a:lnTo>
                  <a:close/>
                  <a:moveTo>
                    <a:pt x="215" y="40"/>
                  </a:moveTo>
                  <a:lnTo>
                    <a:pt x="215" y="42"/>
                  </a:lnTo>
                  <a:lnTo>
                    <a:pt x="215" y="40"/>
                  </a:lnTo>
                  <a:close/>
                  <a:moveTo>
                    <a:pt x="6" y="384"/>
                  </a:moveTo>
                  <a:lnTo>
                    <a:pt x="8" y="384"/>
                  </a:lnTo>
                  <a:lnTo>
                    <a:pt x="6" y="384"/>
                  </a:lnTo>
                  <a:close/>
                  <a:moveTo>
                    <a:pt x="112" y="209"/>
                  </a:moveTo>
                  <a:lnTo>
                    <a:pt x="112" y="211"/>
                  </a:lnTo>
                  <a:lnTo>
                    <a:pt x="112" y="209"/>
                  </a:lnTo>
                  <a:close/>
                  <a:moveTo>
                    <a:pt x="112" y="188"/>
                  </a:moveTo>
                  <a:lnTo>
                    <a:pt x="114" y="188"/>
                  </a:lnTo>
                  <a:lnTo>
                    <a:pt x="112" y="188"/>
                  </a:lnTo>
                  <a:close/>
                  <a:moveTo>
                    <a:pt x="110" y="209"/>
                  </a:moveTo>
                  <a:lnTo>
                    <a:pt x="112" y="209"/>
                  </a:lnTo>
                  <a:lnTo>
                    <a:pt x="110" y="209"/>
                  </a:lnTo>
                  <a:close/>
                  <a:moveTo>
                    <a:pt x="8" y="401"/>
                  </a:moveTo>
                  <a:lnTo>
                    <a:pt x="8" y="403"/>
                  </a:lnTo>
                  <a:lnTo>
                    <a:pt x="8" y="401"/>
                  </a:lnTo>
                  <a:close/>
                  <a:moveTo>
                    <a:pt x="69" y="440"/>
                  </a:moveTo>
                  <a:lnTo>
                    <a:pt x="69" y="442"/>
                  </a:lnTo>
                  <a:lnTo>
                    <a:pt x="69" y="440"/>
                  </a:lnTo>
                  <a:close/>
                  <a:moveTo>
                    <a:pt x="139" y="167"/>
                  </a:moveTo>
                  <a:lnTo>
                    <a:pt x="139" y="169"/>
                  </a:lnTo>
                  <a:lnTo>
                    <a:pt x="139" y="167"/>
                  </a:lnTo>
                  <a:close/>
                  <a:moveTo>
                    <a:pt x="6" y="371"/>
                  </a:moveTo>
                  <a:lnTo>
                    <a:pt x="6" y="373"/>
                  </a:lnTo>
                  <a:lnTo>
                    <a:pt x="6" y="371"/>
                  </a:lnTo>
                  <a:close/>
                  <a:moveTo>
                    <a:pt x="77" y="280"/>
                  </a:moveTo>
                  <a:lnTo>
                    <a:pt x="77" y="282"/>
                  </a:lnTo>
                  <a:lnTo>
                    <a:pt x="77" y="280"/>
                  </a:lnTo>
                  <a:close/>
                  <a:moveTo>
                    <a:pt x="135" y="131"/>
                  </a:moveTo>
                  <a:lnTo>
                    <a:pt x="137" y="131"/>
                  </a:lnTo>
                  <a:lnTo>
                    <a:pt x="135" y="131"/>
                  </a:lnTo>
                  <a:close/>
                  <a:moveTo>
                    <a:pt x="119" y="186"/>
                  </a:moveTo>
                  <a:lnTo>
                    <a:pt x="119" y="188"/>
                  </a:lnTo>
                  <a:lnTo>
                    <a:pt x="119" y="186"/>
                  </a:lnTo>
                  <a:close/>
                  <a:moveTo>
                    <a:pt x="14" y="430"/>
                  </a:moveTo>
                  <a:lnTo>
                    <a:pt x="14" y="432"/>
                  </a:lnTo>
                  <a:lnTo>
                    <a:pt x="14" y="430"/>
                  </a:lnTo>
                  <a:close/>
                  <a:moveTo>
                    <a:pt x="117" y="190"/>
                  </a:moveTo>
                  <a:lnTo>
                    <a:pt x="119" y="190"/>
                  </a:lnTo>
                  <a:lnTo>
                    <a:pt x="117" y="190"/>
                  </a:lnTo>
                  <a:close/>
                  <a:moveTo>
                    <a:pt x="48" y="305"/>
                  </a:moveTo>
                  <a:lnTo>
                    <a:pt x="48" y="307"/>
                  </a:lnTo>
                  <a:lnTo>
                    <a:pt x="48" y="305"/>
                  </a:lnTo>
                  <a:close/>
                  <a:moveTo>
                    <a:pt x="112" y="217"/>
                  </a:moveTo>
                  <a:lnTo>
                    <a:pt x="114" y="217"/>
                  </a:lnTo>
                  <a:lnTo>
                    <a:pt x="112" y="217"/>
                  </a:lnTo>
                  <a:close/>
                  <a:moveTo>
                    <a:pt x="96" y="428"/>
                  </a:moveTo>
                  <a:lnTo>
                    <a:pt x="98" y="428"/>
                  </a:lnTo>
                  <a:lnTo>
                    <a:pt x="96" y="428"/>
                  </a:lnTo>
                  <a:close/>
                  <a:moveTo>
                    <a:pt x="332" y="19"/>
                  </a:moveTo>
                  <a:lnTo>
                    <a:pt x="334" y="19"/>
                  </a:lnTo>
                  <a:lnTo>
                    <a:pt x="332" y="19"/>
                  </a:lnTo>
                  <a:close/>
                  <a:moveTo>
                    <a:pt x="91" y="246"/>
                  </a:moveTo>
                  <a:lnTo>
                    <a:pt x="92" y="246"/>
                  </a:lnTo>
                  <a:lnTo>
                    <a:pt x="91" y="246"/>
                  </a:lnTo>
                  <a:close/>
                  <a:moveTo>
                    <a:pt x="106" y="215"/>
                  </a:moveTo>
                  <a:lnTo>
                    <a:pt x="108" y="215"/>
                  </a:lnTo>
                  <a:lnTo>
                    <a:pt x="106" y="215"/>
                  </a:lnTo>
                  <a:close/>
                  <a:moveTo>
                    <a:pt x="6" y="355"/>
                  </a:moveTo>
                  <a:lnTo>
                    <a:pt x="8" y="355"/>
                  </a:lnTo>
                  <a:lnTo>
                    <a:pt x="6" y="355"/>
                  </a:lnTo>
                  <a:close/>
                  <a:moveTo>
                    <a:pt x="10" y="405"/>
                  </a:moveTo>
                  <a:lnTo>
                    <a:pt x="12" y="405"/>
                  </a:lnTo>
                  <a:lnTo>
                    <a:pt x="12" y="407"/>
                  </a:lnTo>
                  <a:lnTo>
                    <a:pt x="10" y="407"/>
                  </a:lnTo>
                  <a:lnTo>
                    <a:pt x="10" y="405"/>
                  </a:lnTo>
                  <a:close/>
                  <a:moveTo>
                    <a:pt x="129" y="177"/>
                  </a:moveTo>
                  <a:lnTo>
                    <a:pt x="131" y="177"/>
                  </a:lnTo>
                  <a:lnTo>
                    <a:pt x="129" y="177"/>
                  </a:lnTo>
                  <a:close/>
                  <a:moveTo>
                    <a:pt x="115" y="182"/>
                  </a:moveTo>
                  <a:lnTo>
                    <a:pt x="117" y="182"/>
                  </a:lnTo>
                  <a:lnTo>
                    <a:pt x="115" y="182"/>
                  </a:lnTo>
                  <a:close/>
                  <a:moveTo>
                    <a:pt x="60" y="282"/>
                  </a:moveTo>
                  <a:lnTo>
                    <a:pt x="60" y="284"/>
                  </a:lnTo>
                  <a:lnTo>
                    <a:pt x="60" y="282"/>
                  </a:lnTo>
                  <a:close/>
                  <a:moveTo>
                    <a:pt x="6" y="369"/>
                  </a:moveTo>
                  <a:lnTo>
                    <a:pt x="6" y="371"/>
                  </a:lnTo>
                  <a:lnTo>
                    <a:pt x="6" y="369"/>
                  </a:lnTo>
                  <a:close/>
                  <a:moveTo>
                    <a:pt x="10" y="409"/>
                  </a:moveTo>
                  <a:lnTo>
                    <a:pt x="12" y="409"/>
                  </a:lnTo>
                  <a:lnTo>
                    <a:pt x="10" y="409"/>
                  </a:lnTo>
                  <a:close/>
                  <a:moveTo>
                    <a:pt x="115" y="196"/>
                  </a:moveTo>
                  <a:lnTo>
                    <a:pt x="117" y="196"/>
                  </a:lnTo>
                  <a:lnTo>
                    <a:pt x="115" y="196"/>
                  </a:lnTo>
                  <a:close/>
                  <a:moveTo>
                    <a:pt x="117" y="188"/>
                  </a:moveTo>
                  <a:lnTo>
                    <a:pt x="117" y="190"/>
                  </a:lnTo>
                  <a:lnTo>
                    <a:pt x="117" y="188"/>
                  </a:lnTo>
                  <a:close/>
                  <a:moveTo>
                    <a:pt x="110" y="229"/>
                  </a:moveTo>
                  <a:lnTo>
                    <a:pt x="110" y="231"/>
                  </a:lnTo>
                  <a:lnTo>
                    <a:pt x="110" y="229"/>
                  </a:lnTo>
                  <a:close/>
                  <a:moveTo>
                    <a:pt x="156" y="123"/>
                  </a:moveTo>
                  <a:lnTo>
                    <a:pt x="158" y="123"/>
                  </a:lnTo>
                  <a:lnTo>
                    <a:pt x="156" y="123"/>
                  </a:lnTo>
                  <a:close/>
                  <a:moveTo>
                    <a:pt x="104" y="219"/>
                  </a:moveTo>
                  <a:lnTo>
                    <a:pt x="106" y="219"/>
                  </a:lnTo>
                  <a:lnTo>
                    <a:pt x="104" y="219"/>
                  </a:lnTo>
                  <a:close/>
                  <a:moveTo>
                    <a:pt x="2" y="378"/>
                  </a:moveTo>
                  <a:lnTo>
                    <a:pt x="2" y="380"/>
                  </a:lnTo>
                  <a:lnTo>
                    <a:pt x="2" y="378"/>
                  </a:lnTo>
                  <a:close/>
                  <a:moveTo>
                    <a:pt x="206" y="52"/>
                  </a:moveTo>
                  <a:lnTo>
                    <a:pt x="206" y="54"/>
                  </a:lnTo>
                  <a:lnTo>
                    <a:pt x="206" y="52"/>
                  </a:lnTo>
                  <a:close/>
                  <a:moveTo>
                    <a:pt x="6" y="390"/>
                  </a:moveTo>
                  <a:lnTo>
                    <a:pt x="6" y="392"/>
                  </a:lnTo>
                  <a:lnTo>
                    <a:pt x="6" y="390"/>
                  </a:lnTo>
                  <a:close/>
                  <a:moveTo>
                    <a:pt x="94" y="246"/>
                  </a:moveTo>
                  <a:lnTo>
                    <a:pt x="94" y="248"/>
                  </a:lnTo>
                  <a:lnTo>
                    <a:pt x="94" y="246"/>
                  </a:lnTo>
                  <a:close/>
                  <a:moveTo>
                    <a:pt x="54" y="457"/>
                  </a:moveTo>
                  <a:lnTo>
                    <a:pt x="56" y="457"/>
                  </a:lnTo>
                  <a:lnTo>
                    <a:pt x="54" y="457"/>
                  </a:lnTo>
                  <a:close/>
                  <a:moveTo>
                    <a:pt x="56" y="286"/>
                  </a:moveTo>
                  <a:lnTo>
                    <a:pt x="56" y="288"/>
                  </a:lnTo>
                  <a:lnTo>
                    <a:pt x="56" y="286"/>
                  </a:lnTo>
                  <a:close/>
                  <a:moveTo>
                    <a:pt x="46" y="459"/>
                  </a:moveTo>
                  <a:lnTo>
                    <a:pt x="48" y="459"/>
                  </a:lnTo>
                  <a:lnTo>
                    <a:pt x="46" y="459"/>
                  </a:lnTo>
                  <a:close/>
                  <a:moveTo>
                    <a:pt x="125" y="181"/>
                  </a:moveTo>
                  <a:lnTo>
                    <a:pt x="125" y="182"/>
                  </a:lnTo>
                  <a:lnTo>
                    <a:pt x="125" y="181"/>
                  </a:lnTo>
                  <a:close/>
                  <a:moveTo>
                    <a:pt x="127" y="194"/>
                  </a:moveTo>
                  <a:lnTo>
                    <a:pt x="129" y="194"/>
                  </a:lnTo>
                  <a:lnTo>
                    <a:pt x="127" y="194"/>
                  </a:lnTo>
                  <a:close/>
                  <a:moveTo>
                    <a:pt x="119" y="192"/>
                  </a:moveTo>
                  <a:lnTo>
                    <a:pt x="121" y="192"/>
                  </a:lnTo>
                  <a:lnTo>
                    <a:pt x="119" y="192"/>
                  </a:lnTo>
                  <a:close/>
                  <a:moveTo>
                    <a:pt x="50" y="302"/>
                  </a:moveTo>
                  <a:lnTo>
                    <a:pt x="52" y="302"/>
                  </a:lnTo>
                  <a:lnTo>
                    <a:pt x="50" y="302"/>
                  </a:lnTo>
                  <a:close/>
                  <a:moveTo>
                    <a:pt x="146" y="146"/>
                  </a:moveTo>
                  <a:lnTo>
                    <a:pt x="148" y="146"/>
                  </a:lnTo>
                  <a:lnTo>
                    <a:pt x="146" y="146"/>
                  </a:lnTo>
                  <a:close/>
                  <a:moveTo>
                    <a:pt x="125" y="181"/>
                  </a:moveTo>
                  <a:lnTo>
                    <a:pt x="127" y="181"/>
                  </a:lnTo>
                  <a:lnTo>
                    <a:pt x="125" y="181"/>
                  </a:lnTo>
                  <a:close/>
                  <a:moveTo>
                    <a:pt x="2" y="365"/>
                  </a:moveTo>
                  <a:lnTo>
                    <a:pt x="2" y="367"/>
                  </a:lnTo>
                  <a:lnTo>
                    <a:pt x="2" y="365"/>
                  </a:lnTo>
                  <a:close/>
                  <a:moveTo>
                    <a:pt x="204" y="52"/>
                  </a:moveTo>
                  <a:lnTo>
                    <a:pt x="206" y="52"/>
                  </a:lnTo>
                  <a:lnTo>
                    <a:pt x="206" y="54"/>
                  </a:lnTo>
                  <a:lnTo>
                    <a:pt x="204" y="54"/>
                  </a:lnTo>
                  <a:lnTo>
                    <a:pt x="204" y="52"/>
                  </a:lnTo>
                  <a:close/>
                  <a:moveTo>
                    <a:pt x="6" y="390"/>
                  </a:moveTo>
                  <a:lnTo>
                    <a:pt x="6" y="392"/>
                  </a:lnTo>
                  <a:lnTo>
                    <a:pt x="6" y="390"/>
                  </a:lnTo>
                  <a:close/>
                  <a:moveTo>
                    <a:pt x="110" y="232"/>
                  </a:moveTo>
                  <a:lnTo>
                    <a:pt x="110" y="234"/>
                  </a:lnTo>
                  <a:lnTo>
                    <a:pt x="110" y="232"/>
                  </a:lnTo>
                  <a:close/>
                  <a:moveTo>
                    <a:pt x="142" y="165"/>
                  </a:moveTo>
                  <a:lnTo>
                    <a:pt x="142" y="167"/>
                  </a:lnTo>
                  <a:lnTo>
                    <a:pt x="142" y="165"/>
                  </a:lnTo>
                  <a:close/>
                  <a:moveTo>
                    <a:pt x="119" y="202"/>
                  </a:moveTo>
                  <a:lnTo>
                    <a:pt x="121" y="202"/>
                  </a:lnTo>
                  <a:lnTo>
                    <a:pt x="119" y="202"/>
                  </a:lnTo>
                  <a:close/>
                  <a:moveTo>
                    <a:pt x="89" y="246"/>
                  </a:moveTo>
                  <a:lnTo>
                    <a:pt x="91" y="246"/>
                  </a:lnTo>
                  <a:lnTo>
                    <a:pt x="89" y="246"/>
                  </a:lnTo>
                  <a:close/>
                  <a:moveTo>
                    <a:pt x="240" y="58"/>
                  </a:moveTo>
                  <a:lnTo>
                    <a:pt x="240" y="60"/>
                  </a:lnTo>
                  <a:lnTo>
                    <a:pt x="240" y="58"/>
                  </a:lnTo>
                  <a:close/>
                  <a:moveTo>
                    <a:pt x="140" y="161"/>
                  </a:moveTo>
                  <a:lnTo>
                    <a:pt x="142" y="161"/>
                  </a:lnTo>
                  <a:lnTo>
                    <a:pt x="140" y="161"/>
                  </a:lnTo>
                  <a:close/>
                  <a:moveTo>
                    <a:pt x="39" y="459"/>
                  </a:moveTo>
                  <a:lnTo>
                    <a:pt x="41" y="459"/>
                  </a:lnTo>
                  <a:lnTo>
                    <a:pt x="39" y="459"/>
                  </a:lnTo>
                  <a:close/>
                  <a:moveTo>
                    <a:pt x="196" y="69"/>
                  </a:moveTo>
                  <a:lnTo>
                    <a:pt x="198" y="69"/>
                  </a:lnTo>
                  <a:lnTo>
                    <a:pt x="196" y="69"/>
                  </a:lnTo>
                  <a:close/>
                  <a:moveTo>
                    <a:pt x="135" y="165"/>
                  </a:moveTo>
                  <a:lnTo>
                    <a:pt x="137" y="165"/>
                  </a:lnTo>
                  <a:lnTo>
                    <a:pt x="135" y="165"/>
                  </a:lnTo>
                  <a:close/>
                  <a:moveTo>
                    <a:pt x="115" y="194"/>
                  </a:moveTo>
                  <a:lnTo>
                    <a:pt x="115" y="196"/>
                  </a:lnTo>
                  <a:lnTo>
                    <a:pt x="115" y="194"/>
                  </a:lnTo>
                  <a:close/>
                  <a:moveTo>
                    <a:pt x="110" y="229"/>
                  </a:moveTo>
                  <a:lnTo>
                    <a:pt x="112" y="229"/>
                  </a:lnTo>
                  <a:lnTo>
                    <a:pt x="110" y="229"/>
                  </a:lnTo>
                  <a:close/>
                  <a:moveTo>
                    <a:pt x="148" y="142"/>
                  </a:moveTo>
                  <a:lnTo>
                    <a:pt x="148" y="144"/>
                  </a:lnTo>
                  <a:lnTo>
                    <a:pt x="148" y="142"/>
                  </a:lnTo>
                  <a:close/>
                  <a:moveTo>
                    <a:pt x="69" y="436"/>
                  </a:moveTo>
                  <a:lnTo>
                    <a:pt x="69" y="438"/>
                  </a:lnTo>
                  <a:lnTo>
                    <a:pt x="69" y="436"/>
                  </a:lnTo>
                  <a:close/>
                  <a:moveTo>
                    <a:pt x="91" y="250"/>
                  </a:moveTo>
                  <a:lnTo>
                    <a:pt x="91" y="252"/>
                  </a:lnTo>
                  <a:lnTo>
                    <a:pt x="91" y="250"/>
                  </a:lnTo>
                  <a:close/>
                  <a:moveTo>
                    <a:pt x="112" y="229"/>
                  </a:moveTo>
                  <a:lnTo>
                    <a:pt x="114" y="229"/>
                  </a:lnTo>
                  <a:lnTo>
                    <a:pt x="112" y="229"/>
                  </a:lnTo>
                  <a:close/>
                  <a:moveTo>
                    <a:pt x="117" y="188"/>
                  </a:moveTo>
                  <a:lnTo>
                    <a:pt x="119" y="188"/>
                  </a:lnTo>
                  <a:lnTo>
                    <a:pt x="117" y="188"/>
                  </a:lnTo>
                  <a:close/>
                  <a:moveTo>
                    <a:pt x="33" y="317"/>
                  </a:moveTo>
                  <a:lnTo>
                    <a:pt x="35" y="317"/>
                  </a:lnTo>
                  <a:lnTo>
                    <a:pt x="33" y="317"/>
                  </a:lnTo>
                  <a:close/>
                  <a:moveTo>
                    <a:pt x="146" y="142"/>
                  </a:moveTo>
                  <a:lnTo>
                    <a:pt x="148" y="142"/>
                  </a:lnTo>
                  <a:lnTo>
                    <a:pt x="146" y="142"/>
                  </a:lnTo>
                  <a:close/>
                  <a:moveTo>
                    <a:pt x="6" y="355"/>
                  </a:moveTo>
                  <a:lnTo>
                    <a:pt x="6" y="357"/>
                  </a:lnTo>
                  <a:lnTo>
                    <a:pt x="6" y="355"/>
                  </a:lnTo>
                  <a:close/>
                  <a:moveTo>
                    <a:pt x="2" y="373"/>
                  </a:moveTo>
                  <a:lnTo>
                    <a:pt x="2" y="375"/>
                  </a:lnTo>
                  <a:lnTo>
                    <a:pt x="2" y="373"/>
                  </a:lnTo>
                  <a:close/>
                  <a:moveTo>
                    <a:pt x="50" y="296"/>
                  </a:moveTo>
                  <a:lnTo>
                    <a:pt x="50" y="298"/>
                  </a:lnTo>
                  <a:lnTo>
                    <a:pt x="50" y="296"/>
                  </a:lnTo>
                  <a:close/>
                  <a:moveTo>
                    <a:pt x="150" y="144"/>
                  </a:moveTo>
                  <a:lnTo>
                    <a:pt x="150" y="146"/>
                  </a:lnTo>
                  <a:lnTo>
                    <a:pt x="150" y="144"/>
                  </a:lnTo>
                  <a:close/>
                  <a:moveTo>
                    <a:pt x="89" y="246"/>
                  </a:moveTo>
                  <a:lnTo>
                    <a:pt x="91" y="246"/>
                  </a:lnTo>
                  <a:lnTo>
                    <a:pt x="89" y="246"/>
                  </a:lnTo>
                  <a:close/>
                  <a:moveTo>
                    <a:pt x="139" y="161"/>
                  </a:moveTo>
                  <a:lnTo>
                    <a:pt x="139" y="163"/>
                  </a:lnTo>
                  <a:lnTo>
                    <a:pt x="139" y="161"/>
                  </a:lnTo>
                  <a:close/>
                  <a:moveTo>
                    <a:pt x="94" y="428"/>
                  </a:moveTo>
                  <a:lnTo>
                    <a:pt x="94" y="430"/>
                  </a:lnTo>
                  <a:lnTo>
                    <a:pt x="94" y="428"/>
                  </a:lnTo>
                  <a:close/>
                  <a:moveTo>
                    <a:pt x="4" y="369"/>
                  </a:moveTo>
                  <a:lnTo>
                    <a:pt x="4" y="371"/>
                  </a:lnTo>
                  <a:lnTo>
                    <a:pt x="4" y="369"/>
                  </a:lnTo>
                  <a:close/>
                  <a:moveTo>
                    <a:pt x="10" y="413"/>
                  </a:moveTo>
                  <a:lnTo>
                    <a:pt x="12" y="413"/>
                  </a:lnTo>
                  <a:lnTo>
                    <a:pt x="10" y="413"/>
                  </a:lnTo>
                  <a:close/>
                  <a:moveTo>
                    <a:pt x="115" y="198"/>
                  </a:moveTo>
                  <a:lnTo>
                    <a:pt x="117" y="198"/>
                  </a:lnTo>
                  <a:lnTo>
                    <a:pt x="115" y="198"/>
                  </a:lnTo>
                  <a:close/>
                  <a:moveTo>
                    <a:pt x="8" y="398"/>
                  </a:moveTo>
                  <a:lnTo>
                    <a:pt x="8" y="400"/>
                  </a:lnTo>
                  <a:lnTo>
                    <a:pt x="8" y="398"/>
                  </a:lnTo>
                  <a:close/>
                  <a:moveTo>
                    <a:pt x="137" y="158"/>
                  </a:moveTo>
                  <a:lnTo>
                    <a:pt x="139" y="158"/>
                  </a:lnTo>
                  <a:lnTo>
                    <a:pt x="137" y="158"/>
                  </a:lnTo>
                  <a:close/>
                  <a:moveTo>
                    <a:pt x="110" y="231"/>
                  </a:moveTo>
                  <a:lnTo>
                    <a:pt x="110" y="232"/>
                  </a:lnTo>
                  <a:lnTo>
                    <a:pt x="110" y="231"/>
                  </a:lnTo>
                  <a:close/>
                  <a:moveTo>
                    <a:pt x="16" y="434"/>
                  </a:moveTo>
                  <a:lnTo>
                    <a:pt x="16" y="436"/>
                  </a:lnTo>
                  <a:lnTo>
                    <a:pt x="16" y="434"/>
                  </a:lnTo>
                  <a:close/>
                  <a:moveTo>
                    <a:pt x="115" y="196"/>
                  </a:moveTo>
                  <a:lnTo>
                    <a:pt x="115" y="198"/>
                  </a:lnTo>
                  <a:lnTo>
                    <a:pt x="115" y="196"/>
                  </a:lnTo>
                  <a:close/>
                  <a:moveTo>
                    <a:pt x="89" y="250"/>
                  </a:moveTo>
                  <a:lnTo>
                    <a:pt x="91" y="250"/>
                  </a:lnTo>
                  <a:lnTo>
                    <a:pt x="89" y="250"/>
                  </a:lnTo>
                  <a:close/>
                  <a:moveTo>
                    <a:pt x="104" y="225"/>
                  </a:moveTo>
                  <a:lnTo>
                    <a:pt x="106" y="225"/>
                  </a:lnTo>
                  <a:lnTo>
                    <a:pt x="104" y="225"/>
                  </a:lnTo>
                  <a:close/>
                  <a:moveTo>
                    <a:pt x="215" y="40"/>
                  </a:moveTo>
                  <a:lnTo>
                    <a:pt x="215" y="42"/>
                  </a:lnTo>
                  <a:lnTo>
                    <a:pt x="215" y="40"/>
                  </a:lnTo>
                  <a:close/>
                  <a:moveTo>
                    <a:pt x="185" y="108"/>
                  </a:moveTo>
                  <a:lnTo>
                    <a:pt x="185" y="109"/>
                  </a:lnTo>
                  <a:lnTo>
                    <a:pt x="185" y="108"/>
                  </a:lnTo>
                  <a:close/>
                  <a:moveTo>
                    <a:pt x="112" y="209"/>
                  </a:moveTo>
                  <a:lnTo>
                    <a:pt x="112" y="211"/>
                  </a:lnTo>
                  <a:lnTo>
                    <a:pt x="112" y="209"/>
                  </a:lnTo>
                  <a:close/>
                  <a:moveTo>
                    <a:pt x="60" y="282"/>
                  </a:moveTo>
                  <a:lnTo>
                    <a:pt x="60" y="284"/>
                  </a:lnTo>
                  <a:lnTo>
                    <a:pt x="60" y="282"/>
                  </a:lnTo>
                  <a:close/>
                  <a:moveTo>
                    <a:pt x="44" y="309"/>
                  </a:moveTo>
                  <a:lnTo>
                    <a:pt x="44" y="311"/>
                  </a:lnTo>
                  <a:lnTo>
                    <a:pt x="44" y="309"/>
                  </a:lnTo>
                  <a:close/>
                  <a:moveTo>
                    <a:pt x="87" y="409"/>
                  </a:moveTo>
                  <a:lnTo>
                    <a:pt x="89" y="409"/>
                  </a:lnTo>
                  <a:lnTo>
                    <a:pt x="87" y="409"/>
                  </a:lnTo>
                  <a:close/>
                  <a:moveTo>
                    <a:pt x="115" y="202"/>
                  </a:moveTo>
                  <a:lnTo>
                    <a:pt x="115" y="204"/>
                  </a:lnTo>
                  <a:lnTo>
                    <a:pt x="115" y="202"/>
                  </a:lnTo>
                  <a:close/>
                  <a:moveTo>
                    <a:pt x="135" y="167"/>
                  </a:moveTo>
                  <a:lnTo>
                    <a:pt x="137" y="167"/>
                  </a:lnTo>
                  <a:lnTo>
                    <a:pt x="135" y="167"/>
                  </a:lnTo>
                  <a:close/>
                  <a:moveTo>
                    <a:pt x="14" y="401"/>
                  </a:moveTo>
                  <a:lnTo>
                    <a:pt x="16" y="401"/>
                  </a:lnTo>
                  <a:lnTo>
                    <a:pt x="14" y="401"/>
                  </a:lnTo>
                  <a:close/>
                  <a:moveTo>
                    <a:pt x="94" y="430"/>
                  </a:moveTo>
                  <a:lnTo>
                    <a:pt x="94" y="432"/>
                  </a:lnTo>
                  <a:lnTo>
                    <a:pt x="94" y="430"/>
                  </a:lnTo>
                  <a:close/>
                  <a:moveTo>
                    <a:pt x="104" y="236"/>
                  </a:moveTo>
                  <a:lnTo>
                    <a:pt x="106" y="236"/>
                  </a:lnTo>
                  <a:lnTo>
                    <a:pt x="104" y="236"/>
                  </a:lnTo>
                  <a:close/>
                  <a:moveTo>
                    <a:pt x="4" y="375"/>
                  </a:moveTo>
                  <a:lnTo>
                    <a:pt x="6" y="375"/>
                  </a:lnTo>
                  <a:lnTo>
                    <a:pt x="4" y="375"/>
                  </a:lnTo>
                  <a:close/>
                  <a:moveTo>
                    <a:pt x="94" y="250"/>
                  </a:moveTo>
                  <a:lnTo>
                    <a:pt x="96" y="250"/>
                  </a:lnTo>
                  <a:lnTo>
                    <a:pt x="94" y="250"/>
                  </a:lnTo>
                  <a:close/>
                  <a:moveTo>
                    <a:pt x="119" y="186"/>
                  </a:moveTo>
                  <a:lnTo>
                    <a:pt x="119" y="188"/>
                  </a:lnTo>
                  <a:lnTo>
                    <a:pt x="119" y="186"/>
                  </a:lnTo>
                  <a:close/>
                  <a:moveTo>
                    <a:pt x="4" y="375"/>
                  </a:moveTo>
                  <a:lnTo>
                    <a:pt x="6" y="375"/>
                  </a:lnTo>
                  <a:lnTo>
                    <a:pt x="4" y="375"/>
                  </a:lnTo>
                  <a:close/>
                  <a:moveTo>
                    <a:pt x="91" y="246"/>
                  </a:moveTo>
                  <a:lnTo>
                    <a:pt x="92" y="246"/>
                  </a:lnTo>
                  <a:lnTo>
                    <a:pt x="91" y="246"/>
                  </a:lnTo>
                  <a:close/>
                  <a:moveTo>
                    <a:pt x="14" y="425"/>
                  </a:moveTo>
                  <a:lnTo>
                    <a:pt x="14" y="426"/>
                  </a:lnTo>
                  <a:lnTo>
                    <a:pt x="14" y="425"/>
                  </a:lnTo>
                  <a:close/>
                  <a:moveTo>
                    <a:pt x="148" y="127"/>
                  </a:moveTo>
                  <a:lnTo>
                    <a:pt x="150" y="127"/>
                  </a:lnTo>
                  <a:lnTo>
                    <a:pt x="148" y="127"/>
                  </a:lnTo>
                  <a:close/>
                  <a:moveTo>
                    <a:pt x="108" y="213"/>
                  </a:moveTo>
                  <a:lnTo>
                    <a:pt x="108" y="215"/>
                  </a:lnTo>
                  <a:lnTo>
                    <a:pt x="108" y="213"/>
                  </a:lnTo>
                  <a:close/>
                  <a:moveTo>
                    <a:pt x="8" y="378"/>
                  </a:moveTo>
                  <a:lnTo>
                    <a:pt x="10" y="378"/>
                  </a:lnTo>
                  <a:lnTo>
                    <a:pt x="8" y="378"/>
                  </a:lnTo>
                  <a:close/>
                  <a:moveTo>
                    <a:pt x="60" y="286"/>
                  </a:moveTo>
                  <a:lnTo>
                    <a:pt x="62" y="286"/>
                  </a:lnTo>
                  <a:lnTo>
                    <a:pt x="60" y="286"/>
                  </a:lnTo>
                  <a:close/>
                  <a:moveTo>
                    <a:pt x="146" y="148"/>
                  </a:moveTo>
                  <a:lnTo>
                    <a:pt x="148" y="148"/>
                  </a:lnTo>
                  <a:lnTo>
                    <a:pt x="146" y="148"/>
                  </a:lnTo>
                  <a:close/>
                  <a:moveTo>
                    <a:pt x="100" y="244"/>
                  </a:moveTo>
                  <a:lnTo>
                    <a:pt x="102" y="244"/>
                  </a:lnTo>
                  <a:lnTo>
                    <a:pt x="100" y="244"/>
                  </a:lnTo>
                  <a:close/>
                  <a:moveTo>
                    <a:pt x="8" y="386"/>
                  </a:moveTo>
                  <a:lnTo>
                    <a:pt x="10" y="386"/>
                  </a:lnTo>
                  <a:lnTo>
                    <a:pt x="8" y="386"/>
                  </a:lnTo>
                  <a:close/>
                  <a:moveTo>
                    <a:pt x="6" y="390"/>
                  </a:moveTo>
                  <a:lnTo>
                    <a:pt x="6" y="392"/>
                  </a:lnTo>
                  <a:lnTo>
                    <a:pt x="6" y="390"/>
                  </a:lnTo>
                  <a:close/>
                  <a:moveTo>
                    <a:pt x="92" y="246"/>
                  </a:moveTo>
                  <a:lnTo>
                    <a:pt x="94" y="246"/>
                  </a:lnTo>
                  <a:lnTo>
                    <a:pt x="92" y="246"/>
                  </a:lnTo>
                  <a:close/>
                  <a:moveTo>
                    <a:pt x="188" y="88"/>
                  </a:moveTo>
                  <a:lnTo>
                    <a:pt x="190" y="88"/>
                  </a:lnTo>
                  <a:lnTo>
                    <a:pt x="188" y="88"/>
                  </a:lnTo>
                  <a:close/>
                  <a:moveTo>
                    <a:pt x="8" y="409"/>
                  </a:moveTo>
                  <a:lnTo>
                    <a:pt x="8" y="411"/>
                  </a:lnTo>
                  <a:lnTo>
                    <a:pt x="8" y="409"/>
                  </a:lnTo>
                  <a:close/>
                  <a:moveTo>
                    <a:pt x="60" y="451"/>
                  </a:moveTo>
                  <a:lnTo>
                    <a:pt x="62" y="451"/>
                  </a:lnTo>
                  <a:lnTo>
                    <a:pt x="60" y="451"/>
                  </a:lnTo>
                  <a:close/>
                  <a:moveTo>
                    <a:pt x="112" y="215"/>
                  </a:moveTo>
                  <a:lnTo>
                    <a:pt x="114" y="215"/>
                  </a:lnTo>
                  <a:lnTo>
                    <a:pt x="112" y="215"/>
                  </a:lnTo>
                  <a:close/>
                  <a:moveTo>
                    <a:pt x="100" y="238"/>
                  </a:moveTo>
                  <a:lnTo>
                    <a:pt x="102" y="238"/>
                  </a:lnTo>
                  <a:lnTo>
                    <a:pt x="100" y="238"/>
                  </a:lnTo>
                  <a:close/>
                  <a:moveTo>
                    <a:pt x="152" y="136"/>
                  </a:moveTo>
                  <a:lnTo>
                    <a:pt x="152" y="138"/>
                  </a:lnTo>
                  <a:lnTo>
                    <a:pt x="152" y="136"/>
                  </a:lnTo>
                  <a:close/>
                  <a:moveTo>
                    <a:pt x="139" y="167"/>
                  </a:moveTo>
                  <a:lnTo>
                    <a:pt x="139" y="169"/>
                  </a:lnTo>
                  <a:lnTo>
                    <a:pt x="139" y="167"/>
                  </a:lnTo>
                  <a:close/>
                  <a:moveTo>
                    <a:pt x="112" y="211"/>
                  </a:moveTo>
                  <a:lnTo>
                    <a:pt x="112" y="213"/>
                  </a:lnTo>
                  <a:lnTo>
                    <a:pt x="112" y="211"/>
                  </a:lnTo>
                  <a:close/>
                  <a:moveTo>
                    <a:pt x="208" y="46"/>
                  </a:moveTo>
                  <a:lnTo>
                    <a:pt x="210" y="46"/>
                  </a:lnTo>
                  <a:lnTo>
                    <a:pt x="208" y="46"/>
                  </a:lnTo>
                  <a:close/>
                  <a:moveTo>
                    <a:pt x="60" y="282"/>
                  </a:moveTo>
                  <a:lnTo>
                    <a:pt x="60" y="284"/>
                  </a:lnTo>
                  <a:lnTo>
                    <a:pt x="60" y="282"/>
                  </a:lnTo>
                  <a:close/>
                  <a:moveTo>
                    <a:pt x="156" y="121"/>
                  </a:moveTo>
                  <a:lnTo>
                    <a:pt x="156" y="123"/>
                  </a:lnTo>
                  <a:lnTo>
                    <a:pt x="156" y="121"/>
                  </a:lnTo>
                  <a:close/>
                  <a:moveTo>
                    <a:pt x="108" y="206"/>
                  </a:moveTo>
                  <a:lnTo>
                    <a:pt x="110" y="206"/>
                  </a:lnTo>
                  <a:lnTo>
                    <a:pt x="108" y="206"/>
                  </a:lnTo>
                  <a:close/>
                  <a:moveTo>
                    <a:pt x="177" y="117"/>
                  </a:moveTo>
                  <a:lnTo>
                    <a:pt x="177" y="119"/>
                  </a:lnTo>
                  <a:lnTo>
                    <a:pt x="177" y="117"/>
                  </a:lnTo>
                  <a:close/>
                  <a:moveTo>
                    <a:pt x="33" y="315"/>
                  </a:moveTo>
                  <a:lnTo>
                    <a:pt x="35" y="315"/>
                  </a:lnTo>
                  <a:lnTo>
                    <a:pt x="33" y="315"/>
                  </a:lnTo>
                  <a:close/>
                  <a:moveTo>
                    <a:pt x="8" y="409"/>
                  </a:moveTo>
                  <a:lnTo>
                    <a:pt x="8" y="411"/>
                  </a:lnTo>
                  <a:lnTo>
                    <a:pt x="8" y="409"/>
                  </a:lnTo>
                  <a:close/>
                  <a:moveTo>
                    <a:pt x="119" y="186"/>
                  </a:moveTo>
                  <a:lnTo>
                    <a:pt x="119" y="188"/>
                  </a:lnTo>
                  <a:lnTo>
                    <a:pt x="119" y="186"/>
                  </a:lnTo>
                  <a:close/>
                  <a:moveTo>
                    <a:pt x="10" y="386"/>
                  </a:moveTo>
                  <a:lnTo>
                    <a:pt x="10" y="388"/>
                  </a:lnTo>
                  <a:lnTo>
                    <a:pt x="10" y="386"/>
                  </a:lnTo>
                  <a:close/>
                  <a:moveTo>
                    <a:pt x="117" y="182"/>
                  </a:moveTo>
                  <a:lnTo>
                    <a:pt x="117" y="184"/>
                  </a:lnTo>
                  <a:lnTo>
                    <a:pt x="117" y="182"/>
                  </a:lnTo>
                  <a:close/>
                  <a:moveTo>
                    <a:pt x="4" y="365"/>
                  </a:moveTo>
                  <a:lnTo>
                    <a:pt x="4" y="367"/>
                  </a:lnTo>
                  <a:lnTo>
                    <a:pt x="4" y="365"/>
                  </a:lnTo>
                  <a:close/>
                  <a:moveTo>
                    <a:pt x="204" y="54"/>
                  </a:moveTo>
                  <a:lnTo>
                    <a:pt x="206" y="54"/>
                  </a:lnTo>
                  <a:lnTo>
                    <a:pt x="204" y="54"/>
                  </a:lnTo>
                  <a:close/>
                  <a:moveTo>
                    <a:pt x="8" y="392"/>
                  </a:moveTo>
                  <a:lnTo>
                    <a:pt x="10" y="392"/>
                  </a:lnTo>
                  <a:lnTo>
                    <a:pt x="8" y="392"/>
                  </a:lnTo>
                  <a:close/>
                  <a:moveTo>
                    <a:pt x="204" y="85"/>
                  </a:moveTo>
                  <a:lnTo>
                    <a:pt x="206" y="85"/>
                  </a:lnTo>
                  <a:lnTo>
                    <a:pt x="204" y="85"/>
                  </a:lnTo>
                  <a:close/>
                  <a:moveTo>
                    <a:pt x="110" y="215"/>
                  </a:moveTo>
                  <a:lnTo>
                    <a:pt x="110" y="217"/>
                  </a:lnTo>
                  <a:lnTo>
                    <a:pt x="110" y="215"/>
                  </a:lnTo>
                  <a:close/>
                  <a:moveTo>
                    <a:pt x="137" y="158"/>
                  </a:moveTo>
                  <a:lnTo>
                    <a:pt x="139" y="158"/>
                  </a:lnTo>
                  <a:lnTo>
                    <a:pt x="137" y="158"/>
                  </a:lnTo>
                  <a:close/>
                  <a:moveTo>
                    <a:pt x="110" y="231"/>
                  </a:moveTo>
                  <a:lnTo>
                    <a:pt x="110" y="232"/>
                  </a:lnTo>
                  <a:lnTo>
                    <a:pt x="110" y="231"/>
                  </a:lnTo>
                  <a:close/>
                  <a:moveTo>
                    <a:pt x="139" y="167"/>
                  </a:moveTo>
                  <a:lnTo>
                    <a:pt x="139" y="169"/>
                  </a:lnTo>
                  <a:lnTo>
                    <a:pt x="139" y="167"/>
                  </a:lnTo>
                  <a:close/>
                  <a:moveTo>
                    <a:pt x="77" y="280"/>
                  </a:moveTo>
                  <a:lnTo>
                    <a:pt x="79" y="280"/>
                  </a:lnTo>
                  <a:lnTo>
                    <a:pt x="77" y="280"/>
                  </a:lnTo>
                  <a:close/>
                  <a:moveTo>
                    <a:pt x="117" y="198"/>
                  </a:moveTo>
                  <a:lnTo>
                    <a:pt x="117" y="200"/>
                  </a:lnTo>
                  <a:lnTo>
                    <a:pt x="117" y="198"/>
                  </a:lnTo>
                  <a:close/>
                  <a:moveTo>
                    <a:pt x="10" y="421"/>
                  </a:moveTo>
                  <a:lnTo>
                    <a:pt x="10" y="423"/>
                  </a:lnTo>
                  <a:lnTo>
                    <a:pt x="10" y="421"/>
                  </a:lnTo>
                  <a:close/>
                  <a:moveTo>
                    <a:pt x="62" y="282"/>
                  </a:moveTo>
                  <a:lnTo>
                    <a:pt x="62" y="284"/>
                  </a:lnTo>
                  <a:lnTo>
                    <a:pt x="62" y="282"/>
                  </a:lnTo>
                  <a:close/>
                  <a:moveTo>
                    <a:pt x="152" y="136"/>
                  </a:moveTo>
                  <a:lnTo>
                    <a:pt x="152" y="138"/>
                  </a:lnTo>
                  <a:lnTo>
                    <a:pt x="152" y="136"/>
                  </a:lnTo>
                  <a:close/>
                  <a:moveTo>
                    <a:pt x="52" y="307"/>
                  </a:moveTo>
                  <a:lnTo>
                    <a:pt x="52" y="309"/>
                  </a:lnTo>
                  <a:lnTo>
                    <a:pt x="52" y="307"/>
                  </a:lnTo>
                  <a:close/>
                  <a:moveTo>
                    <a:pt x="6" y="400"/>
                  </a:moveTo>
                  <a:lnTo>
                    <a:pt x="8" y="400"/>
                  </a:lnTo>
                  <a:lnTo>
                    <a:pt x="6" y="400"/>
                  </a:lnTo>
                  <a:close/>
                  <a:moveTo>
                    <a:pt x="14" y="401"/>
                  </a:moveTo>
                  <a:lnTo>
                    <a:pt x="16" y="401"/>
                  </a:lnTo>
                  <a:lnTo>
                    <a:pt x="14" y="401"/>
                  </a:lnTo>
                  <a:close/>
                  <a:moveTo>
                    <a:pt x="92" y="244"/>
                  </a:moveTo>
                  <a:lnTo>
                    <a:pt x="92" y="246"/>
                  </a:lnTo>
                  <a:lnTo>
                    <a:pt x="92" y="244"/>
                  </a:lnTo>
                  <a:close/>
                  <a:moveTo>
                    <a:pt x="96" y="252"/>
                  </a:moveTo>
                  <a:lnTo>
                    <a:pt x="98" y="252"/>
                  </a:lnTo>
                  <a:lnTo>
                    <a:pt x="96" y="252"/>
                  </a:lnTo>
                  <a:close/>
                  <a:moveTo>
                    <a:pt x="110" y="213"/>
                  </a:moveTo>
                  <a:lnTo>
                    <a:pt x="110" y="215"/>
                  </a:lnTo>
                  <a:lnTo>
                    <a:pt x="110" y="213"/>
                  </a:lnTo>
                  <a:close/>
                  <a:moveTo>
                    <a:pt x="158" y="98"/>
                  </a:moveTo>
                  <a:lnTo>
                    <a:pt x="158" y="100"/>
                  </a:lnTo>
                  <a:lnTo>
                    <a:pt x="158" y="98"/>
                  </a:lnTo>
                  <a:close/>
                  <a:moveTo>
                    <a:pt x="91" y="246"/>
                  </a:moveTo>
                  <a:lnTo>
                    <a:pt x="92" y="246"/>
                  </a:lnTo>
                  <a:lnTo>
                    <a:pt x="91" y="246"/>
                  </a:lnTo>
                  <a:close/>
                  <a:moveTo>
                    <a:pt x="46" y="296"/>
                  </a:moveTo>
                  <a:lnTo>
                    <a:pt x="48" y="296"/>
                  </a:lnTo>
                  <a:lnTo>
                    <a:pt x="46" y="296"/>
                  </a:lnTo>
                  <a:close/>
                  <a:moveTo>
                    <a:pt x="71" y="284"/>
                  </a:moveTo>
                  <a:lnTo>
                    <a:pt x="73" y="284"/>
                  </a:lnTo>
                  <a:lnTo>
                    <a:pt x="73" y="286"/>
                  </a:lnTo>
                  <a:lnTo>
                    <a:pt x="71" y="286"/>
                  </a:lnTo>
                  <a:lnTo>
                    <a:pt x="71" y="284"/>
                  </a:lnTo>
                  <a:close/>
                  <a:moveTo>
                    <a:pt x="2" y="361"/>
                  </a:moveTo>
                  <a:lnTo>
                    <a:pt x="2" y="363"/>
                  </a:lnTo>
                  <a:lnTo>
                    <a:pt x="2" y="361"/>
                  </a:lnTo>
                  <a:close/>
                  <a:moveTo>
                    <a:pt x="125" y="184"/>
                  </a:moveTo>
                  <a:lnTo>
                    <a:pt x="125" y="186"/>
                  </a:lnTo>
                  <a:lnTo>
                    <a:pt x="125" y="184"/>
                  </a:lnTo>
                  <a:close/>
                  <a:moveTo>
                    <a:pt x="6" y="396"/>
                  </a:moveTo>
                  <a:lnTo>
                    <a:pt x="6" y="398"/>
                  </a:lnTo>
                  <a:lnTo>
                    <a:pt x="6" y="396"/>
                  </a:lnTo>
                  <a:close/>
                  <a:moveTo>
                    <a:pt x="117" y="198"/>
                  </a:moveTo>
                  <a:lnTo>
                    <a:pt x="119" y="198"/>
                  </a:lnTo>
                  <a:lnTo>
                    <a:pt x="117" y="198"/>
                  </a:lnTo>
                  <a:close/>
                  <a:moveTo>
                    <a:pt x="115" y="181"/>
                  </a:moveTo>
                  <a:lnTo>
                    <a:pt x="115" y="182"/>
                  </a:lnTo>
                  <a:lnTo>
                    <a:pt x="115" y="181"/>
                  </a:lnTo>
                  <a:close/>
                  <a:moveTo>
                    <a:pt x="110" y="215"/>
                  </a:moveTo>
                  <a:lnTo>
                    <a:pt x="110" y="217"/>
                  </a:lnTo>
                  <a:lnTo>
                    <a:pt x="110" y="215"/>
                  </a:lnTo>
                  <a:close/>
                  <a:moveTo>
                    <a:pt x="68" y="277"/>
                  </a:moveTo>
                  <a:lnTo>
                    <a:pt x="68" y="279"/>
                  </a:lnTo>
                  <a:lnTo>
                    <a:pt x="68" y="277"/>
                  </a:lnTo>
                  <a:close/>
                  <a:moveTo>
                    <a:pt x="110" y="232"/>
                  </a:moveTo>
                  <a:lnTo>
                    <a:pt x="110" y="234"/>
                  </a:lnTo>
                  <a:lnTo>
                    <a:pt x="110" y="232"/>
                  </a:lnTo>
                  <a:close/>
                  <a:moveTo>
                    <a:pt x="48" y="305"/>
                  </a:moveTo>
                  <a:lnTo>
                    <a:pt x="48" y="307"/>
                  </a:lnTo>
                  <a:lnTo>
                    <a:pt x="48" y="305"/>
                  </a:lnTo>
                  <a:close/>
                  <a:moveTo>
                    <a:pt x="6" y="388"/>
                  </a:moveTo>
                  <a:lnTo>
                    <a:pt x="6" y="390"/>
                  </a:lnTo>
                  <a:lnTo>
                    <a:pt x="6" y="388"/>
                  </a:lnTo>
                  <a:close/>
                  <a:moveTo>
                    <a:pt x="69" y="294"/>
                  </a:moveTo>
                  <a:lnTo>
                    <a:pt x="69" y="296"/>
                  </a:lnTo>
                  <a:lnTo>
                    <a:pt x="69" y="294"/>
                  </a:lnTo>
                  <a:close/>
                  <a:moveTo>
                    <a:pt x="114" y="204"/>
                  </a:moveTo>
                  <a:lnTo>
                    <a:pt x="115" y="204"/>
                  </a:lnTo>
                  <a:lnTo>
                    <a:pt x="114" y="204"/>
                  </a:lnTo>
                  <a:close/>
                  <a:moveTo>
                    <a:pt x="117" y="188"/>
                  </a:moveTo>
                  <a:lnTo>
                    <a:pt x="119" y="188"/>
                  </a:lnTo>
                  <a:lnTo>
                    <a:pt x="117" y="188"/>
                  </a:lnTo>
                  <a:close/>
                  <a:moveTo>
                    <a:pt x="94" y="248"/>
                  </a:moveTo>
                  <a:lnTo>
                    <a:pt x="94" y="250"/>
                  </a:lnTo>
                  <a:lnTo>
                    <a:pt x="94" y="248"/>
                  </a:lnTo>
                  <a:close/>
                  <a:moveTo>
                    <a:pt x="20" y="428"/>
                  </a:moveTo>
                  <a:lnTo>
                    <a:pt x="20" y="430"/>
                  </a:lnTo>
                  <a:lnTo>
                    <a:pt x="20" y="428"/>
                  </a:lnTo>
                  <a:close/>
                  <a:moveTo>
                    <a:pt x="112" y="209"/>
                  </a:moveTo>
                  <a:lnTo>
                    <a:pt x="112" y="211"/>
                  </a:lnTo>
                  <a:lnTo>
                    <a:pt x="112" y="209"/>
                  </a:lnTo>
                  <a:close/>
                  <a:moveTo>
                    <a:pt x="52" y="457"/>
                  </a:moveTo>
                  <a:lnTo>
                    <a:pt x="52" y="459"/>
                  </a:lnTo>
                  <a:lnTo>
                    <a:pt x="52" y="457"/>
                  </a:lnTo>
                  <a:close/>
                  <a:moveTo>
                    <a:pt x="104" y="259"/>
                  </a:moveTo>
                  <a:lnTo>
                    <a:pt x="104" y="261"/>
                  </a:lnTo>
                  <a:lnTo>
                    <a:pt x="104" y="259"/>
                  </a:lnTo>
                  <a:close/>
                  <a:moveTo>
                    <a:pt x="54" y="304"/>
                  </a:moveTo>
                  <a:lnTo>
                    <a:pt x="56" y="304"/>
                  </a:lnTo>
                  <a:lnTo>
                    <a:pt x="54" y="304"/>
                  </a:lnTo>
                  <a:close/>
                  <a:moveTo>
                    <a:pt x="173" y="131"/>
                  </a:moveTo>
                  <a:lnTo>
                    <a:pt x="173" y="133"/>
                  </a:lnTo>
                  <a:lnTo>
                    <a:pt x="173" y="131"/>
                  </a:lnTo>
                  <a:close/>
                  <a:moveTo>
                    <a:pt x="2" y="378"/>
                  </a:moveTo>
                  <a:lnTo>
                    <a:pt x="2" y="380"/>
                  </a:lnTo>
                  <a:lnTo>
                    <a:pt x="2" y="378"/>
                  </a:lnTo>
                  <a:close/>
                  <a:moveTo>
                    <a:pt x="54" y="300"/>
                  </a:moveTo>
                  <a:lnTo>
                    <a:pt x="54" y="302"/>
                  </a:lnTo>
                  <a:lnTo>
                    <a:pt x="54" y="300"/>
                  </a:lnTo>
                  <a:close/>
                  <a:moveTo>
                    <a:pt x="58" y="286"/>
                  </a:moveTo>
                  <a:lnTo>
                    <a:pt x="60" y="286"/>
                  </a:lnTo>
                  <a:lnTo>
                    <a:pt x="58" y="286"/>
                  </a:lnTo>
                  <a:close/>
                  <a:moveTo>
                    <a:pt x="6" y="394"/>
                  </a:moveTo>
                  <a:lnTo>
                    <a:pt x="6" y="396"/>
                  </a:lnTo>
                  <a:lnTo>
                    <a:pt x="6" y="394"/>
                  </a:lnTo>
                  <a:close/>
                  <a:moveTo>
                    <a:pt x="133" y="177"/>
                  </a:moveTo>
                  <a:lnTo>
                    <a:pt x="133" y="179"/>
                  </a:lnTo>
                  <a:lnTo>
                    <a:pt x="133" y="177"/>
                  </a:lnTo>
                  <a:close/>
                  <a:moveTo>
                    <a:pt x="148" y="152"/>
                  </a:moveTo>
                  <a:lnTo>
                    <a:pt x="148" y="154"/>
                  </a:lnTo>
                  <a:lnTo>
                    <a:pt x="148" y="152"/>
                  </a:lnTo>
                  <a:close/>
                  <a:moveTo>
                    <a:pt x="110" y="219"/>
                  </a:moveTo>
                  <a:lnTo>
                    <a:pt x="110" y="221"/>
                  </a:lnTo>
                  <a:lnTo>
                    <a:pt x="110" y="219"/>
                  </a:lnTo>
                  <a:close/>
                  <a:moveTo>
                    <a:pt x="110" y="215"/>
                  </a:moveTo>
                  <a:lnTo>
                    <a:pt x="110" y="217"/>
                  </a:lnTo>
                  <a:lnTo>
                    <a:pt x="110" y="215"/>
                  </a:lnTo>
                  <a:close/>
                  <a:moveTo>
                    <a:pt x="369" y="61"/>
                  </a:moveTo>
                  <a:lnTo>
                    <a:pt x="369" y="63"/>
                  </a:lnTo>
                  <a:lnTo>
                    <a:pt x="369" y="61"/>
                  </a:lnTo>
                  <a:close/>
                  <a:moveTo>
                    <a:pt x="110" y="207"/>
                  </a:moveTo>
                  <a:lnTo>
                    <a:pt x="110" y="209"/>
                  </a:lnTo>
                  <a:lnTo>
                    <a:pt x="110" y="207"/>
                  </a:lnTo>
                  <a:close/>
                  <a:moveTo>
                    <a:pt x="96" y="432"/>
                  </a:moveTo>
                  <a:lnTo>
                    <a:pt x="96" y="434"/>
                  </a:lnTo>
                  <a:lnTo>
                    <a:pt x="96" y="432"/>
                  </a:lnTo>
                  <a:close/>
                  <a:moveTo>
                    <a:pt x="94" y="428"/>
                  </a:moveTo>
                  <a:lnTo>
                    <a:pt x="94" y="430"/>
                  </a:lnTo>
                  <a:lnTo>
                    <a:pt x="94" y="428"/>
                  </a:lnTo>
                  <a:close/>
                  <a:moveTo>
                    <a:pt x="110" y="192"/>
                  </a:moveTo>
                  <a:lnTo>
                    <a:pt x="112" y="192"/>
                  </a:lnTo>
                  <a:lnTo>
                    <a:pt x="110" y="192"/>
                  </a:lnTo>
                  <a:close/>
                  <a:moveTo>
                    <a:pt x="123" y="188"/>
                  </a:moveTo>
                  <a:lnTo>
                    <a:pt x="123" y="190"/>
                  </a:lnTo>
                  <a:lnTo>
                    <a:pt x="123" y="188"/>
                  </a:lnTo>
                  <a:close/>
                  <a:moveTo>
                    <a:pt x="119" y="186"/>
                  </a:moveTo>
                  <a:lnTo>
                    <a:pt x="119" y="188"/>
                  </a:lnTo>
                  <a:lnTo>
                    <a:pt x="119" y="186"/>
                  </a:lnTo>
                  <a:close/>
                  <a:moveTo>
                    <a:pt x="210" y="54"/>
                  </a:moveTo>
                  <a:lnTo>
                    <a:pt x="210" y="56"/>
                  </a:lnTo>
                  <a:lnTo>
                    <a:pt x="210" y="54"/>
                  </a:lnTo>
                  <a:close/>
                  <a:moveTo>
                    <a:pt x="41" y="459"/>
                  </a:moveTo>
                  <a:lnTo>
                    <a:pt x="41" y="461"/>
                  </a:lnTo>
                  <a:lnTo>
                    <a:pt x="41" y="459"/>
                  </a:lnTo>
                  <a:close/>
                  <a:moveTo>
                    <a:pt x="52" y="302"/>
                  </a:moveTo>
                  <a:lnTo>
                    <a:pt x="54" y="302"/>
                  </a:lnTo>
                  <a:lnTo>
                    <a:pt x="52" y="302"/>
                  </a:lnTo>
                  <a:close/>
                  <a:moveTo>
                    <a:pt x="8" y="390"/>
                  </a:moveTo>
                  <a:lnTo>
                    <a:pt x="8" y="392"/>
                  </a:lnTo>
                  <a:lnTo>
                    <a:pt x="8" y="390"/>
                  </a:lnTo>
                  <a:close/>
                  <a:moveTo>
                    <a:pt x="50" y="459"/>
                  </a:moveTo>
                  <a:lnTo>
                    <a:pt x="52" y="459"/>
                  </a:lnTo>
                  <a:lnTo>
                    <a:pt x="50" y="459"/>
                  </a:lnTo>
                  <a:close/>
                  <a:moveTo>
                    <a:pt x="106" y="213"/>
                  </a:moveTo>
                  <a:lnTo>
                    <a:pt x="106" y="215"/>
                  </a:lnTo>
                  <a:lnTo>
                    <a:pt x="106" y="213"/>
                  </a:lnTo>
                  <a:close/>
                  <a:moveTo>
                    <a:pt x="108" y="236"/>
                  </a:moveTo>
                  <a:lnTo>
                    <a:pt x="108" y="238"/>
                  </a:lnTo>
                  <a:lnTo>
                    <a:pt x="108" y="236"/>
                  </a:lnTo>
                  <a:close/>
                  <a:moveTo>
                    <a:pt x="46" y="309"/>
                  </a:moveTo>
                  <a:lnTo>
                    <a:pt x="46" y="311"/>
                  </a:lnTo>
                  <a:lnTo>
                    <a:pt x="46" y="309"/>
                  </a:lnTo>
                  <a:close/>
                  <a:moveTo>
                    <a:pt x="64" y="298"/>
                  </a:moveTo>
                  <a:lnTo>
                    <a:pt x="66" y="298"/>
                  </a:lnTo>
                  <a:lnTo>
                    <a:pt x="64" y="298"/>
                  </a:lnTo>
                  <a:close/>
                  <a:moveTo>
                    <a:pt x="139" y="156"/>
                  </a:moveTo>
                  <a:lnTo>
                    <a:pt x="139" y="158"/>
                  </a:lnTo>
                  <a:lnTo>
                    <a:pt x="139" y="156"/>
                  </a:lnTo>
                  <a:close/>
                  <a:moveTo>
                    <a:pt x="92" y="426"/>
                  </a:moveTo>
                  <a:lnTo>
                    <a:pt x="92" y="428"/>
                  </a:lnTo>
                  <a:lnTo>
                    <a:pt x="92" y="426"/>
                  </a:lnTo>
                  <a:close/>
                  <a:moveTo>
                    <a:pt x="106" y="213"/>
                  </a:moveTo>
                  <a:lnTo>
                    <a:pt x="106" y="215"/>
                  </a:lnTo>
                  <a:lnTo>
                    <a:pt x="106" y="213"/>
                  </a:lnTo>
                  <a:close/>
                  <a:moveTo>
                    <a:pt x="286" y="4"/>
                  </a:moveTo>
                  <a:lnTo>
                    <a:pt x="288" y="4"/>
                  </a:lnTo>
                  <a:lnTo>
                    <a:pt x="286" y="4"/>
                  </a:lnTo>
                  <a:close/>
                  <a:moveTo>
                    <a:pt x="175" y="113"/>
                  </a:moveTo>
                  <a:lnTo>
                    <a:pt x="177" y="113"/>
                  </a:lnTo>
                  <a:lnTo>
                    <a:pt x="175" y="113"/>
                  </a:lnTo>
                  <a:close/>
                  <a:moveTo>
                    <a:pt x="125" y="184"/>
                  </a:moveTo>
                  <a:lnTo>
                    <a:pt x="125" y="186"/>
                  </a:lnTo>
                  <a:lnTo>
                    <a:pt x="125" y="184"/>
                  </a:lnTo>
                  <a:close/>
                  <a:moveTo>
                    <a:pt x="131" y="133"/>
                  </a:moveTo>
                  <a:lnTo>
                    <a:pt x="133" y="133"/>
                  </a:lnTo>
                  <a:lnTo>
                    <a:pt x="131" y="133"/>
                  </a:lnTo>
                  <a:close/>
                  <a:moveTo>
                    <a:pt x="112" y="200"/>
                  </a:moveTo>
                  <a:lnTo>
                    <a:pt x="112" y="202"/>
                  </a:lnTo>
                  <a:lnTo>
                    <a:pt x="112" y="200"/>
                  </a:lnTo>
                  <a:close/>
                  <a:moveTo>
                    <a:pt x="56" y="286"/>
                  </a:moveTo>
                  <a:lnTo>
                    <a:pt x="58" y="286"/>
                  </a:lnTo>
                  <a:lnTo>
                    <a:pt x="56" y="286"/>
                  </a:lnTo>
                  <a:close/>
                  <a:moveTo>
                    <a:pt x="0" y="373"/>
                  </a:moveTo>
                  <a:lnTo>
                    <a:pt x="0" y="375"/>
                  </a:lnTo>
                  <a:lnTo>
                    <a:pt x="0" y="373"/>
                  </a:lnTo>
                  <a:close/>
                  <a:moveTo>
                    <a:pt x="206" y="46"/>
                  </a:moveTo>
                  <a:lnTo>
                    <a:pt x="208" y="46"/>
                  </a:lnTo>
                  <a:lnTo>
                    <a:pt x="206" y="46"/>
                  </a:lnTo>
                  <a:close/>
                  <a:moveTo>
                    <a:pt x="50" y="459"/>
                  </a:moveTo>
                  <a:lnTo>
                    <a:pt x="52" y="459"/>
                  </a:lnTo>
                  <a:lnTo>
                    <a:pt x="50" y="459"/>
                  </a:lnTo>
                  <a:close/>
                  <a:moveTo>
                    <a:pt x="48" y="302"/>
                  </a:moveTo>
                  <a:lnTo>
                    <a:pt x="48" y="304"/>
                  </a:lnTo>
                  <a:lnTo>
                    <a:pt x="48" y="302"/>
                  </a:lnTo>
                  <a:close/>
                  <a:moveTo>
                    <a:pt x="52" y="296"/>
                  </a:moveTo>
                  <a:lnTo>
                    <a:pt x="52" y="298"/>
                  </a:lnTo>
                  <a:lnTo>
                    <a:pt x="52" y="296"/>
                  </a:lnTo>
                  <a:close/>
                  <a:moveTo>
                    <a:pt x="56" y="302"/>
                  </a:moveTo>
                  <a:lnTo>
                    <a:pt x="58" y="302"/>
                  </a:lnTo>
                  <a:lnTo>
                    <a:pt x="56" y="302"/>
                  </a:lnTo>
                  <a:close/>
                  <a:moveTo>
                    <a:pt x="100" y="236"/>
                  </a:moveTo>
                  <a:lnTo>
                    <a:pt x="100" y="238"/>
                  </a:lnTo>
                  <a:lnTo>
                    <a:pt x="100" y="236"/>
                  </a:lnTo>
                  <a:close/>
                  <a:moveTo>
                    <a:pt x="110" y="207"/>
                  </a:moveTo>
                  <a:lnTo>
                    <a:pt x="110" y="209"/>
                  </a:lnTo>
                  <a:lnTo>
                    <a:pt x="110" y="207"/>
                  </a:lnTo>
                  <a:close/>
                  <a:moveTo>
                    <a:pt x="92" y="246"/>
                  </a:moveTo>
                  <a:lnTo>
                    <a:pt x="94" y="246"/>
                  </a:lnTo>
                  <a:lnTo>
                    <a:pt x="92" y="246"/>
                  </a:lnTo>
                  <a:close/>
                  <a:moveTo>
                    <a:pt x="148" y="142"/>
                  </a:moveTo>
                  <a:lnTo>
                    <a:pt x="150" y="142"/>
                  </a:lnTo>
                  <a:lnTo>
                    <a:pt x="148" y="142"/>
                  </a:lnTo>
                  <a:close/>
                  <a:moveTo>
                    <a:pt x="52" y="457"/>
                  </a:moveTo>
                  <a:lnTo>
                    <a:pt x="52" y="459"/>
                  </a:lnTo>
                  <a:lnTo>
                    <a:pt x="52" y="457"/>
                  </a:lnTo>
                  <a:close/>
                  <a:moveTo>
                    <a:pt x="54" y="290"/>
                  </a:moveTo>
                  <a:lnTo>
                    <a:pt x="56" y="290"/>
                  </a:lnTo>
                  <a:lnTo>
                    <a:pt x="54" y="290"/>
                  </a:lnTo>
                  <a:close/>
                  <a:moveTo>
                    <a:pt x="183" y="119"/>
                  </a:moveTo>
                  <a:lnTo>
                    <a:pt x="185" y="119"/>
                  </a:lnTo>
                  <a:lnTo>
                    <a:pt x="183" y="119"/>
                  </a:lnTo>
                  <a:close/>
                  <a:moveTo>
                    <a:pt x="89" y="250"/>
                  </a:moveTo>
                  <a:lnTo>
                    <a:pt x="91" y="250"/>
                  </a:lnTo>
                  <a:lnTo>
                    <a:pt x="89" y="250"/>
                  </a:lnTo>
                  <a:close/>
                  <a:moveTo>
                    <a:pt x="96" y="255"/>
                  </a:moveTo>
                  <a:lnTo>
                    <a:pt x="98" y="255"/>
                  </a:lnTo>
                  <a:lnTo>
                    <a:pt x="96" y="255"/>
                  </a:lnTo>
                  <a:close/>
                  <a:moveTo>
                    <a:pt x="121" y="142"/>
                  </a:moveTo>
                  <a:lnTo>
                    <a:pt x="121" y="144"/>
                  </a:lnTo>
                  <a:lnTo>
                    <a:pt x="121" y="142"/>
                  </a:lnTo>
                  <a:close/>
                  <a:moveTo>
                    <a:pt x="114" y="223"/>
                  </a:moveTo>
                  <a:lnTo>
                    <a:pt x="115" y="223"/>
                  </a:lnTo>
                  <a:lnTo>
                    <a:pt x="114" y="223"/>
                  </a:lnTo>
                  <a:close/>
                  <a:moveTo>
                    <a:pt x="8" y="409"/>
                  </a:moveTo>
                  <a:lnTo>
                    <a:pt x="10" y="409"/>
                  </a:lnTo>
                  <a:lnTo>
                    <a:pt x="8" y="409"/>
                  </a:lnTo>
                  <a:close/>
                  <a:moveTo>
                    <a:pt x="112" y="207"/>
                  </a:moveTo>
                  <a:lnTo>
                    <a:pt x="114" y="207"/>
                  </a:lnTo>
                  <a:lnTo>
                    <a:pt x="112" y="207"/>
                  </a:lnTo>
                  <a:close/>
                  <a:moveTo>
                    <a:pt x="50" y="302"/>
                  </a:moveTo>
                  <a:lnTo>
                    <a:pt x="50" y="304"/>
                  </a:lnTo>
                  <a:lnTo>
                    <a:pt x="50" y="302"/>
                  </a:lnTo>
                  <a:close/>
                  <a:moveTo>
                    <a:pt x="110" y="219"/>
                  </a:moveTo>
                  <a:lnTo>
                    <a:pt x="110" y="221"/>
                  </a:lnTo>
                  <a:lnTo>
                    <a:pt x="110" y="219"/>
                  </a:lnTo>
                  <a:close/>
                  <a:moveTo>
                    <a:pt x="92" y="244"/>
                  </a:moveTo>
                  <a:lnTo>
                    <a:pt x="92" y="246"/>
                  </a:lnTo>
                  <a:lnTo>
                    <a:pt x="92" y="244"/>
                  </a:lnTo>
                  <a:close/>
                  <a:moveTo>
                    <a:pt x="12" y="411"/>
                  </a:moveTo>
                  <a:lnTo>
                    <a:pt x="12" y="413"/>
                  </a:lnTo>
                  <a:lnTo>
                    <a:pt x="12" y="411"/>
                  </a:lnTo>
                  <a:close/>
                  <a:moveTo>
                    <a:pt x="108" y="213"/>
                  </a:moveTo>
                  <a:lnTo>
                    <a:pt x="108" y="215"/>
                  </a:lnTo>
                  <a:lnTo>
                    <a:pt x="108" y="213"/>
                  </a:lnTo>
                  <a:close/>
                  <a:moveTo>
                    <a:pt x="96" y="246"/>
                  </a:moveTo>
                  <a:lnTo>
                    <a:pt x="96" y="248"/>
                  </a:lnTo>
                  <a:lnTo>
                    <a:pt x="96" y="246"/>
                  </a:lnTo>
                  <a:close/>
                  <a:moveTo>
                    <a:pt x="112" y="213"/>
                  </a:moveTo>
                  <a:lnTo>
                    <a:pt x="112" y="215"/>
                  </a:lnTo>
                  <a:lnTo>
                    <a:pt x="112" y="213"/>
                  </a:lnTo>
                  <a:close/>
                  <a:moveTo>
                    <a:pt x="50" y="294"/>
                  </a:moveTo>
                  <a:lnTo>
                    <a:pt x="50" y="296"/>
                  </a:lnTo>
                  <a:lnTo>
                    <a:pt x="50" y="294"/>
                  </a:lnTo>
                  <a:close/>
                  <a:moveTo>
                    <a:pt x="112" y="215"/>
                  </a:moveTo>
                  <a:lnTo>
                    <a:pt x="112" y="217"/>
                  </a:lnTo>
                  <a:lnTo>
                    <a:pt x="112" y="215"/>
                  </a:lnTo>
                  <a:close/>
                  <a:moveTo>
                    <a:pt x="115" y="181"/>
                  </a:moveTo>
                  <a:lnTo>
                    <a:pt x="115" y="182"/>
                  </a:lnTo>
                  <a:lnTo>
                    <a:pt x="115" y="181"/>
                  </a:lnTo>
                  <a:close/>
                  <a:moveTo>
                    <a:pt x="29" y="317"/>
                  </a:moveTo>
                  <a:lnTo>
                    <a:pt x="29" y="319"/>
                  </a:lnTo>
                  <a:lnTo>
                    <a:pt x="29" y="317"/>
                  </a:lnTo>
                  <a:close/>
                  <a:moveTo>
                    <a:pt x="177" y="111"/>
                  </a:moveTo>
                  <a:lnTo>
                    <a:pt x="177" y="113"/>
                  </a:lnTo>
                  <a:lnTo>
                    <a:pt x="177" y="111"/>
                  </a:lnTo>
                  <a:close/>
                  <a:moveTo>
                    <a:pt x="123" y="186"/>
                  </a:moveTo>
                  <a:lnTo>
                    <a:pt x="125" y="186"/>
                  </a:lnTo>
                  <a:lnTo>
                    <a:pt x="123" y="186"/>
                  </a:lnTo>
                  <a:close/>
                  <a:moveTo>
                    <a:pt x="25" y="451"/>
                  </a:moveTo>
                  <a:lnTo>
                    <a:pt x="25" y="453"/>
                  </a:lnTo>
                  <a:lnTo>
                    <a:pt x="25" y="451"/>
                  </a:lnTo>
                  <a:close/>
                  <a:moveTo>
                    <a:pt x="163" y="123"/>
                  </a:moveTo>
                  <a:lnTo>
                    <a:pt x="163" y="125"/>
                  </a:lnTo>
                  <a:lnTo>
                    <a:pt x="163" y="123"/>
                  </a:lnTo>
                  <a:close/>
                  <a:moveTo>
                    <a:pt x="91" y="259"/>
                  </a:moveTo>
                  <a:lnTo>
                    <a:pt x="91" y="261"/>
                  </a:lnTo>
                  <a:lnTo>
                    <a:pt x="91" y="259"/>
                  </a:lnTo>
                  <a:close/>
                  <a:moveTo>
                    <a:pt x="142" y="158"/>
                  </a:moveTo>
                  <a:lnTo>
                    <a:pt x="142" y="159"/>
                  </a:lnTo>
                  <a:lnTo>
                    <a:pt x="142" y="158"/>
                  </a:lnTo>
                  <a:close/>
                  <a:moveTo>
                    <a:pt x="6" y="390"/>
                  </a:moveTo>
                  <a:lnTo>
                    <a:pt x="6" y="392"/>
                  </a:lnTo>
                  <a:lnTo>
                    <a:pt x="6" y="390"/>
                  </a:lnTo>
                  <a:close/>
                  <a:moveTo>
                    <a:pt x="89" y="430"/>
                  </a:moveTo>
                  <a:lnTo>
                    <a:pt x="89" y="432"/>
                  </a:lnTo>
                  <a:lnTo>
                    <a:pt x="89" y="430"/>
                  </a:lnTo>
                  <a:close/>
                  <a:moveTo>
                    <a:pt x="114" y="215"/>
                  </a:moveTo>
                  <a:lnTo>
                    <a:pt x="114" y="217"/>
                  </a:lnTo>
                  <a:lnTo>
                    <a:pt x="114" y="215"/>
                  </a:lnTo>
                  <a:close/>
                  <a:moveTo>
                    <a:pt x="139" y="167"/>
                  </a:moveTo>
                  <a:lnTo>
                    <a:pt x="139" y="169"/>
                  </a:lnTo>
                  <a:lnTo>
                    <a:pt x="139" y="167"/>
                  </a:lnTo>
                  <a:close/>
                  <a:moveTo>
                    <a:pt x="125" y="179"/>
                  </a:moveTo>
                  <a:lnTo>
                    <a:pt x="125" y="181"/>
                  </a:lnTo>
                  <a:lnTo>
                    <a:pt x="125" y="179"/>
                  </a:lnTo>
                  <a:close/>
                  <a:moveTo>
                    <a:pt x="64" y="290"/>
                  </a:moveTo>
                  <a:lnTo>
                    <a:pt x="64" y="292"/>
                  </a:lnTo>
                  <a:lnTo>
                    <a:pt x="64" y="290"/>
                  </a:lnTo>
                  <a:close/>
                  <a:moveTo>
                    <a:pt x="89" y="250"/>
                  </a:moveTo>
                  <a:lnTo>
                    <a:pt x="91" y="250"/>
                  </a:lnTo>
                  <a:lnTo>
                    <a:pt x="89" y="250"/>
                  </a:lnTo>
                  <a:close/>
                  <a:moveTo>
                    <a:pt x="91" y="407"/>
                  </a:moveTo>
                  <a:lnTo>
                    <a:pt x="91" y="409"/>
                  </a:lnTo>
                  <a:lnTo>
                    <a:pt x="91" y="407"/>
                  </a:lnTo>
                  <a:close/>
                  <a:moveTo>
                    <a:pt x="85" y="267"/>
                  </a:moveTo>
                  <a:lnTo>
                    <a:pt x="85" y="269"/>
                  </a:lnTo>
                  <a:lnTo>
                    <a:pt x="85" y="267"/>
                  </a:lnTo>
                  <a:close/>
                  <a:moveTo>
                    <a:pt x="48" y="298"/>
                  </a:moveTo>
                  <a:lnTo>
                    <a:pt x="50" y="298"/>
                  </a:lnTo>
                  <a:lnTo>
                    <a:pt x="48" y="298"/>
                  </a:lnTo>
                  <a:close/>
                  <a:moveTo>
                    <a:pt x="33" y="319"/>
                  </a:moveTo>
                  <a:lnTo>
                    <a:pt x="35" y="319"/>
                  </a:lnTo>
                  <a:lnTo>
                    <a:pt x="33" y="319"/>
                  </a:lnTo>
                  <a:close/>
                  <a:moveTo>
                    <a:pt x="68" y="442"/>
                  </a:moveTo>
                  <a:lnTo>
                    <a:pt x="69" y="442"/>
                  </a:lnTo>
                  <a:lnTo>
                    <a:pt x="68" y="442"/>
                  </a:lnTo>
                  <a:close/>
                  <a:moveTo>
                    <a:pt x="58" y="286"/>
                  </a:moveTo>
                  <a:lnTo>
                    <a:pt x="58" y="288"/>
                  </a:lnTo>
                  <a:lnTo>
                    <a:pt x="58" y="286"/>
                  </a:lnTo>
                  <a:close/>
                  <a:moveTo>
                    <a:pt x="114" y="204"/>
                  </a:moveTo>
                  <a:lnTo>
                    <a:pt x="115" y="204"/>
                  </a:lnTo>
                  <a:lnTo>
                    <a:pt x="114" y="204"/>
                  </a:lnTo>
                  <a:close/>
                  <a:moveTo>
                    <a:pt x="4" y="363"/>
                  </a:moveTo>
                  <a:lnTo>
                    <a:pt x="6" y="363"/>
                  </a:lnTo>
                  <a:lnTo>
                    <a:pt x="4" y="363"/>
                  </a:lnTo>
                  <a:close/>
                  <a:moveTo>
                    <a:pt x="110" y="215"/>
                  </a:moveTo>
                  <a:lnTo>
                    <a:pt x="112" y="215"/>
                  </a:lnTo>
                  <a:lnTo>
                    <a:pt x="110" y="215"/>
                  </a:lnTo>
                  <a:close/>
                  <a:moveTo>
                    <a:pt x="112" y="211"/>
                  </a:moveTo>
                  <a:lnTo>
                    <a:pt x="112" y="213"/>
                  </a:lnTo>
                  <a:lnTo>
                    <a:pt x="112" y="211"/>
                  </a:lnTo>
                  <a:close/>
                  <a:moveTo>
                    <a:pt x="114" y="213"/>
                  </a:moveTo>
                  <a:lnTo>
                    <a:pt x="114" y="215"/>
                  </a:lnTo>
                  <a:lnTo>
                    <a:pt x="114" y="213"/>
                  </a:lnTo>
                  <a:close/>
                  <a:moveTo>
                    <a:pt x="148" y="108"/>
                  </a:moveTo>
                  <a:lnTo>
                    <a:pt x="150" y="108"/>
                  </a:lnTo>
                  <a:lnTo>
                    <a:pt x="148" y="108"/>
                  </a:lnTo>
                  <a:close/>
                  <a:moveTo>
                    <a:pt x="60" y="284"/>
                  </a:moveTo>
                  <a:lnTo>
                    <a:pt x="60" y="286"/>
                  </a:lnTo>
                  <a:lnTo>
                    <a:pt x="60" y="284"/>
                  </a:lnTo>
                  <a:close/>
                  <a:moveTo>
                    <a:pt x="121" y="192"/>
                  </a:moveTo>
                  <a:lnTo>
                    <a:pt x="123" y="192"/>
                  </a:lnTo>
                  <a:lnTo>
                    <a:pt x="121" y="192"/>
                  </a:lnTo>
                  <a:close/>
                  <a:moveTo>
                    <a:pt x="115" y="198"/>
                  </a:moveTo>
                  <a:lnTo>
                    <a:pt x="117" y="198"/>
                  </a:lnTo>
                  <a:lnTo>
                    <a:pt x="115" y="198"/>
                  </a:lnTo>
                  <a:close/>
                  <a:moveTo>
                    <a:pt x="117" y="182"/>
                  </a:moveTo>
                  <a:lnTo>
                    <a:pt x="117" y="184"/>
                  </a:lnTo>
                  <a:lnTo>
                    <a:pt x="117" y="182"/>
                  </a:lnTo>
                  <a:close/>
                  <a:moveTo>
                    <a:pt x="89" y="250"/>
                  </a:moveTo>
                  <a:lnTo>
                    <a:pt x="91" y="250"/>
                  </a:lnTo>
                  <a:lnTo>
                    <a:pt x="89" y="250"/>
                  </a:lnTo>
                  <a:close/>
                  <a:moveTo>
                    <a:pt x="39" y="459"/>
                  </a:moveTo>
                  <a:lnTo>
                    <a:pt x="39" y="461"/>
                  </a:lnTo>
                  <a:lnTo>
                    <a:pt x="39" y="459"/>
                  </a:lnTo>
                  <a:close/>
                  <a:moveTo>
                    <a:pt x="8" y="413"/>
                  </a:moveTo>
                  <a:lnTo>
                    <a:pt x="10" y="413"/>
                  </a:lnTo>
                  <a:lnTo>
                    <a:pt x="8" y="413"/>
                  </a:lnTo>
                  <a:close/>
                  <a:moveTo>
                    <a:pt x="112" y="217"/>
                  </a:moveTo>
                  <a:lnTo>
                    <a:pt x="112" y="219"/>
                  </a:lnTo>
                  <a:lnTo>
                    <a:pt x="112" y="217"/>
                  </a:lnTo>
                  <a:close/>
                  <a:moveTo>
                    <a:pt x="108" y="232"/>
                  </a:moveTo>
                  <a:lnTo>
                    <a:pt x="110" y="232"/>
                  </a:lnTo>
                  <a:lnTo>
                    <a:pt x="108" y="232"/>
                  </a:lnTo>
                  <a:close/>
                  <a:moveTo>
                    <a:pt x="4" y="365"/>
                  </a:moveTo>
                  <a:lnTo>
                    <a:pt x="6" y="365"/>
                  </a:lnTo>
                  <a:lnTo>
                    <a:pt x="4" y="365"/>
                  </a:lnTo>
                  <a:close/>
                  <a:moveTo>
                    <a:pt x="58" y="286"/>
                  </a:moveTo>
                  <a:lnTo>
                    <a:pt x="58" y="288"/>
                  </a:lnTo>
                  <a:lnTo>
                    <a:pt x="58" y="286"/>
                  </a:lnTo>
                  <a:close/>
                  <a:moveTo>
                    <a:pt x="58" y="290"/>
                  </a:moveTo>
                  <a:lnTo>
                    <a:pt x="60" y="290"/>
                  </a:lnTo>
                  <a:lnTo>
                    <a:pt x="58" y="290"/>
                  </a:lnTo>
                  <a:close/>
                  <a:moveTo>
                    <a:pt x="6" y="394"/>
                  </a:moveTo>
                  <a:lnTo>
                    <a:pt x="6" y="396"/>
                  </a:lnTo>
                  <a:lnTo>
                    <a:pt x="6" y="394"/>
                  </a:lnTo>
                  <a:close/>
                  <a:moveTo>
                    <a:pt x="12" y="432"/>
                  </a:moveTo>
                  <a:lnTo>
                    <a:pt x="14" y="432"/>
                  </a:lnTo>
                  <a:lnTo>
                    <a:pt x="12" y="432"/>
                  </a:lnTo>
                  <a:close/>
                  <a:moveTo>
                    <a:pt x="29" y="453"/>
                  </a:moveTo>
                  <a:lnTo>
                    <a:pt x="29" y="455"/>
                  </a:lnTo>
                  <a:lnTo>
                    <a:pt x="29" y="453"/>
                  </a:lnTo>
                  <a:close/>
                  <a:moveTo>
                    <a:pt x="50" y="302"/>
                  </a:moveTo>
                  <a:lnTo>
                    <a:pt x="52" y="302"/>
                  </a:lnTo>
                  <a:lnTo>
                    <a:pt x="50" y="302"/>
                  </a:lnTo>
                  <a:close/>
                  <a:moveTo>
                    <a:pt x="29" y="455"/>
                  </a:moveTo>
                  <a:lnTo>
                    <a:pt x="31" y="455"/>
                  </a:lnTo>
                  <a:lnTo>
                    <a:pt x="29" y="455"/>
                  </a:lnTo>
                  <a:close/>
                  <a:moveTo>
                    <a:pt x="112" y="211"/>
                  </a:moveTo>
                  <a:lnTo>
                    <a:pt x="112" y="213"/>
                  </a:lnTo>
                  <a:lnTo>
                    <a:pt x="112" y="211"/>
                  </a:lnTo>
                  <a:close/>
                  <a:moveTo>
                    <a:pt x="115" y="198"/>
                  </a:moveTo>
                  <a:lnTo>
                    <a:pt x="117" y="198"/>
                  </a:lnTo>
                  <a:lnTo>
                    <a:pt x="115" y="198"/>
                  </a:lnTo>
                  <a:close/>
                  <a:moveTo>
                    <a:pt x="31" y="317"/>
                  </a:moveTo>
                  <a:lnTo>
                    <a:pt x="33" y="317"/>
                  </a:lnTo>
                  <a:lnTo>
                    <a:pt x="31" y="317"/>
                  </a:lnTo>
                  <a:close/>
                  <a:moveTo>
                    <a:pt x="112" y="213"/>
                  </a:moveTo>
                  <a:lnTo>
                    <a:pt x="112" y="215"/>
                  </a:lnTo>
                  <a:lnTo>
                    <a:pt x="112" y="213"/>
                  </a:lnTo>
                  <a:close/>
                  <a:moveTo>
                    <a:pt x="135" y="131"/>
                  </a:moveTo>
                  <a:lnTo>
                    <a:pt x="137" y="131"/>
                  </a:lnTo>
                  <a:lnTo>
                    <a:pt x="135" y="131"/>
                  </a:lnTo>
                  <a:close/>
                  <a:moveTo>
                    <a:pt x="110" y="217"/>
                  </a:moveTo>
                  <a:lnTo>
                    <a:pt x="110" y="219"/>
                  </a:lnTo>
                  <a:lnTo>
                    <a:pt x="110" y="217"/>
                  </a:lnTo>
                  <a:close/>
                  <a:moveTo>
                    <a:pt x="6" y="380"/>
                  </a:moveTo>
                  <a:lnTo>
                    <a:pt x="8" y="380"/>
                  </a:lnTo>
                  <a:lnTo>
                    <a:pt x="6" y="380"/>
                  </a:lnTo>
                  <a:close/>
                  <a:moveTo>
                    <a:pt x="117" y="196"/>
                  </a:moveTo>
                  <a:lnTo>
                    <a:pt x="117" y="198"/>
                  </a:lnTo>
                  <a:lnTo>
                    <a:pt x="117" y="196"/>
                  </a:lnTo>
                  <a:close/>
                  <a:moveTo>
                    <a:pt x="123" y="188"/>
                  </a:moveTo>
                  <a:lnTo>
                    <a:pt x="123" y="190"/>
                  </a:lnTo>
                  <a:lnTo>
                    <a:pt x="123" y="188"/>
                  </a:lnTo>
                  <a:close/>
                  <a:moveTo>
                    <a:pt x="117" y="188"/>
                  </a:moveTo>
                  <a:lnTo>
                    <a:pt x="119" y="188"/>
                  </a:lnTo>
                  <a:lnTo>
                    <a:pt x="117" y="188"/>
                  </a:lnTo>
                  <a:close/>
                  <a:moveTo>
                    <a:pt x="91" y="250"/>
                  </a:moveTo>
                  <a:lnTo>
                    <a:pt x="91" y="252"/>
                  </a:lnTo>
                  <a:lnTo>
                    <a:pt x="91" y="250"/>
                  </a:lnTo>
                  <a:close/>
                  <a:moveTo>
                    <a:pt x="114" y="204"/>
                  </a:moveTo>
                  <a:lnTo>
                    <a:pt x="114" y="206"/>
                  </a:lnTo>
                  <a:lnTo>
                    <a:pt x="114" y="204"/>
                  </a:lnTo>
                  <a:close/>
                  <a:moveTo>
                    <a:pt x="85" y="267"/>
                  </a:moveTo>
                  <a:lnTo>
                    <a:pt x="85" y="269"/>
                  </a:lnTo>
                  <a:lnTo>
                    <a:pt x="85" y="267"/>
                  </a:lnTo>
                  <a:close/>
                  <a:moveTo>
                    <a:pt x="60" y="451"/>
                  </a:moveTo>
                  <a:lnTo>
                    <a:pt x="60" y="453"/>
                  </a:lnTo>
                  <a:lnTo>
                    <a:pt x="60" y="451"/>
                  </a:lnTo>
                  <a:close/>
                  <a:moveTo>
                    <a:pt x="114" y="211"/>
                  </a:moveTo>
                  <a:lnTo>
                    <a:pt x="114" y="213"/>
                  </a:lnTo>
                  <a:lnTo>
                    <a:pt x="114" y="211"/>
                  </a:lnTo>
                  <a:close/>
                  <a:moveTo>
                    <a:pt x="139" y="161"/>
                  </a:moveTo>
                  <a:lnTo>
                    <a:pt x="140" y="161"/>
                  </a:lnTo>
                  <a:lnTo>
                    <a:pt x="139" y="161"/>
                  </a:lnTo>
                  <a:close/>
                  <a:moveTo>
                    <a:pt x="119" y="198"/>
                  </a:moveTo>
                  <a:lnTo>
                    <a:pt x="121" y="198"/>
                  </a:lnTo>
                  <a:lnTo>
                    <a:pt x="119" y="198"/>
                  </a:lnTo>
                  <a:close/>
                  <a:moveTo>
                    <a:pt x="110" y="229"/>
                  </a:moveTo>
                  <a:lnTo>
                    <a:pt x="110" y="231"/>
                  </a:lnTo>
                  <a:lnTo>
                    <a:pt x="110" y="229"/>
                  </a:lnTo>
                  <a:close/>
                  <a:moveTo>
                    <a:pt x="64" y="286"/>
                  </a:moveTo>
                  <a:lnTo>
                    <a:pt x="64" y="288"/>
                  </a:lnTo>
                  <a:lnTo>
                    <a:pt x="64" y="286"/>
                  </a:lnTo>
                  <a:close/>
                  <a:moveTo>
                    <a:pt x="12" y="432"/>
                  </a:moveTo>
                  <a:lnTo>
                    <a:pt x="14" y="432"/>
                  </a:lnTo>
                  <a:lnTo>
                    <a:pt x="12" y="432"/>
                  </a:lnTo>
                  <a:close/>
                  <a:moveTo>
                    <a:pt x="119" y="202"/>
                  </a:moveTo>
                  <a:lnTo>
                    <a:pt x="121" y="202"/>
                  </a:lnTo>
                  <a:lnTo>
                    <a:pt x="119" y="202"/>
                  </a:lnTo>
                  <a:close/>
                  <a:moveTo>
                    <a:pt x="10" y="401"/>
                  </a:moveTo>
                  <a:lnTo>
                    <a:pt x="10" y="403"/>
                  </a:lnTo>
                  <a:lnTo>
                    <a:pt x="10" y="401"/>
                  </a:lnTo>
                  <a:close/>
                  <a:moveTo>
                    <a:pt x="35" y="313"/>
                  </a:moveTo>
                  <a:lnTo>
                    <a:pt x="37" y="313"/>
                  </a:lnTo>
                  <a:lnTo>
                    <a:pt x="35" y="313"/>
                  </a:lnTo>
                  <a:close/>
                  <a:moveTo>
                    <a:pt x="110" y="219"/>
                  </a:moveTo>
                  <a:lnTo>
                    <a:pt x="110" y="221"/>
                  </a:lnTo>
                  <a:lnTo>
                    <a:pt x="110" y="219"/>
                  </a:lnTo>
                  <a:close/>
                  <a:moveTo>
                    <a:pt x="139" y="127"/>
                  </a:moveTo>
                  <a:lnTo>
                    <a:pt x="140" y="127"/>
                  </a:lnTo>
                  <a:lnTo>
                    <a:pt x="139" y="127"/>
                  </a:lnTo>
                  <a:close/>
                  <a:moveTo>
                    <a:pt x="48" y="459"/>
                  </a:moveTo>
                  <a:lnTo>
                    <a:pt x="48" y="461"/>
                  </a:lnTo>
                  <a:lnTo>
                    <a:pt x="48" y="459"/>
                  </a:lnTo>
                  <a:close/>
                  <a:moveTo>
                    <a:pt x="162" y="129"/>
                  </a:moveTo>
                  <a:lnTo>
                    <a:pt x="162" y="131"/>
                  </a:lnTo>
                  <a:lnTo>
                    <a:pt x="162" y="129"/>
                  </a:lnTo>
                  <a:close/>
                  <a:moveTo>
                    <a:pt x="110" y="213"/>
                  </a:moveTo>
                  <a:lnTo>
                    <a:pt x="112" y="213"/>
                  </a:lnTo>
                  <a:lnTo>
                    <a:pt x="110" y="213"/>
                  </a:lnTo>
                  <a:close/>
                  <a:moveTo>
                    <a:pt x="8" y="415"/>
                  </a:moveTo>
                  <a:lnTo>
                    <a:pt x="8" y="417"/>
                  </a:lnTo>
                  <a:lnTo>
                    <a:pt x="8" y="415"/>
                  </a:lnTo>
                  <a:close/>
                  <a:moveTo>
                    <a:pt x="81" y="277"/>
                  </a:moveTo>
                  <a:lnTo>
                    <a:pt x="81" y="279"/>
                  </a:lnTo>
                  <a:lnTo>
                    <a:pt x="81" y="277"/>
                  </a:lnTo>
                  <a:close/>
                  <a:moveTo>
                    <a:pt x="94" y="257"/>
                  </a:moveTo>
                  <a:lnTo>
                    <a:pt x="96" y="257"/>
                  </a:lnTo>
                  <a:lnTo>
                    <a:pt x="94" y="257"/>
                  </a:lnTo>
                  <a:close/>
                  <a:moveTo>
                    <a:pt x="114" y="200"/>
                  </a:moveTo>
                  <a:lnTo>
                    <a:pt x="114" y="202"/>
                  </a:lnTo>
                  <a:lnTo>
                    <a:pt x="114" y="200"/>
                  </a:lnTo>
                  <a:close/>
                  <a:moveTo>
                    <a:pt x="114" y="204"/>
                  </a:moveTo>
                  <a:lnTo>
                    <a:pt x="114" y="206"/>
                  </a:lnTo>
                  <a:lnTo>
                    <a:pt x="114" y="204"/>
                  </a:lnTo>
                  <a:close/>
                  <a:moveTo>
                    <a:pt x="2" y="367"/>
                  </a:moveTo>
                  <a:lnTo>
                    <a:pt x="2" y="369"/>
                  </a:lnTo>
                  <a:lnTo>
                    <a:pt x="2" y="367"/>
                  </a:lnTo>
                  <a:close/>
                  <a:moveTo>
                    <a:pt x="10" y="409"/>
                  </a:moveTo>
                  <a:lnTo>
                    <a:pt x="12" y="409"/>
                  </a:lnTo>
                  <a:lnTo>
                    <a:pt x="10" y="409"/>
                  </a:lnTo>
                  <a:close/>
                  <a:moveTo>
                    <a:pt x="108" y="219"/>
                  </a:moveTo>
                  <a:lnTo>
                    <a:pt x="108" y="221"/>
                  </a:lnTo>
                  <a:lnTo>
                    <a:pt x="108" y="219"/>
                  </a:lnTo>
                  <a:close/>
                  <a:moveTo>
                    <a:pt x="108" y="192"/>
                  </a:moveTo>
                  <a:lnTo>
                    <a:pt x="110" y="192"/>
                  </a:lnTo>
                  <a:lnTo>
                    <a:pt x="108" y="192"/>
                  </a:lnTo>
                  <a:close/>
                  <a:moveTo>
                    <a:pt x="156" y="96"/>
                  </a:moveTo>
                  <a:lnTo>
                    <a:pt x="156" y="98"/>
                  </a:lnTo>
                  <a:lnTo>
                    <a:pt x="156" y="96"/>
                  </a:lnTo>
                  <a:close/>
                  <a:moveTo>
                    <a:pt x="148" y="106"/>
                  </a:moveTo>
                  <a:lnTo>
                    <a:pt x="148" y="108"/>
                  </a:lnTo>
                  <a:lnTo>
                    <a:pt x="148" y="106"/>
                  </a:lnTo>
                  <a:close/>
                  <a:moveTo>
                    <a:pt x="131" y="177"/>
                  </a:moveTo>
                  <a:lnTo>
                    <a:pt x="131" y="179"/>
                  </a:lnTo>
                  <a:lnTo>
                    <a:pt x="131" y="177"/>
                  </a:lnTo>
                  <a:close/>
                  <a:moveTo>
                    <a:pt x="18" y="334"/>
                  </a:moveTo>
                  <a:lnTo>
                    <a:pt x="20" y="334"/>
                  </a:lnTo>
                  <a:lnTo>
                    <a:pt x="18" y="334"/>
                  </a:lnTo>
                  <a:close/>
                  <a:moveTo>
                    <a:pt x="92" y="259"/>
                  </a:moveTo>
                  <a:lnTo>
                    <a:pt x="94" y="259"/>
                  </a:lnTo>
                  <a:lnTo>
                    <a:pt x="92" y="259"/>
                  </a:lnTo>
                  <a:close/>
                  <a:moveTo>
                    <a:pt x="35" y="461"/>
                  </a:moveTo>
                  <a:lnTo>
                    <a:pt x="37" y="461"/>
                  </a:lnTo>
                  <a:lnTo>
                    <a:pt x="35" y="461"/>
                  </a:lnTo>
                  <a:close/>
                  <a:moveTo>
                    <a:pt x="148" y="154"/>
                  </a:moveTo>
                  <a:lnTo>
                    <a:pt x="148" y="156"/>
                  </a:lnTo>
                  <a:lnTo>
                    <a:pt x="148" y="154"/>
                  </a:lnTo>
                  <a:close/>
                  <a:moveTo>
                    <a:pt x="92" y="246"/>
                  </a:moveTo>
                  <a:lnTo>
                    <a:pt x="92" y="248"/>
                  </a:lnTo>
                  <a:lnTo>
                    <a:pt x="92" y="246"/>
                  </a:lnTo>
                  <a:close/>
                  <a:moveTo>
                    <a:pt x="115" y="202"/>
                  </a:moveTo>
                  <a:lnTo>
                    <a:pt x="115" y="204"/>
                  </a:lnTo>
                  <a:lnTo>
                    <a:pt x="115" y="202"/>
                  </a:lnTo>
                  <a:close/>
                  <a:moveTo>
                    <a:pt x="94" y="244"/>
                  </a:moveTo>
                  <a:lnTo>
                    <a:pt x="96" y="244"/>
                  </a:lnTo>
                  <a:lnTo>
                    <a:pt x="94" y="244"/>
                  </a:lnTo>
                  <a:close/>
                  <a:moveTo>
                    <a:pt x="112" y="217"/>
                  </a:moveTo>
                  <a:lnTo>
                    <a:pt x="112" y="219"/>
                  </a:lnTo>
                  <a:lnTo>
                    <a:pt x="112" y="217"/>
                  </a:lnTo>
                  <a:close/>
                  <a:moveTo>
                    <a:pt x="68" y="277"/>
                  </a:moveTo>
                  <a:lnTo>
                    <a:pt x="68" y="279"/>
                  </a:lnTo>
                  <a:lnTo>
                    <a:pt x="68" y="277"/>
                  </a:lnTo>
                  <a:close/>
                  <a:moveTo>
                    <a:pt x="92" y="428"/>
                  </a:moveTo>
                  <a:lnTo>
                    <a:pt x="92" y="430"/>
                  </a:lnTo>
                  <a:lnTo>
                    <a:pt x="92" y="428"/>
                  </a:lnTo>
                  <a:close/>
                  <a:moveTo>
                    <a:pt x="6" y="350"/>
                  </a:moveTo>
                  <a:lnTo>
                    <a:pt x="6" y="352"/>
                  </a:lnTo>
                  <a:lnTo>
                    <a:pt x="6" y="350"/>
                  </a:lnTo>
                  <a:close/>
                  <a:moveTo>
                    <a:pt x="125" y="181"/>
                  </a:moveTo>
                  <a:lnTo>
                    <a:pt x="127" y="181"/>
                  </a:lnTo>
                  <a:lnTo>
                    <a:pt x="125" y="181"/>
                  </a:lnTo>
                  <a:close/>
                  <a:moveTo>
                    <a:pt x="119" y="198"/>
                  </a:moveTo>
                  <a:lnTo>
                    <a:pt x="121" y="198"/>
                  </a:lnTo>
                  <a:lnTo>
                    <a:pt x="119" y="198"/>
                  </a:lnTo>
                  <a:close/>
                  <a:moveTo>
                    <a:pt x="100" y="246"/>
                  </a:moveTo>
                  <a:lnTo>
                    <a:pt x="100" y="248"/>
                  </a:lnTo>
                  <a:lnTo>
                    <a:pt x="100" y="246"/>
                  </a:lnTo>
                  <a:close/>
                  <a:moveTo>
                    <a:pt x="150" y="125"/>
                  </a:moveTo>
                  <a:lnTo>
                    <a:pt x="150" y="127"/>
                  </a:lnTo>
                  <a:lnTo>
                    <a:pt x="150" y="125"/>
                  </a:lnTo>
                  <a:close/>
                  <a:moveTo>
                    <a:pt x="60" y="282"/>
                  </a:moveTo>
                  <a:lnTo>
                    <a:pt x="62" y="282"/>
                  </a:lnTo>
                  <a:lnTo>
                    <a:pt x="60" y="282"/>
                  </a:lnTo>
                  <a:close/>
                  <a:moveTo>
                    <a:pt x="119" y="196"/>
                  </a:moveTo>
                  <a:lnTo>
                    <a:pt x="119" y="198"/>
                  </a:lnTo>
                  <a:lnTo>
                    <a:pt x="119" y="196"/>
                  </a:lnTo>
                  <a:close/>
                  <a:moveTo>
                    <a:pt x="50" y="459"/>
                  </a:moveTo>
                  <a:lnTo>
                    <a:pt x="52" y="459"/>
                  </a:lnTo>
                  <a:lnTo>
                    <a:pt x="50" y="459"/>
                  </a:lnTo>
                  <a:close/>
                  <a:moveTo>
                    <a:pt x="104" y="240"/>
                  </a:moveTo>
                  <a:lnTo>
                    <a:pt x="106" y="240"/>
                  </a:lnTo>
                  <a:lnTo>
                    <a:pt x="104" y="240"/>
                  </a:lnTo>
                  <a:close/>
                  <a:moveTo>
                    <a:pt x="14" y="430"/>
                  </a:moveTo>
                  <a:lnTo>
                    <a:pt x="14" y="432"/>
                  </a:lnTo>
                  <a:lnTo>
                    <a:pt x="14" y="430"/>
                  </a:lnTo>
                  <a:close/>
                  <a:moveTo>
                    <a:pt x="165" y="117"/>
                  </a:moveTo>
                  <a:lnTo>
                    <a:pt x="165" y="119"/>
                  </a:lnTo>
                  <a:lnTo>
                    <a:pt x="165" y="117"/>
                  </a:lnTo>
                  <a:close/>
                  <a:moveTo>
                    <a:pt x="94" y="250"/>
                  </a:moveTo>
                  <a:lnTo>
                    <a:pt x="94" y="252"/>
                  </a:lnTo>
                  <a:lnTo>
                    <a:pt x="94" y="250"/>
                  </a:lnTo>
                  <a:close/>
                  <a:moveTo>
                    <a:pt x="8" y="382"/>
                  </a:moveTo>
                  <a:lnTo>
                    <a:pt x="8" y="384"/>
                  </a:lnTo>
                  <a:lnTo>
                    <a:pt x="8" y="382"/>
                  </a:lnTo>
                  <a:close/>
                  <a:moveTo>
                    <a:pt x="108" y="219"/>
                  </a:moveTo>
                  <a:lnTo>
                    <a:pt x="108" y="221"/>
                  </a:lnTo>
                  <a:lnTo>
                    <a:pt x="108" y="219"/>
                  </a:lnTo>
                  <a:close/>
                  <a:moveTo>
                    <a:pt x="106" y="213"/>
                  </a:moveTo>
                  <a:lnTo>
                    <a:pt x="106" y="215"/>
                  </a:lnTo>
                  <a:lnTo>
                    <a:pt x="106" y="213"/>
                  </a:lnTo>
                  <a:close/>
                  <a:moveTo>
                    <a:pt x="363" y="21"/>
                  </a:moveTo>
                  <a:lnTo>
                    <a:pt x="365" y="21"/>
                  </a:lnTo>
                  <a:lnTo>
                    <a:pt x="363" y="21"/>
                  </a:lnTo>
                  <a:close/>
                  <a:moveTo>
                    <a:pt x="94" y="244"/>
                  </a:moveTo>
                  <a:lnTo>
                    <a:pt x="96" y="244"/>
                  </a:lnTo>
                  <a:lnTo>
                    <a:pt x="94" y="244"/>
                  </a:lnTo>
                  <a:close/>
                  <a:moveTo>
                    <a:pt x="119" y="196"/>
                  </a:moveTo>
                  <a:lnTo>
                    <a:pt x="119" y="198"/>
                  </a:lnTo>
                  <a:lnTo>
                    <a:pt x="119" y="196"/>
                  </a:lnTo>
                  <a:close/>
                  <a:moveTo>
                    <a:pt x="158" y="121"/>
                  </a:moveTo>
                  <a:lnTo>
                    <a:pt x="158" y="123"/>
                  </a:lnTo>
                  <a:lnTo>
                    <a:pt x="158" y="121"/>
                  </a:lnTo>
                  <a:close/>
                  <a:moveTo>
                    <a:pt x="279" y="27"/>
                  </a:moveTo>
                  <a:lnTo>
                    <a:pt x="281" y="27"/>
                  </a:lnTo>
                  <a:lnTo>
                    <a:pt x="279" y="27"/>
                  </a:lnTo>
                  <a:close/>
                  <a:moveTo>
                    <a:pt x="304" y="4"/>
                  </a:moveTo>
                  <a:lnTo>
                    <a:pt x="306" y="4"/>
                  </a:lnTo>
                  <a:lnTo>
                    <a:pt x="304" y="4"/>
                  </a:lnTo>
                  <a:close/>
                  <a:moveTo>
                    <a:pt x="150" y="102"/>
                  </a:moveTo>
                  <a:lnTo>
                    <a:pt x="150" y="104"/>
                  </a:lnTo>
                  <a:lnTo>
                    <a:pt x="150" y="102"/>
                  </a:lnTo>
                  <a:close/>
                  <a:moveTo>
                    <a:pt x="150" y="140"/>
                  </a:moveTo>
                  <a:lnTo>
                    <a:pt x="150" y="142"/>
                  </a:lnTo>
                  <a:lnTo>
                    <a:pt x="150" y="140"/>
                  </a:lnTo>
                  <a:close/>
                  <a:moveTo>
                    <a:pt x="4" y="363"/>
                  </a:moveTo>
                  <a:lnTo>
                    <a:pt x="6" y="363"/>
                  </a:lnTo>
                  <a:lnTo>
                    <a:pt x="4" y="363"/>
                  </a:lnTo>
                  <a:close/>
                  <a:moveTo>
                    <a:pt x="152" y="142"/>
                  </a:moveTo>
                  <a:lnTo>
                    <a:pt x="152" y="144"/>
                  </a:lnTo>
                  <a:lnTo>
                    <a:pt x="152" y="142"/>
                  </a:lnTo>
                  <a:close/>
                  <a:moveTo>
                    <a:pt x="64" y="446"/>
                  </a:moveTo>
                  <a:lnTo>
                    <a:pt x="66" y="446"/>
                  </a:lnTo>
                  <a:lnTo>
                    <a:pt x="66" y="448"/>
                  </a:lnTo>
                  <a:lnTo>
                    <a:pt x="64" y="448"/>
                  </a:lnTo>
                  <a:lnTo>
                    <a:pt x="64" y="446"/>
                  </a:lnTo>
                  <a:close/>
                  <a:moveTo>
                    <a:pt x="215" y="40"/>
                  </a:moveTo>
                  <a:lnTo>
                    <a:pt x="215" y="42"/>
                  </a:lnTo>
                  <a:lnTo>
                    <a:pt x="215" y="40"/>
                  </a:lnTo>
                  <a:close/>
                  <a:moveTo>
                    <a:pt x="56" y="453"/>
                  </a:moveTo>
                  <a:lnTo>
                    <a:pt x="56" y="455"/>
                  </a:lnTo>
                  <a:lnTo>
                    <a:pt x="56" y="453"/>
                  </a:lnTo>
                  <a:close/>
                  <a:moveTo>
                    <a:pt x="313" y="27"/>
                  </a:moveTo>
                  <a:lnTo>
                    <a:pt x="313" y="29"/>
                  </a:lnTo>
                  <a:lnTo>
                    <a:pt x="313" y="27"/>
                  </a:lnTo>
                  <a:close/>
                  <a:moveTo>
                    <a:pt x="152" y="136"/>
                  </a:moveTo>
                  <a:lnTo>
                    <a:pt x="152" y="138"/>
                  </a:lnTo>
                  <a:lnTo>
                    <a:pt x="152" y="136"/>
                  </a:lnTo>
                  <a:close/>
                  <a:moveTo>
                    <a:pt x="115" y="213"/>
                  </a:moveTo>
                  <a:lnTo>
                    <a:pt x="117" y="213"/>
                  </a:lnTo>
                  <a:lnTo>
                    <a:pt x="115" y="213"/>
                  </a:lnTo>
                  <a:close/>
                  <a:moveTo>
                    <a:pt x="110" y="221"/>
                  </a:moveTo>
                  <a:lnTo>
                    <a:pt x="110" y="223"/>
                  </a:lnTo>
                  <a:lnTo>
                    <a:pt x="110" y="221"/>
                  </a:lnTo>
                  <a:close/>
                  <a:moveTo>
                    <a:pt x="156" y="123"/>
                  </a:moveTo>
                  <a:lnTo>
                    <a:pt x="156" y="125"/>
                  </a:lnTo>
                  <a:lnTo>
                    <a:pt x="156" y="123"/>
                  </a:lnTo>
                  <a:close/>
                  <a:moveTo>
                    <a:pt x="91" y="250"/>
                  </a:moveTo>
                  <a:lnTo>
                    <a:pt x="91" y="252"/>
                  </a:lnTo>
                  <a:lnTo>
                    <a:pt x="91" y="250"/>
                  </a:lnTo>
                  <a:close/>
                  <a:moveTo>
                    <a:pt x="58" y="290"/>
                  </a:moveTo>
                  <a:lnTo>
                    <a:pt x="58" y="292"/>
                  </a:lnTo>
                  <a:lnTo>
                    <a:pt x="58" y="290"/>
                  </a:lnTo>
                  <a:close/>
                  <a:moveTo>
                    <a:pt x="77" y="277"/>
                  </a:moveTo>
                  <a:lnTo>
                    <a:pt x="79" y="277"/>
                  </a:lnTo>
                  <a:lnTo>
                    <a:pt x="77" y="277"/>
                  </a:lnTo>
                  <a:close/>
                  <a:moveTo>
                    <a:pt x="92" y="257"/>
                  </a:moveTo>
                  <a:lnTo>
                    <a:pt x="92" y="259"/>
                  </a:lnTo>
                  <a:lnTo>
                    <a:pt x="92" y="257"/>
                  </a:lnTo>
                  <a:close/>
                  <a:moveTo>
                    <a:pt x="102" y="242"/>
                  </a:moveTo>
                  <a:lnTo>
                    <a:pt x="104" y="242"/>
                  </a:lnTo>
                  <a:lnTo>
                    <a:pt x="102" y="242"/>
                  </a:lnTo>
                  <a:close/>
                  <a:moveTo>
                    <a:pt x="83" y="432"/>
                  </a:moveTo>
                  <a:lnTo>
                    <a:pt x="83" y="434"/>
                  </a:lnTo>
                  <a:lnTo>
                    <a:pt x="83" y="432"/>
                  </a:lnTo>
                  <a:close/>
                  <a:moveTo>
                    <a:pt x="54" y="290"/>
                  </a:moveTo>
                  <a:lnTo>
                    <a:pt x="56" y="290"/>
                  </a:lnTo>
                  <a:lnTo>
                    <a:pt x="54" y="290"/>
                  </a:lnTo>
                  <a:close/>
                  <a:moveTo>
                    <a:pt x="114" y="188"/>
                  </a:moveTo>
                  <a:lnTo>
                    <a:pt x="114" y="190"/>
                  </a:lnTo>
                  <a:lnTo>
                    <a:pt x="114" y="188"/>
                  </a:lnTo>
                  <a:close/>
                  <a:moveTo>
                    <a:pt x="8" y="411"/>
                  </a:moveTo>
                  <a:lnTo>
                    <a:pt x="8" y="413"/>
                  </a:lnTo>
                  <a:lnTo>
                    <a:pt x="8" y="411"/>
                  </a:lnTo>
                  <a:close/>
                  <a:moveTo>
                    <a:pt x="127" y="184"/>
                  </a:moveTo>
                  <a:lnTo>
                    <a:pt x="129" y="184"/>
                  </a:lnTo>
                  <a:lnTo>
                    <a:pt x="127" y="184"/>
                  </a:lnTo>
                  <a:close/>
                  <a:moveTo>
                    <a:pt x="119" y="196"/>
                  </a:moveTo>
                  <a:lnTo>
                    <a:pt x="121" y="196"/>
                  </a:lnTo>
                  <a:lnTo>
                    <a:pt x="119" y="196"/>
                  </a:lnTo>
                  <a:close/>
                  <a:moveTo>
                    <a:pt x="79" y="277"/>
                  </a:moveTo>
                  <a:lnTo>
                    <a:pt x="79" y="279"/>
                  </a:lnTo>
                  <a:lnTo>
                    <a:pt x="79" y="277"/>
                  </a:lnTo>
                  <a:close/>
                  <a:moveTo>
                    <a:pt x="104" y="221"/>
                  </a:moveTo>
                  <a:lnTo>
                    <a:pt x="106" y="221"/>
                  </a:lnTo>
                  <a:lnTo>
                    <a:pt x="104" y="221"/>
                  </a:lnTo>
                  <a:close/>
                  <a:moveTo>
                    <a:pt x="106" y="207"/>
                  </a:moveTo>
                  <a:lnTo>
                    <a:pt x="106" y="209"/>
                  </a:lnTo>
                  <a:lnTo>
                    <a:pt x="106" y="207"/>
                  </a:lnTo>
                  <a:close/>
                  <a:moveTo>
                    <a:pt x="117" y="181"/>
                  </a:moveTo>
                  <a:lnTo>
                    <a:pt x="119" y="181"/>
                  </a:lnTo>
                  <a:lnTo>
                    <a:pt x="117" y="181"/>
                  </a:lnTo>
                  <a:close/>
                  <a:moveTo>
                    <a:pt x="8" y="365"/>
                  </a:moveTo>
                  <a:lnTo>
                    <a:pt x="10" y="365"/>
                  </a:lnTo>
                  <a:lnTo>
                    <a:pt x="8" y="365"/>
                  </a:lnTo>
                  <a:close/>
                  <a:moveTo>
                    <a:pt x="106" y="223"/>
                  </a:moveTo>
                  <a:lnTo>
                    <a:pt x="108" y="223"/>
                  </a:lnTo>
                  <a:lnTo>
                    <a:pt x="108" y="225"/>
                  </a:lnTo>
                  <a:lnTo>
                    <a:pt x="106" y="225"/>
                  </a:lnTo>
                  <a:lnTo>
                    <a:pt x="106" y="223"/>
                  </a:lnTo>
                  <a:close/>
                  <a:moveTo>
                    <a:pt x="91" y="248"/>
                  </a:moveTo>
                  <a:lnTo>
                    <a:pt x="91" y="250"/>
                  </a:lnTo>
                  <a:lnTo>
                    <a:pt x="91" y="248"/>
                  </a:lnTo>
                  <a:close/>
                  <a:moveTo>
                    <a:pt x="206" y="48"/>
                  </a:moveTo>
                  <a:lnTo>
                    <a:pt x="208" y="48"/>
                  </a:lnTo>
                  <a:lnTo>
                    <a:pt x="206" y="48"/>
                  </a:lnTo>
                  <a:close/>
                  <a:moveTo>
                    <a:pt x="2" y="382"/>
                  </a:moveTo>
                  <a:lnTo>
                    <a:pt x="4" y="382"/>
                  </a:lnTo>
                  <a:lnTo>
                    <a:pt x="2" y="382"/>
                  </a:lnTo>
                  <a:close/>
                  <a:moveTo>
                    <a:pt x="123" y="184"/>
                  </a:moveTo>
                  <a:lnTo>
                    <a:pt x="125" y="184"/>
                  </a:lnTo>
                  <a:lnTo>
                    <a:pt x="123" y="184"/>
                  </a:lnTo>
                  <a:close/>
                  <a:moveTo>
                    <a:pt x="62" y="282"/>
                  </a:moveTo>
                  <a:lnTo>
                    <a:pt x="62" y="284"/>
                  </a:lnTo>
                  <a:lnTo>
                    <a:pt x="62" y="282"/>
                  </a:lnTo>
                  <a:close/>
                  <a:moveTo>
                    <a:pt x="204" y="54"/>
                  </a:moveTo>
                  <a:lnTo>
                    <a:pt x="206" y="54"/>
                  </a:lnTo>
                  <a:lnTo>
                    <a:pt x="204" y="54"/>
                  </a:lnTo>
                  <a:close/>
                  <a:moveTo>
                    <a:pt x="6" y="376"/>
                  </a:moveTo>
                  <a:lnTo>
                    <a:pt x="8" y="376"/>
                  </a:lnTo>
                  <a:lnTo>
                    <a:pt x="6" y="376"/>
                  </a:lnTo>
                  <a:close/>
                  <a:moveTo>
                    <a:pt x="146" y="144"/>
                  </a:moveTo>
                  <a:lnTo>
                    <a:pt x="146" y="146"/>
                  </a:lnTo>
                  <a:lnTo>
                    <a:pt x="146" y="144"/>
                  </a:lnTo>
                  <a:close/>
                  <a:moveTo>
                    <a:pt x="123" y="184"/>
                  </a:moveTo>
                  <a:lnTo>
                    <a:pt x="125" y="184"/>
                  </a:lnTo>
                  <a:lnTo>
                    <a:pt x="123" y="184"/>
                  </a:lnTo>
                  <a:close/>
                  <a:moveTo>
                    <a:pt x="54" y="296"/>
                  </a:moveTo>
                  <a:lnTo>
                    <a:pt x="54" y="298"/>
                  </a:lnTo>
                  <a:lnTo>
                    <a:pt x="54" y="296"/>
                  </a:lnTo>
                  <a:close/>
                  <a:moveTo>
                    <a:pt x="71" y="284"/>
                  </a:moveTo>
                  <a:lnTo>
                    <a:pt x="71" y="286"/>
                  </a:lnTo>
                  <a:lnTo>
                    <a:pt x="71" y="284"/>
                  </a:lnTo>
                  <a:close/>
                  <a:moveTo>
                    <a:pt x="117" y="190"/>
                  </a:moveTo>
                  <a:lnTo>
                    <a:pt x="119" y="190"/>
                  </a:lnTo>
                  <a:lnTo>
                    <a:pt x="117" y="190"/>
                  </a:lnTo>
                  <a:close/>
                  <a:moveTo>
                    <a:pt x="50" y="302"/>
                  </a:moveTo>
                  <a:lnTo>
                    <a:pt x="50" y="304"/>
                  </a:lnTo>
                  <a:lnTo>
                    <a:pt x="50" y="302"/>
                  </a:lnTo>
                  <a:close/>
                  <a:moveTo>
                    <a:pt x="35" y="319"/>
                  </a:moveTo>
                  <a:lnTo>
                    <a:pt x="35" y="321"/>
                  </a:lnTo>
                  <a:lnTo>
                    <a:pt x="35" y="319"/>
                  </a:lnTo>
                  <a:close/>
                  <a:moveTo>
                    <a:pt x="114" y="198"/>
                  </a:moveTo>
                  <a:lnTo>
                    <a:pt x="115" y="198"/>
                  </a:lnTo>
                  <a:lnTo>
                    <a:pt x="114" y="198"/>
                  </a:lnTo>
                  <a:close/>
                  <a:moveTo>
                    <a:pt x="2" y="378"/>
                  </a:moveTo>
                  <a:lnTo>
                    <a:pt x="4" y="378"/>
                  </a:lnTo>
                  <a:lnTo>
                    <a:pt x="2" y="378"/>
                  </a:lnTo>
                  <a:close/>
                  <a:moveTo>
                    <a:pt x="85" y="428"/>
                  </a:moveTo>
                  <a:lnTo>
                    <a:pt x="85" y="430"/>
                  </a:lnTo>
                  <a:lnTo>
                    <a:pt x="85" y="428"/>
                  </a:lnTo>
                  <a:close/>
                  <a:moveTo>
                    <a:pt x="112" y="200"/>
                  </a:moveTo>
                  <a:lnTo>
                    <a:pt x="112" y="202"/>
                  </a:lnTo>
                  <a:lnTo>
                    <a:pt x="112" y="200"/>
                  </a:lnTo>
                  <a:close/>
                  <a:moveTo>
                    <a:pt x="89" y="261"/>
                  </a:moveTo>
                  <a:lnTo>
                    <a:pt x="91" y="261"/>
                  </a:lnTo>
                  <a:lnTo>
                    <a:pt x="89" y="261"/>
                  </a:lnTo>
                  <a:close/>
                  <a:moveTo>
                    <a:pt x="104" y="236"/>
                  </a:moveTo>
                  <a:lnTo>
                    <a:pt x="106" y="236"/>
                  </a:lnTo>
                  <a:lnTo>
                    <a:pt x="104" y="236"/>
                  </a:lnTo>
                  <a:close/>
                  <a:moveTo>
                    <a:pt x="10" y="380"/>
                  </a:moveTo>
                  <a:lnTo>
                    <a:pt x="10" y="382"/>
                  </a:lnTo>
                  <a:lnTo>
                    <a:pt x="10" y="380"/>
                  </a:lnTo>
                  <a:close/>
                  <a:moveTo>
                    <a:pt x="119" y="188"/>
                  </a:moveTo>
                  <a:lnTo>
                    <a:pt x="119" y="190"/>
                  </a:lnTo>
                  <a:lnTo>
                    <a:pt x="119" y="188"/>
                  </a:lnTo>
                  <a:close/>
                  <a:moveTo>
                    <a:pt x="54" y="457"/>
                  </a:moveTo>
                  <a:lnTo>
                    <a:pt x="56" y="457"/>
                  </a:lnTo>
                  <a:lnTo>
                    <a:pt x="54" y="457"/>
                  </a:lnTo>
                  <a:close/>
                  <a:moveTo>
                    <a:pt x="96" y="254"/>
                  </a:moveTo>
                  <a:lnTo>
                    <a:pt x="96" y="255"/>
                  </a:lnTo>
                  <a:lnTo>
                    <a:pt x="96" y="254"/>
                  </a:lnTo>
                  <a:close/>
                  <a:moveTo>
                    <a:pt x="46" y="459"/>
                  </a:moveTo>
                  <a:lnTo>
                    <a:pt x="48" y="459"/>
                  </a:lnTo>
                  <a:lnTo>
                    <a:pt x="46" y="459"/>
                  </a:lnTo>
                  <a:close/>
                  <a:moveTo>
                    <a:pt x="29" y="315"/>
                  </a:moveTo>
                  <a:lnTo>
                    <a:pt x="31" y="315"/>
                  </a:lnTo>
                  <a:lnTo>
                    <a:pt x="29" y="315"/>
                  </a:lnTo>
                  <a:close/>
                  <a:moveTo>
                    <a:pt x="58" y="286"/>
                  </a:moveTo>
                  <a:lnTo>
                    <a:pt x="58" y="288"/>
                  </a:lnTo>
                  <a:lnTo>
                    <a:pt x="58" y="286"/>
                  </a:lnTo>
                  <a:close/>
                  <a:moveTo>
                    <a:pt x="58" y="453"/>
                  </a:moveTo>
                  <a:lnTo>
                    <a:pt x="58" y="455"/>
                  </a:lnTo>
                  <a:lnTo>
                    <a:pt x="58" y="453"/>
                  </a:lnTo>
                  <a:close/>
                  <a:moveTo>
                    <a:pt x="110" y="236"/>
                  </a:moveTo>
                  <a:lnTo>
                    <a:pt x="110" y="238"/>
                  </a:lnTo>
                  <a:lnTo>
                    <a:pt x="110" y="236"/>
                  </a:lnTo>
                  <a:close/>
                  <a:moveTo>
                    <a:pt x="91" y="254"/>
                  </a:moveTo>
                  <a:lnTo>
                    <a:pt x="92" y="254"/>
                  </a:lnTo>
                  <a:lnTo>
                    <a:pt x="91" y="254"/>
                  </a:lnTo>
                  <a:close/>
                  <a:moveTo>
                    <a:pt x="213" y="42"/>
                  </a:moveTo>
                  <a:lnTo>
                    <a:pt x="215" y="42"/>
                  </a:lnTo>
                  <a:lnTo>
                    <a:pt x="213" y="42"/>
                  </a:lnTo>
                  <a:close/>
                  <a:moveTo>
                    <a:pt x="69" y="294"/>
                  </a:moveTo>
                  <a:lnTo>
                    <a:pt x="71" y="294"/>
                  </a:lnTo>
                  <a:lnTo>
                    <a:pt x="69" y="294"/>
                  </a:lnTo>
                  <a:close/>
                  <a:moveTo>
                    <a:pt x="94" y="257"/>
                  </a:moveTo>
                  <a:lnTo>
                    <a:pt x="94" y="259"/>
                  </a:lnTo>
                  <a:lnTo>
                    <a:pt x="94" y="257"/>
                  </a:lnTo>
                  <a:close/>
                  <a:moveTo>
                    <a:pt x="114" y="200"/>
                  </a:moveTo>
                  <a:lnTo>
                    <a:pt x="114" y="202"/>
                  </a:lnTo>
                  <a:lnTo>
                    <a:pt x="114" y="200"/>
                  </a:lnTo>
                  <a:close/>
                  <a:moveTo>
                    <a:pt x="148" y="115"/>
                  </a:moveTo>
                  <a:lnTo>
                    <a:pt x="150" y="115"/>
                  </a:lnTo>
                  <a:lnTo>
                    <a:pt x="148" y="115"/>
                  </a:lnTo>
                  <a:close/>
                  <a:moveTo>
                    <a:pt x="48" y="302"/>
                  </a:moveTo>
                  <a:lnTo>
                    <a:pt x="50" y="302"/>
                  </a:lnTo>
                  <a:lnTo>
                    <a:pt x="48" y="302"/>
                  </a:lnTo>
                  <a:close/>
                  <a:moveTo>
                    <a:pt x="48" y="298"/>
                  </a:moveTo>
                  <a:lnTo>
                    <a:pt x="48" y="300"/>
                  </a:lnTo>
                  <a:lnTo>
                    <a:pt x="48" y="298"/>
                  </a:lnTo>
                  <a:close/>
                  <a:moveTo>
                    <a:pt x="110" y="229"/>
                  </a:moveTo>
                  <a:lnTo>
                    <a:pt x="110" y="231"/>
                  </a:lnTo>
                  <a:lnTo>
                    <a:pt x="110" y="229"/>
                  </a:lnTo>
                  <a:close/>
                  <a:moveTo>
                    <a:pt x="14" y="430"/>
                  </a:moveTo>
                  <a:lnTo>
                    <a:pt x="14" y="432"/>
                  </a:lnTo>
                  <a:lnTo>
                    <a:pt x="14" y="430"/>
                  </a:lnTo>
                  <a:close/>
                  <a:moveTo>
                    <a:pt x="12" y="425"/>
                  </a:moveTo>
                  <a:lnTo>
                    <a:pt x="12" y="426"/>
                  </a:lnTo>
                  <a:lnTo>
                    <a:pt x="12" y="425"/>
                  </a:lnTo>
                  <a:close/>
                  <a:moveTo>
                    <a:pt x="104" y="231"/>
                  </a:moveTo>
                  <a:lnTo>
                    <a:pt x="106" y="231"/>
                  </a:lnTo>
                  <a:lnTo>
                    <a:pt x="104" y="231"/>
                  </a:lnTo>
                  <a:close/>
                  <a:moveTo>
                    <a:pt x="10" y="411"/>
                  </a:moveTo>
                  <a:lnTo>
                    <a:pt x="10" y="413"/>
                  </a:lnTo>
                  <a:lnTo>
                    <a:pt x="10" y="411"/>
                  </a:lnTo>
                  <a:close/>
                  <a:moveTo>
                    <a:pt x="158" y="121"/>
                  </a:moveTo>
                  <a:lnTo>
                    <a:pt x="160" y="121"/>
                  </a:lnTo>
                  <a:lnTo>
                    <a:pt x="160" y="123"/>
                  </a:lnTo>
                  <a:lnTo>
                    <a:pt x="158" y="123"/>
                  </a:lnTo>
                  <a:lnTo>
                    <a:pt x="158" y="121"/>
                  </a:lnTo>
                  <a:close/>
                  <a:moveTo>
                    <a:pt x="69" y="275"/>
                  </a:moveTo>
                  <a:lnTo>
                    <a:pt x="71" y="275"/>
                  </a:lnTo>
                  <a:lnTo>
                    <a:pt x="69" y="275"/>
                  </a:lnTo>
                  <a:close/>
                  <a:moveTo>
                    <a:pt x="106" y="207"/>
                  </a:moveTo>
                  <a:lnTo>
                    <a:pt x="106" y="209"/>
                  </a:lnTo>
                  <a:lnTo>
                    <a:pt x="106" y="207"/>
                  </a:lnTo>
                  <a:close/>
                  <a:moveTo>
                    <a:pt x="148" y="138"/>
                  </a:moveTo>
                  <a:lnTo>
                    <a:pt x="148" y="140"/>
                  </a:lnTo>
                  <a:lnTo>
                    <a:pt x="148" y="138"/>
                  </a:lnTo>
                  <a:close/>
                  <a:moveTo>
                    <a:pt x="139" y="156"/>
                  </a:moveTo>
                  <a:lnTo>
                    <a:pt x="140" y="156"/>
                  </a:lnTo>
                  <a:lnTo>
                    <a:pt x="140" y="158"/>
                  </a:lnTo>
                  <a:lnTo>
                    <a:pt x="139" y="158"/>
                  </a:lnTo>
                  <a:lnTo>
                    <a:pt x="139" y="156"/>
                  </a:lnTo>
                  <a:close/>
                  <a:moveTo>
                    <a:pt x="148" y="142"/>
                  </a:moveTo>
                  <a:lnTo>
                    <a:pt x="148" y="144"/>
                  </a:lnTo>
                  <a:lnTo>
                    <a:pt x="148" y="142"/>
                  </a:lnTo>
                  <a:close/>
                  <a:moveTo>
                    <a:pt x="10" y="425"/>
                  </a:moveTo>
                  <a:lnTo>
                    <a:pt x="10" y="426"/>
                  </a:lnTo>
                  <a:lnTo>
                    <a:pt x="10" y="425"/>
                  </a:lnTo>
                  <a:close/>
                  <a:moveTo>
                    <a:pt x="56" y="286"/>
                  </a:moveTo>
                  <a:lnTo>
                    <a:pt x="58" y="286"/>
                  </a:lnTo>
                  <a:lnTo>
                    <a:pt x="56" y="286"/>
                  </a:lnTo>
                  <a:close/>
                  <a:moveTo>
                    <a:pt x="12" y="425"/>
                  </a:moveTo>
                  <a:lnTo>
                    <a:pt x="14" y="425"/>
                  </a:lnTo>
                  <a:lnTo>
                    <a:pt x="12" y="425"/>
                  </a:lnTo>
                  <a:close/>
                  <a:moveTo>
                    <a:pt x="77" y="279"/>
                  </a:moveTo>
                  <a:lnTo>
                    <a:pt x="79" y="279"/>
                  </a:lnTo>
                  <a:lnTo>
                    <a:pt x="77" y="279"/>
                  </a:lnTo>
                  <a:close/>
                  <a:moveTo>
                    <a:pt x="52" y="455"/>
                  </a:moveTo>
                  <a:lnTo>
                    <a:pt x="52" y="457"/>
                  </a:lnTo>
                  <a:lnTo>
                    <a:pt x="52" y="455"/>
                  </a:lnTo>
                  <a:close/>
                  <a:moveTo>
                    <a:pt x="225" y="46"/>
                  </a:moveTo>
                  <a:lnTo>
                    <a:pt x="227" y="46"/>
                  </a:lnTo>
                  <a:lnTo>
                    <a:pt x="225" y="46"/>
                  </a:lnTo>
                  <a:close/>
                  <a:moveTo>
                    <a:pt x="12" y="432"/>
                  </a:moveTo>
                  <a:lnTo>
                    <a:pt x="14" y="432"/>
                  </a:lnTo>
                  <a:lnTo>
                    <a:pt x="12" y="432"/>
                  </a:lnTo>
                  <a:close/>
                  <a:moveTo>
                    <a:pt x="64" y="280"/>
                  </a:moveTo>
                  <a:lnTo>
                    <a:pt x="64" y="282"/>
                  </a:lnTo>
                  <a:lnTo>
                    <a:pt x="64" y="280"/>
                  </a:lnTo>
                  <a:close/>
                  <a:moveTo>
                    <a:pt x="142" y="171"/>
                  </a:moveTo>
                  <a:lnTo>
                    <a:pt x="142" y="173"/>
                  </a:lnTo>
                  <a:lnTo>
                    <a:pt x="142" y="171"/>
                  </a:lnTo>
                  <a:close/>
                  <a:moveTo>
                    <a:pt x="286" y="6"/>
                  </a:moveTo>
                  <a:lnTo>
                    <a:pt x="288" y="6"/>
                  </a:lnTo>
                  <a:lnTo>
                    <a:pt x="286" y="6"/>
                  </a:lnTo>
                  <a:close/>
                  <a:moveTo>
                    <a:pt x="58" y="292"/>
                  </a:moveTo>
                  <a:lnTo>
                    <a:pt x="60" y="292"/>
                  </a:lnTo>
                  <a:lnTo>
                    <a:pt x="58" y="292"/>
                  </a:lnTo>
                  <a:close/>
                  <a:moveTo>
                    <a:pt x="123" y="184"/>
                  </a:moveTo>
                  <a:lnTo>
                    <a:pt x="123" y="186"/>
                  </a:lnTo>
                  <a:lnTo>
                    <a:pt x="123" y="184"/>
                  </a:lnTo>
                  <a:close/>
                  <a:moveTo>
                    <a:pt x="10" y="417"/>
                  </a:moveTo>
                  <a:lnTo>
                    <a:pt x="12" y="417"/>
                  </a:lnTo>
                  <a:lnTo>
                    <a:pt x="10" y="417"/>
                  </a:lnTo>
                  <a:close/>
                  <a:moveTo>
                    <a:pt x="6" y="355"/>
                  </a:moveTo>
                  <a:lnTo>
                    <a:pt x="6" y="357"/>
                  </a:lnTo>
                  <a:lnTo>
                    <a:pt x="6" y="355"/>
                  </a:lnTo>
                  <a:close/>
                  <a:moveTo>
                    <a:pt x="52" y="304"/>
                  </a:moveTo>
                  <a:lnTo>
                    <a:pt x="54" y="304"/>
                  </a:lnTo>
                  <a:lnTo>
                    <a:pt x="52" y="304"/>
                  </a:lnTo>
                  <a:close/>
                  <a:moveTo>
                    <a:pt x="54" y="290"/>
                  </a:moveTo>
                  <a:lnTo>
                    <a:pt x="56" y="290"/>
                  </a:lnTo>
                  <a:lnTo>
                    <a:pt x="54" y="290"/>
                  </a:lnTo>
                  <a:close/>
                  <a:moveTo>
                    <a:pt x="94" y="246"/>
                  </a:moveTo>
                  <a:lnTo>
                    <a:pt x="94" y="248"/>
                  </a:lnTo>
                  <a:lnTo>
                    <a:pt x="94" y="246"/>
                  </a:lnTo>
                  <a:close/>
                  <a:moveTo>
                    <a:pt x="4" y="369"/>
                  </a:moveTo>
                  <a:lnTo>
                    <a:pt x="6" y="369"/>
                  </a:lnTo>
                  <a:lnTo>
                    <a:pt x="4" y="369"/>
                  </a:lnTo>
                  <a:close/>
                  <a:moveTo>
                    <a:pt x="92" y="428"/>
                  </a:moveTo>
                  <a:lnTo>
                    <a:pt x="94" y="428"/>
                  </a:lnTo>
                  <a:lnTo>
                    <a:pt x="92" y="428"/>
                  </a:lnTo>
                  <a:close/>
                  <a:moveTo>
                    <a:pt x="10" y="419"/>
                  </a:moveTo>
                  <a:lnTo>
                    <a:pt x="12" y="419"/>
                  </a:lnTo>
                  <a:lnTo>
                    <a:pt x="10" y="419"/>
                  </a:lnTo>
                  <a:close/>
                  <a:moveTo>
                    <a:pt x="112" y="190"/>
                  </a:moveTo>
                  <a:lnTo>
                    <a:pt x="112" y="192"/>
                  </a:lnTo>
                  <a:lnTo>
                    <a:pt x="112" y="190"/>
                  </a:lnTo>
                  <a:close/>
                  <a:moveTo>
                    <a:pt x="152" y="96"/>
                  </a:moveTo>
                  <a:lnTo>
                    <a:pt x="152" y="98"/>
                  </a:lnTo>
                  <a:lnTo>
                    <a:pt x="152" y="96"/>
                  </a:lnTo>
                  <a:close/>
                  <a:moveTo>
                    <a:pt x="146" y="152"/>
                  </a:moveTo>
                  <a:lnTo>
                    <a:pt x="148" y="152"/>
                  </a:lnTo>
                  <a:lnTo>
                    <a:pt x="146" y="152"/>
                  </a:lnTo>
                  <a:close/>
                  <a:moveTo>
                    <a:pt x="158" y="111"/>
                  </a:moveTo>
                  <a:lnTo>
                    <a:pt x="160" y="111"/>
                  </a:lnTo>
                  <a:lnTo>
                    <a:pt x="158" y="111"/>
                  </a:lnTo>
                  <a:close/>
                  <a:moveTo>
                    <a:pt x="62" y="290"/>
                  </a:moveTo>
                  <a:lnTo>
                    <a:pt x="64" y="290"/>
                  </a:lnTo>
                  <a:lnTo>
                    <a:pt x="62" y="290"/>
                  </a:lnTo>
                  <a:close/>
                  <a:moveTo>
                    <a:pt x="148" y="108"/>
                  </a:moveTo>
                  <a:lnTo>
                    <a:pt x="150" y="108"/>
                  </a:lnTo>
                  <a:lnTo>
                    <a:pt x="148" y="108"/>
                  </a:lnTo>
                  <a:close/>
                  <a:moveTo>
                    <a:pt x="125" y="181"/>
                  </a:moveTo>
                  <a:lnTo>
                    <a:pt x="127" y="181"/>
                  </a:lnTo>
                  <a:lnTo>
                    <a:pt x="125" y="181"/>
                  </a:lnTo>
                  <a:close/>
                  <a:moveTo>
                    <a:pt x="106" y="213"/>
                  </a:moveTo>
                  <a:lnTo>
                    <a:pt x="106" y="215"/>
                  </a:lnTo>
                  <a:lnTo>
                    <a:pt x="106" y="213"/>
                  </a:lnTo>
                  <a:close/>
                  <a:moveTo>
                    <a:pt x="108" y="219"/>
                  </a:moveTo>
                  <a:lnTo>
                    <a:pt x="108" y="221"/>
                  </a:lnTo>
                  <a:lnTo>
                    <a:pt x="108" y="219"/>
                  </a:lnTo>
                  <a:close/>
                  <a:moveTo>
                    <a:pt x="139" y="161"/>
                  </a:moveTo>
                  <a:lnTo>
                    <a:pt x="140" y="161"/>
                  </a:lnTo>
                  <a:lnTo>
                    <a:pt x="139" y="161"/>
                  </a:lnTo>
                  <a:close/>
                  <a:moveTo>
                    <a:pt x="211" y="71"/>
                  </a:moveTo>
                  <a:lnTo>
                    <a:pt x="211" y="73"/>
                  </a:lnTo>
                  <a:lnTo>
                    <a:pt x="211" y="71"/>
                  </a:lnTo>
                  <a:close/>
                  <a:moveTo>
                    <a:pt x="137" y="158"/>
                  </a:moveTo>
                  <a:lnTo>
                    <a:pt x="139" y="158"/>
                  </a:lnTo>
                  <a:lnTo>
                    <a:pt x="137" y="158"/>
                  </a:lnTo>
                  <a:close/>
                  <a:moveTo>
                    <a:pt x="96" y="250"/>
                  </a:moveTo>
                  <a:lnTo>
                    <a:pt x="96" y="252"/>
                  </a:lnTo>
                  <a:lnTo>
                    <a:pt x="96" y="250"/>
                  </a:lnTo>
                  <a:close/>
                  <a:moveTo>
                    <a:pt x="92" y="252"/>
                  </a:moveTo>
                  <a:lnTo>
                    <a:pt x="94" y="252"/>
                  </a:lnTo>
                  <a:lnTo>
                    <a:pt x="92" y="252"/>
                  </a:lnTo>
                  <a:close/>
                  <a:moveTo>
                    <a:pt x="91" y="248"/>
                  </a:moveTo>
                  <a:lnTo>
                    <a:pt x="91" y="250"/>
                  </a:lnTo>
                  <a:lnTo>
                    <a:pt x="91" y="248"/>
                  </a:lnTo>
                  <a:close/>
                  <a:moveTo>
                    <a:pt x="54" y="294"/>
                  </a:moveTo>
                  <a:lnTo>
                    <a:pt x="54" y="296"/>
                  </a:lnTo>
                  <a:lnTo>
                    <a:pt x="54" y="294"/>
                  </a:lnTo>
                  <a:close/>
                  <a:moveTo>
                    <a:pt x="8" y="401"/>
                  </a:moveTo>
                  <a:lnTo>
                    <a:pt x="8" y="403"/>
                  </a:lnTo>
                  <a:lnTo>
                    <a:pt x="8" y="401"/>
                  </a:lnTo>
                  <a:close/>
                  <a:moveTo>
                    <a:pt x="131" y="161"/>
                  </a:moveTo>
                  <a:lnTo>
                    <a:pt x="133" y="161"/>
                  </a:lnTo>
                  <a:lnTo>
                    <a:pt x="131" y="161"/>
                  </a:lnTo>
                  <a:close/>
                  <a:moveTo>
                    <a:pt x="104" y="217"/>
                  </a:moveTo>
                  <a:lnTo>
                    <a:pt x="104" y="219"/>
                  </a:lnTo>
                  <a:lnTo>
                    <a:pt x="104" y="217"/>
                  </a:lnTo>
                  <a:close/>
                  <a:moveTo>
                    <a:pt x="58" y="282"/>
                  </a:moveTo>
                  <a:lnTo>
                    <a:pt x="60" y="282"/>
                  </a:lnTo>
                  <a:lnTo>
                    <a:pt x="58" y="282"/>
                  </a:lnTo>
                  <a:close/>
                  <a:moveTo>
                    <a:pt x="204" y="54"/>
                  </a:moveTo>
                  <a:lnTo>
                    <a:pt x="206" y="54"/>
                  </a:lnTo>
                  <a:lnTo>
                    <a:pt x="204" y="54"/>
                  </a:lnTo>
                  <a:close/>
                  <a:moveTo>
                    <a:pt x="208" y="65"/>
                  </a:moveTo>
                  <a:lnTo>
                    <a:pt x="208" y="67"/>
                  </a:lnTo>
                  <a:lnTo>
                    <a:pt x="208" y="65"/>
                  </a:lnTo>
                  <a:close/>
                  <a:moveTo>
                    <a:pt x="18" y="432"/>
                  </a:moveTo>
                  <a:lnTo>
                    <a:pt x="18" y="434"/>
                  </a:lnTo>
                  <a:lnTo>
                    <a:pt x="18" y="432"/>
                  </a:lnTo>
                  <a:close/>
                  <a:moveTo>
                    <a:pt x="110" y="231"/>
                  </a:moveTo>
                  <a:lnTo>
                    <a:pt x="110" y="232"/>
                  </a:lnTo>
                  <a:lnTo>
                    <a:pt x="110" y="231"/>
                  </a:lnTo>
                  <a:close/>
                  <a:moveTo>
                    <a:pt x="112" y="188"/>
                  </a:moveTo>
                  <a:lnTo>
                    <a:pt x="112" y="190"/>
                  </a:lnTo>
                  <a:lnTo>
                    <a:pt x="112" y="188"/>
                  </a:lnTo>
                  <a:close/>
                  <a:moveTo>
                    <a:pt x="12" y="400"/>
                  </a:moveTo>
                  <a:lnTo>
                    <a:pt x="14" y="400"/>
                  </a:lnTo>
                  <a:lnTo>
                    <a:pt x="12" y="400"/>
                  </a:lnTo>
                  <a:close/>
                  <a:moveTo>
                    <a:pt x="119" y="188"/>
                  </a:moveTo>
                  <a:lnTo>
                    <a:pt x="121" y="188"/>
                  </a:lnTo>
                  <a:lnTo>
                    <a:pt x="119" y="188"/>
                  </a:lnTo>
                  <a:close/>
                  <a:moveTo>
                    <a:pt x="58" y="284"/>
                  </a:moveTo>
                  <a:lnTo>
                    <a:pt x="60" y="284"/>
                  </a:lnTo>
                  <a:lnTo>
                    <a:pt x="58" y="284"/>
                  </a:lnTo>
                  <a:close/>
                  <a:moveTo>
                    <a:pt x="96" y="254"/>
                  </a:moveTo>
                  <a:lnTo>
                    <a:pt x="98" y="254"/>
                  </a:lnTo>
                  <a:lnTo>
                    <a:pt x="96" y="254"/>
                  </a:lnTo>
                  <a:close/>
                  <a:moveTo>
                    <a:pt x="110" y="231"/>
                  </a:moveTo>
                  <a:lnTo>
                    <a:pt x="110" y="232"/>
                  </a:lnTo>
                  <a:lnTo>
                    <a:pt x="110" y="231"/>
                  </a:lnTo>
                  <a:close/>
                  <a:moveTo>
                    <a:pt x="110" y="154"/>
                  </a:moveTo>
                  <a:lnTo>
                    <a:pt x="112" y="154"/>
                  </a:lnTo>
                  <a:lnTo>
                    <a:pt x="110" y="154"/>
                  </a:lnTo>
                  <a:close/>
                  <a:moveTo>
                    <a:pt x="114" y="217"/>
                  </a:moveTo>
                  <a:lnTo>
                    <a:pt x="114" y="219"/>
                  </a:lnTo>
                  <a:lnTo>
                    <a:pt x="114" y="217"/>
                  </a:lnTo>
                  <a:close/>
                  <a:moveTo>
                    <a:pt x="117" y="181"/>
                  </a:moveTo>
                  <a:lnTo>
                    <a:pt x="117" y="182"/>
                  </a:lnTo>
                  <a:lnTo>
                    <a:pt x="117" y="181"/>
                  </a:lnTo>
                  <a:close/>
                  <a:moveTo>
                    <a:pt x="125" y="136"/>
                  </a:moveTo>
                  <a:lnTo>
                    <a:pt x="125" y="138"/>
                  </a:lnTo>
                  <a:lnTo>
                    <a:pt x="125" y="136"/>
                  </a:lnTo>
                  <a:close/>
                  <a:moveTo>
                    <a:pt x="110" y="219"/>
                  </a:moveTo>
                  <a:lnTo>
                    <a:pt x="110" y="221"/>
                  </a:lnTo>
                  <a:lnTo>
                    <a:pt x="110" y="219"/>
                  </a:lnTo>
                  <a:close/>
                  <a:moveTo>
                    <a:pt x="112" y="215"/>
                  </a:moveTo>
                  <a:lnTo>
                    <a:pt x="112" y="217"/>
                  </a:lnTo>
                  <a:lnTo>
                    <a:pt x="112" y="215"/>
                  </a:lnTo>
                  <a:close/>
                  <a:moveTo>
                    <a:pt x="156" y="96"/>
                  </a:moveTo>
                  <a:lnTo>
                    <a:pt x="158" y="96"/>
                  </a:lnTo>
                  <a:lnTo>
                    <a:pt x="156" y="96"/>
                  </a:lnTo>
                  <a:close/>
                  <a:moveTo>
                    <a:pt x="77" y="279"/>
                  </a:moveTo>
                  <a:lnTo>
                    <a:pt x="77" y="280"/>
                  </a:lnTo>
                  <a:lnTo>
                    <a:pt x="77" y="279"/>
                  </a:lnTo>
                  <a:close/>
                  <a:moveTo>
                    <a:pt x="96" y="250"/>
                  </a:moveTo>
                  <a:lnTo>
                    <a:pt x="96" y="252"/>
                  </a:lnTo>
                  <a:lnTo>
                    <a:pt x="96" y="250"/>
                  </a:lnTo>
                  <a:close/>
                  <a:moveTo>
                    <a:pt x="110" y="227"/>
                  </a:moveTo>
                  <a:lnTo>
                    <a:pt x="112" y="227"/>
                  </a:lnTo>
                  <a:lnTo>
                    <a:pt x="110" y="227"/>
                  </a:lnTo>
                  <a:close/>
                  <a:moveTo>
                    <a:pt x="108" y="238"/>
                  </a:moveTo>
                  <a:lnTo>
                    <a:pt x="110" y="238"/>
                  </a:lnTo>
                  <a:lnTo>
                    <a:pt x="108" y="238"/>
                  </a:lnTo>
                  <a:close/>
                  <a:moveTo>
                    <a:pt x="112" y="215"/>
                  </a:moveTo>
                  <a:lnTo>
                    <a:pt x="114" y="215"/>
                  </a:lnTo>
                  <a:lnTo>
                    <a:pt x="112" y="215"/>
                  </a:lnTo>
                  <a:close/>
                  <a:moveTo>
                    <a:pt x="94" y="257"/>
                  </a:moveTo>
                  <a:lnTo>
                    <a:pt x="96" y="257"/>
                  </a:lnTo>
                  <a:lnTo>
                    <a:pt x="94" y="257"/>
                  </a:lnTo>
                  <a:close/>
                  <a:moveTo>
                    <a:pt x="66" y="280"/>
                  </a:moveTo>
                  <a:lnTo>
                    <a:pt x="68" y="280"/>
                  </a:lnTo>
                  <a:lnTo>
                    <a:pt x="66" y="280"/>
                  </a:lnTo>
                  <a:close/>
                  <a:moveTo>
                    <a:pt x="104" y="217"/>
                  </a:moveTo>
                  <a:lnTo>
                    <a:pt x="104" y="219"/>
                  </a:lnTo>
                  <a:lnTo>
                    <a:pt x="104" y="217"/>
                  </a:lnTo>
                  <a:close/>
                  <a:moveTo>
                    <a:pt x="48" y="296"/>
                  </a:moveTo>
                  <a:lnTo>
                    <a:pt x="48" y="298"/>
                  </a:lnTo>
                  <a:lnTo>
                    <a:pt x="48" y="296"/>
                  </a:lnTo>
                  <a:close/>
                  <a:moveTo>
                    <a:pt x="119" y="146"/>
                  </a:moveTo>
                  <a:lnTo>
                    <a:pt x="121" y="146"/>
                  </a:lnTo>
                  <a:lnTo>
                    <a:pt x="119" y="146"/>
                  </a:lnTo>
                  <a:close/>
                  <a:moveTo>
                    <a:pt x="66" y="279"/>
                  </a:moveTo>
                  <a:lnTo>
                    <a:pt x="66" y="280"/>
                  </a:lnTo>
                  <a:lnTo>
                    <a:pt x="66" y="279"/>
                  </a:lnTo>
                  <a:close/>
                  <a:moveTo>
                    <a:pt x="150" y="104"/>
                  </a:moveTo>
                  <a:lnTo>
                    <a:pt x="152" y="104"/>
                  </a:lnTo>
                  <a:lnTo>
                    <a:pt x="150" y="104"/>
                  </a:lnTo>
                  <a:close/>
                  <a:moveTo>
                    <a:pt x="133" y="171"/>
                  </a:moveTo>
                  <a:lnTo>
                    <a:pt x="135" y="171"/>
                  </a:lnTo>
                  <a:lnTo>
                    <a:pt x="133" y="171"/>
                  </a:lnTo>
                  <a:close/>
                  <a:moveTo>
                    <a:pt x="73" y="436"/>
                  </a:moveTo>
                  <a:lnTo>
                    <a:pt x="73" y="438"/>
                  </a:lnTo>
                  <a:lnTo>
                    <a:pt x="73" y="436"/>
                  </a:lnTo>
                  <a:close/>
                  <a:moveTo>
                    <a:pt x="211" y="48"/>
                  </a:moveTo>
                  <a:lnTo>
                    <a:pt x="211" y="50"/>
                  </a:lnTo>
                  <a:lnTo>
                    <a:pt x="211" y="48"/>
                  </a:lnTo>
                  <a:close/>
                  <a:moveTo>
                    <a:pt x="115" y="206"/>
                  </a:moveTo>
                  <a:lnTo>
                    <a:pt x="117" y="206"/>
                  </a:lnTo>
                  <a:lnTo>
                    <a:pt x="115" y="206"/>
                  </a:lnTo>
                  <a:close/>
                  <a:moveTo>
                    <a:pt x="8" y="409"/>
                  </a:moveTo>
                  <a:lnTo>
                    <a:pt x="10" y="409"/>
                  </a:lnTo>
                  <a:lnTo>
                    <a:pt x="8" y="409"/>
                  </a:lnTo>
                  <a:close/>
                  <a:moveTo>
                    <a:pt x="135" y="121"/>
                  </a:moveTo>
                  <a:lnTo>
                    <a:pt x="135" y="123"/>
                  </a:lnTo>
                  <a:lnTo>
                    <a:pt x="135" y="121"/>
                  </a:lnTo>
                  <a:close/>
                  <a:moveTo>
                    <a:pt x="125" y="188"/>
                  </a:moveTo>
                  <a:lnTo>
                    <a:pt x="127" y="188"/>
                  </a:lnTo>
                  <a:lnTo>
                    <a:pt x="125" y="188"/>
                  </a:lnTo>
                  <a:close/>
                  <a:moveTo>
                    <a:pt x="112" y="211"/>
                  </a:moveTo>
                  <a:lnTo>
                    <a:pt x="112" y="213"/>
                  </a:lnTo>
                  <a:lnTo>
                    <a:pt x="112" y="211"/>
                  </a:lnTo>
                  <a:close/>
                  <a:moveTo>
                    <a:pt x="119" y="188"/>
                  </a:moveTo>
                  <a:lnTo>
                    <a:pt x="119" y="190"/>
                  </a:lnTo>
                  <a:lnTo>
                    <a:pt x="119" y="188"/>
                  </a:lnTo>
                  <a:close/>
                  <a:moveTo>
                    <a:pt x="81" y="280"/>
                  </a:moveTo>
                  <a:lnTo>
                    <a:pt x="83" y="280"/>
                  </a:lnTo>
                  <a:lnTo>
                    <a:pt x="81" y="280"/>
                  </a:lnTo>
                  <a:close/>
                  <a:moveTo>
                    <a:pt x="58" y="307"/>
                  </a:moveTo>
                  <a:lnTo>
                    <a:pt x="60" y="307"/>
                  </a:lnTo>
                  <a:lnTo>
                    <a:pt x="58" y="307"/>
                  </a:lnTo>
                  <a:close/>
                  <a:moveTo>
                    <a:pt x="21" y="423"/>
                  </a:moveTo>
                  <a:lnTo>
                    <a:pt x="23" y="423"/>
                  </a:lnTo>
                  <a:lnTo>
                    <a:pt x="21" y="423"/>
                  </a:lnTo>
                  <a:close/>
                  <a:moveTo>
                    <a:pt x="2" y="384"/>
                  </a:moveTo>
                  <a:lnTo>
                    <a:pt x="4" y="384"/>
                  </a:lnTo>
                  <a:lnTo>
                    <a:pt x="2" y="384"/>
                  </a:lnTo>
                  <a:close/>
                  <a:moveTo>
                    <a:pt x="137" y="163"/>
                  </a:moveTo>
                  <a:lnTo>
                    <a:pt x="139" y="163"/>
                  </a:lnTo>
                  <a:lnTo>
                    <a:pt x="137" y="163"/>
                  </a:lnTo>
                  <a:close/>
                  <a:moveTo>
                    <a:pt x="110" y="231"/>
                  </a:moveTo>
                  <a:lnTo>
                    <a:pt x="112" y="231"/>
                  </a:lnTo>
                  <a:lnTo>
                    <a:pt x="110" y="231"/>
                  </a:lnTo>
                  <a:close/>
                  <a:moveTo>
                    <a:pt x="98" y="225"/>
                  </a:moveTo>
                  <a:lnTo>
                    <a:pt x="100" y="225"/>
                  </a:lnTo>
                  <a:lnTo>
                    <a:pt x="98" y="225"/>
                  </a:lnTo>
                  <a:close/>
                  <a:moveTo>
                    <a:pt x="92" y="250"/>
                  </a:moveTo>
                  <a:lnTo>
                    <a:pt x="94" y="250"/>
                  </a:lnTo>
                  <a:lnTo>
                    <a:pt x="92" y="250"/>
                  </a:lnTo>
                  <a:close/>
                  <a:moveTo>
                    <a:pt x="117" y="196"/>
                  </a:moveTo>
                  <a:lnTo>
                    <a:pt x="117" y="198"/>
                  </a:lnTo>
                  <a:lnTo>
                    <a:pt x="117" y="196"/>
                  </a:lnTo>
                  <a:close/>
                  <a:moveTo>
                    <a:pt x="135" y="123"/>
                  </a:moveTo>
                  <a:lnTo>
                    <a:pt x="137" y="123"/>
                  </a:lnTo>
                  <a:lnTo>
                    <a:pt x="135" y="123"/>
                  </a:lnTo>
                  <a:close/>
                  <a:moveTo>
                    <a:pt x="104" y="232"/>
                  </a:moveTo>
                  <a:lnTo>
                    <a:pt x="104" y="234"/>
                  </a:lnTo>
                  <a:lnTo>
                    <a:pt x="104" y="232"/>
                  </a:lnTo>
                  <a:close/>
                  <a:moveTo>
                    <a:pt x="44" y="461"/>
                  </a:moveTo>
                  <a:lnTo>
                    <a:pt x="46" y="461"/>
                  </a:lnTo>
                  <a:lnTo>
                    <a:pt x="44" y="461"/>
                  </a:lnTo>
                  <a:close/>
                  <a:moveTo>
                    <a:pt x="110" y="231"/>
                  </a:moveTo>
                  <a:lnTo>
                    <a:pt x="110" y="232"/>
                  </a:lnTo>
                  <a:lnTo>
                    <a:pt x="110" y="231"/>
                  </a:lnTo>
                  <a:close/>
                  <a:moveTo>
                    <a:pt x="12" y="355"/>
                  </a:moveTo>
                  <a:lnTo>
                    <a:pt x="12" y="357"/>
                  </a:lnTo>
                  <a:lnTo>
                    <a:pt x="12" y="355"/>
                  </a:lnTo>
                  <a:close/>
                  <a:moveTo>
                    <a:pt x="131" y="133"/>
                  </a:moveTo>
                  <a:lnTo>
                    <a:pt x="133" y="133"/>
                  </a:lnTo>
                  <a:lnTo>
                    <a:pt x="131" y="133"/>
                  </a:lnTo>
                  <a:close/>
                  <a:moveTo>
                    <a:pt x="58" y="288"/>
                  </a:moveTo>
                  <a:lnTo>
                    <a:pt x="60" y="288"/>
                  </a:lnTo>
                  <a:lnTo>
                    <a:pt x="58" y="288"/>
                  </a:lnTo>
                  <a:close/>
                  <a:moveTo>
                    <a:pt x="96" y="254"/>
                  </a:moveTo>
                  <a:lnTo>
                    <a:pt x="96" y="255"/>
                  </a:lnTo>
                  <a:lnTo>
                    <a:pt x="96" y="254"/>
                  </a:lnTo>
                  <a:close/>
                  <a:moveTo>
                    <a:pt x="69" y="290"/>
                  </a:moveTo>
                  <a:lnTo>
                    <a:pt x="71" y="290"/>
                  </a:lnTo>
                  <a:lnTo>
                    <a:pt x="69" y="290"/>
                  </a:lnTo>
                  <a:close/>
                  <a:moveTo>
                    <a:pt x="48" y="296"/>
                  </a:moveTo>
                  <a:lnTo>
                    <a:pt x="50" y="296"/>
                  </a:lnTo>
                  <a:lnTo>
                    <a:pt x="48" y="296"/>
                  </a:lnTo>
                  <a:close/>
                  <a:moveTo>
                    <a:pt x="144" y="109"/>
                  </a:moveTo>
                  <a:lnTo>
                    <a:pt x="144" y="111"/>
                  </a:lnTo>
                  <a:lnTo>
                    <a:pt x="144" y="109"/>
                  </a:lnTo>
                  <a:close/>
                  <a:moveTo>
                    <a:pt x="114" y="204"/>
                  </a:moveTo>
                  <a:lnTo>
                    <a:pt x="115" y="204"/>
                  </a:lnTo>
                  <a:lnTo>
                    <a:pt x="114" y="204"/>
                  </a:lnTo>
                  <a:close/>
                  <a:moveTo>
                    <a:pt x="152" y="136"/>
                  </a:moveTo>
                  <a:lnTo>
                    <a:pt x="152" y="138"/>
                  </a:lnTo>
                  <a:lnTo>
                    <a:pt x="152" y="136"/>
                  </a:lnTo>
                  <a:close/>
                  <a:moveTo>
                    <a:pt x="363" y="58"/>
                  </a:moveTo>
                  <a:lnTo>
                    <a:pt x="365" y="58"/>
                  </a:lnTo>
                  <a:lnTo>
                    <a:pt x="363" y="58"/>
                  </a:lnTo>
                  <a:close/>
                  <a:moveTo>
                    <a:pt x="94" y="432"/>
                  </a:moveTo>
                  <a:lnTo>
                    <a:pt x="94" y="434"/>
                  </a:lnTo>
                  <a:lnTo>
                    <a:pt x="94" y="432"/>
                  </a:lnTo>
                  <a:close/>
                  <a:moveTo>
                    <a:pt x="58" y="286"/>
                  </a:moveTo>
                  <a:lnTo>
                    <a:pt x="58" y="288"/>
                  </a:lnTo>
                  <a:lnTo>
                    <a:pt x="58" y="286"/>
                  </a:lnTo>
                  <a:close/>
                  <a:moveTo>
                    <a:pt x="75" y="284"/>
                  </a:moveTo>
                  <a:lnTo>
                    <a:pt x="77" y="284"/>
                  </a:lnTo>
                  <a:lnTo>
                    <a:pt x="75" y="284"/>
                  </a:lnTo>
                  <a:close/>
                  <a:moveTo>
                    <a:pt x="125" y="184"/>
                  </a:moveTo>
                  <a:lnTo>
                    <a:pt x="125" y="186"/>
                  </a:lnTo>
                  <a:lnTo>
                    <a:pt x="125" y="184"/>
                  </a:lnTo>
                  <a:close/>
                  <a:moveTo>
                    <a:pt x="206" y="54"/>
                  </a:moveTo>
                  <a:lnTo>
                    <a:pt x="206" y="56"/>
                  </a:lnTo>
                  <a:lnTo>
                    <a:pt x="206" y="54"/>
                  </a:lnTo>
                  <a:close/>
                  <a:moveTo>
                    <a:pt x="256" y="25"/>
                  </a:moveTo>
                  <a:lnTo>
                    <a:pt x="256" y="27"/>
                  </a:lnTo>
                  <a:lnTo>
                    <a:pt x="256" y="25"/>
                  </a:lnTo>
                  <a:close/>
                  <a:moveTo>
                    <a:pt x="89" y="407"/>
                  </a:moveTo>
                  <a:lnTo>
                    <a:pt x="89" y="409"/>
                  </a:lnTo>
                  <a:lnTo>
                    <a:pt x="89" y="407"/>
                  </a:lnTo>
                  <a:close/>
                  <a:moveTo>
                    <a:pt x="108" y="217"/>
                  </a:moveTo>
                  <a:lnTo>
                    <a:pt x="110" y="217"/>
                  </a:lnTo>
                  <a:lnTo>
                    <a:pt x="108" y="217"/>
                  </a:lnTo>
                  <a:close/>
                  <a:moveTo>
                    <a:pt x="148" y="148"/>
                  </a:moveTo>
                  <a:lnTo>
                    <a:pt x="150" y="148"/>
                  </a:lnTo>
                  <a:lnTo>
                    <a:pt x="148" y="148"/>
                  </a:lnTo>
                  <a:close/>
                  <a:moveTo>
                    <a:pt x="160" y="133"/>
                  </a:moveTo>
                  <a:lnTo>
                    <a:pt x="162" y="133"/>
                  </a:lnTo>
                  <a:lnTo>
                    <a:pt x="160" y="133"/>
                  </a:lnTo>
                  <a:close/>
                  <a:moveTo>
                    <a:pt x="56" y="286"/>
                  </a:moveTo>
                  <a:lnTo>
                    <a:pt x="56" y="288"/>
                  </a:lnTo>
                  <a:lnTo>
                    <a:pt x="56" y="286"/>
                  </a:lnTo>
                  <a:close/>
                  <a:moveTo>
                    <a:pt x="4" y="378"/>
                  </a:moveTo>
                  <a:lnTo>
                    <a:pt x="4" y="380"/>
                  </a:lnTo>
                  <a:lnTo>
                    <a:pt x="4" y="378"/>
                  </a:lnTo>
                  <a:close/>
                  <a:moveTo>
                    <a:pt x="148" y="125"/>
                  </a:moveTo>
                  <a:lnTo>
                    <a:pt x="150" y="125"/>
                  </a:lnTo>
                  <a:lnTo>
                    <a:pt x="150" y="127"/>
                  </a:lnTo>
                  <a:lnTo>
                    <a:pt x="148" y="127"/>
                  </a:lnTo>
                  <a:lnTo>
                    <a:pt x="148" y="125"/>
                  </a:lnTo>
                  <a:close/>
                  <a:moveTo>
                    <a:pt x="156" y="123"/>
                  </a:moveTo>
                  <a:lnTo>
                    <a:pt x="158" y="123"/>
                  </a:lnTo>
                  <a:lnTo>
                    <a:pt x="156" y="123"/>
                  </a:lnTo>
                  <a:close/>
                  <a:moveTo>
                    <a:pt x="185" y="77"/>
                  </a:moveTo>
                  <a:lnTo>
                    <a:pt x="187" y="77"/>
                  </a:lnTo>
                  <a:lnTo>
                    <a:pt x="185" y="77"/>
                  </a:lnTo>
                  <a:close/>
                  <a:moveTo>
                    <a:pt x="110" y="202"/>
                  </a:moveTo>
                  <a:lnTo>
                    <a:pt x="112" y="202"/>
                  </a:lnTo>
                  <a:lnTo>
                    <a:pt x="110" y="202"/>
                  </a:lnTo>
                  <a:close/>
                  <a:moveTo>
                    <a:pt x="148" y="163"/>
                  </a:moveTo>
                  <a:lnTo>
                    <a:pt x="150" y="163"/>
                  </a:lnTo>
                  <a:lnTo>
                    <a:pt x="148" y="163"/>
                  </a:lnTo>
                  <a:close/>
                  <a:moveTo>
                    <a:pt x="163" y="121"/>
                  </a:moveTo>
                  <a:lnTo>
                    <a:pt x="163" y="123"/>
                  </a:lnTo>
                  <a:lnTo>
                    <a:pt x="163" y="121"/>
                  </a:lnTo>
                  <a:close/>
                  <a:moveTo>
                    <a:pt x="35" y="313"/>
                  </a:moveTo>
                  <a:lnTo>
                    <a:pt x="35" y="315"/>
                  </a:lnTo>
                  <a:lnTo>
                    <a:pt x="35" y="313"/>
                  </a:lnTo>
                  <a:close/>
                  <a:moveTo>
                    <a:pt x="16" y="334"/>
                  </a:moveTo>
                  <a:lnTo>
                    <a:pt x="18" y="334"/>
                  </a:lnTo>
                  <a:lnTo>
                    <a:pt x="16" y="334"/>
                  </a:lnTo>
                  <a:close/>
                  <a:moveTo>
                    <a:pt x="43" y="309"/>
                  </a:moveTo>
                  <a:lnTo>
                    <a:pt x="44" y="309"/>
                  </a:lnTo>
                  <a:lnTo>
                    <a:pt x="43" y="309"/>
                  </a:lnTo>
                  <a:close/>
                  <a:moveTo>
                    <a:pt x="150" y="125"/>
                  </a:moveTo>
                  <a:lnTo>
                    <a:pt x="150" y="127"/>
                  </a:lnTo>
                  <a:lnTo>
                    <a:pt x="150" y="125"/>
                  </a:lnTo>
                  <a:close/>
                  <a:moveTo>
                    <a:pt x="139" y="171"/>
                  </a:moveTo>
                  <a:lnTo>
                    <a:pt x="139" y="173"/>
                  </a:lnTo>
                  <a:lnTo>
                    <a:pt x="139" y="171"/>
                  </a:lnTo>
                  <a:close/>
                  <a:moveTo>
                    <a:pt x="94" y="248"/>
                  </a:moveTo>
                  <a:lnTo>
                    <a:pt x="94" y="250"/>
                  </a:lnTo>
                  <a:lnTo>
                    <a:pt x="94" y="248"/>
                  </a:lnTo>
                  <a:close/>
                  <a:moveTo>
                    <a:pt x="108" y="234"/>
                  </a:moveTo>
                  <a:lnTo>
                    <a:pt x="110" y="234"/>
                  </a:lnTo>
                  <a:lnTo>
                    <a:pt x="108" y="234"/>
                  </a:lnTo>
                  <a:close/>
                  <a:moveTo>
                    <a:pt x="68" y="277"/>
                  </a:moveTo>
                  <a:lnTo>
                    <a:pt x="68" y="279"/>
                  </a:lnTo>
                  <a:lnTo>
                    <a:pt x="68" y="277"/>
                  </a:lnTo>
                  <a:close/>
                  <a:moveTo>
                    <a:pt x="58" y="292"/>
                  </a:moveTo>
                  <a:lnTo>
                    <a:pt x="58" y="294"/>
                  </a:lnTo>
                  <a:lnTo>
                    <a:pt x="58" y="292"/>
                  </a:lnTo>
                  <a:close/>
                  <a:moveTo>
                    <a:pt x="163" y="123"/>
                  </a:moveTo>
                  <a:lnTo>
                    <a:pt x="163" y="125"/>
                  </a:lnTo>
                  <a:lnTo>
                    <a:pt x="163" y="123"/>
                  </a:lnTo>
                  <a:close/>
                  <a:moveTo>
                    <a:pt x="112" y="227"/>
                  </a:moveTo>
                  <a:lnTo>
                    <a:pt x="112" y="229"/>
                  </a:lnTo>
                  <a:lnTo>
                    <a:pt x="112" y="227"/>
                  </a:lnTo>
                  <a:close/>
                  <a:moveTo>
                    <a:pt x="44" y="304"/>
                  </a:moveTo>
                  <a:lnTo>
                    <a:pt x="44" y="305"/>
                  </a:lnTo>
                  <a:lnTo>
                    <a:pt x="44" y="304"/>
                  </a:lnTo>
                  <a:close/>
                  <a:moveTo>
                    <a:pt x="94" y="252"/>
                  </a:moveTo>
                  <a:lnTo>
                    <a:pt x="96" y="252"/>
                  </a:lnTo>
                  <a:lnTo>
                    <a:pt x="94" y="252"/>
                  </a:lnTo>
                  <a:close/>
                  <a:moveTo>
                    <a:pt x="162" y="133"/>
                  </a:moveTo>
                  <a:lnTo>
                    <a:pt x="162" y="134"/>
                  </a:lnTo>
                  <a:lnTo>
                    <a:pt x="162" y="133"/>
                  </a:lnTo>
                  <a:close/>
                  <a:moveTo>
                    <a:pt x="96" y="250"/>
                  </a:moveTo>
                  <a:lnTo>
                    <a:pt x="96" y="252"/>
                  </a:lnTo>
                  <a:lnTo>
                    <a:pt x="96" y="250"/>
                  </a:lnTo>
                  <a:close/>
                  <a:moveTo>
                    <a:pt x="108" y="232"/>
                  </a:moveTo>
                  <a:lnTo>
                    <a:pt x="110" y="232"/>
                  </a:lnTo>
                  <a:lnTo>
                    <a:pt x="108" y="232"/>
                  </a:lnTo>
                  <a:close/>
                  <a:moveTo>
                    <a:pt x="106" y="217"/>
                  </a:moveTo>
                  <a:lnTo>
                    <a:pt x="106" y="219"/>
                  </a:lnTo>
                  <a:lnTo>
                    <a:pt x="106" y="217"/>
                  </a:lnTo>
                  <a:close/>
                  <a:moveTo>
                    <a:pt x="77" y="277"/>
                  </a:moveTo>
                  <a:lnTo>
                    <a:pt x="79" y="277"/>
                  </a:lnTo>
                  <a:lnTo>
                    <a:pt x="79" y="279"/>
                  </a:lnTo>
                  <a:lnTo>
                    <a:pt x="77" y="279"/>
                  </a:lnTo>
                  <a:lnTo>
                    <a:pt x="77" y="277"/>
                  </a:lnTo>
                  <a:close/>
                  <a:moveTo>
                    <a:pt x="2" y="365"/>
                  </a:moveTo>
                  <a:lnTo>
                    <a:pt x="2" y="367"/>
                  </a:lnTo>
                  <a:lnTo>
                    <a:pt x="2" y="365"/>
                  </a:lnTo>
                  <a:close/>
                  <a:moveTo>
                    <a:pt x="119" y="192"/>
                  </a:moveTo>
                  <a:lnTo>
                    <a:pt x="121" y="192"/>
                  </a:lnTo>
                  <a:lnTo>
                    <a:pt x="119" y="192"/>
                  </a:lnTo>
                  <a:close/>
                  <a:moveTo>
                    <a:pt x="91" y="246"/>
                  </a:moveTo>
                  <a:lnTo>
                    <a:pt x="92" y="246"/>
                  </a:lnTo>
                  <a:lnTo>
                    <a:pt x="91" y="246"/>
                  </a:lnTo>
                  <a:close/>
                  <a:moveTo>
                    <a:pt x="8" y="401"/>
                  </a:moveTo>
                  <a:lnTo>
                    <a:pt x="10" y="401"/>
                  </a:lnTo>
                  <a:lnTo>
                    <a:pt x="8" y="401"/>
                  </a:lnTo>
                  <a:close/>
                  <a:moveTo>
                    <a:pt x="89" y="261"/>
                  </a:moveTo>
                  <a:lnTo>
                    <a:pt x="91" y="261"/>
                  </a:lnTo>
                  <a:lnTo>
                    <a:pt x="89" y="261"/>
                  </a:lnTo>
                  <a:close/>
                  <a:moveTo>
                    <a:pt x="6" y="346"/>
                  </a:moveTo>
                  <a:lnTo>
                    <a:pt x="8" y="346"/>
                  </a:lnTo>
                  <a:lnTo>
                    <a:pt x="6" y="346"/>
                  </a:lnTo>
                  <a:close/>
                  <a:moveTo>
                    <a:pt x="196" y="69"/>
                  </a:moveTo>
                  <a:lnTo>
                    <a:pt x="198" y="69"/>
                  </a:lnTo>
                  <a:lnTo>
                    <a:pt x="196" y="69"/>
                  </a:lnTo>
                  <a:close/>
                  <a:moveTo>
                    <a:pt x="94" y="428"/>
                  </a:moveTo>
                  <a:lnTo>
                    <a:pt x="96" y="428"/>
                  </a:lnTo>
                  <a:lnTo>
                    <a:pt x="94" y="428"/>
                  </a:lnTo>
                  <a:close/>
                  <a:moveTo>
                    <a:pt x="300" y="42"/>
                  </a:moveTo>
                  <a:lnTo>
                    <a:pt x="302" y="42"/>
                  </a:lnTo>
                  <a:lnTo>
                    <a:pt x="300" y="42"/>
                  </a:lnTo>
                  <a:close/>
                  <a:moveTo>
                    <a:pt x="135" y="167"/>
                  </a:moveTo>
                  <a:lnTo>
                    <a:pt x="137" y="167"/>
                  </a:lnTo>
                  <a:lnTo>
                    <a:pt x="135" y="167"/>
                  </a:lnTo>
                  <a:close/>
                  <a:moveTo>
                    <a:pt x="154" y="146"/>
                  </a:moveTo>
                  <a:lnTo>
                    <a:pt x="156" y="146"/>
                  </a:lnTo>
                  <a:lnTo>
                    <a:pt x="154" y="146"/>
                  </a:lnTo>
                  <a:close/>
                  <a:moveTo>
                    <a:pt x="48" y="300"/>
                  </a:moveTo>
                  <a:lnTo>
                    <a:pt x="48" y="302"/>
                  </a:lnTo>
                  <a:lnTo>
                    <a:pt x="48" y="300"/>
                  </a:lnTo>
                  <a:close/>
                  <a:moveTo>
                    <a:pt x="125" y="136"/>
                  </a:moveTo>
                  <a:lnTo>
                    <a:pt x="125" y="138"/>
                  </a:lnTo>
                  <a:lnTo>
                    <a:pt x="125" y="136"/>
                  </a:lnTo>
                  <a:close/>
                  <a:moveTo>
                    <a:pt x="263" y="31"/>
                  </a:moveTo>
                  <a:lnTo>
                    <a:pt x="263" y="33"/>
                  </a:lnTo>
                  <a:lnTo>
                    <a:pt x="263" y="31"/>
                  </a:lnTo>
                  <a:close/>
                  <a:moveTo>
                    <a:pt x="192" y="100"/>
                  </a:moveTo>
                  <a:lnTo>
                    <a:pt x="194" y="100"/>
                  </a:lnTo>
                  <a:lnTo>
                    <a:pt x="192" y="100"/>
                  </a:lnTo>
                  <a:close/>
                  <a:moveTo>
                    <a:pt x="114" y="213"/>
                  </a:moveTo>
                  <a:lnTo>
                    <a:pt x="114" y="215"/>
                  </a:lnTo>
                  <a:lnTo>
                    <a:pt x="114" y="213"/>
                  </a:lnTo>
                  <a:close/>
                  <a:moveTo>
                    <a:pt x="304" y="4"/>
                  </a:moveTo>
                  <a:lnTo>
                    <a:pt x="306" y="4"/>
                  </a:lnTo>
                  <a:lnTo>
                    <a:pt x="304" y="4"/>
                  </a:lnTo>
                  <a:close/>
                  <a:moveTo>
                    <a:pt x="115" y="215"/>
                  </a:moveTo>
                  <a:lnTo>
                    <a:pt x="117" y="215"/>
                  </a:lnTo>
                  <a:lnTo>
                    <a:pt x="115" y="215"/>
                  </a:lnTo>
                  <a:close/>
                  <a:moveTo>
                    <a:pt x="133" y="173"/>
                  </a:moveTo>
                  <a:lnTo>
                    <a:pt x="133" y="175"/>
                  </a:lnTo>
                  <a:lnTo>
                    <a:pt x="133" y="173"/>
                  </a:lnTo>
                  <a:close/>
                  <a:moveTo>
                    <a:pt x="68" y="442"/>
                  </a:moveTo>
                  <a:lnTo>
                    <a:pt x="68" y="444"/>
                  </a:lnTo>
                  <a:lnTo>
                    <a:pt x="68" y="442"/>
                  </a:lnTo>
                  <a:close/>
                  <a:moveTo>
                    <a:pt x="140" y="161"/>
                  </a:moveTo>
                  <a:lnTo>
                    <a:pt x="142" y="161"/>
                  </a:lnTo>
                  <a:lnTo>
                    <a:pt x="140" y="161"/>
                  </a:lnTo>
                  <a:close/>
                  <a:moveTo>
                    <a:pt x="144" y="127"/>
                  </a:moveTo>
                  <a:lnTo>
                    <a:pt x="144" y="129"/>
                  </a:lnTo>
                  <a:lnTo>
                    <a:pt x="144" y="127"/>
                  </a:lnTo>
                  <a:close/>
                  <a:moveTo>
                    <a:pt x="131" y="177"/>
                  </a:moveTo>
                  <a:lnTo>
                    <a:pt x="131" y="179"/>
                  </a:lnTo>
                  <a:lnTo>
                    <a:pt x="131" y="177"/>
                  </a:lnTo>
                  <a:close/>
                  <a:moveTo>
                    <a:pt x="92" y="428"/>
                  </a:moveTo>
                  <a:lnTo>
                    <a:pt x="94" y="428"/>
                  </a:lnTo>
                  <a:lnTo>
                    <a:pt x="92" y="428"/>
                  </a:lnTo>
                  <a:close/>
                  <a:moveTo>
                    <a:pt x="10" y="428"/>
                  </a:moveTo>
                  <a:lnTo>
                    <a:pt x="12" y="428"/>
                  </a:lnTo>
                  <a:lnTo>
                    <a:pt x="10" y="428"/>
                  </a:lnTo>
                  <a:close/>
                  <a:moveTo>
                    <a:pt x="100" y="238"/>
                  </a:moveTo>
                  <a:lnTo>
                    <a:pt x="102" y="238"/>
                  </a:lnTo>
                  <a:lnTo>
                    <a:pt x="100" y="238"/>
                  </a:lnTo>
                  <a:close/>
                  <a:moveTo>
                    <a:pt x="115" y="182"/>
                  </a:moveTo>
                  <a:lnTo>
                    <a:pt x="117" y="182"/>
                  </a:lnTo>
                  <a:lnTo>
                    <a:pt x="115" y="182"/>
                  </a:lnTo>
                  <a:close/>
                  <a:moveTo>
                    <a:pt x="31" y="453"/>
                  </a:moveTo>
                  <a:lnTo>
                    <a:pt x="31" y="455"/>
                  </a:lnTo>
                  <a:lnTo>
                    <a:pt x="31" y="453"/>
                  </a:lnTo>
                  <a:close/>
                  <a:moveTo>
                    <a:pt x="208" y="48"/>
                  </a:moveTo>
                  <a:lnTo>
                    <a:pt x="210" y="48"/>
                  </a:lnTo>
                  <a:lnTo>
                    <a:pt x="208" y="48"/>
                  </a:lnTo>
                  <a:close/>
                  <a:moveTo>
                    <a:pt x="92" y="246"/>
                  </a:moveTo>
                  <a:lnTo>
                    <a:pt x="94" y="246"/>
                  </a:lnTo>
                  <a:lnTo>
                    <a:pt x="92" y="246"/>
                  </a:lnTo>
                  <a:close/>
                  <a:moveTo>
                    <a:pt x="369" y="56"/>
                  </a:moveTo>
                  <a:lnTo>
                    <a:pt x="369" y="58"/>
                  </a:lnTo>
                  <a:lnTo>
                    <a:pt x="369" y="56"/>
                  </a:lnTo>
                  <a:close/>
                  <a:moveTo>
                    <a:pt x="4" y="355"/>
                  </a:moveTo>
                  <a:lnTo>
                    <a:pt x="4" y="357"/>
                  </a:lnTo>
                  <a:lnTo>
                    <a:pt x="4" y="355"/>
                  </a:lnTo>
                  <a:close/>
                  <a:moveTo>
                    <a:pt x="89" y="407"/>
                  </a:moveTo>
                  <a:lnTo>
                    <a:pt x="89" y="409"/>
                  </a:lnTo>
                  <a:lnTo>
                    <a:pt x="89" y="407"/>
                  </a:lnTo>
                  <a:close/>
                  <a:moveTo>
                    <a:pt x="35" y="315"/>
                  </a:moveTo>
                  <a:lnTo>
                    <a:pt x="35" y="317"/>
                  </a:lnTo>
                  <a:lnTo>
                    <a:pt x="35" y="315"/>
                  </a:lnTo>
                  <a:close/>
                  <a:moveTo>
                    <a:pt x="110" y="231"/>
                  </a:moveTo>
                  <a:lnTo>
                    <a:pt x="110" y="232"/>
                  </a:lnTo>
                  <a:lnTo>
                    <a:pt x="110" y="231"/>
                  </a:lnTo>
                  <a:close/>
                  <a:moveTo>
                    <a:pt x="6" y="396"/>
                  </a:moveTo>
                  <a:lnTo>
                    <a:pt x="6" y="398"/>
                  </a:lnTo>
                  <a:lnTo>
                    <a:pt x="6" y="396"/>
                  </a:lnTo>
                  <a:close/>
                  <a:moveTo>
                    <a:pt x="2" y="382"/>
                  </a:moveTo>
                  <a:lnTo>
                    <a:pt x="4" y="382"/>
                  </a:lnTo>
                  <a:lnTo>
                    <a:pt x="2" y="382"/>
                  </a:lnTo>
                  <a:close/>
                  <a:moveTo>
                    <a:pt x="73" y="436"/>
                  </a:moveTo>
                  <a:lnTo>
                    <a:pt x="75" y="436"/>
                  </a:lnTo>
                  <a:lnTo>
                    <a:pt x="73" y="436"/>
                  </a:lnTo>
                  <a:close/>
                  <a:moveTo>
                    <a:pt x="117" y="196"/>
                  </a:moveTo>
                  <a:lnTo>
                    <a:pt x="117" y="198"/>
                  </a:lnTo>
                  <a:lnTo>
                    <a:pt x="117" y="196"/>
                  </a:lnTo>
                  <a:close/>
                  <a:moveTo>
                    <a:pt x="115" y="198"/>
                  </a:moveTo>
                  <a:lnTo>
                    <a:pt x="117" y="198"/>
                  </a:lnTo>
                  <a:lnTo>
                    <a:pt x="115" y="198"/>
                  </a:lnTo>
                  <a:close/>
                  <a:moveTo>
                    <a:pt x="8" y="417"/>
                  </a:moveTo>
                  <a:lnTo>
                    <a:pt x="10" y="417"/>
                  </a:lnTo>
                  <a:lnTo>
                    <a:pt x="8" y="417"/>
                  </a:lnTo>
                  <a:close/>
                  <a:moveTo>
                    <a:pt x="114" y="206"/>
                  </a:moveTo>
                  <a:lnTo>
                    <a:pt x="114" y="207"/>
                  </a:lnTo>
                  <a:lnTo>
                    <a:pt x="114" y="206"/>
                  </a:lnTo>
                  <a:close/>
                  <a:moveTo>
                    <a:pt x="4" y="382"/>
                  </a:moveTo>
                  <a:lnTo>
                    <a:pt x="6" y="382"/>
                  </a:lnTo>
                  <a:lnTo>
                    <a:pt x="4" y="382"/>
                  </a:lnTo>
                  <a:close/>
                  <a:moveTo>
                    <a:pt x="60" y="290"/>
                  </a:moveTo>
                  <a:lnTo>
                    <a:pt x="62" y="290"/>
                  </a:lnTo>
                  <a:lnTo>
                    <a:pt x="60" y="290"/>
                  </a:lnTo>
                  <a:close/>
                  <a:moveTo>
                    <a:pt x="87" y="428"/>
                  </a:moveTo>
                  <a:lnTo>
                    <a:pt x="87" y="430"/>
                  </a:lnTo>
                  <a:lnTo>
                    <a:pt x="87" y="428"/>
                  </a:lnTo>
                  <a:close/>
                  <a:moveTo>
                    <a:pt x="60" y="290"/>
                  </a:moveTo>
                  <a:lnTo>
                    <a:pt x="60" y="292"/>
                  </a:lnTo>
                  <a:lnTo>
                    <a:pt x="60" y="290"/>
                  </a:lnTo>
                  <a:close/>
                  <a:moveTo>
                    <a:pt x="14" y="411"/>
                  </a:moveTo>
                  <a:lnTo>
                    <a:pt x="16" y="411"/>
                  </a:lnTo>
                  <a:lnTo>
                    <a:pt x="14" y="411"/>
                  </a:lnTo>
                  <a:close/>
                  <a:moveTo>
                    <a:pt x="56" y="286"/>
                  </a:moveTo>
                  <a:lnTo>
                    <a:pt x="56" y="288"/>
                  </a:lnTo>
                  <a:lnTo>
                    <a:pt x="56" y="286"/>
                  </a:lnTo>
                  <a:close/>
                  <a:moveTo>
                    <a:pt x="123" y="184"/>
                  </a:moveTo>
                  <a:lnTo>
                    <a:pt x="123" y="186"/>
                  </a:lnTo>
                  <a:lnTo>
                    <a:pt x="123" y="184"/>
                  </a:lnTo>
                  <a:close/>
                  <a:moveTo>
                    <a:pt x="200" y="60"/>
                  </a:moveTo>
                  <a:lnTo>
                    <a:pt x="202" y="60"/>
                  </a:lnTo>
                  <a:lnTo>
                    <a:pt x="200" y="60"/>
                  </a:lnTo>
                  <a:close/>
                  <a:moveTo>
                    <a:pt x="121" y="198"/>
                  </a:moveTo>
                  <a:lnTo>
                    <a:pt x="121" y="200"/>
                  </a:lnTo>
                  <a:lnTo>
                    <a:pt x="121" y="198"/>
                  </a:lnTo>
                  <a:close/>
                  <a:moveTo>
                    <a:pt x="198" y="58"/>
                  </a:moveTo>
                  <a:lnTo>
                    <a:pt x="198" y="60"/>
                  </a:lnTo>
                  <a:lnTo>
                    <a:pt x="198" y="58"/>
                  </a:lnTo>
                  <a:close/>
                  <a:moveTo>
                    <a:pt x="165" y="117"/>
                  </a:moveTo>
                  <a:lnTo>
                    <a:pt x="165" y="119"/>
                  </a:lnTo>
                  <a:lnTo>
                    <a:pt x="165" y="117"/>
                  </a:lnTo>
                  <a:close/>
                  <a:moveTo>
                    <a:pt x="114" y="215"/>
                  </a:moveTo>
                  <a:lnTo>
                    <a:pt x="114" y="217"/>
                  </a:lnTo>
                  <a:lnTo>
                    <a:pt x="114" y="215"/>
                  </a:lnTo>
                  <a:close/>
                  <a:moveTo>
                    <a:pt x="8" y="403"/>
                  </a:moveTo>
                  <a:lnTo>
                    <a:pt x="8" y="405"/>
                  </a:lnTo>
                  <a:lnTo>
                    <a:pt x="8" y="403"/>
                  </a:lnTo>
                  <a:close/>
                  <a:moveTo>
                    <a:pt x="112" y="215"/>
                  </a:moveTo>
                  <a:lnTo>
                    <a:pt x="112" y="217"/>
                  </a:lnTo>
                  <a:lnTo>
                    <a:pt x="112" y="215"/>
                  </a:lnTo>
                  <a:close/>
                  <a:moveTo>
                    <a:pt x="148" y="154"/>
                  </a:moveTo>
                  <a:lnTo>
                    <a:pt x="148" y="156"/>
                  </a:lnTo>
                  <a:lnTo>
                    <a:pt x="148" y="154"/>
                  </a:lnTo>
                  <a:close/>
                  <a:moveTo>
                    <a:pt x="4" y="365"/>
                  </a:moveTo>
                  <a:lnTo>
                    <a:pt x="6" y="365"/>
                  </a:lnTo>
                  <a:lnTo>
                    <a:pt x="4" y="365"/>
                  </a:lnTo>
                  <a:close/>
                  <a:moveTo>
                    <a:pt x="112" y="209"/>
                  </a:moveTo>
                  <a:lnTo>
                    <a:pt x="112" y="211"/>
                  </a:lnTo>
                  <a:lnTo>
                    <a:pt x="112" y="209"/>
                  </a:lnTo>
                  <a:close/>
                  <a:moveTo>
                    <a:pt x="114" y="204"/>
                  </a:moveTo>
                  <a:lnTo>
                    <a:pt x="115" y="204"/>
                  </a:lnTo>
                  <a:lnTo>
                    <a:pt x="114" y="204"/>
                  </a:lnTo>
                  <a:close/>
                  <a:moveTo>
                    <a:pt x="150" y="138"/>
                  </a:moveTo>
                  <a:lnTo>
                    <a:pt x="152" y="138"/>
                  </a:lnTo>
                  <a:lnTo>
                    <a:pt x="150" y="138"/>
                  </a:lnTo>
                  <a:close/>
                  <a:moveTo>
                    <a:pt x="48" y="296"/>
                  </a:moveTo>
                  <a:lnTo>
                    <a:pt x="48" y="298"/>
                  </a:lnTo>
                  <a:lnTo>
                    <a:pt x="48" y="296"/>
                  </a:lnTo>
                  <a:close/>
                  <a:moveTo>
                    <a:pt x="158" y="123"/>
                  </a:moveTo>
                  <a:lnTo>
                    <a:pt x="158" y="125"/>
                  </a:lnTo>
                  <a:lnTo>
                    <a:pt x="158" y="123"/>
                  </a:lnTo>
                  <a:close/>
                  <a:moveTo>
                    <a:pt x="94" y="252"/>
                  </a:moveTo>
                  <a:lnTo>
                    <a:pt x="96" y="252"/>
                  </a:lnTo>
                  <a:lnTo>
                    <a:pt x="94" y="252"/>
                  </a:lnTo>
                  <a:close/>
                  <a:moveTo>
                    <a:pt x="6" y="398"/>
                  </a:moveTo>
                  <a:lnTo>
                    <a:pt x="8" y="398"/>
                  </a:lnTo>
                  <a:lnTo>
                    <a:pt x="6" y="398"/>
                  </a:lnTo>
                  <a:close/>
                  <a:moveTo>
                    <a:pt x="112" y="186"/>
                  </a:moveTo>
                  <a:lnTo>
                    <a:pt x="112" y="188"/>
                  </a:lnTo>
                  <a:lnTo>
                    <a:pt x="112" y="186"/>
                  </a:lnTo>
                  <a:close/>
                  <a:moveTo>
                    <a:pt x="12" y="432"/>
                  </a:moveTo>
                  <a:lnTo>
                    <a:pt x="14" y="432"/>
                  </a:lnTo>
                  <a:lnTo>
                    <a:pt x="12" y="432"/>
                  </a:lnTo>
                  <a:close/>
                  <a:moveTo>
                    <a:pt x="108" y="217"/>
                  </a:moveTo>
                  <a:lnTo>
                    <a:pt x="110" y="217"/>
                  </a:lnTo>
                  <a:lnTo>
                    <a:pt x="108" y="217"/>
                  </a:lnTo>
                  <a:close/>
                  <a:moveTo>
                    <a:pt x="119" y="186"/>
                  </a:moveTo>
                  <a:lnTo>
                    <a:pt x="119" y="188"/>
                  </a:lnTo>
                  <a:lnTo>
                    <a:pt x="119" y="186"/>
                  </a:lnTo>
                  <a:close/>
                  <a:moveTo>
                    <a:pt x="2" y="369"/>
                  </a:moveTo>
                  <a:lnTo>
                    <a:pt x="4" y="369"/>
                  </a:lnTo>
                  <a:lnTo>
                    <a:pt x="2" y="369"/>
                  </a:lnTo>
                  <a:close/>
                  <a:moveTo>
                    <a:pt x="44" y="304"/>
                  </a:moveTo>
                  <a:lnTo>
                    <a:pt x="44" y="305"/>
                  </a:lnTo>
                  <a:lnTo>
                    <a:pt x="44" y="304"/>
                  </a:lnTo>
                  <a:close/>
                  <a:moveTo>
                    <a:pt x="89" y="263"/>
                  </a:moveTo>
                  <a:lnTo>
                    <a:pt x="89" y="265"/>
                  </a:lnTo>
                  <a:lnTo>
                    <a:pt x="89" y="263"/>
                  </a:lnTo>
                  <a:close/>
                  <a:moveTo>
                    <a:pt x="54" y="298"/>
                  </a:moveTo>
                  <a:lnTo>
                    <a:pt x="54" y="300"/>
                  </a:lnTo>
                  <a:lnTo>
                    <a:pt x="54" y="298"/>
                  </a:lnTo>
                  <a:close/>
                  <a:moveTo>
                    <a:pt x="188" y="115"/>
                  </a:moveTo>
                  <a:lnTo>
                    <a:pt x="190" y="115"/>
                  </a:lnTo>
                  <a:lnTo>
                    <a:pt x="190" y="117"/>
                  </a:lnTo>
                  <a:lnTo>
                    <a:pt x="188" y="117"/>
                  </a:lnTo>
                  <a:lnTo>
                    <a:pt x="188" y="115"/>
                  </a:lnTo>
                  <a:close/>
                  <a:moveTo>
                    <a:pt x="108" y="219"/>
                  </a:moveTo>
                  <a:lnTo>
                    <a:pt x="108" y="221"/>
                  </a:lnTo>
                  <a:lnTo>
                    <a:pt x="108" y="219"/>
                  </a:lnTo>
                  <a:close/>
                  <a:moveTo>
                    <a:pt x="50" y="300"/>
                  </a:moveTo>
                  <a:lnTo>
                    <a:pt x="50" y="302"/>
                  </a:lnTo>
                  <a:lnTo>
                    <a:pt x="50" y="300"/>
                  </a:lnTo>
                  <a:close/>
                  <a:moveTo>
                    <a:pt x="108" y="236"/>
                  </a:moveTo>
                  <a:lnTo>
                    <a:pt x="110" y="236"/>
                  </a:lnTo>
                  <a:lnTo>
                    <a:pt x="108" y="236"/>
                  </a:lnTo>
                  <a:close/>
                  <a:moveTo>
                    <a:pt x="48" y="298"/>
                  </a:moveTo>
                  <a:lnTo>
                    <a:pt x="48" y="300"/>
                  </a:lnTo>
                  <a:lnTo>
                    <a:pt x="48" y="298"/>
                  </a:lnTo>
                  <a:close/>
                  <a:moveTo>
                    <a:pt x="60" y="317"/>
                  </a:moveTo>
                  <a:lnTo>
                    <a:pt x="62" y="317"/>
                  </a:lnTo>
                  <a:lnTo>
                    <a:pt x="60" y="317"/>
                  </a:lnTo>
                  <a:close/>
                  <a:moveTo>
                    <a:pt x="56" y="294"/>
                  </a:moveTo>
                  <a:lnTo>
                    <a:pt x="56" y="296"/>
                  </a:lnTo>
                  <a:lnTo>
                    <a:pt x="56" y="294"/>
                  </a:lnTo>
                  <a:close/>
                  <a:moveTo>
                    <a:pt x="6" y="392"/>
                  </a:moveTo>
                  <a:lnTo>
                    <a:pt x="6" y="394"/>
                  </a:lnTo>
                  <a:lnTo>
                    <a:pt x="6" y="392"/>
                  </a:lnTo>
                  <a:close/>
                  <a:moveTo>
                    <a:pt x="210" y="54"/>
                  </a:moveTo>
                  <a:lnTo>
                    <a:pt x="210" y="56"/>
                  </a:lnTo>
                  <a:lnTo>
                    <a:pt x="210" y="54"/>
                  </a:lnTo>
                  <a:close/>
                  <a:moveTo>
                    <a:pt x="68" y="279"/>
                  </a:moveTo>
                  <a:lnTo>
                    <a:pt x="69" y="279"/>
                  </a:lnTo>
                  <a:lnTo>
                    <a:pt x="68" y="279"/>
                  </a:lnTo>
                  <a:close/>
                  <a:moveTo>
                    <a:pt x="12" y="413"/>
                  </a:moveTo>
                  <a:lnTo>
                    <a:pt x="14" y="413"/>
                  </a:lnTo>
                  <a:lnTo>
                    <a:pt x="12" y="413"/>
                  </a:lnTo>
                  <a:close/>
                  <a:moveTo>
                    <a:pt x="46" y="304"/>
                  </a:moveTo>
                  <a:lnTo>
                    <a:pt x="48" y="304"/>
                  </a:lnTo>
                  <a:lnTo>
                    <a:pt x="46" y="304"/>
                  </a:lnTo>
                  <a:close/>
                  <a:moveTo>
                    <a:pt x="87" y="430"/>
                  </a:moveTo>
                  <a:lnTo>
                    <a:pt x="87" y="432"/>
                  </a:lnTo>
                  <a:lnTo>
                    <a:pt x="87" y="430"/>
                  </a:lnTo>
                  <a:close/>
                  <a:moveTo>
                    <a:pt x="31" y="346"/>
                  </a:moveTo>
                  <a:lnTo>
                    <a:pt x="33" y="346"/>
                  </a:lnTo>
                  <a:lnTo>
                    <a:pt x="31" y="346"/>
                  </a:lnTo>
                  <a:close/>
                  <a:moveTo>
                    <a:pt x="20" y="323"/>
                  </a:moveTo>
                  <a:lnTo>
                    <a:pt x="21" y="323"/>
                  </a:lnTo>
                  <a:lnTo>
                    <a:pt x="20" y="323"/>
                  </a:lnTo>
                  <a:close/>
                  <a:moveTo>
                    <a:pt x="91" y="265"/>
                  </a:moveTo>
                  <a:lnTo>
                    <a:pt x="92" y="265"/>
                  </a:lnTo>
                  <a:lnTo>
                    <a:pt x="91" y="265"/>
                  </a:lnTo>
                  <a:close/>
                  <a:moveTo>
                    <a:pt x="146" y="146"/>
                  </a:moveTo>
                  <a:lnTo>
                    <a:pt x="148" y="146"/>
                  </a:lnTo>
                  <a:lnTo>
                    <a:pt x="146" y="146"/>
                  </a:lnTo>
                  <a:close/>
                  <a:moveTo>
                    <a:pt x="100" y="244"/>
                  </a:moveTo>
                  <a:lnTo>
                    <a:pt x="102" y="244"/>
                  </a:lnTo>
                  <a:lnTo>
                    <a:pt x="100" y="244"/>
                  </a:lnTo>
                  <a:close/>
                  <a:moveTo>
                    <a:pt x="112" y="188"/>
                  </a:moveTo>
                  <a:lnTo>
                    <a:pt x="114" y="188"/>
                  </a:lnTo>
                  <a:lnTo>
                    <a:pt x="112" y="188"/>
                  </a:lnTo>
                  <a:close/>
                  <a:moveTo>
                    <a:pt x="115" y="194"/>
                  </a:moveTo>
                  <a:lnTo>
                    <a:pt x="115" y="196"/>
                  </a:lnTo>
                  <a:lnTo>
                    <a:pt x="115" y="194"/>
                  </a:lnTo>
                  <a:close/>
                  <a:moveTo>
                    <a:pt x="108" y="219"/>
                  </a:moveTo>
                  <a:lnTo>
                    <a:pt x="110" y="219"/>
                  </a:lnTo>
                  <a:lnTo>
                    <a:pt x="108" y="219"/>
                  </a:lnTo>
                  <a:close/>
                  <a:moveTo>
                    <a:pt x="50" y="459"/>
                  </a:moveTo>
                  <a:lnTo>
                    <a:pt x="52" y="459"/>
                  </a:lnTo>
                  <a:lnTo>
                    <a:pt x="50" y="459"/>
                  </a:lnTo>
                  <a:close/>
                  <a:moveTo>
                    <a:pt x="39" y="459"/>
                  </a:moveTo>
                  <a:lnTo>
                    <a:pt x="39" y="461"/>
                  </a:lnTo>
                  <a:lnTo>
                    <a:pt x="39" y="459"/>
                  </a:lnTo>
                  <a:close/>
                  <a:moveTo>
                    <a:pt x="94" y="257"/>
                  </a:moveTo>
                  <a:lnTo>
                    <a:pt x="94" y="259"/>
                  </a:lnTo>
                  <a:lnTo>
                    <a:pt x="94" y="257"/>
                  </a:lnTo>
                  <a:close/>
                  <a:moveTo>
                    <a:pt x="56" y="284"/>
                  </a:moveTo>
                  <a:lnTo>
                    <a:pt x="58" y="284"/>
                  </a:lnTo>
                  <a:lnTo>
                    <a:pt x="56" y="284"/>
                  </a:lnTo>
                  <a:close/>
                  <a:moveTo>
                    <a:pt x="114" y="209"/>
                  </a:moveTo>
                  <a:lnTo>
                    <a:pt x="114" y="211"/>
                  </a:lnTo>
                  <a:lnTo>
                    <a:pt x="114" y="209"/>
                  </a:lnTo>
                  <a:close/>
                  <a:moveTo>
                    <a:pt x="114" y="204"/>
                  </a:moveTo>
                  <a:lnTo>
                    <a:pt x="114" y="206"/>
                  </a:lnTo>
                  <a:lnTo>
                    <a:pt x="114" y="204"/>
                  </a:lnTo>
                  <a:close/>
                  <a:moveTo>
                    <a:pt x="54" y="457"/>
                  </a:moveTo>
                  <a:lnTo>
                    <a:pt x="56" y="457"/>
                  </a:lnTo>
                  <a:lnTo>
                    <a:pt x="54" y="457"/>
                  </a:lnTo>
                  <a:close/>
                  <a:moveTo>
                    <a:pt x="146" y="158"/>
                  </a:moveTo>
                  <a:lnTo>
                    <a:pt x="148" y="158"/>
                  </a:lnTo>
                  <a:lnTo>
                    <a:pt x="146" y="158"/>
                  </a:lnTo>
                  <a:close/>
                  <a:moveTo>
                    <a:pt x="306" y="4"/>
                  </a:moveTo>
                  <a:lnTo>
                    <a:pt x="306" y="6"/>
                  </a:lnTo>
                  <a:lnTo>
                    <a:pt x="306" y="4"/>
                  </a:lnTo>
                  <a:close/>
                  <a:moveTo>
                    <a:pt x="92" y="257"/>
                  </a:moveTo>
                  <a:lnTo>
                    <a:pt x="92" y="259"/>
                  </a:lnTo>
                  <a:lnTo>
                    <a:pt x="92" y="257"/>
                  </a:lnTo>
                  <a:close/>
                  <a:moveTo>
                    <a:pt x="112" y="217"/>
                  </a:moveTo>
                  <a:lnTo>
                    <a:pt x="114" y="217"/>
                  </a:lnTo>
                  <a:lnTo>
                    <a:pt x="112" y="217"/>
                  </a:lnTo>
                  <a:close/>
                  <a:moveTo>
                    <a:pt x="123" y="196"/>
                  </a:moveTo>
                  <a:lnTo>
                    <a:pt x="123" y="198"/>
                  </a:lnTo>
                  <a:lnTo>
                    <a:pt x="123" y="196"/>
                  </a:lnTo>
                  <a:close/>
                  <a:moveTo>
                    <a:pt x="6" y="390"/>
                  </a:moveTo>
                  <a:lnTo>
                    <a:pt x="6" y="392"/>
                  </a:lnTo>
                  <a:lnTo>
                    <a:pt x="6" y="390"/>
                  </a:lnTo>
                  <a:close/>
                  <a:moveTo>
                    <a:pt x="75" y="432"/>
                  </a:moveTo>
                  <a:lnTo>
                    <a:pt x="75" y="434"/>
                  </a:lnTo>
                  <a:lnTo>
                    <a:pt x="75" y="432"/>
                  </a:lnTo>
                  <a:close/>
                  <a:moveTo>
                    <a:pt x="41" y="307"/>
                  </a:moveTo>
                  <a:lnTo>
                    <a:pt x="41" y="309"/>
                  </a:lnTo>
                  <a:lnTo>
                    <a:pt x="41" y="307"/>
                  </a:lnTo>
                  <a:close/>
                  <a:moveTo>
                    <a:pt x="198" y="67"/>
                  </a:moveTo>
                  <a:lnTo>
                    <a:pt x="198" y="69"/>
                  </a:lnTo>
                  <a:lnTo>
                    <a:pt x="198" y="67"/>
                  </a:lnTo>
                  <a:close/>
                  <a:moveTo>
                    <a:pt x="106" y="240"/>
                  </a:moveTo>
                  <a:lnTo>
                    <a:pt x="106" y="242"/>
                  </a:lnTo>
                  <a:lnTo>
                    <a:pt x="106" y="240"/>
                  </a:lnTo>
                  <a:close/>
                  <a:moveTo>
                    <a:pt x="104" y="219"/>
                  </a:moveTo>
                  <a:lnTo>
                    <a:pt x="106" y="219"/>
                  </a:lnTo>
                  <a:lnTo>
                    <a:pt x="104" y="219"/>
                  </a:lnTo>
                  <a:close/>
                  <a:moveTo>
                    <a:pt x="71" y="286"/>
                  </a:moveTo>
                  <a:lnTo>
                    <a:pt x="73" y="286"/>
                  </a:lnTo>
                  <a:lnTo>
                    <a:pt x="71" y="286"/>
                  </a:lnTo>
                  <a:close/>
                  <a:moveTo>
                    <a:pt x="85" y="428"/>
                  </a:moveTo>
                  <a:lnTo>
                    <a:pt x="85" y="430"/>
                  </a:lnTo>
                  <a:lnTo>
                    <a:pt x="85" y="428"/>
                  </a:lnTo>
                  <a:close/>
                  <a:moveTo>
                    <a:pt x="112" y="211"/>
                  </a:moveTo>
                  <a:lnTo>
                    <a:pt x="112" y="213"/>
                  </a:lnTo>
                  <a:lnTo>
                    <a:pt x="112" y="211"/>
                  </a:lnTo>
                  <a:close/>
                  <a:moveTo>
                    <a:pt x="10" y="371"/>
                  </a:moveTo>
                  <a:lnTo>
                    <a:pt x="10" y="373"/>
                  </a:lnTo>
                  <a:lnTo>
                    <a:pt x="10" y="371"/>
                  </a:lnTo>
                  <a:close/>
                  <a:moveTo>
                    <a:pt x="100" y="238"/>
                  </a:moveTo>
                  <a:lnTo>
                    <a:pt x="102" y="238"/>
                  </a:lnTo>
                  <a:lnTo>
                    <a:pt x="100" y="238"/>
                  </a:lnTo>
                  <a:close/>
                  <a:moveTo>
                    <a:pt x="8" y="378"/>
                  </a:moveTo>
                  <a:lnTo>
                    <a:pt x="8" y="380"/>
                  </a:lnTo>
                  <a:lnTo>
                    <a:pt x="8" y="378"/>
                  </a:lnTo>
                  <a:close/>
                  <a:moveTo>
                    <a:pt x="4" y="369"/>
                  </a:moveTo>
                  <a:lnTo>
                    <a:pt x="4" y="371"/>
                  </a:lnTo>
                  <a:lnTo>
                    <a:pt x="4" y="369"/>
                  </a:lnTo>
                  <a:close/>
                  <a:moveTo>
                    <a:pt x="8" y="413"/>
                  </a:moveTo>
                  <a:lnTo>
                    <a:pt x="10" y="413"/>
                  </a:lnTo>
                  <a:lnTo>
                    <a:pt x="8" y="413"/>
                  </a:lnTo>
                  <a:close/>
                  <a:moveTo>
                    <a:pt x="114" y="200"/>
                  </a:moveTo>
                  <a:lnTo>
                    <a:pt x="114" y="202"/>
                  </a:lnTo>
                  <a:lnTo>
                    <a:pt x="114" y="200"/>
                  </a:lnTo>
                  <a:close/>
                  <a:moveTo>
                    <a:pt x="62" y="290"/>
                  </a:moveTo>
                  <a:lnTo>
                    <a:pt x="64" y="290"/>
                  </a:lnTo>
                  <a:lnTo>
                    <a:pt x="62" y="290"/>
                  </a:lnTo>
                  <a:close/>
                  <a:moveTo>
                    <a:pt x="148" y="117"/>
                  </a:moveTo>
                  <a:lnTo>
                    <a:pt x="150" y="117"/>
                  </a:lnTo>
                  <a:lnTo>
                    <a:pt x="148" y="117"/>
                  </a:lnTo>
                  <a:close/>
                  <a:moveTo>
                    <a:pt x="123" y="182"/>
                  </a:moveTo>
                  <a:lnTo>
                    <a:pt x="125" y="182"/>
                  </a:lnTo>
                  <a:lnTo>
                    <a:pt x="123" y="182"/>
                  </a:lnTo>
                  <a:close/>
                  <a:moveTo>
                    <a:pt x="73" y="284"/>
                  </a:moveTo>
                  <a:lnTo>
                    <a:pt x="75" y="284"/>
                  </a:lnTo>
                  <a:lnTo>
                    <a:pt x="73" y="284"/>
                  </a:lnTo>
                  <a:close/>
                  <a:moveTo>
                    <a:pt x="0" y="375"/>
                  </a:moveTo>
                  <a:lnTo>
                    <a:pt x="2" y="375"/>
                  </a:lnTo>
                  <a:lnTo>
                    <a:pt x="0" y="375"/>
                  </a:lnTo>
                  <a:close/>
                  <a:moveTo>
                    <a:pt x="110" y="217"/>
                  </a:moveTo>
                  <a:lnTo>
                    <a:pt x="112" y="217"/>
                  </a:lnTo>
                  <a:lnTo>
                    <a:pt x="110" y="217"/>
                  </a:lnTo>
                  <a:close/>
                  <a:moveTo>
                    <a:pt x="75" y="432"/>
                  </a:moveTo>
                  <a:lnTo>
                    <a:pt x="75" y="434"/>
                  </a:lnTo>
                  <a:lnTo>
                    <a:pt x="75" y="432"/>
                  </a:lnTo>
                  <a:close/>
                  <a:moveTo>
                    <a:pt x="150" y="144"/>
                  </a:moveTo>
                  <a:lnTo>
                    <a:pt x="150" y="146"/>
                  </a:lnTo>
                  <a:lnTo>
                    <a:pt x="150" y="144"/>
                  </a:lnTo>
                  <a:close/>
                  <a:moveTo>
                    <a:pt x="10" y="411"/>
                  </a:moveTo>
                  <a:lnTo>
                    <a:pt x="12" y="411"/>
                  </a:lnTo>
                  <a:lnTo>
                    <a:pt x="10" y="411"/>
                  </a:lnTo>
                  <a:close/>
                  <a:moveTo>
                    <a:pt x="85" y="267"/>
                  </a:moveTo>
                  <a:lnTo>
                    <a:pt x="85" y="269"/>
                  </a:lnTo>
                  <a:lnTo>
                    <a:pt x="85" y="267"/>
                  </a:lnTo>
                  <a:close/>
                  <a:moveTo>
                    <a:pt x="125" y="173"/>
                  </a:moveTo>
                  <a:lnTo>
                    <a:pt x="127" y="173"/>
                  </a:lnTo>
                  <a:lnTo>
                    <a:pt x="125" y="173"/>
                  </a:lnTo>
                  <a:close/>
                  <a:moveTo>
                    <a:pt x="133" y="129"/>
                  </a:moveTo>
                  <a:lnTo>
                    <a:pt x="133" y="131"/>
                  </a:lnTo>
                  <a:lnTo>
                    <a:pt x="133" y="129"/>
                  </a:lnTo>
                  <a:close/>
                  <a:moveTo>
                    <a:pt x="91" y="250"/>
                  </a:moveTo>
                  <a:lnTo>
                    <a:pt x="92" y="250"/>
                  </a:lnTo>
                  <a:lnTo>
                    <a:pt x="91" y="250"/>
                  </a:lnTo>
                  <a:close/>
                  <a:moveTo>
                    <a:pt x="54" y="455"/>
                  </a:moveTo>
                  <a:lnTo>
                    <a:pt x="56" y="455"/>
                  </a:lnTo>
                  <a:lnTo>
                    <a:pt x="54" y="455"/>
                  </a:lnTo>
                  <a:close/>
                  <a:moveTo>
                    <a:pt x="60" y="451"/>
                  </a:moveTo>
                  <a:lnTo>
                    <a:pt x="62" y="451"/>
                  </a:lnTo>
                  <a:lnTo>
                    <a:pt x="60" y="451"/>
                  </a:lnTo>
                  <a:close/>
                  <a:moveTo>
                    <a:pt x="33" y="317"/>
                  </a:moveTo>
                  <a:lnTo>
                    <a:pt x="35" y="317"/>
                  </a:lnTo>
                  <a:lnTo>
                    <a:pt x="33" y="317"/>
                  </a:lnTo>
                  <a:close/>
                  <a:moveTo>
                    <a:pt x="75" y="434"/>
                  </a:moveTo>
                  <a:lnTo>
                    <a:pt x="75" y="436"/>
                  </a:lnTo>
                  <a:lnTo>
                    <a:pt x="75" y="434"/>
                  </a:lnTo>
                  <a:close/>
                  <a:moveTo>
                    <a:pt x="127" y="179"/>
                  </a:moveTo>
                  <a:lnTo>
                    <a:pt x="129" y="179"/>
                  </a:lnTo>
                  <a:lnTo>
                    <a:pt x="127" y="179"/>
                  </a:lnTo>
                  <a:close/>
                  <a:moveTo>
                    <a:pt x="56" y="286"/>
                  </a:moveTo>
                  <a:lnTo>
                    <a:pt x="58" y="286"/>
                  </a:lnTo>
                  <a:lnTo>
                    <a:pt x="56" y="286"/>
                  </a:lnTo>
                  <a:close/>
                  <a:moveTo>
                    <a:pt x="146" y="159"/>
                  </a:moveTo>
                  <a:lnTo>
                    <a:pt x="148" y="159"/>
                  </a:lnTo>
                  <a:lnTo>
                    <a:pt x="146" y="159"/>
                  </a:lnTo>
                  <a:close/>
                  <a:moveTo>
                    <a:pt x="68" y="279"/>
                  </a:moveTo>
                  <a:lnTo>
                    <a:pt x="68" y="280"/>
                  </a:lnTo>
                  <a:lnTo>
                    <a:pt x="68" y="279"/>
                  </a:lnTo>
                  <a:close/>
                  <a:moveTo>
                    <a:pt x="148" y="142"/>
                  </a:moveTo>
                  <a:lnTo>
                    <a:pt x="148" y="144"/>
                  </a:lnTo>
                  <a:lnTo>
                    <a:pt x="148" y="142"/>
                  </a:lnTo>
                  <a:close/>
                  <a:moveTo>
                    <a:pt x="10" y="394"/>
                  </a:moveTo>
                  <a:lnTo>
                    <a:pt x="10" y="396"/>
                  </a:lnTo>
                  <a:lnTo>
                    <a:pt x="10" y="394"/>
                  </a:lnTo>
                  <a:close/>
                  <a:moveTo>
                    <a:pt x="96" y="428"/>
                  </a:moveTo>
                  <a:lnTo>
                    <a:pt x="96" y="430"/>
                  </a:lnTo>
                  <a:lnTo>
                    <a:pt x="96" y="428"/>
                  </a:lnTo>
                  <a:close/>
                  <a:moveTo>
                    <a:pt x="162" y="123"/>
                  </a:moveTo>
                  <a:lnTo>
                    <a:pt x="162" y="125"/>
                  </a:lnTo>
                  <a:lnTo>
                    <a:pt x="162" y="123"/>
                  </a:lnTo>
                  <a:close/>
                  <a:moveTo>
                    <a:pt x="8" y="411"/>
                  </a:moveTo>
                  <a:lnTo>
                    <a:pt x="8" y="413"/>
                  </a:lnTo>
                  <a:lnTo>
                    <a:pt x="8" y="411"/>
                  </a:lnTo>
                  <a:close/>
                  <a:moveTo>
                    <a:pt x="104" y="250"/>
                  </a:moveTo>
                  <a:lnTo>
                    <a:pt x="106" y="250"/>
                  </a:lnTo>
                  <a:lnTo>
                    <a:pt x="106" y="252"/>
                  </a:lnTo>
                  <a:lnTo>
                    <a:pt x="104" y="252"/>
                  </a:lnTo>
                  <a:lnTo>
                    <a:pt x="104" y="250"/>
                  </a:lnTo>
                  <a:close/>
                  <a:moveTo>
                    <a:pt x="62" y="284"/>
                  </a:moveTo>
                  <a:lnTo>
                    <a:pt x="64" y="284"/>
                  </a:lnTo>
                  <a:lnTo>
                    <a:pt x="62" y="284"/>
                  </a:lnTo>
                  <a:close/>
                  <a:moveTo>
                    <a:pt x="48" y="300"/>
                  </a:moveTo>
                  <a:lnTo>
                    <a:pt x="48" y="302"/>
                  </a:lnTo>
                  <a:lnTo>
                    <a:pt x="48" y="300"/>
                  </a:lnTo>
                  <a:close/>
                  <a:moveTo>
                    <a:pt x="58" y="282"/>
                  </a:moveTo>
                  <a:lnTo>
                    <a:pt x="58" y="284"/>
                  </a:lnTo>
                  <a:lnTo>
                    <a:pt x="58" y="282"/>
                  </a:lnTo>
                  <a:close/>
                  <a:moveTo>
                    <a:pt x="185" y="75"/>
                  </a:moveTo>
                  <a:lnTo>
                    <a:pt x="187" y="75"/>
                  </a:lnTo>
                  <a:lnTo>
                    <a:pt x="185" y="75"/>
                  </a:lnTo>
                  <a:close/>
                  <a:moveTo>
                    <a:pt x="56" y="292"/>
                  </a:moveTo>
                  <a:lnTo>
                    <a:pt x="58" y="292"/>
                  </a:lnTo>
                  <a:lnTo>
                    <a:pt x="56" y="292"/>
                  </a:lnTo>
                  <a:close/>
                  <a:moveTo>
                    <a:pt x="56" y="286"/>
                  </a:moveTo>
                  <a:lnTo>
                    <a:pt x="58" y="286"/>
                  </a:lnTo>
                  <a:lnTo>
                    <a:pt x="56" y="286"/>
                  </a:lnTo>
                  <a:close/>
                  <a:moveTo>
                    <a:pt x="135" y="131"/>
                  </a:moveTo>
                  <a:lnTo>
                    <a:pt x="137" y="131"/>
                  </a:lnTo>
                  <a:lnTo>
                    <a:pt x="135" y="131"/>
                  </a:lnTo>
                  <a:close/>
                  <a:moveTo>
                    <a:pt x="62" y="298"/>
                  </a:moveTo>
                  <a:lnTo>
                    <a:pt x="64" y="298"/>
                  </a:lnTo>
                  <a:lnTo>
                    <a:pt x="62" y="298"/>
                  </a:lnTo>
                  <a:close/>
                  <a:moveTo>
                    <a:pt x="62" y="286"/>
                  </a:moveTo>
                  <a:lnTo>
                    <a:pt x="64" y="286"/>
                  </a:lnTo>
                  <a:lnTo>
                    <a:pt x="62" y="286"/>
                  </a:lnTo>
                  <a:close/>
                  <a:moveTo>
                    <a:pt x="56" y="455"/>
                  </a:moveTo>
                  <a:lnTo>
                    <a:pt x="56" y="457"/>
                  </a:lnTo>
                  <a:lnTo>
                    <a:pt x="56" y="455"/>
                  </a:lnTo>
                  <a:close/>
                  <a:moveTo>
                    <a:pt x="18" y="432"/>
                  </a:moveTo>
                  <a:lnTo>
                    <a:pt x="18" y="434"/>
                  </a:lnTo>
                  <a:lnTo>
                    <a:pt x="18" y="432"/>
                  </a:lnTo>
                  <a:close/>
                  <a:moveTo>
                    <a:pt x="68" y="279"/>
                  </a:moveTo>
                  <a:lnTo>
                    <a:pt x="68" y="280"/>
                  </a:lnTo>
                  <a:lnTo>
                    <a:pt x="68" y="279"/>
                  </a:lnTo>
                  <a:close/>
                  <a:moveTo>
                    <a:pt x="215" y="40"/>
                  </a:moveTo>
                  <a:lnTo>
                    <a:pt x="215" y="42"/>
                  </a:lnTo>
                  <a:lnTo>
                    <a:pt x="215" y="40"/>
                  </a:lnTo>
                  <a:close/>
                  <a:moveTo>
                    <a:pt x="135" y="129"/>
                  </a:moveTo>
                  <a:lnTo>
                    <a:pt x="137" y="129"/>
                  </a:lnTo>
                  <a:lnTo>
                    <a:pt x="135" y="129"/>
                  </a:lnTo>
                  <a:close/>
                  <a:moveTo>
                    <a:pt x="213" y="40"/>
                  </a:moveTo>
                  <a:lnTo>
                    <a:pt x="213" y="42"/>
                  </a:lnTo>
                  <a:lnTo>
                    <a:pt x="213" y="40"/>
                  </a:lnTo>
                  <a:close/>
                  <a:moveTo>
                    <a:pt x="125" y="181"/>
                  </a:moveTo>
                  <a:lnTo>
                    <a:pt x="127" y="181"/>
                  </a:lnTo>
                  <a:lnTo>
                    <a:pt x="125" y="181"/>
                  </a:lnTo>
                  <a:close/>
                  <a:moveTo>
                    <a:pt x="33" y="319"/>
                  </a:moveTo>
                  <a:lnTo>
                    <a:pt x="35" y="319"/>
                  </a:lnTo>
                  <a:lnTo>
                    <a:pt x="33" y="319"/>
                  </a:lnTo>
                  <a:close/>
                  <a:moveTo>
                    <a:pt x="16" y="409"/>
                  </a:moveTo>
                  <a:lnTo>
                    <a:pt x="16" y="411"/>
                  </a:lnTo>
                  <a:lnTo>
                    <a:pt x="16" y="409"/>
                  </a:lnTo>
                  <a:close/>
                  <a:moveTo>
                    <a:pt x="139" y="127"/>
                  </a:moveTo>
                  <a:lnTo>
                    <a:pt x="139" y="129"/>
                  </a:lnTo>
                  <a:lnTo>
                    <a:pt x="139" y="127"/>
                  </a:lnTo>
                  <a:close/>
                  <a:moveTo>
                    <a:pt x="94" y="250"/>
                  </a:moveTo>
                  <a:lnTo>
                    <a:pt x="94" y="252"/>
                  </a:lnTo>
                  <a:lnTo>
                    <a:pt x="94" y="250"/>
                  </a:lnTo>
                  <a:close/>
                  <a:moveTo>
                    <a:pt x="50" y="311"/>
                  </a:moveTo>
                  <a:lnTo>
                    <a:pt x="52" y="311"/>
                  </a:lnTo>
                  <a:lnTo>
                    <a:pt x="50" y="311"/>
                  </a:lnTo>
                  <a:close/>
                  <a:moveTo>
                    <a:pt x="56" y="286"/>
                  </a:moveTo>
                  <a:lnTo>
                    <a:pt x="58" y="286"/>
                  </a:lnTo>
                  <a:lnTo>
                    <a:pt x="56" y="286"/>
                  </a:lnTo>
                  <a:close/>
                  <a:moveTo>
                    <a:pt x="48" y="298"/>
                  </a:moveTo>
                  <a:lnTo>
                    <a:pt x="48" y="300"/>
                  </a:lnTo>
                  <a:lnTo>
                    <a:pt x="48" y="298"/>
                  </a:lnTo>
                  <a:close/>
                  <a:moveTo>
                    <a:pt x="39" y="311"/>
                  </a:moveTo>
                  <a:lnTo>
                    <a:pt x="41" y="311"/>
                  </a:lnTo>
                  <a:lnTo>
                    <a:pt x="39" y="311"/>
                  </a:lnTo>
                  <a:close/>
                  <a:moveTo>
                    <a:pt x="64" y="448"/>
                  </a:moveTo>
                  <a:lnTo>
                    <a:pt x="64" y="449"/>
                  </a:lnTo>
                  <a:lnTo>
                    <a:pt x="64" y="448"/>
                  </a:lnTo>
                  <a:close/>
                  <a:moveTo>
                    <a:pt x="58" y="284"/>
                  </a:moveTo>
                  <a:lnTo>
                    <a:pt x="60" y="284"/>
                  </a:lnTo>
                  <a:lnTo>
                    <a:pt x="58" y="284"/>
                  </a:lnTo>
                  <a:close/>
                  <a:moveTo>
                    <a:pt x="133" y="171"/>
                  </a:moveTo>
                  <a:lnTo>
                    <a:pt x="135" y="171"/>
                  </a:lnTo>
                  <a:lnTo>
                    <a:pt x="133" y="171"/>
                  </a:lnTo>
                  <a:close/>
                  <a:moveTo>
                    <a:pt x="135" y="121"/>
                  </a:moveTo>
                  <a:lnTo>
                    <a:pt x="135" y="123"/>
                  </a:lnTo>
                  <a:lnTo>
                    <a:pt x="135" y="121"/>
                  </a:lnTo>
                  <a:close/>
                  <a:moveTo>
                    <a:pt x="142" y="121"/>
                  </a:moveTo>
                  <a:lnTo>
                    <a:pt x="142" y="123"/>
                  </a:lnTo>
                  <a:lnTo>
                    <a:pt x="142" y="121"/>
                  </a:lnTo>
                  <a:close/>
                  <a:moveTo>
                    <a:pt x="2" y="371"/>
                  </a:moveTo>
                  <a:lnTo>
                    <a:pt x="2" y="373"/>
                  </a:lnTo>
                  <a:lnTo>
                    <a:pt x="2" y="371"/>
                  </a:lnTo>
                  <a:close/>
                  <a:moveTo>
                    <a:pt x="16" y="425"/>
                  </a:moveTo>
                  <a:lnTo>
                    <a:pt x="16" y="426"/>
                  </a:lnTo>
                  <a:lnTo>
                    <a:pt x="16" y="425"/>
                  </a:lnTo>
                  <a:close/>
                  <a:moveTo>
                    <a:pt x="179" y="85"/>
                  </a:moveTo>
                  <a:lnTo>
                    <a:pt x="181" y="85"/>
                  </a:lnTo>
                  <a:lnTo>
                    <a:pt x="179" y="85"/>
                  </a:lnTo>
                  <a:close/>
                  <a:moveTo>
                    <a:pt x="139" y="161"/>
                  </a:moveTo>
                  <a:lnTo>
                    <a:pt x="140" y="161"/>
                  </a:lnTo>
                  <a:lnTo>
                    <a:pt x="139" y="161"/>
                  </a:lnTo>
                  <a:close/>
                  <a:moveTo>
                    <a:pt x="87" y="426"/>
                  </a:moveTo>
                  <a:lnTo>
                    <a:pt x="89" y="426"/>
                  </a:lnTo>
                  <a:lnTo>
                    <a:pt x="87" y="426"/>
                  </a:lnTo>
                  <a:close/>
                  <a:moveTo>
                    <a:pt x="112" y="227"/>
                  </a:moveTo>
                  <a:lnTo>
                    <a:pt x="112" y="229"/>
                  </a:lnTo>
                  <a:lnTo>
                    <a:pt x="112" y="227"/>
                  </a:lnTo>
                  <a:close/>
                  <a:moveTo>
                    <a:pt x="156" y="123"/>
                  </a:moveTo>
                  <a:lnTo>
                    <a:pt x="158" y="123"/>
                  </a:lnTo>
                  <a:lnTo>
                    <a:pt x="156" y="123"/>
                  </a:lnTo>
                  <a:close/>
                  <a:moveTo>
                    <a:pt x="150" y="117"/>
                  </a:moveTo>
                  <a:lnTo>
                    <a:pt x="152" y="117"/>
                  </a:lnTo>
                  <a:lnTo>
                    <a:pt x="150" y="117"/>
                  </a:lnTo>
                  <a:close/>
                  <a:moveTo>
                    <a:pt x="21" y="419"/>
                  </a:moveTo>
                  <a:lnTo>
                    <a:pt x="23" y="419"/>
                  </a:lnTo>
                  <a:lnTo>
                    <a:pt x="21" y="419"/>
                  </a:lnTo>
                  <a:close/>
                  <a:moveTo>
                    <a:pt x="18" y="332"/>
                  </a:moveTo>
                  <a:lnTo>
                    <a:pt x="18" y="334"/>
                  </a:lnTo>
                  <a:lnTo>
                    <a:pt x="18" y="332"/>
                  </a:lnTo>
                  <a:close/>
                  <a:moveTo>
                    <a:pt x="58" y="290"/>
                  </a:moveTo>
                  <a:lnTo>
                    <a:pt x="60" y="290"/>
                  </a:lnTo>
                  <a:lnTo>
                    <a:pt x="58" y="290"/>
                  </a:lnTo>
                  <a:close/>
                  <a:moveTo>
                    <a:pt x="102" y="242"/>
                  </a:moveTo>
                  <a:lnTo>
                    <a:pt x="102" y="244"/>
                  </a:lnTo>
                  <a:lnTo>
                    <a:pt x="102" y="242"/>
                  </a:lnTo>
                  <a:close/>
                  <a:moveTo>
                    <a:pt x="110" y="229"/>
                  </a:moveTo>
                  <a:lnTo>
                    <a:pt x="110" y="231"/>
                  </a:lnTo>
                  <a:lnTo>
                    <a:pt x="110" y="229"/>
                  </a:lnTo>
                  <a:close/>
                  <a:moveTo>
                    <a:pt x="284" y="4"/>
                  </a:moveTo>
                  <a:lnTo>
                    <a:pt x="284" y="6"/>
                  </a:lnTo>
                  <a:lnTo>
                    <a:pt x="284" y="4"/>
                  </a:lnTo>
                  <a:close/>
                  <a:moveTo>
                    <a:pt x="125" y="175"/>
                  </a:moveTo>
                  <a:lnTo>
                    <a:pt x="125" y="177"/>
                  </a:lnTo>
                  <a:lnTo>
                    <a:pt x="125" y="175"/>
                  </a:lnTo>
                  <a:close/>
                  <a:moveTo>
                    <a:pt x="114" y="206"/>
                  </a:moveTo>
                  <a:lnTo>
                    <a:pt x="114" y="207"/>
                  </a:lnTo>
                  <a:lnTo>
                    <a:pt x="114" y="206"/>
                  </a:lnTo>
                  <a:close/>
                  <a:moveTo>
                    <a:pt x="156" y="123"/>
                  </a:moveTo>
                  <a:lnTo>
                    <a:pt x="156" y="125"/>
                  </a:lnTo>
                  <a:lnTo>
                    <a:pt x="156" y="123"/>
                  </a:lnTo>
                  <a:close/>
                  <a:moveTo>
                    <a:pt x="112" y="211"/>
                  </a:moveTo>
                  <a:lnTo>
                    <a:pt x="112" y="213"/>
                  </a:lnTo>
                  <a:lnTo>
                    <a:pt x="112" y="211"/>
                  </a:lnTo>
                  <a:close/>
                  <a:moveTo>
                    <a:pt x="125" y="181"/>
                  </a:moveTo>
                  <a:lnTo>
                    <a:pt x="127" y="181"/>
                  </a:lnTo>
                  <a:lnTo>
                    <a:pt x="125" y="181"/>
                  </a:lnTo>
                  <a:close/>
                  <a:moveTo>
                    <a:pt x="119" y="202"/>
                  </a:moveTo>
                  <a:lnTo>
                    <a:pt x="121" y="202"/>
                  </a:lnTo>
                  <a:lnTo>
                    <a:pt x="119" y="202"/>
                  </a:lnTo>
                  <a:close/>
                  <a:moveTo>
                    <a:pt x="123" y="188"/>
                  </a:moveTo>
                  <a:lnTo>
                    <a:pt x="123" y="190"/>
                  </a:lnTo>
                  <a:lnTo>
                    <a:pt x="123" y="188"/>
                  </a:lnTo>
                  <a:close/>
                  <a:moveTo>
                    <a:pt x="8" y="417"/>
                  </a:moveTo>
                  <a:lnTo>
                    <a:pt x="10" y="417"/>
                  </a:lnTo>
                  <a:lnTo>
                    <a:pt x="8" y="417"/>
                  </a:lnTo>
                  <a:close/>
                  <a:moveTo>
                    <a:pt x="89" y="250"/>
                  </a:moveTo>
                  <a:lnTo>
                    <a:pt x="89" y="252"/>
                  </a:lnTo>
                  <a:lnTo>
                    <a:pt x="89" y="250"/>
                  </a:lnTo>
                  <a:close/>
                  <a:moveTo>
                    <a:pt x="18" y="423"/>
                  </a:moveTo>
                  <a:lnTo>
                    <a:pt x="18" y="425"/>
                  </a:lnTo>
                  <a:lnTo>
                    <a:pt x="18" y="423"/>
                  </a:lnTo>
                  <a:close/>
                  <a:moveTo>
                    <a:pt x="41" y="459"/>
                  </a:moveTo>
                  <a:lnTo>
                    <a:pt x="41" y="461"/>
                  </a:lnTo>
                  <a:lnTo>
                    <a:pt x="41" y="459"/>
                  </a:lnTo>
                  <a:close/>
                  <a:moveTo>
                    <a:pt x="98" y="430"/>
                  </a:moveTo>
                  <a:lnTo>
                    <a:pt x="100" y="430"/>
                  </a:lnTo>
                  <a:lnTo>
                    <a:pt x="98" y="430"/>
                  </a:lnTo>
                  <a:close/>
                  <a:moveTo>
                    <a:pt x="52" y="296"/>
                  </a:moveTo>
                  <a:lnTo>
                    <a:pt x="52" y="298"/>
                  </a:lnTo>
                  <a:lnTo>
                    <a:pt x="52" y="296"/>
                  </a:lnTo>
                  <a:close/>
                  <a:moveTo>
                    <a:pt x="137" y="127"/>
                  </a:moveTo>
                  <a:lnTo>
                    <a:pt x="137" y="129"/>
                  </a:lnTo>
                  <a:lnTo>
                    <a:pt x="137" y="127"/>
                  </a:lnTo>
                  <a:close/>
                  <a:moveTo>
                    <a:pt x="87" y="430"/>
                  </a:moveTo>
                  <a:lnTo>
                    <a:pt x="87" y="432"/>
                  </a:lnTo>
                  <a:lnTo>
                    <a:pt x="87" y="430"/>
                  </a:lnTo>
                  <a:close/>
                  <a:moveTo>
                    <a:pt x="115" y="198"/>
                  </a:moveTo>
                  <a:lnTo>
                    <a:pt x="115" y="200"/>
                  </a:lnTo>
                  <a:lnTo>
                    <a:pt x="115" y="198"/>
                  </a:lnTo>
                  <a:close/>
                  <a:moveTo>
                    <a:pt x="8" y="417"/>
                  </a:moveTo>
                  <a:lnTo>
                    <a:pt x="8" y="419"/>
                  </a:lnTo>
                  <a:lnTo>
                    <a:pt x="8" y="417"/>
                  </a:lnTo>
                  <a:close/>
                  <a:moveTo>
                    <a:pt x="54" y="290"/>
                  </a:moveTo>
                  <a:lnTo>
                    <a:pt x="56" y="290"/>
                  </a:lnTo>
                  <a:lnTo>
                    <a:pt x="54" y="290"/>
                  </a:lnTo>
                  <a:close/>
                  <a:moveTo>
                    <a:pt x="2" y="361"/>
                  </a:moveTo>
                  <a:lnTo>
                    <a:pt x="2" y="363"/>
                  </a:lnTo>
                  <a:lnTo>
                    <a:pt x="2" y="361"/>
                  </a:lnTo>
                  <a:close/>
                  <a:moveTo>
                    <a:pt x="292" y="12"/>
                  </a:moveTo>
                  <a:lnTo>
                    <a:pt x="294" y="12"/>
                  </a:lnTo>
                  <a:lnTo>
                    <a:pt x="292" y="12"/>
                  </a:lnTo>
                  <a:close/>
                  <a:moveTo>
                    <a:pt x="60" y="451"/>
                  </a:moveTo>
                  <a:lnTo>
                    <a:pt x="60" y="453"/>
                  </a:lnTo>
                  <a:lnTo>
                    <a:pt x="60" y="451"/>
                  </a:lnTo>
                  <a:close/>
                  <a:moveTo>
                    <a:pt x="104" y="227"/>
                  </a:moveTo>
                  <a:lnTo>
                    <a:pt x="104" y="229"/>
                  </a:lnTo>
                  <a:lnTo>
                    <a:pt x="104" y="227"/>
                  </a:lnTo>
                  <a:close/>
                  <a:moveTo>
                    <a:pt x="125" y="179"/>
                  </a:moveTo>
                  <a:lnTo>
                    <a:pt x="125" y="181"/>
                  </a:lnTo>
                  <a:lnTo>
                    <a:pt x="125" y="179"/>
                  </a:lnTo>
                  <a:close/>
                  <a:moveTo>
                    <a:pt x="110" y="221"/>
                  </a:moveTo>
                  <a:lnTo>
                    <a:pt x="110" y="223"/>
                  </a:lnTo>
                  <a:lnTo>
                    <a:pt x="110" y="221"/>
                  </a:lnTo>
                  <a:close/>
                  <a:moveTo>
                    <a:pt x="156" y="138"/>
                  </a:moveTo>
                  <a:lnTo>
                    <a:pt x="158" y="138"/>
                  </a:lnTo>
                  <a:lnTo>
                    <a:pt x="156" y="138"/>
                  </a:lnTo>
                  <a:close/>
                  <a:moveTo>
                    <a:pt x="114" y="188"/>
                  </a:moveTo>
                  <a:lnTo>
                    <a:pt x="114" y="190"/>
                  </a:lnTo>
                  <a:lnTo>
                    <a:pt x="114" y="188"/>
                  </a:lnTo>
                  <a:close/>
                  <a:moveTo>
                    <a:pt x="106" y="213"/>
                  </a:moveTo>
                  <a:lnTo>
                    <a:pt x="106" y="215"/>
                  </a:lnTo>
                  <a:lnTo>
                    <a:pt x="106" y="213"/>
                  </a:lnTo>
                  <a:close/>
                  <a:moveTo>
                    <a:pt x="129" y="177"/>
                  </a:moveTo>
                  <a:lnTo>
                    <a:pt x="131" y="177"/>
                  </a:lnTo>
                  <a:lnTo>
                    <a:pt x="129" y="177"/>
                  </a:lnTo>
                  <a:close/>
                  <a:moveTo>
                    <a:pt x="119" y="179"/>
                  </a:moveTo>
                  <a:lnTo>
                    <a:pt x="119" y="181"/>
                  </a:lnTo>
                  <a:lnTo>
                    <a:pt x="119" y="179"/>
                  </a:lnTo>
                  <a:close/>
                  <a:moveTo>
                    <a:pt x="4" y="382"/>
                  </a:moveTo>
                  <a:lnTo>
                    <a:pt x="6" y="382"/>
                  </a:lnTo>
                  <a:lnTo>
                    <a:pt x="4" y="382"/>
                  </a:lnTo>
                  <a:close/>
                  <a:moveTo>
                    <a:pt x="10" y="421"/>
                  </a:moveTo>
                  <a:lnTo>
                    <a:pt x="10" y="423"/>
                  </a:lnTo>
                  <a:lnTo>
                    <a:pt x="10" y="421"/>
                  </a:lnTo>
                  <a:close/>
                  <a:moveTo>
                    <a:pt x="229" y="38"/>
                  </a:moveTo>
                  <a:lnTo>
                    <a:pt x="229" y="40"/>
                  </a:lnTo>
                  <a:lnTo>
                    <a:pt x="229" y="38"/>
                  </a:lnTo>
                  <a:close/>
                  <a:moveTo>
                    <a:pt x="110" y="234"/>
                  </a:moveTo>
                  <a:lnTo>
                    <a:pt x="110" y="236"/>
                  </a:lnTo>
                  <a:lnTo>
                    <a:pt x="110" y="234"/>
                  </a:lnTo>
                  <a:close/>
                  <a:moveTo>
                    <a:pt x="58" y="286"/>
                  </a:moveTo>
                  <a:lnTo>
                    <a:pt x="58" y="288"/>
                  </a:lnTo>
                  <a:lnTo>
                    <a:pt x="58" y="286"/>
                  </a:lnTo>
                  <a:close/>
                  <a:moveTo>
                    <a:pt x="12" y="405"/>
                  </a:moveTo>
                  <a:lnTo>
                    <a:pt x="12" y="407"/>
                  </a:lnTo>
                  <a:lnTo>
                    <a:pt x="12" y="405"/>
                  </a:lnTo>
                  <a:close/>
                  <a:moveTo>
                    <a:pt x="173" y="133"/>
                  </a:moveTo>
                  <a:lnTo>
                    <a:pt x="173" y="134"/>
                  </a:lnTo>
                  <a:lnTo>
                    <a:pt x="173" y="133"/>
                  </a:lnTo>
                  <a:close/>
                  <a:moveTo>
                    <a:pt x="133" y="131"/>
                  </a:moveTo>
                  <a:lnTo>
                    <a:pt x="133" y="133"/>
                  </a:lnTo>
                  <a:lnTo>
                    <a:pt x="133" y="131"/>
                  </a:lnTo>
                  <a:close/>
                  <a:moveTo>
                    <a:pt x="127" y="179"/>
                  </a:moveTo>
                  <a:lnTo>
                    <a:pt x="127" y="181"/>
                  </a:lnTo>
                  <a:lnTo>
                    <a:pt x="127" y="179"/>
                  </a:lnTo>
                  <a:close/>
                  <a:moveTo>
                    <a:pt x="4" y="380"/>
                  </a:moveTo>
                  <a:lnTo>
                    <a:pt x="4" y="382"/>
                  </a:lnTo>
                  <a:lnTo>
                    <a:pt x="4" y="380"/>
                  </a:lnTo>
                  <a:close/>
                  <a:moveTo>
                    <a:pt x="119" y="188"/>
                  </a:moveTo>
                  <a:lnTo>
                    <a:pt x="121" y="188"/>
                  </a:lnTo>
                  <a:lnTo>
                    <a:pt x="119" y="188"/>
                  </a:lnTo>
                  <a:close/>
                  <a:moveTo>
                    <a:pt x="284" y="6"/>
                  </a:moveTo>
                  <a:lnTo>
                    <a:pt x="286" y="6"/>
                  </a:lnTo>
                  <a:lnTo>
                    <a:pt x="284" y="6"/>
                  </a:lnTo>
                  <a:close/>
                  <a:moveTo>
                    <a:pt x="58" y="282"/>
                  </a:moveTo>
                  <a:lnTo>
                    <a:pt x="58" y="284"/>
                  </a:lnTo>
                  <a:lnTo>
                    <a:pt x="58" y="282"/>
                  </a:lnTo>
                  <a:close/>
                  <a:moveTo>
                    <a:pt x="119" y="198"/>
                  </a:moveTo>
                  <a:lnTo>
                    <a:pt x="121" y="198"/>
                  </a:lnTo>
                  <a:lnTo>
                    <a:pt x="119" y="198"/>
                  </a:lnTo>
                  <a:close/>
                  <a:moveTo>
                    <a:pt x="112" y="217"/>
                  </a:moveTo>
                  <a:lnTo>
                    <a:pt x="114" y="217"/>
                  </a:lnTo>
                  <a:lnTo>
                    <a:pt x="112" y="217"/>
                  </a:lnTo>
                  <a:close/>
                  <a:moveTo>
                    <a:pt x="106" y="240"/>
                  </a:moveTo>
                  <a:lnTo>
                    <a:pt x="106" y="242"/>
                  </a:lnTo>
                  <a:lnTo>
                    <a:pt x="106" y="240"/>
                  </a:lnTo>
                  <a:close/>
                  <a:moveTo>
                    <a:pt x="60" y="290"/>
                  </a:moveTo>
                  <a:lnTo>
                    <a:pt x="62" y="290"/>
                  </a:lnTo>
                  <a:lnTo>
                    <a:pt x="60" y="290"/>
                  </a:lnTo>
                  <a:close/>
                  <a:moveTo>
                    <a:pt x="110" y="213"/>
                  </a:moveTo>
                  <a:lnTo>
                    <a:pt x="112" y="213"/>
                  </a:lnTo>
                  <a:lnTo>
                    <a:pt x="110" y="213"/>
                  </a:lnTo>
                  <a:close/>
                  <a:moveTo>
                    <a:pt x="110" y="219"/>
                  </a:moveTo>
                  <a:lnTo>
                    <a:pt x="110" y="221"/>
                  </a:lnTo>
                  <a:lnTo>
                    <a:pt x="110" y="219"/>
                  </a:lnTo>
                  <a:close/>
                  <a:moveTo>
                    <a:pt x="8" y="401"/>
                  </a:moveTo>
                  <a:lnTo>
                    <a:pt x="10" y="401"/>
                  </a:lnTo>
                  <a:lnTo>
                    <a:pt x="8" y="401"/>
                  </a:lnTo>
                  <a:close/>
                  <a:moveTo>
                    <a:pt x="206" y="83"/>
                  </a:moveTo>
                  <a:lnTo>
                    <a:pt x="206" y="85"/>
                  </a:lnTo>
                  <a:lnTo>
                    <a:pt x="206" y="83"/>
                  </a:lnTo>
                  <a:close/>
                  <a:moveTo>
                    <a:pt x="121" y="142"/>
                  </a:moveTo>
                  <a:lnTo>
                    <a:pt x="121" y="144"/>
                  </a:lnTo>
                  <a:lnTo>
                    <a:pt x="121" y="142"/>
                  </a:lnTo>
                  <a:close/>
                  <a:moveTo>
                    <a:pt x="56" y="284"/>
                  </a:moveTo>
                  <a:lnTo>
                    <a:pt x="58" y="284"/>
                  </a:lnTo>
                  <a:lnTo>
                    <a:pt x="56" y="284"/>
                  </a:lnTo>
                  <a:close/>
                  <a:moveTo>
                    <a:pt x="144" y="119"/>
                  </a:moveTo>
                  <a:lnTo>
                    <a:pt x="144" y="121"/>
                  </a:lnTo>
                  <a:lnTo>
                    <a:pt x="144" y="119"/>
                  </a:lnTo>
                  <a:close/>
                  <a:moveTo>
                    <a:pt x="119" y="186"/>
                  </a:moveTo>
                  <a:lnTo>
                    <a:pt x="119" y="188"/>
                  </a:lnTo>
                  <a:lnTo>
                    <a:pt x="119" y="186"/>
                  </a:lnTo>
                  <a:close/>
                  <a:moveTo>
                    <a:pt x="135" y="167"/>
                  </a:moveTo>
                  <a:lnTo>
                    <a:pt x="137" y="167"/>
                  </a:lnTo>
                  <a:lnTo>
                    <a:pt x="135" y="167"/>
                  </a:lnTo>
                  <a:close/>
                  <a:moveTo>
                    <a:pt x="221" y="50"/>
                  </a:moveTo>
                  <a:lnTo>
                    <a:pt x="223" y="50"/>
                  </a:lnTo>
                  <a:lnTo>
                    <a:pt x="221" y="50"/>
                  </a:lnTo>
                  <a:close/>
                  <a:moveTo>
                    <a:pt x="106" y="232"/>
                  </a:moveTo>
                  <a:lnTo>
                    <a:pt x="108" y="232"/>
                  </a:lnTo>
                  <a:lnTo>
                    <a:pt x="106" y="232"/>
                  </a:lnTo>
                  <a:close/>
                  <a:moveTo>
                    <a:pt x="129" y="177"/>
                  </a:moveTo>
                  <a:lnTo>
                    <a:pt x="131" y="177"/>
                  </a:lnTo>
                  <a:lnTo>
                    <a:pt x="129" y="177"/>
                  </a:lnTo>
                  <a:close/>
                  <a:moveTo>
                    <a:pt x="117" y="184"/>
                  </a:moveTo>
                  <a:lnTo>
                    <a:pt x="117" y="186"/>
                  </a:lnTo>
                  <a:lnTo>
                    <a:pt x="117" y="184"/>
                  </a:lnTo>
                  <a:close/>
                  <a:moveTo>
                    <a:pt x="77" y="277"/>
                  </a:moveTo>
                  <a:lnTo>
                    <a:pt x="79" y="277"/>
                  </a:lnTo>
                  <a:lnTo>
                    <a:pt x="77" y="277"/>
                  </a:lnTo>
                  <a:close/>
                  <a:moveTo>
                    <a:pt x="91" y="261"/>
                  </a:moveTo>
                  <a:lnTo>
                    <a:pt x="92" y="261"/>
                  </a:lnTo>
                  <a:lnTo>
                    <a:pt x="91" y="261"/>
                  </a:lnTo>
                  <a:close/>
                  <a:moveTo>
                    <a:pt x="23" y="328"/>
                  </a:moveTo>
                  <a:lnTo>
                    <a:pt x="25" y="328"/>
                  </a:lnTo>
                  <a:lnTo>
                    <a:pt x="23" y="328"/>
                  </a:lnTo>
                  <a:close/>
                  <a:moveTo>
                    <a:pt x="112" y="242"/>
                  </a:moveTo>
                  <a:lnTo>
                    <a:pt x="112" y="244"/>
                  </a:lnTo>
                  <a:lnTo>
                    <a:pt x="112" y="242"/>
                  </a:lnTo>
                  <a:close/>
                  <a:moveTo>
                    <a:pt x="8" y="386"/>
                  </a:moveTo>
                  <a:lnTo>
                    <a:pt x="8" y="388"/>
                  </a:lnTo>
                  <a:lnTo>
                    <a:pt x="8" y="386"/>
                  </a:lnTo>
                  <a:close/>
                  <a:moveTo>
                    <a:pt x="6" y="357"/>
                  </a:moveTo>
                  <a:lnTo>
                    <a:pt x="6" y="359"/>
                  </a:lnTo>
                  <a:lnTo>
                    <a:pt x="6" y="357"/>
                  </a:lnTo>
                  <a:close/>
                  <a:moveTo>
                    <a:pt x="108" y="209"/>
                  </a:moveTo>
                  <a:lnTo>
                    <a:pt x="110" y="209"/>
                  </a:lnTo>
                  <a:lnTo>
                    <a:pt x="108" y="209"/>
                  </a:lnTo>
                  <a:close/>
                  <a:moveTo>
                    <a:pt x="390" y="35"/>
                  </a:moveTo>
                  <a:lnTo>
                    <a:pt x="390" y="37"/>
                  </a:lnTo>
                  <a:lnTo>
                    <a:pt x="390" y="35"/>
                  </a:lnTo>
                  <a:close/>
                  <a:moveTo>
                    <a:pt x="6" y="373"/>
                  </a:moveTo>
                  <a:lnTo>
                    <a:pt x="8" y="373"/>
                  </a:lnTo>
                  <a:lnTo>
                    <a:pt x="8" y="375"/>
                  </a:lnTo>
                  <a:lnTo>
                    <a:pt x="6" y="375"/>
                  </a:lnTo>
                  <a:lnTo>
                    <a:pt x="6" y="373"/>
                  </a:lnTo>
                  <a:close/>
                  <a:moveTo>
                    <a:pt x="146" y="144"/>
                  </a:moveTo>
                  <a:lnTo>
                    <a:pt x="148" y="144"/>
                  </a:lnTo>
                  <a:lnTo>
                    <a:pt x="146" y="144"/>
                  </a:lnTo>
                  <a:close/>
                  <a:moveTo>
                    <a:pt x="112" y="215"/>
                  </a:moveTo>
                  <a:lnTo>
                    <a:pt x="112" y="217"/>
                  </a:lnTo>
                  <a:lnTo>
                    <a:pt x="112" y="215"/>
                  </a:lnTo>
                  <a:close/>
                  <a:moveTo>
                    <a:pt x="112" y="190"/>
                  </a:moveTo>
                  <a:lnTo>
                    <a:pt x="112" y="192"/>
                  </a:lnTo>
                  <a:lnTo>
                    <a:pt x="112" y="190"/>
                  </a:lnTo>
                  <a:close/>
                  <a:moveTo>
                    <a:pt x="119" y="202"/>
                  </a:moveTo>
                  <a:lnTo>
                    <a:pt x="121" y="202"/>
                  </a:lnTo>
                  <a:lnTo>
                    <a:pt x="119" y="202"/>
                  </a:lnTo>
                  <a:close/>
                  <a:moveTo>
                    <a:pt x="110" y="217"/>
                  </a:moveTo>
                  <a:lnTo>
                    <a:pt x="110" y="219"/>
                  </a:lnTo>
                  <a:lnTo>
                    <a:pt x="110" y="217"/>
                  </a:lnTo>
                  <a:close/>
                  <a:moveTo>
                    <a:pt x="81" y="275"/>
                  </a:moveTo>
                  <a:lnTo>
                    <a:pt x="81" y="277"/>
                  </a:lnTo>
                  <a:lnTo>
                    <a:pt x="81" y="275"/>
                  </a:lnTo>
                  <a:close/>
                  <a:moveTo>
                    <a:pt x="162" y="121"/>
                  </a:moveTo>
                  <a:lnTo>
                    <a:pt x="162" y="123"/>
                  </a:lnTo>
                  <a:lnTo>
                    <a:pt x="162" y="121"/>
                  </a:lnTo>
                  <a:close/>
                  <a:moveTo>
                    <a:pt x="54" y="290"/>
                  </a:moveTo>
                  <a:lnTo>
                    <a:pt x="56" y="290"/>
                  </a:lnTo>
                  <a:lnTo>
                    <a:pt x="54" y="290"/>
                  </a:lnTo>
                  <a:close/>
                  <a:moveTo>
                    <a:pt x="129" y="179"/>
                  </a:moveTo>
                  <a:lnTo>
                    <a:pt x="129" y="181"/>
                  </a:lnTo>
                  <a:lnTo>
                    <a:pt x="129" y="179"/>
                  </a:lnTo>
                  <a:close/>
                  <a:moveTo>
                    <a:pt x="21" y="426"/>
                  </a:moveTo>
                  <a:lnTo>
                    <a:pt x="21" y="428"/>
                  </a:lnTo>
                  <a:lnTo>
                    <a:pt x="21" y="426"/>
                  </a:lnTo>
                  <a:close/>
                  <a:moveTo>
                    <a:pt x="62" y="282"/>
                  </a:moveTo>
                  <a:lnTo>
                    <a:pt x="62" y="284"/>
                  </a:lnTo>
                  <a:lnTo>
                    <a:pt x="62" y="282"/>
                  </a:lnTo>
                  <a:close/>
                  <a:moveTo>
                    <a:pt x="87" y="428"/>
                  </a:moveTo>
                  <a:lnTo>
                    <a:pt x="87" y="430"/>
                  </a:lnTo>
                  <a:lnTo>
                    <a:pt x="87" y="428"/>
                  </a:lnTo>
                  <a:close/>
                  <a:moveTo>
                    <a:pt x="108" y="215"/>
                  </a:moveTo>
                  <a:lnTo>
                    <a:pt x="110" y="215"/>
                  </a:lnTo>
                  <a:lnTo>
                    <a:pt x="108" y="215"/>
                  </a:lnTo>
                  <a:close/>
                  <a:moveTo>
                    <a:pt x="14" y="430"/>
                  </a:moveTo>
                  <a:lnTo>
                    <a:pt x="14" y="432"/>
                  </a:lnTo>
                  <a:lnTo>
                    <a:pt x="14" y="430"/>
                  </a:lnTo>
                  <a:close/>
                  <a:moveTo>
                    <a:pt x="73" y="284"/>
                  </a:moveTo>
                  <a:lnTo>
                    <a:pt x="73" y="286"/>
                  </a:lnTo>
                  <a:lnTo>
                    <a:pt x="73" y="284"/>
                  </a:lnTo>
                  <a:close/>
                  <a:moveTo>
                    <a:pt x="66" y="298"/>
                  </a:moveTo>
                  <a:lnTo>
                    <a:pt x="66" y="300"/>
                  </a:lnTo>
                  <a:lnTo>
                    <a:pt x="66" y="298"/>
                  </a:lnTo>
                  <a:close/>
                  <a:moveTo>
                    <a:pt x="131" y="133"/>
                  </a:moveTo>
                  <a:lnTo>
                    <a:pt x="133" y="133"/>
                  </a:lnTo>
                  <a:lnTo>
                    <a:pt x="131" y="133"/>
                  </a:lnTo>
                  <a:close/>
                  <a:moveTo>
                    <a:pt x="135" y="131"/>
                  </a:moveTo>
                  <a:lnTo>
                    <a:pt x="137" y="131"/>
                  </a:lnTo>
                  <a:lnTo>
                    <a:pt x="135" y="131"/>
                  </a:lnTo>
                  <a:close/>
                  <a:moveTo>
                    <a:pt x="94" y="252"/>
                  </a:moveTo>
                  <a:lnTo>
                    <a:pt x="94" y="254"/>
                  </a:lnTo>
                  <a:lnTo>
                    <a:pt x="94" y="252"/>
                  </a:lnTo>
                  <a:close/>
                  <a:moveTo>
                    <a:pt x="106" y="215"/>
                  </a:moveTo>
                  <a:lnTo>
                    <a:pt x="108" y="215"/>
                  </a:lnTo>
                  <a:lnTo>
                    <a:pt x="106" y="215"/>
                  </a:lnTo>
                  <a:close/>
                  <a:moveTo>
                    <a:pt x="46" y="300"/>
                  </a:moveTo>
                  <a:lnTo>
                    <a:pt x="48" y="300"/>
                  </a:lnTo>
                  <a:lnTo>
                    <a:pt x="46" y="300"/>
                  </a:lnTo>
                  <a:close/>
                  <a:moveTo>
                    <a:pt x="162" y="125"/>
                  </a:moveTo>
                  <a:lnTo>
                    <a:pt x="163" y="125"/>
                  </a:lnTo>
                  <a:lnTo>
                    <a:pt x="162" y="125"/>
                  </a:lnTo>
                  <a:close/>
                  <a:moveTo>
                    <a:pt x="14" y="434"/>
                  </a:moveTo>
                  <a:lnTo>
                    <a:pt x="14" y="436"/>
                  </a:lnTo>
                  <a:lnTo>
                    <a:pt x="14" y="434"/>
                  </a:lnTo>
                  <a:close/>
                  <a:moveTo>
                    <a:pt x="106" y="215"/>
                  </a:moveTo>
                  <a:lnTo>
                    <a:pt x="108" y="215"/>
                  </a:lnTo>
                  <a:lnTo>
                    <a:pt x="106" y="215"/>
                  </a:lnTo>
                  <a:close/>
                  <a:moveTo>
                    <a:pt x="108" y="219"/>
                  </a:moveTo>
                  <a:lnTo>
                    <a:pt x="108" y="221"/>
                  </a:lnTo>
                  <a:lnTo>
                    <a:pt x="108" y="219"/>
                  </a:lnTo>
                  <a:close/>
                  <a:moveTo>
                    <a:pt x="6" y="365"/>
                  </a:moveTo>
                  <a:lnTo>
                    <a:pt x="6" y="367"/>
                  </a:lnTo>
                  <a:lnTo>
                    <a:pt x="6" y="365"/>
                  </a:lnTo>
                  <a:close/>
                  <a:moveTo>
                    <a:pt x="94" y="428"/>
                  </a:moveTo>
                  <a:lnTo>
                    <a:pt x="96" y="428"/>
                  </a:lnTo>
                  <a:lnTo>
                    <a:pt x="94" y="428"/>
                  </a:lnTo>
                  <a:close/>
                  <a:moveTo>
                    <a:pt x="79" y="277"/>
                  </a:moveTo>
                  <a:lnTo>
                    <a:pt x="79" y="279"/>
                  </a:lnTo>
                  <a:lnTo>
                    <a:pt x="79" y="277"/>
                  </a:lnTo>
                  <a:close/>
                  <a:moveTo>
                    <a:pt x="8" y="380"/>
                  </a:moveTo>
                  <a:lnTo>
                    <a:pt x="8" y="382"/>
                  </a:lnTo>
                  <a:lnTo>
                    <a:pt x="8" y="380"/>
                  </a:lnTo>
                  <a:close/>
                  <a:moveTo>
                    <a:pt x="16" y="409"/>
                  </a:moveTo>
                  <a:lnTo>
                    <a:pt x="18" y="409"/>
                  </a:lnTo>
                  <a:lnTo>
                    <a:pt x="16" y="409"/>
                  </a:lnTo>
                  <a:close/>
                  <a:moveTo>
                    <a:pt x="135" y="131"/>
                  </a:moveTo>
                  <a:lnTo>
                    <a:pt x="137" y="131"/>
                  </a:lnTo>
                  <a:lnTo>
                    <a:pt x="135" y="131"/>
                  </a:lnTo>
                  <a:close/>
                  <a:moveTo>
                    <a:pt x="106" y="225"/>
                  </a:moveTo>
                  <a:lnTo>
                    <a:pt x="108" y="225"/>
                  </a:lnTo>
                  <a:lnTo>
                    <a:pt x="106" y="225"/>
                  </a:lnTo>
                  <a:close/>
                  <a:moveTo>
                    <a:pt x="96" y="250"/>
                  </a:moveTo>
                  <a:lnTo>
                    <a:pt x="96" y="252"/>
                  </a:lnTo>
                  <a:lnTo>
                    <a:pt x="96" y="250"/>
                  </a:lnTo>
                  <a:close/>
                  <a:moveTo>
                    <a:pt x="4" y="357"/>
                  </a:moveTo>
                  <a:lnTo>
                    <a:pt x="6" y="357"/>
                  </a:lnTo>
                  <a:lnTo>
                    <a:pt x="4" y="357"/>
                  </a:lnTo>
                  <a:close/>
                  <a:moveTo>
                    <a:pt x="8" y="384"/>
                  </a:moveTo>
                  <a:lnTo>
                    <a:pt x="8" y="386"/>
                  </a:lnTo>
                  <a:lnTo>
                    <a:pt x="8" y="384"/>
                  </a:lnTo>
                  <a:close/>
                  <a:moveTo>
                    <a:pt x="348" y="8"/>
                  </a:moveTo>
                  <a:lnTo>
                    <a:pt x="348" y="10"/>
                  </a:lnTo>
                  <a:lnTo>
                    <a:pt x="348" y="8"/>
                  </a:lnTo>
                  <a:close/>
                  <a:moveTo>
                    <a:pt x="112" y="200"/>
                  </a:moveTo>
                  <a:lnTo>
                    <a:pt x="112" y="202"/>
                  </a:lnTo>
                  <a:lnTo>
                    <a:pt x="112" y="200"/>
                  </a:lnTo>
                  <a:close/>
                  <a:moveTo>
                    <a:pt x="125" y="173"/>
                  </a:moveTo>
                  <a:lnTo>
                    <a:pt x="127" y="173"/>
                  </a:lnTo>
                  <a:lnTo>
                    <a:pt x="125" y="173"/>
                  </a:lnTo>
                  <a:close/>
                  <a:moveTo>
                    <a:pt x="75" y="434"/>
                  </a:moveTo>
                  <a:lnTo>
                    <a:pt x="75" y="436"/>
                  </a:lnTo>
                  <a:lnTo>
                    <a:pt x="75" y="434"/>
                  </a:lnTo>
                  <a:close/>
                  <a:moveTo>
                    <a:pt x="68" y="275"/>
                  </a:moveTo>
                  <a:lnTo>
                    <a:pt x="68" y="277"/>
                  </a:lnTo>
                  <a:lnTo>
                    <a:pt x="68" y="275"/>
                  </a:lnTo>
                  <a:close/>
                  <a:moveTo>
                    <a:pt x="114" y="211"/>
                  </a:moveTo>
                  <a:lnTo>
                    <a:pt x="115" y="211"/>
                  </a:lnTo>
                  <a:lnTo>
                    <a:pt x="114" y="211"/>
                  </a:lnTo>
                  <a:close/>
                  <a:moveTo>
                    <a:pt x="115" y="202"/>
                  </a:moveTo>
                  <a:lnTo>
                    <a:pt x="115" y="204"/>
                  </a:lnTo>
                  <a:lnTo>
                    <a:pt x="115" y="202"/>
                  </a:lnTo>
                  <a:close/>
                  <a:moveTo>
                    <a:pt x="58" y="453"/>
                  </a:moveTo>
                  <a:lnTo>
                    <a:pt x="60" y="453"/>
                  </a:lnTo>
                  <a:lnTo>
                    <a:pt x="58" y="453"/>
                  </a:lnTo>
                  <a:close/>
                  <a:moveTo>
                    <a:pt x="163" y="134"/>
                  </a:moveTo>
                  <a:lnTo>
                    <a:pt x="165" y="134"/>
                  </a:lnTo>
                  <a:lnTo>
                    <a:pt x="163" y="134"/>
                  </a:lnTo>
                  <a:close/>
                  <a:moveTo>
                    <a:pt x="81" y="280"/>
                  </a:moveTo>
                  <a:lnTo>
                    <a:pt x="83" y="280"/>
                  </a:lnTo>
                  <a:lnTo>
                    <a:pt x="81" y="280"/>
                  </a:lnTo>
                  <a:close/>
                  <a:moveTo>
                    <a:pt x="175" y="90"/>
                  </a:moveTo>
                  <a:lnTo>
                    <a:pt x="175" y="92"/>
                  </a:lnTo>
                  <a:lnTo>
                    <a:pt x="175" y="90"/>
                  </a:lnTo>
                  <a:close/>
                  <a:moveTo>
                    <a:pt x="110" y="154"/>
                  </a:moveTo>
                  <a:lnTo>
                    <a:pt x="112" y="154"/>
                  </a:lnTo>
                  <a:lnTo>
                    <a:pt x="110" y="154"/>
                  </a:lnTo>
                  <a:close/>
                  <a:moveTo>
                    <a:pt x="31" y="315"/>
                  </a:moveTo>
                  <a:lnTo>
                    <a:pt x="33" y="315"/>
                  </a:lnTo>
                  <a:lnTo>
                    <a:pt x="31" y="315"/>
                  </a:lnTo>
                  <a:close/>
                  <a:moveTo>
                    <a:pt x="12" y="398"/>
                  </a:moveTo>
                  <a:lnTo>
                    <a:pt x="12" y="400"/>
                  </a:lnTo>
                  <a:lnTo>
                    <a:pt x="12" y="398"/>
                  </a:lnTo>
                  <a:close/>
                  <a:moveTo>
                    <a:pt x="89" y="430"/>
                  </a:moveTo>
                  <a:lnTo>
                    <a:pt x="89" y="432"/>
                  </a:lnTo>
                  <a:lnTo>
                    <a:pt x="89" y="430"/>
                  </a:lnTo>
                  <a:close/>
                  <a:moveTo>
                    <a:pt x="48" y="300"/>
                  </a:moveTo>
                  <a:lnTo>
                    <a:pt x="48" y="302"/>
                  </a:lnTo>
                  <a:lnTo>
                    <a:pt x="48" y="300"/>
                  </a:lnTo>
                  <a:close/>
                  <a:moveTo>
                    <a:pt x="148" y="146"/>
                  </a:moveTo>
                  <a:lnTo>
                    <a:pt x="150" y="146"/>
                  </a:lnTo>
                  <a:lnTo>
                    <a:pt x="148" y="146"/>
                  </a:lnTo>
                  <a:close/>
                  <a:moveTo>
                    <a:pt x="346" y="10"/>
                  </a:moveTo>
                  <a:lnTo>
                    <a:pt x="346" y="12"/>
                  </a:lnTo>
                  <a:lnTo>
                    <a:pt x="346" y="10"/>
                  </a:lnTo>
                  <a:close/>
                  <a:moveTo>
                    <a:pt x="110" y="190"/>
                  </a:moveTo>
                  <a:lnTo>
                    <a:pt x="112" y="190"/>
                  </a:lnTo>
                  <a:lnTo>
                    <a:pt x="110" y="190"/>
                  </a:lnTo>
                  <a:close/>
                  <a:moveTo>
                    <a:pt x="48" y="296"/>
                  </a:moveTo>
                  <a:lnTo>
                    <a:pt x="48" y="298"/>
                  </a:lnTo>
                  <a:lnTo>
                    <a:pt x="48" y="296"/>
                  </a:lnTo>
                  <a:close/>
                  <a:moveTo>
                    <a:pt x="110" y="229"/>
                  </a:moveTo>
                  <a:lnTo>
                    <a:pt x="110" y="231"/>
                  </a:lnTo>
                  <a:lnTo>
                    <a:pt x="110" y="229"/>
                  </a:lnTo>
                  <a:close/>
                  <a:moveTo>
                    <a:pt x="114" y="204"/>
                  </a:moveTo>
                  <a:lnTo>
                    <a:pt x="114" y="206"/>
                  </a:lnTo>
                  <a:lnTo>
                    <a:pt x="114" y="204"/>
                  </a:lnTo>
                  <a:close/>
                  <a:moveTo>
                    <a:pt x="66" y="444"/>
                  </a:moveTo>
                  <a:lnTo>
                    <a:pt x="68" y="444"/>
                  </a:lnTo>
                  <a:lnTo>
                    <a:pt x="66" y="444"/>
                  </a:lnTo>
                  <a:close/>
                  <a:moveTo>
                    <a:pt x="16" y="409"/>
                  </a:moveTo>
                  <a:lnTo>
                    <a:pt x="16" y="411"/>
                  </a:lnTo>
                  <a:lnTo>
                    <a:pt x="16" y="409"/>
                  </a:lnTo>
                  <a:close/>
                  <a:moveTo>
                    <a:pt x="202" y="54"/>
                  </a:moveTo>
                  <a:lnTo>
                    <a:pt x="204" y="54"/>
                  </a:lnTo>
                  <a:lnTo>
                    <a:pt x="202" y="54"/>
                  </a:lnTo>
                  <a:close/>
                  <a:moveTo>
                    <a:pt x="142" y="121"/>
                  </a:moveTo>
                  <a:lnTo>
                    <a:pt x="142" y="123"/>
                  </a:lnTo>
                  <a:lnTo>
                    <a:pt x="142" y="121"/>
                  </a:lnTo>
                  <a:close/>
                  <a:moveTo>
                    <a:pt x="60" y="284"/>
                  </a:moveTo>
                  <a:lnTo>
                    <a:pt x="60" y="286"/>
                  </a:lnTo>
                  <a:lnTo>
                    <a:pt x="60" y="284"/>
                  </a:lnTo>
                  <a:close/>
                  <a:moveTo>
                    <a:pt x="104" y="215"/>
                  </a:moveTo>
                  <a:lnTo>
                    <a:pt x="106" y="215"/>
                  </a:lnTo>
                  <a:lnTo>
                    <a:pt x="104" y="215"/>
                  </a:lnTo>
                  <a:close/>
                  <a:moveTo>
                    <a:pt x="152" y="165"/>
                  </a:moveTo>
                  <a:lnTo>
                    <a:pt x="152" y="167"/>
                  </a:lnTo>
                  <a:lnTo>
                    <a:pt x="152" y="165"/>
                  </a:lnTo>
                  <a:close/>
                  <a:moveTo>
                    <a:pt x="94" y="250"/>
                  </a:moveTo>
                  <a:lnTo>
                    <a:pt x="94" y="252"/>
                  </a:lnTo>
                  <a:lnTo>
                    <a:pt x="94" y="250"/>
                  </a:lnTo>
                  <a:close/>
                  <a:moveTo>
                    <a:pt x="8" y="401"/>
                  </a:moveTo>
                  <a:lnTo>
                    <a:pt x="10" y="401"/>
                  </a:lnTo>
                  <a:lnTo>
                    <a:pt x="8" y="401"/>
                  </a:lnTo>
                  <a:close/>
                  <a:moveTo>
                    <a:pt x="137" y="171"/>
                  </a:moveTo>
                  <a:lnTo>
                    <a:pt x="139" y="171"/>
                  </a:lnTo>
                  <a:lnTo>
                    <a:pt x="137" y="171"/>
                  </a:lnTo>
                  <a:close/>
                  <a:moveTo>
                    <a:pt x="66" y="444"/>
                  </a:moveTo>
                  <a:lnTo>
                    <a:pt x="68" y="444"/>
                  </a:lnTo>
                  <a:lnTo>
                    <a:pt x="66" y="444"/>
                  </a:lnTo>
                  <a:close/>
                  <a:moveTo>
                    <a:pt x="98" y="254"/>
                  </a:moveTo>
                  <a:lnTo>
                    <a:pt x="100" y="254"/>
                  </a:lnTo>
                  <a:lnTo>
                    <a:pt x="98" y="254"/>
                  </a:lnTo>
                  <a:close/>
                  <a:moveTo>
                    <a:pt x="112" y="217"/>
                  </a:moveTo>
                  <a:lnTo>
                    <a:pt x="114" y="217"/>
                  </a:lnTo>
                  <a:lnTo>
                    <a:pt x="112" y="217"/>
                  </a:lnTo>
                  <a:close/>
                  <a:moveTo>
                    <a:pt x="71" y="284"/>
                  </a:moveTo>
                  <a:lnTo>
                    <a:pt x="71" y="286"/>
                  </a:lnTo>
                  <a:lnTo>
                    <a:pt x="71" y="284"/>
                  </a:lnTo>
                  <a:close/>
                  <a:moveTo>
                    <a:pt x="14" y="423"/>
                  </a:moveTo>
                  <a:lnTo>
                    <a:pt x="14" y="425"/>
                  </a:lnTo>
                  <a:lnTo>
                    <a:pt x="14" y="423"/>
                  </a:lnTo>
                  <a:close/>
                  <a:moveTo>
                    <a:pt x="10" y="401"/>
                  </a:moveTo>
                  <a:lnTo>
                    <a:pt x="12" y="401"/>
                  </a:lnTo>
                  <a:lnTo>
                    <a:pt x="10" y="401"/>
                  </a:lnTo>
                  <a:close/>
                  <a:moveTo>
                    <a:pt x="87" y="252"/>
                  </a:moveTo>
                  <a:lnTo>
                    <a:pt x="89" y="252"/>
                  </a:lnTo>
                  <a:lnTo>
                    <a:pt x="87" y="252"/>
                  </a:lnTo>
                  <a:close/>
                  <a:moveTo>
                    <a:pt x="156" y="121"/>
                  </a:moveTo>
                  <a:lnTo>
                    <a:pt x="156" y="123"/>
                  </a:lnTo>
                  <a:lnTo>
                    <a:pt x="156" y="121"/>
                  </a:lnTo>
                  <a:close/>
                  <a:moveTo>
                    <a:pt x="18" y="332"/>
                  </a:moveTo>
                  <a:lnTo>
                    <a:pt x="20" y="332"/>
                  </a:lnTo>
                  <a:lnTo>
                    <a:pt x="18" y="332"/>
                  </a:lnTo>
                  <a:close/>
                  <a:moveTo>
                    <a:pt x="54" y="294"/>
                  </a:moveTo>
                  <a:lnTo>
                    <a:pt x="56" y="294"/>
                  </a:lnTo>
                  <a:lnTo>
                    <a:pt x="54" y="294"/>
                  </a:lnTo>
                  <a:close/>
                  <a:moveTo>
                    <a:pt x="69" y="277"/>
                  </a:moveTo>
                  <a:lnTo>
                    <a:pt x="69" y="279"/>
                  </a:lnTo>
                  <a:lnTo>
                    <a:pt x="69" y="277"/>
                  </a:lnTo>
                  <a:close/>
                  <a:moveTo>
                    <a:pt x="336" y="8"/>
                  </a:moveTo>
                  <a:lnTo>
                    <a:pt x="336" y="10"/>
                  </a:lnTo>
                  <a:lnTo>
                    <a:pt x="336" y="8"/>
                  </a:lnTo>
                  <a:close/>
                  <a:moveTo>
                    <a:pt x="175" y="94"/>
                  </a:moveTo>
                  <a:lnTo>
                    <a:pt x="177" y="94"/>
                  </a:lnTo>
                  <a:lnTo>
                    <a:pt x="175" y="94"/>
                  </a:lnTo>
                  <a:close/>
                  <a:moveTo>
                    <a:pt x="110" y="227"/>
                  </a:moveTo>
                  <a:lnTo>
                    <a:pt x="112" y="227"/>
                  </a:lnTo>
                  <a:lnTo>
                    <a:pt x="110" y="227"/>
                  </a:lnTo>
                  <a:close/>
                  <a:moveTo>
                    <a:pt x="204" y="54"/>
                  </a:moveTo>
                  <a:lnTo>
                    <a:pt x="206" y="54"/>
                  </a:lnTo>
                  <a:lnTo>
                    <a:pt x="204" y="54"/>
                  </a:lnTo>
                  <a:close/>
                  <a:moveTo>
                    <a:pt x="48" y="302"/>
                  </a:moveTo>
                  <a:lnTo>
                    <a:pt x="48" y="304"/>
                  </a:lnTo>
                  <a:lnTo>
                    <a:pt x="48" y="302"/>
                  </a:lnTo>
                  <a:close/>
                  <a:moveTo>
                    <a:pt x="73" y="280"/>
                  </a:moveTo>
                  <a:lnTo>
                    <a:pt x="75" y="280"/>
                  </a:lnTo>
                  <a:lnTo>
                    <a:pt x="73" y="280"/>
                  </a:lnTo>
                  <a:close/>
                  <a:moveTo>
                    <a:pt x="94" y="250"/>
                  </a:moveTo>
                  <a:lnTo>
                    <a:pt x="94" y="252"/>
                  </a:lnTo>
                  <a:lnTo>
                    <a:pt x="94" y="250"/>
                  </a:lnTo>
                  <a:close/>
                  <a:moveTo>
                    <a:pt x="112" y="215"/>
                  </a:moveTo>
                  <a:lnTo>
                    <a:pt x="112" y="217"/>
                  </a:lnTo>
                  <a:lnTo>
                    <a:pt x="112" y="215"/>
                  </a:lnTo>
                  <a:close/>
                  <a:moveTo>
                    <a:pt x="112" y="213"/>
                  </a:moveTo>
                  <a:lnTo>
                    <a:pt x="114" y="213"/>
                  </a:lnTo>
                  <a:lnTo>
                    <a:pt x="112" y="213"/>
                  </a:lnTo>
                  <a:close/>
                  <a:moveTo>
                    <a:pt x="146" y="152"/>
                  </a:moveTo>
                  <a:lnTo>
                    <a:pt x="148" y="152"/>
                  </a:lnTo>
                  <a:lnTo>
                    <a:pt x="146" y="152"/>
                  </a:lnTo>
                  <a:close/>
                  <a:moveTo>
                    <a:pt x="10" y="423"/>
                  </a:moveTo>
                  <a:lnTo>
                    <a:pt x="10" y="425"/>
                  </a:lnTo>
                  <a:lnTo>
                    <a:pt x="10" y="423"/>
                  </a:lnTo>
                  <a:close/>
                  <a:moveTo>
                    <a:pt x="60" y="290"/>
                  </a:moveTo>
                  <a:lnTo>
                    <a:pt x="60" y="292"/>
                  </a:lnTo>
                  <a:lnTo>
                    <a:pt x="60" y="290"/>
                  </a:lnTo>
                  <a:close/>
                  <a:moveTo>
                    <a:pt x="85" y="430"/>
                  </a:moveTo>
                  <a:lnTo>
                    <a:pt x="87" y="430"/>
                  </a:lnTo>
                  <a:lnTo>
                    <a:pt x="85" y="430"/>
                  </a:lnTo>
                  <a:close/>
                  <a:moveTo>
                    <a:pt x="54" y="457"/>
                  </a:moveTo>
                  <a:lnTo>
                    <a:pt x="56" y="457"/>
                  </a:lnTo>
                  <a:lnTo>
                    <a:pt x="54" y="457"/>
                  </a:lnTo>
                  <a:close/>
                  <a:moveTo>
                    <a:pt x="23" y="330"/>
                  </a:moveTo>
                  <a:lnTo>
                    <a:pt x="25" y="330"/>
                  </a:lnTo>
                  <a:lnTo>
                    <a:pt x="23" y="330"/>
                  </a:lnTo>
                  <a:close/>
                  <a:moveTo>
                    <a:pt x="2" y="365"/>
                  </a:moveTo>
                  <a:lnTo>
                    <a:pt x="4" y="365"/>
                  </a:lnTo>
                  <a:lnTo>
                    <a:pt x="2" y="365"/>
                  </a:lnTo>
                  <a:close/>
                  <a:moveTo>
                    <a:pt x="156" y="121"/>
                  </a:moveTo>
                  <a:lnTo>
                    <a:pt x="156" y="123"/>
                  </a:lnTo>
                  <a:lnTo>
                    <a:pt x="156" y="121"/>
                  </a:lnTo>
                  <a:close/>
                  <a:moveTo>
                    <a:pt x="100" y="282"/>
                  </a:moveTo>
                  <a:lnTo>
                    <a:pt x="100" y="284"/>
                  </a:lnTo>
                  <a:lnTo>
                    <a:pt x="100" y="282"/>
                  </a:lnTo>
                  <a:close/>
                  <a:moveTo>
                    <a:pt x="25" y="328"/>
                  </a:moveTo>
                  <a:lnTo>
                    <a:pt x="25" y="330"/>
                  </a:lnTo>
                  <a:lnTo>
                    <a:pt x="25" y="328"/>
                  </a:lnTo>
                  <a:close/>
                  <a:moveTo>
                    <a:pt x="69" y="290"/>
                  </a:moveTo>
                  <a:lnTo>
                    <a:pt x="71" y="290"/>
                  </a:lnTo>
                  <a:lnTo>
                    <a:pt x="69" y="290"/>
                  </a:lnTo>
                  <a:close/>
                  <a:moveTo>
                    <a:pt x="8" y="380"/>
                  </a:moveTo>
                  <a:lnTo>
                    <a:pt x="10" y="380"/>
                  </a:lnTo>
                  <a:lnTo>
                    <a:pt x="8" y="380"/>
                  </a:lnTo>
                  <a:close/>
                  <a:moveTo>
                    <a:pt x="112" y="213"/>
                  </a:moveTo>
                  <a:lnTo>
                    <a:pt x="112" y="215"/>
                  </a:lnTo>
                  <a:lnTo>
                    <a:pt x="112" y="213"/>
                  </a:lnTo>
                  <a:close/>
                  <a:moveTo>
                    <a:pt x="92" y="246"/>
                  </a:moveTo>
                  <a:lnTo>
                    <a:pt x="92" y="248"/>
                  </a:lnTo>
                  <a:lnTo>
                    <a:pt x="92" y="246"/>
                  </a:lnTo>
                  <a:close/>
                  <a:moveTo>
                    <a:pt x="60" y="296"/>
                  </a:moveTo>
                  <a:lnTo>
                    <a:pt x="62" y="296"/>
                  </a:lnTo>
                  <a:lnTo>
                    <a:pt x="60" y="296"/>
                  </a:lnTo>
                  <a:close/>
                  <a:moveTo>
                    <a:pt x="115" y="198"/>
                  </a:moveTo>
                  <a:lnTo>
                    <a:pt x="115" y="200"/>
                  </a:lnTo>
                  <a:lnTo>
                    <a:pt x="115" y="198"/>
                  </a:lnTo>
                  <a:close/>
                  <a:moveTo>
                    <a:pt x="94" y="252"/>
                  </a:moveTo>
                  <a:lnTo>
                    <a:pt x="96" y="252"/>
                  </a:lnTo>
                  <a:lnTo>
                    <a:pt x="94" y="252"/>
                  </a:lnTo>
                  <a:close/>
                  <a:moveTo>
                    <a:pt x="135" y="131"/>
                  </a:moveTo>
                  <a:lnTo>
                    <a:pt x="137" y="131"/>
                  </a:lnTo>
                  <a:lnTo>
                    <a:pt x="135" y="131"/>
                  </a:lnTo>
                  <a:close/>
                  <a:moveTo>
                    <a:pt x="110" y="207"/>
                  </a:moveTo>
                  <a:lnTo>
                    <a:pt x="110" y="209"/>
                  </a:lnTo>
                  <a:lnTo>
                    <a:pt x="110" y="207"/>
                  </a:lnTo>
                  <a:close/>
                  <a:moveTo>
                    <a:pt x="102" y="223"/>
                  </a:moveTo>
                  <a:lnTo>
                    <a:pt x="104" y="223"/>
                  </a:lnTo>
                  <a:lnTo>
                    <a:pt x="102" y="223"/>
                  </a:lnTo>
                  <a:close/>
                  <a:moveTo>
                    <a:pt x="119" y="192"/>
                  </a:moveTo>
                  <a:lnTo>
                    <a:pt x="119" y="194"/>
                  </a:lnTo>
                  <a:lnTo>
                    <a:pt x="119" y="192"/>
                  </a:lnTo>
                  <a:close/>
                  <a:moveTo>
                    <a:pt x="92" y="428"/>
                  </a:moveTo>
                  <a:lnTo>
                    <a:pt x="92" y="430"/>
                  </a:lnTo>
                  <a:lnTo>
                    <a:pt x="92" y="428"/>
                  </a:lnTo>
                  <a:close/>
                  <a:moveTo>
                    <a:pt x="8" y="386"/>
                  </a:moveTo>
                  <a:lnTo>
                    <a:pt x="10" y="386"/>
                  </a:lnTo>
                  <a:lnTo>
                    <a:pt x="8" y="386"/>
                  </a:lnTo>
                  <a:close/>
                  <a:moveTo>
                    <a:pt x="144" y="104"/>
                  </a:moveTo>
                  <a:lnTo>
                    <a:pt x="146" y="104"/>
                  </a:lnTo>
                  <a:lnTo>
                    <a:pt x="144" y="104"/>
                  </a:lnTo>
                  <a:close/>
                  <a:moveTo>
                    <a:pt x="148" y="142"/>
                  </a:moveTo>
                  <a:lnTo>
                    <a:pt x="150" y="142"/>
                  </a:lnTo>
                  <a:lnTo>
                    <a:pt x="148" y="142"/>
                  </a:lnTo>
                  <a:close/>
                  <a:moveTo>
                    <a:pt x="52" y="296"/>
                  </a:moveTo>
                  <a:lnTo>
                    <a:pt x="52" y="298"/>
                  </a:lnTo>
                  <a:lnTo>
                    <a:pt x="52" y="296"/>
                  </a:lnTo>
                  <a:close/>
                  <a:moveTo>
                    <a:pt x="148" y="127"/>
                  </a:moveTo>
                  <a:lnTo>
                    <a:pt x="150" y="127"/>
                  </a:lnTo>
                  <a:lnTo>
                    <a:pt x="148" y="127"/>
                  </a:lnTo>
                  <a:close/>
                  <a:moveTo>
                    <a:pt x="115" y="213"/>
                  </a:moveTo>
                  <a:lnTo>
                    <a:pt x="117" y="213"/>
                  </a:lnTo>
                  <a:lnTo>
                    <a:pt x="115" y="213"/>
                  </a:lnTo>
                  <a:close/>
                  <a:moveTo>
                    <a:pt x="14" y="430"/>
                  </a:moveTo>
                  <a:lnTo>
                    <a:pt x="14" y="432"/>
                  </a:lnTo>
                  <a:lnTo>
                    <a:pt x="14" y="430"/>
                  </a:lnTo>
                  <a:close/>
                  <a:moveTo>
                    <a:pt x="52" y="457"/>
                  </a:moveTo>
                  <a:lnTo>
                    <a:pt x="52" y="459"/>
                  </a:lnTo>
                  <a:lnTo>
                    <a:pt x="52" y="457"/>
                  </a:lnTo>
                  <a:close/>
                  <a:moveTo>
                    <a:pt x="58" y="288"/>
                  </a:moveTo>
                  <a:lnTo>
                    <a:pt x="60" y="288"/>
                  </a:lnTo>
                  <a:lnTo>
                    <a:pt x="58" y="288"/>
                  </a:lnTo>
                  <a:close/>
                  <a:moveTo>
                    <a:pt x="163" y="88"/>
                  </a:moveTo>
                  <a:lnTo>
                    <a:pt x="165" y="88"/>
                  </a:lnTo>
                  <a:lnTo>
                    <a:pt x="163" y="88"/>
                  </a:lnTo>
                  <a:close/>
                  <a:moveTo>
                    <a:pt x="135" y="131"/>
                  </a:moveTo>
                  <a:lnTo>
                    <a:pt x="135" y="133"/>
                  </a:lnTo>
                  <a:lnTo>
                    <a:pt x="135" y="131"/>
                  </a:lnTo>
                  <a:close/>
                  <a:moveTo>
                    <a:pt x="106" y="213"/>
                  </a:moveTo>
                  <a:lnTo>
                    <a:pt x="106" y="215"/>
                  </a:lnTo>
                  <a:lnTo>
                    <a:pt x="106" y="213"/>
                  </a:lnTo>
                  <a:close/>
                  <a:moveTo>
                    <a:pt x="112" y="202"/>
                  </a:moveTo>
                  <a:lnTo>
                    <a:pt x="114" y="202"/>
                  </a:lnTo>
                  <a:lnTo>
                    <a:pt x="112" y="202"/>
                  </a:lnTo>
                  <a:close/>
                  <a:moveTo>
                    <a:pt x="348" y="33"/>
                  </a:moveTo>
                  <a:lnTo>
                    <a:pt x="348" y="35"/>
                  </a:lnTo>
                  <a:lnTo>
                    <a:pt x="348" y="33"/>
                  </a:lnTo>
                  <a:close/>
                  <a:moveTo>
                    <a:pt x="2" y="367"/>
                  </a:moveTo>
                  <a:lnTo>
                    <a:pt x="4" y="367"/>
                  </a:lnTo>
                  <a:lnTo>
                    <a:pt x="2" y="367"/>
                  </a:lnTo>
                  <a:close/>
                  <a:moveTo>
                    <a:pt x="148" y="163"/>
                  </a:moveTo>
                  <a:lnTo>
                    <a:pt x="150" y="163"/>
                  </a:lnTo>
                  <a:lnTo>
                    <a:pt x="148" y="163"/>
                  </a:lnTo>
                  <a:close/>
                  <a:moveTo>
                    <a:pt x="144" y="108"/>
                  </a:moveTo>
                  <a:lnTo>
                    <a:pt x="144" y="109"/>
                  </a:lnTo>
                  <a:lnTo>
                    <a:pt x="144" y="108"/>
                  </a:lnTo>
                  <a:close/>
                  <a:moveTo>
                    <a:pt x="16" y="405"/>
                  </a:moveTo>
                  <a:lnTo>
                    <a:pt x="18" y="405"/>
                  </a:lnTo>
                  <a:lnTo>
                    <a:pt x="16" y="405"/>
                  </a:lnTo>
                  <a:close/>
                  <a:moveTo>
                    <a:pt x="60" y="451"/>
                  </a:moveTo>
                  <a:lnTo>
                    <a:pt x="62" y="451"/>
                  </a:lnTo>
                  <a:lnTo>
                    <a:pt x="60" y="451"/>
                  </a:lnTo>
                  <a:close/>
                  <a:moveTo>
                    <a:pt x="110" y="217"/>
                  </a:moveTo>
                  <a:lnTo>
                    <a:pt x="112" y="217"/>
                  </a:lnTo>
                  <a:lnTo>
                    <a:pt x="110" y="217"/>
                  </a:lnTo>
                  <a:close/>
                  <a:moveTo>
                    <a:pt x="177" y="119"/>
                  </a:moveTo>
                  <a:lnTo>
                    <a:pt x="179" y="119"/>
                  </a:lnTo>
                  <a:lnTo>
                    <a:pt x="177" y="119"/>
                  </a:lnTo>
                  <a:close/>
                  <a:moveTo>
                    <a:pt x="4" y="392"/>
                  </a:moveTo>
                  <a:lnTo>
                    <a:pt x="6" y="392"/>
                  </a:lnTo>
                  <a:lnTo>
                    <a:pt x="4" y="392"/>
                  </a:lnTo>
                  <a:close/>
                  <a:moveTo>
                    <a:pt x="208" y="44"/>
                  </a:moveTo>
                  <a:lnTo>
                    <a:pt x="208" y="46"/>
                  </a:lnTo>
                  <a:lnTo>
                    <a:pt x="208" y="44"/>
                  </a:lnTo>
                  <a:close/>
                  <a:moveTo>
                    <a:pt x="94" y="428"/>
                  </a:moveTo>
                  <a:lnTo>
                    <a:pt x="94" y="430"/>
                  </a:lnTo>
                  <a:lnTo>
                    <a:pt x="94" y="428"/>
                  </a:lnTo>
                  <a:close/>
                  <a:moveTo>
                    <a:pt x="48" y="300"/>
                  </a:moveTo>
                  <a:lnTo>
                    <a:pt x="48" y="302"/>
                  </a:lnTo>
                  <a:lnTo>
                    <a:pt x="48" y="300"/>
                  </a:lnTo>
                  <a:close/>
                  <a:moveTo>
                    <a:pt x="89" y="409"/>
                  </a:moveTo>
                  <a:lnTo>
                    <a:pt x="91" y="409"/>
                  </a:lnTo>
                  <a:lnTo>
                    <a:pt x="89" y="409"/>
                  </a:lnTo>
                  <a:close/>
                  <a:moveTo>
                    <a:pt x="125" y="181"/>
                  </a:moveTo>
                  <a:lnTo>
                    <a:pt x="127" y="181"/>
                  </a:lnTo>
                  <a:lnTo>
                    <a:pt x="125" y="181"/>
                  </a:lnTo>
                  <a:close/>
                  <a:moveTo>
                    <a:pt x="6" y="355"/>
                  </a:moveTo>
                  <a:lnTo>
                    <a:pt x="8" y="355"/>
                  </a:lnTo>
                  <a:lnTo>
                    <a:pt x="6" y="355"/>
                  </a:lnTo>
                  <a:close/>
                  <a:moveTo>
                    <a:pt x="25" y="328"/>
                  </a:moveTo>
                  <a:lnTo>
                    <a:pt x="27" y="328"/>
                  </a:lnTo>
                  <a:lnTo>
                    <a:pt x="25" y="328"/>
                  </a:lnTo>
                  <a:close/>
                  <a:moveTo>
                    <a:pt x="152" y="138"/>
                  </a:moveTo>
                  <a:lnTo>
                    <a:pt x="154" y="138"/>
                  </a:lnTo>
                  <a:lnTo>
                    <a:pt x="152" y="138"/>
                  </a:lnTo>
                  <a:close/>
                  <a:moveTo>
                    <a:pt x="146" y="113"/>
                  </a:moveTo>
                  <a:lnTo>
                    <a:pt x="146" y="115"/>
                  </a:lnTo>
                  <a:lnTo>
                    <a:pt x="146" y="113"/>
                  </a:lnTo>
                  <a:close/>
                  <a:moveTo>
                    <a:pt x="73" y="436"/>
                  </a:moveTo>
                  <a:lnTo>
                    <a:pt x="75" y="436"/>
                  </a:lnTo>
                  <a:lnTo>
                    <a:pt x="73" y="436"/>
                  </a:lnTo>
                  <a:close/>
                  <a:moveTo>
                    <a:pt x="25" y="350"/>
                  </a:moveTo>
                  <a:lnTo>
                    <a:pt x="25" y="352"/>
                  </a:lnTo>
                  <a:lnTo>
                    <a:pt x="25" y="350"/>
                  </a:lnTo>
                  <a:close/>
                  <a:moveTo>
                    <a:pt x="94" y="428"/>
                  </a:moveTo>
                  <a:lnTo>
                    <a:pt x="96" y="428"/>
                  </a:lnTo>
                  <a:lnTo>
                    <a:pt x="94" y="428"/>
                  </a:lnTo>
                  <a:close/>
                  <a:moveTo>
                    <a:pt x="208" y="46"/>
                  </a:moveTo>
                  <a:lnTo>
                    <a:pt x="208" y="48"/>
                  </a:lnTo>
                  <a:lnTo>
                    <a:pt x="208" y="46"/>
                  </a:lnTo>
                  <a:close/>
                  <a:moveTo>
                    <a:pt x="62" y="284"/>
                  </a:moveTo>
                  <a:lnTo>
                    <a:pt x="62" y="286"/>
                  </a:lnTo>
                  <a:lnTo>
                    <a:pt x="62" y="284"/>
                  </a:lnTo>
                  <a:close/>
                  <a:moveTo>
                    <a:pt x="100" y="246"/>
                  </a:moveTo>
                  <a:lnTo>
                    <a:pt x="102" y="246"/>
                  </a:lnTo>
                  <a:lnTo>
                    <a:pt x="100" y="246"/>
                  </a:lnTo>
                  <a:close/>
                  <a:moveTo>
                    <a:pt x="146" y="109"/>
                  </a:moveTo>
                  <a:lnTo>
                    <a:pt x="148" y="109"/>
                  </a:lnTo>
                  <a:lnTo>
                    <a:pt x="146" y="109"/>
                  </a:lnTo>
                  <a:close/>
                  <a:moveTo>
                    <a:pt x="48" y="300"/>
                  </a:moveTo>
                  <a:lnTo>
                    <a:pt x="48" y="302"/>
                  </a:lnTo>
                  <a:lnTo>
                    <a:pt x="48" y="300"/>
                  </a:lnTo>
                  <a:close/>
                  <a:moveTo>
                    <a:pt x="50" y="311"/>
                  </a:moveTo>
                  <a:lnTo>
                    <a:pt x="50" y="313"/>
                  </a:lnTo>
                  <a:lnTo>
                    <a:pt x="50" y="311"/>
                  </a:lnTo>
                  <a:close/>
                  <a:moveTo>
                    <a:pt x="87" y="430"/>
                  </a:moveTo>
                  <a:lnTo>
                    <a:pt x="87" y="432"/>
                  </a:lnTo>
                  <a:lnTo>
                    <a:pt x="87" y="430"/>
                  </a:lnTo>
                  <a:close/>
                  <a:moveTo>
                    <a:pt x="108" y="217"/>
                  </a:moveTo>
                  <a:lnTo>
                    <a:pt x="108" y="219"/>
                  </a:lnTo>
                  <a:lnTo>
                    <a:pt x="108" y="217"/>
                  </a:lnTo>
                  <a:close/>
                  <a:moveTo>
                    <a:pt x="92" y="248"/>
                  </a:moveTo>
                  <a:lnTo>
                    <a:pt x="92" y="250"/>
                  </a:lnTo>
                  <a:lnTo>
                    <a:pt x="92" y="248"/>
                  </a:lnTo>
                  <a:close/>
                  <a:moveTo>
                    <a:pt x="2" y="365"/>
                  </a:moveTo>
                  <a:lnTo>
                    <a:pt x="4" y="365"/>
                  </a:lnTo>
                  <a:lnTo>
                    <a:pt x="2" y="365"/>
                  </a:lnTo>
                  <a:close/>
                  <a:moveTo>
                    <a:pt x="206" y="83"/>
                  </a:moveTo>
                  <a:lnTo>
                    <a:pt x="206" y="85"/>
                  </a:lnTo>
                  <a:lnTo>
                    <a:pt x="206" y="83"/>
                  </a:lnTo>
                  <a:close/>
                  <a:moveTo>
                    <a:pt x="106" y="213"/>
                  </a:moveTo>
                  <a:lnTo>
                    <a:pt x="106" y="215"/>
                  </a:lnTo>
                  <a:lnTo>
                    <a:pt x="106" y="213"/>
                  </a:lnTo>
                  <a:close/>
                  <a:moveTo>
                    <a:pt x="21" y="428"/>
                  </a:moveTo>
                  <a:lnTo>
                    <a:pt x="21" y="430"/>
                  </a:lnTo>
                  <a:lnTo>
                    <a:pt x="21" y="428"/>
                  </a:lnTo>
                  <a:close/>
                  <a:moveTo>
                    <a:pt x="110" y="154"/>
                  </a:moveTo>
                  <a:lnTo>
                    <a:pt x="110" y="156"/>
                  </a:lnTo>
                  <a:lnTo>
                    <a:pt x="110" y="154"/>
                  </a:lnTo>
                  <a:close/>
                  <a:moveTo>
                    <a:pt x="142" y="121"/>
                  </a:moveTo>
                  <a:lnTo>
                    <a:pt x="142" y="123"/>
                  </a:lnTo>
                  <a:lnTo>
                    <a:pt x="142" y="121"/>
                  </a:lnTo>
                  <a:close/>
                  <a:moveTo>
                    <a:pt x="0" y="365"/>
                  </a:moveTo>
                  <a:lnTo>
                    <a:pt x="2" y="365"/>
                  </a:lnTo>
                  <a:lnTo>
                    <a:pt x="0" y="365"/>
                  </a:lnTo>
                  <a:close/>
                  <a:moveTo>
                    <a:pt x="112" y="211"/>
                  </a:moveTo>
                  <a:lnTo>
                    <a:pt x="112" y="213"/>
                  </a:lnTo>
                  <a:lnTo>
                    <a:pt x="112" y="211"/>
                  </a:lnTo>
                  <a:close/>
                  <a:moveTo>
                    <a:pt x="58" y="282"/>
                  </a:moveTo>
                  <a:lnTo>
                    <a:pt x="58" y="284"/>
                  </a:lnTo>
                  <a:lnTo>
                    <a:pt x="58" y="282"/>
                  </a:lnTo>
                  <a:close/>
                  <a:moveTo>
                    <a:pt x="58" y="290"/>
                  </a:moveTo>
                  <a:lnTo>
                    <a:pt x="58" y="292"/>
                  </a:lnTo>
                  <a:lnTo>
                    <a:pt x="58" y="290"/>
                  </a:lnTo>
                  <a:close/>
                  <a:moveTo>
                    <a:pt x="39" y="311"/>
                  </a:moveTo>
                  <a:lnTo>
                    <a:pt x="41" y="311"/>
                  </a:lnTo>
                  <a:lnTo>
                    <a:pt x="39" y="311"/>
                  </a:lnTo>
                  <a:close/>
                  <a:moveTo>
                    <a:pt x="41" y="461"/>
                  </a:moveTo>
                  <a:lnTo>
                    <a:pt x="43" y="461"/>
                  </a:lnTo>
                  <a:lnTo>
                    <a:pt x="41" y="461"/>
                  </a:lnTo>
                  <a:close/>
                  <a:moveTo>
                    <a:pt x="100" y="432"/>
                  </a:moveTo>
                  <a:lnTo>
                    <a:pt x="102" y="432"/>
                  </a:lnTo>
                  <a:lnTo>
                    <a:pt x="100" y="432"/>
                  </a:lnTo>
                  <a:close/>
                  <a:moveTo>
                    <a:pt x="91" y="250"/>
                  </a:moveTo>
                  <a:lnTo>
                    <a:pt x="91" y="252"/>
                  </a:lnTo>
                  <a:lnTo>
                    <a:pt x="91" y="250"/>
                  </a:lnTo>
                  <a:close/>
                  <a:moveTo>
                    <a:pt x="144" y="119"/>
                  </a:moveTo>
                  <a:lnTo>
                    <a:pt x="144" y="121"/>
                  </a:lnTo>
                  <a:lnTo>
                    <a:pt x="144" y="119"/>
                  </a:lnTo>
                  <a:close/>
                  <a:moveTo>
                    <a:pt x="112" y="211"/>
                  </a:moveTo>
                  <a:lnTo>
                    <a:pt x="112" y="213"/>
                  </a:lnTo>
                  <a:lnTo>
                    <a:pt x="112" y="211"/>
                  </a:lnTo>
                  <a:close/>
                  <a:moveTo>
                    <a:pt x="56" y="284"/>
                  </a:moveTo>
                  <a:lnTo>
                    <a:pt x="56" y="286"/>
                  </a:lnTo>
                  <a:lnTo>
                    <a:pt x="56" y="284"/>
                  </a:lnTo>
                  <a:close/>
                  <a:moveTo>
                    <a:pt x="112" y="211"/>
                  </a:moveTo>
                  <a:lnTo>
                    <a:pt x="112" y="213"/>
                  </a:lnTo>
                  <a:lnTo>
                    <a:pt x="112" y="211"/>
                  </a:lnTo>
                  <a:close/>
                  <a:moveTo>
                    <a:pt x="46" y="459"/>
                  </a:moveTo>
                  <a:lnTo>
                    <a:pt x="48" y="459"/>
                  </a:lnTo>
                  <a:lnTo>
                    <a:pt x="46" y="459"/>
                  </a:lnTo>
                  <a:close/>
                  <a:moveTo>
                    <a:pt x="117" y="198"/>
                  </a:moveTo>
                  <a:lnTo>
                    <a:pt x="117" y="200"/>
                  </a:lnTo>
                  <a:lnTo>
                    <a:pt x="117" y="198"/>
                  </a:lnTo>
                  <a:close/>
                  <a:moveTo>
                    <a:pt x="50" y="296"/>
                  </a:moveTo>
                  <a:lnTo>
                    <a:pt x="52" y="296"/>
                  </a:lnTo>
                  <a:lnTo>
                    <a:pt x="50" y="296"/>
                  </a:lnTo>
                  <a:close/>
                  <a:moveTo>
                    <a:pt x="4" y="376"/>
                  </a:moveTo>
                  <a:lnTo>
                    <a:pt x="4" y="378"/>
                  </a:lnTo>
                  <a:lnTo>
                    <a:pt x="4" y="376"/>
                  </a:lnTo>
                  <a:close/>
                  <a:moveTo>
                    <a:pt x="125" y="181"/>
                  </a:moveTo>
                  <a:lnTo>
                    <a:pt x="125" y="182"/>
                  </a:lnTo>
                  <a:lnTo>
                    <a:pt x="125" y="181"/>
                  </a:lnTo>
                  <a:close/>
                  <a:moveTo>
                    <a:pt x="71" y="286"/>
                  </a:moveTo>
                  <a:lnTo>
                    <a:pt x="73" y="286"/>
                  </a:lnTo>
                  <a:lnTo>
                    <a:pt x="71" y="286"/>
                  </a:lnTo>
                  <a:close/>
                  <a:moveTo>
                    <a:pt x="4" y="376"/>
                  </a:moveTo>
                  <a:lnTo>
                    <a:pt x="4" y="378"/>
                  </a:lnTo>
                  <a:lnTo>
                    <a:pt x="4" y="376"/>
                  </a:lnTo>
                  <a:close/>
                  <a:moveTo>
                    <a:pt x="94" y="244"/>
                  </a:moveTo>
                  <a:lnTo>
                    <a:pt x="94" y="246"/>
                  </a:lnTo>
                  <a:lnTo>
                    <a:pt x="94" y="244"/>
                  </a:lnTo>
                  <a:close/>
                  <a:moveTo>
                    <a:pt x="110" y="215"/>
                  </a:moveTo>
                  <a:lnTo>
                    <a:pt x="110" y="217"/>
                  </a:lnTo>
                  <a:lnTo>
                    <a:pt x="110" y="215"/>
                  </a:lnTo>
                  <a:close/>
                  <a:moveTo>
                    <a:pt x="60" y="284"/>
                  </a:moveTo>
                  <a:lnTo>
                    <a:pt x="60" y="286"/>
                  </a:lnTo>
                  <a:lnTo>
                    <a:pt x="60" y="284"/>
                  </a:lnTo>
                  <a:close/>
                  <a:moveTo>
                    <a:pt x="150" y="144"/>
                  </a:moveTo>
                  <a:lnTo>
                    <a:pt x="150" y="146"/>
                  </a:lnTo>
                  <a:lnTo>
                    <a:pt x="150" y="144"/>
                  </a:lnTo>
                  <a:close/>
                  <a:moveTo>
                    <a:pt x="119" y="186"/>
                  </a:moveTo>
                  <a:lnTo>
                    <a:pt x="119" y="188"/>
                  </a:lnTo>
                  <a:lnTo>
                    <a:pt x="119" y="186"/>
                  </a:lnTo>
                  <a:close/>
                  <a:moveTo>
                    <a:pt x="119" y="200"/>
                  </a:moveTo>
                  <a:lnTo>
                    <a:pt x="119" y="202"/>
                  </a:lnTo>
                  <a:lnTo>
                    <a:pt x="119" y="200"/>
                  </a:lnTo>
                  <a:close/>
                  <a:moveTo>
                    <a:pt x="175" y="90"/>
                  </a:moveTo>
                  <a:lnTo>
                    <a:pt x="175" y="92"/>
                  </a:lnTo>
                  <a:lnTo>
                    <a:pt x="175" y="90"/>
                  </a:lnTo>
                  <a:close/>
                  <a:moveTo>
                    <a:pt x="87" y="263"/>
                  </a:moveTo>
                  <a:lnTo>
                    <a:pt x="89" y="263"/>
                  </a:lnTo>
                  <a:lnTo>
                    <a:pt x="87" y="263"/>
                  </a:lnTo>
                  <a:close/>
                  <a:moveTo>
                    <a:pt x="127" y="127"/>
                  </a:moveTo>
                  <a:lnTo>
                    <a:pt x="127" y="129"/>
                  </a:lnTo>
                  <a:lnTo>
                    <a:pt x="127" y="127"/>
                  </a:lnTo>
                  <a:close/>
                  <a:moveTo>
                    <a:pt x="91" y="259"/>
                  </a:moveTo>
                  <a:lnTo>
                    <a:pt x="91" y="261"/>
                  </a:lnTo>
                  <a:lnTo>
                    <a:pt x="91" y="259"/>
                  </a:lnTo>
                  <a:close/>
                  <a:moveTo>
                    <a:pt x="115" y="194"/>
                  </a:moveTo>
                  <a:lnTo>
                    <a:pt x="115" y="196"/>
                  </a:lnTo>
                  <a:lnTo>
                    <a:pt x="115" y="194"/>
                  </a:lnTo>
                  <a:close/>
                  <a:moveTo>
                    <a:pt x="71" y="436"/>
                  </a:moveTo>
                  <a:lnTo>
                    <a:pt x="71" y="438"/>
                  </a:lnTo>
                  <a:lnTo>
                    <a:pt x="71" y="436"/>
                  </a:lnTo>
                  <a:close/>
                  <a:moveTo>
                    <a:pt x="106" y="240"/>
                  </a:moveTo>
                  <a:lnTo>
                    <a:pt x="106" y="242"/>
                  </a:lnTo>
                  <a:lnTo>
                    <a:pt x="106" y="240"/>
                  </a:lnTo>
                  <a:close/>
                  <a:moveTo>
                    <a:pt x="112" y="215"/>
                  </a:moveTo>
                  <a:lnTo>
                    <a:pt x="112" y="217"/>
                  </a:lnTo>
                  <a:lnTo>
                    <a:pt x="112" y="215"/>
                  </a:lnTo>
                  <a:close/>
                  <a:moveTo>
                    <a:pt x="44" y="304"/>
                  </a:moveTo>
                  <a:lnTo>
                    <a:pt x="44" y="305"/>
                  </a:lnTo>
                  <a:lnTo>
                    <a:pt x="44" y="304"/>
                  </a:lnTo>
                  <a:close/>
                  <a:moveTo>
                    <a:pt x="2" y="384"/>
                  </a:moveTo>
                  <a:lnTo>
                    <a:pt x="4" y="384"/>
                  </a:lnTo>
                  <a:lnTo>
                    <a:pt x="2" y="384"/>
                  </a:lnTo>
                  <a:close/>
                  <a:moveTo>
                    <a:pt x="56" y="292"/>
                  </a:moveTo>
                  <a:lnTo>
                    <a:pt x="58" y="292"/>
                  </a:lnTo>
                  <a:lnTo>
                    <a:pt x="56" y="292"/>
                  </a:lnTo>
                  <a:close/>
                  <a:moveTo>
                    <a:pt x="16" y="421"/>
                  </a:moveTo>
                  <a:lnTo>
                    <a:pt x="16" y="423"/>
                  </a:lnTo>
                  <a:lnTo>
                    <a:pt x="16" y="421"/>
                  </a:lnTo>
                  <a:close/>
                  <a:moveTo>
                    <a:pt x="68" y="277"/>
                  </a:moveTo>
                  <a:lnTo>
                    <a:pt x="68" y="279"/>
                  </a:lnTo>
                  <a:lnTo>
                    <a:pt x="68" y="277"/>
                  </a:lnTo>
                  <a:close/>
                  <a:moveTo>
                    <a:pt x="56" y="455"/>
                  </a:moveTo>
                  <a:lnTo>
                    <a:pt x="56" y="457"/>
                  </a:lnTo>
                  <a:lnTo>
                    <a:pt x="56" y="455"/>
                  </a:lnTo>
                  <a:close/>
                  <a:moveTo>
                    <a:pt x="92" y="428"/>
                  </a:moveTo>
                  <a:lnTo>
                    <a:pt x="94" y="428"/>
                  </a:lnTo>
                  <a:lnTo>
                    <a:pt x="92" y="428"/>
                  </a:lnTo>
                  <a:close/>
                  <a:moveTo>
                    <a:pt x="110" y="232"/>
                  </a:moveTo>
                  <a:lnTo>
                    <a:pt x="110" y="234"/>
                  </a:lnTo>
                  <a:lnTo>
                    <a:pt x="110" y="232"/>
                  </a:lnTo>
                  <a:close/>
                  <a:moveTo>
                    <a:pt x="98" y="225"/>
                  </a:moveTo>
                  <a:lnTo>
                    <a:pt x="100" y="225"/>
                  </a:lnTo>
                  <a:lnTo>
                    <a:pt x="98" y="225"/>
                  </a:lnTo>
                  <a:close/>
                  <a:moveTo>
                    <a:pt x="6" y="355"/>
                  </a:moveTo>
                  <a:lnTo>
                    <a:pt x="8" y="355"/>
                  </a:lnTo>
                  <a:lnTo>
                    <a:pt x="6" y="355"/>
                  </a:lnTo>
                  <a:close/>
                  <a:moveTo>
                    <a:pt x="112" y="190"/>
                  </a:moveTo>
                  <a:lnTo>
                    <a:pt x="112" y="192"/>
                  </a:lnTo>
                  <a:lnTo>
                    <a:pt x="112" y="190"/>
                  </a:lnTo>
                  <a:close/>
                  <a:moveTo>
                    <a:pt x="58" y="282"/>
                  </a:moveTo>
                  <a:lnTo>
                    <a:pt x="58" y="284"/>
                  </a:lnTo>
                  <a:lnTo>
                    <a:pt x="58" y="282"/>
                  </a:lnTo>
                  <a:close/>
                  <a:moveTo>
                    <a:pt x="60" y="284"/>
                  </a:moveTo>
                  <a:lnTo>
                    <a:pt x="60" y="286"/>
                  </a:lnTo>
                  <a:lnTo>
                    <a:pt x="60" y="284"/>
                  </a:lnTo>
                  <a:close/>
                  <a:moveTo>
                    <a:pt x="108" y="232"/>
                  </a:moveTo>
                  <a:lnTo>
                    <a:pt x="110" y="232"/>
                  </a:lnTo>
                  <a:lnTo>
                    <a:pt x="108" y="232"/>
                  </a:lnTo>
                  <a:close/>
                  <a:moveTo>
                    <a:pt x="114" y="206"/>
                  </a:moveTo>
                  <a:lnTo>
                    <a:pt x="115" y="206"/>
                  </a:lnTo>
                  <a:lnTo>
                    <a:pt x="114" y="206"/>
                  </a:lnTo>
                  <a:close/>
                  <a:moveTo>
                    <a:pt x="135" y="167"/>
                  </a:moveTo>
                  <a:lnTo>
                    <a:pt x="137" y="167"/>
                  </a:lnTo>
                  <a:lnTo>
                    <a:pt x="135" y="167"/>
                  </a:lnTo>
                  <a:close/>
                  <a:moveTo>
                    <a:pt x="2" y="363"/>
                  </a:moveTo>
                  <a:lnTo>
                    <a:pt x="4" y="363"/>
                  </a:lnTo>
                  <a:lnTo>
                    <a:pt x="2" y="363"/>
                  </a:lnTo>
                  <a:close/>
                  <a:moveTo>
                    <a:pt x="35" y="313"/>
                  </a:moveTo>
                  <a:lnTo>
                    <a:pt x="35" y="315"/>
                  </a:lnTo>
                  <a:lnTo>
                    <a:pt x="35" y="313"/>
                  </a:lnTo>
                  <a:close/>
                  <a:moveTo>
                    <a:pt x="21" y="434"/>
                  </a:moveTo>
                  <a:lnTo>
                    <a:pt x="21" y="436"/>
                  </a:lnTo>
                  <a:lnTo>
                    <a:pt x="21" y="434"/>
                  </a:lnTo>
                  <a:close/>
                  <a:moveTo>
                    <a:pt x="94" y="257"/>
                  </a:moveTo>
                  <a:lnTo>
                    <a:pt x="94" y="259"/>
                  </a:lnTo>
                  <a:lnTo>
                    <a:pt x="94" y="257"/>
                  </a:lnTo>
                  <a:close/>
                  <a:moveTo>
                    <a:pt x="125" y="181"/>
                  </a:moveTo>
                  <a:lnTo>
                    <a:pt x="127" y="181"/>
                  </a:lnTo>
                  <a:lnTo>
                    <a:pt x="125" y="181"/>
                  </a:lnTo>
                  <a:close/>
                  <a:moveTo>
                    <a:pt x="56" y="292"/>
                  </a:moveTo>
                  <a:lnTo>
                    <a:pt x="58" y="292"/>
                  </a:lnTo>
                  <a:lnTo>
                    <a:pt x="56" y="292"/>
                  </a:lnTo>
                  <a:close/>
                  <a:moveTo>
                    <a:pt x="110" y="219"/>
                  </a:moveTo>
                  <a:lnTo>
                    <a:pt x="112" y="219"/>
                  </a:lnTo>
                  <a:lnTo>
                    <a:pt x="110" y="219"/>
                  </a:lnTo>
                  <a:close/>
                  <a:moveTo>
                    <a:pt x="56" y="292"/>
                  </a:moveTo>
                  <a:lnTo>
                    <a:pt x="56" y="294"/>
                  </a:lnTo>
                  <a:lnTo>
                    <a:pt x="56" y="292"/>
                  </a:lnTo>
                  <a:close/>
                  <a:moveTo>
                    <a:pt x="144" y="158"/>
                  </a:moveTo>
                  <a:lnTo>
                    <a:pt x="144" y="159"/>
                  </a:lnTo>
                  <a:lnTo>
                    <a:pt x="144" y="158"/>
                  </a:lnTo>
                  <a:close/>
                  <a:moveTo>
                    <a:pt x="110" y="221"/>
                  </a:moveTo>
                  <a:lnTo>
                    <a:pt x="112" y="221"/>
                  </a:lnTo>
                  <a:lnTo>
                    <a:pt x="110" y="221"/>
                  </a:lnTo>
                  <a:close/>
                  <a:moveTo>
                    <a:pt x="204" y="54"/>
                  </a:moveTo>
                  <a:lnTo>
                    <a:pt x="206" y="54"/>
                  </a:lnTo>
                  <a:lnTo>
                    <a:pt x="204" y="54"/>
                  </a:lnTo>
                  <a:close/>
                  <a:moveTo>
                    <a:pt x="94" y="255"/>
                  </a:moveTo>
                  <a:lnTo>
                    <a:pt x="96" y="255"/>
                  </a:lnTo>
                  <a:lnTo>
                    <a:pt x="94" y="255"/>
                  </a:lnTo>
                  <a:close/>
                  <a:moveTo>
                    <a:pt x="89" y="250"/>
                  </a:moveTo>
                  <a:lnTo>
                    <a:pt x="89" y="252"/>
                  </a:lnTo>
                  <a:lnTo>
                    <a:pt x="89" y="250"/>
                  </a:lnTo>
                  <a:close/>
                  <a:moveTo>
                    <a:pt x="58" y="282"/>
                  </a:moveTo>
                  <a:lnTo>
                    <a:pt x="60" y="282"/>
                  </a:lnTo>
                  <a:lnTo>
                    <a:pt x="58" y="282"/>
                  </a:lnTo>
                  <a:close/>
                  <a:moveTo>
                    <a:pt x="29" y="317"/>
                  </a:moveTo>
                  <a:lnTo>
                    <a:pt x="31" y="317"/>
                  </a:lnTo>
                  <a:lnTo>
                    <a:pt x="29" y="317"/>
                  </a:lnTo>
                  <a:close/>
                  <a:moveTo>
                    <a:pt x="46" y="307"/>
                  </a:moveTo>
                  <a:lnTo>
                    <a:pt x="48" y="307"/>
                  </a:lnTo>
                  <a:lnTo>
                    <a:pt x="46" y="307"/>
                  </a:lnTo>
                  <a:close/>
                  <a:moveTo>
                    <a:pt x="64" y="446"/>
                  </a:moveTo>
                  <a:lnTo>
                    <a:pt x="66" y="446"/>
                  </a:lnTo>
                  <a:lnTo>
                    <a:pt x="64" y="446"/>
                  </a:lnTo>
                  <a:close/>
                  <a:moveTo>
                    <a:pt x="48" y="302"/>
                  </a:moveTo>
                  <a:lnTo>
                    <a:pt x="48" y="304"/>
                  </a:lnTo>
                  <a:lnTo>
                    <a:pt x="48" y="302"/>
                  </a:lnTo>
                  <a:close/>
                  <a:moveTo>
                    <a:pt x="79" y="288"/>
                  </a:moveTo>
                  <a:lnTo>
                    <a:pt x="81" y="288"/>
                  </a:lnTo>
                  <a:lnTo>
                    <a:pt x="79" y="288"/>
                  </a:lnTo>
                  <a:close/>
                  <a:moveTo>
                    <a:pt x="64" y="298"/>
                  </a:moveTo>
                  <a:lnTo>
                    <a:pt x="66" y="298"/>
                  </a:lnTo>
                  <a:lnTo>
                    <a:pt x="64" y="298"/>
                  </a:lnTo>
                  <a:close/>
                  <a:moveTo>
                    <a:pt x="108" y="213"/>
                  </a:moveTo>
                  <a:lnTo>
                    <a:pt x="110" y="213"/>
                  </a:lnTo>
                  <a:lnTo>
                    <a:pt x="108" y="213"/>
                  </a:lnTo>
                  <a:close/>
                  <a:moveTo>
                    <a:pt x="135" y="129"/>
                  </a:moveTo>
                  <a:lnTo>
                    <a:pt x="135" y="131"/>
                  </a:lnTo>
                  <a:lnTo>
                    <a:pt x="135" y="129"/>
                  </a:lnTo>
                  <a:close/>
                  <a:moveTo>
                    <a:pt x="158" y="123"/>
                  </a:moveTo>
                  <a:lnTo>
                    <a:pt x="160" y="123"/>
                  </a:lnTo>
                  <a:lnTo>
                    <a:pt x="158" y="123"/>
                  </a:lnTo>
                  <a:close/>
                  <a:moveTo>
                    <a:pt x="96" y="246"/>
                  </a:moveTo>
                  <a:lnTo>
                    <a:pt x="98" y="246"/>
                  </a:lnTo>
                  <a:lnTo>
                    <a:pt x="96" y="246"/>
                  </a:lnTo>
                  <a:close/>
                  <a:moveTo>
                    <a:pt x="4" y="384"/>
                  </a:moveTo>
                  <a:lnTo>
                    <a:pt x="4" y="386"/>
                  </a:lnTo>
                  <a:lnTo>
                    <a:pt x="4" y="384"/>
                  </a:lnTo>
                  <a:close/>
                  <a:moveTo>
                    <a:pt x="2" y="357"/>
                  </a:moveTo>
                  <a:lnTo>
                    <a:pt x="4" y="357"/>
                  </a:lnTo>
                  <a:lnTo>
                    <a:pt x="2" y="357"/>
                  </a:lnTo>
                  <a:close/>
                  <a:moveTo>
                    <a:pt x="119" y="181"/>
                  </a:moveTo>
                  <a:lnTo>
                    <a:pt x="121" y="181"/>
                  </a:lnTo>
                  <a:lnTo>
                    <a:pt x="119" y="181"/>
                  </a:lnTo>
                  <a:close/>
                  <a:moveTo>
                    <a:pt x="68" y="279"/>
                  </a:moveTo>
                  <a:lnTo>
                    <a:pt x="68" y="280"/>
                  </a:lnTo>
                  <a:lnTo>
                    <a:pt x="68" y="279"/>
                  </a:lnTo>
                  <a:close/>
                  <a:moveTo>
                    <a:pt x="60" y="290"/>
                  </a:moveTo>
                  <a:lnTo>
                    <a:pt x="60" y="292"/>
                  </a:lnTo>
                  <a:lnTo>
                    <a:pt x="60" y="290"/>
                  </a:lnTo>
                  <a:close/>
                  <a:moveTo>
                    <a:pt x="8" y="407"/>
                  </a:moveTo>
                  <a:lnTo>
                    <a:pt x="10" y="407"/>
                  </a:lnTo>
                  <a:lnTo>
                    <a:pt x="8" y="407"/>
                  </a:lnTo>
                  <a:close/>
                  <a:moveTo>
                    <a:pt x="58" y="292"/>
                  </a:moveTo>
                  <a:lnTo>
                    <a:pt x="58" y="294"/>
                  </a:lnTo>
                  <a:lnTo>
                    <a:pt x="58" y="292"/>
                  </a:lnTo>
                  <a:close/>
                  <a:moveTo>
                    <a:pt x="129" y="179"/>
                  </a:moveTo>
                  <a:lnTo>
                    <a:pt x="131" y="179"/>
                  </a:lnTo>
                  <a:lnTo>
                    <a:pt x="129" y="179"/>
                  </a:lnTo>
                  <a:close/>
                  <a:moveTo>
                    <a:pt x="112" y="211"/>
                  </a:moveTo>
                  <a:lnTo>
                    <a:pt x="112" y="213"/>
                  </a:lnTo>
                  <a:lnTo>
                    <a:pt x="112" y="211"/>
                  </a:lnTo>
                  <a:close/>
                  <a:moveTo>
                    <a:pt x="48" y="302"/>
                  </a:moveTo>
                  <a:lnTo>
                    <a:pt x="48" y="304"/>
                  </a:lnTo>
                  <a:lnTo>
                    <a:pt x="48" y="302"/>
                  </a:lnTo>
                  <a:close/>
                  <a:moveTo>
                    <a:pt x="37" y="311"/>
                  </a:moveTo>
                  <a:lnTo>
                    <a:pt x="39" y="311"/>
                  </a:lnTo>
                  <a:lnTo>
                    <a:pt x="37" y="311"/>
                  </a:lnTo>
                  <a:close/>
                  <a:moveTo>
                    <a:pt x="92" y="257"/>
                  </a:moveTo>
                  <a:lnTo>
                    <a:pt x="92" y="259"/>
                  </a:lnTo>
                  <a:lnTo>
                    <a:pt x="92" y="257"/>
                  </a:lnTo>
                  <a:close/>
                  <a:moveTo>
                    <a:pt x="58" y="282"/>
                  </a:moveTo>
                  <a:lnTo>
                    <a:pt x="58" y="284"/>
                  </a:lnTo>
                  <a:lnTo>
                    <a:pt x="58" y="282"/>
                  </a:lnTo>
                  <a:close/>
                  <a:moveTo>
                    <a:pt x="94" y="428"/>
                  </a:moveTo>
                  <a:lnTo>
                    <a:pt x="94" y="430"/>
                  </a:lnTo>
                  <a:lnTo>
                    <a:pt x="94" y="428"/>
                  </a:lnTo>
                  <a:close/>
                  <a:moveTo>
                    <a:pt x="89" y="250"/>
                  </a:moveTo>
                  <a:lnTo>
                    <a:pt x="91" y="250"/>
                  </a:lnTo>
                  <a:lnTo>
                    <a:pt x="89" y="250"/>
                  </a:lnTo>
                  <a:close/>
                  <a:moveTo>
                    <a:pt x="92" y="252"/>
                  </a:moveTo>
                  <a:lnTo>
                    <a:pt x="94" y="252"/>
                  </a:lnTo>
                  <a:lnTo>
                    <a:pt x="92" y="252"/>
                  </a:lnTo>
                  <a:close/>
                  <a:moveTo>
                    <a:pt x="77" y="282"/>
                  </a:moveTo>
                  <a:lnTo>
                    <a:pt x="77" y="284"/>
                  </a:lnTo>
                  <a:lnTo>
                    <a:pt x="77" y="282"/>
                  </a:lnTo>
                  <a:close/>
                  <a:moveTo>
                    <a:pt x="117" y="196"/>
                  </a:moveTo>
                  <a:lnTo>
                    <a:pt x="119" y="196"/>
                  </a:lnTo>
                  <a:lnTo>
                    <a:pt x="117" y="196"/>
                  </a:lnTo>
                  <a:close/>
                  <a:moveTo>
                    <a:pt x="348" y="33"/>
                  </a:moveTo>
                  <a:lnTo>
                    <a:pt x="348" y="35"/>
                  </a:lnTo>
                  <a:lnTo>
                    <a:pt x="348" y="33"/>
                  </a:lnTo>
                  <a:close/>
                  <a:moveTo>
                    <a:pt x="98" y="250"/>
                  </a:moveTo>
                  <a:lnTo>
                    <a:pt x="98" y="252"/>
                  </a:lnTo>
                  <a:lnTo>
                    <a:pt x="98" y="250"/>
                  </a:lnTo>
                  <a:close/>
                  <a:moveTo>
                    <a:pt x="6" y="384"/>
                  </a:moveTo>
                  <a:lnTo>
                    <a:pt x="8" y="384"/>
                  </a:lnTo>
                  <a:lnTo>
                    <a:pt x="6" y="384"/>
                  </a:lnTo>
                  <a:close/>
                  <a:moveTo>
                    <a:pt x="20" y="323"/>
                  </a:moveTo>
                  <a:lnTo>
                    <a:pt x="21" y="323"/>
                  </a:lnTo>
                  <a:lnTo>
                    <a:pt x="20" y="323"/>
                  </a:lnTo>
                  <a:close/>
                  <a:moveTo>
                    <a:pt x="165" y="127"/>
                  </a:moveTo>
                  <a:lnTo>
                    <a:pt x="165" y="129"/>
                  </a:lnTo>
                  <a:lnTo>
                    <a:pt x="165" y="127"/>
                  </a:lnTo>
                  <a:close/>
                  <a:moveTo>
                    <a:pt x="119" y="202"/>
                  </a:moveTo>
                  <a:lnTo>
                    <a:pt x="121" y="202"/>
                  </a:lnTo>
                  <a:lnTo>
                    <a:pt x="119" y="202"/>
                  </a:lnTo>
                  <a:close/>
                  <a:moveTo>
                    <a:pt x="60" y="286"/>
                  </a:moveTo>
                  <a:lnTo>
                    <a:pt x="62" y="286"/>
                  </a:lnTo>
                  <a:lnTo>
                    <a:pt x="60" y="286"/>
                  </a:lnTo>
                  <a:close/>
                  <a:moveTo>
                    <a:pt x="96" y="250"/>
                  </a:moveTo>
                  <a:lnTo>
                    <a:pt x="96" y="252"/>
                  </a:lnTo>
                  <a:lnTo>
                    <a:pt x="96" y="250"/>
                  </a:lnTo>
                  <a:close/>
                  <a:moveTo>
                    <a:pt x="104" y="217"/>
                  </a:moveTo>
                  <a:lnTo>
                    <a:pt x="104" y="219"/>
                  </a:lnTo>
                  <a:lnTo>
                    <a:pt x="104" y="217"/>
                  </a:lnTo>
                  <a:close/>
                  <a:moveTo>
                    <a:pt x="50" y="294"/>
                  </a:moveTo>
                  <a:lnTo>
                    <a:pt x="50" y="296"/>
                  </a:lnTo>
                  <a:lnTo>
                    <a:pt x="50" y="294"/>
                  </a:lnTo>
                  <a:close/>
                  <a:moveTo>
                    <a:pt x="85" y="265"/>
                  </a:moveTo>
                  <a:lnTo>
                    <a:pt x="87" y="265"/>
                  </a:lnTo>
                  <a:lnTo>
                    <a:pt x="85" y="265"/>
                  </a:lnTo>
                  <a:close/>
                  <a:moveTo>
                    <a:pt x="46" y="459"/>
                  </a:moveTo>
                  <a:lnTo>
                    <a:pt x="48" y="459"/>
                  </a:lnTo>
                  <a:lnTo>
                    <a:pt x="46" y="459"/>
                  </a:lnTo>
                  <a:close/>
                  <a:moveTo>
                    <a:pt x="85" y="430"/>
                  </a:moveTo>
                  <a:lnTo>
                    <a:pt x="85" y="432"/>
                  </a:lnTo>
                  <a:lnTo>
                    <a:pt x="85" y="430"/>
                  </a:lnTo>
                  <a:close/>
                  <a:moveTo>
                    <a:pt x="16" y="425"/>
                  </a:moveTo>
                  <a:lnTo>
                    <a:pt x="16" y="426"/>
                  </a:lnTo>
                  <a:lnTo>
                    <a:pt x="16" y="425"/>
                  </a:lnTo>
                  <a:close/>
                  <a:moveTo>
                    <a:pt x="39" y="311"/>
                  </a:moveTo>
                  <a:lnTo>
                    <a:pt x="41" y="311"/>
                  </a:lnTo>
                  <a:lnTo>
                    <a:pt x="39" y="311"/>
                  </a:lnTo>
                  <a:close/>
                  <a:moveTo>
                    <a:pt x="154" y="94"/>
                  </a:moveTo>
                  <a:lnTo>
                    <a:pt x="156" y="94"/>
                  </a:lnTo>
                  <a:lnTo>
                    <a:pt x="154" y="94"/>
                  </a:lnTo>
                  <a:close/>
                  <a:moveTo>
                    <a:pt x="106" y="229"/>
                  </a:moveTo>
                  <a:lnTo>
                    <a:pt x="106" y="231"/>
                  </a:lnTo>
                  <a:lnTo>
                    <a:pt x="106" y="229"/>
                  </a:lnTo>
                  <a:close/>
                  <a:moveTo>
                    <a:pt x="4" y="380"/>
                  </a:moveTo>
                  <a:lnTo>
                    <a:pt x="6" y="380"/>
                  </a:lnTo>
                  <a:lnTo>
                    <a:pt x="4" y="380"/>
                  </a:lnTo>
                  <a:close/>
                  <a:moveTo>
                    <a:pt x="81" y="432"/>
                  </a:moveTo>
                  <a:lnTo>
                    <a:pt x="83" y="432"/>
                  </a:lnTo>
                  <a:lnTo>
                    <a:pt x="81" y="432"/>
                  </a:lnTo>
                  <a:close/>
                  <a:moveTo>
                    <a:pt x="165" y="85"/>
                  </a:moveTo>
                  <a:lnTo>
                    <a:pt x="167" y="85"/>
                  </a:lnTo>
                  <a:lnTo>
                    <a:pt x="165" y="85"/>
                  </a:lnTo>
                  <a:close/>
                  <a:moveTo>
                    <a:pt x="48" y="300"/>
                  </a:moveTo>
                  <a:lnTo>
                    <a:pt x="48" y="302"/>
                  </a:lnTo>
                  <a:lnTo>
                    <a:pt x="48" y="300"/>
                  </a:lnTo>
                  <a:close/>
                  <a:moveTo>
                    <a:pt x="112" y="202"/>
                  </a:moveTo>
                  <a:lnTo>
                    <a:pt x="114" y="202"/>
                  </a:lnTo>
                  <a:lnTo>
                    <a:pt x="112" y="202"/>
                  </a:lnTo>
                  <a:close/>
                  <a:moveTo>
                    <a:pt x="2" y="369"/>
                  </a:moveTo>
                  <a:lnTo>
                    <a:pt x="4" y="369"/>
                  </a:lnTo>
                  <a:lnTo>
                    <a:pt x="2" y="369"/>
                  </a:lnTo>
                  <a:close/>
                  <a:moveTo>
                    <a:pt x="66" y="279"/>
                  </a:moveTo>
                  <a:lnTo>
                    <a:pt x="66" y="280"/>
                  </a:lnTo>
                  <a:lnTo>
                    <a:pt x="66" y="279"/>
                  </a:lnTo>
                  <a:close/>
                  <a:moveTo>
                    <a:pt x="104" y="236"/>
                  </a:moveTo>
                  <a:lnTo>
                    <a:pt x="106" y="236"/>
                  </a:lnTo>
                  <a:lnTo>
                    <a:pt x="104" y="236"/>
                  </a:lnTo>
                  <a:close/>
                  <a:moveTo>
                    <a:pt x="121" y="196"/>
                  </a:moveTo>
                  <a:lnTo>
                    <a:pt x="121" y="198"/>
                  </a:lnTo>
                  <a:lnTo>
                    <a:pt x="121" y="196"/>
                  </a:lnTo>
                  <a:close/>
                  <a:moveTo>
                    <a:pt x="66" y="444"/>
                  </a:moveTo>
                  <a:lnTo>
                    <a:pt x="66" y="446"/>
                  </a:lnTo>
                  <a:lnTo>
                    <a:pt x="66" y="444"/>
                  </a:lnTo>
                  <a:close/>
                  <a:moveTo>
                    <a:pt x="2" y="369"/>
                  </a:moveTo>
                  <a:lnTo>
                    <a:pt x="4" y="369"/>
                  </a:lnTo>
                  <a:lnTo>
                    <a:pt x="2" y="369"/>
                  </a:lnTo>
                  <a:close/>
                  <a:moveTo>
                    <a:pt x="62" y="282"/>
                  </a:moveTo>
                  <a:lnTo>
                    <a:pt x="62" y="284"/>
                  </a:lnTo>
                  <a:lnTo>
                    <a:pt x="62" y="282"/>
                  </a:lnTo>
                  <a:close/>
                  <a:moveTo>
                    <a:pt x="91" y="426"/>
                  </a:moveTo>
                  <a:lnTo>
                    <a:pt x="91" y="428"/>
                  </a:lnTo>
                  <a:lnTo>
                    <a:pt x="91" y="426"/>
                  </a:lnTo>
                  <a:close/>
                  <a:moveTo>
                    <a:pt x="108" y="156"/>
                  </a:moveTo>
                  <a:lnTo>
                    <a:pt x="108" y="158"/>
                  </a:lnTo>
                  <a:lnTo>
                    <a:pt x="108" y="156"/>
                  </a:lnTo>
                  <a:close/>
                  <a:moveTo>
                    <a:pt x="286" y="4"/>
                  </a:moveTo>
                  <a:lnTo>
                    <a:pt x="286" y="6"/>
                  </a:lnTo>
                  <a:lnTo>
                    <a:pt x="286" y="4"/>
                  </a:lnTo>
                  <a:close/>
                  <a:moveTo>
                    <a:pt x="46" y="302"/>
                  </a:moveTo>
                  <a:lnTo>
                    <a:pt x="48" y="302"/>
                  </a:lnTo>
                  <a:lnTo>
                    <a:pt x="46" y="302"/>
                  </a:lnTo>
                  <a:close/>
                  <a:moveTo>
                    <a:pt x="8" y="376"/>
                  </a:moveTo>
                  <a:lnTo>
                    <a:pt x="8" y="378"/>
                  </a:lnTo>
                  <a:lnTo>
                    <a:pt x="8" y="376"/>
                  </a:lnTo>
                  <a:close/>
                  <a:moveTo>
                    <a:pt x="46" y="304"/>
                  </a:moveTo>
                  <a:lnTo>
                    <a:pt x="48" y="304"/>
                  </a:lnTo>
                  <a:lnTo>
                    <a:pt x="46" y="304"/>
                  </a:lnTo>
                  <a:close/>
                  <a:moveTo>
                    <a:pt x="8" y="400"/>
                  </a:moveTo>
                  <a:lnTo>
                    <a:pt x="8" y="401"/>
                  </a:lnTo>
                  <a:lnTo>
                    <a:pt x="8" y="400"/>
                  </a:lnTo>
                  <a:close/>
                  <a:moveTo>
                    <a:pt x="112" y="227"/>
                  </a:moveTo>
                  <a:lnTo>
                    <a:pt x="112" y="229"/>
                  </a:lnTo>
                  <a:lnTo>
                    <a:pt x="112" y="227"/>
                  </a:lnTo>
                  <a:close/>
                  <a:moveTo>
                    <a:pt x="64" y="280"/>
                  </a:moveTo>
                  <a:lnTo>
                    <a:pt x="64" y="282"/>
                  </a:lnTo>
                  <a:lnTo>
                    <a:pt x="64" y="280"/>
                  </a:lnTo>
                  <a:close/>
                  <a:moveTo>
                    <a:pt x="92" y="246"/>
                  </a:moveTo>
                  <a:lnTo>
                    <a:pt x="94" y="246"/>
                  </a:lnTo>
                  <a:lnTo>
                    <a:pt x="92" y="246"/>
                  </a:lnTo>
                  <a:close/>
                  <a:moveTo>
                    <a:pt x="4" y="425"/>
                  </a:moveTo>
                  <a:lnTo>
                    <a:pt x="6" y="425"/>
                  </a:lnTo>
                  <a:lnTo>
                    <a:pt x="4" y="425"/>
                  </a:lnTo>
                  <a:close/>
                  <a:moveTo>
                    <a:pt x="142" y="109"/>
                  </a:moveTo>
                  <a:lnTo>
                    <a:pt x="144" y="109"/>
                  </a:lnTo>
                  <a:lnTo>
                    <a:pt x="142" y="109"/>
                  </a:lnTo>
                  <a:close/>
                  <a:moveTo>
                    <a:pt x="60" y="451"/>
                  </a:moveTo>
                  <a:lnTo>
                    <a:pt x="60" y="453"/>
                  </a:lnTo>
                  <a:lnTo>
                    <a:pt x="60" y="451"/>
                  </a:lnTo>
                  <a:close/>
                  <a:moveTo>
                    <a:pt x="8" y="417"/>
                  </a:moveTo>
                  <a:lnTo>
                    <a:pt x="10" y="417"/>
                  </a:lnTo>
                  <a:lnTo>
                    <a:pt x="8" y="417"/>
                  </a:lnTo>
                  <a:close/>
                  <a:moveTo>
                    <a:pt x="12" y="413"/>
                  </a:moveTo>
                  <a:lnTo>
                    <a:pt x="14" y="413"/>
                  </a:lnTo>
                  <a:lnTo>
                    <a:pt x="12" y="413"/>
                  </a:lnTo>
                  <a:close/>
                  <a:moveTo>
                    <a:pt x="68" y="440"/>
                  </a:moveTo>
                  <a:lnTo>
                    <a:pt x="69" y="440"/>
                  </a:lnTo>
                  <a:lnTo>
                    <a:pt x="68" y="440"/>
                  </a:lnTo>
                  <a:close/>
                  <a:moveTo>
                    <a:pt x="106" y="213"/>
                  </a:moveTo>
                  <a:lnTo>
                    <a:pt x="106" y="215"/>
                  </a:lnTo>
                  <a:lnTo>
                    <a:pt x="106" y="213"/>
                  </a:lnTo>
                  <a:close/>
                  <a:moveTo>
                    <a:pt x="123" y="186"/>
                  </a:moveTo>
                  <a:lnTo>
                    <a:pt x="123" y="188"/>
                  </a:lnTo>
                  <a:lnTo>
                    <a:pt x="123" y="186"/>
                  </a:lnTo>
                  <a:close/>
                  <a:moveTo>
                    <a:pt x="92" y="428"/>
                  </a:moveTo>
                  <a:lnTo>
                    <a:pt x="92" y="430"/>
                  </a:lnTo>
                  <a:lnTo>
                    <a:pt x="92" y="428"/>
                  </a:lnTo>
                  <a:close/>
                  <a:moveTo>
                    <a:pt x="119" y="202"/>
                  </a:moveTo>
                  <a:lnTo>
                    <a:pt x="121" y="202"/>
                  </a:lnTo>
                  <a:lnTo>
                    <a:pt x="119" y="202"/>
                  </a:lnTo>
                  <a:close/>
                  <a:moveTo>
                    <a:pt x="112" y="215"/>
                  </a:moveTo>
                  <a:lnTo>
                    <a:pt x="112" y="217"/>
                  </a:lnTo>
                  <a:lnTo>
                    <a:pt x="112" y="215"/>
                  </a:lnTo>
                  <a:close/>
                  <a:moveTo>
                    <a:pt x="94" y="244"/>
                  </a:moveTo>
                  <a:lnTo>
                    <a:pt x="96" y="244"/>
                  </a:lnTo>
                  <a:lnTo>
                    <a:pt x="94" y="244"/>
                  </a:lnTo>
                  <a:close/>
                  <a:moveTo>
                    <a:pt x="106" y="207"/>
                  </a:moveTo>
                  <a:lnTo>
                    <a:pt x="106" y="209"/>
                  </a:lnTo>
                  <a:lnTo>
                    <a:pt x="106" y="207"/>
                  </a:lnTo>
                  <a:close/>
                  <a:moveTo>
                    <a:pt x="100" y="244"/>
                  </a:moveTo>
                  <a:lnTo>
                    <a:pt x="102" y="244"/>
                  </a:lnTo>
                  <a:lnTo>
                    <a:pt x="100" y="244"/>
                  </a:lnTo>
                  <a:close/>
                  <a:moveTo>
                    <a:pt x="131" y="125"/>
                  </a:moveTo>
                  <a:lnTo>
                    <a:pt x="131" y="127"/>
                  </a:lnTo>
                  <a:lnTo>
                    <a:pt x="131" y="125"/>
                  </a:lnTo>
                  <a:close/>
                  <a:moveTo>
                    <a:pt x="144" y="146"/>
                  </a:moveTo>
                  <a:lnTo>
                    <a:pt x="144" y="148"/>
                  </a:lnTo>
                  <a:lnTo>
                    <a:pt x="144" y="146"/>
                  </a:lnTo>
                  <a:close/>
                  <a:moveTo>
                    <a:pt x="112" y="209"/>
                  </a:moveTo>
                  <a:lnTo>
                    <a:pt x="114" y="209"/>
                  </a:lnTo>
                  <a:lnTo>
                    <a:pt x="112" y="209"/>
                  </a:lnTo>
                  <a:close/>
                  <a:moveTo>
                    <a:pt x="196" y="69"/>
                  </a:moveTo>
                  <a:lnTo>
                    <a:pt x="198" y="69"/>
                  </a:lnTo>
                  <a:lnTo>
                    <a:pt x="196" y="69"/>
                  </a:lnTo>
                  <a:close/>
                  <a:moveTo>
                    <a:pt x="117" y="190"/>
                  </a:moveTo>
                  <a:lnTo>
                    <a:pt x="119" y="190"/>
                  </a:lnTo>
                  <a:lnTo>
                    <a:pt x="117" y="190"/>
                  </a:lnTo>
                  <a:close/>
                  <a:moveTo>
                    <a:pt x="58" y="282"/>
                  </a:moveTo>
                  <a:lnTo>
                    <a:pt x="60" y="282"/>
                  </a:lnTo>
                  <a:lnTo>
                    <a:pt x="58" y="282"/>
                  </a:lnTo>
                  <a:close/>
                  <a:moveTo>
                    <a:pt x="56" y="286"/>
                  </a:moveTo>
                  <a:lnTo>
                    <a:pt x="58" y="286"/>
                  </a:lnTo>
                  <a:lnTo>
                    <a:pt x="56" y="286"/>
                  </a:lnTo>
                  <a:close/>
                  <a:moveTo>
                    <a:pt x="112" y="213"/>
                  </a:moveTo>
                  <a:lnTo>
                    <a:pt x="114" y="213"/>
                  </a:lnTo>
                  <a:lnTo>
                    <a:pt x="112" y="213"/>
                  </a:lnTo>
                  <a:close/>
                  <a:moveTo>
                    <a:pt x="12" y="355"/>
                  </a:moveTo>
                  <a:lnTo>
                    <a:pt x="14" y="355"/>
                  </a:lnTo>
                  <a:lnTo>
                    <a:pt x="12" y="355"/>
                  </a:lnTo>
                  <a:close/>
                  <a:moveTo>
                    <a:pt x="23" y="328"/>
                  </a:moveTo>
                  <a:lnTo>
                    <a:pt x="25" y="328"/>
                  </a:lnTo>
                  <a:lnTo>
                    <a:pt x="23" y="328"/>
                  </a:lnTo>
                  <a:close/>
                  <a:moveTo>
                    <a:pt x="162" y="121"/>
                  </a:moveTo>
                  <a:lnTo>
                    <a:pt x="162" y="123"/>
                  </a:lnTo>
                  <a:lnTo>
                    <a:pt x="162" y="121"/>
                  </a:lnTo>
                  <a:close/>
                  <a:moveTo>
                    <a:pt x="56" y="284"/>
                  </a:moveTo>
                  <a:lnTo>
                    <a:pt x="58" y="284"/>
                  </a:lnTo>
                  <a:lnTo>
                    <a:pt x="56" y="284"/>
                  </a:lnTo>
                  <a:close/>
                  <a:moveTo>
                    <a:pt x="175" y="90"/>
                  </a:moveTo>
                  <a:lnTo>
                    <a:pt x="175" y="92"/>
                  </a:lnTo>
                  <a:lnTo>
                    <a:pt x="175" y="90"/>
                  </a:lnTo>
                  <a:close/>
                  <a:moveTo>
                    <a:pt x="48" y="300"/>
                  </a:moveTo>
                  <a:lnTo>
                    <a:pt x="50" y="300"/>
                  </a:lnTo>
                  <a:lnTo>
                    <a:pt x="48" y="300"/>
                  </a:lnTo>
                  <a:close/>
                  <a:moveTo>
                    <a:pt x="98" y="250"/>
                  </a:moveTo>
                  <a:lnTo>
                    <a:pt x="98" y="252"/>
                  </a:lnTo>
                  <a:lnTo>
                    <a:pt x="98" y="250"/>
                  </a:lnTo>
                  <a:close/>
                  <a:moveTo>
                    <a:pt x="8" y="378"/>
                  </a:moveTo>
                  <a:lnTo>
                    <a:pt x="8" y="380"/>
                  </a:lnTo>
                  <a:lnTo>
                    <a:pt x="8" y="378"/>
                  </a:lnTo>
                  <a:close/>
                  <a:moveTo>
                    <a:pt x="12" y="403"/>
                  </a:moveTo>
                  <a:lnTo>
                    <a:pt x="14" y="403"/>
                  </a:lnTo>
                  <a:lnTo>
                    <a:pt x="12" y="403"/>
                  </a:lnTo>
                  <a:close/>
                  <a:moveTo>
                    <a:pt x="62" y="282"/>
                  </a:moveTo>
                  <a:lnTo>
                    <a:pt x="64" y="282"/>
                  </a:lnTo>
                  <a:lnTo>
                    <a:pt x="62" y="282"/>
                  </a:lnTo>
                  <a:close/>
                  <a:moveTo>
                    <a:pt x="110" y="202"/>
                  </a:moveTo>
                  <a:lnTo>
                    <a:pt x="112" y="202"/>
                  </a:lnTo>
                  <a:lnTo>
                    <a:pt x="110" y="202"/>
                  </a:lnTo>
                  <a:close/>
                  <a:moveTo>
                    <a:pt x="110" y="154"/>
                  </a:moveTo>
                  <a:lnTo>
                    <a:pt x="112" y="154"/>
                  </a:lnTo>
                  <a:lnTo>
                    <a:pt x="110" y="154"/>
                  </a:lnTo>
                  <a:close/>
                  <a:moveTo>
                    <a:pt x="91" y="261"/>
                  </a:moveTo>
                  <a:lnTo>
                    <a:pt x="91" y="263"/>
                  </a:lnTo>
                  <a:lnTo>
                    <a:pt x="91" y="261"/>
                  </a:lnTo>
                  <a:close/>
                  <a:moveTo>
                    <a:pt x="75" y="432"/>
                  </a:moveTo>
                  <a:lnTo>
                    <a:pt x="75" y="434"/>
                  </a:lnTo>
                  <a:lnTo>
                    <a:pt x="75" y="432"/>
                  </a:lnTo>
                  <a:close/>
                  <a:moveTo>
                    <a:pt x="46" y="311"/>
                  </a:moveTo>
                  <a:lnTo>
                    <a:pt x="48" y="311"/>
                  </a:lnTo>
                  <a:lnTo>
                    <a:pt x="46" y="311"/>
                  </a:lnTo>
                  <a:close/>
                  <a:moveTo>
                    <a:pt x="158" y="119"/>
                  </a:moveTo>
                  <a:lnTo>
                    <a:pt x="160" y="119"/>
                  </a:lnTo>
                  <a:lnTo>
                    <a:pt x="158" y="119"/>
                  </a:lnTo>
                  <a:close/>
                  <a:moveTo>
                    <a:pt x="58" y="286"/>
                  </a:moveTo>
                  <a:lnTo>
                    <a:pt x="58" y="288"/>
                  </a:lnTo>
                  <a:lnTo>
                    <a:pt x="58" y="286"/>
                  </a:lnTo>
                  <a:close/>
                  <a:moveTo>
                    <a:pt x="198" y="56"/>
                  </a:moveTo>
                  <a:lnTo>
                    <a:pt x="198" y="58"/>
                  </a:lnTo>
                  <a:lnTo>
                    <a:pt x="198" y="56"/>
                  </a:lnTo>
                  <a:close/>
                  <a:moveTo>
                    <a:pt x="115" y="202"/>
                  </a:moveTo>
                  <a:lnTo>
                    <a:pt x="115" y="204"/>
                  </a:lnTo>
                  <a:lnTo>
                    <a:pt x="115" y="202"/>
                  </a:lnTo>
                  <a:close/>
                  <a:moveTo>
                    <a:pt x="148" y="123"/>
                  </a:moveTo>
                  <a:lnTo>
                    <a:pt x="150" y="123"/>
                  </a:lnTo>
                  <a:lnTo>
                    <a:pt x="148" y="123"/>
                  </a:lnTo>
                  <a:close/>
                  <a:moveTo>
                    <a:pt x="2" y="386"/>
                  </a:moveTo>
                  <a:lnTo>
                    <a:pt x="4" y="386"/>
                  </a:lnTo>
                  <a:lnTo>
                    <a:pt x="2" y="386"/>
                  </a:lnTo>
                  <a:close/>
                  <a:moveTo>
                    <a:pt x="110" y="234"/>
                  </a:moveTo>
                  <a:lnTo>
                    <a:pt x="112" y="234"/>
                  </a:lnTo>
                  <a:lnTo>
                    <a:pt x="110" y="234"/>
                  </a:lnTo>
                  <a:close/>
                  <a:moveTo>
                    <a:pt x="66" y="279"/>
                  </a:moveTo>
                  <a:lnTo>
                    <a:pt x="66" y="280"/>
                  </a:lnTo>
                  <a:lnTo>
                    <a:pt x="66" y="279"/>
                  </a:lnTo>
                  <a:close/>
                  <a:moveTo>
                    <a:pt x="92" y="250"/>
                  </a:moveTo>
                  <a:lnTo>
                    <a:pt x="94" y="250"/>
                  </a:lnTo>
                  <a:lnTo>
                    <a:pt x="92" y="250"/>
                  </a:lnTo>
                  <a:close/>
                  <a:moveTo>
                    <a:pt x="112" y="211"/>
                  </a:moveTo>
                  <a:lnTo>
                    <a:pt x="114" y="211"/>
                  </a:lnTo>
                  <a:lnTo>
                    <a:pt x="112" y="211"/>
                  </a:lnTo>
                  <a:close/>
                  <a:moveTo>
                    <a:pt x="62" y="284"/>
                  </a:moveTo>
                  <a:lnTo>
                    <a:pt x="62" y="286"/>
                  </a:lnTo>
                  <a:lnTo>
                    <a:pt x="62" y="284"/>
                  </a:lnTo>
                  <a:close/>
                  <a:moveTo>
                    <a:pt x="139" y="127"/>
                  </a:moveTo>
                  <a:lnTo>
                    <a:pt x="140" y="127"/>
                  </a:lnTo>
                  <a:lnTo>
                    <a:pt x="139" y="127"/>
                  </a:lnTo>
                  <a:close/>
                  <a:moveTo>
                    <a:pt x="96" y="244"/>
                  </a:moveTo>
                  <a:lnTo>
                    <a:pt x="96" y="246"/>
                  </a:lnTo>
                  <a:lnTo>
                    <a:pt x="96" y="244"/>
                  </a:lnTo>
                  <a:close/>
                  <a:moveTo>
                    <a:pt x="31" y="321"/>
                  </a:moveTo>
                  <a:lnTo>
                    <a:pt x="33" y="321"/>
                  </a:lnTo>
                  <a:lnTo>
                    <a:pt x="31" y="321"/>
                  </a:lnTo>
                  <a:close/>
                  <a:moveTo>
                    <a:pt x="54" y="290"/>
                  </a:moveTo>
                  <a:lnTo>
                    <a:pt x="56" y="290"/>
                  </a:lnTo>
                  <a:lnTo>
                    <a:pt x="54" y="290"/>
                  </a:lnTo>
                  <a:close/>
                  <a:moveTo>
                    <a:pt x="0" y="375"/>
                  </a:moveTo>
                  <a:lnTo>
                    <a:pt x="2" y="375"/>
                  </a:lnTo>
                  <a:lnTo>
                    <a:pt x="0" y="375"/>
                  </a:lnTo>
                  <a:close/>
                  <a:moveTo>
                    <a:pt x="39" y="309"/>
                  </a:moveTo>
                  <a:lnTo>
                    <a:pt x="41" y="309"/>
                  </a:lnTo>
                  <a:lnTo>
                    <a:pt x="39" y="309"/>
                  </a:lnTo>
                  <a:close/>
                  <a:moveTo>
                    <a:pt x="144" y="104"/>
                  </a:moveTo>
                  <a:lnTo>
                    <a:pt x="146" y="104"/>
                  </a:lnTo>
                  <a:lnTo>
                    <a:pt x="144" y="104"/>
                  </a:lnTo>
                  <a:close/>
                  <a:moveTo>
                    <a:pt x="210" y="52"/>
                  </a:moveTo>
                  <a:lnTo>
                    <a:pt x="210" y="54"/>
                  </a:lnTo>
                  <a:lnTo>
                    <a:pt x="210" y="52"/>
                  </a:lnTo>
                  <a:close/>
                  <a:moveTo>
                    <a:pt x="94" y="246"/>
                  </a:moveTo>
                  <a:lnTo>
                    <a:pt x="94" y="248"/>
                  </a:lnTo>
                  <a:lnTo>
                    <a:pt x="94" y="246"/>
                  </a:lnTo>
                  <a:close/>
                  <a:moveTo>
                    <a:pt x="46" y="302"/>
                  </a:moveTo>
                  <a:lnTo>
                    <a:pt x="46" y="304"/>
                  </a:lnTo>
                  <a:lnTo>
                    <a:pt x="46" y="302"/>
                  </a:lnTo>
                  <a:close/>
                  <a:moveTo>
                    <a:pt x="56" y="307"/>
                  </a:moveTo>
                  <a:lnTo>
                    <a:pt x="56" y="309"/>
                  </a:lnTo>
                  <a:lnTo>
                    <a:pt x="56" y="307"/>
                  </a:lnTo>
                  <a:close/>
                  <a:moveTo>
                    <a:pt x="81" y="271"/>
                  </a:moveTo>
                  <a:lnTo>
                    <a:pt x="81" y="273"/>
                  </a:lnTo>
                  <a:lnTo>
                    <a:pt x="81" y="271"/>
                  </a:lnTo>
                  <a:close/>
                  <a:moveTo>
                    <a:pt x="94" y="244"/>
                  </a:moveTo>
                  <a:lnTo>
                    <a:pt x="96" y="244"/>
                  </a:lnTo>
                  <a:lnTo>
                    <a:pt x="94" y="244"/>
                  </a:lnTo>
                  <a:close/>
                  <a:moveTo>
                    <a:pt x="108" y="207"/>
                  </a:moveTo>
                  <a:lnTo>
                    <a:pt x="108" y="209"/>
                  </a:lnTo>
                  <a:lnTo>
                    <a:pt x="108" y="207"/>
                  </a:lnTo>
                  <a:close/>
                  <a:moveTo>
                    <a:pt x="54" y="457"/>
                  </a:moveTo>
                  <a:lnTo>
                    <a:pt x="56" y="457"/>
                  </a:lnTo>
                  <a:lnTo>
                    <a:pt x="54" y="457"/>
                  </a:lnTo>
                  <a:close/>
                  <a:moveTo>
                    <a:pt x="73" y="434"/>
                  </a:moveTo>
                  <a:lnTo>
                    <a:pt x="73" y="436"/>
                  </a:lnTo>
                  <a:lnTo>
                    <a:pt x="73" y="434"/>
                  </a:lnTo>
                  <a:close/>
                  <a:moveTo>
                    <a:pt x="204" y="54"/>
                  </a:moveTo>
                  <a:lnTo>
                    <a:pt x="206" y="54"/>
                  </a:lnTo>
                  <a:lnTo>
                    <a:pt x="204" y="54"/>
                  </a:lnTo>
                  <a:close/>
                  <a:moveTo>
                    <a:pt x="16" y="409"/>
                  </a:moveTo>
                  <a:lnTo>
                    <a:pt x="18" y="409"/>
                  </a:lnTo>
                  <a:lnTo>
                    <a:pt x="16" y="409"/>
                  </a:lnTo>
                  <a:close/>
                  <a:moveTo>
                    <a:pt x="85" y="426"/>
                  </a:moveTo>
                  <a:lnTo>
                    <a:pt x="85" y="428"/>
                  </a:lnTo>
                  <a:lnTo>
                    <a:pt x="85" y="426"/>
                  </a:lnTo>
                  <a:close/>
                  <a:moveTo>
                    <a:pt x="8" y="401"/>
                  </a:moveTo>
                  <a:lnTo>
                    <a:pt x="10" y="401"/>
                  </a:lnTo>
                  <a:lnTo>
                    <a:pt x="8" y="401"/>
                  </a:lnTo>
                  <a:close/>
                  <a:moveTo>
                    <a:pt x="85" y="428"/>
                  </a:moveTo>
                  <a:lnTo>
                    <a:pt x="87" y="428"/>
                  </a:lnTo>
                  <a:lnTo>
                    <a:pt x="85" y="428"/>
                  </a:lnTo>
                  <a:close/>
                  <a:moveTo>
                    <a:pt x="50" y="296"/>
                  </a:moveTo>
                  <a:lnTo>
                    <a:pt x="52" y="296"/>
                  </a:lnTo>
                  <a:lnTo>
                    <a:pt x="50" y="296"/>
                  </a:lnTo>
                  <a:close/>
                  <a:moveTo>
                    <a:pt x="8" y="398"/>
                  </a:moveTo>
                  <a:lnTo>
                    <a:pt x="8" y="400"/>
                  </a:lnTo>
                  <a:lnTo>
                    <a:pt x="8" y="398"/>
                  </a:lnTo>
                  <a:close/>
                  <a:moveTo>
                    <a:pt x="46" y="459"/>
                  </a:moveTo>
                  <a:lnTo>
                    <a:pt x="46" y="461"/>
                  </a:lnTo>
                  <a:lnTo>
                    <a:pt x="46" y="459"/>
                  </a:lnTo>
                  <a:close/>
                  <a:moveTo>
                    <a:pt x="131" y="129"/>
                  </a:moveTo>
                  <a:lnTo>
                    <a:pt x="133" y="129"/>
                  </a:lnTo>
                  <a:lnTo>
                    <a:pt x="131" y="129"/>
                  </a:lnTo>
                  <a:close/>
                  <a:moveTo>
                    <a:pt x="4" y="369"/>
                  </a:moveTo>
                  <a:lnTo>
                    <a:pt x="6" y="369"/>
                  </a:lnTo>
                  <a:lnTo>
                    <a:pt x="4" y="369"/>
                  </a:lnTo>
                  <a:close/>
                  <a:moveTo>
                    <a:pt x="165" y="129"/>
                  </a:moveTo>
                  <a:lnTo>
                    <a:pt x="165" y="131"/>
                  </a:lnTo>
                  <a:lnTo>
                    <a:pt x="165" y="129"/>
                  </a:lnTo>
                  <a:close/>
                  <a:moveTo>
                    <a:pt x="31" y="317"/>
                  </a:moveTo>
                  <a:lnTo>
                    <a:pt x="31" y="319"/>
                  </a:lnTo>
                  <a:lnTo>
                    <a:pt x="31" y="317"/>
                  </a:lnTo>
                  <a:close/>
                  <a:moveTo>
                    <a:pt x="112" y="215"/>
                  </a:moveTo>
                  <a:lnTo>
                    <a:pt x="112" y="217"/>
                  </a:lnTo>
                  <a:lnTo>
                    <a:pt x="112" y="215"/>
                  </a:lnTo>
                  <a:close/>
                  <a:moveTo>
                    <a:pt x="85" y="430"/>
                  </a:moveTo>
                  <a:lnTo>
                    <a:pt x="87" y="430"/>
                  </a:lnTo>
                  <a:lnTo>
                    <a:pt x="85" y="430"/>
                  </a:lnTo>
                  <a:close/>
                  <a:moveTo>
                    <a:pt x="89" y="263"/>
                  </a:moveTo>
                  <a:lnTo>
                    <a:pt x="91" y="263"/>
                  </a:lnTo>
                  <a:lnTo>
                    <a:pt x="89" y="263"/>
                  </a:lnTo>
                  <a:close/>
                  <a:moveTo>
                    <a:pt x="106" y="217"/>
                  </a:moveTo>
                  <a:lnTo>
                    <a:pt x="106" y="219"/>
                  </a:lnTo>
                  <a:lnTo>
                    <a:pt x="106" y="217"/>
                  </a:lnTo>
                  <a:close/>
                  <a:moveTo>
                    <a:pt x="14" y="430"/>
                  </a:moveTo>
                  <a:lnTo>
                    <a:pt x="14" y="432"/>
                  </a:lnTo>
                  <a:lnTo>
                    <a:pt x="14" y="430"/>
                  </a:lnTo>
                  <a:close/>
                  <a:moveTo>
                    <a:pt x="83" y="430"/>
                  </a:moveTo>
                  <a:lnTo>
                    <a:pt x="85" y="430"/>
                  </a:lnTo>
                  <a:lnTo>
                    <a:pt x="83" y="430"/>
                  </a:lnTo>
                  <a:close/>
                  <a:moveTo>
                    <a:pt x="71" y="284"/>
                  </a:moveTo>
                  <a:lnTo>
                    <a:pt x="73" y="284"/>
                  </a:lnTo>
                  <a:lnTo>
                    <a:pt x="71" y="284"/>
                  </a:lnTo>
                  <a:close/>
                  <a:moveTo>
                    <a:pt x="89" y="254"/>
                  </a:moveTo>
                  <a:lnTo>
                    <a:pt x="89" y="255"/>
                  </a:lnTo>
                  <a:lnTo>
                    <a:pt x="89" y="254"/>
                  </a:lnTo>
                  <a:close/>
                  <a:moveTo>
                    <a:pt x="139" y="161"/>
                  </a:moveTo>
                  <a:lnTo>
                    <a:pt x="140" y="161"/>
                  </a:lnTo>
                  <a:lnTo>
                    <a:pt x="139" y="161"/>
                  </a:lnTo>
                  <a:close/>
                  <a:moveTo>
                    <a:pt x="91" y="261"/>
                  </a:moveTo>
                  <a:lnTo>
                    <a:pt x="92" y="261"/>
                  </a:lnTo>
                  <a:lnTo>
                    <a:pt x="91" y="261"/>
                  </a:lnTo>
                  <a:close/>
                  <a:moveTo>
                    <a:pt x="43" y="309"/>
                  </a:moveTo>
                  <a:lnTo>
                    <a:pt x="43" y="311"/>
                  </a:lnTo>
                  <a:lnTo>
                    <a:pt x="43" y="309"/>
                  </a:lnTo>
                  <a:close/>
                  <a:moveTo>
                    <a:pt x="4" y="376"/>
                  </a:moveTo>
                  <a:lnTo>
                    <a:pt x="6" y="376"/>
                  </a:lnTo>
                  <a:lnTo>
                    <a:pt x="4" y="376"/>
                  </a:lnTo>
                  <a:close/>
                  <a:moveTo>
                    <a:pt x="14" y="430"/>
                  </a:moveTo>
                  <a:lnTo>
                    <a:pt x="14" y="432"/>
                  </a:lnTo>
                  <a:lnTo>
                    <a:pt x="14" y="430"/>
                  </a:lnTo>
                  <a:close/>
                  <a:moveTo>
                    <a:pt x="8" y="417"/>
                  </a:moveTo>
                  <a:lnTo>
                    <a:pt x="10" y="417"/>
                  </a:lnTo>
                  <a:lnTo>
                    <a:pt x="8" y="417"/>
                  </a:lnTo>
                  <a:close/>
                  <a:moveTo>
                    <a:pt x="156" y="123"/>
                  </a:moveTo>
                  <a:lnTo>
                    <a:pt x="156" y="125"/>
                  </a:lnTo>
                  <a:lnTo>
                    <a:pt x="156" y="123"/>
                  </a:lnTo>
                  <a:close/>
                  <a:moveTo>
                    <a:pt x="146" y="113"/>
                  </a:moveTo>
                  <a:lnTo>
                    <a:pt x="148" y="113"/>
                  </a:lnTo>
                  <a:lnTo>
                    <a:pt x="146" y="113"/>
                  </a:lnTo>
                  <a:close/>
                  <a:moveTo>
                    <a:pt x="98" y="263"/>
                  </a:moveTo>
                  <a:lnTo>
                    <a:pt x="100" y="263"/>
                  </a:lnTo>
                  <a:lnTo>
                    <a:pt x="98" y="263"/>
                  </a:lnTo>
                  <a:close/>
                  <a:moveTo>
                    <a:pt x="135" y="165"/>
                  </a:moveTo>
                  <a:lnTo>
                    <a:pt x="135" y="167"/>
                  </a:lnTo>
                  <a:lnTo>
                    <a:pt x="135" y="165"/>
                  </a:lnTo>
                  <a:close/>
                  <a:moveTo>
                    <a:pt x="106" y="229"/>
                  </a:moveTo>
                  <a:lnTo>
                    <a:pt x="106" y="231"/>
                  </a:lnTo>
                  <a:lnTo>
                    <a:pt x="106" y="229"/>
                  </a:lnTo>
                  <a:close/>
                  <a:moveTo>
                    <a:pt x="89" y="407"/>
                  </a:moveTo>
                  <a:lnTo>
                    <a:pt x="91" y="407"/>
                  </a:lnTo>
                  <a:lnTo>
                    <a:pt x="89" y="407"/>
                  </a:lnTo>
                  <a:close/>
                  <a:moveTo>
                    <a:pt x="73" y="434"/>
                  </a:moveTo>
                  <a:lnTo>
                    <a:pt x="73" y="436"/>
                  </a:lnTo>
                  <a:lnTo>
                    <a:pt x="73" y="434"/>
                  </a:lnTo>
                  <a:close/>
                  <a:moveTo>
                    <a:pt x="221" y="50"/>
                  </a:moveTo>
                  <a:lnTo>
                    <a:pt x="223" y="50"/>
                  </a:lnTo>
                  <a:lnTo>
                    <a:pt x="221" y="50"/>
                  </a:lnTo>
                  <a:close/>
                  <a:moveTo>
                    <a:pt x="66" y="279"/>
                  </a:moveTo>
                  <a:lnTo>
                    <a:pt x="68" y="279"/>
                  </a:lnTo>
                  <a:lnTo>
                    <a:pt x="66" y="279"/>
                  </a:lnTo>
                  <a:close/>
                  <a:moveTo>
                    <a:pt x="4" y="376"/>
                  </a:moveTo>
                  <a:lnTo>
                    <a:pt x="6" y="376"/>
                  </a:lnTo>
                  <a:lnTo>
                    <a:pt x="4" y="376"/>
                  </a:lnTo>
                  <a:close/>
                  <a:moveTo>
                    <a:pt x="2" y="365"/>
                  </a:moveTo>
                  <a:lnTo>
                    <a:pt x="4" y="365"/>
                  </a:lnTo>
                  <a:lnTo>
                    <a:pt x="2" y="365"/>
                  </a:lnTo>
                  <a:close/>
                  <a:moveTo>
                    <a:pt x="21" y="325"/>
                  </a:moveTo>
                  <a:lnTo>
                    <a:pt x="23" y="325"/>
                  </a:lnTo>
                  <a:lnTo>
                    <a:pt x="21" y="325"/>
                  </a:lnTo>
                  <a:close/>
                  <a:moveTo>
                    <a:pt x="8" y="415"/>
                  </a:moveTo>
                  <a:lnTo>
                    <a:pt x="8" y="417"/>
                  </a:lnTo>
                  <a:lnTo>
                    <a:pt x="8" y="415"/>
                  </a:lnTo>
                  <a:close/>
                  <a:moveTo>
                    <a:pt x="142" y="158"/>
                  </a:moveTo>
                  <a:lnTo>
                    <a:pt x="144" y="158"/>
                  </a:lnTo>
                  <a:lnTo>
                    <a:pt x="142" y="158"/>
                  </a:lnTo>
                  <a:close/>
                  <a:moveTo>
                    <a:pt x="104" y="227"/>
                  </a:moveTo>
                  <a:lnTo>
                    <a:pt x="104" y="229"/>
                  </a:lnTo>
                  <a:lnTo>
                    <a:pt x="104" y="227"/>
                  </a:lnTo>
                  <a:close/>
                  <a:moveTo>
                    <a:pt x="83" y="430"/>
                  </a:moveTo>
                  <a:lnTo>
                    <a:pt x="85" y="430"/>
                  </a:lnTo>
                  <a:lnTo>
                    <a:pt x="83" y="430"/>
                  </a:lnTo>
                  <a:close/>
                  <a:moveTo>
                    <a:pt x="156" y="115"/>
                  </a:moveTo>
                  <a:lnTo>
                    <a:pt x="158" y="115"/>
                  </a:lnTo>
                  <a:lnTo>
                    <a:pt x="156" y="115"/>
                  </a:lnTo>
                  <a:close/>
                  <a:moveTo>
                    <a:pt x="110" y="231"/>
                  </a:moveTo>
                  <a:lnTo>
                    <a:pt x="110" y="232"/>
                  </a:lnTo>
                  <a:lnTo>
                    <a:pt x="110" y="231"/>
                  </a:lnTo>
                  <a:close/>
                  <a:moveTo>
                    <a:pt x="56" y="284"/>
                  </a:moveTo>
                  <a:lnTo>
                    <a:pt x="58" y="284"/>
                  </a:lnTo>
                  <a:lnTo>
                    <a:pt x="56" y="284"/>
                  </a:lnTo>
                  <a:close/>
                  <a:moveTo>
                    <a:pt x="117" y="196"/>
                  </a:moveTo>
                  <a:lnTo>
                    <a:pt x="117" y="198"/>
                  </a:lnTo>
                  <a:lnTo>
                    <a:pt x="117" y="196"/>
                  </a:lnTo>
                  <a:close/>
                  <a:moveTo>
                    <a:pt x="112" y="202"/>
                  </a:moveTo>
                  <a:lnTo>
                    <a:pt x="114" y="202"/>
                  </a:lnTo>
                  <a:lnTo>
                    <a:pt x="112" y="202"/>
                  </a:lnTo>
                  <a:close/>
                  <a:moveTo>
                    <a:pt x="18" y="411"/>
                  </a:moveTo>
                  <a:lnTo>
                    <a:pt x="18" y="413"/>
                  </a:lnTo>
                  <a:lnTo>
                    <a:pt x="18" y="411"/>
                  </a:lnTo>
                  <a:close/>
                  <a:moveTo>
                    <a:pt x="2" y="384"/>
                  </a:moveTo>
                  <a:lnTo>
                    <a:pt x="4" y="384"/>
                  </a:lnTo>
                  <a:lnTo>
                    <a:pt x="2" y="384"/>
                  </a:lnTo>
                  <a:close/>
                  <a:moveTo>
                    <a:pt x="89" y="261"/>
                  </a:moveTo>
                  <a:lnTo>
                    <a:pt x="91" y="261"/>
                  </a:lnTo>
                  <a:lnTo>
                    <a:pt x="89" y="261"/>
                  </a:lnTo>
                  <a:close/>
                  <a:moveTo>
                    <a:pt x="56" y="292"/>
                  </a:moveTo>
                  <a:lnTo>
                    <a:pt x="56" y="294"/>
                  </a:lnTo>
                  <a:lnTo>
                    <a:pt x="56" y="292"/>
                  </a:lnTo>
                  <a:close/>
                  <a:moveTo>
                    <a:pt x="50" y="294"/>
                  </a:moveTo>
                  <a:lnTo>
                    <a:pt x="50" y="296"/>
                  </a:lnTo>
                  <a:lnTo>
                    <a:pt x="50" y="294"/>
                  </a:lnTo>
                  <a:close/>
                  <a:moveTo>
                    <a:pt x="110" y="215"/>
                  </a:moveTo>
                  <a:lnTo>
                    <a:pt x="112" y="215"/>
                  </a:lnTo>
                  <a:lnTo>
                    <a:pt x="110" y="215"/>
                  </a:lnTo>
                  <a:close/>
                  <a:moveTo>
                    <a:pt x="135" y="121"/>
                  </a:moveTo>
                  <a:lnTo>
                    <a:pt x="135" y="123"/>
                  </a:lnTo>
                  <a:lnTo>
                    <a:pt x="135" y="121"/>
                  </a:lnTo>
                  <a:close/>
                  <a:moveTo>
                    <a:pt x="139" y="171"/>
                  </a:moveTo>
                  <a:lnTo>
                    <a:pt x="139" y="173"/>
                  </a:lnTo>
                  <a:lnTo>
                    <a:pt x="139" y="171"/>
                  </a:lnTo>
                  <a:close/>
                  <a:moveTo>
                    <a:pt x="106" y="223"/>
                  </a:moveTo>
                  <a:lnTo>
                    <a:pt x="106" y="225"/>
                  </a:lnTo>
                  <a:lnTo>
                    <a:pt x="106" y="223"/>
                  </a:lnTo>
                  <a:close/>
                  <a:moveTo>
                    <a:pt x="156" y="115"/>
                  </a:moveTo>
                  <a:lnTo>
                    <a:pt x="156" y="117"/>
                  </a:lnTo>
                  <a:lnTo>
                    <a:pt x="156" y="115"/>
                  </a:lnTo>
                  <a:close/>
                  <a:moveTo>
                    <a:pt x="29" y="317"/>
                  </a:moveTo>
                  <a:lnTo>
                    <a:pt x="31" y="317"/>
                  </a:lnTo>
                  <a:lnTo>
                    <a:pt x="29" y="317"/>
                  </a:lnTo>
                  <a:close/>
                  <a:moveTo>
                    <a:pt x="158" y="123"/>
                  </a:moveTo>
                  <a:lnTo>
                    <a:pt x="160" y="123"/>
                  </a:lnTo>
                  <a:lnTo>
                    <a:pt x="158" y="123"/>
                  </a:lnTo>
                  <a:close/>
                  <a:moveTo>
                    <a:pt x="18" y="428"/>
                  </a:moveTo>
                  <a:lnTo>
                    <a:pt x="18" y="430"/>
                  </a:lnTo>
                  <a:lnTo>
                    <a:pt x="18" y="428"/>
                  </a:lnTo>
                  <a:close/>
                  <a:moveTo>
                    <a:pt x="204" y="52"/>
                  </a:moveTo>
                  <a:lnTo>
                    <a:pt x="206" y="52"/>
                  </a:lnTo>
                  <a:lnTo>
                    <a:pt x="204" y="52"/>
                  </a:lnTo>
                  <a:close/>
                  <a:moveTo>
                    <a:pt x="54" y="457"/>
                  </a:moveTo>
                  <a:lnTo>
                    <a:pt x="56" y="457"/>
                  </a:lnTo>
                  <a:lnTo>
                    <a:pt x="54" y="457"/>
                  </a:lnTo>
                  <a:close/>
                  <a:moveTo>
                    <a:pt x="148" y="163"/>
                  </a:moveTo>
                  <a:lnTo>
                    <a:pt x="150" y="163"/>
                  </a:lnTo>
                  <a:lnTo>
                    <a:pt x="148" y="163"/>
                  </a:lnTo>
                  <a:close/>
                  <a:moveTo>
                    <a:pt x="104" y="234"/>
                  </a:moveTo>
                  <a:lnTo>
                    <a:pt x="104" y="236"/>
                  </a:lnTo>
                  <a:lnTo>
                    <a:pt x="104" y="234"/>
                  </a:lnTo>
                  <a:close/>
                  <a:moveTo>
                    <a:pt x="73" y="284"/>
                  </a:moveTo>
                  <a:lnTo>
                    <a:pt x="73" y="286"/>
                  </a:lnTo>
                  <a:lnTo>
                    <a:pt x="73" y="284"/>
                  </a:lnTo>
                  <a:close/>
                  <a:moveTo>
                    <a:pt x="29" y="317"/>
                  </a:moveTo>
                  <a:lnTo>
                    <a:pt x="31" y="317"/>
                  </a:lnTo>
                  <a:lnTo>
                    <a:pt x="29" y="317"/>
                  </a:lnTo>
                  <a:close/>
                  <a:moveTo>
                    <a:pt x="66" y="279"/>
                  </a:moveTo>
                  <a:lnTo>
                    <a:pt x="66" y="280"/>
                  </a:lnTo>
                  <a:lnTo>
                    <a:pt x="66" y="279"/>
                  </a:lnTo>
                  <a:close/>
                  <a:moveTo>
                    <a:pt x="4" y="382"/>
                  </a:moveTo>
                  <a:lnTo>
                    <a:pt x="6" y="382"/>
                  </a:lnTo>
                  <a:lnTo>
                    <a:pt x="4" y="382"/>
                  </a:lnTo>
                  <a:close/>
                  <a:moveTo>
                    <a:pt x="100" y="263"/>
                  </a:moveTo>
                  <a:lnTo>
                    <a:pt x="100" y="265"/>
                  </a:lnTo>
                  <a:lnTo>
                    <a:pt x="100" y="263"/>
                  </a:lnTo>
                  <a:close/>
                  <a:moveTo>
                    <a:pt x="6" y="375"/>
                  </a:moveTo>
                  <a:lnTo>
                    <a:pt x="8" y="375"/>
                  </a:lnTo>
                  <a:lnTo>
                    <a:pt x="6" y="375"/>
                  </a:lnTo>
                  <a:close/>
                  <a:moveTo>
                    <a:pt x="68" y="292"/>
                  </a:moveTo>
                  <a:lnTo>
                    <a:pt x="68" y="294"/>
                  </a:lnTo>
                  <a:lnTo>
                    <a:pt x="68" y="292"/>
                  </a:lnTo>
                  <a:close/>
                  <a:moveTo>
                    <a:pt x="23" y="394"/>
                  </a:moveTo>
                  <a:lnTo>
                    <a:pt x="23" y="396"/>
                  </a:lnTo>
                  <a:lnTo>
                    <a:pt x="23" y="394"/>
                  </a:lnTo>
                  <a:close/>
                  <a:moveTo>
                    <a:pt x="110" y="213"/>
                  </a:moveTo>
                  <a:lnTo>
                    <a:pt x="112" y="213"/>
                  </a:lnTo>
                  <a:lnTo>
                    <a:pt x="110" y="213"/>
                  </a:lnTo>
                  <a:close/>
                  <a:moveTo>
                    <a:pt x="206" y="54"/>
                  </a:moveTo>
                  <a:lnTo>
                    <a:pt x="206" y="56"/>
                  </a:lnTo>
                  <a:lnTo>
                    <a:pt x="206" y="54"/>
                  </a:lnTo>
                  <a:close/>
                  <a:moveTo>
                    <a:pt x="56" y="290"/>
                  </a:moveTo>
                  <a:lnTo>
                    <a:pt x="58" y="290"/>
                  </a:lnTo>
                  <a:lnTo>
                    <a:pt x="56" y="290"/>
                  </a:lnTo>
                  <a:close/>
                  <a:moveTo>
                    <a:pt x="206" y="46"/>
                  </a:moveTo>
                  <a:lnTo>
                    <a:pt x="208" y="46"/>
                  </a:lnTo>
                  <a:lnTo>
                    <a:pt x="206" y="46"/>
                  </a:lnTo>
                  <a:close/>
                  <a:moveTo>
                    <a:pt x="8" y="392"/>
                  </a:moveTo>
                  <a:lnTo>
                    <a:pt x="8" y="394"/>
                  </a:lnTo>
                  <a:lnTo>
                    <a:pt x="8" y="392"/>
                  </a:lnTo>
                  <a:close/>
                  <a:moveTo>
                    <a:pt x="115" y="196"/>
                  </a:moveTo>
                  <a:lnTo>
                    <a:pt x="115" y="198"/>
                  </a:lnTo>
                  <a:lnTo>
                    <a:pt x="115" y="196"/>
                  </a:lnTo>
                  <a:close/>
                  <a:moveTo>
                    <a:pt x="131" y="177"/>
                  </a:moveTo>
                  <a:lnTo>
                    <a:pt x="131" y="179"/>
                  </a:lnTo>
                  <a:lnTo>
                    <a:pt x="131" y="177"/>
                  </a:lnTo>
                  <a:close/>
                  <a:moveTo>
                    <a:pt x="8" y="355"/>
                  </a:moveTo>
                  <a:lnTo>
                    <a:pt x="8" y="357"/>
                  </a:lnTo>
                  <a:lnTo>
                    <a:pt x="8" y="355"/>
                  </a:lnTo>
                  <a:close/>
                  <a:moveTo>
                    <a:pt x="108" y="234"/>
                  </a:moveTo>
                  <a:lnTo>
                    <a:pt x="110" y="234"/>
                  </a:lnTo>
                  <a:lnTo>
                    <a:pt x="108" y="234"/>
                  </a:lnTo>
                  <a:close/>
                  <a:moveTo>
                    <a:pt x="148" y="154"/>
                  </a:moveTo>
                  <a:lnTo>
                    <a:pt x="148" y="156"/>
                  </a:lnTo>
                  <a:lnTo>
                    <a:pt x="148" y="154"/>
                  </a:lnTo>
                  <a:close/>
                  <a:moveTo>
                    <a:pt x="6" y="380"/>
                  </a:moveTo>
                  <a:lnTo>
                    <a:pt x="6" y="382"/>
                  </a:lnTo>
                  <a:lnTo>
                    <a:pt x="6" y="380"/>
                  </a:lnTo>
                  <a:close/>
                  <a:moveTo>
                    <a:pt x="148" y="142"/>
                  </a:moveTo>
                  <a:lnTo>
                    <a:pt x="148" y="144"/>
                  </a:lnTo>
                  <a:lnTo>
                    <a:pt x="148" y="142"/>
                  </a:lnTo>
                  <a:close/>
                  <a:moveTo>
                    <a:pt x="54" y="455"/>
                  </a:moveTo>
                  <a:lnTo>
                    <a:pt x="54" y="457"/>
                  </a:lnTo>
                  <a:lnTo>
                    <a:pt x="54" y="455"/>
                  </a:lnTo>
                  <a:close/>
                  <a:moveTo>
                    <a:pt x="175" y="88"/>
                  </a:moveTo>
                  <a:lnTo>
                    <a:pt x="177" y="88"/>
                  </a:lnTo>
                  <a:lnTo>
                    <a:pt x="175" y="88"/>
                  </a:lnTo>
                  <a:close/>
                  <a:moveTo>
                    <a:pt x="115" y="213"/>
                  </a:moveTo>
                  <a:lnTo>
                    <a:pt x="117" y="213"/>
                  </a:lnTo>
                  <a:lnTo>
                    <a:pt x="115" y="213"/>
                  </a:lnTo>
                  <a:close/>
                  <a:moveTo>
                    <a:pt x="152" y="111"/>
                  </a:moveTo>
                  <a:lnTo>
                    <a:pt x="154" y="111"/>
                  </a:lnTo>
                  <a:lnTo>
                    <a:pt x="152" y="111"/>
                  </a:lnTo>
                  <a:close/>
                  <a:moveTo>
                    <a:pt x="114" y="209"/>
                  </a:moveTo>
                  <a:lnTo>
                    <a:pt x="114" y="211"/>
                  </a:lnTo>
                  <a:lnTo>
                    <a:pt x="114" y="209"/>
                  </a:lnTo>
                  <a:close/>
                  <a:moveTo>
                    <a:pt x="75" y="434"/>
                  </a:moveTo>
                  <a:lnTo>
                    <a:pt x="75" y="436"/>
                  </a:lnTo>
                  <a:lnTo>
                    <a:pt x="75" y="434"/>
                  </a:lnTo>
                  <a:close/>
                  <a:moveTo>
                    <a:pt x="117" y="213"/>
                  </a:moveTo>
                  <a:lnTo>
                    <a:pt x="117" y="215"/>
                  </a:lnTo>
                  <a:lnTo>
                    <a:pt x="117" y="213"/>
                  </a:lnTo>
                  <a:close/>
                  <a:moveTo>
                    <a:pt x="92" y="428"/>
                  </a:moveTo>
                  <a:lnTo>
                    <a:pt x="94" y="428"/>
                  </a:lnTo>
                  <a:lnTo>
                    <a:pt x="92" y="428"/>
                  </a:lnTo>
                  <a:close/>
                  <a:moveTo>
                    <a:pt x="131" y="133"/>
                  </a:moveTo>
                  <a:lnTo>
                    <a:pt x="133" y="133"/>
                  </a:lnTo>
                  <a:lnTo>
                    <a:pt x="131" y="133"/>
                  </a:lnTo>
                  <a:close/>
                  <a:moveTo>
                    <a:pt x="198" y="61"/>
                  </a:moveTo>
                  <a:lnTo>
                    <a:pt x="198" y="63"/>
                  </a:lnTo>
                  <a:lnTo>
                    <a:pt x="198" y="61"/>
                  </a:lnTo>
                  <a:close/>
                  <a:moveTo>
                    <a:pt x="75" y="282"/>
                  </a:moveTo>
                  <a:lnTo>
                    <a:pt x="75" y="284"/>
                  </a:lnTo>
                  <a:lnTo>
                    <a:pt x="75" y="282"/>
                  </a:lnTo>
                  <a:close/>
                  <a:moveTo>
                    <a:pt x="144" y="109"/>
                  </a:moveTo>
                  <a:lnTo>
                    <a:pt x="144" y="111"/>
                  </a:lnTo>
                  <a:lnTo>
                    <a:pt x="144" y="109"/>
                  </a:lnTo>
                  <a:close/>
                  <a:moveTo>
                    <a:pt x="150" y="142"/>
                  </a:moveTo>
                  <a:lnTo>
                    <a:pt x="152" y="142"/>
                  </a:lnTo>
                  <a:lnTo>
                    <a:pt x="150" y="142"/>
                  </a:lnTo>
                  <a:close/>
                  <a:moveTo>
                    <a:pt x="69" y="290"/>
                  </a:moveTo>
                  <a:lnTo>
                    <a:pt x="71" y="290"/>
                  </a:lnTo>
                  <a:lnTo>
                    <a:pt x="69" y="290"/>
                  </a:lnTo>
                  <a:close/>
                  <a:moveTo>
                    <a:pt x="58" y="453"/>
                  </a:moveTo>
                  <a:lnTo>
                    <a:pt x="60" y="453"/>
                  </a:lnTo>
                  <a:lnTo>
                    <a:pt x="58" y="453"/>
                  </a:lnTo>
                  <a:close/>
                  <a:moveTo>
                    <a:pt x="77" y="277"/>
                  </a:moveTo>
                  <a:lnTo>
                    <a:pt x="79" y="277"/>
                  </a:lnTo>
                  <a:lnTo>
                    <a:pt x="77" y="277"/>
                  </a:lnTo>
                  <a:close/>
                  <a:moveTo>
                    <a:pt x="39" y="309"/>
                  </a:moveTo>
                  <a:lnTo>
                    <a:pt x="41" y="309"/>
                  </a:lnTo>
                  <a:lnTo>
                    <a:pt x="39" y="309"/>
                  </a:lnTo>
                  <a:close/>
                  <a:moveTo>
                    <a:pt x="154" y="138"/>
                  </a:moveTo>
                  <a:lnTo>
                    <a:pt x="156" y="138"/>
                  </a:lnTo>
                  <a:lnTo>
                    <a:pt x="154" y="138"/>
                  </a:lnTo>
                  <a:close/>
                  <a:moveTo>
                    <a:pt x="8" y="403"/>
                  </a:moveTo>
                  <a:lnTo>
                    <a:pt x="10" y="403"/>
                  </a:lnTo>
                  <a:lnTo>
                    <a:pt x="8" y="403"/>
                  </a:lnTo>
                  <a:close/>
                  <a:moveTo>
                    <a:pt x="58" y="286"/>
                  </a:moveTo>
                  <a:lnTo>
                    <a:pt x="60" y="286"/>
                  </a:lnTo>
                  <a:lnTo>
                    <a:pt x="58" y="286"/>
                  </a:lnTo>
                  <a:close/>
                  <a:moveTo>
                    <a:pt x="104" y="244"/>
                  </a:moveTo>
                  <a:lnTo>
                    <a:pt x="104" y="246"/>
                  </a:lnTo>
                  <a:lnTo>
                    <a:pt x="104" y="244"/>
                  </a:lnTo>
                  <a:close/>
                  <a:moveTo>
                    <a:pt x="68" y="277"/>
                  </a:moveTo>
                  <a:lnTo>
                    <a:pt x="68" y="279"/>
                  </a:lnTo>
                  <a:lnTo>
                    <a:pt x="68" y="277"/>
                  </a:lnTo>
                  <a:close/>
                  <a:moveTo>
                    <a:pt x="98" y="242"/>
                  </a:moveTo>
                  <a:lnTo>
                    <a:pt x="98" y="244"/>
                  </a:lnTo>
                  <a:lnTo>
                    <a:pt x="98" y="242"/>
                  </a:lnTo>
                  <a:close/>
                  <a:moveTo>
                    <a:pt x="46" y="304"/>
                  </a:moveTo>
                  <a:lnTo>
                    <a:pt x="48" y="304"/>
                  </a:lnTo>
                  <a:lnTo>
                    <a:pt x="46" y="304"/>
                  </a:lnTo>
                  <a:close/>
                  <a:moveTo>
                    <a:pt x="156" y="121"/>
                  </a:moveTo>
                  <a:lnTo>
                    <a:pt x="156" y="123"/>
                  </a:lnTo>
                  <a:lnTo>
                    <a:pt x="156" y="121"/>
                  </a:lnTo>
                  <a:close/>
                  <a:moveTo>
                    <a:pt x="106" y="217"/>
                  </a:moveTo>
                  <a:lnTo>
                    <a:pt x="106" y="219"/>
                  </a:lnTo>
                  <a:lnTo>
                    <a:pt x="106" y="217"/>
                  </a:lnTo>
                  <a:close/>
                  <a:moveTo>
                    <a:pt x="54" y="455"/>
                  </a:moveTo>
                  <a:lnTo>
                    <a:pt x="54" y="457"/>
                  </a:lnTo>
                  <a:lnTo>
                    <a:pt x="54" y="455"/>
                  </a:lnTo>
                  <a:close/>
                  <a:moveTo>
                    <a:pt x="217" y="60"/>
                  </a:moveTo>
                  <a:lnTo>
                    <a:pt x="217" y="61"/>
                  </a:lnTo>
                  <a:lnTo>
                    <a:pt x="217" y="60"/>
                  </a:lnTo>
                  <a:close/>
                  <a:moveTo>
                    <a:pt x="208" y="44"/>
                  </a:moveTo>
                  <a:lnTo>
                    <a:pt x="210" y="44"/>
                  </a:lnTo>
                  <a:lnTo>
                    <a:pt x="208" y="44"/>
                  </a:lnTo>
                  <a:close/>
                  <a:moveTo>
                    <a:pt x="91" y="248"/>
                  </a:moveTo>
                  <a:lnTo>
                    <a:pt x="92" y="248"/>
                  </a:lnTo>
                  <a:lnTo>
                    <a:pt x="91" y="248"/>
                  </a:lnTo>
                  <a:close/>
                  <a:moveTo>
                    <a:pt x="20" y="401"/>
                  </a:moveTo>
                  <a:lnTo>
                    <a:pt x="21" y="401"/>
                  </a:lnTo>
                  <a:lnTo>
                    <a:pt x="20" y="401"/>
                  </a:lnTo>
                  <a:close/>
                  <a:moveTo>
                    <a:pt x="56" y="307"/>
                  </a:moveTo>
                  <a:lnTo>
                    <a:pt x="56" y="309"/>
                  </a:lnTo>
                  <a:lnTo>
                    <a:pt x="56" y="307"/>
                  </a:lnTo>
                  <a:close/>
                  <a:moveTo>
                    <a:pt x="108" y="219"/>
                  </a:moveTo>
                  <a:lnTo>
                    <a:pt x="108" y="221"/>
                  </a:lnTo>
                  <a:lnTo>
                    <a:pt x="108" y="219"/>
                  </a:lnTo>
                  <a:close/>
                  <a:moveTo>
                    <a:pt x="8" y="403"/>
                  </a:moveTo>
                  <a:lnTo>
                    <a:pt x="8" y="405"/>
                  </a:lnTo>
                  <a:lnTo>
                    <a:pt x="8" y="403"/>
                  </a:lnTo>
                  <a:close/>
                  <a:moveTo>
                    <a:pt x="10" y="400"/>
                  </a:moveTo>
                  <a:lnTo>
                    <a:pt x="10" y="401"/>
                  </a:lnTo>
                  <a:lnTo>
                    <a:pt x="10" y="400"/>
                  </a:lnTo>
                  <a:close/>
                  <a:moveTo>
                    <a:pt x="115" y="198"/>
                  </a:moveTo>
                  <a:lnTo>
                    <a:pt x="117" y="198"/>
                  </a:lnTo>
                  <a:lnTo>
                    <a:pt x="115" y="198"/>
                  </a:lnTo>
                  <a:close/>
                  <a:moveTo>
                    <a:pt x="146" y="109"/>
                  </a:moveTo>
                  <a:lnTo>
                    <a:pt x="148" y="109"/>
                  </a:lnTo>
                  <a:lnTo>
                    <a:pt x="146" y="109"/>
                  </a:lnTo>
                  <a:close/>
                  <a:moveTo>
                    <a:pt x="102" y="238"/>
                  </a:moveTo>
                  <a:lnTo>
                    <a:pt x="104" y="238"/>
                  </a:lnTo>
                  <a:lnTo>
                    <a:pt x="102" y="238"/>
                  </a:lnTo>
                  <a:close/>
                  <a:moveTo>
                    <a:pt x="71" y="288"/>
                  </a:moveTo>
                  <a:lnTo>
                    <a:pt x="73" y="288"/>
                  </a:lnTo>
                  <a:lnTo>
                    <a:pt x="71" y="288"/>
                  </a:lnTo>
                  <a:close/>
                  <a:moveTo>
                    <a:pt x="39" y="311"/>
                  </a:moveTo>
                  <a:lnTo>
                    <a:pt x="41" y="311"/>
                  </a:lnTo>
                  <a:lnTo>
                    <a:pt x="39" y="311"/>
                  </a:lnTo>
                  <a:close/>
                  <a:moveTo>
                    <a:pt x="25" y="328"/>
                  </a:moveTo>
                  <a:lnTo>
                    <a:pt x="25" y="330"/>
                  </a:lnTo>
                  <a:lnTo>
                    <a:pt x="25" y="328"/>
                  </a:lnTo>
                  <a:close/>
                  <a:moveTo>
                    <a:pt x="87" y="426"/>
                  </a:moveTo>
                  <a:lnTo>
                    <a:pt x="89" y="426"/>
                  </a:lnTo>
                  <a:lnTo>
                    <a:pt x="87" y="426"/>
                  </a:lnTo>
                  <a:close/>
                  <a:moveTo>
                    <a:pt x="50" y="304"/>
                  </a:moveTo>
                  <a:lnTo>
                    <a:pt x="52" y="304"/>
                  </a:lnTo>
                  <a:lnTo>
                    <a:pt x="50" y="304"/>
                  </a:lnTo>
                  <a:close/>
                  <a:moveTo>
                    <a:pt x="112" y="232"/>
                  </a:moveTo>
                  <a:lnTo>
                    <a:pt x="112" y="234"/>
                  </a:lnTo>
                  <a:lnTo>
                    <a:pt x="112" y="232"/>
                  </a:lnTo>
                  <a:close/>
                  <a:moveTo>
                    <a:pt x="91" y="246"/>
                  </a:moveTo>
                  <a:lnTo>
                    <a:pt x="92" y="246"/>
                  </a:lnTo>
                  <a:lnTo>
                    <a:pt x="91" y="246"/>
                  </a:lnTo>
                  <a:close/>
                  <a:moveTo>
                    <a:pt x="110" y="231"/>
                  </a:moveTo>
                  <a:lnTo>
                    <a:pt x="110" y="232"/>
                  </a:lnTo>
                  <a:lnTo>
                    <a:pt x="110" y="231"/>
                  </a:lnTo>
                  <a:close/>
                  <a:moveTo>
                    <a:pt x="62" y="290"/>
                  </a:moveTo>
                  <a:lnTo>
                    <a:pt x="64" y="290"/>
                  </a:lnTo>
                  <a:lnTo>
                    <a:pt x="62" y="290"/>
                  </a:lnTo>
                  <a:close/>
                  <a:moveTo>
                    <a:pt x="142" y="127"/>
                  </a:moveTo>
                  <a:lnTo>
                    <a:pt x="142" y="129"/>
                  </a:lnTo>
                  <a:lnTo>
                    <a:pt x="142" y="127"/>
                  </a:lnTo>
                  <a:close/>
                  <a:moveTo>
                    <a:pt x="73" y="434"/>
                  </a:moveTo>
                  <a:lnTo>
                    <a:pt x="73" y="436"/>
                  </a:lnTo>
                  <a:lnTo>
                    <a:pt x="73" y="434"/>
                  </a:lnTo>
                  <a:close/>
                  <a:moveTo>
                    <a:pt x="33" y="455"/>
                  </a:moveTo>
                  <a:lnTo>
                    <a:pt x="33" y="457"/>
                  </a:lnTo>
                  <a:lnTo>
                    <a:pt x="33" y="455"/>
                  </a:lnTo>
                  <a:close/>
                  <a:moveTo>
                    <a:pt x="163" y="88"/>
                  </a:moveTo>
                  <a:lnTo>
                    <a:pt x="165" y="88"/>
                  </a:lnTo>
                  <a:lnTo>
                    <a:pt x="163" y="88"/>
                  </a:lnTo>
                  <a:close/>
                  <a:moveTo>
                    <a:pt x="14" y="430"/>
                  </a:moveTo>
                  <a:lnTo>
                    <a:pt x="14" y="432"/>
                  </a:lnTo>
                  <a:lnTo>
                    <a:pt x="14" y="430"/>
                  </a:lnTo>
                  <a:close/>
                  <a:moveTo>
                    <a:pt x="46" y="304"/>
                  </a:moveTo>
                  <a:lnTo>
                    <a:pt x="48" y="304"/>
                  </a:lnTo>
                  <a:lnTo>
                    <a:pt x="46" y="304"/>
                  </a:lnTo>
                  <a:close/>
                  <a:moveTo>
                    <a:pt x="154" y="123"/>
                  </a:moveTo>
                  <a:lnTo>
                    <a:pt x="156" y="123"/>
                  </a:lnTo>
                  <a:lnTo>
                    <a:pt x="154" y="123"/>
                  </a:lnTo>
                  <a:close/>
                  <a:moveTo>
                    <a:pt x="89" y="248"/>
                  </a:moveTo>
                  <a:lnTo>
                    <a:pt x="89" y="250"/>
                  </a:lnTo>
                  <a:lnTo>
                    <a:pt x="89" y="248"/>
                  </a:lnTo>
                  <a:close/>
                  <a:moveTo>
                    <a:pt x="121" y="198"/>
                  </a:moveTo>
                  <a:lnTo>
                    <a:pt x="121" y="200"/>
                  </a:lnTo>
                  <a:lnTo>
                    <a:pt x="121" y="198"/>
                  </a:lnTo>
                  <a:close/>
                  <a:moveTo>
                    <a:pt x="92" y="248"/>
                  </a:moveTo>
                  <a:lnTo>
                    <a:pt x="94" y="248"/>
                  </a:lnTo>
                  <a:lnTo>
                    <a:pt x="92" y="248"/>
                  </a:lnTo>
                  <a:close/>
                  <a:moveTo>
                    <a:pt x="46" y="300"/>
                  </a:moveTo>
                  <a:lnTo>
                    <a:pt x="48" y="300"/>
                  </a:lnTo>
                  <a:lnTo>
                    <a:pt x="46" y="300"/>
                  </a:lnTo>
                  <a:close/>
                  <a:moveTo>
                    <a:pt x="56" y="307"/>
                  </a:moveTo>
                  <a:lnTo>
                    <a:pt x="56" y="309"/>
                  </a:lnTo>
                  <a:lnTo>
                    <a:pt x="56" y="307"/>
                  </a:lnTo>
                  <a:close/>
                  <a:moveTo>
                    <a:pt x="31" y="315"/>
                  </a:moveTo>
                  <a:lnTo>
                    <a:pt x="33" y="315"/>
                  </a:lnTo>
                  <a:lnTo>
                    <a:pt x="31" y="315"/>
                  </a:lnTo>
                  <a:close/>
                  <a:moveTo>
                    <a:pt x="110" y="215"/>
                  </a:moveTo>
                  <a:lnTo>
                    <a:pt x="112" y="215"/>
                  </a:lnTo>
                  <a:lnTo>
                    <a:pt x="110" y="215"/>
                  </a:lnTo>
                  <a:close/>
                  <a:moveTo>
                    <a:pt x="54" y="298"/>
                  </a:moveTo>
                  <a:lnTo>
                    <a:pt x="56" y="298"/>
                  </a:lnTo>
                  <a:lnTo>
                    <a:pt x="54" y="298"/>
                  </a:lnTo>
                  <a:close/>
                  <a:moveTo>
                    <a:pt x="62" y="290"/>
                  </a:moveTo>
                  <a:lnTo>
                    <a:pt x="64" y="290"/>
                  </a:lnTo>
                  <a:lnTo>
                    <a:pt x="62" y="290"/>
                  </a:lnTo>
                  <a:close/>
                  <a:moveTo>
                    <a:pt x="119" y="196"/>
                  </a:moveTo>
                  <a:lnTo>
                    <a:pt x="119" y="198"/>
                  </a:lnTo>
                  <a:lnTo>
                    <a:pt x="119" y="196"/>
                  </a:lnTo>
                  <a:close/>
                  <a:moveTo>
                    <a:pt x="4" y="378"/>
                  </a:moveTo>
                  <a:lnTo>
                    <a:pt x="4" y="380"/>
                  </a:lnTo>
                  <a:lnTo>
                    <a:pt x="4" y="378"/>
                  </a:lnTo>
                  <a:close/>
                  <a:moveTo>
                    <a:pt x="144" y="146"/>
                  </a:moveTo>
                  <a:lnTo>
                    <a:pt x="144" y="148"/>
                  </a:lnTo>
                  <a:lnTo>
                    <a:pt x="144" y="146"/>
                  </a:lnTo>
                  <a:close/>
                  <a:moveTo>
                    <a:pt x="56" y="294"/>
                  </a:moveTo>
                  <a:lnTo>
                    <a:pt x="56" y="296"/>
                  </a:lnTo>
                  <a:lnTo>
                    <a:pt x="56" y="294"/>
                  </a:lnTo>
                  <a:close/>
                  <a:moveTo>
                    <a:pt x="6" y="378"/>
                  </a:moveTo>
                  <a:lnTo>
                    <a:pt x="6" y="380"/>
                  </a:lnTo>
                  <a:lnTo>
                    <a:pt x="6" y="378"/>
                  </a:lnTo>
                  <a:close/>
                  <a:moveTo>
                    <a:pt x="92" y="428"/>
                  </a:moveTo>
                  <a:lnTo>
                    <a:pt x="94" y="428"/>
                  </a:lnTo>
                  <a:lnTo>
                    <a:pt x="92" y="428"/>
                  </a:lnTo>
                  <a:close/>
                  <a:moveTo>
                    <a:pt x="12" y="382"/>
                  </a:moveTo>
                  <a:lnTo>
                    <a:pt x="14" y="382"/>
                  </a:lnTo>
                  <a:lnTo>
                    <a:pt x="12" y="382"/>
                  </a:lnTo>
                  <a:close/>
                  <a:moveTo>
                    <a:pt x="44" y="304"/>
                  </a:moveTo>
                  <a:lnTo>
                    <a:pt x="44" y="305"/>
                  </a:lnTo>
                  <a:lnTo>
                    <a:pt x="44" y="304"/>
                  </a:lnTo>
                  <a:close/>
                  <a:moveTo>
                    <a:pt x="10" y="415"/>
                  </a:moveTo>
                  <a:lnTo>
                    <a:pt x="10" y="417"/>
                  </a:lnTo>
                  <a:lnTo>
                    <a:pt x="10" y="415"/>
                  </a:lnTo>
                  <a:close/>
                  <a:moveTo>
                    <a:pt x="125" y="181"/>
                  </a:moveTo>
                  <a:lnTo>
                    <a:pt x="125" y="182"/>
                  </a:lnTo>
                  <a:lnTo>
                    <a:pt x="125" y="181"/>
                  </a:lnTo>
                  <a:close/>
                  <a:moveTo>
                    <a:pt x="12" y="432"/>
                  </a:moveTo>
                  <a:lnTo>
                    <a:pt x="14" y="432"/>
                  </a:lnTo>
                  <a:lnTo>
                    <a:pt x="12" y="432"/>
                  </a:lnTo>
                  <a:close/>
                  <a:moveTo>
                    <a:pt x="92" y="246"/>
                  </a:moveTo>
                  <a:lnTo>
                    <a:pt x="92" y="248"/>
                  </a:lnTo>
                  <a:lnTo>
                    <a:pt x="92" y="246"/>
                  </a:lnTo>
                  <a:close/>
                  <a:moveTo>
                    <a:pt x="92" y="244"/>
                  </a:moveTo>
                  <a:lnTo>
                    <a:pt x="92" y="246"/>
                  </a:lnTo>
                  <a:lnTo>
                    <a:pt x="92" y="244"/>
                  </a:lnTo>
                  <a:close/>
                  <a:moveTo>
                    <a:pt x="117" y="184"/>
                  </a:moveTo>
                  <a:lnTo>
                    <a:pt x="119" y="184"/>
                  </a:lnTo>
                  <a:lnTo>
                    <a:pt x="117" y="184"/>
                  </a:lnTo>
                  <a:close/>
                  <a:moveTo>
                    <a:pt x="16" y="405"/>
                  </a:moveTo>
                  <a:lnTo>
                    <a:pt x="18" y="405"/>
                  </a:lnTo>
                  <a:lnTo>
                    <a:pt x="16" y="405"/>
                  </a:lnTo>
                  <a:close/>
                  <a:moveTo>
                    <a:pt x="73" y="428"/>
                  </a:moveTo>
                  <a:lnTo>
                    <a:pt x="73" y="430"/>
                  </a:lnTo>
                  <a:lnTo>
                    <a:pt x="73" y="428"/>
                  </a:lnTo>
                  <a:close/>
                  <a:moveTo>
                    <a:pt x="14" y="403"/>
                  </a:moveTo>
                  <a:lnTo>
                    <a:pt x="14" y="405"/>
                  </a:lnTo>
                  <a:lnTo>
                    <a:pt x="14" y="403"/>
                  </a:lnTo>
                  <a:close/>
                  <a:moveTo>
                    <a:pt x="75" y="432"/>
                  </a:moveTo>
                  <a:lnTo>
                    <a:pt x="75" y="434"/>
                  </a:lnTo>
                  <a:lnTo>
                    <a:pt x="75" y="432"/>
                  </a:lnTo>
                  <a:close/>
                  <a:moveTo>
                    <a:pt x="137" y="158"/>
                  </a:moveTo>
                  <a:lnTo>
                    <a:pt x="139" y="158"/>
                  </a:lnTo>
                  <a:lnTo>
                    <a:pt x="137" y="158"/>
                  </a:lnTo>
                  <a:close/>
                  <a:moveTo>
                    <a:pt x="104" y="221"/>
                  </a:moveTo>
                  <a:lnTo>
                    <a:pt x="104" y="223"/>
                  </a:lnTo>
                  <a:lnTo>
                    <a:pt x="104" y="221"/>
                  </a:lnTo>
                  <a:close/>
                  <a:moveTo>
                    <a:pt x="14" y="425"/>
                  </a:moveTo>
                  <a:lnTo>
                    <a:pt x="14" y="426"/>
                  </a:lnTo>
                  <a:lnTo>
                    <a:pt x="14" y="425"/>
                  </a:lnTo>
                  <a:close/>
                  <a:moveTo>
                    <a:pt x="119" y="186"/>
                  </a:moveTo>
                  <a:lnTo>
                    <a:pt x="119" y="188"/>
                  </a:lnTo>
                  <a:lnTo>
                    <a:pt x="119" y="186"/>
                  </a:lnTo>
                  <a:close/>
                  <a:moveTo>
                    <a:pt x="162" y="131"/>
                  </a:moveTo>
                  <a:lnTo>
                    <a:pt x="163" y="131"/>
                  </a:lnTo>
                  <a:lnTo>
                    <a:pt x="162" y="131"/>
                  </a:lnTo>
                  <a:close/>
                  <a:moveTo>
                    <a:pt x="48" y="300"/>
                  </a:moveTo>
                  <a:lnTo>
                    <a:pt x="48" y="302"/>
                  </a:lnTo>
                  <a:lnTo>
                    <a:pt x="48" y="300"/>
                  </a:lnTo>
                  <a:close/>
                  <a:moveTo>
                    <a:pt x="127" y="184"/>
                  </a:moveTo>
                  <a:lnTo>
                    <a:pt x="129" y="184"/>
                  </a:lnTo>
                  <a:lnTo>
                    <a:pt x="127" y="184"/>
                  </a:lnTo>
                  <a:close/>
                  <a:moveTo>
                    <a:pt x="60" y="282"/>
                  </a:moveTo>
                  <a:lnTo>
                    <a:pt x="60" y="284"/>
                  </a:lnTo>
                  <a:lnTo>
                    <a:pt x="60" y="282"/>
                  </a:lnTo>
                  <a:close/>
                  <a:moveTo>
                    <a:pt x="108" y="232"/>
                  </a:moveTo>
                  <a:lnTo>
                    <a:pt x="110" y="232"/>
                  </a:lnTo>
                  <a:lnTo>
                    <a:pt x="108" y="232"/>
                  </a:lnTo>
                  <a:close/>
                  <a:moveTo>
                    <a:pt x="35" y="313"/>
                  </a:moveTo>
                  <a:lnTo>
                    <a:pt x="37" y="313"/>
                  </a:lnTo>
                  <a:lnTo>
                    <a:pt x="35" y="313"/>
                  </a:lnTo>
                  <a:close/>
                  <a:moveTo>
                    <a:pt x="56" y="292"/>
                  </a:moveTo>
                  <a:lnTo>
                    <a:pt x="58" y="292"/>
                  </a:lnTo>
                  <a:lnTo>
                    <a:pt x="56" y="292"/>
                  </a:lnTo>
                  <a:close/>
                  <a:moveTo>
                    <a:pt x="60" y="286"/>
                  </a:moveTo>
                  <a:lnTo>
                    <a:pt x="62" y="286"/>
                  </a:lnTo>
                  <a:lnTo>
                    <a:pt x="60" y="286"/>
                  </a:lnTo>
                  <a:close/>
                  <a:moveTo>
                    <a:pt x="10" y="338"/>
                  </a:moveTo>
                  <a:lnTo>
                    <a:pt x="10" y="340"/>
                  </a:lnTo>
                  <a:lnTo>
                    <a:pt x="10" y="338"/>
                  </a:lnTo>
                  <a:close/>
                  <a:moveTo>
                    <a:pt x="71" y="436"/>
                  </a:moveTo>
                  <a:lnTo>
                    <a:pt x="71" y="438"/>
                  </a:lnTo>
                  <a:lnTo>
                    <a:pt x="71" y="436"/>
                  </a:lnTo>
                  <a:close/>
                  <a:moveTo>
                    <a:pt x="75" y="282"/>
                  </a:moveTo>
                  <a:lnTo>
                    <a:pt x="75" y="284"/>
                  </a:lnTo>
                  <a:lnTo>
                    <a:pt x="75" y="282"/>
                  </a:lnTo>
                  <a:close/>
                  <a:moveTo>
                    <a:pt x="10" y="371"/>
                  </a:moveTo>
                  <a:lnTo>
                    <a:pt x="10" y="373"/>
                  </a:lnTo>
                  <a:lnTo>
                    <a:pt x="10" y="371"/>
                  </a:lnTo>
                  <a:close/>
                  <a:moveTo>
                    <a:pt x="41" y="307"/>
                  </a:moveTo>
                  <a:lnTo>
                    <a:pt x="41" y="309"/>
                  </a:lnTo>
                  <a:lnTo>
                    <a:pt x="41" y="307"/>
                  </a:lnTo>
                  <a:close/>
                  <a:moveTo>
                    <a:pt x="73" y="436"/>
                  </a:moveTo>
                  <a:lnTo>
                    <a:pt x="73" y="438"/>
                  </a:lnTo>
                  <a:lnTo>
                    <a:pt x="73" y="436"/>
                  </a:lnTo>
                  <a:close/>
                  <a:moveTo>
                    <a:pt x="110" y="215"/>
                  </a:moveTo>
                  <a:lnTo>
                    <a:pt x="110" y="217"/>
                  </a:lnTo>
                  <a:lnTo>
                    <a:pt x="110" y="215"/>
                  </a:lnTo>
                  <a:close/>
                  <a:moveTo>
                    <a:pt x="79" y="279"/>
                  </a:moveTo>
                  <a:lnTo>
                    <a:pt x="81" y="279"/>
                  </a:lnTo>
                  <a:lnTo>
                    <a:pt x="79" y="279"/>
                  </a:lnTo>
                  <a:close/>
                  <a:moveTo>
                    <a:pt x="89" y="430"/>
                  </a:moveTo>
                  <a:lnTo>
                    <a:pt x="89" y="432"/>
                  </a:lnTo>
                  <a:lnTo>
                    <a:pt x="89" y="430"/>
                  </a:lnTo>
                  <a:close/>
                  <a:moveTo>
                    <a:pt x="50" y="296"/>
                  </a:moveTo>
                  <a:lnTo>
                    <a:pt x="50" y="298"/>
                  </a:lnTo>
                  <a:lnTo>
                    <a:pt x="50" y="296"/>
                  </a:lnTo>
                  <a:close/>
                  <a:moveTo>
                    <a:pt x="56" y="288"/>
                  </a:moveTo>
                  <a:lnTo>
                    <a:pt x="56" y="290"/>
                  </a:lnTo>
                  <a:lnTo>
                    <a:pt x="56" y="288"/>
                  </a:lnTo>
                  <a:close/>
                  <a:moveTo>
                    <a:pt x="46" y="304"/>
                  </a:moveTo>
                  <a:lnTo>
                    <a:pt x="48" y="304"/>
                  </a:lnTo>
                  <a:lnTo>
                    <a:pt x="46" y="304"/>
                  </a:lnTo>
                  <a:close/>
                  <a:moveTo>
                    <a:pt x="46" y="304"/>
                  </a:moveTo>
                  <a:lnTo>
                    <a:pt x="48" y="304"/>
                  </a:lnTo>
                  <a:lnTo>
                    <a:pt x="46" y="304"/>
                  </a:lnTo>
                  <a:close/>
                  <a:moveTo>
                    <a:pt x="114" y="213"/>
                  </a:moveTo>
                  <a:lnTo>
                    <a:pt x="114" y="215"/>
                  </a:lnTo>
                  <a:lnTo>
                    <a:pt x="114" y="213"/>
                  </a:lnTo>
                  <a:close/>
                  <a:moveTo>
                    <a:pt x="6" y="386"/>
                  </a:moveTo>
                  <a:lnTo>
                    <a:pt x="8" y="386"/>
                  </a:lnTo>
                  <a:lnTo>
                    <a:pt x="6" y="386"/>
                  </a:lnTo>
                  <a:close/>
                  <a:moveTo>
                    <a:pt x="139" y="127"/>
                  </a:moveTo>
                  <a:lnTo>
                    <a:pt x="140" y="127"/>
                  </a:lnTo>
                  <a:lnTo>
                    <a:pt x="139" y="127"/>
                  </a:lnTo>
                  <a:close/>
                  <a:moveTo>
                    <a:pt x="108" y="213"/>
                  </a:moveTo>
                  <a:lnTo>
                    <a:pt x="110" y="213"/>
                  </a:lnTo>
                  <a:lnTo>
                    <a:pt x="108" y="213"/>
                  </a:lnTo>
                  <a:close/>
                  <a:moveTo>
                    <a:pt x="71" y="296"/>
                  </a:moveTo>
                  <a:lnTo>
                    <a:pt x="73" y="296"/>
                  </a:lnTo>
                  <a:lnTo>
                    <a:pt x="71" y="296"/>
                  </a:lnTo>
                  <a:close/>
                  <a:moveTo>
                    <a:pt x="10" y="400"/>
                  </a:moveTo>
                  <a:lnTo>
                    <a:pt x="10" y="401"/>
                  </a:lnTo>
                  <a:lnTo>
                    <a:pt x="10" y="400"/>
                  </a:lnTo>
                  <a:close/>
                  <a:moveTo>
                    <a:pt x="198" y="67"/>
                  </a:moveTo>
                  <a:lnTo>
                    <a:pt x="198" y="69"/>
                  </a:lnTo>
                  <a:lnTo>
                    <a:pt x="198" y="67"/>
                  </a:lnTo>
                  <a:close/>
                  <a:moveTo>
                    <a:pt x="112" y="211"/>
                  </a:moveTo>
                  <a:lnTo>
                    <a:pt x="114" y="211"/>
                  </a:lnTo>
                  <a:lnTo>
                    <a:pt x="112" y="211"/>
                  </a:lnTo>
                  <a:close/>
                  <a:moveTo>
                    <a:pt x="54" y="290"/>
                  </a:moveTo>
                  <a:lnTo>
                    <a:pt x="56" y="290"/>
                  </a:lnTo>
                  <a:lnTo>
                    <a:pt x="54" y="290"/>
                  </a:lnTo>
                  <a:close/>
                  <a:moveTo>
                    <a:pt x="142" y="106"/>
                  </a:moveTo>
                  <a:lnTo>
                    <a:pt x="144" y="106"/>
                  </a:lnTo>
                  <a:lnTo>
                    <a:pt x="142" y="106"/>
                  </a:lnTo>
                  <a:close/>
                  <a:moveTo>
                    <a:pt x="106" y="215"/>
                  </a:moveTo>
                  <a:lnTo>
                    <a:pt x="108" y="215"/>
                  </a:lnTo>
                  <a:lnTo>
                    <a:pt x="106" y="215"/>
                  </a:lnTo>
                  <a:close/>
                  <a:moveTo>
                    <a:pt x="102" y="231"/>
                  </a:moveTo>
                  <a:lnTo>
                    <a:pt x="104" y="231"/>
                  </a:lnTo>
                  <a:lnTo>
                    <a:pt x="102" y="231"/>
                  </a:lnTo>
                  <a:close/>
                  <a:moveTo>
                    <a:pt x="37" y="461"/>
                  </a:moveTo>
                  <a:lnTo>
                    <a:pt x="39" y="461"/>
                  </a:lnTo>
                  <a:lnTo>
                    <a:pt x="37" y="461"/>
                  </a:lnTo>
                  <a:close/>
                  <a:moveTo>
                    <a:pt x="146" y="142"/>
                  </a:moveTo>
                  <a:lnTo>
                    <a:pt x="146" y="144"/>
                  </a:lnTo>
                  <a:lnTo>
                    <a:pt x="146" y="142"/>
                  </a:lnTo>
                  <a:close/>
                  <a:moveTo>
                    <a:pt x="112" y="202"/>
                  </a:moveTo>
                  <a:lnTo>
                    <a:pt x="114" y="202"/>
                  </a:lnTo>
                  <a:lnTo>
                    <a:pt x="112" y="202"/>
                  </a:lnTo>
                  <a:close/>
                  <a:moveTo>
                    <a:pt x="152" y="106"/>
                  </a:moveTo>
                  <a:lnTo>
                    <a:pt x="154" y="106"/>
                  </a:lnTo>
                  <a:lnTo>
                    <a:pt x="152" y="106"/>
                  </a:lnTo>
                  <a:close/>
                  <a:moveTo>
                    <a:pt x="135" y="165"/>
                  </a:moveTo>
                  <a:lnTo>
                    <a:pt x="137" y="165"/>
                  </a:lnTo>
                  <a:lnTo>
                    <a:pt x="135" y="165"/>
                  </a:lnTo>
                  <a:close/>
                  <a:moveTo>
                    <a:pt x="69" y="275"/>
                  </a:moveTo>
                  <a:lnTo>
                    <a:pt x="71" y="275"/>
                  </a:lnTo>
                  <a:lnTo>
                    <a:pt x="69" y="275"/>
                  </a:lnTo>
                  <a:close/>
                  <a:moveTo>
                    <a:pt x="129" y="179"/>
                  </a:moveTo>
                  <a:lnTo>
                    <a:pt x="131" y="179"/>
                  </a:lnTo>
                  <a:lnTo>
                    <a:pt x="129" y="179"/>
                  </a:lnTo>
                  <a:close/>
                  <a:moveTo>
                    <a:pt x="106" y="213"/>
                  </a:moveTo>
                  <a:lnTo>
                    <a:pt x="106" y="215"/>
                  </a:lnTo>
                  <a:lnTo>
                    <a:pt x="106" y="213"/>
                  </a:lnTo>
                  <a:close/>
                  <a:moveTo>
                    <a:pt x="148" y="138"/>
                  </a:moveTo>
                  <a:lnTo>
                    <a:pt x="148" y="140"/>
                  </a:lnTo>
                  <a:lnTo>
                    <a:pt x="148" y="138"/>
                  </a:lnTo>
                  <a:close/>
                  <a:moveTo>
                    <a:pt x="165" y="117"/>
                  </a:moveTo>
                  <a:lnTo>
                    <a:pt x="165" y="119"/>
                  </a:lnTo>
                  <a:lnTo>
                    <a:pt x="165" y="117"/>
                  </a:lnTo>
                  <a:close/>
                  <a:moveTo>
                    <a:pt x="150" y="144"/>
                  </a:moveTo>
                  <a:lnTo>
                    <a:pt x="150" y="146"/>
                  </a:lnTo>
                  <a:lnTo>
                    <a:pt x="150" y="144"/>
                  </a:lnTo>
                  <a:close/>
                  <a:moveTo>
                    <a:pt x="66" y="279"/>
                  </a:moveTo>
                  <a:lnTo>
                    <a:pt x="66" y="280"/>
                  </a:lnTo>
                  <a:lnTo>
                    <a:pt x="66" y="279"/>
                  </a:lnTo>
                  <a:close/>
                  <a:moveTo>
                    <a:pt x="58" y="286"/>
                  </a:moveTo>
                  <a:lnTo>
                    <a:pt x="60" y="286"/>
                  </a:lnTo>
                  <a:lnTo>
                    <a:pt x="58" y="286"/>
                  </a:lnTo>
                  <a:close/>
                  <a:moveTo>
                    <a:pt x="100" y="279"/>
                  </a:moveTo>
                  <a:lnTo>
                    <a:pt x="100" y="280"/>
                  </a:lnTo>
                  <a:lnTo>
                    <a:pt x="100" y="279"/>
                  </a:lnTo>
                  <a:close/>
                  <a:moveTo>
                    <a:pt x="60" y="290"/>
                  </a:moveTo>
                  <a:lnTo>
                    <a:pt x="60" y="292"/>
                  </a:lnTo>
                  <a:lnTo>
                    <a:pt x="60" y="290"/>
                  </a:lnTo>
                  <a:close/>
                  <a:moveTo>
                    <a:pt x="64" y="448"/>
                  </a:moveTo>
                  <a:lnTo>
                    <a:pt x="64" y="449"/>
                  </a:lnTo>
                  <a:lnTo>
                    <a:pt x="64" y="448"/>
                  </a:lnTo>
                  <a:close/>
                  <a:moveTo>
                    <a:pt x="71" y="288"/>
                  </a:moveTo>
                  <a:lnTo>
                    <a:pt x="73" y="288"/>
                  </a:lnTo>
                  <a:lnTo>
                    <a:pt x="71" y="288"/>
                  </a:lnTo>
                  <a:close/>
                  <a:moveTo>
                    <a:pt x="119" y="196"/>
                  </a:moveTo>
                  <a:lnTo>
                    <a:pt x="119" y="198"/>
                  </a:lnTo>
                  <a:lnTo>
                    <a:pt x="119" y="196"/>
                  </a:lnTo>
                  <a:close/>
                  <a:moveTo>
                    <a:pt x="129" y="175"/>
                  </a:moveTo>
                  <a:lnTo>
                    <a:pt x="131" y="175"/>
                  </a:lnTo>
                  <a:lnTo>
                    <a:pt x="129" y="175"/>
                  </a:lnTo>
                  <a:close/>
                  <a:moveTo>
                    <a:pt x="92" y="244"/>
                  </a:moveTo>
                  <a:lnTo>
                    <a:pt x="92" y="246"/>
                  </a:lnTo>
                  <a:lnTo>
                    <a:pt x="92" y="244"/>
                  </a:lnTo>
                  <a:close/>
                  <a:moveTo>
                    <a:pt x="115" y="196"/>
                  </a:moveTo>
                  <a:lnTo>
                    <a:pt x="115" y="198"/>
                  </a:lnTo>
                  <a:lnTo>
                    <a:pt x="115" y="196"/>
                  </a:lnTo>
                  <a:close/>
                  <a:moveTo>
                    <a:pt x="8" y="346"/>
                  </a:moveTo>
                  <a:lnTo>
                    <a:pt x="8" y="348"/>
                  </a:lnTo>
                  <a:lnTo>
                    <a:pt x="8" y="346"/>
                  </a:lnTo>
                  <a:close/>
                  <a:moveTo>
                    <a:pt x="200" y="60"/>
                  </a:moveTo>
                  <a:lnTo>
                    <a:pt x="202" y="60"/>
                  </a:lnTo>
                  <a:lnTo>
                    <a:pt x="200" y="60"/>
                  </a:lnTo>
                  <a:close/>
                  <a:moveTo>
                    <a:pt x="73" y="436"/>
                  </a:moveTo>
                  <a:lnTo>
                    <a:pt x="73" y="438"/>
                  </a:lnTo>
                  <a:lnTo>
                    <a:pt x="73" y="436"/>
                  </a:lnTo>
                  <a:close/>
                  <a:moveTo>
                    <a:pt x="54" y="298"/>
                  </a:moveTo>
                  <a:lnTo>
                    <a:pt x="56" y="298"/>
                  </a:lnTo>
                  <a:lnTo>
                    <a:pt x="54" y="298"/>
                  </a:lnTo>
                  <a:close/>
                  <a:moveTo>
                    <a:pt x="98" y="252"/>
                  </a:moveTo>
                  <a:lnTo>
                    <a:pt x="100" y="252"/>
                  </a:lnTo>
                  <a:lnTo>
                    <a:pt x="98" y="252"/>
                  </a:lnTo>
                  <a:close/>
                  <a:moveTo>
                    <a:pt x="108" y="206"/>
                  </a:moveTo>
                  <a:lnTo>
                    <a:pt x="110" y="206"/>
                  </a:lnTo>
                  <a:lnTo>
                    <a:pt x="108" y="206"/>
                  </a:lnTo>
                  <a:close/>
                  <a:moveTo>
                    <a:pt x="106" y="232"/>
                  </a:moveTo>
                  <a:lnTo>
                    <a:pt x="108" y="232"/>
                  </a:lnTo>
                  <a:lnTo>
                    <a:pt x="106" y="232"/>
                  </a:lnTo>
                  <a:close/>
                  <a:moveTo>
                    <a:pt x="50" y="294"/>
                  </a:moveTo>
                  <a:lnTo>
                    <a:pt x="50" y="296"/>
                  </a:lnTo>
                  <a:lnTo>
                    <a:pt x="50" y="294"/>
                  </a:lnTo>
                  <a:close/>
                  <a:moveTo>
                    <a:pt x="125" y="175"/>
                  </a:moveTo>
                  <a:lnTo>
                    <a:pt x="125" y="177"/>
                  </a:lnTo>
                  <a:lnTo>
                    <a:pt x="125" y="175"/>
                  </a:lnTo>
                  <a:close/>
                  <a:moveTo>
                    <a:pt x="66" y="444"/>
                  </a:moveTo>
                  <a:lnTo>
                    <a:pt x="68" y="444"/>
                  </a:lnTo>
                  <a:lnTo>
                    <a:pt x="66" y="444"/>
                  </a:lnTo>
                  <a:close/>
                  <a:moveTo>
                    <a:pt x="158" y="121"/>
                  </a:moveTo>
                  <a:lnTo>
                    <a:pt x="158" y="123"/>
                  </a:lnTo>
                  <a:lnTo>
                    <a:pt x="158" y="121"/>
                  </a:lnTo>
                  <a:close/>
                  <a:moveTo>
                    <a:pt x="66" y="444"/>
                  </a:moveTo>
                  <a:lnTo>
                    <a:pt x="66" y="446"/>
                  </a:lnTo>
                  <a:lnTo>
                    <a:pt x="66" y="444"/>
                  </a:lnTo>
                  <a:close/>
                  <a:moveTo>
                    <a:pt x="112" y="202"/>
                  </a:moveTo>
                  <a:lnTo>
                    <a:pt x="114" y="202"/>
                  </a:lnTo>
                  <a:lnTo>
                    <a:pt x="112" y="202"/>
                  </a:lnTo>
                  <a:close/>
                  <a:moveTo>
                    <a:pt x="198" y="61"/>
                  </a:moveTo>
                  <a:lnTo>
                    <a:pt x="200" y="61"/>
                  </a:lnTo>
                  <a:lnTo>
                    <a:pt x="198" y="61"/>
                  </a:lnTo>
                  <a:close/>
                  <a:moveTo>
                    <a:pt x="94" y="432"/>
                  </a:moveTo>
                  <a:lnTo>
                    <a:pt x="96" y="432"/>
                  </a:lnTo>
                  <a:lnTo>
                    <a:pt x="94" y="432"/>
                  </a:lnTo>
                  <a:close/>
                  <a:moveTo>
                    <a:pt x="60" y="284"/>
                  </a:moveTo>
                  <a:lnTo>
                    <a:pt x="60" y="286"/>
                  </a:lnTo>
                  <a:lnTo>
                    <a:pt x="60" y="284"/>
                  </a:lnTo>
                  <a:close/>
                  <a:moveTo>
                    <a:pt x="139" y="156"/>
                  </a:moveTo>
                  <a:lnTo>
                    <a:pt x="139" y="158"/>
                  </a:lnTo>
                  <a:lnTo>
                    <a:pt x="139" y="156"/>
                  </a:lnTo>
                  <a:close/>
                  <a:moveTo>
                    <a:pt x="213" y="40"/>
                  </a:moveTo>
                  <a:lnTo>
                    <a:pt x="215" y="40"/>
                  </a:lnTo>
                  <a:lnTo>
                    <a:pt x="213" y="40"/>
                  </a:lnTo>
                  <a:close/>
                  <a:moveTo>
                    <a:pt x="68" y="294"/>
                  </a:moveTo>
                  <a:lnTo>
                    <a:pt x="68" y="296"/>
                  </a:lnTo>
                  <a:lnTo>
                    <a:pt x="68" y="294"/>
                  </a:lnTo>
                  <a:close/>
                  <a:moveTo>
                    <a:pt x="135" y="129"/>
                  </a:moveTo>
                  <a:lnTo>
                    <a:pt x="137" y="129"/>
                  </a:lnTo>
                  <a:lnTo>
                    <a:pt x="135" y="129"/>
                  </a:lnTo>
                  <a:close/>
                  <a:moveTo>
                    <a:pt x="91" y="423"/>
                  </a:moveTo>
                  <a:lnTo>
                    <a:pt x="91" y="425"/>
                  </a:lnTo>
                  <a:lnTo>
                    <a:pt x="91" y="423"/>
                  </a:lnTo>
                  <a:close/>
                  <a:moveTo>
                    <a:pt x="148" y="152"/>
                  </a:moveTo>
                  <a:lnTo>
                    <a:pt x="148" y="154"/>
                  </a:lnTo>
                  <a:lnTo>
                    <a:pt x="148" y="152"/>
                  </a:lnTo>
                  <a:close/>
                  <a:moveTo>
                    <a:pt x="158" y="131"/>
                  </a:moveTo>
                  <a:lnTo>
                    <a:pt x="158" y="133"/>
                  </a:lnTo>
                  <a:lnTo>
                    <a:pt x="158" y="131"/>
                  </a:lnTo>
                  <a:close/>
                  <a:moveTo>
                    <a:pt x="79" y="277"/>
                  </a:moveTo>
                  <a:lnTo>
                    <a:pt x="79" y="279"/>
                  </a:lnTo>
                  <a:lnTo>
                    <a:pt x="79" y="277"/>
                  </a:lnTo>
                  <a:close/>
                  <a:moveTo>
                    <a:pt x="144" y="156"/>
                  </a:moveTo>
                  <a:lnTo>
                    <a:pt x="144" y="158"/>
                  </a:lnTo>
                  <a:lnTo>
                    <a:pt x="144" y="156"/>
                  </a:lnTo>
                  <a:close/>
                  <a:moveTo>
                    <a:pt x="50" y="459"/>
                  </a:moveTo>
                  <a:lnTo>
                    <a:pt x="52" y="459"/>
                  </a:lnTo>
                  <a:lnTo>
                    <a:pt x="50" y="459"/>
                  </a:lnTo>
                  <a:close/>
                  <a:moveTo>
                    <a:pt x="104" y="221"/>
                  </a:moveTo>
                  <a:lnTo>
                    <a:pt x="106" y="221"/>
                  </a:lnTo>
                  <a:lnTo>
                    <a:pt x="104" y="221"/>
                  </a:lnTo>
                  <a:close/>
                  <a:moveTo>
                    <a:pt x="8" y="409"/>
                  </a:moveTo>
                  <a:lnTo>
                    <a:pt x="10" y="409"/>
                  </a:lnTo>
                  <a:lnTo>
                    <a:pt x="8" y="409"/>
                  </a:lnTo>
                  <a:close/>
                  <a:moveTo>
                    <a:pt x="104" y="240"/>
                  </a:moveTo>
                  <a:lnTo>
                    <a:pt x="104" y="242"/>
                  </a:lnTo>
                  <a:lnTo>
                    <a:pt x="104" y="240"/>
                  </a:lnTo>
                  <a:close/>
                  <a:moveTo>
                    <a:pt x="60" y="286"/>
                  </a:moveTo>
                  <a:lnTo>
                    <a:pt x="62" y="286"/>
                  </a:lnTo>
                  <a:lnTo>
                    <a:pt x="60" y="286"/>
                  </a:lnTo>
                  <a:close/>
                  <a:moveTo>
                    <a:pt x="8" y="355"/>
                  </a:moveTo>
                  <a:lnTo>
                    <a:pt x="8" y="357"/>
                  </a:lnTo>
                  <a:lnTo>
                    <a:pt x="8" y="355"/>
                  </a:lnTo>
                  <a:close/>
                  <a:moveTo>
                    <a:pt x="140" y="161"/>
                  </a:moveTo>
                  <a:lnTo>
                    <a:pt x="140" y="163"/>
                  </a:lnTo>
                  <a:lnTo>
                    <a:pt x="140" y="161"/>
                  </a:lnTo>
                  <a:close/>
                  <a:moveTo>
                    <a:pt x="46" y="304"/>
                  </a:moveTo>
                  <a:lnTo>
                    <a:pt x="48" y="304"/>
                  </a:lnTo>
                  <a:lnTo>
                    <a:pt x="46" y="304"/>
                  </a:lnTo>
                  <a:close/>
                  <a:moveTo>
                    <a:pt x="4" y="373"/>
                  </a:moveTo>
                  <a:lnTo>
                    <a:pt x="4" y="375"/>
                  </a:lnTo>
                  <a:lnTo>
                    <a:pt x="4" y="373"/>
                  </a:lnTo>
                  <a:close/>
                  <a:moveTo>
                    <a:pt x="48" y="302"/>
                  </a:moveTo>
                  <a:lnTo>
                    <a:pt x="50" y="302"/>
                  </a:lnTo>
                  <a:lnTo>
                    <a:pt x="48" y="302"/>
                  </a:lnTo>
                  <a:close/>
                  <a:moveTo>
                    <a:pt x="104" y="231"/>
                  </a:moveTo>
                  <a:lnTo>
                    <a:pt x="106" y="231"/>
                  </a:lnTo>
                  <a:lnTo>
                    <a:pt x="104" y="231"/>
                  </a:lnTo>
                  <a:close/>
                  <a:moveTo>
                    <a:pt x="129" y="133"/>
                  </a:moveTo>
                  <a:lnTo>
                    <a:pt x="131" y="133"/>
                  </a:lnTo>
                  <a:lnTo>
                    <a:pt x="129" y="133"/>
                  </a:lnTo>
                  <a:close/>
                  <a:moveTo>
                    <a:pt x="119" y="198"/>
                  </a:moveTo>
                  <a:lnTo>
                    <a:pt x="121" y="198"/>
                  </a:lnTo>
                  <a:lnTo>
                    <a:pt x="119" y="198"/>
                  </a:lnTo>
                  <a:close/>
                  <a:moveTo>
                    <a:pt x="112" y="232"/>
                  </a:moveTo>
                  <a:lnTo>
                    <a:pt x="114" y="232"/>
                  </a:lnTo>
                  <a:lnTo>
                    <a:pt x="112" y="232"/>
                  </a:lnTo>
                  <a:close/>
                  <a:moveTo>
                    <a:pt x="8" y="411"/>
                  </a:moveTo>
                  <a:lnTo>
                    <a:pt x="10" y="411"/>
                  </a:lnTo>
                  <a:lnTo>
                    <a:pt x="8" y="411"/>
                  </a:lnTo>
                  <a:close/>
                  <a:moveTo>
                    <a:pt x="185" y="77"/>
                  </a:moveTo>
                  <a:lnTo>
                    <a:pt x="187" y="77"/>
                  </a:lnTo>
                  <a:lnTo>
                    <a:pt x="185" y="77"/>
                  </a:lnTo>
                  <a:close/>
                  <a:moveTo>
                    <a:pt x="106" y="217"/>
                  </a:moveTo>
                  <a:lnTo>
                    <a:pt x="106" y="219"/>
                  </a:lnTo>
                  <a:lnTo>
                    <a:pt x="106" y="217"/>
                  </a:lnTo>
                  <a:close/>
                  <a:moveTo>
                    <a:pt x="140" y="129"/>
                  </a:moveTo>
                  <a:lnTo>
                    <a:pt x="142" y="129"/>
                  </a:lnTo>
                  <a:lnTo>
                    <a:pt x="140" y="129"/>
                  </a:lnTo>
                  <a:close/>
                  <a:moveTo>
                    <a:pt x="137" y="127"/>
                  </a:moveTo>
                  <a:lnTo>
                    <a:pt x="137" y="129"/>
                  </a:lnTo>
                  <a:lnTo>
                    <a:pt x="137" y="127"/>
                  </a:lnTo>
                  <a:close/>
                  <a:moveTo>
                    <a:pt x="131" y="133"/>
                  </a:moveTo>
                  <a:lnTo>
                    <a:pt x="133" y="133"/>
                  </a:lnTo>
                  <a:lnTo>
                    <a:pt x="131" y="133"/>
                  </a:lnTo>
                  <a:close/>
                  <a:moveTo>
                    <a:pt x="31" y="317"/>
                  </a:moveTo>
                  <a:lnTo>
                    <a:pt x="31" y="319"/>
                  </a:lnTo>
                  <a:lnTo>
                    <a:pt x="31" y="317"/>
                  </a:lnTo>
                  <a:close/>
                  <a:moveTo>
                    <a:pt x="150" y="98"/>
                  </a:moveTo>
                  <a:lnTo>
                    <a:pt x="152" y="98"/>
                  </a:lnTo>
                  <a:lnTo>
                    <a:pt x="150" y="98"/>
                  </a:lnTo>
                  <a:close/>
                  <a:moveTo>
                    <a:pt x="225" y="48"/>
                  </a:moveTo>
                  <a:lnTo>
                    <a:pt x="227" y="48"/>
                  </a:lnTo>
                  <a:lnTo>
                    <a:pt x="225" y="48"/>
                  </a:lnTo>
                  <a:close/>
                  <a:moveTo>
                    <a:pt x="158" y="121"/>
                  </a:moveTo>
                  <a:lnTo>
                    <a:pt x="160" y="121"/>
                  </a:lnTo>
                  <a:lnTo>
                    <a:pt x="158" y="121"/>
                  </a:lnTo>
                  <a:close/>
                  <a:moveTo>
                    <a:pt x="115" y="184"/>
                  </a:moveTo>
                  <a:lnTo>
                    <a:pt x="117" y="184"/>
                  </a:lnTo>
                  <a:lnTo>
                    <a:pt x="115" y="184"/>
                  </a:lnTo>
                  <a:close/>
                  <a:moveTo>
                    <a:pt x="10" y="401"/>
                  </a:moveTo>
                  <a:lnTo>
                    <a:pt x="12" y="401"/>
                  </a:lnTo>
                  <a:lnTo>
                    <a:pt x="10" y="401"/>
                  </a:lnTo>
                  <a:close/>
                  <a:moveTo>
                    <a:pt x="10" y="405"/>
                  </a:moveTo>
                  <a:lnTo>
                    <a:pt x="10" y="407"/>
                  </a:lnTo>
                  <a:lnTo>
                    <a:pt x="10" y="405"/>
                  </a:lnTo>
                  <a:close/>
                  <a:moveTo>
                    <a:pt x="114" y="209"/>
                  </a:moveTo>
                  <a:lnTo>
                    <a:pt x="115" y="209"/>
                  </a:lnTo>
                  <a:lnTo>
                    <a:pt x="114" y="209"/>
                  </a:lnTo>
                  <a:close/>
                  <a:moveTo>
                    <a:pt x="58" y="300"/>
                  </a:moveTo>
                  <a:lnTo>
                    <a:pt x="58" y="302"/>
                  </a:lnTo>
                  <a:lnTo>
                    <a:pt x="58" y="300"/>
                  </a:lnTo>
                  <a:close/>
                  <a:moveTo>
                    <a:pt x="148" y="142"/>
                  </a:moveTo>
                  <a:lnTo>
                    <a:pt x="150" y="142"/>
                  </a:lnTo>
                  <a:lnTo>
                    <a:pt x="148" y="142"/>
                  </a:lnTo>
                  <a:close/>
                  <a:moveTo>
                    <a:pt x="98" y="250"/>
                  </a:moveTo>
                  <a:lnTo>
                    <a:pt x="98" y="252"/>
                  </a:lnTo>
                  <a:lnTo>
                    <a:pt x="98" y="250"/>
                  </a:lnTo>
                  <a:close/>
                  <a:moveTo>
                    <a:pt x="91" y="423"/>
                  </a:moveTo>
                  <a:lnTo>
                    <a:pt x="91" y="425"/>
                  </a:lnTo>
                  <a:lnTo>
                    <a:pt x="91" y="423"/>
                  </a:lnTo>
                  <a:close/>
                  <a:moveTo>
                    <a:pt x="48" y="305"/>
                  </a:moveTo>
                  <a:lnTo>
                    <a:pt x="48" y="307"/>
                  </a:lnTo>
                  <a:lnTo>
                    <a:pt x="48" y="305"/>
                  </a:lnTo>
                  <a:close/>
                  <a:moveTo>
                    <a:pt x="146" y="152"/>
                  </a:moveTo>
                  <a:lnTo>
                    <a:pt x="148" y="152"/>
                  </a:lnTo>
                  <a:lnTo>
                    <a:pt x="146" y="152"/>
                  </a:lnTo>
                  <a:close/>
                  <a:moveTo>
                    <a:pt x="73" y="282"/>
                  </a:moveTo>
                  <a:lnTo>
                    <a:pt x="75" y="282"/>
                  </a:lnTo>
                  <a:lnTo>
                    <a:pt x="73" y="282"/>
                  </a:lnTo>
                  <a:close/>
                  <a:moveTo>
                    <a:pt x="71" y="284"/>
                  </a:moveTo>
                  <a:lnTo>
                    <a:pt x="71" y="286"/>
                  </a:lnTo>
                  <a:lnTo>
                    <a:pt x="71" y="284"/>
                  </a:lnTo>
                  <a:close/>
                  <a:moveTo>
                    <a:pt x="114" y="229"/>
                  </a:moveTo>
                  <a:lnTo>
                    <a:pt x="115" y="229"/>
                  </a:lnTo>
                  <a:lnTo>
                    <a:pt x="114" y="229"/>
                  </a:lnTo>
                  <a:close/>
                  <a:moveTo>
                    <a:pt x="29" y="317"/>
                  </a:moveTo>
                  <a:lnTo>
                    <a:pt x="31" y="317"/>
                  </a:lnTo>
                  <a:lnTo>
                    <a:pt x="29" y="317"/>
                  </a:lnTo>
                  <a:close/>
                  <a:moveTo>
                    <a:pt x="2" y="357"/>
                  </a:moveTo>
                  <a:lnTo>
                    <a:pt x="4" y="357"/>
                  </a:lnTo>
                  <a:lnTo>
                    <a:pt x="2" y="357"/>
                  </a:lnTo>
                  <a:close/>
                  <a:moveTo>
                    <a:pt x="106" y="221"/>
                  </a:moveTo>
                  <a:lnTo>
                    <a:pt x="106" y="223"/>
                  </a:lnTo>
                  <a:lnTo>
                    <a:pt x="106" y="221"/>
                  </a:lnTo>
                  <a:close/>
                  <a:moveTo>
                    <a:pt x="135" y="121"/>
                  </a:moveTo>
                  <a:lnTo>
                    <a:pt x="135" y="123"/>
                  </a:lnTo>
                  <a:lnTo>
                    <a:pt x="135" y="121"/>
                  </a:lnTo>
                  <a:close/>
                  <a:moveTo>
                    <a:pt x="211" y="44"/>
                  </a:moveTo>
                  <a:lnTo>
                    <a:pt x="211" y="46"/>
                  </a:lnTo>
                  <a:lnTo>
                    <a:pt x="211" y="44"/>
                  </a:lnTo>
                  <a:close/>
                  <a:moveTo>
                    <a:pt x="60" y="451"/>
                  </a:moveTo>
                  <a:lnTo>
                    <a:pt x="62" y="451"/>
                  </a:lnTo>
                  <a:lnTo>
                    <a:pt x="60" y="451"/>
                  </a:lnTo>
                  <a:close/>
                  <a:moveTo>
                    <a:pt x="123" y="188"/>
                  </a:moveTo>
                  <a:lnTo>
                    <a:pt x="123" y="190"/>
                  </a:lnTo>
                  <a:lnTo>
                    <a:pt x="123" y="188"/>
                  </a:lnTo>
                  <a:close/>
                  <a:moveTo>
                    <a:pt x="94" y="244"/>
                  </a:moveTo>
                  <a:lnTo>
                    <a:pt x="96" y="244"/>
                  </a:lnTo>
                  <a:lnTo>
                    <a:pt x="94" y="244"/>
                  </a:lnTo>
                  <a:close/>
                  <a:moveTo>
                    <a:pt x="87" y="428"/>
                  </a:moveTo>
                  <a:lnTo>
                    <a:pt x="87" y="430"/>
                  </a:lnTo>
                  <a:lnTo>
                    <a:pt x="87" y="428"/>
                  </a:lnTo>
                  <a:close/>
                  <a:moveTo>
                    <a:pt x="148" y="121"/>
                  </a:moveTo>
                  <a:lnTo>
                    <a:pt x="150" y="121"/>
                  </a:lnTo>
                  <a:lnTo>
                    <a:pt x="148" y="121"/>
                  </a:lnTo>
                  <a:close/>
                  <a:moveTo>
                    <a:pt x="6" y="371"/>
                  </a:moveTo>
                  <a:lnTo>
                    <a:pt x="6" y="373"/>
                  </a:lnTo>
                  <a:lnTo>
                    <a:pt x="6" y="371"/>
                  </a:lnTo>
                  <a:close/>
                  <a:moveTo>
                    <a:pt x="104" y="240"/>
                  </a:moveTo>
                  <a:lnTo>
                    <a:pt x="104" y="242"/>
                  </a:lnTo>
                  <a:lnTo>
                    <a:pt x="104" y="240"/>
                  </a:lnTo>
                  <a:close/>
                  <a:moveTo>
                    <a:pt x="142" y="106"/>
                  </a:moveTo>
                  <a:lnTo>
                    <a:pt x="144" y="106"/>
                  </a:lnTo>
                  <a:lnTo>
                    <a:pt x="142" y="106"/>
                  </a:lnTo>
                  <a:close/>
                  <a:moveTo>
                    <a:pt x="119" y="146"/>
                  </a:moveTo>
                  <a:lnTo>
                    <a:pt x="121" y="146"/>
                  </a:lnTo>
                  <a:lnTo>
                    <a:pt x="119" y="146"/>
                  </a:lnTo>
                  <a:close/>
                  <a:moveTo>
                    <a:pt x="94" y="430"/>
                  </a:moveTo>
                  <a:lnTo>
                    <a:pt x="94" y="432"/>
                  </a:lnTo>
                  <a:lnTo>
                    <a:pt x="94" y="430"/>
                  </a:lnTo>
                  <a:close/>
                  <a:moveTo>
                    <a:pt x="66" y="444"/>
                  </a:moveTo>
                  <a:lnTo>
                    <a:pt x="66" y="446"/>
                  </a:lnTo>
                  <a:lnTo>
                    <a:pt x="66" y="444"/>
                  </a:lnTo>
                  <a:close/>
                  <a:moveTo>
                    <a:pt x="92" y="257"/>
                  </a:moveTo>
                  <a:lnTo>
                    <a:pt x="92" y="259"/>
                  </a:lnTo>
                  <a:lnTo>
                    <a:pt x="92" y="257"/>
                  </a:lnTo>
                  <a:close/>
                  <a:moveTo>
                    <a:pt x="112" y="190"/>
                  </a:moveTo>
                  <a:lnTo>
                    <a:pt x="112" y="192"/>
                  </a:lnTo>
                  <a:lnTo>
                    <a:pt x="112" y="190"/>
                  </a:lnTo>
                  <a:close/>
                  <a:moveTo>
                    <a:pt x="150" y="152"/>
                  </a:moveTo>
                  <a:lnTo>
                    <a:pt x="150" y="154"/>
                  </a:lnTo>
                  <a:lnTo>
                    <a:pt x="150" y="152"/>
                  </a:lnTo>
                  <a:close/>
                  <a:moveTo>
                    <a:pt x="91" y="248"/>
                  </a:moveTo>
                  <a:lnTo>
                    <a:pt x="92" y="248"/>
                  </a:lnTo>
                  <a:lnTo>
                    <a:pt x="91" y="248"/>
                  </a:lnTo>
                  <a:close/>
                  <a:moveTo>
                    <a:pt x="48" y="296"/>
                  </a:moveTo>
                  <a:lnTo>
                    <a:pt x="48" y="298"/>
                  </a:lnTo>
                  <a:lnTo>
                    <a:pt x="48" y="296"/>
                  </a:lnTo>
                  <a:close/>
                  <a:moveTo>
                    <a:pt x="10" y="409"/>
                  </a:moveTo>
                  <a:lnTo>
                    <a:pt x="12" y="409"/>
                  </a:lnTo>
                  <a:lnTo>
                    <a:pt x="10" y="409"/>
                  </a:lnTo>
                  <a:close/>
                  <a:moveTo>
                    <a:pt x="110" y="217"/>
                  </a:moveTo>
                  <a:lnTo>
                    <a:pt x="110" y="219"/>
                  </a:lnTo>
                  <a:lnTo>
                    <a:pt x="110" y="217"/>
                  </a:lnTo>
                  <a:close/>
                  <a:moveTo>
                    <a:pt x="112" y="213"/>
                  </a:moveTo>
                  <a:lnTo>
                    <a:pt x="114" y="213"/>
                  </a:lnTo>
                  <a:lnTo>
                    <a:pt x="112" y="213"/>
                  </a:lnTo>
                  <a:close/>
                  <a:moveTo>
                    <a:pt x="112" y="202"/>
                  </a:moveTo>
                  <a:lnTo>
                    <a:pt x="114" y="202"/>
                  </a:lnTo>
                  <a:lnTo>
                    <a:pt x="112" y="202"/>
                  </a:lnTo>
                  <a:close/>
                  <a:moveTo>
                    <a:pt x="33" y="459"/>
                  </a:moveTo>
                  <a:lnTo>
                    <a:pt x="35" y="459"/>
                  </a:lnTo>
                  <a:lnTo>
                    <a:pt x="33" y="459"/>
                  </a:lnTo>
                  <a:close/>
                  <a:moveTo>
                    <a:pt x="115" y="198"/>
                  </a:moveTo>
                  <a:lnTo>
                    <a:pt x="117" y="198"/>
                  </a:lnTo>
                  <a:lnTo>
                    <a:pt x="115" y="198"/>
                  </a:lnTo>
                  <a:close/>
                  <a:moveTo>
                    <a:pt x="104" y="248"/>
                  </a:moveTo>
                  <a:lnTo>
                    <a:pt x="106" y="248"/>
                  </a:lnTo>
                  <a:lnTo>
                    <a:pt x="104" y="248"/>
                  </a:lnTo>
                  <a:close/>
                  <a:moveTo>
                    <a:pt x="85" y="267"/>
                  </a:moveTo>
                  <a:lnTo>
                    <a:pt x="87" y="267"/>
                  </a:lnTo>
                  <a:lnTo>
                    <a:pt x="85" y="267"/>
                  </a:lnTo>
                  <a:close/>
                  <a:moveTo>
                    <a:pt x="64" y="284"/>
                  </a:moveTo>
                  <a:lnTo>
                    <a:pt x="64" y="286"/>
                  </a:lnTo>
                  <a:lnTo>
                    <a:pt x="64" y="284"/>
                  </a:lnTo>
                  <a:close/>
                  <a:moveTo>
                    <a:pt x="140" y="125"/>
                  </a:moveTo>
                  <a:lnTo>
                    <a:pt x="140" y="127"/>
                  </a:lnTo>
                  <a:lnTo>
                    <a:pt x="140" y="125"/>
                  </a:lnTo>
                  <a:close/>
                  <a:moveTo>
                    <a:pt x="2" y="371"/>
                  </a:moveTo>
                  <a:lnTo>
                    <a:pt x="2" y="373"/>
                  </a:lnTo>
                  <a:lnTo>
                    <a:pt x="2" y="371"/>
                  </a:lnTo>
                  <a:close/>
                  <a:moveTo>
                    <a:pt x="131" y="175"/>
                  </a:moveTo>
                  <a:lnTo>
                    <a:pt x="133" y="175"/>
                  </a:lnTo>
                  <a:lnTo>
                    <a:pt x="131" y="175"/>
                  </a:lnTo>
                  <a:close/>
                  <a:moveTo>
                    <a:pt x="46" y="459"/>
                  </a:moveTo>
                  <a:lnTo>
                    <a:pt x="46" y="461"/>
                  </a:lnTo>
                  <a:lnTo>
                    <a:pt x="46" y="459"/>
                  </a:lnTo>
                  <a:close/>
                  <a:moveTo>
                    <a:pt x="29" y="323"/>
                  </a:moveTo>
                  <a:lnTo>
                    <a:pt x="31" y="323"/>
                  </a:lnTo>
                  <a:lnTo>
                    <a:pt x="29" y="323"/>
                  </a:lnTo>
                  <a:close/>
                  <a:moveTo>
                    <a:pt x="29" y="315"/>
                  </a:moveTo>
                  <a:lnTo>
                    <a:pt x="31" y="315"/>
                  </a:lnTo>
                  <a:lnTo>
                    <a:pt x="29" y="315"/>
                  </a:lnTo>
                  <a:close/>
                  <a:moveTo>
                    <a:pt x="21" y="325"/>
                  </a:moveTo>
                  <a:lnTo>
                    <a:pt x="21" y="327"/>
                  </a:lnTo>
                  <a:lnTo>
                    <a:pt x="21" y="325"/>
                  </a:lnTo>
                  <a:close/>
                  <a:moveTo>
                    <a:pt x="62" y="290"/>
                  </a:moveTo>
                  <a:lnTo>
                    <a:pt x="62" y="292"/>
                  </a:lnTo>
                  <a:lnTo>
                    <a:pt x="62" y="290"/>
                  </a:lnTo>
                  <a:close/>
                  <a:moveTo>
                    <a:pt x="58" y="292"/>
                  </a:moveTo>
                  <a:lnTo>
                    <a:pt x="58" y="294"/>
                  </a:lnTo>
                  <a:lnTo>
                    <a:pt x="58" y="292"/>
                  </a:lnTo>
                  <a:close/>
                  <a:moveTo>
                    <a:pt x="10" y="405"/>
                  </a:moveTo>
                  <a:lnTo>
                    <a:pt x="10" y="407"/>
                  </a:lnTo>
                  <a:lnTo>
                    <a:pt x="10" y="405"/>
                  </a:lnTo>
                  <a:close/>
                  <a:moveTo>
                    <a:pt x="54" y="296"/>
                  </a:moveTo>
                  <a:lnTo>
                    <a:pt x="56" y="296"/>
                  </a:lnTo>
                  <a:lnTo>
                    <a:pt x="54" y="296"/>
                  </a:lnTo>
                  <a:close/>
                  <a:moveTo>
                    <a:pt x="106" y="221"/>
                  </a:moveTo>
                  <a:lnTo>
                    <a:pt x="108" y="221"/>
                  </a:lnTo>
                  <a:lnTo>
                    <a:pt x="106" y="221"/>
                  </a:lnTo>
                  <a:close/>
                  <a:moveTo>
                    <a:pt x="46" y="459"/>
                  </a:moveTo>
                  <a:lnTo>
                    <a:pt x="48" y="459"/>
                  </a:lnTo>
                  <a:lnTo>
                    <a:pt x="46" y="459"/>
                  </a:lnTo>
                  <a:close/>
                  <a:moveTo>
                    <a:pt x="100" y="255"/>
                  </a:moveTo>
                  <a:lnTo>
                    <a:pt x="102" y="255"/>
                  </a:lnTo>
                  <a:lnTo>
                    <a:pt x="100" y="255"/>
                  </a:lnTo>
                  <a:close/>
                  <a:moveTo>
                    <a:pt x="152" y="136"/>
                  </a:moveTo>
                  <a:lnTo>
                    <a:pt x="152" y="138"/>
                  </a:lnTo>
                  <a:lnTo>
                    <a:pt x="152" y="136"/>
                  </a:lnTo>
                  <a:close/>
                  <a:moveTo>
                    <a:pt x="110" y="217"/>
                  </a:moveTo>
                  <a:lnTo>
                    <a:pt x="110" y="219"/>
                  </a:lnTo>
                  <a:lnTo>
                    <a:pt x="110" y="217"/>
                  </a:lnTo>
                  <a:close/>
                  <a:moveTo>
                    <a:pt x="39" y="311"/>
                  </a:moveTo>
                  <a:lnTo>
                    <a:pt x="39" y="313"/>
                  </a:lnTo>
                  <a:lnTo>
                    <a:pt x="39" y="311"/>
                  </a:lnTo>
                  <a:close/>
                  <a:moveTo>
                    <a:pt x="114" y="209"/>
                  </a:moveTo>
                  <a:lnTo>
                    <a:pt x="115" y="209"/>
                  </a:lnTo>
                  <a:lnTo>
                    <a:pt x="114" y="209"/>
                  </a:lnTo>
                  <a:close/>
                  <a:moveTo>
                    <a:pt x="300" y="48"/>
                  </a:moveTo>
                  <a:lnTo>
                    <a:pt x="302" y="48"/>
                  </a:lnTo>
                  <a:lnTo>
                    <a:pt x="300" y="48"/>
                  </a:lnTo>
                  <a:close/>
                  <a:moveTo>
                    <a:pt x="39" y="311"/>
                  </a:moveTo>
                  <a:lnTo>
                    <a:pt x="39" y="313"/>
                  </a:lnTo>
                  <a:lnTo>
                    <a:pt x="39" y="311"/>
                  </a:lnTo>
                  <a:close/>
                  <a:moveTo>
                    <a:pt x="48" y="307"/>
                  </a:moveTo>
                  <a:lnTo>
                    <a:pt x="50" y="307"/>
                  </a:lnTo>
                  <a:lnTo>
                    <a:pt x="48" y="307"/>
                  </a:lnTo>
                  <a:close/>
                  <a:moveTo>
                    <a:pt x="41" y="461"/>
                  </a:moveTo>
                  <a:lnTo>
                    <a:pt x="43" y="461"/>
                  </a:lnTo>
                  <a:lnTo>
                    <a:pt x="41" y="461"/>
                  </a:lnTo>
                  <a:close/>
                  <a:moveTo>
                    <a:pt x="87" y="409"/>
                  </a:moveTo>
                  <a:lnTo>
                    <a:pt x="89" y="409"/>
                  </a:lnTo>
                  <a:lnTo>
                    <a:pt x="87" y="409"/>
                  </a:lnTo>
                  <a:close/>
                  <a:moveTo>
                    <a:pt x="108" y="232"/>
                  </a:moveTo>
                  <a:lnTo>
                    <a:pt x="110" y="232"/>
                  </a:lnTo>
                  <a:lnTo>
                    <a:pt x="108" y="232"/>
                  </a:lnTo>
                  <a:close/>
                  <a:moveTo>
                    <a:pt x="112" y="190"/>
                  </a:moveTo>
                  <a:lnTo>
                    <a:pt x="112" y="192"/>
                  </a:lnTo>
                  <a:lnTo>
                    <a:pt x="112" y="190"/>
                  </a:lnTo>
                  <a:close/>
                  <a:moveTo>
                    <a:pt x="104" y="240"/>
                  </a:moveTo>
                  <a:lnTo>
                    <a:pt x="106" y="240"/>
                  </a:lnTo>
                  <a:lnTo>
                    <a:pt x="104" y="240"/>
                  </a:lnTo>
                  <a:close/>
                  <a:moveTo>
                    <a:pt x="29" y="317"/>
                  </a:moveTo>
                  <a:lnTo>
                    <a:pt x="29" y="319"/>
                  </a:lnTo>
                  <a:lnTo>
                    <a:pt x="29" y="317"/>
                  </a:lnTo>
                  <a:close/>
                  <a:moveTo>
                    <a:pt x="18" y="426"/>
                  </a:moveTo>
                  <a:lnTo>
                    <a:pt x="20" y="426"/>
                  </a:lnTo>
                  <a:lnTo>
                    <a:pt x="18" y="426"/>
                  </a:lnTo>
                  <a:close/>
                  <a:moveTo>
                    <a:pt x="8" y="409"/>
                  </a:moveTo>
                  <a:lnTo>
                    <a:pt x="10" y="409"/>
                  </a:lnTo>
                  <a:lnTo>
                    <a:pt x="8" y="409"/>
                  </a:lnTo>
                  <a:close/>
                  <a:moveTo>
                    <a:pt x="73" y="436"/>
                  </a:moveTo>
                  <a:lnTo>
                    <a:pt x="73" y="438"/>
                  </a:lnTo>
                  <a:lnTo>
                    <a:pt x="73" y="436"/>
                  </a:lnTo>
                  <a:close/>
                  <a:moveTo>
                    <a:pt x="2" y="373"/>
                  </a:moveTo>
                  <a:lnTo>
                    <a:pt x="4" y="373"/>
                  </a:lnTo>
                  <a:lnTo>
                    <a:pt x="2" y="373"/>
                  </a:lnTo>
                  <a:close/>
                  <a:moveTo>
                    <a:pt x="64" y="448"/>
                  </a:moveTo>
                  <a:lnTo>
                    <a:pt x="64" y="449"/>
                  </a:lnTo>
                  <a:lnTo>
                    <a:pt x="64" y="448"/>
                  </a:lnTo>
                  <a:close/>
                  <a:moveTo>
                    <a:pt x="56" y="290"/>
                  </a:moveTo>
                  <a:lnTo>
                    <a:pt x="58" y="290"/>
                  </a:lnTo>
                  <a:lnTo>
                    <a:pt x="56" y="290"/>
                  </a:lnTo>
                  <a:close/>
                  <a:moveTo>
                    <a:pt x="64" y="448"/>
                  </a:moveTo>
                  <a:lnTo>
                    <a:pt x="64" y="449"/>
                  </a:lnTo>
                  <a:lnTo>
                    <a:pt x="64" y="448"/>
                  </a:lnTo>
                  <a:close/>
                  <a:moveTo>
                    <a:pt x="14" y="430"/>
                  </a:moveTo>
                  <a:lnTo>
                    <a:pt x="14" y="432"/>
                  </a:lnTo>
                  <a:lnTo>
                    <a:pt x="14" y="430"/>
                  </a:lnTo>
                  <a:close/>
                  <a:moveTo>
                    <a:pt x="66" y="279"/>
                  </a:moveTo>
                  <a:lnTo>
                    <a:pt x="66" y="280"/>
                  </a:lnTo>
                  <a:lnTo>
                    <a:pt x="66" y="279"/>
                  </a:lnTo>
                  <a:close/>
                  <a:moveTo>
                    <a:pt x="31" y="317"/>
                  </a:moveTo>
                  <a:lnTo>
                    <a:pt x="31" y="319"/>
                  </a:lnTo>
                  <a:lnTo>
                    <a:pt x="31" y="317"/>
                  </a:lnTo>
                  <a:close/>
                  <a:moveTo>
                    <a:pt x="4" y="380"/>
                  </a:moveTo>
                  <a:lnTo>
                    <a:pt x="6" y="380"/>
                  </a:lnTo>
                  <a:lnTo>
                    <a:pt x="4" y="380"/>
                  </a:lnTo>
                  <a:close/>
                  <a:moveTo>
                    <a:pt x="106" y="213"/>
                  </a:moveTo>
                  <a:lnTo>
                    <a:pt x="108" y="213"/>
                  </a:lnTo>
                  <a:lnTo>
                    <a:pt x="106" y="213"/>
                  </a:lnTo>
                  <a:close/>
                  <a:moveTo>
                    <a:pt x="12" y="355"/>
                  </a:moveTo>
                  <a:lnTo>
                    <a:pt x="14" y="355"/>
                  </a:lnTo>
                  <a:lnTo>
                    <a:pt x="12" y="355"/>
                  </a:lnTo>
                  <a:close/>
                  <a:moveTo>
                    <a:pt x="48" y="300"/>
                  </a:moveTo>
                  <a:lnTo>
                    <a:pt x="48" y="302"/>
                  </a:lnTo>
                  <a:lnTo>
                    <a:pt x="48" y="300"/>
                  </a:lnTo>
                  <a:close/>
                  <a:moveTo>
                    <a:pt x="75" y="282"/>
                  </a:moveTo>
                  <a:lnTo>
                    <a:pt x="75" y="284"/>
                  </a:lnTo>
                  <a:lnTo>
                    <a:pt x="75" y="282"/>
                  </a:lnTo>
                  <a:close/>
                  <a:moveTo>
                    <a:pt x="62" y="449"/>
                  </a:moveTo>
                  <a:lnTo>
                    <a:pt x="62" y="451"/>
                  </a:lnTo>
                  <a:lnTo>
                    <a:pt x="62" y="449"/>
                  </a:lnTo>
                  <a:close/>
                  <a:moveTo>
                    <a:pt x="56" y="455"/>
                  </a:moveTo>
                  <a:lnTo>
                    <a:pt x="56" y="457"/>
                  </a:lnTo>
                  <a:lnTo>
                    <a:pt x="56" y="455"/>
                  </a:lnTo>
                  <a:close/>
                  <a:moveTo>
                    <a:pt x="18" y="332"/>
                  </a:moveTo>
                  <a:lnTo>
                    <a:pt x="18" y="334"/>
                  </a:lnTo>
                  <a:lnTo>
                    <a:pt x="18" y="332"/>
                  </a:lnTo>
                  <a:close/>
                  <a:moveTo>
                    <a:pt x="94" y="430"/>
                  </a:moveTo>
                  <a:lnTo>
                    <a:pt x="94" y="432"/>
                  </a:lnTo>
                  <a:lnTo>
                    <a:pt x="94" y="430"/>
                  </a:lnTo>
                  <a:close/>
                  <a:moveTo>
                    <a:pt x="33" y="317"/>
                  </a:moveTo>
                  <a:lnTo>
                    <a:pt x="35" y="317"/>
                  </a:lnTo>
                  <a:lnTo>
                    <a:pt x="33" y="317"/>
                  </a:lnTo>
                  <a:close/>
                  <a:moveTo>
                    <a:pt x="54" y="298"/>
                  </a:moveTo>
                  <a:lnTo>
                    <a:pt x="56" y="298"/>
                  </a:lnTo>
                  <a:lnTo>
                    <a:pt x="54" y="298"/>
                  </a:lnTo>
                  <a:close/>
                  <a:moveTo>
                    <a:pt x="21" y="325"/>
                  </a:moveTo>
                  <a:lnTo>
                    <a:pt x="21" y="327"/>
                  </a:lnTo>
                  <a:lnTo>
                    <a:pt x="21" y="325"/>
                  </a:lnTo>
                  <a:close/>
                  <a:moveTo>
                    <a:pt x="8" y="400"/>
                  </a:moveTo>
                  <a:lnTo>
                    <a:pt x="8" y="401"/>
                  </a:lnTo>
                  <a:lnTo>
                    <a:pt x="8" y="400"/>
                  </a:lnTo>
                  <a:close/>
                  <a:moveTo>
                    <a:pt x="31" y="321"/>
                  </a:moveTo>
                  <a:lnTo>
                    <a:pt x="33" y="321"/>
                  </a:lnTo>
                  <a:lnTo>
                    <a:pt x="31" y="321"/>
                  </a:lnTo>
                  <a:close/>
                  <a:moveTo>
                    <a:pt x="21" y="396"/>
                  </a:moveTo>
                  <a:lnTo>
                    <a:pt x="21" y="398"/>
                  </a:lnTo>
                  <a:lnTo>
                    <a:pt x="21" y="396"/>
                  </a:lnTo>
                  <a:close/>
                  <a:moveTo>
                    <a:pt x="44" y="461"/>
                  </a:moveTo>
                  <a:lnTo>
                    <a:pt x="46" y="461"/>
                  </a:lnTo>
                  <a:lnTo>
                    <a:pt x="44" y="461"/>
                  </a:lnTo>
                  <a:close/>
                  <a:moveTo>
                    <a:pt x="46" y="459"/>
                  </a:moveTo>
                  <a:lnTo>
                    <a:pt x="48" y="459"/>
                  </a:lnTo>
                  <a:lnTo>
                    <a:pt x="46" y="45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402">
              <a:extLst>
                <a:ext uri="{FF2B5EF4-FFF2-40B4-BE49-F238E27FC236}">
                  <a16:creationId xmlns:a16="http://schemas.microsoft.com/office/drawing/2014/main" id="{A61D7487-3583-4D95-AD49-8D9DAB3221E8}"/>
                </a:ext>
              </a:extLst>
            </p:cNvPr>
            <p:cNvSpPr>
              <a:spLocks/>
            </p:cNvSpPr>
            <p:nvPr/>
          </p:nvSpPr>
          <p:spPr bwMode="gray">
            <a:xfrm>
              <a:off x="4782930" y="3266481"/>
              <a:ext cx="576397" cy="277161"/>
            </a:xfrm>
            <a:custGeom>
              <a:avLst/>
              <a:gdLst>
                <a:gd name="T0" fmla="*/ 413 w 470"/>
                <a:gd name="T1" fmla="*/ 79 h 226"/>
                <a:gd name="T2" fmla="*/ 413 w 470"/>
                <a:gd name="T3" fmla="*/ 102 h 226"/>
                <a:gd name="T4" fmla="*/ 432 w 470"/>
                <a:gd name="T5" fmla="*/ 102 h 226"/>
                <a:gd name="T6" fmla="*/ 449 w 470"/>
                <a:gd name="T7" fmla="*/ 94 h 226"/>
                <a:gd name="T8" fmla="*/ 465 w 470"/>
                <a:gd name="T9" fmla="*/ 109 h 226"/>
                <a:gd name="T10" fmla="*/ 470 w 470"/>
                <a:gd name="T11" fmla="*/ 117 h 226"/>
                <a:gd name="T12" fmla="*/ 457 w 470"/>
                <a:gd name="T13" fmla="*/ 121 h 226"/>
                <a:gd name="T14" fmla="*/ 444 w 470"/>
                <a:gd name="T15" fmla="*/ 125 h 226"/>
                <a:gd name="T16" fmla="*/ 428 w 470"/>
                <a:gd name="T17" fmla="*/ 130 h 226"/>
                <a:gd name="T18" fmla="*/ 417 w 470"/>
                <a:gd name="T19" fmla="*/ 140 h 226"/>
                <a:gd name="T20" fmla="*/ 405 w 470"/>
                <a:gd name="T21" fmla="*/ 150 h 226"/>
                <a:gd name="T22" fmla="*/ 386 w 470"/>
                <a:gd name="T23" fmla="*/ 159 h 226"/>
                <a:gd name="T24" fmla="*/ 365 w 470"/>
                <a:gd name="T25" fmla="*/ 159 h 226"/>
                <a:gd name="T26" fmla="*/ 349 w 470"/>
                <a:gd name="T27" fmla="*/ 165 h 226"/>
                <a:gd name="T28" fmla="*/ 353 w 470"/>
                <a:gd name="T29" fmla="*/ 182 h 226"/>
                <a:gd name="T30" fmla="*/ 338 w 470"/>
                <a:gd name="T31" fmla="*/ 196 h 226"/>
                <a:gd name="T32" fmla="*/ 319 w 470"/>
                <a:gd name="T33" fmla="*/ 209 h 226"/>
                <a:gd name="T34" fmla="*/ 302 w 470"/>
                <a:gd name="T35" fmla="*/ 209 h 226"/>
                <a:gd name="T36" fmla="*/ 280 w 470"/>
                <a:gd name="T37" fmla="*/ 213 h 226"/>
                <a:gd name="T38" fmla="*/ 257 w 470"/>
                <a:gd name="T39" fmla="*/ 223 h 226"/>
                <a:gd name="T40" fmla="*/ 238 w 470"/>
                <a:gd name="T41" fmla="*/ 223 h 226"/>
                <a:gd name="T42" fmla="*/ 215 w 470"/>
                <a:gd name="T43" fmla="*/ 217 h 226"/>
                <a:gd name="T44" fmla="*/ 192 w 470"/>
                <a:gd name="T45" fmla="*/ 205 h 226"/>
                <a:gd name="T46" fmla="*/ 163 w 470"/>
                <a:gd name="T47" fmla="*/ 207 h 226"/>
                <a:gd name="T48" fmla="*/ 135 w 470"/>
                <a:gd name="T49" fmla="*/ 203 h 226"/>
                <a:gd name="T50" fmla="*/ 117 w 470"/>
                <a:gd name="T51" fmla="*/ 184 h 226"/>
                <a:gd name="T52" fmla="*/ 102 w 470"/>
                <a:gd name="T53" fmla="*/ 173 h 226"/>
                <a:gd name="T54" fmla="*/ 83 w 470"/>
                <a:gd name="T55" fmla="*/ 159 h 226"/>
                <a:gd name="T56" fmla="*/ 56 w 470"/>
                <a:gd name="T57" fmla="*/ 157 h 226"/>
                <a:gd name="T58" fmla="*/ 44 w 470"/>
                <a:gd name="T59" fmla="*/ 142 h 226"/>
                <a:gd name="T60" fmla="*/ 48 w 470"/>
                <a:gd name="T61" fmla="*/ 121 h 226"/>
                <a:gd name="T62" fmla="*/ 39 w 470"/>
                <a:gd name="T63" fmla="*/ 105 h 226"/>
                <a:gd name="T64" fmla="*/ 25 w 470"/>
                <a:gd name="T65" fmla="*/ 94 h 226"/>
                <a:gd name="T66" fmla="*/ 14 w 470"/>
                <a:gd name="T67" fmla="*/ 88 h 226"/>
                <a:gd name="T68" fmla="*/ 2 w 470"/>
                <a:gd name="T69" fmla="*/ 79 h 226"/>
                <a:gd name="T70" fmla="*/ 6 w 470"/>
                <a:gd name="T71" fmla="*/ 61 h 226"/>
                <a:gd name="T72" fmla="*/ 23 w 470"/>
                <a:gd name="T73" fmla="*/ 57 h 226"/>
                <a:gd name="T74" fmla="*/ 31 w 470"/>
                <a:gd name="T75" fmla="*/ 52 h 226"/>
                <a:gd name="T76" fmla="*/ 48 w 470"/>
                <a:gd name="T77" fmla="*/ 40 h 226"/>
                <a:gd name="T78" fmla="*/ 65 w 470"/>
                <a:gd name="T79" fmla="*/ 34 h 226"/>
                <a:gd name="T80" fmla="*/ 75 w 470"/>
                <a:gd name="T81" fmla="*/ 32 h 226"/>
                <a:gd name="T82" fmla="*/ 96 w 470"/>
                <a:gd name="T83" fmla="*/ 38 h 226"/>
                <a:gd name="T84" fmla="*/ 108 w 470"/>
                <a:gd name="T85" fmla="*/ 50 h 226"/>
                <a:gd name="T86" fmla="*/ 127 w 470"/>
                <a:gd name="T87" fmla="*/ 52 h 226"/>
                <a:gd name="T88" fmla="*/ 142 w 470"/>
                <a:gd name="T89" fmla="*/ 54 h 226"/>
                <a:gd name="T90" fmla="*/ 156 w 470"/>
                <a:gd name="T91" fmla="*/ 42 h 226"/>
                <a:gd name="T92" fmla="*/ 150 w 470"/>
                <a:gd name="T93" fmla="*/ 34 h 226"/>
                <a:gd name="T94" fmla="*/ 152 w 470"/>
                <a:gd name="T95" fmla="*/ 15 h 226"/>
                <a:gd name="T96" fmla="*/ 165 w 470"/>
                <a:gd name="T97" fmla="*/ 0 h 226"/>
                <a:gd name="T98" fmla="*/ 177 w 470"/>
                <a:gd name="T99" fmla="*/ 9 h 226"/>
                <a:gd name="T100" fmla="*/ 198 w 470"/>
                <a:gd name="T101" fmla="*/ 13 h 226"/>
                <a:gd name="T102" fmla="*/ 209 w 470"/>
                <a:gd name="T103" fmla="*/ 19 h 226"/>
                <a:gd name="T104" fmla="*/ 213 w 470"/>
                <a:gd name="T105" fmla="*/ 32 h 226"/>
                <a:gd name="T106" fmla="*/ 229 w 470"/>
                <a:gd name="T107" fmla="*/ 46 h 226"/>
                <a:gd name="T108" fmla="*/ 250 w 470"/>
                <a:gd name="T109" fmla="*/ 42 h 226"/>
                <a:gd name="T110" fmla="*/ 271 w 470"/>
                <a:gd name="T111" fmla="*/ 42 h 226"/>
                <a:gd name="T112" fmla="*/ 294 w 470"/>
                <a:gd name="T113" fmla="*/ 50 h 226"/>
                <a:gd name="T114" fmla="*/ 303 w 470"/>
                <a:gd name="T115" fmla="*/ 65 h 226"/>
                <a:gd name="T116" fmla="*/ 328 w 470"/>
                <a:gd name="T117" fmla="*/ 69 h 226"/>
                <a:gd name="T118" fmla="*/ 348 w 470"/>
                <a:gd name="T119" fmla="*/ 65 h 226"/>
                <a:gd name="T120" fmla="*/ 371 w 470"/>
                <a:gd name="T121" fmla="*/ 57 h 226"/>
                <a:gd name="T122" fmla="*/ 386 w 470"/>
                <a:gd name="T123" fmla="*/ 44 h 226"/>
                <a:gd name="T124" fmla="*/ 407 w 470"/>
                <a:gd name="T125" fmla="*/ 5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0" h="226">
                  <a:moveTo>
                    <a:pt x="424" y="54"/>
                  </a:moveTo>
                  <a:lnTo>
                    <a:pt x="422" y="56"/>
                  </a:lnTo>
                  <a:lnTo>
                    <a:pt x="422" y="57"/>
                  </a:lnTo>
                  <a:lnTo>
                    <a:pt x="420" y="59"/>
                  </a:lnTo>
                  <a:lnTo>
                    <a:pt x="420" y="61"/>
                  </a:lnTo>
                  <a:lnTo>
                    <a:pt x="420" y="63"/>
                  </a:lnTo>
                  <a:lnTo>
                    <a:pt x="419" y="65"/>
                  </a:lnTo>
                  <a:lnTo>
                    <a:pt x="419" y="67"/>
                  </a:lnTo>
                  <a:lnTo>
                    <a:pt x="417" y="67"/>
                  </a:lnTo>
                  <a:lnTo>
                    <a:pt x="417" y="69"/>
                  </a:lnTo>
                  <a:lnTo>
                    <a:pt x="415" y="71"/>
                  </a:lnTo>
                  <a:lnTo>
                    <a:pt x="415" y="73"/>
                  </a:lnTo>
                  <a:lnTo>
                    <a:pt x="415" y="75"/>
                  </a:lnTo>
                  <a:lnTo>
                    <a:pt x="415" y="77"/>
                  </a:lnTo>
                  <a:lnTo>
                    <a:pt x="413" y="79"/>
                  </a:lnTo>
                  <a:lnTo>
                    <a:pt x="413" y="81"/>
                  </a:lnTo>
                  <a:lnTo>
                    <a:pt x="411" y="81"/>
                  </a:lnTo>
                  <a:lnTo>
                    <a:pt x="411" y="82"/>
                  </a:lnTo>
                  <a:lnTo>
                    <a:pt x="411" y="84"/>
                  </a:lnTo>
                  <a:lnTo>
                    <a:pt x="411" y="86"/>
                  </a:lnTo>
                  <a:lnTo>
                    <a:pt x="411" y="88"/>
                  </a:lnTo>
                  <a:lnTo>
                    <a:pt x="409" y="90"/>
                  </a:lnTo>
                  <a:lnTo>
                    <a:pt x="407" y="90"/>
                  </a:lnTo>
                  <a:lnTo>
                    <a:pt x="407" y="92"/>
                  </a:lnTo>
                  <a:lnTo>
                    <a:pt x="407" y="94"/>
                  </a:lnTo>
                  <a:lnTo>
                    <a:pt x="407" y="96"/>
                  </a:lnTo>
                  <a:lnTo>
                    <a:pt x="407" y="98"/>
                  </a:lnTo>
                  <a:lnTo>
                    <a:pt x="409" y="98"/>
                  </a:lnTo>
                  <a:lnTo>
                    <a:pt x="411" y="100"/>
                  </a:lnTo>
                  <a:lnTo>
                    <a:pt x="413" y="102"/>
                  </a:lnTo>
                  <a:lnTo>
                    <a:pt x="413" y="100"/>
                  </a:lnTo>
                  <a:lnTo>
                    <a:pt x="415" y="100"/>
                  </a:lnTo>
                  <a:lnTo>
                    <a:pt x="415" y="98"/>
                  </a:lnTo>
                  <a:lnTo>
                    <a:pt x="417" y="98"/>
                  </a:lnTo>
                  <a:lnTo>
                    <a:pt x="419" y="98"/>
                  </a:lnTo>
                  <a:lnTo>
                    <a:pt x="420" y="98"/>
                  </a:lnTo>
                  <a:lnTo>
                    <a:pt x="422" y="98"/>
                  </a:lnTo>
                  <a:lnTo>
                    <a:pt x="424" y="96"/>
                  </a:lnTo>
                  <a:lnTo>
                    <a:pt x="426" y="96"/>
                  </a:lnTo>
                  <a:lnTo>
                    <a:pt x="426" y="98"/>
                  </a:lnTo>
                  <a:lnTo>
                    <a:pt x="428" y="98"/>
                  </a:lnTo>
                  <a:lnTo>
                    <a:pt x="430" y="98"/>
                  </a:lnTo>
                  <a:lnTo>
                    <a:pt x="430" y="100"/>
                  </a:lnTo>
                  <a:lnTo>
                    <a:pt x="432" y="100"/>
                  </a:lnTo>
                  <a:lnTo>
                    <a:pt x="432" y="102"/>
                  </a:lnTo>
                  <a:lnTo>
                    <a:pt x="434" y="102"/>
                  </a:lnTo>
                  <a:lnTo>
                    <a:pt x="434" y="100"/>
                  </a:lnTo>
                  <a:lnTo>
                    <a:pt x="436" y="100"/>
                  </a:lnTo>
                  <a:lnTo>
                    <a:pt x="436" y="98"/>
                  </a:lnTo>
                  <a:lnTo>
                    <a:pt x="438" y="98"/>
                  </a:lnTo>
                  <a:lnTo>
                    <a:pt x="438" y="96"/>
                  </a:lnTo>
                  <a:lnTo>
                    <a:pt x="440" y="96"/>
                  </a:lnTo>
                  <a:lnTo>
                    <a:pt x="440" y="94"/>
                  </a:lnTo>
                  <a:lnTo>
                    <a:pt x="442" y="94"/>
                  </a:lnTo>
                  <a:lnTo>
                    <a:pt x="444" y="94"/>
                  </a:lnTo>
                  <a:lnTo>
                    <a:pt x="442" y="94"/>
                  </a:lnTo>
                  <a:lnTo>
                    <a:pt x="444" y="94"/>
                  </a:lnTo>
                  <a:lnTo>
                    <a:pt x="445" y="94"/>
                  </a:lnTo>
                  <a:lnTo>
                    <a:pt x="447" y="94"/>
                  </a:lnTo>
                  <a:lnTo>
                    <a:pt x="449" y="94"/>
                  </a:lnTo>
                  <a:lnTo>
                    <a:pt x="451" y="94"/>
                  </a:lnTo>
                  <a:lnTo>
                    <a:pt x="451" y="96"/>
                  </a:lnTo>
                  <a:lnTo>
                    <a:pt x="453" y="96"/>
                  </a:lnTo>
                  <a:lnTo>
                    <a:pt x="453" y="98"/>
                  </a:lnTo>
                  <a:lnTo>
                    <a:pt x="453" y="100"/>
                  </a:lnTo>
                  <a:lnTo>
                    <a:pt x="455" y="100"/>
                  </a:lnTo>
                  <a:lnTo>
                    <a:pt x="457" y="100"/>
                  </a:lnTo>
                  <a:lnTo>
                    <a:pt x="457" y="102"/>
                  </a:lnTo>
                  <a:lnTo>
                    <a:pt x="459" y="102"/>
                  </a:lnTo>
                  <a:lnTo>
                    <a:pt x="459" y="104"/>
                  </a:lnTo>
                  <a:lnTo>
                    <a:pt x="461" y="105"/>
                  </a:lnTo>
                  <a:lnTo>
                    <a:pt x="463" y="105"/>
                  </a:lnTo>
                  <a:lnTo>
                    <a:pt x="463" y="107"/>
                  </a:lnTo>
                  <a:lnTo>
                    <a:pt x="465" y="107"/>
                  </a:lnTo>
                  <a:lnTo>
                    <a:pt x="465" y="109"/>
                  </a:lnTo>
                  <a:lnTo>
                    <a:pt x="467" y="109"/>
                  </a:lnTo>
                  <a:lnTo>
                    <a:pt x="465" y="109"/>
                  </a:lnTo>
                  <a:lnTo>
                    <a:pt x="467" y="109"/>
                  </a:lnTo>
                  <a:lnTo>
                    <a:pt x="465" y="109"/>
                  </a:lnTo>
                  <a:lnTo>
                    <a:pt x="467" y="109"/>
                  </a:lnTo>
                  <a:lnTo>
                    <a:pt x="467" y="111"/>
                  </a:lnTo>
                  <a:lnTo>
                    <a:pt x="465" y="111"/>
                  </a:lnTo>
                  <a:lnTo>
                    <a:pt x="467" y="111"/>
                  </a:lnTo>
                  <a:lnTo>
                    <a:pt x="465" y="111"/>
                  </a:lnTo>
                  <a:lnTo>
                    <a:pt x="467" y="111"/>
                  </a:lnTo>
                  <a:lnTo>
                    <a:pt x="468" y="111"/>
                  </a:lnTo>
                  <a:lnTo>
                    <a:pt x="468" y="113"/>
                  </a:lnTo>
                  <a:lnTo>
                    <a:pt x="468" y="115"/>
                  </a:lnTo>
                  <a:lnTo>
                    <a:pt x="468" y="117"/>
                  </a:lnTo>
                  <a:lnTo>
                    <a:pt x="470" y="117"/>
                  </a:lnTo>
                  <a:lnTo>
                    <a:pt x="470" y="119"/>
                  </a:lnTo>
                  <a:lnTo>
                    <a:pt x="470" y="121"/>
                  </a:lnTo>
                  <a:lnTo>
                    <a:pt x="470" y="123"/>
                  </a:lnTo>
                  <a:lnTo>
                    <a:pt x="468" y="123"/>
                  </a:lnTo>
                  <a:lnTo>
                    <a:pt x="468" y="125"/>
                  </a:lnTo>
                  <a:lnTo>
                    <a:pt x="467" y="125"/>
                  </a:lnTo>
                  <a:lnTo>
                    <a:pt x="465" y="125"/>
                  </a:lnTo>
                  <a:lnTo>
                    <a:pt x="463" y="125"/>
                  </a:lnTo>
                  <a:lnTo>
                    <a:pt x="461" y="125"/>
                  </a:lnTo>
                  <a:lnTo>
                    <a:pt x="461" y="123"/>
                  </a:lnTo>
                  <a:lnTo>
                    <a:pt x="461" y="125"/>
                  </a:lnTo>
                  <a:lnTo>
                    <a:pt x="461" y="123"/>
                  </a:lnTo>
                  <a:lnTo>
                    <a:pt x="459" y="123"/>
                  </a:lnTo>
                  <a:lnTo>
                    <a:pt x="457" y="123"/>
                  </a:lnTo>
                  <a:lnTo>
                    <a:pt x="457" y="121"/>
                  </a:lnTo>
                  <a:lnTo>
                    <a:pt x="457" y="123"/>
                  </a:lnTo>
                  <a:lnTo>
                    <a:pt x="455" y="123"/>
                  </a:lnTo>
                  <a:lnTo>
                    <a:pt x="457" y="123"/>
                  </a:lnTo>
                  <a:lnTo>
                    <a:pt x="457" y="121"/>
                  </a:lnTo>
                  <a:lnTo>
                    <a:pt x="455" y="121"/>
                  </a:lnTo>
                  <a:lnTo>
                    <a:pt x="455" y="123"/>
                  </a:lnTo>
                  <a:lnTo>
                    <a:pt x="453" y="123"/>
                  </a:lnTo>
                  <a:lnTo>
                    <a:pt x="451" y="123"/>
                  </a:lnTo>
                  <a:lnTo>
                    <a:pt x="449" y="123"/>
                  </a:lnTo>
                  <a:lnTo>
                    <a:pt x="447" y="123"/>
                  </a:lnTo>
                  <a:lnTo>
                    <a:pt x="447" y="121"/>
                  </a:lnTo>
                  <a:lnTo>
                    <a:pt x="447" y="123"/>
                  </a:lnTo>
                  <a:lnTo>
                    <a:pt x="445" y="123"/>
                  </a:lnTo>
                  <a:lnTo>
                    <a:pt x="444" y="123"/>
                  </a:lnTo>
                  <a:lnTo>
                    <a:pt x="444" y="125"/>
                  </a:lnTo>
                  <a:lnTo>
                    <a:pt x="442" y="125"/>
                  </a:lnTo>
                  <a:lnTo>
                    <a:pt x="444" y="125"/>
                  </a:lnTo>
                  <a:lnTo>
                    <a:pt x="442" y="125"/>
                  </a:lnTo>
                  <a:lnTo>
                    <a:pt x="442" y="127"/>
                  </a:lnTo>
                  <a:lnTo>
                    <a:pt x="440" y="127"/>
                  </a:lnTo>
                  <a:lnTo>
                    <a:pt x="438" y="127"/>
                  </a:lnTo>
                  <a:lnTo>
                    <a:pt x="438" y="125"/>
                  </a:lnTo>
                  <a:lnTo>
                    <a:pt x="436" y="125"/>
                  </a:lnTo>
                  <a:lnTo>
                    <a:pt x="434" y="125"/>
                  </a:lnTo>
                  <a:lnTo>
                    <a:pt x="434" y="127"/>
                  </a:lnTo>
                  <a:lnTo>
                    <a:pt x="434" y="129"/>
                  </a:lnTo>
                  <a:lnTo>
                    <a:pt x="434" y="130"/>
                  </a:lnTo>
                  <a:lnTo>
                    <a:pt x="432" y="130"/>
                  </a:lnTo>
                  <a:lnTo>
                    <a:pt x="430" y="130"/>
                  </a:lnTo>
                  <a:lnTo>
                    <a:pt x="428" y="130"/>
                  </a:lnTo>
                  <a:lnTo>
                    <a:pt x="426" y="130"/>
                  </a:lnTo>
                  <a:lnTo>
                    <a:pt x="426" y="129"/>
                  </a:lnTo>
                  <a:lnTo>
                    <a:pt x="426" y="130"/>
                  </a:lnTo>
                  <a:lnTo>
                    <a:pt x="426" y="129"/>
                  </a:lnTo>
                  <a:lnTo>
                    <a:pt x="426" y="130"/>
                  </a:lnTo>
                  <a:lnTo>
                    <a:pt x="424" y="130"/>
                  </a:lnTo>
                  <a:lnTo>
                    <a:pt x="422" y="130"/>
                  </a:lnTo>
                  <a:lnTo>
                    <a:pt x="422" y="132"/>
                  </a:lnTo>
                  <a:lnTo>
                    <a:pt x="420" y="132"/>
                  </a:lnTo>
                  <a:lnTo>
                    <a:pt x="420" y="134"/>
                  </a:lnTo>
                  <a:lnTo>
                    <a:pt x="419" y="134"/>
                  </a:lnTo>
                  <a:lnTo>
                    <a:pt x="419" y="136"/>
                  </a:lnTo>
                  <a:lnTo>
                    <a:pt x="419" y="138"/>
                  </a:lnTo>
                  <a:lnTo>
                    <a:pt x="417" y="138"/>
                  </a:lnTo>
                  <a:lnTo>
                    <a:pt x="417" y="140"/>
                  </a:lnTo>
                  <a:lnTo>
                    <a:pt x="419" y="140"/>
                  </a:lnTo>
                  <a:lnTo>
                    <a:pt x="417" y="140"/>
                  </a:lnTo>
                  <a:lnTo>
                    <a:pt x="417" y="142"/>
                  </a:lnTo>
                  <a:lnTo>
                    <a:pt x="419" y="142"/>
                  </a:lnTo>
                  <a:lnTo>
                    <a:pt x="417" y="142"/>
                  </a:lnTo>
                  <a:lnTo>
                    <a:pt x="417" y="144"/>
                  </a:lnTo>
                  <a:lnTo>
                    <a:pt x="415" y="144"/>
                  </a:lnTo>
                  <a:lnTo>
                    <a:pt x="413" y="144"/>
                  </a:lnTo>
                  <a:lnTo>
                    <a:pt x="413" y="146"/>
                  </a:lnTo>
                  <a:lnTo>
                    <a:pt x="411" y="146"/>
                  </a:lnTo>
                  <a:lnTo>
                    <a:pt x="411" y="148"/>
                  </a:lnTo>
                  <a:lnTo>
                    <a:pt x="409" y="148"/>
                  </a:lnTo>
                  <a:lnTo>
                    <a:pt x="409" y="150"/>
                  </a:lnTo>
                  <a:lnTo>
                    <a:pt x="407" y="150"/>
                  </a:lnTo>
                  <a:lnTo>
                    <a:pt x="405" y="150"/>
                  </a:lnTo>
                  <a:lnTo>
                    <a:pt x="403" y="150"/>
                  </a:lnTo>
                  <a:lnTo>
                    <a:pt x="401" y="150"/>
                  </a:lnTo>
                  <a:lnTo>
                    <a:pt x="399" y="150"/>
                  </a:lnTo>
                  <a:lnTo>
                    <a:pt x="397" y="150"/>
                  </a:lnTo>
                  <a:lnTo>
                    <a:pt x="396" y="150"/>
                  </a:lnTo>
                  <a:lnTo>
                    <a:pt x="394" y="150"/>
                  </a:lnTo>
                  <a:lnTo>
                    <a:pt x="392" y="150"/>
                  </a:lnTo>
                  <a:lnTo>
                    <a:pt x="392" y="152"/>
                  </a:lnTo>
                  <a:lnTo>
                    <a:pt x="392" y="154"/>
                  </a:lnTo>
                  <a:lnTo>
                    <a:pt x="390" y="154"/>
                  </a:lnTo>
                  <a:lnTo>
                    <a:pt x="390" y="155"/>
                  </a:lnTo>
                  <a:lnTo>
                    <a:pt x="388" y="155"/>
                  </a:lnTo>
                  <a:lnTo>
                    <a:pt x="388" y="157"/>
                  </a:lnTo>
                  <a:lnTo>
                    <a:pt x="386" y="157"/>
                  </a:lnTo>
                  <a:lnTo>
                    <a:pt x="386" y="159"/>
                  </a:lnTo>
                  <a:lnTo>
                    <a:pt x="384" y="159"/>
                  </a:lnTo>
                  <a:lnTo>
                    <a:pt x="382" y="159"/>
                  </a:lnTo>
                  <a:lnTo>
                    <a:pt x="382" y="161"/>
                  </a:lnTo>
                  <a:lnTo>
                    <a:pt x="380" y="161"/>
                  </a:lnTo>
                  <a:lnTo>
                    <a:pt x="380" y="163"/>
                  </a:lnTo>
                  <a:lnTo>
                    <a:pt x="378" y="163"/>
                  </a:lnTo>
                  <a:lnTo>
                    <a:pt x="376" y="163"/>
                  </a:lnTo>
                  <a:lnTo>
                    <a:pt x="374" y="163"/>
                  </a:lnTo>
                  <a:lnTo>
                    <a:pt x="373" y="163"/>
                  </a:lnTo>
                  <a:lnTo>
                    <a:pt x="371" y="163"/>
                  </a:lnTo>
                  <a:lnTo>
                    <a:pt x="371" y="161"/>
                  </a:lnTo>
                  <a:lnTo>
                    <a:pt x="369" y="161"/>
                  </a:lnTo>
                  <a:lnTo>
                    <a:pt x="367" y="161"/>
                  </a:lnTo>
                  <a:lnTo>
                    <a:pt x="365" y="161"/>
                  </a:lnTo>
                  <a:lnTo>
                    <a:pt x="365" y="159"/>
                  </a:lnTo>
                  <a:lnTo>
                    <a:pt x="363" y="159"/>
                  </a:lnTo>
                  <a:lnTo>
                    <a:pt x="363" y="157"/>
                  </a:lnTo>
                  <a:lnTo>
                    <a:pt x="361" y="157"/>
                  </a:lnTo>
                  <a:lnTo>
                    <a:pt x="359" y="157"/>
                  </a:lnTo>
                  <a:lnTo>
                    <a:pt x="357" y="157"/>
                  </a:lnTo>
                  <a:lnTo>
                    <a:pt x="355" y="157"/>
                  </a:lnTo>
                  <a:lnTo>
                    <a:pt x="355" y="155"/>
                  </a:lnTo>
                  <a:lnTo>
                    <a:pt x="355" y="157"/>
                  </a:lnTo>
                  <a:lnTo>
                    <a:pt x="353" y="157"/>
                  </a:lnTo>
                  <a:lnTo>
                    <a:pt x="351" y="157"/>
                  </a:lnTo>
                  <a:lnTo>
                    <a:pt x="351" y="159"/>
                  </a:lnTo>
                  <a:lnTo>
                    <a:pt x="351" y="161"/>
                  </a:lnTo>
                  <a:lnTo>
                    <a:pt x="349" y="161"/>
                  </a:lnTo>
                  <a:lnTo>
                    <a:pt x="349" y="163"/>
                  </a:lnTo>
                  <a:lnTo>
                    <a:pt x="349" y="165"/>
                  </a:lnTo>
                  <a:lnTo>
                    <a:pt x="349" y="167"/>
                  </a:lnTo>
                  <a:lnTo>
                    <a:pt x="348" y="167"/>
                  </a:lnTo>
                  <a:lnTo>
                    <a:pt x="348" y="169"/>
                  </a:lnTo>
                  <a:lnTo>
                    <a:pt x="348" y="171"/>
                  </a:lnTo>
                  <a:lnTo>
                    <a:pt x="346" y="171"/>
                  </a:lnTo>
                  <a:lnTo>
                    <a:pt x="346" y="173"/>
                  </a:lnTo>
                  <a:lnTo>
                    <a:pt x="348" y="173"/>
                  </a:lnTo>
                  <a:lnTo>
                    <a:pt x="348" y="175"/>
                  </a:lnTo>
                  <a:lnTo>
                    <a:pt x="349" y="175"/>
                  </a:lnTo>
                  <a:lnTo>
                    <a:pt x="349" y="177"/>
                  </a:lnTo>
                  <a:lnTo>
                    <a:pt x="349" y="178"/>
                  </a:lnTo>
                  <a:lnTo>
                    <a:pt x="351" y="178"/>
                  </a:lnTo>
                  <a:lnTo>
                    <a:pt x="353" y="178"/>
                  </a:lnTo>
                  <a:lnTo>
                    <a:pt x="353" y="180"/>
                  </a:lnTo>
                  <a:lnTo>
                    <a:pt x="353" y="182"/>
                  </a:lnTo>
                  <a:lnTo>
                    <a:pt x="355" y="182"/>
                  </a:lnTo>
                  <a:lnTo>
                    <a:pt x="355" y="184"/>
                  </a:lnTo>
                  <a:lnTo>
                    <a:pt x="353" y="184"/>
                  </a:lnTo>
                  <a:lnTo>
                    <a:pt x="353" y="186"/>
                  </a:lnTo>
                  <a:lnTo>
                    <a:pt x="351" y="186"/>
                  </a:lnTo>
                  <a:lnTo>
                    <a:pt x="351" y="188"/>
                  </a:lnTo>
                  <a:lnTo>
                    <a:pt x="349" y="188"/>
                  </a:lnTo>
                  <a:lnTo>
                    <a:pt x="349" y="190"/>
                  </a:lnTo>
                  <a:lnTo>
                    <a:pt x="348" y="190"/>
                  </a:lnTo>
                  <a:lnTo>
                    <a:pt x="346" y="190"/>
                  </a:lnTo>
                  <a:lnTo>
                    <a:pt x="344" y="190"/>
                  </a:lnTo>
                  <a:lnTo>
                    <a:pt x="344" y="192"/>
                  </a:lnTo>
                  <a:lnTo>
                    <a:pt x="342" y="192"/>
                  </a:lnTo>
                  <a:lnTo>
                    <a:pt x="340" y="192"/>
                  </a:lnTo>
                  <a:lnTo>
                    <a:pt x="338" y="196"/>
                  </a:lnTo>
                  <a:lnTo>
                    <a:pt x="336" y="198"/>
                  </a:lnTo>
                  <a:lnTo>
                    <a:pt x="336" y="200"/>
                  </a:lnTo>
                  <a:lnTo>
                    <a:pt x="334" y="200"/>
                  </a:lnTo>
                  <a:lnTo>
                    <a:pt x="334" y="202"/>
                  </a:lnTo>
                  <a:lnTo>
                    <a:pt x="332" y="202"/>
                  </a:lnTo>
                  <a:lnTo>
                    <a:pt x="332" y="203"/>
                  </a:lnTo>
                  <a:lnTo>
                    <a:pt x="330" y="203"/>
                  </a:lnTo>
                  <a:lnTo>
                    <a:pt x="328" y="205"/>
                  </a:lnTo>
                  <a:lnTo>
                    <a:pt x="326" y="205"/>
                  </a:lnTo>
                  <a:lnTo>
                    <a:pt x="325" y="205"/>
                  </a:lnTo>
                  <a:lnTo>
                    <a:pt x="325" y="207"/>
                  </a:lnTo>
                  <a:lnTo>
                    <a:pt x="323" y="207"/>
                  </a:lnTo>
                  <a:lnTo>
                    <a:pt x="321" y="207"/>
                  </a:lnTo>
                  <a:lnTo>
                    <a:pt x="321" y="209"/>
                  </a:lnTo>
                  <a:lnTo>
                    <a:pt x="319" y="209"/>
                  </a:lnTo>
                  <a:lnTo>
                    <a:pt x="317" y="209"/>
                  </a:lnTo>
                  <a:lnTo>
                    <a:pt x="315" y="209"/>
                  </a:lnTo>
                  <a:lnTo>
                    <a:pt x="315" y="211"/>
                  </a:lnTo>
                  <a:lnTo>
                    <a:pt x="315" y="209"/>
                  </a:lnTo>
                  <a:lnTo>
                    <a:pt x="313" y="209"/>
                  </a:lnTo>
                  <a:lnTo>
                    <a:pt x="311" y="209"/>
                  </a:lnTo>
                  <a:lnTo>
                    <a:pt x="311" y="211"/>
                  </a:lnTo>
                  <a:lnTo>
                    <a:pt x="309" y="211"/>
                  </a:lnTo>
                  <a:lnTo>
                    <a:pt x="307" y="211"/>
                  </a:lnTo>
                  <a:lnTo>
                    <a:pt x="305" y="211"/>
                  </a:lnTo>
                  <a:lnTo>
                    <a:pt x="305" y="209"/>
                  </a:lnTo>
                  <a:lnTo>
                    <a:pt x="303" y="209"/>
                  </a:lnTo>
                  <a:lnTo>
                    <a:pt x="302" y="209"/>
                  </a:lnTo>
                  <a:lnTo>
                    <a:pt x="302" y="211"/>
                  </a:lnTo>
                  <a:lnTo>
                    <a:pt x="302" y="209"/>
                  </a:lnTo>
                  <a:lnTo>
                    <a:pt x="300" y="209"/>
                  </a:lnTo>
                  <a:lnTo>
                    <a:pt x="298" y="209"/>
                  </a:lnTo>
                  <a:lnTo>
                    <a:pt x="298" y="211"/>
                  </a:lnTo>
                  <a:lnTo>
                    <a:pt x="296" y="211"/>
                  </a:lnTo>
                  <a:lnTo>
                    <a:pt x="294" y="211"/>
                  </a:lnTo>
                  <a:lnTo>
                    <a:pt x="292" y="211"/>
                  </a:lnTo>
                  <a:lnTo>
                    <a:pt x="290" y="211"/>
                  </a:lnTo>
                  <a:lnTo>
                    <a:pt x="290" y="209"/>
                  </a:lnTo>
                  <a:lnTo>
                    <a:pt x="288" y="209"/>
                  </a:lnTo>
                  <a:lnTo>
                    <a:pt x="288" y="211"/>
                  </a:lnTo>
                  <a:lnTo>
                    <a:pt x="286" y="211"/>
                  </a:lnTo>
                  <a:lnTo>
                    <a:pt x="284" y="211"/>
                  </a:lnTo>
                  <a:lnTo>
                    <a:pt x="284" y="213"/>
                  </a:lnTo>
                  <a:lnTo>
                    <a:pt x="282" y="213"/>
                  </a:lnTo>
                  <a:lnTo>
                    <a:pt x="280" y="213"/>
                  </a:lnTo>
                  <a:lnTo>
                    <a:pt x="278" y="213"/>
                  </a:lnTo>
                  <a:lnTo>
                    <a:pt x="277" y="213"/>
                  </a:lnTo>
                  <a:lnTo>
                    <a:pt x="277" y="215"/>
                  </a:lnTo>
                  <a:lnTo>
                    <a:pt x="275" y="215"/>
                  </a:lnTo>
                  <a:lnTo>
                    <a:pt x="273" y="215"/>
                  </a:lnTo>
                  <a:lnTo>
                    <a:pt x="271" y="217"/>
                  </a:lnTo>
                  <a:lnTo>
                    <a:pt x="269" y="217"/>
                  </a:lnTo>
                  <a:lnTo>
                    <a:pt x="267" y="219"/>
                  </a:lnTo>
                  <a:lnTo>
                    <a:pt x="265" y="219"/>
                  </a:lnTo>
                  <a:lnTo>
                    <a:pt x="263" y="219"/>
                  </a:lnTo>
                  <a:lnTo>
                    <a:pt x="263" y="221"/>
                  </a:lnTo>
                  <a:lnTo>
                    <a:pt x="261" y="221"/>
                  </a:lnTo>
                  <a:lnTo>
                    <a:pt x="261" y="223"/>
                  </a:lnTo>
                  <a:lnTo>
                    <a:pt x="259" y="223"/>
                  </a:lnTo>
                  <a:lnTo>
                    <a:pt x="257" y="223"/>
                  </a:lnTo>
                  <a:lnTo>
                    <a:pt x="257" y="225"/>
                  </a:lnTo>
                  <a:lnTo>
                    <a:pt x="255" y="225"/>
                  </a:lnTo>
                  <a:lnTo>
                    <a:pt x="254" y="226"/>
                  </a:lnTo>
                  <a:lnTo>
                    <a:pt x="252" y="226"/>
                  </a:lnTo>
                  <a:lnTo>
                    <a:pt x="250" y="226"/>
                  </a:lnTo>
                  <a:lnTo>
                    <a:pt x="248" y="226"/>
                  </a:lnTo>
                  <a:lnTo>
                    <a:pt x="246" y="226"/>
                  </a:lnTo>
                  <a:lnTo>
                    <a:pt x="246" y="225"/>
                  </a:lnTo>
                  <a:lnTo>
                    <a:pt x="246" y="223"/>
                  </a:lnTo>
                  <a:lnTo>
                    <a:pt x="246" y="221"/>
                  </a:lnTo>
                  <a:lnTo>
                    <a:pt x="244" y="221"/>
                  </a:lnTo>
                  <a:lnTo>
                    <a:pt x="244" y="223"/>
                  </a:lnTo>
                  <a:lnTo>
                    <a:pt x="242" y="223"/>
                  </a:lnTo>
                  <a:lnTo>
                    <a:pt x="240" y="223"/>
                  </a:lnTo>
                  <a:lnTo>
                    <a:pt x="238" y="223"/>
                  </a:lnTo>
                  <a:lnTo>
                    <a:pt x="236" y="223"/>
                  </a:lnTo>
                  <a:lnTo>
                    <a:pt x="234" y="223"/>
                  </a:lnTo>
                  <a:lnTo>
                    <a:pt x="232" y="223"/>
                  </a:lnTo>
                  <a:lnTo>
                    <a:pt x="230" y="221"/>
                  </a:lnTo>
                  <a:lnTo>
                    <a:pt x="229" y="221"/>
                  </a:lnTo>
                  <a:lnTo>
                    <a:pt x="227" y="221"/>
                  </a:lnTo>
                  <a:lnTo>
                    <a:pt x="225" y="219"/>
                  </a:lnTo>
                  <a:lnTo>
                    <a:pt x="223" y="219"/>
                  </a:lnTo>
                  <a:lnTo>
                    <a:pt x="223" y="217"/>
                  </a:lnTo>
                  <a:lnTo>
                    <a:pt x="221" y="217"/>
                  </a:lnTo>
                  <a:lnTo>
                    <a:pt x="219" y="217"/>
                  </a:lnTo>
                  <a:lnTo>
                    <a:pt x="219" y="215"/>
                  </a:lnTo>
                  <a:lnTo>
                    <a:pt x="217" y="215"/>
                  </a:lnTo>
                  <a:lnTo>
                    <a:pt x="215" y="215"/>
                  </a:lnTo>
                  <a:lnTo>
                    <a:pt x="215" y="217"/>
                  </a:lnTo>
                  <a:lnTo>
                    <a:pt x="215" y="215"/>
                  </a:lnTo>
                  <a:lnTo>
                    <a:pt x="213" y="215"/>
                  </a:lnTo>
                  <a:lnTo>
                    <a:pt x="211" y="215"/>
                  </a:lnTo>
                  <a:lnTo>
                    <a:pt x="209" y="215"/>
                  </a:lnTo>
                  <a:lnTo>
                    <a:pt x="209" y="213"/>
                  </a:lnTo>
                  <a:lnTo>
                    <a:pt x="207" y="213"/>
                  </a:lnTo>
                  <a:lnTo>
                    <a:pt x="207" y="211"/>
                  </a:lnTo>
                  <a:lnTo>
                    <a:pt x="206" y="209"/>
                  </a:lnTo>
                  <a:lnTo>
                    <a:pt x="202" y="209"/>
                  </a:lnTo>
                  <a:lnTo>
                    <a:pt x="202" y="207"/>
                  </a:lnTo>
                  <a:lnTo>
                    <a:pt x="200" y="207"/>
                  </a:lnTo>
                  <a:lnTo>
                    <a:pt x="198" y="207"/>
                  </a:lnTo>
                  <a:lnTo>
                    <a:pt x="196" y="207"/>
                  </a:lnTo>
                  <a:lnTo>
                    <a:pt x="194" y="205"/>
                  </a:lnTo>
                  <a:lnTo>
                    <a:pt x="192" y="205"/>
                  </a:lnTo>
                  <a:lnTo>
                    <a:pt x="190" y="205"/>
                  </a:lnTo>
                  <a:lnTo>
                    <a:pt x="188" y="205"/>
                  </a:lnTo>
                  <a:lnTo>
                    <a:pt x="186" y="205"/>
                  </a:lnTo>
                  <a:lnTo>
                    <a:pt x="184" y="205"/>
                  </a:lnTo>
                  <a:lnTo>
                    <a:pt x="183" y="205"/>
                  </a:lnTo>
                  <a:lnTo>
                    <a:pt x="181" y="205"/>
                  </a:lnTo>
                  <a:lnTo>
                    <a:pt x="179" y="205"/>
                  </a:lnTo>
                  <a:lnTo>
                    <a:pt x="177" y="207"/>
                  </a:lnTo>
                  <a:lnTo>
                    <a:pt x="175" y="207"/>
                  </a:lnTo>
                  <a:lnTo>
                    <a:pt x="173" y="207"/>
                  </a:lnTo>
                  <a:lnTo>
                    <a:pt x="171" y="207"/>
                  </a:lnTo>
                  <a:lnTo>
                    <a:pt x="169" y="207"/>
                  </a:lnTo>
                  <a:lnTo>
                    <a:pt x="167" y="207"/>
                  </a:lnTo>
                  <a:lnTo>
                    <a:pt x="165" y="207"/>
                  </a:lnTo>
                  <a:lnTo>
                    <a:pt x="163" y="207"/>
                  </a:lnTo>
                  <a:lnTo>
                    <a:pt x="161" y="207"/>
                  </a:lnTo>
                  <a:lnTo>
                    <a:pt x="159" y="207"/>
                  </a:lnTo>
                  <a:lnTo>
                    <a:pt x="158" y="205"/>
                  </a:lnTo>
                  <a:lnTo>
                    <a:pt x="156" y="205"/>
                  </a:lnTo>
                  <a:lnTo>
                    <a:pt x="154" y="205"/>
                  </a:lnTo>
                  <a:lnTo>
                    <a:pt x="152" y="205"/>
                  </a:lnTo>
                  <a:lnTo>
                    <a:pt x="150" y="205"/>
                  </a:lnTo>
                  <a:lnTo>
                    <a:pt x="148" y="205"/>
                  </a:lnTo>
                  <a:lnTo>
                    <a:pt x="146" y="205"/>
                  </a:lnTo>
                  <a:lnTo>
                    <a:pt x="144" y="203"/>
                  </a:lnTo>
                  <a:lnTo>
                    <a:pt x="142" y="203"/>
                  </a:lnTo>
                  <a:lnTo>
                    <a:pt x="140" y="203"/>
                  </a:lnTo>
                  <a:lnTo>
                    <a:pt x="138" y="203"/>
                  </a:lnTo>
                  <a:lnTo>
                    <a:pt x="136" y="203"/>
                  </a:lnTo>
                  <a:lnTo>
                    <a:pt x="135" y="203"/>
                  </a:lnTo>
                  <a:lnTo>
                    <a:pt x="133" y="203"/>
                  </a:lnTo>
                  <a:lnTo>
                    <a:pt x="131" y="203"/>
                  </a:lnTo>
                  <a:lnTo>
                    <a:pt x="129" y="203"/>
                  </a:lnTo>
                  <a:lnTo>
                    <a:pt x="127" y="203"/>
                  </a:lnTo>
                  <a:lnTo>
                    <a:pt x="127" y="205"/>
                  </a:lnTo>
                  <a:lnTo>
                    <a:pt x="127" y="202"/>
                  </a:lnTo>
                  <a:lnTo>
                    <a:pt x="125" y="200"/>
                  </a:lnTo>
                  <a:lnTo>
                    <a:pt x="123" y="198"/>
                  </a:lnTo>
                  <a:lnTo>
                    <a:pt x="121" y="196"/>
                  </a:lnTo>
                  <a:lnTo>
                    <a:pt x="119" y="194"/>
                  </a:lnTo>
                  <a:lnTo>
                    <a:pt x="119" y="192"/>
                  </a:lnTo>
                  <a:lnTo>
                    <a:pt x="119" y="190"/>
                  </a:lnTo>
                  <a:lnTo>
                    <a:pt x="117" y="188"/>
                  </a:lnTo>
                  <a:lnTo>
                    <a:pt x="117" y="186"/>
                  </a:lnTo>
                  <a:lnTo>
                    <a:pt x="117" y="184"/>
                  </a:lnTo>
                  <a:lnTo>
                    <a:pt x="115" y="184"/>
                  </a:lnTo>
                  <a:lnTo>
                    <a:pt x="115" y="182"/>
                  </a:lnTo>
                  <a:lnTo>
                    <a:pt x="115" y="180"/>
                  </a:lnTo>
                  <a:lnTo>
                    <a:pt x="113" y="178"/>
                  </a:lnTo>
                  <a:lnTo>
                    <a:pt x="111" y="178"/>
                  </a:lnTo>
                  <a:lnTo>
                    <a:pt x="111" y="177"/>
                  </a:lnTo>
                  <a:lnTo>
                    <a:pt x="111" y="175"/>
                  </a:lnTo>
                  <a:lnTo>
                    <a:pt x="113" y="173"/>
                  </a:lnTo>
                  <a:lnTo>
                    <a:pt x="111" y="173"/>
                  </a:lnTo>
                  <a:lnTo>
                    <a:pt x="110" y="173"/>
                  </a:lnTo>
                  <a:lnTo>
                    <a:pt x="108" y="173"/>
                  </a:lnTo>
                  <a:lnTo>
                    <a:pt x="106" y="175"/>
                  </a:lnTo>
                  <a:lnTo>
                    <a:pt x="106" y="173"/>
                  </a:lnTo>
                  <a:lnTo>
                    <a:pt x="104" y="173"/>
                  </a:lnTo>
                  <a:lnTo>
                    <a:pt x="102" y="173"/>
                  </a:lnTo>
                  <a:lnTo>
                    <a:pt x="102" y="171"/>
                  </a:lnTo>
                  <a:lnTo>
                    <a:pt x="100" y="169"/>
                  </a:lnTo>
                  <a:lnTo>
                    <a:pt x="98" y="169"/>
                  </a:lnTo>
                  <a:lnTo>
                    <a:pt x="96" y="169"/>
                  </a:lnTo>
                  <a:lnTo>
                    <a:pt x="96" y="167"/>
                  </a:lnTo>
                  <a:lnTo>
                    <a:pt x="96" y="165"/>
                  </a:lnTo>
                  <a:lnTo>
                    <a:pt x="94" y="165"/>
                  </a:lnTo>
                  <a:lnTo>
                    <a:pt x="92" y="165"/>
                  </a:lnTo>
                  <a:lnTo>
                    <a:pt x="92" y="163"/>
                  </a:lnTo>
                  <a:lnTo>
                    <a:pt x="90" y="163"/>
                  </a:lnTo>
                  <a:lnTo>
                    <a:pt x="88" y="161"/>
                  </a:lnTo>
                  <a:lnTo>
                    <a:pt x="87" y="161"/>
                  </a:lnTo>
                  <a:lnTo>
                    <a:pt x="87" y="159"/>
                  </a:lnTo>
                  <a:lnTo>
                    <a:pt x="85" y="159"/>
                  </a:lnTo>
                  <a:lnTo>
                    <a:pt x="83" y="159"/>
                  </a:lnTo>
                  <a:lnTo>
                    <a:pt x="81" y="159"/>
                  </a:lnTo>
                  <a:lnTo>
                    <a:pt x="81" y="157"/>
                  </a:lnTo>
                  <a:lnTo>
                    <a:pt x="79" y="157"/>
                  </a:lnTo>
                  <a:lnTo>
                    <a:pt x="77" y="157"/>
                  </a:lnTo>
                  <a:lnTo>
                    <a:pt x="75" y="157"/>
                  </a:lnTo>
                  <a:lnTo>
                    <a:pt x="73" y="157"/>
                  </a:lnTo>
                  <a:lnTo>
                    <a:pt x="71" y="157"/>
                  </a:lnTo>
                  <a:lnTo>
                    <a:pt x="69" y="157"/>
                  </a:lnTo>
                  <a:lnTo>
                    <a:pt x="67" y="157"/>
                  </a:lnTo>
                  <a:lnTo>
                    <a:pt x="65" y="157"/>
                  </a:lnTo>
                  <a:lnTo>
                    <a:pt x="64" y="157"/>
                  </a:lnTo>
                  <a:lnTo>
                    <a:pt x="62" y="157"/>
                  </a:lnTo>
                  <a:lnTo>
                    <a:pt x="60" y="157"/>
                  </a:lnTo>
                  <a:lnTo>
                    <a:pt x="58" y="157"/>
                  </a:lnTo>
                  <a:lnTo>
                    <a:pt x="56" y="157"/>
                  </a:lnTo>
                  <a:lnTo>
                    <a:pt x="56" y="155"/>
                  </a:lnTo>
                  <a:lnTo>
                    <a:pt x="54" y="155"/>
                  </a:lnTo>
                  <a:lnTo>
                    <a:pt x="52" y="155"/>
                  </a:lnTo>
                  <a:lnTo>
                    <a:pt x="50" y="155"/>
                  </a:lnTo>
                  <a:lnTo>
                    <a:pt x="50" y="154"/>
                  </a:lnTo>
                  <a:lnTo>
                    <a:pt x="48" y="154"/>
                  </a:lnTo>
                  <a:lnTo>
                    <a:pt x="46" y="154"/>
                  </a:lnTo>
                  <a:lnTo>
                    <a:pt x="46" y="152"/>
                  </a:lnTo>
                  <a:lnTo>
                    <a:pt x="44" y="152"/>
                  </a:lnTo>
                  <a:lnTo>
                    <a:pt x="44" y="150"/>
                  </a:lnTo>
                  <a:lnTo>
                    <a:pt x="44" y="148"/>
                  </a:lnTo>
                  <a:lnTo>
                    <a:pt x="42" y="148"/>
                  </a:lnTo>
                  <a:lnTo>
                    <a:pt x="42" y="146"/>
                  </a:lnTo>
                  <a:lnTo>
                    <a:pt x="44" y="144"/>
                  </a:lnTo>
                  <a:lnTo>
                    <a:pt x="44" y="142"/>
                  </a:lnTo>
                  <a:lnTo>
                    <a:pt x="44" y="140"/>
                  </a:lnTo>
                  <a:lnTo>
                    <a:pt x="46" y="140"/>
                  </a:lnTo>
                  <a:lnTo>
                    <a:pt x="46" y="138"/>
                  </a:lnTo>
                  <a:lnTo>
                    <a:pt x="48" y="138"/>
                  </a:lnTo>
                  <a:lnTo>
                    <a:pt x="48" y="136"/>
                  </a:lnTo>
                  <a:lnTo>
                    <a:pt x="48" y="134"/>
                  </a:lnTo>
                  <a:lnTo>
                    <a:pt x="48" y="132"/>
                  </a:lnTo>
                  <a:lnTo>
                    <a:pt x="46" y="132"/>
                  </a:lnTo>
                  <a:lnTo>
                    <a:pt x="46" y="130"/>
                  </a:lnTo>
                  <a:lnTo>
                    <a:pt x="48" y="130"/>
                  </a:lnTo>
                  <a:lnTo>
                    <a:pt x="48" y="129"/>
                  </a:lnTo>
                  <a:lnTo>
                    <a:pt x="48" y="127"/>
                  </a:lnTo>
                  <a:lnTo>
                    <a:pt x="48" y="125"/>
                  </a:lnTo>
                  <a:lnTo>
                    <a:pt x="48" y="123"/>
                  </a:lnTo>
                  <a:lnTo>
                    <a:pt x="48" y="121"/>
                  </a:lnTo>
                  <a:lnTo>
                    <a:pt x="46" y="121"/>
                  </a:lnTo>
                  <a:lnTo>
                    <a:pt x="46" y="119"/>
                  </a:lnTo>
                  <a:lnTo>
                    <a:pt x="48" y="119"/>
                  </a:lnTo>
                  <a:lnTo>
                    <a:pt x="46" y="119"/>
                  </a:lnTo>
                  <a:lnTo>
                    <a:pt x="46" y="117"/>
                  </a:lnTo>
                  <a:lnTo>
                    <a:pt x="44" y="117"/>
                  </a:lnTo>
                  <a:lnTo>
                    <a:pt x="44" y="115"/>
                  </a:lnTo>
                  <a:lnTo>
                    <a:pt x="42" y="115"/>
                  </a:lnTo>
                  <a:lnTo>
                    <a:pt x="42" y="113"/>
                  </a:lnTo>
                  <a:lnTo>
                    <a:pt x="42" y="111"/>
                  </a:lnTo>
                  <a:lnTo>
                    <a:pt x="40" y="111"/>
                  </a:lnTo>
                  <a:lnTo>
                    <a:pt x="40" y="109"/>
                  </a:lnTo>
                  <a:lnTo>
                    <a:pt x="40" y="107"/>
                  </a:lnTo>
                  <a:lnTo>
                    <a:pt x="40" y="105"/>
                  </a:lnTo>
                  <a:lnTo>
                    <a:pt x="39" y="105"/>
                  </a:lnTo>
                  <a:lnTo>
                    <a:pt x="39" y="104"/>
                  </a:lnTo>
                  <a:lnTo>
                    <a:pt x="39" y="102"/>
                  </a:lnTo>
                  <a:lnTo>
                    <a:pt x="37" y="102"/>
                  </a:lnTo>
                  <a:lnTo>
                    <a:pt x="37" y="100"/>
                  </a:lnTo>
                  <a:lnTo>
                    <a:pt x="35" y="100"/>
                  </a:lnTo>
                  <a:lnTo>
                    <a:pt x="35" y="98"/>
                  </a:lnTo>
                  <a:lnTo>
                    <a:pt x="33" y="98"/>
                  </a:lnTo>
                  <a:lnTo>
                    <a:pt x="31" y="98"/>
                  </a:lnTo>
                  <a:lnTo>
                    <a:pt x="29" y="98"/>
                  </a:lnTo>
                  <a:lnTo>
                    <a:pt x="29" y="96"/>
                  </a:lnTo>
                  <a:lnTo>
                    <a:pt x="27" y="96"/>
                  </a:lnTo>
                  <a:lnTo>
                    <a:pt x="29" y="96"/>
                  </a:lnTo>
                  <a:lnTo>
                    <a:pt x="27" y="96"/>
                  </a:lnTo>
                  <a:lnTo>
                    <a:pt x="27" y="94"/>
                  </a:lnTo>
                  <a:lnTo>
                    <a:pt x="25" y="94"/>
                  </a:lnTo>
                  <a:lnTo>
                    <a:pt x="23" y="94"/>
                  </a:lnTo>
                  <a:lnTo>
                    <a:pt x="21" y="94"/>
                  </a:lnTo>
                  <a:lnTo>
                    <a:pt x="21" y="96"/>
                  </a:lnTo>
                  <a:lnTo>
                    <a:pt x="21" y="94"/>
                  </a:lnTo>
                  <a:lnTo>
                    <a:pt x="19" y="94"/>
                  </a:lnTo>
                  <a:lnTo>
                    <a:pt x="19" y="92"/>
                  </a:lnTo>
                  <a:lnTo>
                    <a:pt x="17" y="92"/>
                  </a:lnTo>
                  <a:lnTo>
                    <a:pt x="16" y="92"/>
                  </a:lnTo>
                  <a:lnTo>
                    <a:pt x="16" y="90"/>
                  </a:lnTo>
                  <a:lnTo>
                    <a:pt x="14" y="90"/>
                  </a:lnTo>
                  <a:lnTo>
                    <a:pt x="12" y="90"/>
                  </a:lnTo>
                  <a:lnTo>
                    <a:pt x="14" y="90"/>
                  </a:lnTo>
                  <a:lnTo>
                    <a:pt x="14" y="88"/>
                  </a:lnTo>
                  <a:lnTo>
                    <a:pt x="12" y="88"/>
                  </a:lnTo>
                  <a:lnTo>
                    <a:pt x="14" y="88"/>
                  </a:lnTo>
                  <a:lnTo>
                    <a:pt x="14" y="86"/>
                  </a:lnTo>
                  <a:lnTo>
                    <a:pt x="12" y="86"/>
                  </a:lnTo>
                  <a:lnTo>
                    <a:pt x="10" y="86"/>
                  </a:lnTo>
                  <a:lnTo>
                    <a:pt x="10" y="84"/>
                  </a:lnTo>
                  <a:lnTo>
                    <a:pt x="8" y="84"/>
                  </a:lnTo>
                  <a:lnTo>
                    <a:pt x="6" y="84"/>
                  </a:lnTo>
                  <a:lnTo>
                    <a:pt x="6" y="82"/>
                  </a:lnTo>
                  <a:lnTo>
                    <a:pt x="4" y="82"/>
                  </a:lnTo>
                  <a:lnTo>
                    <a:pt x="4" y="81"/>
                  </a:lnTo>
                  <a:lnTo>
                    <a:pt x="4" y="79"/>
                  </a:lnTo>
                  <a:lnTo>
                    <a:pt x="6" y="79"/>
                  </a:lnTo>
                  <a:lnTo>
                    <a:pt x="4" y="79"/>
                  </a:lnTo>
                  <a:lnTo>
                    <a:pt x="4" y="77"/>
                  </a:lnTo>
                  <a:lnTo>
                    <a:pt x="4" y="79"/>
                  </a:lnTo>
                  <a:lnTo>
                    <a:pt x="2" y="79"/>
                  </a:lnTo>
                  <a:lnTo>
                    <a:pt x="2" y="77"/>
                  </a:lnTo>
                  <a:lnTo>
                    <a:pt x="0" y="77"/>
                  </a:lnTo>
                  <a:lnTo>
                    <a:pt x="2" y="77"/>
                  </a:lnTo>
                  <a:lnTo>
                    <a:pt x="0" y="77"/>
                  </a:lnTo>
                  <a:lnTo>
                    <a:pt x="0" y="75"/>
                  </a:lnTo>
                  <a:lnTo>
                    <a:pt x="0" y="73"/>
                  </a:lnTo>
                  <a:lnTo>
                    <a:pt x="2" y="73"/>
                  </a:lnTo>
                  <a:lnTo>
                    <a:pt x="2" y="71"/>
                  </a:lnTo>
                  <a:lnTo>
                    <a:pt x="2" y="69"/>
                  </a:lnTo>
                  <a:lnTo>
                    <a:pt x="4" y="69"/>
                  </a:lnTo>
                  <a:lnTo>
                    <a:pt x="4" y="67"/>
                  </a:lnTo>
                  <a:lnTo>
                    <a:pt x="6" y="67"/>
                  </a:lnTo>
                  <a:lnTo>
                    <a:pt x="6" y="65"/>
                  </a:lnTo>
                  <a:lnTo>
                    <a:pt x="6" y="63"/>
                  </a:lnTo>
                  <a:lnTo>
                    <a:pt x="6" y="61"/>
                  </a:lnTo>
                  <a:lnTo>
                    <a:pt x="8" y="61"/>
                  </a:lnTo>
                  <a:lnTo>
                    <a:pt x="10" y="61"/>
                  </a:lnTo>
                  <a:lnTo>
                    <a:pt x="12" y="61"/>
                  </a:lnTo>
                  <a:lnTo>
                    <a:pt x="14" y="61"/>
                  </a:lnTo>
                  <a:lnTo>
                    <a:pt x="16" y="61"/>
                  </a:lnTo>
                  <a:lnTo>
                    <a:pt x="16" y="63"/>
                  </a:lnTo>
                  <a:lnTo>
                    <a:pt x="17" y="63"/>
                  </a:lnTo>
                  <a:lnTo>
                    <a:pt x="17" y="61"/>
                  </a:lnTo>
                  <a:lnTo>
                    <a:pt x="17" y="59"/>
                  </a:lnTo>
                  <a:lnTo>
                    <a:pt x="17" y="61"/>
                  </a:lnTo>
                  <a:lnTo>
                    <a:pt x="19" y="61"/>
                  </a:lnTo>
                  <a:lnTo>
                    <a:pt x="21" y="61"/>
                  </a:lnTo>
                  <a:lnTo>
                    <a:pt x="21" y="59"/>
                  </a:lnTo>
                  <a:lnTo>
                    <a:pt x="21" y="57"/>
                  </a:lnTo>
                  <a:lnTo>
                    <a:pt x="23" y="57"/>
                  </a:lnTo>
                  <a:lnTo>
                    <a:pt x="23" y="59"/>
                  </a:lnTo>
                  <a:lnTo>
                    <a:pt x="25" y="59"/>
                  </a:lnTo>
                  <a:lnTo>
                    <a:pt x="25" y="57"/>
                  </a:lnTo>
                  <a:lnTo>
                    <a:pt x="27" y="57"/>
                  </a:lnTo>
                  <a:lnTo>
                    <a:pt x="29" y="57"/>
                  </a:lnTo>
                  <a:lnTo>
                    <a:pt x="29" y="56"/>
                  </a:lnTo>
                  <a:lnTo>
                    <a:pt x="29" y="54"/>
                  </a:lnTo>
                  <a:lnTo>
                    <a:pt x="29" y="56"/>
                  </a:lnTo>
                  <a:lnTo>
                    <a:pt x="29" y="54"/>
                  </a:lnTo>
                  <a:lnTo>
                    <a:pt x="27" y="54"/>
                  </a:lnTo>
                  <a:lnTo>
                    <a:pt x="29" y="54"/>
                  </a:lnTo>
                  <a:lnTo>
                    <a:pt x="27" y="54"/>
                  </a:lnTo>
                  <a:lnTo>
                    <a:pt x="27" y="52"/>
                  </a:lnTo>
                  <a:lnTo>
                    <a:pt x="29" y="52"/>
                  </a:lnTo>
                  <a:lnTo>
                    <a:pt x="31" y="52"/>
                  </a:lnTo>
                  <a:lnTo>
                    <a:pt x="33" y="52"/>
                  </a:lnTo>
                  <a:lnTo>
                    <a:pt x="33" y="50"/>
                  </a:lnTo>
                  <a:lnTo>
                    <a:pt x="33" y="48"/>
                  </a:lnTo>
                  <a:lnTo>
                    <a:pt x="35" y="48"/>
                  </a:lnTo>
                  <a:lnTo>
                    <a:pt x="37" y="48"/>
                  </a:lnTo>
                  <a:lnTo>
                    <a:pt x="39" y="48"/>
                  </a:lnTo>
                  <a:lnTo>
                    <a:pt x="39" y="46"/>
                  </a:lnTo>
                  <a:lnTo>
                    <a:pt x="40" y="46"/>
                  </a:lnTo>
                  <a:lnTo>
                    <a:pt x="40" y="44"/>
                  </a:lnTo>
                  <a:lnTo>
                    <a:pt x="42" y="44"/>
                  </a:lnTo>
                  <a:lnTo>
                    <a:pt x="44" y="44"/>
                  </a:lnTo>
                  <a:lnTo>
                    <a:pt x="44" y="42"/>
                  </a:lnTo>
                  <a:lnTo>
                    <a:pt x="46" y="42"/>
                  </a:lnTo>
                  <a:lnTo>
                    <a:pt x="46" y="40"/>
                  </a:lnTo>
                  <a:lnTo>
                    <a:pt x="48" y="40"/>
                  </a:lnTo>
                  <a:lnTo>
                    <a:pt x="50" y="40"/>
                  </a:lnTo>
                  <a:lnTo>
                    <a:pt x="52" y="40"/>
                  </a:lnTo>
                  <a:lnTo>
                    <a:pt x="52" y="38"/>
                  </a:lnTo>
                  <a:lnTo>
                    <a:pt x="54" y="38"/>
                  </a:lnTo>
                  <a:lnTo>
                    <a:pt x="54" y="40"/>
                  </a:lnTo>
                  <a:lnTo>
                    <a:pt x="54" y="38"/>
                  </a:lnTo>
                  <a:lnTo>
                    <a:pt x="54" y="36"/>
                  </a:lnTo>
                  <a:lnTo>
                    <a:pt x="56" y="36"/>
                  </a:lnTo>
                  <a:lnTo>
                    <a:pt x="58" y="36"/>
                  </a:lnTo>
                  <a:lnTo>
                    <a:pt x="58" y="34"/>
                  </a:lnTo>
                  <a:lnTo>
                    <a:pt x="60" y="34"/>
                  </a:lnTo>
                  <a:lnTo>
                    <a:pt x="60" y="32"/>
                  </a:lnTo>
                  <a:lnTo>
                    <a:pt x="62" y="32"/>
                  </a:lnTo>
                  <a:lnTo>
                    <a:pt x="64" y="34"/>
                  </a:lnTo>
                  <a:lnTo>
                    <a:pt x="65" y="34"/>
                  </a:lnTo>
                  <a:lnTo>
                    <a:pt x="65" y="32"/>
                  </a:lnTo>
                  <a:lnTo>
                    <a:pt x="67" y="32"/>
                  </a:lnTo>
                  <a:lnTo>
                    <a:pt x="67" y="31"/>
                  </a:lnTo>
                  <a:lnTo>
                    <a:pt x="67" y="29"/>
                  </a:lnTo>
                  <a:lnTo>
                    <a:pt x="67" y="31"/>
                  </a:lnTo>
                  <a:lnTo>
                    <a:pt x="69" y="31"/>
                  </a:lnTo>
                  <a:lnTo>
                    <a:pt x="69" y="32"/>
                  </a:lnTo>
                  <a:lnTo>
                    <a:pt x="71" y="31"/>
                  </a:lnTo>
                  <a:lnTo>
                    <a:pt x="71" y="32"/>
                  </a:lnTo>
                  <a:lnTo>
                    <a:pt x="71" y="34"/>
                  </a:lnTo>
                  <a:lnTo>
                    <a:pt x="73" y="34"/>
                  </a:lnTo>
                  <a:lnTo>
                    <a:pt x="73" y="32"/>
                  </a:lnTo>
                  <a:lnTo>
                    <a:pt x="73" y="31"/>
                  </a:lnTo>
                  <a:lnTo>
                    <a:pt x="75" y="31"/>
                  </a:lnTo>
                  <a:lnTo>
                    <a:pt x="75" y="32"/>
                  </a:lnTo>
                  <a:lnTo>
                    <a:pt x="77" y="32"/>
                  </a:lnTo>
                  <a:lnTo>
                    <a:pt x="77" y="34"/>
                  </a:lnTo>
                  <a:lnTo>
                    <a:pt x="79" y="36"/>
                  </a:lnTo>
                  <a:lnTo>
                    <a:pt x="81" y="36"/>
                  </a:lnTo>
                  <a:lnTo>
                    <a:pt x="83" y="36"/>
                  </a:lnTo>
                  <a:lnTo>
                    <a:pt x="83" y="34"/>
                  </a:lnTo>
                  <a:lnTo>
                    <a:pt x="85" y="34"/>
                  </a:lnTo>
                  <a:lnTo>
                    <a:pt x="85" y="36"/>
                  </a:lnTo>
                  <a:lnTo>
                    <a:pt x="87" y="36"/>
                  </a:lnTo>
                  <a:lnTo>
                    <a:pt x="88" y="36"/>
                  </a:lnTo>
                  <a:lnTo>
                    <a:pt x="90" y="36"/>
                  </a:lnTo>
                  <a:lnTo>
                    <a:pt x="92" y="36"/>
                  </a:lnTo>
                  <a:lnTo>
                    <a:pt x="94" y="36"/>
                  </a:lnTo>
                  <a:lnTo>
                    <a:pt x="96" y="36"/>
                  </a:lnTo>
                  <a:lnTo>
                    <a:pt x="96" y="38"/>
                  </a:lnTo>
                  <a:lnTo>
                    <a:pt x="96" y="40"/>
                  </a:lnTo>
                  <a:lnTo>
                    <a:pt x="98" y="42"/>
                  </a:lnTo>
                  <a:lnTo>
                    <a:pt x="98" y="44"/>
                  </a:lnTo>
                  <a:lnTo>
                    <a:pt x="98" y="46"/>
                  </a:lnTo>
                  <a:lnTo>
                    <a:pt x="100" y="46"/>
                  </a:lnTo>
                  <a:lnTo>
                    <a:pt x="100" y="48"/>
                  </a:lnTo>
                  <a:lnTo>
                    <a:pt x="100" y="50"/>
                  </a:lnTo>
                  <a:lnTo>
                    <a:pt x="100" y="48"/>
                  </a:lnTo>
                  <a:lnTo>
                    <a:pt x="100" y="50"/>
                  </a:lnTo>
                  <a:lnTo>
                    <a:pt x="102" y="50"/>
                  </a:lnTo>
                  <a:lnTo>
                    <a:pt x="102" y="48"/>
                  </a:lnTo>
                  <a:lnTo>
                    <a:pt x="104" y="48"/>
                  </a:lnTo>
                  <a:lnTo>
                    <a:pt x="106" y="48"/>
                  </a:lnTo>
                  <a:lnTo>
                    <a:pt x="106" y="50"/>
                  </a:lnTo>
                  <a:lnTo>
                    <a:pt x="108" y="50"/>
                  </a:lnTo>
                  <a:lnTo>
                    <a:pt x="110" y="50"/>
                  </a:lnTo>
                  <a:lnTo>
                    <a:pt x="111" y="52"/>
                  </a:lnTo>
                  <a:lnTo>
                    <a:pt x="113" y="50"/>
                  </a:lnTo>
                  <a:lnTo>
                    <a:pt x="113" y="52"/>
                  </a:lnTo>
                  <a:lnTo>
                    <a:pt x="115" y="52"/>
                  </a:lnTo>
                  <a:lnTo>
                    <a:pt x="115" y="50"/>
                  </a:lnTo>
                  <a:lnTo>
                    <a:pt x="117" y="50"/>
                  </a:lnTo>
                  <a:lnTo>
                    <a:pt x="117" y="52"/>
                  </a:lnTo>
                  <a:lnTo>
                    <a:pt x="117" y="50"/>
                  </a:lnTo>
                  <a:lnTo>
                    <a:pt x="119" y="50"/>
                  </a:lnTo>
                  <a:lnTo>
                    <a:pt x="121" y="50"/>
                  </a:lnTo>
                  <a:lnTo>
                    <a:pt x="123" y="50"/>
                  </a:lnTo>
                  <a:lnTo>
                    <a:pt x="125" y="50"/>
                  </a:lnTo>
                  <a:lnTo>
                    <a:pt x="125" y="52"/>
                  </a:lnTo>
                  <a:lnTo>
                    <a:pt x="127" y="52"/>
                  </a:lnTo>
                  <a:lnTo>
                    <a:pt x="127" y="54"/>
                  </a:lnTo>
                  <a:lnTo>
                    <a:pt x="127" y="52"/>
                  </a:lnTo>
                  <a:lnTo>
                    <a:pt x="129" y="52"/>
                  </a:lnTo>
                  <a:lnTo>
                    <a:pt x="131" y="52"/>
                  </a:lnTo>
                  <a:lnTo>
                    <a:pt x="131" y="54"/>
                  </a:lnTo>
                  <a:lnTo>
                    <a:pt x="131" y="52"/>
                  </a:lnTo>
                  <a:lnTo>
                    <a:pt x="133" y="52"/>
                  </a:lnTo>
                  <a:lnTo>
                    <a:pt x="135" y="52"/>
                  </a:lnTo>
                  <a:lnTo>
                    <a:pt x="136" y="52"/>
                  </a:lnTo>
                  <a:lnTo>
                    <a:pt x="136" y="54"/>
                  </a:lnTo>
                  <a:lnTo>
                    <a:pt x="138" y="54"/>
                  </a:lnTo>
                  <a:lnTo>
                    <a:pt x="138" y="56"/>
                  </a:lnTo>
                  <a:lnTo>
                    <a:pt x="140" y="56"/>
                  </a:lnTo>
                  <a:lnTo>
                    <a:pt x="142" y="56"/>
                  </a:lnTo>
                  <a:lnTo>
                    <a:pt x="142" y="54"/>
                  </a:lnTo>
                  <a:lnTo>
                    <a:pt x="144" y="54"/>
                  </a:lnTo>
                  <a:lnTo>
                    <a:pt x="144" y="52"/>
                  </a:lnTo>
                  <a:lnTo>
                    <a:pt x="146" y="52"/>
                  </a:lnTo>
                  <a:lnTo>
                    <a:pt x="146" y="50"/>
                  </a:lnTo>
                  <a:lnTo>
                    <a:pt x="148" y="50"/>
                  </a:lnTo>
                  <a:lnTo>
                    <a:pt x="148" y="52"/>
                  </a:lnTo>
                  <a:lnTo>
                    <a:pt x="148" y="50"/>
                  </a:lnTo>
                  <a:lnTo>
                    <a:pt x="150" y="50"/>
                  </a:lnTo>
                  <a:lnTo>
                    <a:pt x="152" y="50"/>
                  </a:lnTo>
                  <a:lnTo>
                    <a:pt x="152" y="48"/>
                  </a:lnTo>
                  <a:lnTo>
                    <a:pt x="152" y="46"/>
                  </a:lnTo>
                  <a:lnTo>
                    <a:pt x="154" y="46"/>
                  </a:lnTo>
                  <a:lnTo>
                    <a:pt x="154" y="44"/>
                  </a:lnTo>
                  <a:lnTo>
                    <a:pt x="154" y="42"/>
                  </a:lnTo>
                  <a:lnTo>
                    <a:pt x="156" y="42"/>
                  </a:lnTo>
                  <a:lnTo>
                    <a:pt x="154" y="42"/>
                  </a:lnTo>
                  <a:lnTo>
                    <a:pt x="156" y="42"/>
                  </a:lnTo>
                  <a:lnTo>
                    <a:pt x="154" y="42"/>
                  </a:lnTo>
                  <a:lnTo>
                    <a:pt x="154" y="40"/>
                  </a:lnTo>
                  <a:lnTo>
                    <a:pt x="156" y="40"/>
                  </a:lnTo>
                  <a:lnTo>
                    <a:pt x="154" y="40"/>
                  </a:lnTo>
                  <a:lnTo>
                    <a:pt x="156" y="40"/>
                  </a:lnTo>
                  <a:lnTo>
                    <a:pt x="156" y="38"/>
                  </a:lnTo>
                  <a:lnTo>
                    <a:pt x="154" y="38"/>
                  </a:lnTo>
                  <a:lnTo>
                    <a:pt x="154" y="36"/>
                  </a:lnTo>
                  <a:lnTo>
                    <a:pt x="154" y="38"/>
                  </a:lnTo>
                  <a:lnTo>
                    <a:pt x="154" y="36"/>
                  </a:lnTo>
                  <a:lnTo>
                    <a:pt x="152" y="36"/>
                  </a:lnTo>
                  <a:lnTo>
                    <a:pt x="152" y="34"/>
                  </a:lnTo>
                  <a:lnTo>
                    <a:pt x="150" y="34"/>
                  </a:lnTo>
                  <a:lnTo>
                    <a:pt x="150" y="32"/>
                  </a:lnTo>
                  <a:lnTo>
                    <a:pt x="150" y="31"/>
                  </a:lnTo>
                  <a:lnTo>
                    <a:pt x="150" y="29"/>
                  </a:lnTo>
                  <a:lnTo>
                    <a:pt x="148" y="29"/>
                  </a:lnTo>
                  <a:lnTo>
                    <a:pt x="148" y="27"/>
                  </a:lnTo>
                  <a:lnTo>
                    <a:pt x="148" y="25"/>
                  </a:lnTo>
                  <a:lnTo>
                    <a:pt x="148" y="23"/>
                  </a:lnTo>
                  <a:lnTo>
                    <a:pt x="150" y="23"/>
                  </a:lnTo>
                  <a:lnTo>
                    <a:pt x="150" y="21"/>
                  </a:lnTo>
                  <a:lnTo>
                    <a:pt x="150" y="19"/>
                  </a:lnTo>
                  <a:lnTo>
                    <a:pt x="150" y="17"/>
                  </a:lnTo>
                  <a:lnTo>
                    <a:pt x="152" y="17"/>
                  </a:lnTo>
                  <a:lnTo>
                    <a:pt x="150" y="17"/>
                  </a:lnTo>
                  <a:lnTo>
                    <a:pt x="152" y="17"/>
                  </a:lnTo>
                  <a:lnTo>
                    <a:pt x="152" y="15"/>
                  </a:lnTo>
                  <a:lnTo>
                    <a:pt x="154" y="15"/>
                  </a:lnTo>
                  <a:lnTo>
                    <a:pt x="154" y="13"/>
                  </a:lnTo>
                  <a:lnTo>
                    <a:pt x="154" y="11"/>
                  </a:lnTo>
                  <a:lnTo>
                    <a:pt x="156" y="11"/>
                  </a:lnTo>
                  <a:lnTo>
                    <a:pt x="156" y="9"/>
                  </a:lnTo>
                  <a:lnTo>
                    <a:pt x="158" y="9"/>
                  </a:lnTo>
                  <a:lnTo>
                    <a:pt x="158" y="8"/>
                  </a:lnTo>
                  <a:lnTo>
                    <a:pt x="159" y="8"/>
                  </a:lnTo>
                  <a:lnTo>
                    <a:pt x="161" y="8"/>
                  </a:lnTo>
                  <a:lnTo>
                    <a:pt x="161" y="6"/>
                  </a:lnTo>
                  <a:lnTo>
                    <a:pt x="161" y="4"/>
                  </a:lnTo>
                  <a:lnTo>
                    <a:pt x="161" y="2"/>
                  </a:lnTo>
                  <a:lnTo>
                    <a:pt x="163" y="2"/>
                  </a:lnTo>
                  <a:lnTo>
                    <a:pt x="163" y="0"/>
                  </a:lnTo>
                  <a:lnTo>
                    <a:pt x="165" y="0"/>
                  </a:lnTo>
                  <a:lnTo>
                    <a:pt x="165" y="2"/>
                  </a:lnTo>
                  <a:lnTo>
                    <a:pt x="167" y="2"/>
                  </a:lnTo>
                  <a:lnTo>
                    <a:pt x="167" y="4"/>
                  </a:lnTo>
                  <a:lnTo>
                    <a:pt x="167" y="2"/>
                  </a:lnTo>
                  <a:lnTo>
                    <a:pt x="169" y="2"/>
                  </a:lnTo>
                  <a:lnTo>
                    <a:pt x="169" y="4"/>
                  </a:lnTo>
                  <a:lnTo>
                    <a:pt x="171" y="4"/>
                  </a:lnTo>
                  <a:lnTo>
                    <a:pt x="171" y="6"/>
                  </a:lnTo>
                  <a:lnTo>
                    <a:pt x="171" y="4"/>
                  </a:lnTo>
                  <a:lnTo>
                    <a:pt x="171" y="6"/>
                  </a:lnTo>
                  <a:lnTo>
                    <a:pt x="173" y="6"/>
                  </a:lnTo>
                  <a:lnTo>
                    <a:pt x="175" y="6"/>
                  </a:lnTo>
                  <a:lnTo>
                    <a:pt x="177" y="6"/>
                  </a:lnTo>
                  <a:lnTo>
                    <a:pt x="177" y="8"/>
                  </a:lnTo>
                  <a:lnTo>
                    <a:pt x="177" y="9"/>
                  </a:lnTo>
                  <a:lnTo>
                    <a:pt x="179" y="9"/>
                  </a:lnTo>
                  <a:lnTo>
                    <a:pt x="181" y="9"/>
                  </a:lnTo>
                  <a:lnTo>
                    <a:pt x="183" y="9"/>
                  </a:lnTo>
                  <a:lnTo>
                    <a:pt x="184" y="9"/>
                  </a:lnTo>
                  <a:lnTo>
                    <a:pt x="186" y="9"/>
                  </a:lnTo>
                  <a:lnTo>
                    <a:pt x="188" y="9"/>
                  </a:lnTo>
                  <a:lnTo>
                    <a:pt x="190" y="9"/>
                  </a:lnTo>
                  <a:lnTo>
                    <a:pt x="190" y="11"/>
                  </a:lnTo>
                  <a:lnTo>
                    <a:pt x="192" y="11"/>
                  </a:lnTo>
                  <a:lnTo>
                    <a:pt x="192" y="13"/>
                  </a:lnTo>
                  <a:lnTo>
                    <a:pt x="194" y="13"/>
                  </a:lnTo>
                  <a:lnTo>
                    <a:pt x="196" y="13"/>
                  </a:lnTo>
                  <a:lnTo>
                    <a:pt x="196" y="15"/>
                  </a:lnTo>
                  <a:lnTo>
                    <a:pt x="198" y="15"/>
                  </a:lnTo>
                  <a:lnTo>
                    <a:pt x="198" y="13"/>
                  </a:lnTo>
                  <a:lnTo>
                    <a:pt x="198" y="15"/>
                  </a:lnTo>
                  <a:lnTo>
                    <a:pt x="200" y="15"/>
                  </a:lnTo>
                  <a:lnTo>
                    <a:pt x="200" y="17"/>
                  </a:lnTo>
                  <a:lnTo>
                    <a:pt x="200" y="15"/>
                  </a:lnTo>
                  <a:lnTo>
                    <a:pt x="200" y="17"/>
                  </a:lnTo>
                  <a:lnTo>
                    <a:pt x="200" y="15"/>
                  </a:lnTo>
                  <a:lnTo>
                    <a:pt x="202" y="15"/>
                  </a:lnTo>
                  <a:lnTo>
                    <a:pt x="204" y="15"/>
                  </a:lnTo>
                  <a:lnTo>
                    <a:pt x="204" y="17"/>
                  </a:lnTo>
                  <a:lnTo>
                    <a:pt x="206" y="17"/>
                  </a:lnTo>
                  <a:lnTo>
                    <a:pt x="206" y="15"/>
                  </a:lnTo>
                  <a:lnTo>
                    <a:pt x="206" y="17"/>
                  </a:lnTo>
                  <a:lnTo>
                    <a:pt x="207" y="17"/>
                  </a:lnTo>
                  <a:lnTo>
                    <a:pt x="209" y="17"/>
                  </a:lnTo>
                  <a:lnTo>
                    <a:pt x="209" y="19"/>
                  </a:lnTo>
                  <a:lnTo>
                    <a:pt x="211" y="19"/>
                  </a:lnTo>
                  <a:lnTo>
                    <a:pt x="211" y="21"/>
                  </a:lnTo>
                  <a:lnTo>
                    <a:pt x="211" y="23"/>
                  </a:lnTo>
                  <a:lnTo>
                    <a:pt x="211" y="25"/>
                  </a:lnTo>
                  <a:lnTo>
                    <a:pt x="211" y="27"/>
                  </a:lnTo>
                  <a:lnTo>
                    <a:pt x="213" y="27"/>
                  </a:lnTo>
                  <a:lnTo>
                    <a:pt x="211" y="27"/>
                  </a:lnTo>
                  <a:lnTo>
                    <a:pt x="211" y="29"/>
                  </a:lnTo>
                  <a:lnTo>
                    <a:pt x="213" y="29"/>
                  </a:lnTo>
                  <a:lnTo>
                    <a:pt x="211" y="29"/>
                  </a:lnTo>
                  <a:lnTo>
                    <a:pt x="211" y="31"/>
                  </a:lnTo>
                  <a:lnTo>
                    <a:pt x="213" y="31"/>
                  </a:lnTo>
                  <a:lnTo>
                    <a:pt x="211" y="31"/>
                  </a:lnTo>
                  <a:lnTo>
                    <a:pt x="213" y="31"/>
                  </a:lnTo>
                  <a:lnTo>
                    <a:pt x="213" y="32"/>
                  </a:lnTo>
                  <a:lnTo>
                    <a:pt x="213" y="34"/>
                  </a:lnTo>
                  <a:lnTo>
                    <a:pt x="215" y="34"/>
                  </a:lnTo>
                  <a:lnTo>
                    <a:pt x="215" y="36"/>
                  </a:lnTo>
                  <a:lnTo>
                    <a:pt x="217" y="36"/>
                  </a:lnTo>
                  <a:lnTo>
                    <a:pt x="217" y="38"/>
                  </a:lnTo>
                  <a:lnTo>
                    <a:pt x="217" y="40"/>
                  </a:lnTo>
                  <a:lnTo>
                    <a:pt x="219" y="40"/>
                  </a:lnTo>
                  <a:lnTo>
                    <a:pt x="219" y="42"/>
                  </a:lnTo>
                  <a:lnTo>
                    <a:pt x="221" y="42"/>
                  </a:lnTo>
                  <a:lnTo>
                    <a:pt x="223" y="42"/>
                  </a:lnTo>
                  <a:lnTo>
                    <a:pt x="225" y="42"/>
                  </a:lnTo>
                  <a:lnTo>
                    <a:pt x="227" y="42"/>
                  </a:lnTo>
                  <a:lnTo>
                    <a:pt x="227" y="44"/>
                  </a:lnTo>
                  <a:lnTo>
                    <a:pt x="227" y="46"/>
                  </a:lnTo>
                  <a:lnTo>
                    <a:pt x="229" y="46"/>
                  </a:lnTo>
                  <a:lnTo>
                    <a:pt x="229" y="44"/>
                  </a:lnTo>
                  <a:lnTo>
                    <a:pt x="229" y="46"/>
                  </a:lnTo>
                  <a:lnTo>
                    <a:pt x="230" y="46"/>
                  </a:lnTo>
                  <a:lnTo>
                    <a:pt x="232" y="46"/>
                  </a:lnTo>
                  <a:lnTo>
                    <a:pt x="234" y="46"/>
                  </a:lnTo>
                  <a:lnTo>
                    <a:pt x="236" y="46"/>
                  </a:lnTo>
                  <a:lnTo>
                    <a:pt x="238" y="46"/>
                  </a:lnTo>
                  <a:lnTo>
                    <a:pt x="240" y="46"/>
                  </a:lnTo>
                  <a:lnTo>
                    <a:pt x="242" y="46"/>
                  </a:lnTo>
                  <a:lnTo>
                    <a:pt x="242" y="44"/>
                  </a:lnTo>
                  <a:lnTo>
                    <a:pt x="244" y="44"/>
                  </a:lnTo>
                  <a:lnTo>
                    <a:pt x="244" y="42"/>
                  </a:lnTo>
                  <a:lnTo>
                    <a:pt x="246" y="42"/>
                  </a:lnTo>
                  <a:lnTo>
                    <a:pt x="248" y="42"/>
                  </a:lnTo>
                  <a:lnTo>
                    <a:pt x="250" y="42"/>
                  </a:lnTo>
                  <a:lnTo>
                    <a:pt x="252" y="42"/>
                  </a:lnTo>
                  <a:lnTo>
                    <a:pt x="252" y="40"/>
                  </a:lnTo>
                  <a:lnTo>
                    <a:pt x="254" y="40"/>
                  </a:lnTo>
                  <a:lnTo>
                    <a:pt x="255" y="40"/>
                  </a:lnTo>
                  <a:lnTo>
                    <a:pt x="257" y="40"/>
                  </a:lnTo>
                  <a:lnTo>
                    <a:pt x="257" y="38"/>
                  </a:lnTo>
                  <a:lnTo>
                    <a:pt x="259" y="38"/>
                  </a:lnTo>
                  <a:lnTo>
                    <a:pt x="259" y="40"/>
                  </a:lnTo>
                  <a:lnTo>
                    <a:pt x="261" y="40"/>
                  </a:lnTo>
                  <a:lnTo>
                    <a:pt x="263" y="40"/>
                  </a:lnTo>
                  <a:lnTo>
                    <a:pt x="265" y="40"/>
                  </a:lnTo>
                  <a:lnTo>
                    <a:pt x="267" y="40"/>
                  </a:lnTo>
                  <a:lnTo>
                    <a:pt x="269" y="40"/>
                  </a:lnTo>
                  <a:lnTo>
                    <a:pt x="269" y="42"/>
                  </a:lnTo>
                  <a:lnTo>
                    <a:pt x="271" y="42"/>
                  </a:lnTo>
                  <a:lnTo>
                    <a:pt x="273" y="42"/>
                  </a:lnTo>
                  <a:lnTo>
                    <a:pt x="275" y="42"/>
                  </a:lnTo>
                  <a:lnTo>
                    <a:pt x="277" y="42"/>
                  </a:lnTo>
                  <a:lnTo>
                    <a:pt x="278" y="42"/>
                  </a:lnTo>
                  <a:lnTo>
                    <a:pt x="280" y="44"/>
                  </a:lnTo>
                  <a:lnTo>
                    <a:pt x="282" y="44"/>
                  </a:lnTo>
                  <a:lnTo>
                    <a:pt x="282" y="46"/>
                  </a:lnTo>
                  <a:lnTo>
                    <a:pt x="282" y="48"/>
                  </a:lnTo>
                  <a:lnTo>
                    <a:pt x="284" y="48"/>
                  </a:lnTo>
                  <a:lnTo>
                    <a:pt x="284" y="50"/>
                  </a:lnTo>
                  <a:lnTo>
                    <a:pt x="286" y="50"/>
                  </a:lnTo>
                  <a:lnTo>
                    <a:pt x="288" y="50"/>
                  </a:lnTo>
                  <a:lnTo>
                    <a:pt x="290" y="50"/>
                  </a:lnTo>
                  <a:lnTo>
                    <a:pt x="292" y="50"/>
                  </a:lnTo>
                  <a:lnTo>
                    <a:pt x="294" y="50"/>
                  </a:lnTo>
                  <a:lnTo>
                    <a:pt x="294" y="52"/>
                  </a:lnTo>
                  <a:lnTo>
                    <a:pt x="294" y="50"/>
                  </a:lnTo>
                  <a:lnTo>
                    <a:pt x="294" y="52"/>
                  </a:lnTo>
                  <a:lnTo>
                    <a:pt x="296" y="52"/>
                  </a:lnTo>
                  <a:lnTo>
                    <a:pt x="296" y="54"/>
                  </a:lnTo>
                  <a:lnTo>
                    <a:pt x="296" y="56"/>
                  </a:lnTo>
                  <a:lnTo>
                    <a:pt x="296" y="57"/>
                  </a:lnTo>
                  <a:lnTo>
                    <a:pt x="298" y="57"/>
                  </a:lnTo>
                  <a:lnTo>
                    <a:pt x="298" y="59"/>
                  </a:lnTo>
                  <a:lnTo>
                    <a:pt x="300" y="59"/>
                  </a:lnTo>
                  <a:lnTo>
                    <a:pt x="302" y="59"/>
                  </a:lnTo>
                  <a:lnTo>
                    <a:pt x="302" y="61"/>
                  </a:lnTo>
                  <a:lnTo>
                    <a:pt x="302" y="63"/>
                  </a:lnTo>
                  <a:lnTo>
                    <a:pt x="303" y="63"/>
                  </a:lnTo>
                  <a:lnTo>
                    <a:pt x="303" y="65"/>
                  </a:lnTo>
                  <a:lnTo>
                    <a:pt x="305" y="65"/>
                  </a:lnTo>
                  <a:lnTo>
                    <a:pt x="307" y="65"/>
                  </a:lnTo>
                  <a:lnTo>
                    <a:pt x="309" y="65"/>
                  </a:lnTo>
                  <a:lnTo>
                    <a:pt x="311" y="65"/>
                  </a:lnTo>
                  <a:lnTo>
                    <a:pt x="313" y="65"/>
                  </a:lnTo>
                  <a:lnTo>
                    <a:pt x="315" y="65"/>
                  </a:lnTo>
                  <a:lnTo>
                    <a:pt x="317" y="65"/>
                  </a:lnTo>
                  <a:lnTo>
                    <a:pt x="317" y="67"/>
                  </a:lnTo>
                  <a:lnTo>
                    <a:pt x="319" y="67"/>
                  </a:lnTo>
                  <a:lnTo>
                    <a:pt x="321" y="67"/>
                  </a:lnTo>
                  <a:lnTo>
                    <a:pt x="323" y="67"/>
                  </a:lnTo>
                  <a:lnTo>
                    <a:pt x="325" y="67"/>
                  </a:lnTo>
                  <a:lnTo>
                    <a:pt x="326" y="67"/>
                  </a:lnTo>
                  <a:lnTo>
                    <a:pt x="326" y="69"/>
                  </a:lnTo>
                  <a:lnTo>
                    <a:pt x="328" y="69"/>
                  </a:lnTo>
                  <a:lnTo>
                    <a:pt x="330" y="69"/>
                  </a:lnTo>
                  <a:lnTo>
                    <a:pt x="330" y="67"/>
                  </a:lnTo>
                  <a:lnTo>
                    <a:pt x="332" y="67"/>
                  </a:lnTo>
                  <a:lnTo>
                    <a:pt x="332" y="69"/>
                  </a:lnTo>
                  <a:lnTo>
                    <a:pt x="332" y="67"/>
                  </a:lnTo>
                  <a:lnTo>
                    <a:pt x="334" y="67"/>
                  </a:lnTo>
                  <a:lnTo>
                    <a:pt x="334" y="69"/>
                  </a:lnTo>
                  <a:lnTo>
                    <a:pt x="336" y="69"/>
                  </a:lnTo>
                  <a:lnTo>
                    <a:pt x="338" y="69"/>
                  </a:lnTo>
                  <a:lnTo>
                    <a:pt x="338" y="67"/>
                  </a:lnTo>
                  <a:lnTo>
                    <a:pt x="340" y="67"/>
                  </a:lnTo>
                  <a:lnTo>
                    <a:pt x="342" y="67"/>
                  </a:lnTo>
                  <a:lnTo>
                    <a:pt x="344" y="65"/>
                  </a:lnTo>
                  <a:lnTo>
                    <a:pt x="346" y="65"/>
                  </a:lnTo>
                  <a:lnTo>
                    <a:pt x="348" y="65"/>
                  </a:lnTo>
                  <a:lnTo>
                    <a:pt x="349" y="65"/>
                  </a:lnTo>
                  <a:lnTo>
                    <a:pt x="349" y="63"/>
                  </a:lnTo>
                  <a:lnTo>
                    <a:pt x="351" y="63"/>
                  </a:lnTo>
                  <a:lnTo>
                    <a:pt x="353" y="63"/>
                  </a:lnTo>
                  <a:lnTo>
                    <a:pt x="355" y="63"/>
                  </a:lnTo>
                  <a:lnTo>
                    <a:pt x="357" y="63"/>
                  </a:lnTo>
                  <a:lnTo>
                    <a:pt x="359" y="61"/>
                  </a:lnTo>
                  <a:lnTo>
                    <a:pt x="361" y="61"/>
                  </a:lnTo>
                  <a:lnTo>
                    <a:pt x="363" y="61"/>
                  </a:lnTo>
                  <a:lnTo>
                    <a:pt x="365" y="61"/>
                  </a:lnTo>
                  <a:lnTo>
                    <a:pt x="367" y="61"/>
                  </a:lnTo>
                  <a:lnTo>
                    <a:pt x="367" y="59"/>
                  </a:lnTo>
                  <a:lnTo>
                    <a:pt x="369" y="59"/>
                  </a:lnTo>
                  <a:lnTo>
                    <a:pt x="371" y="59"/>
                  </a:lnTo>
                  <a:lnTo>
                    <a:pt x="371" y="57"/>
                  </a:lnTo>
                  <a:lnTo>
                    <a:pt x="371" y="56"/>
                  </a:lnTo>
                  <a:lnTo>
                    <a:pt x="373" y="56"/>
                  </a:lnTo>
                  <a:lnTo>
                    <a:pt x="373" y="54"/>
                  </a:lnTo>
                  <a:lnTo>
                    <a:pt x="374" y="54"/>
                  </a:lnTo>
                  <a:lnTo>
                    <a:pt x="374" y="52"/>
                  </a:lnTo>
                  <a:lnTo>
                    <a:pt x="376" y="52"/>
                  </a:lnTo>
                  <a:lnTo>
                    <a:pt x="376" y="50"/>
                  </a:lnTo>
                  <a:lnTo>
                    <a:pt x="378" y="50"/>
                  </a:lnTo>
                  <a:lnTo>
                    <a:pt x="380" y="50"/>
                  </a:lnTo>
                  <a:lnTo>
                    <a:pt x="380" y="48"/>
                  </a:lnTo>
                  <a:lnTo>
                    <a:pt x="382" y="48"/>
                  </a:lnTo>
                  <a:lnTo>
                    <a:pt x="384" y="48"/>
                  </a:lnTo>
                  <a:lnTo>
                    <a:pt x="384" y="46"/>
                  </a:lnTo>
                  <a:lnTo>
                    <a:pt x="386" y="46"/>
                  </a:lnTo>
                  <a:lnTo>
                    <a:pt x="386" y="44"/>
                  </a:lnTo>
                  <a:lnTo>
                    <a:pt x="388" y="44"/>
                  </a:lnTo>
                  <a:lnTo>
                    <a:pt x="390" y="44"/>
                  </a:lnTo>
                  <a:lnTo>
                    <a:pt x="392" y="44"/>
                  </a:lnTo>
                  <a:lnTo>
                    <a:pt x="394" y="44"/>
                  </a:lnTo>
                  <a:lnTo>
                    <a:pt x="396" y="44"/>
                  </a:lnTo>
                  <a:lnTo>
                    <a:pt x="397" y="44"/>
                  </a:lnTo>
                  <a:lnTo>
                    <a:pt x="397" y="46"/>
                  </a:lnTo>
                  <a:lnTo>
                    <a:pt x="399" y="46"/>
                  </a:lnTo>
                  <a:lnTo>
                    <a:pt x="399" y="48"/>
                  </a:lnTo>
                  <a:lnTo>
                    <a:pt x="401" y="48"/>
                  </a:lnTo>
                  <a:lnTo>
                    <a:pt x="401" y="50"/>
                  </a:lnTo>
                  <a:lnTo>
                    <a:pt x="403" y="50"/>
                  </a:lnTo>
                  <a:lnTo>
                    <a:pt x="403" y="52"/>
                  </a:lnTo>
                  <a:lnTo>
                    <a:pt x="405" y="52"/>
                  </a:lnTo>
                  <a:lnTo>
                    <a:pt x="407" y="52"/>
                  </a:lnTo>
                  <a:lnTo>
                    <a:pt x="409" y="52"/>
                  </a:lnTo>
                  <a:lnTo>
                    <a:pt x="411" y="52"/>
                  </a:lnTo>
                  <a:lnTo>
                    <a:pt x="413" y="50"/>
                  </a:lnTo>
                  <a:lnTo>
                    <a:pt x="415" y="50"/>
                  </a:lnTo>
                  <a:lnTo>
                    <a:pt x="417" y="50"/>
                  </a:lnTo>
                  <a:lnTo>
                    <a:pt x="419" y="50"/>
                  </a:lnTo>
                  <a:lnTo>
                    <a:pt x="420" y="50"/>
                  </a:lnTo>
                  <a:lnTo>
                    <a:pt x="420" y="52"/>
                  </a:lnTo>
                  <a:lnTo>
                    <a:pt x="422" y="52"/>
                  </a:lnTo>
                  <a:lnTo>
                    <a:pt x="424" y="5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403">
              <a:extLst>
                <a:ext uri="{FF2B5EF4-FFF2-40B4-BE49-F238E27FC236}">
                  <a16:creationId xmlns:a16="http://schemas.microsoft.com/office/drawing/2014/main" id="{49A9A92A-19B9-4446-AB8B-3019E70D9CCC}"/>
                </a:ext>
              </a:extLst>
            </p:cNvPr>
            <p:cNvSpPr>
              <a:spLocks noEditPoints="1"/>
            </p:cNvSpPr>
            <p:nvPr/>
          </p:nvSpPr>
          <p:spPr bwMode="gray">
            <a:xfrm>
              <a:off x="3561458" y="2071990"/>
              <a:ext cx="3062264" cy="1481463"/>
            </a:xfrm>
            <a:custGeom>
              <a:avLst/>
              <a:gdLst>
                <a:gd name="T0" fmla="*/ 1582 w 2497"/>
                <a:gd name="T1" fmla="*/ 1031 h 1208"/>
                <a:gd name="T2" fmla="*/ 1424 w 2497"/>
                <a:gd name="T3" fmla="*/ 1031 h 1208"/>
                <a:gd name="T4" fmla="*/ 1152 w 2497"/>
                <a:gd name="T5" fmla="*/ 1012 h 1208"/>
                <a:gd name="T6" fmla="*/ 914 w 2497"/>
                <a:gd name="T7" fmla="*/ 1006 h 1208"/>
                <a:gd name="T8" fmla="*/ 716 w 2497"/>
                <a:gd name="T9" fmla="*/ 899 h 1208"/>
                <a:gd name="T10" fmla="*/ 570 w 2497"/>
                <a:gd name="T11" fmla="*/ 1001 h 1208"/>
                <a:gd name="T12" fmla="*/ 395 w 2497"/>
                <a:gd name="T13" fmla="*/ 1060 h 1208"/>
                <a:gd name="T14" fmla="*/ 384 w 2497"/>
                <a:gd name="T15" fmla="*/ 1193 h 1208"/>
                <a:gd name="T16" fmla="*/ 275 w 2497"/>
                <a:gd name="T17" fmla="*/ 1076 h 1208"/>
                <a:gd name="T18" fmla="*/ 188 w 2497"/>
                <a:gd name="T19" fmla="*/ 945 h 1208"/>
                <a:gd name="T20" fmla="*/ 125 w 2497"/>
                <a:gd name="T21" fmla="*/ 772 h 1208"/>
                <a:gd name="T22" fmla="*/ 152 w 2497"/>
                <a:gd name="T23" fmla="*/ 628 h 1208"/>
                <a:gd name="T24" fmla="*/ 188 w 2497"/>
                <a:gd name="T25" fmla="*/ 440 h 1208"/>
                <a:gd name="T26" fmla="*/ 301 w 2497"/>
                <a:gd name="T27" fmla="*/ 503 h 1208"/>
                <a:gd name="T28" fmla="*/ 225 w 2497"/>
                <a:gd name="T29" fmla="*/ 582 h 1208"/>
                <a:gd name="T30" fmla="*/ 298 w 2497"/>
                <a:gd name="T31" fmla="*/ 601 h 1208"/>
                <a:gd name="T32" fmla="*/ 478 w 2497"/>
                <a:gd name="T33" fmla="*/ 480 h 1208"/>
                <a:gd name="T34" fmla="*/ 649 w 2497"/>
                <a:gd name="T35" fmla="*/ 434 h 1208"/>
                <a:gd name="T36" fmla="*/ 693 w 2497"/>
                <a:gd name="T37" fmla="*/ 371 h 1208"/>
                <a:gd name="T38" fmla="*/ 789 w 2497"/>
                <a:gd name="T39" fmla="*/ 478 h 1208"/>
                <a:gd name="T40" fmla="*/ 804 w 2497"/>
                <a:gd name="T41" fmla="*/ 467 h 1208"/>
                <a:gd name="T42" fmla="*/ 800 w 2497"/>
                <a:gd name="T43" fmla="*/ 328 h 1208"/>
                <a:gd name="T44" fmla="*/ 904 w 2497"/>
                <a:gd name="T45" fmla="*/ 338 h 1208"/>
                <a:gd name="T46" fmla="*/ 975 w 2497"/>
                <a:gd name="T47" fmla="*/ 232 h 1208"/>
                <a:gd name="T48" fmla="*/ 1036 w 2497"/>
                <a:gd name="T49" fmla="*/ 136 h 1208"/>
                <a:gd name="T50" fmla="*/ 1138 w 2497"/>
                <a:gd name="T51" fmla="*/ 111 h 1208"/>
                <a:gd name="T52" fmla="*/ 1259 w 2497"/>
                <a:gd name="T53" fmla="*/ 46 h 1208"/>
                <a:gd name="T54" fmla="*/ 1378 w 2497"/>
                <a:gd name="T55" fmla="*/ 121 h 1208"/>
                <a:gd name="T56" fmla="*/ 1265 w 2497"/>
                <a:gd name="T57" fmla="*/ 280 h 1208"/>
                <a:gd name="T58" fmla="*/ 1445 w 2497"/>
                <a:gd name="T59" fmla="*/ 261 h 1208"/>
                <a:gd name="T60" fmla="*/ 1562 w 2497"/>
                <a:gd name="T61" fmla="*/ 255 h 1208"/>
                <a:gd name="T62" fmla="*/ 1603 w 2497"/>
                <a:gd name="T63" fmla="*/ 346 h 1208"/>
                <a:gd name="T64" fmla="*/ 1768 w 2497"/>
                <a:gd name="T65" fmla="*/ 303 h 1208"/>
                <a:gd name="T66" fmla="*/ 2013 w 2497"/>
                <a:gd name="T67" fmla="*/ 369 h 1208"/>
                <a:gd name="T68" fmla="*/ 2219 w 2497"/>
                <a:gd name="T69" fmla="*/ 413 h 1208"/>
                <a:gd name="T70" fmla="*/ 2324 w 2497"/>
                <a:gd name="T71" fmla="*/ 693 h 1208"/>
                <a:gd name="T72" fmla="*/ 2109 w 2497"/>
                <a:gd name="T73" fmla="*/ 768 h 1208"/>
                <a:gd name="T74" fmla="*/ 2029 w 2497"/>
                <a:gd name="T75" fmla="*/ 974 h 1208"/>
                <a:gd name="T76" fmla="*/ 2109 w 2497"/>
                <a:gd name="T77" fmla="*/ 718 h 1208"/>
                <a:gd name="T78" fmla="*/ 2008 w 2497"/>
                <a:gd name="T79" fmla="*/ 720 h 1208"/>
                <a:gd name="T80" fmla="*/ 1885 w 2497"/>
                <a:gd name="T81" fmla="*/ 786 h 1208"/>
                <a:gd name="T82" fmla="*/ 1726 w 2497"/>
                <a:gd name="T83" fmla="*/ 922 h 1208"/>
                <a:gd name="T84" fmla="*/ 1741 w 2497"/>
                <a:gd name="T85" fmla="*/ 1087 h 1208"/>
                <a:gd name="T86" fmla="*/ 685 w 2497"/>
                <a:gd name="T87" fmla="*/ 113 h 1208"/>
                <a:gd name="T88" fmla="*/ 555 w 2497"/>
                <a:gd name="T89" fmla="*/ 238 h 1208"/>
                <a:gd name="T90" fmla="*/ 526 w 2497"/>
                <a:gd name="T91" fmla="*/ 386 h 1208"/>
                <a:gd name="T92" fmla="*/ 465 w 2497"/>
                <a:gd name="T93" fmla="*/ 336 h 1208"/>
                <a:gd name="T94" fmla="*/ 526 w 2497"/>
                <a:gd name="T95" fmla="*/ 204 h 1208"/>
                <a:gd name="T96" fmla="*/ 643 w 2497"/>
                <a:gd name="T97" fmla="*/ 94 h 1208"/>
                <a:gd name="T98" fmla="*/ 2470 w 2497"/>
                <a:gd name="T99" fmla="*/ 544 h 1208"/>
                <a:gd name="T100" fmla="*/ 2407 w 2497"/>
                <a:gd name="T101" fmla="*/ 609 h 1208"/>
                <a:gd name="T102" fmla="*/ 1808 w 2497"/>
                <a:gd name="T103" fmla="*/ 987 h 1208"/>
                <a:gd name="T104" fmla="*/ 1785 w 2497"/>
                <a:gd name="T105" fmla="*/ 978 h 1208"/>
                <a:gd name="T106" fmla="*/ 1793 w 2497"/>
                <a:gd name="T107" fmla="*/ 179 h 1208"/>
                <a:gd name="T108" fmla="*/ 38 w 2497"/>
                <a:gd name="T109" fmla="*/ 903 h 1208"/>
                <a:gd name="T110" fmla="*/ 2374 w 2497"/>
                <a:gd name="T111" fmla="*/ 355 h 1208"/>
                <a:gd name="T112" fmla="*/ 572 w 2497"/>
                <a:gd name="T113" fmla="*/ 401 h 1208"/>
                <a:gd name="T114" fmla="*/ 1862 w 2497"/>
                <a:gd name="T115" fmla="*/ 1141 h 1208"/>
                <a:gd name="T116" fmla="*/ 875 w 2497"/>
                <a:gd name="T117" fmla="*/ 282 h 1208"/>
                <a:gd name="T118" fmla="*/ 804 w 2497"/>
                <a:gd name="T119" fmla="*/ 273 h 1208"/>
                <a:gd name="T120" fmla="*/ 967 w 2497"/>
                <a:gd name="T121" fmla="*/ 200 h 1208"/>
                <a:gd name="T122" fmla="*/ 1102 w 2497"/>
                <a:gd name="T123" fmla="*/ 96 h 1208"/>
                <a:gd name="T124" fmla="*/ 1892 w 2497"/>
                <a:gd name="T125" fmla="*/ 789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97" h="1208">
                  <a:moveTo>
                    <a:pt x="1624" y="1187"/>
                  </a:moveTo>
                  <a:lnTo>
                    <a:pt x="1624" y="1185"/>
                  </a:lnTo>
                  <a:lnTo>
                    <a:pt x="1624" y="1183"/>
                  </a:lnTo>
                  <a:lnTo>
                    <a:pt x="1622" y="1183"/>
                  </a:lnTo>
                  <a:lnTo>
                    <a:pt x="1622" y="1181"/>
                  </a:lnTo>
                  <a:lnTo>
                    <a:pt x="1624" y="1181"/>
                  </a:lnTo>
                  <a:lnTo>
                    <a:pt x="1624" y="1179"/>
                  </a:lnTo>
                  <a:lnTo>
                    <a:pt x="1622" y="1179"/>
                  </a:lnTo>
                  <a:lnTo>
                    <a:pt x="1620" y="1179"/>
                  </a:lnTo>
                  <a:lnTo>
                    <a:pt x="1620" y="1177"/>
                  </a:lnTo>
                  <a:lnTo>
                    <a:pt x="1620" y="1179"/>
                  </a:lnTo>
                  <a:lnTo>
                    <a:pt x="1620" y="1177"/>
                  </a:lnTo>
                  <a:lnTo>
                    <a:pt x="1620" y="1179"/>
                  </a:lnTo>
                  <a:lnTo>
                    <a:pt x="1620" y="1177"/>
                  </a:lnTo>
                  <a:lnTo>
                    <a:pt x="1622" y="1177"/>
                  </a:lnTo>
                  <a:lnTo>
                    <a:pt x="1624" y="1177"/>
                  </a:lnTo>
                  <a:lnTo>
                    <a:pt x="1624" y="1176"/>
                  </a:lnTo>
                  <a:lnTo>
                    <a:pt x="1626" y="1176"/>
                  </a:lnTo>
                  <a:lnTo>
                    <a:pt x="1628" y="1176"/>
                  </a:lnTo>
                  <a:lnTo>
                    <a:pt x="1630" y="1176"/>
                  </a:lnTo>
                  <a:lnTo>
                    <a:pt x="1630" y="1174"/>
                  </a:lnTo>
                  <a:lnTo>
                    <a:pt x="1630" y="1176"/>
                  </a:lnTo>
                  <a:lnTo>
                    <a:pt x="1630" y="1174"/>
                  </a:lnTo>
                  <a:lnTo>
                    <a:pt x="1630" y="1176"/>
                  </a:lnTo>
                  <a:lnTo>
                    <a:pt x="1630" y="1174"/>
                  </a:lnTo>
                  <a:lnTo>
                    <a:pt x="1630" y="1176"/>
                  </a:lnTo>
                  <a:lnTo>
                    <a:pt x="1631" y="1176"/>
                  </a:lnTo>
                  <a:lnTo>
                    <a:pt x="1631" y="1174"/>
                  </a:lnTo>
                  <a:lnTo>
                    <a:pt x="1630" y="1174"/>
                  </a:lnTo>
                  <a:lnTo>
                    <a:pt x="1631" y="1174"/>
                  </a:lnTo>
                  <a:lnTo>
                    <a:pt x="1630" y="1174"/>
                  </a:lnTo>
                  <a:lnTo>
                    <a:pt x="1630" y="1172"/>
                  </a:lnTo>
                  <a:lnTo>
                    <a:pt x="1631" y="1172"/>
                  </a:lnTo>
                  <a:lnTo>
                    <a:pt x="1631" y="1170"/>
                  </a:lnTo>
                  <a:lnTo>
                    <a:pt x="1631" y="1168"/>
                  </a:lnTo>
                  <a:lnTo>
                    <a:pt x="1633" y="1168"/>
                  </a:lnTo>
                  <a:lnTo>
                    <a:pt x="1633" y="1166"/>
                  </a:lnTo>
                  <a:lnTo>
                    <a:pt x="1633" y="1164"/>
                  </a:lnTo>
                  <a:lnTo>
                    <a:pt x="1633" y="1162"/>
                  </a:lnTo>
                  <a:lnTo>
                    <a:pt x="1631" y="1162"/>
                  </a:lnTo>
                  <a:lnTo>
                    <a:pt x="1631" y="1160"/>
                  </a:lnTo>
                  <a:lnTo>
                    <a:pt x="1631" y="1162"/>
                  </a:lnTo>
                  <a:lnTo>
                    <a:pt x="1631" y="1160"/>
                  </a:lnTo>
                  <a:lnTo>
                    <a:pt x="1633" y="1160"/>
                  </a:lnTo>
                  <a:lnTo>
                    <a:pt x="1631" y="1160"/>
                  </a:lnTo>
                  <a:lnTo>
                    <a:pt x="1631" y="1158"/>
                  </a:lnTo>
                  <a:lnTo>
                    <a:pt x="1631" y="1156"/>
                  </a:lnTo>
                  <a:lnTo>
                    <a:pt x="1631" y="1154"/>
                  </a:lnTo>
                  <a:lnTo>
                    <a:pt x="1633" y="1154"/>
                  </a:lnTo>
                  <a:lnTo>
                    <a:pt x="1631" y="1154"/>
                  </a:lnTo>
                  <a:lnTo>
                    <a:pt x="1633" y="1154"/>
                  </a:lnTo>
                  <a:lnTo>
                    <a:pt x="1633" y="1152"/>
                  </a:lnTo>
                  <a:lnTo>
                    <a:pt x="1631" y="1152"/>
                  </a:lnTo>
                  <a:lnTo>
                    <a:pt x="1633" y="1152"/>
                  </a:lnTo>
                  <a:lnTo>
                    <a:pt x="1633" y="1149"/>
                  </a:lnTo>
                  <a:lnTo>
                    <a:pt x="1631" y="1147"/>
                  </a:lnTo>
                  <a:lnTo>
                    <a:pt x="1631" y="1145"/>
                  </a:lnTo>
                  <a:lnTo>
                    <a:pt x="1631" y="1141"/>
                  </a:lnTo>
                  <a:lnTo>
                    <a:pt x="1631" y="1139"/>
                  </a:lnTo>
                  <a:lnTo>
                    <a:pt x="1630" y="1139"/>
                  </a:lnTo>
                  <a:lnTo>
                    <a:pt x="1630" y="1137"/>
                  </a:lnTo>
                  <a:lnTo>
                    <a:pt x="1630" y="1135"/>
                  </a:lnTo>
                  <a:lnTo>
                    <a:pt x="1628" y="1135"/>
                  </a:lnTo>
                  <a:lnTo>
                    <a:pt x="1630" y="1135"/>
                  </a:lnTo>
                  <a:lnTo>
                    <a:pt x="1630" y="1133"/>
                  </a:lnTo>
                  <a:lnTo>
                    <a:pt x="1631" y="1133"/>
                  </a:lnTo>
                  <a:lnTo>
                    <a:pt x="1633" y="1133"/>
                  </a:lnTo>
                  <a:lnTo>
                    <a:pt x="1635" y="1133"/>
                  </a:lnTo>
                  <a:lnTo>
                    <a:pt x="1635" y="1131"/>
                  </a:lnTo>
                  <a:lnTo>
                    <a:pt x="1637" y="1131"/>
                  </a:lnTo>
                  <a:lnTo>
                    <a:pt x="1639" y="1131"/>
                  </a:lnTo>
                  <a:lnTo>
                    <a:pt x="1639" y="1129"/>
                  </a:lnTo>
                  <a:lnTo>
                    <a:pt x="1639" y="1128"/>
                  </a:lnTo>
                  <a:lnTo>
                    <a:pt x="1641" y="1128"/>
                  </a:lnTo>
                  <a:lnTo>
                    <a:pt x="1641" y="1126"/>
                  </a:lnTo>
                  <a:lnTo>
                    <a:pt x="1643" y="1126"/>
                  </a:lnTo>
                  <a:lnTo>
                    <a:pt x="1643" y="1128"/>
                  </a:lnTo>
                  <a:lnTo>
                    <a:pt x="1643" y="1126"/>
                  </a:lnTo>
                  <a:lnTo>
                    <a:pt x="1643" y="1128"/>
                  </a:lnTo>
                  <a:lnTo>
                    <a:pt x="1653" y="1129"/>
                  </a:lnTo>
                  <a:lnTo>
                    <a:pt x="1656" y="1131"/>
                  </a:lnTo>
                  <a:lnTo>
                    <a:pt x="1658" y="1131"/>
                  </a:lnTo>
                  <a:lnTo>
                    <a:pt x="1658" y="1129"/>
                  </a:lnTo>
                  <a:lnTo>
                    <a:pt x="1660" y="1129"/>
                  </a:lnTo>
                  <a:lnTo>
                    <a:pt x="1660" y="1128"/>
                  </a:lnTo>
                  <a:lnTo>
                    <a:pt x="1660" y="1126"/>
                  </a:lnTo>
                  <a:lnTo>
                    <a:pt x="1660" y="1124"/>
                  </a:lnTo>
                  <a:lnTo>
                    <a:pt x="1660" y="1126"/>
                  </a:lnTo>
                  <a:lnTo>
                    <a:pt x="1660" y="1124"/>
                  </a:lnTo>
                  <a:lnTo>
                    <a:pt x="1660" y="1122"/>
                  </a:lnTo>
                  <a:lnTo>
                    <a:pt x="1662" y="1122"/>
                  </a:lnTo>
                  <a:lnTo>
                    <a:pt x="1660" y="1122"/>
                  </a:lnTo>
                  <a:lnTo>
                    <a:pt x="1662" y="1122"/>
                  </a:lnTo>
                  <a:lnTo>
                    <a:pt x="1662" y="1120"/>
                  </a:lnTo>
                  <a:lnTo>
                    <a:pt x="1662" y="1122"/>
                  </a:lnTo>
                  <a:lnTo>
                    <a:pt x="1662" y="1120"/>
                  </a:lnTo>
                  <a:lnTo>
                    <a:pt x="1664" y="1120"/>
                  </a:lnTo>
                  <a:lnTo>
                    <a:pt x="1666" y="1120"/>
                  </a:lnTo>
                  <a:lnTo>
                    <a:pt x="1664" y="1120"/>
                  </a:lnTo>
                  <a:lnTo>
                    <a:pt x="1664" y="1118"/>
                  </a:lnTo>
                  <a:lnTo>
                    <a:pt x="1666" y="1118"/>
                  </a:lnTo>
                  <a:lnTo>
                    <a:pt x="1664" y="1118"/>
                  </a:lnTo>
                  <a:lnTo>
                    <a:pt x="1664" y="1116"/>
                  </a:lnTo>
                  <a:lnTo>
                    <a:pt x="1666" y="1116"/>
                  </a:lnTo>
                  <a:lnTo>
                    <a:pt x="1664" y="1116"/>
                  </a:lnTo>
                  <a:lnTo>
                    <a:pt x="1666" y="1116"/>
                  </a:lnTo>
                  <a:lnTo>
                    <a:pt x="1664" y="1116"/>
                  </a:lnTo>
                  <a:lnTo>
                    <a:pt x="1664" y="1114"/>
                  </a:lnTo>
                  <a:lnTo>
                    <a:pt x="1666" y="1114"/>
                  </a:lnTo>
                  <a:lnTo>
                    <a:pt x="1668" y="1114"/>
                  </a:lnTo>
                  <a:lnTo>
                    <a:pt x="1668" y="1112"/>
                  </a:lnTo>
                  <a:lnTo>
                    <a:pt x="1666" y="1112"/>
                  </a:lnTo>
                  <a:lnTo>
                    <a:pt x="1668" y="1112"/>
                  </a:lnTo>
                  <a:lnTo>
                    <a:pt x="1668" y="1110"/>
                  </a:lnTo>
                  <a:lnTo>
                    <a:pt x="1670" y="1110"/>
                  </a:lnTo>
                  <a:lnTo>
                    <a:pt x="1668" y="1110"/>
                  </a:lnTo>
                  <a:lnTo>
                    <a:pt x="1668" y="1108"/>
                  </a:lnTo>
                  <a:lnTo>
                    <a:pt x="1670" y="1108"/>
                  </a:lnTo>
                  <a:lnTo>
                    <a:pt x="1670" y="1106"/>
                  </a:lnTo>
                  <a:lnTo>
                    <a:pt x="1672" y="1106"/>
                  </a:lnTo>
                  <a:lnTo>
                    <a:pt x="1670" y="1106"/>
                  </a:lnTo>
                  <a:lnTo>
                    <a:pt x="1672" y="1106"/>
                  </a:lnTo>
                  <a:lnTo>
                    <a:pt x="1672" y="1104"/>
                  </a:lnTo>
                  <a:lnTo>
                    <a:pt x="1672" y="1103"/>
                  </a:lnTo>
                  <a:lnTo>
                    <a:pt x="1670" y="1103"/>
                  </a:lnTo>
                  <a:lnTo>
                    <a:pt x="1670" y="1101"/>
                  </a:lnTo>
                  <a:lnTo>
                    <a:pt x="1672" y="1101"/>
                  </a:lnTo>
                  <a:lnTo>
                    <a:pt x="1672" y="1099"/>
                  </a:lnTo>
                  <a:lnTo>
                    <a:pt x="1674" y="1099"/>
                  </a:lnTo>
                  <a:lnTo>
                    <a:pt x="1674" y="1097"/>
                  </a:lnTo>
                  <a:lnTo>
                    <a:pt x="1674" y="1095"/>
                  </a:lnTo>
                  <a:lnTo>
                    <a:pt x="1674" y="1093"/>
                  </a:lnTo>
                  <a:lnTo>
                    <a:pt x="1674" y="1091"/>
                  </a:lnTo>
                  <a:lnTo>
                    <a:pt x="1674" y="1089"/>
                  </a:lnTo>
                  <a:lnTo>
                    <a:pt x="1676" y="1089"/>
                  </a:lnTo>
                  <a:lnTo>
                    <a:pt x="1676" y="1087"/>
                  </a:lnTo>
                  <a:lnTo>
                    <a:pt x="1676" y="1085"/>
                  </a:lnTo>
                  <a:lnTo>
                    <a:pt x="1676" y="1083"/>
                  </a:lnTo>
                  <a:lnTo>
                    <a:pt x="1676" y="1081"/>
                  </a:lnTo>
                  <a:lnTo>
                    <a:pt x="1678" y="1081"/>
                  </a:lnTo>
                  <a:lnTo>
                    <a:pt x="1679" y="1081"/>
                  </a:lnTo>
                  <a:lnTo>
                    <a:pt x="1679" y="1079"/>
                  </a:lnTo>
                  <a:lnTo>
                    <a:pt x="1681" y="1079"/>
                  </a:lnTo>
                  <a:lnTo>
                    <a:pt x="1681" y="1078"/>
                  </a:lnTo>
                  <a:lnTo>
                    <a:pt x="1683" y="1078"/>
                  </a:lnTo>
                  <a:lnTo>
                    <a:pt x="1683" y="1076"/>
                  </a:lnTo>
                  <a:lnTo>
                    <a:pt x="1683" y="1074"/>
                  </a:lnTo>
                  <a:lnTo>
                    <a:pt x="1683" y="1072"/>
                  </a:lnTo>
                  <a:lnTo>
                    <a:pt x="1683" y="1070"/>
                  </a:lnTo>
                  <a:lnTo>
                    <a:pt x="1681" y="1070"/>
                  </a:lnTo>
                  <a:lnTo>
                    <a:pt x="1681" y="1068"/>
                  </a:lnTo>
                  <a:lnTo>
                    <a:pt x="1681" y="1066"/>
                  </a:lnTo>
                  <a:lnTo>
                    <a:pt x="1683" y="1066"/>
                  </a:lnTo>
                  <a:lnTo>
                    <a:pt x="1683" y="1064"/>
                  </a:lnTo>
                  <a:lnTo>
                    <a:pt x="1683" y="1062"/>
                  </a:lnTo>
                  <a:lnTo>
                    <a:pt x="1683" y="1060"/>
                  </a:lnTo>
                  <a:lnTo>
                    <a:pt x="1681" y="1060"/>
                  </a:lnTo>
                  <a:lnTo>
                    <a:pt x="1679" y="1058"/>
                  </a:lnTo>
                  <a:lnTo>
                    <a:pt x="1679" y="1060"/>
                  </a:lnTo>
                  <a:lnTo>
                    <a:pt x="1678" y="1060"/>
                  </a:lnTo>
                  <a:lnTo>
                    <a:pt x="1676" y="1060"/>
                  </a:lnTo>
                  <a:lnTo>
                    <a:pt x="1674" y="1060"/>
                  </a:lnTo>
                  <a:lnTo>
                    <a:pt x="1674" y="1062"/>
                  </a:lnTo>
                  <a:lnTo>
                    <a:pt x="1672" y="1062"/>
                  </a:lnTo>
                  <a:lnTo>
                    <a:pt x="1672" y="1064"/>
                  </a:lnTo>
                  <a:lnTo>
                    <a:pt x="1670" y="1064"/>
                  </a:lnTo>
                  <a:lnTo>
                    <a:pt x="1668" y="1064"/>
                  </a:lnTo>
                  <a:lnTo>
                    <a:pt x="1666" y="1064"/>
                  </a:lnTo>
                  <a:lnTo>
                    <a:pt x="1666" y="1066"/>
                  </a:lnTo>
                  <a:lnTo>
                    <a:pt x="1664" y="1066"/>
                  </a:lnTo>
                  <a:lnTo>
                    <a:pt x="1662" y="1066"/>
                  </a:lnTo>
                  <a:lnTo>
                    <a:pt x="1660" y="1066"/>
                  </a:lnTo>
                  <a:lnTo>
                    <a:pt x="1658" y="1066"/>
                  </a:lnTo>
                  <a:lnTo>
                    <a:pt x="1658" y="1068"/>
                  </a:lnTo>
                  <a:lnTo>
                    <a:pt x="1656" y="1068"/>
                  </a:lnTo>
                  <a:lnTo>
                    <a:pt x="1656" y="1070"/>
                  </a:lnTo>
                  <a:lnTo>
                    <a:pt x="1654" y="1070"/>
                  </a:lnTo>
                  <a:lnTo>
                    <a:pt x="1653" y="1070"/>
                  </a:lnTo>
                  <a:lnTo>
                    <a:pt x="1653" y="1072"/>
                  </a:lnTo>
                  <a:lnTo>
                    <a:pt x="1653" y="1074"/>
                  </a:lnTo>
                  <a:lnTo>
                    <a:pt x="1651" y="1076"/>
                  </a:lnTo>
                  <a:lnTo>
                    <a:pt x="1651" y="1074"/>
                  </a:lnTo>
                  <a:lnTo>
                    <a:pt x="1649" y="1074"/>
                  </a:lnTo>
                  <a:lnTo>
                    <a:pt x="1647" y="1074"/>
                  </a:lnTo>
                  <a:lnTo>
                    <a:pt x="1647" y="1076"/>
                  </a:lnTo>
                  <a:lnTo>
                    <a:pt x="1645" y="1076"/>
                  </a:lnTo>
                  <a:lnTo>
                    <a:pt x="1643" y="1076"/>
                  </a:lnTo>
                  <a:lnTo>
                    <a:pt x="1641" y="1076"/>
                  </a:lnTo>
                  <a:lnTo>
                    <a:pt x="1639" y="1076"/>
                  </a:lnTo>
                  <a:lnTo>
                    <a:pt x="1637" y="1076"/>
                  </a:lnTo>
                  <a:lnTo>
                    <a:pt x="1637" y="1074"/>
                  </a:lnTo>
                  <a:lnTo>
                    <a:pt x="1635" y="1074"/>
                  </a:lnTo>
                  <a:lnTo>
                    <a:pt x="1633" y="1074"/>
                  </a:lnTo>
                  <a:lnTo>
                    <a:pt x="1631" y="1074"/>
                  </a:lnTo>
                  <a:lnTo>
                    <a:pt x="1631" y="1076"/>
                  </a:lnTo>
                  <a:lnTo>
                    <a:pt x="1630" y="1076"/>
                  </a:lnTo>
                  <a:lnTo>
                    <a:pt x="1628" y="1076"/>
                  </a:lnTo>
                  <a:lnTo>
                    <a:pt x="1628" y="1074"/>
                  </a:lnTo>
                  <a:lnTo>
                    <a:pt x="1628" y="1072"/>
                  </a:lnTo>
                  <a:lnTo>
                    <a:pt x="1628" y="1070"/>
                  </a:lnTo>
                  <a:lnTo>
                    <a:pt x="1626" y="1070"/>
                  </a:lnTo>
                  <a:lnTo>
                    <a:pt x="1626" y="1068"/>
                  </a:lnTo>
                  <a:lnTo>
                    <a:pt x="1624" y="1068"/>
                  </a:lnTo>
                  <a:lnTo>
                    <a:pt x="1624" y="1066"/>
                  </a:lnTo>
                  <a:lnTo>
                    <a:pt x="1624" y="1064"/>
                  </a:lnTo>
                  <a:lnTo>
                    <a:pt x="1626" y="1064"/>
                  </a:lnTo>
                  <a:lnTo>
                    <a:pt x="1626" y="1062"/>
                  </a:lnTo>
                  <a:lnTo>
                    <a:pt x="1626" y="1060"/>
                  </a:lnTo>
                  <a:lnTo>
                    <a:pt x="1626" y="1058"/>
                  </a:lnTo>
                  <a:lnTo>
                    <a:pt x="1626" y="1056"/>
                  </a:lnTo>
                  <a:lnTo>
                    <a:pt x="1624" y="1056"/>
                  </a:lnTo>
                  <a:lnTo>
                    <a:pt x="1624" y="1058"/>
                  </a:lnTo>
                  <a:lnTo>
                    <a:pt x="1624" y="1056"/>
                  </a:lnTo>
                  <a:lnTo>
                    <a:pt x="1624" y="1055"/>
                  </a:lnTo>
                  <a:lnTo>
                    <a:pt x="1622" y="1055"/>
                  </a:lnTo>
                  <a:lnTo>
                    <a:pt x="1622" y="1053"/>
                  </a:lnTo>
                  <a:lnTo>
                    <a:pt x="1624" y="1053"/>
                  </a:lnTo>
                  <a:lnTo>
                    <a:pt x="1624" y="1051"/>
                  </a:lnTo>
                  <a:lnTo>
                    <a:pt x="1624" y="1049"/>
                  </a:lnTo>
                  <a:lnTo>
                    <a:pt x="1622" y="1049"/>
                  </a:lnTo>
                  <a:lnTo>
                    <a:pt x="1620" y="1049"/>
                  </a:lnTo>
                  <a:lnTo>
                    <a:pt x="1618" y="1049"/>
                  </a:lnTo>
                  <a:lnTo>
                    <a:pt x="1616" y="1049"/>
                  </a:lnTo>
                  <a:lnTo>
                    <a:pt x="1616" y="1047"/>
                  </a:lnTo>
                  <a:lnTo>
                    <a:pt x="1614" y="1047"/>
                  </a:lnTo>
                  <a:lnTo>
                    <a:pt x="1614" y="1045"/>
                  </a:lnTo>
                  <a:lnTo>
                    <a:pt x="1612" y="1045"/>
                  </a:lnTo>
                  <a:lnTo>
                    <a:pt x="1614" y="1045"/>
                  </a:lnTo>
                  <a:lnTo>
                    <a:pt x="1612" y="1045"/>
                  </a:lnTo>
                  <a:lnTo>
                    <a:pt x="1612" y="1043"/>
                  </a:lnTo>
                  <a:lnTo>
                    <a:pt x="1610" y="1043"/>
                  </a:lnTo>
                  <a:lnTo>
                    <a:pt x="1610" y="1041"/>
                  </a:lnTo>
                  <a:lnTo>
                    <a:pt x="1610" y="1039"/>
                  </a:lnTo>
                  <a:lnTo>
                    <a:pt x="1608" y="1039"/>
                  </a:lnTo>
                  <a:lnTo>
                    <a:pt x="1608" y="1041"/>
                  </a:lnTo>
                  <a:lnTo>
                    <a:pt x="1608" y="1039"/>
                  </a:lnTo>
                  <a:lnTo>
                    <a:pt x="1608" y="1037"/>
                  </a:lnTo>
                  <a:lnTo>
                    <a:pt x="1607" y="1037"/>
                  </a:lnTo>
                  <a:lnTo>
                    <a:pt x="1605" y="1037"/>
                  </a:lnTo>
                  <a:lnTo>
                    <a:pt x="1605" y="1039"/>
                  </a:lnTo>
                  <a:lnTo>
                    <a:pt x="1605" y="1037"/>
                  </a:lnTo>
                  <a:lnTo>
                    <a:pt x="1603" y="1037"/>
                  </a:lnTo>
                  <a:lnTo>
                    <a:pt x="1603" y="1039"/>
                  </a:lnTo>
                  <a:lnTo>
                    <a:pt x="1601" y="1039"/>
                  </a:lnTo>
                  <a:lnTo>
                    <a:pt x="1601" y="1037"/>
                  </a:lnTo>
                  <a:lnTo>
                    <a:pt x="1599" y="1037"/>
                  </a:lnTo>
                  <a:lnTo>
                    <a:pt x="1599" y="1035"/>
                  </a:lnTo>
                  <a:lnTo>
                    <a:pt x="1597" y="1035"/>
                  </a:lnTo>
                  <a:lnTo>
                    <a:pt x="1595" y="1035"/>
                  </a:lnTo>
                  <a:lnTo>
                    <a:pt x="1597" y="1035"/>
                  </a:lnTo>
                  <a:lnTo>
                    <a:pt x="1597" y="1033"/>
                  </a:lnTo>
                  <a:lnTo>
                    <a:pt x="1595" y="1033"/>
                  </a:lnTo>
                  <a:lnTo>
                    <a:pt x="1593" y="1033"/>
                  </a:lnTo>
                  <a:lnTo>
                    <a:pt x="1591" y="1033"/>
                  </a:lnTo>
                  <a:lnTo>
                    <a:pt x="1589" y="1033"/>
                  </a:lnTo>
                  <a:lnTo>
                    <a:pt x="1587" y="1033"/>
                  </a:lnTo>
                  <a:lnTo>
                    <a:pt x="1585" y="1033"/>
                  </a:lnTo>
                  <a:lnTo>
                    <a:pt x="1583" y="1033"/>
                  </a:lnTo>
                  <a:lnTo>
                    <a:pt x="1582" y="1033"/>
                  </a:lnTo>
                  <a:lnTo>
                    <a:pt x="1582" y="1031"/>
                  </a:lnTo>
                  <a:lnTo>
                    <a:pt x="1580" y="1031"/>
                  </a:lnTo>
                  <a:lnTo>
                    <a:pt x="1580" y="1030"/>
                  </a:lnTo>
                  <a:lnTo>
                    <a:pt x="1578" y="1030"/>
                  </a:lnTo>
                  <a:lnTo>
                    <a:pt x="1578" y="1028"/>
                  </a:lnTo>
                  <a:lnTo>
                    <a:pt x="1578" y="1026"/>
                  </a:lnTo>
                  <a:lnTo>
                    <a:pt x="1578" y="1024"/>
                  </a:lnTo>
                  <a:lnTo>
                    <a:pt x="1578" y="1022"/>
                  </a:lnTo>
                  <a:lnTo>
                    <a:pt x="1580" y="1022"/>
                  </a:lnTo>
                  <a:lnTo>
                    <a:pt x="1580" y="1020"/>
                  </a:lnTo>
                  <a:lnTo>
                    <a:pt x="1580" y="1018"/>
                  </a:lnTo>
                  <a:lnTo>
                    <a:pt x="1578" y="1018"/>
                  </a:lnTo>
                  <a:lnTo>
                    <a:pt x="1576" y="1018"/>
                  </a:lnTo>
                  <a:lnTo>
                    <a:pt x="1576" y="1016"/>
                  </a:lnTo>
                  <a:lnTo>
                    <a:pt x="1576" y="1014"/>
                  </a:lnTo>
                  <a:lnTo>
                    <a:pt x="1574" y="1014"/>
                  </a:lnTo>
                  <a:lnTo>
                    <a:pt x="1574" y="1012"/>
                  </a:lnTo>
                  <a:lnTo>
                    <a:pt x="1576" y="1012"/>
                  </a:lnTo>
                  <a:lnTo>
                    <a:pt x="1576" y="1010"/>
                  </a:lnTo>
                  <a:lnTo>
                    <a:pt x="1576" y="1008"/>
                  </a:lnTo>
                  <a:lnTo>
                    <a:pt x="1574" y="1008"/>
                  </a:lnTo>
                  <a:lnTo>
                    <a:pt x="1574" y="1006"/>
                  </a:lnTo>
                  <a:lnTo>
                    <a:pt x="1576" y="1006"/>
                  </a:lnTo>
                  <a:lnTo>
                    <a:pt x="1574" y="1006"/>
                  </a:lnTo>
                  <a:lnTo>
                    <a:pt x="1574" y="1005"/>
                  </a:lnTo>
                  <a:lnTo>
                    <a:pt x="1572" y="1005"/>
                  </a:lnTo>
                  <a:lnTo>
                    <a:pt x="1572" y="1003"/>
                  </a:lnTo>
                  <a:lnTo>
                    <a:pt x="1572" y="1001"/>
                  </a:lnTo>
                  <a:lnTo>
                    <a:pt x="1570" y="1001"/>
                  </a:lnTo>
                  <a:lnTo>
                    <a:pt x="1570" y="999"/>
                  </a:lnTo>
                  <a:lnTo>
                    <a:pt x="1570" y="997"/>
                  </a:lnTo>
                  <a:lnTo>
                    <a:pt x="1568" y="997"/>
                  </a:lnTo>
                  <a:lnTo>
                    <a:pt x="1568" y="995"/>
                  </a:lnTo>
                  <a:lnTo>
                    <a:pt x="1570" y="995"/>
                  </a:lnTo>
                  <a:lnTo>
                    <a:pt x="1570" y="993"/>
                  </a:lnTo>
                  <a:lnTo>
                    <a:pt x="1568" y="993"/>
                  </a:lnTo>
                  <a:lnTo>
                    <a:pt x="1568" y="995"/>
                  </a:lnTo>
                  <a:lnTo>
                    <a:pt x="1570" y="995"/>
                  </a:lnTo>
                  <a:lnTo>
                    <a:pt x="1568" y="995"/>
                  </a:lnTo>
                  <a:lnTo>
                    <a:pt x="1568" y="993"/>
                  </a:lnTo>
                  <a:lnTo>
                    <a:pt x="1570" y="993"/>
                  </a:lnTo>
                  <a:lnTo>
                    <a:pt x="1570" y="991"/>
                  </a:lnTo>
                  <a:lnTo>
                    <a:pt x="1568" y="991"/>
                  </a:lnTo>
                  <a:lnTo>
                    <a:pt x="1568" y="989"/>
                  </a:lnTo>
                  <a:lnTo>
                    <a:pt x="1568" y="987"/>
                  </a:lnTo>
                  <a:lnTo>
                    <a:pt x="1566" y="987"/>
                  </a:lnTo>
                  <a:lnTo>
                    <a:pt x="1566" y="985"/>
                  </a:lnTo>
                  <a:lnTo>
                    <a:pt x="1566" y="983"/>
                  </a:lnTo>
                  <a:lnTo>
                    <a:pt x="1564" y="983"/>
                  </a:lnTo>
                  <a:lnTo>
                    <a:pt x="1564" y="982"/>
                  </a:lnTo>
                  <a:lnTo>
                    <a:pt x="1564" y="980"/>
                  </a:lnTo>
                  <a:lnTo>
                    <a:pt x="1562" y="980"/>
                  </a:lnTo>
                  <a:lnTo>
                    <a:pt x="1562" y="978"/>
                  </a:lnTo>
                  <a:lnTo>
                    <a:pt x="1562" y="976"/>
                  </a:lnTo>
                  <a:lnTo>
                    <a:pt x="1564" y="976"/>
                  </a:lnTo>
                  <a:lnTo>
                    <a:pt x="1564" y="974"/>
                  </a:lnTo>
                  <a:lnTo>
                    <a:pt x="1562" y="974"/>
                  </a:lnTo>
                  <a:lnTo>
                    <a:pt x="1560" y="972"/>
                  </a:lnTo>
                  <a:lnTo>
                    <a:pt x="1560" y="970"/>
                  </a:lnTo>
                  <a:lnTo>
                    <a:pt x="1562" y="970"/>
                  </a:lnTo>
                  <a:lnTo>
                    <a:pt x="1560" y="970"/>
                  </a:lnTo>
                  <a:lnTo>
                    <a:pt x="1560" y="968"/>
                  </a:lnTo>
                  <a:lnTo>
                    <a:pt x="1560" y="966"/>
                  </a:lnTo>
                  <a:lnTo>
                    <a:pt x="1559" y="966"/>
                  </a:lnTo>
                  <a:lnTo>
                    <a:pt x="1559" y="964"/>
                  </a:lnTo>
                  <a:lnTo>
                    <a:pt x="1557" y="964"/>
                  </a:lnTo>
                  <a:lnTo>
                    <a:pt x="1557" y="962"/>
                  </a:lnTo>
                  <a:lnTo>
                    <a:pt x="1557" y="964"/>
                  </a:lnTo>
                  <a:lnTo>
                    <a:pt x="1557" y="962"/>
                  </a:lnTo>
                  <a:lnTo>
                    <a:pt x="1555" y="962"/>
                  </a:lnTo>
                  <a:lnTo>
                    <a:pt x="1555" y="960"/>
                  </a:lnTo>
                  <a:lnTo>
                    <a:pt x="1557" y="960"/>
                  </a:lnTo>
                  <a:lnTo>
                    <a:pt x="1557" y="958"/>
                  </a:lnTo>
                  <a:lnTo>
                    <a:pt x="1555" y="958"/>
                  </a:lnTo>
                  <a:lnTo>
                    <a:pt x="1555" y="957"/>
                  </a:lnTo>
                  <a:lnTo>
                    <a:pt x="1553" y="957"/>
                  </a:lnTo>
                  <a:lnTo>
                    <a:pt x="1551" y="957"/>
                  </a:lnTo>
                  <a:lnTo>
                    <a:pt x="1551" y="955"/>
                  </a:lnTo>
                  <a:lnTo>
                    <a:pt x="1553" y="955"/>
                  </a:lnTo>
                  <a:lnTo>
                    <a:pt x="1551" y="955"/>
                  </a:lnTo>
                  <a:lnTo>
                    <a:pt x="1553" y="955"/>
                  </a:lnTo>
                  <a:lnTo>
                    <a:pt x="1553" y="953"/>
                  </a:lnTo>
                  <a:lnTo>
                    <a:pt x="1551" y="953"/>
                  </a:lnTo>
                  <a:lnTo>
                    <a:pt x="1551" y="951"/>
                  </a:lnTo>
                  <a:lnTo>
                    <a:pt x="1549" y="951"/>
                  </a:lnTo>
                  <a:lnTo>
                    <a:pt x="1549" y="953"/>
                  </a:lnTo>
                  <a:lnTo>
                    <a:pt x="1549" y="951"/>
                  </a:lnTo>
                  <a:lnTo>
                    <a:pt x="1547" y="951"/>
                  </a:lnTo>
                  <a:lnTo>
                    <a:pt x="1545" y="949"/>
                  </a:lnTo>
                  <a:lnTo>
                    <a:pt x="1543" y="949"/>
                  </a:lnTo>
                  <a:lnTo>
                    <a:pt x="1541" y="949"/>
                  </a:lnTo>
                  <a:lnTo>
                    <a:pt x="1539" y="949"/>
                  </a:lnTo>
                  <a:lnTo>
                    <a:pt x="1539" y="951"/>
                  </a:lnTo>
                  <a:lnTo>
                    <a:pt x="1539" y="949"/>
                  </a:lnTo>
                  <a:lnTo>
                    <a:pt x="1537" y="949"/>
                  </a:lnTo>
                  <a:lnTo>
                    <a:pt x="1537" y="951"/>
                  </a:lnTo>
                  <a:lnTo>
                    <a:pt x="1537" y="949"/>
                  </a:lnTo>
                  <a:lnTo>
                    <a:pt x="1535" y="949"/>
                  </a:lnTo>
                  <a:lnTo>
                    <a:pt x="1534" y="949"/>
                  </a:lnTo>
                  <a:lnTo>
                    <a:pt x="1534" y="947"/>
                  </a:lnTo>
                  <a:lnTo>
                    <a:pt x="1532" y="947"/>
                  </a:lnTo>
                  <a:lnTo>
                    <a:pt x="1532" y="945"/>
                  </a:lnTo>
                  <a:lnTo>
                    <a:pt x="1530" y="945"/>
                  </a:lnTo>
                  <a:lnTo>
                    <a:pt x="1530" y="943"/>
                  </a:lnTo>
                  <a:lnTo>
                    <a:pt x="1530" y="945"/>
                  </a:lnTo>
                  <a:lnTo>
                    <a:pt x="1528" y="945"/>
                  </a:lnTo>
                  <a:lnTo>
                    <a:pt x="1528" y="943"/>
                  </a:lnTo>
                  <a:lnTo>
                    <a:pt x="1526" y="943"/>
                  </a:lnTo>
                  <a:lnTo>
                    <a:pt x="1526" y="941"/>
                  </a:lnTo>
                  <a:lnTo>
                    <a:pt x="1524" y="941"/>
                  </a:lnTo>
                  <a:lnTo>
                    <a:pt x="1522" y="941"/>
                  </a:lnTo>
                  <a:lnTo>
                    <a:pt x="1522" y="939"/>
                  </a:lnTo>
                  <a:lnTo>
                    <a:pt x="1520" y="939"/>
                  </a:lnTo>
                  <a:lnTo>
                    <a:pt x="1520" y="941"/>
                  </a:lnTo>
                  <a:lnTo>
                    <a:pt x="1520" y="939"/>
                  </a:lnTo>
                  <a:lnTo>
                    <a:pt x="1518" y="939"/>
                  </a:lnTo>
                  <a:lnTo>
                    <a:pt x="1518" y="941"/>
                  </a:lnTo>
                  <a:lnTo>
                    <a:pt x="1520" y="941"/>
                  </a:lnTo>
                  <a:lnTo>
                    <a:pt x="1518" y="941"/>
                  </a:lnTo>
                  <a:lnTo>
                    <a:pt x="1518" y="939"/>
                  </a:lnTo>
                  <a:lnTo>
                    <a:pt x="1516" y="939"/>
                  </a:lnTo>
                  <a:lnTo>
                    <a:pt x="1514" y="939"/>
                  </a:lnTo>
                  <a:lnTo>
                    <a:pt x="1514" y="941"/>
                  </a:lnTo>
                  <a:lnTo>
                    <a:pt x="1512" y="941"/>
                  </a:lnTo>
                  <a:lnTo>
                    <a:pt x="1511" y="941"/>
                  </a:lnTo>
                  <a:lnTo>
                    <a:pt x="1509" y="941"/>
                  </a:lnTo>
                  <a:lnTo>
                    <a:pt x="1507" y="941"/>
                  </a:lnTo>
                  <a:lnTo>
                    <a:pt x="1505" y="941"/>
                  </a:lnTo>
                  <a:lnTo>
                    <a:pt x="1505" y="943"/>
                  </a:lnTo>
                  <a:lnTo>
                    <a:pt x="1505" y="941"/>
                  </a:lnTo>
                  <a:lnTo>
                    <a:pt x="1505" y="943"/>
                  </a:lnTo>
                  <a:lnTo>
                    <a:pt x="1503" y="943"/>
                  </a:lnTo>
                  <a:lnTo>
                    <a:pt x="1503" y="941"/>
                  </a:lnTo>
                  <a:lnTo>
                    <a:pt x="1501" y="941"/>
                  </a:lnTo>
                  <a:lnTo>
                    <a:pt x="1499" y="941"/>
                  </a:lnTo>
                  <a:lnTo>
                    <a:pt x="1499" y="943"/>
                  </a:lnTo>
                  <a:lnTo>
                    <a:pt x="1497" y="943"/>
                  </a:lnTo>
                  <a:lnTo>
                    <a:pt x="1495" y="943"/>
                  </a:lnTo>
                  <a:lnTo>
                    <a:pt x="1493" y="943"/>
                  </a:lnTo>
                  <a:lnTo>
                    <a:pt x="1493" y="945"/>
                  </a:lnTo>
                  <a:lnTo>
                    <a:pt x="1491" y="945"/>
                  </a:lnTo>
                  <a:lnTo>
                    <a:pt x="1489" y="945"/>
                  </a:lnTo>
                  <a:lnTo>
                    <a:pt x="1488" y="945"/>
                  </a:lnTo>
                  <a:lnTo>
                    <a:pt x="1488" y="947"/>
                  </a:lnTo>
                  <a:lnTo>
                    <a:pt x="1486" y="947"/>
                  </a:lnTo>
                  <a:lnTo>
                    <a:pt x="1484" y="947"/>
                  </a:lnTo>
                  <a:lnTo>
                    <a:pt x="1484" y="945"/>
                  </a:lnTo>
                  <a:lnTo>
                    <a:pt x="1484" y="947"/>
                  </a:lnTo>
                  <a:lnTo>
                    <a:pt x="1482" y="947"/>
                  </a:lnTo>
                  <a:lnTo>
                    <a:pt x="1480" y="947"/>
                  </a:lnTo>
                  <a:lnTo>
                    <a:pt x="1480" y="949"/>
                  </a:lnTo>
                  <a:lnTo>
                    <a:pt x="1478" y="949"/>
                  </a:lnTo>
                  <a:lnTo>
                    <a:pt x="1478" y="951"/>
                  </a:lnTo>
                  <a:lnTo>
                    <a:pt x="1476" y="951"/>
                  </a:lnTo>
                  <a:lnTo>
                    <a:pt x="1476" y="953"/>
                  </a:lnTo>
                  <a:lnTo>
                    <a:pt x="1474" y="953"/>
                  </a:lnTo>
                  <a:lnTo>
                    <a:pt x="1474" y="955"/>
                  </a:lnTo>
                  <a:lnTo>
                    <a:pt x="1472" y="955"/>
                  </a:lnTo>
                  <a:lnTo>
                    <a:pt x="1472" y="957"/>
                  </a:lnTo>
                  <a:lnTo>
                    <a:pt x="1470" y="957"/>
                  </a:lnTo>
                  <a:lnTo>
                    <a:pt x="1470" y="958"/>
                  </a:lnTo>
                  <a:lnTo>
                    <a:pt x="1468" y="958"/>
                  </a:lnTo>
                  <a:lnTo>
                    <a:pt x="1468" y="960"/>
                  </a:lnTo>
                  <a:lnTo>
                    <a:pt x="1468" y="962"/>
                  </a:lnTo>
                  <a:lnTo>
                    <a:pt x="1468" y="964"/>
                  </a:lnTo>
                  <a:lnTo>
                    <a:pt x="1470" y="964"/>
                  </a:lnTo>
                  <a:lnTo>
                    <a:pt x="1470" y="962"/>
                  </a:lnTo>
                  <a:lnTo>
                    <a:pt x="1472" y="962"/>
                  </a:lnTo>
                  <a:lnTo>
                    <a:pt x="1474" y="962"/>
                  </a:lnTo>
                  <a:lnTo>
                    <a:pt x="1476" y="962"/>
                  </a:lnTo>
                  <a:lnTo>
                    <a:pt x="1476" y="964"/>
                  </a:lnTo>
                  <a:lnTo>
                    <a:pt x="1478" y="964"/>
                  </a:lnTo>
                  <a:lnTo>
                    <a:pt x="1478" y="966"/>
                  </a:lnTo>
                  <a:lnTo>
                    <a:pt x="1478" y="968"/>
                  </a:lnTo>
                  <a:lnTo>
                    <a:pt x="1478" y="970"/>
                  </a:lnTo>
                  <a:lnTo>
                    <a:pt x="1478" y="972"/>
                  </a:lnTo>
                  <a:lnTo>
                    <a:pt x="1480" y="972"/>
                  </a:lnTo>
                  <a:lnTo>
                    <a:pt x="1478" y="972"/>
                  </a:lnTo>
                  <a:lnTo>
                    <a:pt x="1480" y="972"/>
                  </a:lnTo>
                  <a:lnTo>
                    <a:pt x="1480" y="974"/>
                  </a:lnTo>
                  <a:lnTo>
                    <a:pt x="1480" y="976"/>
                  </a:lnTo>
                  <a:lnTo>
                    <a:pt x="1478" y="976"/>
                  </a:lnTo>
                  <a:lnTo>
                    <a:pt x="1480" y="976"/>
                  </a:lnTo>
                  <a:lnTo>
                    <a:pt x="1478" y="976"/>
                  </a:lnTo>
                  <a:lnTo>
                    <a:pt x="1478" y="978"/>
                  </a:lnTo>
                  <a:lnTo>
                    <a:pt x="1478" y="980"/>
                  </a:lnTo>
                  <a:lnTo>
                    <a:pt x="1476" y="980"/>
                  </a:lnTo>
                  <a:lnTo>
                    <a:pt x="1474" y="980"/>
                  </a:lnTo>
                  <a:lnTo>
                    <a:pt x="1474" y="982"/>
                  </a:lnTo>
                  <a:lnTo>
                    <a:pt x="1472" y="982"/>
                  </a:lnTo>
                  <a:lnTo>
                    <a:pt x="1472" y="983"/>
                  </a:lnTo>
                  <a:lnTo>
                    <a:pt x="1470" y="983"/>
                  </a:lnTo>
                  <a:lnTo>
                    <a:pt x="1470" y="985"/>
                  </a:lnTo>
                  <a:lnTo>
                    <a:pt x="1468" y="985"/>
                  </a:lnTo>
                  <a:lnTo>
                    <a:pt x="1470" y="985"/>
                  </a:lnTo>
                  <a:lnTo>
                    <a:pt x="1468" y="985"/>
                  </a:lnTo>
                  <a:lnTo>
                    <a:pt x="1468" y="987"/>
                  </a:lnTo>
                  <a:lnTo>
                    <a:pt x="1468" y="989"/>
                  </a:lnTo>
                  <a:lnTo>
                    <a:pt x="1468" y="991"/>
                  </a:lnTo>
                  <a:lnTo>
                    <a:pt x="1466" y="991"/>
                  </a:lnTo>
                  <a:lnTo>
                    <a:pt x="1466" y="993"/>
                  </a:lnTo>
                  <a:lnTo>
                    <a:pt x="1466" y="995"/>
                  </a:lnTo>
                  <a:lnTo>
                    <a:pt x="1464" y="995"/>
                  </a:lnTo>
                  <a:lnTo>
                    <a:pt x="1466" y="995"/>
                  </a:lnTo>
                  <a:lnTo>
                    <a:pt x="1464" y="995"/>
                  </a:lnTo>
                  <a:lnTo>
                    <a:pt x="1464" y="997"/>
                  </a:lnTo>
                  <a:lnTo>
                    <a:pt x="1464" y="999"/>
                  </a:lnTo>
                  <a:lnTo>
                    <a:pt x="1464" y="1001"/>
                  </a:lnTo>
                  <a:lnTo>
                    <a:pt x="1463" y="1001"/>
                  </a:lnTo>
                  <a:lnTo>
                    <a:pt x="1463" y="1003"/>
                  </a:lnTo>
                  <a:lnTo>
                    <a:pt x="1461" y="1003"/>
                  </a:lnTo>
                  <a:lnTo>
                    <a:pt x="1461" y="1005"/>
                  </a:lnTo>
                  <a:lnTo>
                    <a:pt x="1461" y="1006"/>
                  </a:lnTo>
                  <a:lnTo>
                    <a:pt x="1461" y="1008"/>
                  </a:lnTo>
                  <a:lnTo>
                    <a:pt x="1459" y="1008"/>
                  </a:lnTo>
                  <a:lnTo>
                    <a:pt x="1459" y="1010"/>
                  </a:lnTo>
                  <a:lnTo>
                    <a:pt x="1459" y="1008"/>
                  </a:lnTo>
                  <a:lnTo>
                    <a:pt x="1459" y="1010"/>
                  </a:lnTo>
                  <a:lnTo>
                    <a:pt x="1457" y="1010"/>
                  </a:lnTo>
                  <a:lnTo>
                    <a:pt x="1457" y="1012"/>
                  </a:lnTo>
                  <a:lnTo>
                    <a:pt x="1457" y="1014"/>
                  </a:lnTo>
                  <a:lnTo>
                    <a:pt x="1455" y="1014"/>
                  </a:lnTo>
                  <a:lnTo>
                    <a:pt x="1455" y="1016"/>
                  </a:lnTo>
                  <a:lnTo>
                    <a:pt x="1455" y="1014"/>
                  </a:lnTo>
                  <a:lnTo>
                    <a:pt x="1455" y="1016"/>
                  </a:lnTo>
                  <a:lnTo>
                    <a:pt x="1457" y="1016"/>
                  </a:lnTo>
                  <a:lnTo>
                    <a:pt x="1455" y="1016"/>
                  </a:lnTo>
                  <a:lnTo>
                    <a:pt x="1457" y="1016"/>
                  </a:lnTo>
                  <a:lnTo>
                    <a:pt x="1459" y="1016"/>
                  </a:lnTo>
                  <a:lnTo>
                    <a:pt x="1459" y="1018"/>
                  </a:lnTo>
                  <a:lnTo>
                    <a:pt x="1459" y="1020"/>
                  </a:lnTo>
                  <a:lnTo>
                    <a:pt x="1457" y="1020"/>
                  </a:lnTo>
                  <a:lnTo>
                    <a:pt x="1457" y="1022"/>
                  </a:lnTo>
                  <a:lnTo>
                    <a:pt x="1457" y="1024"/>
                  </a:lnTo>
                  <a:lnTo>
                    <a:pt x="1455" y="1024"/>
                  </a:lnTo>
                  <a:lnTo>
                    <a:pt x="1453" y="1024"/>
                  </a:lnTo>
                  <a:lnTo>
                    <a:pt x="1451" y="1024"/>
                  </a:lnTo>
                  <a:lnTo>
                    <a:pt x="1451" y="1026"/>
                  </a:lnTo>
                  <a:lnTo>
                    <a:pt x="1449" y="1026"/>
                  </a:lnTo>
                  <a:lnTo>
                    <a:pt x="1447" y="1026"/>
                  </a:lnTo>
                  <a:lnTo>
                    <a:pt x="1445" y="1026"/>
                  </a:lnTo>
                  <a:lnTo>
                    <a:pt x="1445" y="1028"/>
                  </a:lnTo>
                  <a:lnTo>
                    <a:pt x="1443" y="1030"/>
                  </a:lnTo>
                  <a:lnTo>
                    <a:pt x="1445" y="1030"/>
                  </a:lnTo>
                  <a:lnTo>
                    <a:pt x="1443" y="1030"/>
                  </a:lnTo>
                  <a:lnTo>
                    <a:pt x="1441" y="1030"/>
                  </a:lnTo>
                  <a:lnTo>
                    <a:pt x="1441" y="1031"/>
                  </a:lnTo>
                  <a:lnTo>
                    <a:pt x="1440" y="1031"/>
                  </a:lnTo>
                  <a:lnTo>
                    <a:pt x="1440" y="1033"/>
                  </a:lnTo>
                  <a:lnTo>
                    <a:pt x="1440" y="1031"/>
                  </a:lnTo>
                  <a:lnTo>
                    <a:pt x="1438" y="1031"/>
                  </a:lnTo>
                  <a:lnTo>
                    <a:pt x="1438" y="1033"/>
                  </a:lnTo>
                  <a:lnTo>
                    <a:pt x="1436" y="1033"/>
                  </a:lnTo>
                  <a:lnTo>
                    <a:pt x="1436" y="1035"/>
                  </a:lnTo>
                  <a:lnTo>
                    <a:pt x="1434" y="1033"/>
                  </a:lnTo>
                  <a:lnTo>
                    <a:pt x="1432" y="1033"/>
                  </a:lnTo>
                  <a:lnTo>
                    <a:pt x="1432" y="1031"/>
                  </a:lnTo>
                  <a:lnTo>
                    <a:pt x="1430" y="1031"/>
                  </a:lnTo>
                  <a:lnTo>
                    <a:pt x="1428" y="1031"/>
                  </a:lnTo>
                  <a:lnTo>
                    <a:pt x="1426" y="1031"/>
                  </a:lnTo>
                  <a:lnTo>
                    <a:pt x="1424" y="1031"/>
                  </a:lnTo>
                  <a:lnTo>
                    <a:pt x="1424" y="1030"/>
                  </a:lnTo>
                  <a:lnTo>
                    <a:pt x="1422" y="1030"/>
                  </a:lnTo>
                  <a:lnTo>
                    <a:pt x="1420" y="1028"/>
                  </a:lnTo>
                  <a:lnTo>
                    <a:pt x="1418" y="1026"/>
                  </a:lnTo>
                  <a:lnTo>
                    <a:pt x="1416" y="1026"/>
                  </a:lnTo>
                  <a:lnTo>
                    <a:pt x="1416" y="1024"/>
                  </a:lnTo>
                  <a:lnTo>
                    <a:pt x="1415" y="1024"/>
                  </a:lnTo>
                  <a:lnTo>
                    <a:pt x="1413" y="1024"/>
                  </a:lnTo>
                  <a:lnTo>
                    <a:pt x="1411" y="1024"/>
                  </a:lnTo>
                  <a:lnTo>
                    <a:pt x="1409" y="1024"/>
                  </a:lnTo>
                  <a:lnTo>
                    <a:pt x="1407" y="1026"/>
                  </a:lnTo>
                  <a:lnTo>
                    <a:pt x="1405" y="1026"/>
                  </a:lnTo>
                  <a:lnTo>
                    <a:pt x="1403" y="1026"/>
                  </a:lnTo>
                  <a:lnTo>
                    <a:pt x="1401" y="1026"/>
                  </a:lnTo>
                  <a:lnTo>
                    <a:pt x="1399" y="1026"/>
                  </a:lnTo>
                  <a:lnTo>
                    <a:pt x="1399" y="1024"/>
                  </a:lnTo>
                  <a:lnTo>
                    <a:pt x="1397" y="1024"/>
                  </a:lnTo>
                  <a:lnTo>
                    <a:pt x="1397" y="1022"/>
                  </a:lnTo>
                  <a:lnTo>
                    <a:pt x="1395" y="1022"/>
                  </a:lnTo>
                  <a:lnTo>
                    <a:pt x="1395" y="1020"/>
                  </a:lnTo>
                  <a:lnTo>
                    <a:pt x="1393" y="1020"/>
                  </a:lnTo>
                  <a:lnTo>
                    <a:pt x="1393" y="1018"/>
                  </a:lnTo>
                  <a:lnTo>
                    <a:pt x="1392" y="1018"/>
                  </a:lnTo>
                  <a:lnTo>
                    <a:pt x="1390" y="1018"/>
                  </a:lnTo>
                  <a:lnTo>
                    <a:pt x="1388" y="1018"/>
                  </a:lnTo>
                  <a:lnTo>
                    <a:pt x="1386" y="1018"/>
                  </a:lnTo>
                  <a:lnTo>
                    <a:pt x="1384" y="1018"/>
                  </a:lnTo>
                  <a:lnTo>
                    <a:pt x="1382" y="1018"/>
                  </a:lnTo>
                  <a:lnTo>
                    <a:pt x="1382" y="1020"/>
                  </a:lnTo>
                  <a:lnTo>
                    <a:pt x="1380" y="1020"/>
                  </a:lnTo>
                  <a:lnTo>
                    <a:pt x="1380" y="1022"/>
                  </a:lnTo>
                  <a:lnTo>
                    <a:pt x="1378" y="1022"/>
                  </a:lnTo>
                  <a:lnTo>
                    <a:pt x="1376" y="1022"/>
                  </a:lnTo>
                  <a:lnTo>
                    <a:pt x="1376" y="1024"/>
                  </a:lnTo>
                  <a:lnTo>
                    <a:pt x="1374" y="1024"/>
                  </a:lnTo>
                  <a:lnTo>
                    <a:pt x="1372" y="1024"/>
                  </a:lnTo>
                  <a:lnTo>
                    <a:pt x="1372" y="1026"/>
                  </a:lnTo>
                  <a:lnTo>
                    <a:pt x="1370" y="1026"/>
                  </a:lnTo>
                  <a:lnTo>
                    <a:pt x="1370" y="1028"/>
                  </a:lnTo>
                  <a:lnTo>
                    <a:pt x="1369" y="1028"/>
                  </a:lnTo>
                  <a:lnTo>
                    <a:pt x="1369" y="1030"/>
                  </a:lnTo>
                  <a:lnTo>
                    <a:pt x="1367" y="1030"/>
                  </a:lnTo>
                  <a:lnTo>
                    <a:pt x="1367" y="1031"/>
                  </a:lnTo>
                  <a:lnTo>
                    <a:pt x="1367" y="1033"/>
                  </a:lnTo>
                  <a:lnTo>
                    <a:pt x="1365" y="1033"/>
                  </a:lnTo>
                  <a:lnTo>
                    <a:pt x="1363" y="1033"/>
                  </a:lnTo>
                  <a:lnTo>
                    <a:pt x="1363" y="1035"/>
                  </a:lnTo>
                  <a:lnTo>
                    <a:pt x="1361" y="1035"/>
                  </a:lnTo>
                  <a:lnTo>
                    <a:pt x="1359" y="1035"/>
                  </a:lnTo>
                  <a:lnTo>
                    <a:pt x="1357" y="1035"/>
                  </a:lnTo>
                  <a:lnTo>
                    <a:pt x="1355" y="1035"/>
                  </a:lnTo>
                  <a:lnTo>
                    <a:pt x="1353" y="1037"/>
                  </a:lnTo>
                  <a:lnTo>
                    <a:pt x="1351" y="1037"/>
                  </a:lnTo>
                  <a:lnTo>
                    <a:pt x="1349" y="1037"/>
                  </a:lnTo>
                  <a:lnTo>
                    <a:pt x="1347" y="1037"/>
                  </a:lnTo>
                  <a:lnTo>
                    <a:pt x="1345" y="1037"/>
                  </a:lnTo>
                  <a:lnTo>
                    <a:pt x="1345" y="1039"/>
                  </a:lnTo>
                  <a:lnTo>
                    <a:pt x="1344" y="1039"/>
                  </a:lnTo>
                  <a:lnTo>
                    <a:pt x="1342" y="1039"/>
                  </a:lnTo>
                  <a:lnTo>
                    <a:pt x="1340" y="1039"/>
                  </a:lnTo>
                  <a:lnTo>
                    <a:pt x="1338" y="1041"/>
                  </a:lnTo>
                  <a:lnTo>
                    <a:pt x="1336" y="1041"/>
                  </a:lnTo>
                  <a:lnTo>
                    <a:pt x="1334" y="1041"/>
                  </a:lnTo>
                  <a:lnTo>
                    <a:pt x="1334" y="1043"/>
                  </a:lnTo>
                  <a:lnTo>
                    <a:pt x="1332" y="1043"/>
                  </a:lnTo>
                  <a:lnTo>
                    <a:pt x="1330" y="1043"/>
                  </a:lnTo>
                  <a:lnTo>
                    <a:pt x="1330" y="1041"/>
                  </a:lnTo>
                  <a:lnTo>
                    <a:pt x="1328" y="1041"/>
                  </a:lnTo>
                  <a:lnTo>
                    <a:pt x="1328" y="1043"/>
                  </a:lnTo>
                  <a:lnTo>
                    <a:pt x="1328" y="1041"/>
                  </a:lnTo>
                  <a:lnTo>
                    <a:pt x="1326" y="1041"/>
                  </a:lnTo>
                  <a:lnTo>
                    <a:pt x="1326" y="1043"/>
                  </a:lnTo>
                  <a:lnTo>
                    <a:pt x="1324" y="1043"/>
                  </a:lnTo>
                  <a:lnTo>
                    <a:pt x="1322" y="1043"/>
                  </a:lnTo>
                  <a:lnTo>
                    <a:pt x="1322" y="1041"/>
                  </a:lnTo>
                  <a:lnTo>
                    <a:pt x="1321" y="1041"/>
                  </a:lnTo>
                  <a:lnTo>
                    <a:pt x="1319" y="1041"/>
                  </a:lnTo>
                  <a:lnTo>
                    <a:pt x="1317" y="1041"/>
                  </a:lnTo>
                  <a:lnTo>
                    <a:pt x="1315" y="1041"/>
                  </a:lnTo>
                  <a:lnTo>
                    <a:pt x="1313" y="1041"/>
                  </a:lnTo>
                  <a:lnTo>
                    <a:pt x="1313" y="1039"/>
                  </a:lnTo>
                  <a:lnTo>
                    <a:pt x="1311" y="1039"/>
                  </a:lnTo>
                  <a:lnTo>
                    <a:pt x="1309" y="1039"/>
                  </a:lnTo>
                  <a:lnTo>
                    <a:pt x="1307" y="1039"/>
                  </a:lnTo>
                  <a:lnTo>
                    <a:pt x="1305" y="1039"/>
                  </a:lnTo>
                  <a:lnTo>
                    <a:pt x="1303" y="1039"/>
                  </a:lnTo>
                  <a:lnTo>
                    <a:pt x="1301" y="1039"/>
                  </a:lnTo>
                  <a:lnTo>
                    <a:pt x="1299" y="1039"/>
                  </a:lnTo>
                  <a:lnTo>
                    <a:pt x="1299" y="1037"/>
                  </a:lnTo>
                  <a:lnTo>
                    <a:pt x="1298" y="1037"/>
                  </a:lnTo>
                  <a:lnTo>
                    <a:pt x="1298" y="1035"/>
                  </a:lnTo>
                  <a:lnTo>
                    <a:pt x="1298" y="1033"/>
                  </a:lnTo>
                  <a:lnTo>
                    <a:pt x="1296" y="1033"/>
                  </a:lnTo>
                  <a:lnTo>
                    <a:pt x="1294" y="1033"/>
                  </a:lnTo>
                  <a:lnTo>
                    <a:pt x="1294" y="1031"/>
                  </a:lnTo>
                  <a:lnTo>
                    <a:pt x="1292" y="1031"/>
                  </a:lnTo>
                  <a:lnTo>
                    <a:pt x="1292" y="1030"/>
                  </a:lnTo>
                  <a:lnTo>
                    <a:pt x="1292" y="1028"/>
                  </a:lnTo>
                  <a:lnTo>
                    <a:pt x="1292" y="1026"/>
                  </a:lnTo>
                  <a:lnTo>
                    <a:pt x="1290" y="1026"/>
                  </a:lnTo>
                  <a:lnTo>
                    <a:pt x="1290" y="1024"/>
                  </a:lnTo>
                  <a:lnTo>
                    <a:pt x="1290" y="1026"/>
                  </a:lnTo>
                  <a:lnTo>
                    <a:pt x="1290" y="1024"/>
                  </a:lnTo>
                  <a:lnTo>
                    <a:pt x="1288" y="1024"/>
                  </a:lnTo>
                  <a:lnTo>
                    <a:pt x="1286" y="1024"/>
                  </a:lnTo>
                  <a:lnTo>
                    <a:pt x="1284" y="1024"/>
                  </a:lnTo>
                  <a:lnTo>
                    <a:pt x="1282" y="1024"/>
                  </a:lnTo>
                  <a:lnTo>
                    <a:pt x="1280" y="1024"/>
                  </a:lnTo>
                  <a:lnTo>
                    <a:pt x="1280" y="1022"/>
                  </a:lnTo>
                  <a:lnTo>
                    <a:pt x="1278" y="1022"/>
                  </a:lnTo>
                  <a:lnTo>
                    <a:pt x="1278" y="1020"/>
                  </a:lnTo>
                  <a:lnTo>
                    <a:pt x="1278" y="1018"/>
                  </a:lnTo>
                  <a:lnTo>
                    <a:pt x="1276" y="1018"/>
                  </a:lnTo>
                  <a:lnTo>
                    <a:pt x="1274" y="1016"/>
                  </a:lnTo>
                  <a:lnTo>
                    <a:pt x="1273" y="1016"/>
                  </a:lnTo>
                  <a:lnTo>
                    <a:pt x="1271" y="1016"/>
                  </a:lnTo>
                  <a:lnTo>
                    <a:pt x="1269" y="1016"/>
                  </a:lnTo>
                  <a:lnTo>
                    <a:pt x="1267" y="1016"/>
                  </a:lnTo>
                  <a:lnTo>
                    <a:pt x="1265" y="1016"/>
                  </a:lnTo>
                  <a:lnTo>
                    <a:pt x="1265" y="1014"/>
                  </a:lnTo>
                  <a:lnTo>
                    <a:pt x="1263" y="1014"/>
                  </a:lnTo>
                  <a:lnTo>
                    <a:pt x="1261" y="1014"/>
                  </a:lnTo>
                  <a:lnTo>
                    <a:pt x="1259" y="1014"/>
                  </a:lnTo>
                  <a:lnTo>
                    <a:pt x="1257" y="1014"/>
                  </a:lnTo>
                  <a:lnTo>
                    <a:pt x="1255" y="1014"/>
                  </a:lnTo>
                  <a:lnTo>
                    <a:pt x="1255" y="1012"/>
                  </a:lnTo>
                  <a:lnTo>
                    <a:pt x="1253" y="1012"/>
                  </a:lnTo>
                  <a:lnTo>
                    <a:pt x="1253" y="1014"/>
                  </a:lnTo>
                  <a:lnTo>
                    <a:pt x="1251" y="1014"/>
                  </a:lnTo>
                  <a:lnTo>
                    <a:pt x="1250" y="1014"/>
                  </a:lnTo>
                  <a:lnTo>
                    <a:pt x="1248" y="1014"/>
                  </a:lnTo>
                  <a:lnTo>
                    <a:pt x="1248" y="1016"/>
                  </a:lnTo>
                  <a:lnTo>
                    <a:pt x="1246" y="1016"/>
                  </a:lnTo>
                  <a:lnTo>
                    <a:pt x="1244" y="1016"/>
                  </a:lnTo>
                  <a:lnTo>
                    <a:pt x="1242" y="1016"/>
                  </a:lnTo>
                  <a:lnTo>
                    <a:pt x="1240" y="1016"/>
                  </a:lnTo>
                  <a:lnTo>
                    <a:pt x="1240" y="1018"/>
                  </a:lnTo>
                  <a:lnTo>
                    <a:pt x="1238" y="1018"/>
                  </a:lnTo>
                  <a:lnTo>
                    <a:pt x="1238" y="1020"/>
                  </a:lnTo>
                  <a:lnTo>
                    <a:pt x="1236" y="1020"/>
                  </a:lnTo>
                  <a:lnTo>
                    <a:pt x="1234" y="1020"/>
                  </a:lnTo>
                  <a:lnTo>
                    <a:pt x="1232" y="1020"/>
                  </a:lnTo>
                  <a:lnTo>
                    <a:pt x="1230" y="1020"/>
                  </a:lnTo>
                  <a:lnTo>
                    <a:pt x="1228" y="1020"/>
                  </a:lnTo>
                  <a:lnTo>
                    <a:pt x="1226" y="1020"/>
                  </a:lnTo>
                  <a:lnTo>
                    <a:pt x="1225" y="1020"/>
                  </a:lnTo>
                  <a:lnTo>
                    <a:pt x="1225" y="1018"/>
                  </a:lnTo>
                  <a:lnTo>
                    <a:pt x="1225" y="1020"/>
                  </a:lnTo>
                  <a:lnTo>
                    <a:pt x="1223" y="1020"/>
                  </a:lnTo>
                  <a:lnTo>
                    <a:pt x="1223" y="1018"/>
                  </a:lnTo>
                  <a:lnTo>
                    <a:pt x="1223" y="1016"/>
                  </a:lnTo>
                  <a:lnTo>
                    <a:pt x="1221" y="1016"/>
                  </a:lnTo>
                  <a:lnTo>
                    <a:pt x="1219" y="1016"/>
                  </a:lnTo>
                  <a:lnTo>
                    <a:pt x="1217" y="1016"/>
                  </a:lnTo>
                  <a:lnTo>
                    <a:pt x="1215" y="1016"/>
                  </a:lnTo>
                  <a:lnTo>
                    <a:pt x="1215" y="1014"/>
                  </a:lnTo>
                  <a:lnTo>
                    <a:pt x="1213" y="1014"/>
                  </a:lnTo>
                  <a:lnTo>
                    <a:pt x="1213" y="1012"/>
                  </a:lnTo>
                  <a:lnTo>
                    <a:pt x="1213" y="1010"/>
                  </a:lnTo>
                  <a:lnTo>
                    <a:pt x="1211" y="1010"/>
                  </a:lnTo>
                  <a:lnTo>
                    <a:pt x="1211" y="1008"/>
                  </a:lnTo>
                  <a:lnTo>
                    <a:pt x="1209" y="1008"/>
                  </a:lnTo>
                  <a:lnTo>
                    <a:pt x="1209" y="1006"/>
                  </a:lnTo>
                  <a:lnTo>
                    <a:pt x="1209" y="1005"/>
                  </a:lnTo>
                  <a:lnTo>
                    <a:pt x="1207" y="1005"/>
                  </a:lnTo>
                  <a:lnTo>
                    <a:pt x="1209" y="1005"/>
                  </a:lnTo>
                  <a:lnTo>
                    <a:pt x="1207" y="1005"/>
                  </a:lnTo>
                  <a:lnTo>
                    <a:pt x="1207" y="1003"/>
                  </a:lnTo>
                  <a:lnTo>
                    <a:pt x="1209" y="1003"/>
                  </a:lnTo>
                  <a:lnTo>
                    <a:pt x="1207" y="1003"/>
                  </a:lnTo>
                  <a:lnTo>
                    <a:pt x="1207" y="1001"/>
                  </a:lnTo>
                  <a:lnTo>
                    <a:pt x="1209" y="1001"/>
                  </a:lnTo>
                  <a:lnTo>
                    <a:pt x="1207" y="1001"/>
                  </a:lnTo>
                  <a:lnTo>
                    <a:pt x="1207" y="999"/>
                  </a:lnTo>
                  <a:lnTo>
                    <a:pt x="1207" y="997"/>
                  </a:lnTo>
                  <a:lnTo>
                    <a:pt x="1207" y="995"/>
                  </a:lnTo>
                  <a:lnTo>
                    <a:pt x="1207" y="993"/>
                  </a:lnTo>
                  <a:lnTo>
                    <a:pt x="1205" y="993"/>
                  </a:lnTo>
                  <a:lnTo>
                    <a:pt x="1205" y="991"/>
                  </a:lnTo>
                  <a:lnTo>
                    <a:pt x="1203" y="991"/>
                  </a:lnTo>
                  <a:lnTo>
                    <a:pt x="1202" y="991"/>
                  </a:lnTo>
                  <a:lnTo>
                    <a:pt x="1202" y="989"/>
                  </a:lnTo>
                  <a:lnTo>
                    <a:pt x="1202" y="991"/>
                  </a:lnTo>
                  <a:lnTo>
                    <a:pt x="1200" y="991"/>
                  </a:lnTo>
                  <a:lnTo>
                    <a:pt x="1200" y="989"/>
                  </a:lnTo>
                  <a:lnTo>
                    <a:pt x="1198" y="989"/>
                  </a:lnTo>
                  <a:lnTo>
                    <a:pt x="1196" y="989"/>
                  </a:lnTo>
                  <a:lnTo>
                    <a:pt x="1196" y="991"/>
                  </a:lnTo>
                  <a:lnTo>
                    <a:pt x="1196" y="989"/>
                  </a:lnTo>
                  <a:lnTo>
                    <a:pt x="1196" y="991"/>
                  </a:lnTo>
                  <a:lnTo>
                    <a:pt x="1196" y="989"/>
                  </a:lnTo>
                  <a:lnTo>
                    <a:pt x="1194" y="989"/>
                  </a:lnTo>
                  <a:lnTo>
                    <a:pt x="1194" y="987"/>
                  </a:lnTo>
                  <a:lnTo>
                    <a:pt x="1194" y="989"/>
                  </a:lnTo>
                  <a:lnTo>
                    <a:pt x="1192" y="989"/>
                  </a:lnTo>
                  <a:lnTo>
                    <a:pt x="1192" y="987"/>
                  </a:lnTo>
                  <a:lnTo>
                    <a:pt x="1190" y="987"/>
                  </a:lnTo>
                  <a:lnTo>
                    <a:pt x="1188" y="987"/>
                  </a:lnTo>
                  <a:lnTo>
                    <a:pt x="1188" y="985"/>
                  </a:lnTo>
                  <a:lnTo>
                    <a:pt x="1186" y="985"/>
                  </a:lnTo>
                  <a:lnTo>
                    <a:pt x="1186" y="983"/>
                  </a:lnTo>
                  <a:lnTo>
                    <a:pt x="1184" y="983"/>
                  </a:lnTo>
                  <a:lnTo>
                    <a:pt x="1182" y="983"/>
                  </a:lnTo>
                  <a:lnTo>
                    <a:pt x="1180" y="983"/>
                  </a:lnTo>
                  <a:lnTo>
                    <a:pt x="1179" y="983"/>
                  </a:lnTo>
                  <a:lnTo>
                    <a:pt x="1177" y="983"/>
                  </a:lnTo>
                  <a:lnTo>
                    <a:pt x="1175" y="983"/>
                  </a:lnTo>
                  <a:lnTo>
                    <a:pt x="1173" y="983"/>
                  </a:lnTo>
                  <a:lnTo>
                    <a:pt x="1173" y="982"/>
                  </a:lnTo>
                  <a:lnTo>
                    <a:pt x="1173" y="980"/>
                  </a:lnTo>
                  <a:lnTo>
                    <a:pt x="1171" y="980"/>
                  </a:lnTo>
                  <a:lnTo>
                    <a:pt x="1169" y="980"/>
                  </a:lnTo>
                  <a:lnTo>
                    <a:pt x="1167" y="980"/>
                  </a:lnTo>
                  <a:lnTo>
                    <a:pt x="1167" y="978"/>
                  </a:lnTo>
                  <a:lnTo>
                    <a:pt x="1167" y="980"/>
                  </a:lnTo>
                  <a:lnTo>
                    <a:pt x="1167" y="978"/>
                  </a:lnTo>
                  <a:lnTo>
                    <a:pt x="1165" y="978"/>
                  </a:lnTo>
                  <a:lnTo>
                    <a:pt x="1165" y="976"/>
                  </a:lnTo>
                  <a:lnTo>
                    <a:pt x="1163" y="976"/>
                  </a:lnTo>
                  <a:lnTo>
                    <a:pt x="1163" y="978"/>
                  </a:lnTo>
                  <a:lnTo>
                    <a:pt x="1163" y="976"/>
                  </a:lnTo>
                  <a:lnTo>
                    <a:pt x="1161" y="976"/>
                  </a:lnTo>
                  <a:lnTo>
                    <a:pt x="1161" y="974"/>
                  </a:lnTo>
                  <a:lnTo>
                    <a:pt x="1159" y="974"/>
                  </a:lnTo>
                  <a:lnTo>
                    <a:pt x="1159" y="976"/>
                  </a:lnTo>
                  <a:lnTo>
                    <a:pt x="1157" y="976"/>
                  </a:lnTo>
                  <a:lnTo>
                    <a:pt x="1157" y="978"/>
                  </a:lnTo>
                  <a:lnTo>
                    <a:pt x="1157" y="980"/>
                  </a:lnTo>
                  <a:lnTo>
                    <a:pt x="1157" y="982"/>
                  </a:lnTo>
                  <a:lnTo>
                    <a:pt x="1155" y="982"/>
                  </a:lnTo>
                  <a:lnTo>
                    <a:pt x="1154" y="982"/>
                  </a:lnTo>
                  <a:lnTo>
                    <a:pt x="1154" y="983"/>
                  </a:lnTo>
                  <a:lnTo>
                    <a:pt x="1152" y="983"/>
                  </a:lnTo>
                  <a:lnTo>
                    <a:pt x="1152" y="985"/>
                  </a:lnTo>
                  <a:lnTo>
                    <a:pt x="1150" y="985"/>
                  </a:lnTo>
                  <a:lnTo>
                    <a:pt x="1150" y="987"/>
                  </a:lnTo>
                  <a:lnTo>
                    <a:pt x="1150" y="989"/>
                  </a:lnTo>
                  <a:lnTo>
                    <a:pt x="1148" y="989"/>
                  </a:lnTo>
                  <a:lnTo>
                    <a:pt x="1148" y="991"/>
                  </a:lnTo>
                  <a:lnTo>
                    <a:pt x="1146" y="991"/>
                  </a:lnTo>
                  <a:lnTo>
                    <a:pt x="1148" y="991"/>
                  </a:lnTo>
                  <a:lnTo>
                    <a:pt x="1146" y="991"/>
                  </a:lnTo>
                  <a:lnTo>
                    <a:pt x="1146" y="993"/>
                  </a:lnTo>
                  <a:lnTo>
                    <a:pt x="1146" y="995"/>
                  </a:lnTo>
                  <a:lnTo>
                    <a:pt x="1146" y="997"/>
                  </a:lnTo>
                  <a:lnTo>
                    <a:pt x="1144" y="997"/>
                  </a:lnTo>
                  <a:lnTo>
                    <a:pt x="1144" y="999"/>
                  </a:lnTo>
                  <a:lnTo>
                    <a:pt x="1144" y="1001"/>
                  </a:lnTo>
                  <a:lnTo>
                    <a:pt x="1144" y="1003"/>
                  </a:lnTo>
                  <a:lnTo>
                    <a:pt x="1146" y="1003"/>
                  </a:lnTo>
                  <a:lnTo>
                    <a:pt x="1146" y="1005"/>
                  </a:lnTo>
                  <a:lnTo>
                    <a:pt x="1146" y="1006"/>
                  </a:lnTo>
                  <a:lnTo>
                    <a:pt x="1146" y="1008"/>
                  </a:lnTo>
                  <a:lnTo>
                    <a:pt x="1148" y="1008"/>
                  </a:lnTo>
                  <a:lnTo>
                    <a:pt x="1148" y="1010"/>
                  </a:lnTo>
                  <a:lnTo>
                    <a:pt x="1150" y="1010"/>
                  </a:lnTo>
                  <a:lnTo>
                    <a:pt x="1150" y="1012"/>
                  </a:lnTo>
                  <a:lnTo>
                    <a:pt x="1150" y="1010"/>
                  </a:lnTo>
                  <a:lnTo>
                    <a:pt x="1150" y="1012"/>
                  </a:lnTo>
                  <a:lnTo>
                    <a:pt x="1152" y="1012"/>
                  </a:lnTo>
                  <a:lnTo>
                    <a:pt x="1152" y="1014"/>
                  </a:lnTo>
                  <a:lnTo>
                    <a:pt x="1150" y="1014"/>
                  </a:lnTo>
                  <a:lnTo>
                    <a:pt x="1152" y="1014"/>
                  </a:lnTo>
                  <a:lnTo>
                    <a:pt x="1150" y="1014"/>
                  </a:lnTo>
                  <a:lnTo>
                    <a:pt x="1150" y="1016"/>
                  </a:lnTo>
                  <a:lnTo>
                    <a:pt x="1152" y="1016"/>
                  </a:lnTo>
                  <a:lnTo>
                    <a:pt x="1150" y="1016"/>
                  </a:lnTo>
                  <a:lnTo>
                    <a:pt x="1152" y="1016"/>
                  </a:lnTo>
                  <a:lnTo>
                    <a:pt x="1150" y="1016"/>
                  </a:lnTo>
                  <a:lnTo>
                    <a:pt x="1150" y="1018"/>
                  </a:lnTo>
                  <a:lnTo>
                    <a:pt x="1150" y="1020"/>
                  </a:lnTo>
                  <a:lnTo>
                    <a:pt x="1148" y="1020"/>
                  </a:lnTo>
                  <a:lnTo>
                    <a:pt x="1148" y="1022"/>
                  </a:lnTo>
                  <a:lnTo>
                    <a:pt x="1148" y="1024"/>
                  </a:lnTo>
                  <a:lnTo>
                    <a:pt x="1146" y="1024"/>
                  </a:lnTo>
                  <a:lnTo>
                    <a:pt x="1144" y="1024"/>
                  </a:lnTo>
                  <a:lnTo>
                    <a:pt x="1144" y="1026"/>
                  </a:lnTo>
                  <a:lnTo>
                    <a:pt x="1144" y="1024"/>
                  </a:lnTo>
                  <a:lnTo>
                    <a:pt x="1142" y="1024"/>
                  </a:lnTo>
                  <a:lnTo>
                    <a:pt x="1142" y="1026"/>
                  </a:lnTo>
                  <a:lnTo>
                    <a:pt x="1140" y="1026"/>
                  </a:lnTo>
                  <a:lnTo>
                    <a:pt x="1140" y="1028"/>
                  </a:lnTo>
                  <a:lnTo>
                    <a:pt x="1138" y="1028"/>
                  </a:lnTo>
                  <a:lnTo>
                    <a:pt x="1138" y="1030"/>
                  </a:lnTo>
                  <a:lnTo>
                    <a:pt x="1136" y="1030"/>
                  </a:lnTo>
                  <a:lnTo>
                    <a:pt x="1134" y="1030"/>
                  </a:lnTo>
                  <a:lnTo>
                    <a:pt x="1134" y="1028"/>
                  </a:lnTo>
                  <a:lnTo>
                    <a:pt x="1132" y="1028"/>
                  </a:lnTo>
                  <a:lnTo>
                    <a:pt x="1132" y="1026"/>
                  </a:lnTo>
                  <a:lnTo>
                    <a:pt x="1131" y="1026"/>
                  </a:lnTo>
                  <a:lnTo>
                    <a:pt x="1129" y="1026"/>
                  </a:lnTo>
                  <a:lnTo>
                    <a:pt x="1127" y="1026"/>
                  </a:lnTo>
                  <a:lnTo>
                    <a:pt x="1127" y="1028"/>
                  </a:lnTo>
                  <a:lnTo>
                    <a:pt x="1127" y="1026"/>
                  </a:lnTo>
                  <a:lnTo>
                    <a:pt x="1125" y="1026"/>
                  </a:lnTo>
                  <a:lnTo>
                    <a:pt x="1123" y="1026"/>
                  </a:lnTo>
                  <a:lnTo>
                    <a:pt x="1123" y="1028"/>
                  </a:lnTo>
                  <a:lnTo>
                    <a:pt x="1123" y="1026"/>
                  </a:lnTo>
                  <a:lnTo>
                    <a:pt x="1121" y="1026"/>
                  </a:lnTo>
                  <a:lnTo>
                    <a:pt x="1121" y="1024"/>
                  </a:lnTo>
                  <a:lnTo>
                    <a:pt x="1119" y="1024"/>
                  </a:lnTo>
                  <a:lnTo>
                    <a:pt x="1117" y="1024"/>
                  </a:lnTo>
                  <a:lnTo>
                    <a:pt x="1115" y="1024"/>
                  </a:lnTo>
                  <a:lnTo>
                    <a:pt x="1113" y="1024"/>
                  </a:lnTo>
                  <a:lnTo>
                    <a:pt x="1113" y="1026"/>
                  </a:lnTo>
                  <a:lnTo>
                    <a:pt x="1113" y="1024"/>
                  </a:lnTo>
                  <a:lnTo>
                    <a:pt x="1111" y="1024"/>
                  </a:lnTo>
                  <a:lnTo>
                    <a:pt x="1111" y="1026"/>
                  </a:lnTo>
                  <a:lnTo>
                    <a:pt x="1109" y="1026"/>
                  </a:lnTo>
                  <a:lnTo>
                    <a:pt x="1109" y="1024"/>
                  </a:lnTo>
                  <a:lnTo>
                    <a:pt x="1107" y="1026"/>
                  </a:lnTo>
                  <a:lnTo>
                    <a:pt x="1106" y="1024"/>
                  </a:lnTo>
                  <a:lnTo>
                    <a:pt x="1104" y="1024"/>
                  </a:lnTo>
                  <a:lnTo>
                    <a:pt x="1102" y="1024"/>
                  </a:lnTo>
                  <a:lnTo>
                    <a:pt x="1102" y="1022"/>
                  </a:lnTo>
                  <a:lnTo>
                    <a:pt x="1100" y="1022"/>
                  </a:lnTo>
                  <a:lnTo>
                    <a:pt x="1098" y="1022"/>
                  </a:lnTo>
                  <a:lnTo>
                    <a:pt x="1098" y="1024"/>
                  </a:lnTo>
                  <a:lnTo>
                    <a:pt x="1096" y="1024"/>
                  </a:lnTo>
                  <a:lnTo>
                    <a:pt x="1096" y="1022"/>
                  </a:lnTo>
                  <a:lnTo>
                    <a:pt x="1096" y="1024"/>
                  </a:lnTo>
                  <a:lnTo>
                    <a:pt x="1096" y="1022"/>
                  </a:lnTo>
                  <a:lnTo>
                    <a:pt x="1096" y="1020"/>
                  </a:lnTo>
                  <a:lnTo>
                    <a:pt x="1094" y="1020"/>
                  </a:lnTo>
                  <a:lnTo>
                    <a:pt x="1094" y="1018"/>
                  </a:lnTo>
                  <a:lnTo>
                    <a:pt x="1094" y="1016"/>
                  </a:lnTo>
                  <a:lnTo>
                    <a:pt x="1092" y="1014"/>
                  </a:lnTo>
                  <a:lnTo>
                    <a:pt x="1092" y="1012"/>
                  </a:lnTo>
                  <a:lnTo>
                    <a:pt x="1092" y="1010"/>
                  </a:lnTo>
                  <a:lnTo>
                    <a:pt x="1090" y="1010"/>
                  </a:lnTo>
                  <a:lnTo>
                    <a:pt x="1088" y="1010"/>
                  </a:lnTo>
                  <a:lnTo>
                    <a:pt x="1086" y="1010"/>
                  </a:lnTo>
                  <a:lnTo>
                    <a:pt x="1084" y="1010"/>
                  </a:lnTo>
                  <a:lnTo>
                    <a:pt x="1083" y="1010"/>
                  </a:lnTo>
                  <a:lnTo>
                    <a:pt x="1081" y="1010"/>
                  </a:lnTo>
                  <a:lnTo>
                    <a:pt x="1081" y="1008"/>
                  </a:lnTo>
                  <a:lnTo>
                    <a:pt x="1079" y="1008"/>
                  </a:lnTo>
                  <a:lnTo>
                    <a:pt x="1079" y="1010"/>
                  </a:lnTo>
                  <a:lnTo>
                    <a:pt x="1077" y="1010"/>
                  </a:lnTo>
                  <a:lnTo>
                    <a:pt x="1075" y="1010"/>
                  </a:lnTo>
                  <a:lnTo>
                    <a:pt x="1073" y="1008"/>
                  </a:lnTo>
                  <a:lnTo>
                    <a:pt x="1073" y="1006"/>
                  </a:lnTo>
                  <a:lnTo>
                    <a:pt x="1071" y="1006"/>
                  </a:lnTo>
                  <a:lnTo>
                    <a:pt x="1071" y="1005"/>
                  </a:lnTo>
                  <a:lnTo>
                    <a:pt x="1069" y="1005"/>
                  </a:lnTo>
                  <a:lnTo>
                    <a:pt x="1069" y="1006"/>
                  </a:lnTo>
                  <a:lnTo>
                    <a:pt x="1069" y="1008"/>
                  </a:lnTo>
                  <a:lnTo>
                    <a:pt x="1067" y="1008"/>
                  </a:lnTo>
                  <a:lnTo>
                    <a:pt x="1067" y="1006"/>
                  </a:lnTo>
                  <a:lnTo>
                    <a:pt x="1067" y="1005"/>
                  </a:lnTo>
                  <a:lnTo>
                    <a:pt x="1065" y="1006"/>
                  </a:lnTo>
                  <a:lnTo>
                    <a:pt x="1065" y="1005"/>
                  </a:lnTo>
                  <a:lnTo>
                    <a:pt x="1063" y="1005"/>
                  </a:lnTo>
                  <a:lnTo>
                    <a:pt x="1063" y="1003"/>
                  </a:lnTo>
                  <a:lnTo>
                    <a:pt x="1063" y="1005"/>
                  </a:lnTo>
                  <a:lnTo>
                    <a:pt x="1063" y="1006"/>
                  </a:lnTo>
                  <a:lnTo>
                    <a:pt x="1061" y="1006"/>
                  </a:lnTo>
                  <a:lnTo>
                    <a:pt x="1061" y="1008"/>
                  </a:lnTo>
                  <a:lnTo>
                    <a:pt x="1060" y="1008"/>
                  </a:lnTo>
                  <a:lnTo>
                    <a:pt x="1058" y="1006"/>
                  </a:lnTo>
                  <a:lnTo>
                    <a:pt x="1056" y="1006"/>
                  </a:lnTo>
                  <a:lnTo>
                    <a:pt x="1056" y="1008"/>
                  </a:lnTo>
                  <a:lnTo>
                    <a:pt x="1054" y="1008"/>
                  </a:lnTo>
                  <a:lnTo>
                    <a:pt x="1054" y="1010"/>
                  </a:lnTo>
                  <a:lnTo>
                    <a:pt x="1052" y="1010"/>
                  </a:lnTo>
                  <a:lnTo>
                    <a:pt x="1050" y="1010"/>
                  </a:lnTo>
                  <a:lnTo>
                    <a:pt x="1050" y="1012"/>
                  </a:lnTo>
                  <a:lnTo>
                    <a:pt x="1050" y="1014"/>
                  </a:lnTo>
                  <a:lnTo>
                    <a:pt x="1050" y="1012"/>
                  </a:lnTo>
                  <a:lnTo>
                    <a:pt x="1048" y="1012"/>
                  </a:lnTo>
                  <a:lnTo>
                    <a:pt x="1048" y="1014"/>
                  </a:lnTo>
                  <a:lnTo>
                    <a:pt x="1046" y="1014"/>
                  </a:lnTo>
                  <a:lnTo>
                    <a:pt x="1044" y="1014"/>
                  </a:lnTo>
                  <a:lnTo>
                    <a:pt x="1042" y="1014"/>
                  </a:lnTo>
                  <a:lnTo>
                    <a:pt x="1042" y="1016"/>
                  </a:lnTo>
                  <a:lnTo>
                    <a:pt x="1040" y="1016"/>
                  </a:lnTo>
                  <a:lnTo>
                    <a:pt x="1040" y="1018"/>
                  </a:lnTo>
                  <a:lnTo>
                    <a:pt x="1038" y="1018"/>
                  </a:lnTo>
                  <a:lnTo>
                    <a:pt x="1036" y="1018"/>
                  </a:lnTo>
                  <a:lnTo>
                    <a:pt x="1036" y="1020"/>
                  </a:lnTo>
                  <a:lnTo>
                    <a:pt x="1035" y="1020"/>
                  </a:lnTo>
                  <a:lnTo>
                    <a:pt x="1035" y="1022"/>
                  </a:lnTo>
                  <a:lnTo>
                    <a:pt x="1033" y="1022"/>
                  </a:lnTo>
                  <a:lnTo>
                    <a:pt x="1031" y="1022"/>
                  </a:lnTo>
                  <a:lnTo>
                    <a:pt x="1029" y="1022"/>
                  </a:lnTo>
                  <a:lnTo>
                    <a:pt x="1029" y="1024"/>
                  </a:lnTo>
                  <a:lnTo>
                    <a:pt x="1029" y="1026"/>
                  </a:lnTo>
                  <a:lnTo>
                    <a:pt x="1027" y="1026"/>
                  </a:lnTo>
                  <a:lnTo>
                    <a:pt x="1025" y="1026"/>
                  </a:lnTo>
                  <a:lnTo>
                    <a:pt x="1023" y="1026"/>
                  </a:lnTo>
                  <a:lnTo>
                    <a:pt x="1023" y="1028"/>
                  </a:lnTo>
                  <a:lnTo>
                    <a:pt x="1025" y="1028"/>
                  </a:lnTo>
                  <a:lnTo>
                    <a:pt x="1023" y="1028"/>
                  </a:lnTo>
                  <a:lnTo>
                    <a:pt x="1025" y="1028"/>
                  </a:lnTo>
                  <a:lnTo>
                    <a:pt x="1025" y="1030"/>
                  </a:lnTo>
                  <a:lnTo>
                    <a:pt x="1025" y="1028"/>
                  </a:lnTo>
                  <a:lnTo>
                    <a:pt x="1025" y="1030"/>
                  </a:lnTo>
                  <a:lnTo>
                    <a:pt x="1025" y="1031"/>
                  </a:lnTo>
                  <a:lnTo>
                    <a:pt x="1023" y="1031"/>
                  </a:lnTo>
                  <a:lnTo>
                    <a:pt x="1021" y="1031"/>
                  </a:lnTo>
                  <a:lnTo>
                    <a:pt x="1021" y="1033"/>
                  </a:lnTo>
                  <a:lnTo>
                    <a:pt x="1019" y="1033"/>
                  </a:lnTo>
                  <a:lnTo>
                    <a:pt x="1019" y="1031"/>
                  </a:lnTo>
                  <a:lnTo>
                    <a:pt x="1017" y="1031"/>
                  </a:lnTo>
                  <a:lnTo>
                    <a:pt x="1017" y="1033"/>
                  </a:lnTo>
                  <a:lnTo>
                    <a:pt x="1017" y="1035"/>
                  </a:lnTo>
                  <a:lnTo>
                    <a:pt x="1015" y="1035"/>
                  </a:lnTo>
                  <a:lnTo>
                    <a:pt x="1013" y="1035"/>
                  </a:lnTo>
                  <a:lnTo>
                    <a:pt x="1013" y="1033"/>
                  </a:lnTo>
                  <a:lnTo>
                    <a:pt x="1013" y="1035"/>
                  </a:lnTo>
                  <a:lnTo>
                    <a:pt x="1013" y="1037"/>
                  </a:lnTo>
                  <a:lnTo>
                    <a:pt x="1012" y="1037"/>
                  </a:lnTo>
                  <a:lnTo>
                    <a:pt x="1012" y="1035"/>
                  </a:lnTo>
                  <a:lnTo>
                    <a:pt x="1010" y="1035"/>
                  </a:lnTo>
                  <a:lnTo>
                    <a:pt x="1008" y="1035"/>
                  </a:lnTo>
                  <a:lnTo>
                    <a:pt x="1006" y="1035"/>
                  </a:lnTo>
                  <a:lnTo>
                    <a:pt x="1004" y="1035"/>
                  </a:lnTo>
                  <a:lnTo>
                    <a:pt x="1002" y="1035"/>
                  </a:lnTo>
                  <a:lnTo>
                    <a:pt x="1002" y="1037"/>
                  </a:lnTo>
                  <a:lnTo>
                    <a:pt x="1002" y="1039"/>
                  </a:lnTo>
                  <a:lnTo>
                    <a:pt x="1002" y="1041"/>
                  </a:lnTo>
                  <a:lnTo>
                    <a:pt x="1000" y="1041"/>
                  </a:lnTo>
                  <a:lnTo>
                    <a:pt x="1000" y="1043"/>
                  </a:lnTo>
                  <a:lnTo>
                    <a:pt x="998" y="1043"/>
                  </a:lnTo>
                  <a:lnTo>
                    <a:pt x="996" y="1043"/>
                  </a:lnTo>
                  <a:lnTo>
                    <a:pt x="994" y="1043"/>
                  </a:lnTo>
                  <a:lnTo>
                    <a:pt x="992" y="1043"/>
                  </a:lnTo>
                  <a:lnTo>
                    <a:pt x="992" y="1045"/>
                  </a:lnTo>
                  <a:lnTo>
                    <a:pt x="990" y="1045"/>
                  </a:lnTo>
                  <a:lnTo>
                    <a:pt x="990" y="1043"/>
                  </a:lnTo>
                  <a:lnTo>
                    <a:pt x="988" y="1043"/>
                  </a:lnTo>
                  <a:lnTo>
                    <a:pt x="990" y="1043"/>
                  </a:lnTo>
                  <a:lnTo>
                    <a:pt x="990" y="1041"/>
                  </a:lnTo>
                  <a:lnTo>
                    <a:pt x="988" y="1041"/>
                  </a:lnTo>
                  <a:lnTo>
                    <a:pt x="987" y="1041"/>
                  </a:lnTo>
                  <a:lnTo>
                    <a:pt x="985" y="1041"/>
                  </a:lnTo>
                  <a:lnTo>
                    <a:pt x="987" y="1041"/>
                  </a:lnTo>
                  <a:lnTo>
                    <a:pt x="987" y="1039"/>
                  </a:lnTo>
                  <a:lnTo>
                    <a:pt x="985" y="1039"/>
                  </a:lnTo>
                  <a:lnTo>
                    <a:pt x="985" y="1037"/>
                  </a:lnTo>
                  <a:lnTo>
                    <a:pt x="983" y="1037"/>
                  </a:lnTo>
                  <a:lnTo>
                    <a:pt x="983" y="1035"/>
                  </a:lnTo>
                  <a:lnTo>
                    <a:pt x="983" y="1033"/>
                  </a:lnTo>
                  <a:lnTo>
                    <a:pt x="981" y="1033"/>
                  </a:lnTo>
                  <a:lnTo>
                    <a:pt x="979" y="1033"/>
                  </a:lnTo>
                  <a:lnTo>
                    <a:pt x="979" y="1031"/>
                  </a:lnTo>
                  <a:lnTo>
                    <a:pt x="981" y="1031"/>
                  </a:lnTo>
                  <a:lnTo>
                    <a:pt x="983" y="1031"/>
                  </a:lnTo>
                  <a:lnTo>
                    <a:pt x="983" y="1030"/>
                  </a:lnTo>
                  <a:lnTo>
                    <a:pt x="983" y="1028"/>
                  </a:lnTo>
                  <a:lnTo>
                    <a:pt x="981" y="1028"/>
                  </a:lnTo>
                  <a:lnTo>
                    <a:pt x="981" y="1030"/>
                  </a:lnTo>
                  <a:lnTo>
                    <a:pt x="981" y="1028"/>
                  </a:lnTo>
                  <a:lnTo>
                    <a:pt x="979" y="1028"/>
                  </a:lnTo>
                  <a:lnTo>
                    <a:pt x="979" y="1030"/>
                  </a:lnTo>
                  <a:lnTo>
                    <a:pt x="979" y="1031"/>
                  </a:lnTo>
                  <a:lnTo>
                    <a:pt x="977" y="1031"/>
                  </a:lnTo>
                  <a:lnTo>
                    <a:pt x="977" y="1033"/>
                  </a:lnTo>
                  <a:lnTo>
                    <a:pt x="975" y="1033"/>
                  </a:lnTo>
                  <a:lnTo>
                    <a:pt x="975" y="1035"/>
                  </a:lnTo>
                  <a:lnTo>
                    <a:pt x="973" y="1035"/>
                  </a:lnTo>
                  <a:lnTo>
                    <a:pt x="971" y="1035"/>
                  </a:lnTo>
                  <a:lnTo>
                    <a:pt x="969" y="1035"/>
                  </a:lnTo>
                  <a:lnTo>
                    <a:pt x="969" y="1033"/>
                  </a:lnTo>
                  <a:lnTo>
                    <a:pt x="967" y="1033"/>
                  </a:lnTo>
                  <a:lnTo>
                    <a:pt x="965" y="1033"/>
                  </a:lnTo>
                  <a:lnTo>
                    <a:pt x="964" y="1033"/>
                  </a:lnTo>
                  <a:lnTo>
                    <a:pt x="964" y="1031"/>
                  </a:lnTo>
                  <a:lnTo>
                    <a:pt x="962" y="1031"/>
                  </a:lnTo>
                  <a:lnTo>
                    <a:pt x="962" y="1033"/>
                  </a:lnTo>
                  <a:lnTo>
                    <a:pt x="960" y="1033"/>
                  </a:lnTo>
                  <a:lnTo>
                    <a:pt x="960" y="1031"/>
                  </a:lnTo>
                  <a:lnTo>
                    <a:pt x="960" y="1030"/>
                  </a:lnTo>
                  <a:lnTo>
                    <a:pt x="958" y="1030"/>
                  </a:lnTo>
                  <a:lnTo>
                    <a:pt x="958" y="1028"/>
                  </a:lnTo>
                  <a:lnTo>
                    <a:pt x="958" y="1026"/>
                  </a:lnTo>
                  <a:lnTo>
                    <a:pt x="956" y="1026"/>
                  </a:lnTo>
                  <a:lnTo>
                    <a:pt x="956" y="1024"/>
                  </a:lnTo>
                  <a:lnTo>
                    <a:pt x="956" y="1022"/>
                  </a:lnTo>
                  <a:lnTo>
                    <a:pt x="954" y="1022"/>
                  </a:lnTo>
                  <a:lnTo>
                    <a:pt x="954" y="1020"/>
                  </a:lnTo>
                  <a:lnTo>
                    <a:pt x="952" y="1020"/>
                  </a:lnTo>
                  <a:lnTo>
                    <a:pt x="950" y="1020"/>
                  </a:lnTo>
                  <a:lnTo>
                    <a:pt x="948" y="1018"/>
                  </a:lnTo>
                  <a:lnTo>
                    <a:pt x="948" y="1020"/>
                  </a:lnTo>
                  <a:lnTo>
                    <a:pt x="946" y="1020"/>
                  </a:lnTo>
                  <a:lnTo>
                    <a:pt x="946" y="1018"/>
                  </a:lnTo>
                  <a:lnTo>
                    <a:pt x="944" y="1018"/>
                  </a:lnTo>
                  <a:lnTo>
                    <a:pt x="944" y="1016"/>
                  </a:lnTo>
                  <a:lnTo>
                    <a:pt x="946" y="1016"/>
                  </a:lnTo>
                  <a:lnTo>
                    <a:pt x="944" y="1016"/>
                  </a:lnTo>
                  <a:lnTo>
                    <a:pt x="944" y="1014"/>
                  </a:lnTo>
                  <a:lnTo>
                    <a:pt x="944" y="1012"/>
                  </a:lnTo>
                  <a:lnTo>
                    <a:pt x="944" y="1010"/>
                  </a:lnTo>
                  <a:lnTo>
                    <a:pt x="942" y="1010"/>
                  </a:lnTo>
                  <a:lnTo>
                    <a:pt x="942" y="1008"/>
                  </a:lnTo>
                  <a:lnTo>
                    <a:pt x="941" y="1008"/>
                  </a:lnTo>
                  <a:lnTo>
                    <a:pt x="941" y="1006"/>
                  </a:lnTo>
                  <a:lnTo>
                    <a:pt x="941" y="1005"/>
                  </a:lnTo>
                  <a:lnTo>
                    <a:pt x="939" y="1005"/>
                  </a:lnTo>
                  <a:lnTo>
                    <a:pt x="939" y="1003"/>
                  </a:lnTo>
                  <a:lnTo>
                    <a:pt x="937" y="1003"/>
                  </a:lnTo>
                  <a:lnTo>
                    <a:pt x="935" y="1003"/>
                  </a:lnTo>
                  <a:lnTo>
                    <a:pt x="935" y="1001"/>
                  </a:lnTo>
                  <a:lnTo>
                    <a:pt x="933" y="1001"/>
                  </a:lnTo>
                  <a:lnTo>
                    <a:pt x="931" y="1001"/>
                  </a:lnTo>
                  <a:lnTo>
                    <a:pt x="929" y="1001"/>
                  </a:lnTo>
                  <a:lnTo>
                    <a:pt x="929" y="1003"/>
                  </a:lnTo>
                  <a:lnTo>
                    <a:pt x="927" y="1003"/>
                  </a:lnTo>
                  <a:lnTo>
                    <a:pt x="927" y="1005"/>
                  </a:lnTo>
                  <a:lnTo>
                    <a:pt x="927" y="1003"/>
                  </a:lnTo>
                  <a:lnTo>
                    <a:pt x="925" y="1003"/>
                  </a:lnTo>
                  <a:lnTo>
                    <a:pt x="923" y="1003"/>
                  </a:lnTo>
                  <a:lnTo>
                    <a:pt x="923" y="1005"/>
                  </a:lnTo>
                  <a:lnTo>
                    <a:pt x="921" y="1005"/>
                  </a:lnTo>
                  <a:lnTo>
                    <a:pt x="921" y="1006"/>
                  </a:lnTo>
                  <a:lnTo>
                    <a:pt x="919" y="1006"/>
                  </a:lnTo>
                  <a:lnTo>
                    <a:pt x="917" y="1006"/>
                  </a:lnTo>
                  <a:lnTo>
                    <a:pt x="916" y="1006"/>
                  </a:lnTo>
                  <a:lnTo>
                    <a:pt x="914" y="1006"/>
                  </a:lnTo>
                  <a:lnTo>
                    <a:pt x="912" y="1006"/>
                  </a:lnTo>
                  <a:lnTo>
                    <a:pt x="910" y="1005"/>
                  </a:lnTo>
                  <a:lnTo>
                    <a:pt x="910" y="1006"/>
                  </a:lnTo>
                  <a:lnTo>
                    <a:pt x="910" y="1005"/>
                  </a:lnTo>
                  <a:lnTo>
                    <a:pt x="908" y="1006"/>
                  </a:lnTo>
                  <a:lnTo>
                    <a:pt x="906" y="1006"/>
                  </a:lnTo>
                  <a:lnTo>
                    <a:pt x="904" y="1006"/>
                  </a:lnTo>
                  <a:lnTo>
                    <a:pt x="904" y="1005"/>
                  </a:lnTo>
                  <a:lnTo>
                    <a:pt x="904" y="1003"/>
                  </a:lnTo>
                  <a:lnTo>
                    <a:pt x="904" y="1001"/>
                  </a:lnTo>
                  <a:lnTo>
                    <a:pt x="902" y="1001"/>
                  </a:lnTo>
                  <a:lnTo>
                    <a:pt x="902" y="1003"/>
                  </a:lnTo>
                  <a:lnTo>
                    <a:pt x="900" y="1003"/>
                  </a:lnTo>
                  <a:lnTo>
                    <a:pt x="898" y="1003"/>
                  </a:lnTo>
                  <a:lnTo>
                    <a:pt x="898" y="1001"/>
                  </a:lnTo>
                  <a:lnTo>
                    <a:pt x="900" y="999"/>
                  </a:lnTo>
                  <a:lnTo>
                    <a:pt x="900" y="997"/>
                  </a:lnTo>
                  <a:lnTo>
                    <a:pt x="900" y="995"/>
                  </a:lnTo>
                  <a:lnTo>
                    <a:pt x="898" y="997"/>
                  </a:lnTo>
                  <a:lnTo>
                    <a:pt x="896" y="995"/>
                  </a:lnTo>
                  <a:lnTo>
                    <a:pt x="894" y="995"/>
                  </a:lnTo>
                  <a:lnTo>
                    <a:pt x="893" y="993"/>
                  </a:lnTo>
                  <a:lnTo>
                    <a:pt x="893" y="995"/>
                  </a:lnTo>
                  <a:lnTo>
                    <a:pt x="893" y="997"/>
                  </a:lnTo>
                  <a:lnTo>
                    <a:pt x="891" y="997"/>
                  </a:lnTo>
                  <a:lnTo>
                    <a:pt x="891" y="995"/>
                  </a:lnTo>
                  <a:lnTo>
                    <a:pt x="891" y="997"/>
                  </a:lnTo>
                  <a:lnTo>
                    <a:pt x="889" y="997"/>
                  </a:lnTo>
                  <a:lnTo>
                    <a:pt x="889" y="999"/>
                  </a:lnTo>
                  <a:lnTo>
                    <a:pt x="891" y="999"/>
                  </a:lnTo>
                  <a:lnTo>
                    <a:pt x="891" y="1001"/>
                  </a:lnTo>
                  <a:lnTo>
                    <a:pt x="889" y="1001"/>
                  </a:lnTo>
                  <a:lnTo>
                    <a:pt x="889" y="1003"/>
                  </a:lnTo>
                  <a:lnTo>
                    <a:pt x="887" y="1003"/>
                  </a:lnTo>
                  <a:lnTo>
                    <a:pt x="887" y="1005"/>
                  </a:lnTo>
                  <a:lnTo>
                    <a:pt x="885" y="1005"/>
                  </a:lnTo>
                  <a:lnTo>
                    <a:pt x="883" y="1005"/>
                  </a:lnTo>
                  <a:lnTo>
                    <a:pt x="885" y="1005"/>
                  </a:lnTo>
                  <a:lnTo>
                    <a:pt x="885" y="1006"/>
                  </a:lnTo>
                  <a:lnTo>
                    <a:pt x="883" y="1006"/>
                  </a:lnTo>
                  <a:lnTo>
                    <a:pt x="883" y="1003"/>
                  </a:lnTo>
                  <a:lnTo>
                    <a:pt x="881" y="1001"/>
                  </a:lnTo>
                  <a:lnTo>
                    <a:pt x="881" y="999"/>
                  </a:lnTo>
                  <a:lnTo>
                    <a:pt x="879" y="997"/>
                  </a:lnTo>
                  <a:lnTo>
                    <a:pt x="877" y="993"/>
                  </a:lnTo>
                  <a:lnTo>
                    <a:pt x="877" y="991"/>
                  </a:lnTo>
                  <a:lnTo>
                    <a:pt x="875" y="989"/>
                  </a:lnTo>
                  <a:lnTo>
                    <a:pt x="875" y="987"/>
                  </a:lnTo>
                  <a:lnTo>
                    <a:pt x="873" y="983"/>
                  </a:lnTo>
                  <a:lnTo>
                    <a:pt x="871" y="982"/>
                  </a:lnTo>
                  <a:lnTo>
                    <a:pt x="871" y="980"/>
                  </a:lnTo>
                  <a:lnTo>
                    <a:pt x="871" y="978"/>
                  </a:lnTo>
                  <a:lnTo>
                    <a:pt x="869" y="978"/>
                  </a:lnTo>
                  <a:lnTo>
                    <a:pt x="868" y="974"/>
                  </a:lnTo>
                  <a:lnTo>
                    <a:pt x="866" y="970"/>
                  </a:lnTo>
                  <a:lnTo>
                    <a:pt x="866" y="968"/>
                  </a:lnTo>
                  <a:lnTo>
                    <a:pt x="864" y="964"/>
                  </a:lnTo>
                  <a:lnTo>
                    <a:pt x="862" y="964"/>
                  </a:lnTo>
                  <a:lnTo>
                    <a:pt x="860" y="958"/>
                  </a:lnTo>
                  <a:lnTo>
                    <a:pt x="858" y="957"/>
                  </a:lnTo>
                  <a:lnTo>
                    <a:pt x="858" y="955"/>
                  </a:lnTo>
                  <a:lnTo>
                    <a:pt x="856" y="953"/>
                  </a:lnTo>
                  <a:lnTo>
                    <a:pt x="854" y="951"/>
                  </a:lnTo>
                  <a:lnTo>
                    <a:pt x="854" y="949"/>
                  </a:lnTo>
                  <a:lnTo>
                    <a:pt x="852" y="947"/>
                  </a:lnTo>
                  <a:lnTo>
                    <a:pt x="852" y="945"/>
                  </a:lnTo>
                  <a:lnTo>
                    <a:pt x="850" y="943"/>
                  </a:lnTo>
                  <a:lnTo>
                    <a:pt x="848" y="943"/>
                  </a:lnTo>
                  <a:lnTo>
                    <a:pt x="848" y="941"/>
                  </a:lnTo>
                  <a:lnTo>
                    <a:pt x="846" y="941"/>
                  </a:lnTo>
                  <a:lnTo>
                    <a:pt x="845" y="939"/>
                  </a:lnTo>
                  <a:lnTo>
                    <a:pt x="841" y="935"/>
                  </a:lnTo>
                  <a:lnTo>
                    <a:pt x="839" y="935"/>
                  </a:lnTo>
                  <a:lnTo>
                    <a:pt x="837" y="932"/>
                  </a:lnTo>
                  <a:lnTo>
                    <a:pt x="833" y="930"/>
                  </a:lnTo>
                  <a:lnTo>
                    <a:pt x="833" y="928"/>
                  </a:lnTo>
                  <a:lnTo>
                    <a:pt x="831" y="928"/>
                  </a:lnTo>
                  <a:lnTo>
                    <a:pt x="831" y="926"/>
                  </a:lnTo>
                  <a:lnTo>
                    <a:pt x="831" y="924"/>
                  </a:lnTo>
                  <a:lnTo>
                    <a:pt x="833" y="924"/>
                  </a:lnTo>
                  <a:lnTo>
                    <a:pt x="833" y="926"/>
                  </a:lnTo>
                  <a:lnTo>
                    <a:pt x="833" y="924"/>
                  </a:lnTo>
                  <a:lnTo>
                    <a:pt x="833" y="926"/>
                  </a:lnTo>
                  <a:lnTo>
                    <a:pt x="835" y="926"/>
                  </a:lnTo>
                  <a:lnTo>
                    <a:pt x="835" y="924"/>
                  </a:lnTo>
                  <a:lnTo>
                    <a:pt x="837" y="924"/>
                  </a:lnTo>
                  <a:lnTo>
                    <a:pt x="837" y="922"/>
                  </a:lnTo>
                  <a:lnTo>
                    <a:pt x="837" y="920"/>
                  </a:lnTo>
                  <a:lnTo>
                    <a:pt x="835" y="920"/>
                  </a:lnTo>
                  <a:lnTo>
                    <a:pt x="837" y="918"/>
                  </a:lnTo>
                  <a:lnTo>
                    <a:pt x="839" y="918"/>
                  </a:lnTo>
                  <a:lnTo>
                    <a:pt x="839" y="916"/>
                  </a:lnTo>
                  <a:lnTo>
                    <a:pt x="837" y="918"/>
                  </a:lnTo>
                  <a:lnTo>
                    <a:pt x="835" y="918"/>
                  </a:lnTo>
                  <a:lnTo>
                    <a:pt x="835" y="920"/>
                  </a:lnTo>
                  <a:lnTo>
                    <a:pt x="833" y="920"/>
                  </a:lnTo>
                  <a:lnTo>
                    <a:pt x="831" y="920"/>
                  </a:lnTo>
                  <a:lnTo>
                    <a:pt x="829" y="920"/>
                  </a:lnTo>
                  <a:lnTo>
                    <a:pt x="827" y="920"/>
                  </a:lnTo>
                  <a:lnTo>
                    <a:pt x="827" y="922"/>
                  </a:lnTo>
                  <a:lnTo>
                    <a:pt x="825" y="924"/>
                  </a:lnTo>
                  <a:lnTo>
                    <a:pt x="823" y="924"/>
                  </a:lnTo>
                  <a:lnTo>
                    <a:pt x="820" y="926"/>
                  </a:lnTo>
                  <a:lnTo>
                    <a:pt x="818" y="926"/>
                  </a:lnTo>
                  <a:lnTo>
                    <a:pt x="816" y="926"/>
                  </a:lnTo>
                  <a:lnTo>
                    <a:pt x="816" y="928"/>
                  </a:lnTo>
                  <a:lnTo>
                    <a:pt x="816" y="930"/>
                  </a:lnTo>
                  <a:lnTo>
                    <a:pt x="814" y="930"/>
                  </a:lnTo>
                  <a:lnTo>
                    <a:pt x="814" y="932"/>
                  </a:lnTo>
                  <a:lnTo>
                    <a:pt x="812" y="932"/>
                  </a:lnTo>
                  <a:lnTo>
                    <a:pt x="812" y="933"/>
                  </a:lnTo>
                  <a:lnTo>
                    <a:pt x="810" y="933"/>
                  </a:lnTo>
                  <a:lnTo>
                    <a:pt x="808" y="933"/>
                  </a:lnTo>
                  <a:lnTo>
                    <a:pt x="806" y="933"/>
                  </a:lnTo>
                  <a:lnTo>
                    <a:pt x="806" y="935"/>
                  </a:lnTo>
                  <a:lnTo>
                    <a:pt x="804" y="935"/>
                  </a:lnTo>
                  <a:lnTo>
                    <a:pt x="804" y="937"/>
                  </a:lnTo>
                  <a:lnTo>
                    <a:pt x="802" y="935"/>
                  </a:lnTo>
                  <a:lnTo>
                    <a:pt x="802" y="939"/>
                  </a:lnTo>
                  <a:lnTo>
                    <a:pt x="800" y="941"/>
                  </a:lnTo>
                  <a:lnTo>
                    <a:pt x="798" y="941"/>
                  </a:lnTo>
                  <a:lnTo>
                    <a:pt x="800" y="939"/>
                  </a:lnTo>
                  <a:lnTo>
                    <a:pt x="798" y="939"/>
                  </a:lnTo>
                  <a:lnTo>
                    <a:pt x="797" y="939"/>
                  </a:lnTo>
                  <a:lnTo>
                    <a:pt x="797" y="937"/>
                  </a:lnTo>
                  <a:lnTo>
                    <a:pt x="795" y="937"/>
                  </a:lnTo>
                  <a:lnTo>
                    <a:pt x="793" y="939"/>
                  </a:lnTo>
                  <a:lnTo>
                    <a:pt x="791" y="939"/>
                  </a:lnTo>
                  <a:lnTo>
                    <a:pt x="791" y="937"/>
                  </a:lnTo>
                  <a:lnTo>
                    <a:pt x="791" y="939"/>
                  </a:lnTo>
                  <a:lnTo>
                    <a:pt x="789" y="939"/>
                  </a:lnTo>
                  <a:lnTo>
                    <a:pt x="789" y="941"/>
                  </a:lnTo>
                  <a:lnTo>
                    <a:pt x="787" y="943"/>
                  </a:lnTo>
                  <a:lnTo>
                    <a:pt x="785" y="941"/>
                  </a:lnTo>
                  <a:lnTo>
                    <a:pt x="787" y="941"/>
                  </a:lnTo>
                  <a:lnTo>
                    <a:pt x="785" y="939"/>
                  </a:lnTo>
                  <a:lnTo>
                    <a:pt x="785" y="937"/>
                  </a:lnTo>
                  <a:lnTo>
                    <a:pt x="785" y="935"/>
                  </a:lnTo>
                  <a:lnTo>
                    <a:pt x="785" y="933"/>
                  </a:lnTo>
                  <a:lnTo>
                    <a:pt x="787" y="933"/>
                  </a:lnTo>
                  <a:lnTo>
                    <a:pt x="787" y="932"/>
                  </a:lnTo>
                  <a:lnTo>
                    <a:pt x="789" y="932"/>
                  </a:lnTo>
                  <a:lnTo>
                    <a:pt x="791" y="932"/>
                  </a:lnTo>
                  <a:lnTo>
                    <a:pt x="791" y="930"/>
                  </a:lnTo>
                  <a:lnTo>
                    <a:pt x="793" y="928"/>
                  </a:lnTo>
                  <a:lnTo>
                    <a:pt x="791" y="928"/>
                  </a:lnTo>
                  <a:lnTo>
                    <a:pt x="789" y="928"/>
                  </a:lnTo>
                  <a:lnTo>
                    <a:pt x="791" y="928"/>
                  </a:lnTo>
                  <a:lnTo>
                    <a:pt x="789" y="928"/>
                  </a:lnTo>
                  <a:lnTo>
                    <a:pt x="789" y="930"/>
                  </a:lnTo>
                  <a:lnTo>
                    <a:pt x="787" y="930"/>
                  </a:lnTo>
                  <a:lnTo>
                    <a:pt x="785" y="930"/>
                  </a:lnTo>
                  <a:lnTo>
                    <a:pt x="783" y="930"/>
                  </a:lnTo>
                  <a:lnTo>
                    <a:pt x="781" y="930"/>
                  </a:lnTo>
                  <a:lnTo>
                    <a:pt x="781" y="928"/>
                  </a:lnTo>
                  <a:lnTo>
                    <a:pt x="781" y="926"/>
                  </a:lnTo>
                  <a:lnTo>
                    <a:pt x="777" y="926"/>
                  </a:lnTo>
                  <a:lnTo>
                    <a:pt x="775" y="926"/>
                  </a:lnTo>
                  <a:lnTo>
                    <a:pt x="774" y="926"/>
                  </a:lnTo>
                  <a:lnTo>
                    <a:pt x="774" y="928"/>
                  </a:lnTo>
                  <a:lnTo>
                    <a:pt x="775" y="928"/>
                  </a:lnTo>
                  <a:lnTo>
                    <a:pt x="777" y="928"/>
                  </a:lnTo>
                  <a:lnTo>
                    <a:pt x="777" y="930"/>
                  </a:lnTo>
                  <a:lnTo>
                    <a:pt x="775" y="930"/>
                  </a:lnTo>
                  <a:lnTo>
                    <a:pt x="774" y="930"/>
                  </a:lnTo>
                  <a:lnTo>
                    <a:pt x="774" y="932"/>
                  </a:lnTo>
                  <a:lnTo>
                    <a:pt x="772" y="932"/>
                  </a:lnTo>
                  <a:lnTo>
                    <a:pt x="772" y="930"/>
                  </a:lnTo>
                  <a:lnTo>
                    <a:pt x="772" y="928"/>
                  </a:lnTo>
                  <a:lnTo>
                    <a:pt x="772" y="926"/>
                  </a:lnTo>
                  <a:lnTo>
                    <a:pt x="774" y="926"/>
                  </a:lnTo>
                  <a:lnTo>
                    <a:pt x="772" y="926"/>
                  </a:lnTo>
                  <a:lnTo>
                    <a:pt x="772" y="924"/>
                  </a:lnTo>
                  <a:lnTo>
                    <a:pt x="770" y="924"/>
                  </a:lnTo>
                  <a:lnTo>
                    <a:pt x="772" y="922"/>
                  </a:lnTo>
                  <a:lnTo>
                    <a:pt x="770" y="922"/>
                  </a:lnTo>
                  <a:lnTo>
                    <a:pt x="770" y="920"/>
                  </a:lnTo>
                  <a:lnTo>
                    <a:pt x="766" y="920"/>
                  </a:lnTo>
                  <a:lnTo>
                    <a:pt x="768" y="920"/>
                  </a:lnTo>
                  <a:lnTo>
                    <a:pt x="768" y="922"/>
                  </a:lnTo>
                  <a:lnTo>
                    <a:pt x="768" y="924"/>
                  </a:lnTo>
                  <a:lnTo>
                    <a:pt x="770" y="924"/>
                  </a:lnTo>
                  <a:lnTo>
                    <a:pt x="768" y="926"/>
                  </a:lnTo>
                  <a:lnTo>
                    <a:pt x="768" y="924"/>
                  </a:lnTo>
                  <a:lnTo>
                    <a:pt x="766" y="922"/>
                  </a:lnTo>
                  <a:lnTo>
                    <a:pt x="764" y="922"/>
                  </a:lnTo>
                  <a:lnTo>
                    <a:pt x="762" y="922"/>
                  </a:lnTo>
                  <a:lnTo>
                    <a:pt x="762" y="924"/>
                  </a:lnTo>
                  <a:lnTo>
                    <a:pt x="762" y="926"/>
                  </a:lnTo>
                  <a:lnTo>
                    <a:pt x="760" y="926"/>
                  </a:lnTo>
                  <a:lnTo>
                    <a:pt x="758" y="926"/>
                  </a:lnTo>
                  <a:lnTo>
                    <a:pt x="758" y="924"/>
                  </a:lnTo>
                  <a:lnTo>
                    <a:pt x="756" y="924"/>
                  </a:lnTo>
                  <a:lnTo>
                    <a:pt x="756" y="926"/>
                  </a:lnTo>
                  <a:lnTo>
                    <a:pt x="754" y="926"/>
                  </a:lnTo>
                  <a:lnTo>
                    <a:pt x="752" y="926"/>
                  </a:lnTo>
                  <a:lnTo>
                    <a:pt x="754" y="924"/>
                  </a:lnTo>
                  <a:lnTo>
                    <a:pt x="752" y="924"/>
                  </a:lnTo>
                  <a:lnTo>
                    <a:pt x="752" y="922"/>
                  </a:lnTo>
                  <a:lnTo>
                    <a:pt x="751" y="922"/>
                  </a:lnTo>
                  <a:lnTo>
                    <a:pt x="751" y="920"/>
                  </a:lnTo>
                  <a:lnTo>
                    <a:pt x="752" y="920"/>
                  </a:lnTo>
                  <a:lnTo>
                    <a:pt x="754" y="920"/>
                  </a:lnTo>
                  <a:lnTo>
                    <a:pt x="754" y="918"/>
                  </a:lnTo>
                  <a:lnTo>
                    <a:pt x="754" y="916"/>
                  </a:lnTo>
                  <a:lnTo>
                    <a:pt x="754" y="914"/>
                  </a:lnTo>
                  <a:lnTo>
                    <a:pt x="756" y="914"/>
                  </a:lnTo>
                  <a:lnTo>
                    <a:pt x="756" y="912"/>
                  </a:lnTo>
                  <a:lnTo>
                    <a:pt x="754" y="912"/>
                  </a:lnTo>
                  <a:lnTo>
                    <a:pt x="754" y="910"/>
                  </a:lnTo>
                  <a:lnTo>
                    <a:pt x="752" y="910"/>
                  </a:lnTo>
                  <a:lnTo>
                    <a:pt x="752" y="909"/>
                  </a:lnTo>
                  <a:lnTo>
                    <a:pt x="752" y="907"/>
                  </a:lnTo>
                  <a:lnTo>
                    <a:pt x="751" y="907"/>
                  </a:lnTo>
                  <a:lnTo>
                    <a:pt x="751" y="905"/>
                  </a:lnTo>
                  <a:lnTo>
                    <a:pt x="752" y="905"/>
                  </a:lnTo>
                  <a:lnTo>
                    <a:pt x="751" y="905"/>
                  </a:lnTo>
                  <a:lnTo>
                    <a:pt x="752" y="905"/>
                  </a:lnTo>
                  <a:lnTo>
                    <a:pt x="751" y="905"/>
                  </a:lnTo>
                  <a:lnTo>
                    <a:pt x="751" y="903"/>
                  </a:lnTo>
                  <a:lnTo>
                    <a:pt x="751" y="901"/>
                  </a:lnTo>
                  <a:lnTo>
                    <a:pt x="752" y="901"/>
                  </a:lnTo>
                  <a:lnTo>
                    <a:pt x="751" y="901"/>
                  </a:lnTo>
                  <a:lnTo>
                    <a:pt x="751" y="899"/>
                  </a:lnTo>
                  <a:lnTo>
                    <a:pt x="749" y="899"/>
                  </a:lnTo>
                  <a:lnTo>
                    <a:pt x="749" y="897"/>
                  </a:lnTo>
                  <a:lnTo>
                    <a:pt x="749" y="895"/>
                  </a:lnTo>
                  <a:lnTo>
                    <a:pt x="747" y="895"/>
                  </a:lnTo>
                  <a:lnTo>
                    <a:pt x="747" y="897"/>
                  </a:lnTo>
                  <a:lnTo>
                    <a:pt x="745" y="897"/>
                  </a:lnTo>
                  <a:lnTo>
                    <a:pt x="743" y="897"/>
                  </a:lnTo>
                  <a:lnTo>
                    <a:pt x="743" y="899"/>
                  </a:lnTo>
                  <a:lnTo>
                    <a:pt x="741" y="899"/>
                  </a:lnTo>
                  <a:lnTo>
                    <a:pt x="739" y="899"/>
                  </a:lnTo>
                  <a:lnTo>
                    <a:pt x="737" y="899"/>
                  </a:lnTo>
                  <a:lnTo>
                    <a:pt x="735" y="899"/>
                  </a:lnTo>
                  <a:lnTo>
                    <a:pt x="735" y="897"/>
                  </a:lnTo>
                  <a:lnTo>
                    <a:pt x="735" y="895"/>
                  </a:lnTo>
                  <a:lnTo>
                    <a:pt x="733" y="895"/>
                  </a:lnTo>
                  <a:lnTo>
                    <a:pt x="731" y="895"/>
                  </a:lnTo>
                  <a:lnTo>
                    <a:pt x="729" y="895"/>
                  </a:lnTo>
                  <a:lnTo>
                    <a:pt x="727" y="895"/>
                  </a:lnTo>
                  <a:lnTo>
                    <a:pt x="727" y="893"/>
                  </a:lnTo>
                  <a:lnTo>
                    <a:pt x="727" y="895"/>
                  </a:lnTo>
                  <a:lnTo>
                    <a:pt x="726" y="895"/>
                  </a:lnTo>
                  <a:lnTo>
                    <a:pt x="724" y="893"/>
                  </a:lnTo>
                  <a:lnTo>
                    <a:pt x="722" y="893"/>
                  </a:lnTo>
                  <a:lnTo>
                    <a:pt x="722" y="891"/>
                  </a:lnTo>
                  <a:lnTo>
                    <a:pt x="722" y="893"/>
                  </a:lnTo>
                  <a:lnTo>
                    <a:pt x="722" y="895"/>
                  </a:lnTo>
                  <a:lnTo>
                    <a:pt x="722" y="897"/>
                  </a:lnTo>
                  <a:lnTo>
                    <a:pt x="722" y="895"/>
                  </a:lnTo>
                  <a:lnTo>
                    <a:pt x="720" y="895"/>
                  </a:lnTo>
                  <a:lnTo>
                    <a:pt x="720" y="893"/>
                  </a:lnTo>
                  <a:lnTo>
                    <a:pt x="718" y="893"/>
                  </a:lnTo>
                  <a:lnTo>
                    <a:pt x="718" y="895"/>
                  </a:lnTo>
                  <a:lnTo>
                    <a:pt x="718" y="897"/>
                  </a:lnTo>
                  <a:lnTo>
                    <a:pt x="716" y="897"/>
                  </a:lnTo>
                  <a:lnTo>
                    <a:pt x="718" y="897"/>
                  </a:lnTo>
                  <a:lnTo>
                    <a:pt x="716" y="899"/>
                  </a:lnTo>
                  <a:lnTo>
                    <a:pt x="716" y="897"/>
                  </a:lnTo>
                  <a:lnTo>
                    <a:pt x="716" y="899"/>
                  </a:lnTo>
                  <a:lnTo>
                    <a:pt x="714" y="899"/>
                  </a:lnTo>
                  <a:lnTo>
                    <a:pt x="712" y="899"/>
                  </a:lnTo>
                  <a:lnTo>
                    <a:pt x="710" y="899"/>
                  </a:lnTo>
                  <a:lnTo>
                    <a:pt x="710" y="901"/>
                  </a:lnTo>
                  <a:lnTo>
                    <a:pt x="712" y="901"/>
                  </a:lnTo>
                  <a:lnTo>
                    <a:pt x="712" y="903"/>
                  </a:lnTo>
                  <a:lnTo>
                    <a:pt x="710" y="903"/>
                  </a:lnTo>
                  <a:lnTo>
                    <a:pt x="710" y="905"/>
                  </a:lnTo>
                  <a:lnTo>
                    <a:pt x="708" y="905"/>
                  </a:lnTo>
                  <a:lnTo>
                    <a:pt x="706" y="905"/>
                  </a:lnTo>
                  <a:lnTo>
                    <a:pt x="704" y="905"/>
                  </a:lnTo>
                  <a:lnTo>
                    <a:pt x="704" y="907"/>
                  </a:lnTo>
                  <a:lnTo>
                    <a:pt x="703" y="907"/>
                  </a:lnTo>
                  <a:lnTo>
                    <a:pt x="701" y="907"/>
                  </a:lnTo>
                  <a:lnTo>
                    <a:pt x="699" y="907"/>
                  </a:lnTo>
                  <a:lnTo>
                    <a:pt x="697" y="907"/>
                  </a:lnTo>
                  <a:lnTo>
                    <a:pt x="697" y="909"/>
                  </a:lnTo>
                  <a:lnTo>
                    <a:pt x="695" y="909"/>
                  </a:lnTo>
                  <a:lnTo>
                    <a:pt x="693" y="909"/>
                  </a:lnTo>
                  <a:lnTo>
                    <a:pt x="691" y="909"/>
                  </a:lnTo>
                  <a:lnTo>
                    <a:pt x="689" y="909"/>
                  </a:lnTo>
                  <a:lnTo>
                    <a:pt x="689" y="910"/>
                  </a:lnTo>
                  <a:lnTo>
                    <a:pt x="687" y="910"/>
                  </a:lnTo>
                  <a:lnTo>
                    <a:pt x="685" y="910"/>
                  </a:lnTo>
                  <a:lnTo>
                    <a:pt x="683" y="910"/>
                  </a:lnTo>
                  <a:lnTo>
                    <a:pt x="681" y="912"/>
                  </a:lnTo>
                  <a:lnTo>
                    <a:pt x="679" y="912"/>
                  </a:lnTo>
                  <a:lnTo>
                    <a:pt x="678" y="912"/>
                  </a:lnTo>
                  <a:lnTo>
                    <a:pt x="678" y="910"/>
                  </a:lnTo>
                  <a:lnTo>
                    <a:pt x="676" y="910"/>
                  </a:lnTo>
                  <a:lnTo>
                    <a:pt x="676" y="912"/>
                  </a:lnTo>
                  <a:lnTo>
                    <a:pt x="676" y="914"/>
                  </a:lnTo>
                  <a:lnTo>
                    <a:pt x="674" y="914"/>
                  </a:lnTo>
                  <a:lnTo>
                    <a:pt x="674" y="912"/>
                  </a:lnTo>
                  <a:lnTo>
                    <a:pt x="672" y="912"/>
                  </a:lnTo>
                  <a:lnTo>
                    <a:pt x="670" y="912"/>
                  </a:lnTo>
                  <a:lnTo>
                    <a:pt x="670" y="914"/>
                  </a:lnTo>
                  <a:lnTo>
                    <a:pt x="672" y="914"/>
                  </a:lnTo>
                  <a:lnTo>
                    <a:pt x="670" y="914"/>
                  </a:lnTo>
                  <a:lnTo>
                    <a:pt x="668" y="914"/>
                  </a:lnTo>
                  <a:lnTo>
                    <a:pt x="666" y="914"/>
                  </a:lnTo>
                  <a:lnTo>
                    <a:pt x="666" y="916"/>
                  </a:lnTo>
                  <a:lnTo>
                    <a:pt x="666" y="918"/>
                  </a:lnTo>
                  <a:lnTo>
                    <a:pt x="668" y="918"/>
                  </a:lnTo>
                  <a:lnTo>
                    <a:pt x="668" y="920"/>
                  </a:lnTo>
                  <a:lnTo>
                    <a:pt x="666" y="920"/>
                  </a:lnTo>
                  <a:lnTo>
                    <a:pt x="664" y="920"/>
                  </a:lnTo>
                  <a:lnTo>
                    <a:pt x="664" y="918"/>
                  </a:lnTo>
                  <a:lnTo>
                    <a:pt x="662" y="918"/>
                  </a:lnTo>
                  <a:lnTo>
                    <a:pt x="660" y="920"/>
                  </a:lnTo>
                  <a:lnTo>
                    <a:pt x="658" y="920"/>
                  </a:lnTo>
                  <a:lnTo>
                    <a:pt x="658" y="918"/>
                  </a:lnTo>
                  <a:lnTo>
                    <a:pt x="658" y="920"/>
                  </a:lnTo>
                  <a:lnTo>
                    <a:pt x="656" y="920"/>
                  </a:lnTo>
                  <a:lnTo>
                    <a:pt x="655" y="920"/>
                  </a:lnTo>
                  <a:lnTo>
                    <a:pt x="653" y="920"/>
                  </a:lnTo>
                  <a:lnTo>
                    <a:pt x="651" y="920"/>
                  </a:lnTo>
                  <a:lnTo>
                    <a:pt x="651" y="922"/>
                  </a:lnTo>
                  <a:lnTo>
                    <a:pt x="649" y="922"/>
                  </a:lnTo>
                  <a:lnTo>
                    <a:pt x="649" y="920"/>
                  </a:lnTo>
                  <a:lnTo>
                    <a:pt x="649" y="922"/>
                  </a:lnTo>
                  <a:lnTo>
                    <a:pt x="649" y="924"/>
                  </a:lnTo>
                  <a:lnTo>
                    <a:pt x="647" y="924"/>
                  </a:lnTo>
                  <a:lnTo>
                    <a:pt x="647" y="922"/>
                  </a:lnTo>
                  <a:lnTo>
                    <a:pt x="645" y="922"/>
                  </a:lnTo>
                  <a:lnTo>
                    <a:pt x="643" y="922"/>
                  </a:lnTo>
                  <a:lnTo>
                    <a:pt x="643" y="924"/>
                  </a:lnTo>
                  <a:lnTo>
                    <a:pt x="643" y="922"/>
                  </a:lnTo>
                  <a:lnTo>
                    <a:pt x="643" y="924"/>
                  </a:lnTo>
                  <a:lnTo>
                    <a:pt x="641" y="924"/>
                  </a:lnTo>
                  <a:lnTo>
                    <a:pt x="639" y="924"/>
                  </a:lnTo>
                  <a:lnTo>
                    <a:pt x="637" y="924"/>
                  </a:lnTo>
                  <a:lnTo>
                    <a:pt x="637" y="926"/>
                  </a:lnTo>
                  <a:lnTo>
                    <a:pt x="635" y="926"/>
                  </a:lnTo>
                  <a:lnTo>
                    <a:pt x="633" y="926"/>
                  </a:lnTo>
                  <a:lnTo>
                    <a:pt x="632" y="926"/>
                  </a:lnTo>
                  <a:lnTo>
                    <a:pt x="630" y="926"/>
                  </a:lnTo>
                  <a:lnTo>
                    <a:pt x="630" y="928"/>
                  </a:lnTo>
                  <a:lnTo>
                    <a:pt x="628" y="928"/>
                  </a:lnTo>
                  <a:lnTo>
                    <a:pt x="628" y="930"/>
                  </a:lnTo>
                  <a:lnTo>
                    <a:pt x="628" y="932"/>
                  </a:lnTo>
                  <a:lnTo>
                    <a:pt x="628" y="930"/>
                  </a:lnTo>
                  <a:lnTo>
                    <a:pt x="626" y="930"/>
                  </a:lnTo>
                  <a:lnTo>
                    <a:pt x="626" y="928"/>
                  </a:lnTo>
                  <a:lnTo>
                    <a:pt x="628" y="928"/>
                  </a:lnTo>
                  <a:lnTo>
                    <a:pt x="626" y="928"/>
                  </a:lnTo>
                  <a:lnTo>
                    <a:pt x="624" y="928"/>
                  </a:lnTo>
                  <a:lnTo>
                    <a:pt x="622" y="928"/>
                  </a:lnTo>
                  <a:lnTo>
                    <a:pt x="620" y="928"/>
                  </a:lnTo>
                  <a:lnTo>
                    <a:pt x="620" y="930"/>
                  </a:lnTo>
                  <a:lnTo>
                    <a:pt x="618" y="930"/>
                  </a:lnTo>
                  <a:lnTo>
                    <a:pt x="618" y="928"/>
                  </a:lnTo>
                  <a:lnTo>
                    <a:pt x="616" y="928"/>
                  </a:lnTo>
                  <a:lnTo>
                    <a:pt x="616" y="930"/>
                  </a:lnTo>
                  <a:lnTo>
                    <a:pt x="616" y="928"/>
                  </a:lnTo>
                  <a:lnTo>
                    <a:pt x="616" y="930"/>
                  </a:lnTo>
                  <a:lnTo>
                    <a:pt x="616" y="928"/>
                  </a:lnTo>
                  <a:lnTo>
                    <a:pt x="614" y="928"/>
                  </a:lnTo>
                  <a:lnTo>
                    <a:pt x="614" y="930"/>
                  </a:lnTo>
                  <a:lnTo>
                    <a:pt x="614" y="928"/>
                  </a:lnTo>
                  <a:lnTo>
                    <a:pt x="612" y="928"/>
                  </a:lnTo>
                  <a:lnTo>
                    <a:pt x="612" y="926"/>
                  </a:lnTo>
                  <a:lnTo>
                    <a:pt x="610" y="926"/>
                  </a:lnTo>
                  <a:lnTo>
                    <a:pt x="610" y="928"/>
                  </a:lnTo>
                  <a:lnTo>
                    <a:pt x="610" y="926"/>
                  </a:lnTo>
                  <a:lnTo>
                    <a:pt x="610" y="928"/>
                  </a:lnTo>
                  <a:lnTo>
                    <a:pt x="608" y="928"/>
                  </a:lnTo>
                  <a:lnTo>
                    <a:pt x="608" y="930"/>
                  </a:lnTo>
                  <a:lnTo>
                    <a:pt x="608" y="932"/>
                  </a:lnTo>
                  <a:lnTo>
                    <a:pt x="608" y="930"/>
                  </a:lnTo>
                  <a:lnTo>
                    <a:pt x="607" y="930"/>
                  </a:lnTo>
                  <a:lnTo>
                    <a:pt x="605" y="930"/>
                  </a:lnTo>
                  <a:lnTo>
                    <a:pt x="605" y="932"/>
                  </a:lnTo>
                  <a:lnTo>
                    <a:pt x="607" y="932"/>
                  </a:lnTo>
                  <a:lnTo>
                    <a:pt x="608" y="932"/>
                  </a:lnTo>
                  <a:lnTo>
                    <a:pt x="608" y="933"/>
                  </a:lnTo>
                  <a:lnTo>
                    <a:pt x="607" y="935"/>
                  </a:lnTo>
                  <a:lnTo>
                    <a:pt x="607" y="937"/>
                  </a:lnTo>
                  <a:lnTo>
                    <a:pt x="605" y="937"/>
                  </a:lnTo>
                  <a:lnTo>
                    <a:pt x="603" y="937"/>
                  </a:lnTo>
                  <a:lnTo>
                    <a:pt x="607" y="937"/>
                  </a:lnTo>
                  <a:lnTo>
                    <a:pt x="607" y="939"/>
                  </a:lnTo>
                  <a:lnTo>
                    <a:pt x="608" y="939"/>
                  </a:lnTo>
                  <a:lnTo>
                    <a:pt x="610" y="939"/>
                  </a:lnTo>
                  <a:lnTo>
                    <a:pt x="612" y="939"/>
                  </a:lnTo>
                  <a:lnTo>
                    <a:pt x="614" y="939"/>
                  </a:lnTo>
                  <a:lnTo>
                    <a:pt x="614" y="941"/>
                  </a:lnTo>
                  <a:lnTo>
                    <a:pt x="612" y="941"/>
                  </a:lnTo>
                  <a:lnTo>
                    <a:pt x="610" y="941"/>
                  </a:lnTo>
                  <a:lnTo>
                    <a:pt x="608" y="941"/>
                  </a:lnTo>
                  <a:lnTo>
                    <a:pt x="608" y="943"/>
                  </a:lnTo>
                  <a:lnTo>
                    <a:pt x="608" y="945"/>
                  </a:lnTo>
                  <a:lnTo>
                    <a:pt x="608" y="947"/>
                  </a:lnTo>
                  <a:lnTo>
                    <a:pt x="610" y="947"/>
                  </a:lnTo>
                  <a:lnTo>
                    <a:pt x="612" y="947"/>
                  </a:lnTo>
                  <a:lnTo>
                    <a:pt x="612" y="949"/>
                  </a:lnTo>
                  <a:lnTo>
                    <a:pt x="614" y="947"/>
                  </a:lnTo>
                  <a:lnTo>
                    <a:pt x="616" y="947"/>
                  </a:lnTo>
                  <a:lnTo>
                    <a:pt x="616" y="949"/>
                  </a:lnTo>
                  <a:lnTo>
                    <a:pt x="618" y="949"/>
                  </a:lnTo>
                  <a:lnTo>
                    <a:pt x="620" y="949"/>
                  </a:lnTo>
                  <a:lnTo>
                    <a:pt x="622" y="951"/>
                  </a:lnTo>
                  <a:lnTo>
                    <a:pt x="622" y="953"/>
                  </a:lnTo>
                  <a:lnTo>
                    <a:pt x="620" y="955"/>
                  </a:lnTo>
                  <a:lnTo>
                    <a:pt x="618" y="953"/>
                  </a:lnTo>
                  <a:lnTo>
                    <a:pt x="616" y="953"/>
                  </a:lnTo>
                  <a:lnTo>
                    <a:pt x="614" y="955"/>
                  </a:lnTo>
                  <a:lnTo>
                    <a:pt x="614" y="953"/>
                  </a:lnTo>
                  <a:lnTo>
                    <a:pt x="612" y="953"/>
                  </a:lnTo>
                  <a:lnTo>
                    <a:pt x="610" y="953"/>
                  </a:lnTo>
                  <a:lnTo>
                    <a:pt x="608" y="953"/>
                  </a:lnTo>
                  <a:lnTo>
                    <a:pt x="607" y="953"/>
                  </a:lnTo>
                  <a:lnTo>
                    <a:pt x="607" y="955"/>
                  </a:lnTo>
                  <a:lnTo>
                    <a:pt x="605" y="955"/>
                  </a:lnTo>
                  <a:lnTo>
                    <a:pt x="607" y="955"/>
                  </a:lnTo>
                  <a:lnTo>
                    <a:pt x="607" y="957"/>
                  </a:lnTo>
                  <a:lnTo>
                    <a:pt x="605" y="957"/>
                  </a:lnTo>
                  <a:lnTo>
                    <a:pt x="603" y="957"/>
                  </a:lnTo>
                  <a:lnTo>
                    <a:pt x="603" y="958"/>
                  </a:lnTo>
                  <a:lnTo>
                    <a:pt x="601" y="958"/>
                  </a:lnTo>
                  <a:lnTo>
                    <a:pt x="601" y="960"/>
                  </a:lnTo>
                  <a:lnTo>
                    <a:pt x="601" y="962"/>
                  </a:lnTo>
                  <a:lnTo>
                    <a:pt x="603" y="962"/>
                  </a:lnTo>
                  <a:lnTo>
                    <a:pt x="603" y="964"/>
                  </a:lnTo>
                  <a:lnTo>
                    <a:pt x="605" y="964"/>
                  </a:lnTo>
                  <a:lnTo>
                    <a:pt x="605" y="966"/>
                  </a:lnTo>
                  <a:lnTo>
                    <a:pt x="605" y="968"/>
                  </a:lnTo>
                  <a:lnTo>
                    <a:pt x="607" y="968"/>
                  </a:lnTo>
                  <a:lnTo>
                    <a:pt x="607" y="970"/>
                  </a:lnTo>
                  <a:lnTo>
                    <a:pt x="605" y="970"/>
                  </a:lnTo>
                  <a:lnTo>
                    <a:pt x="605" y="972"/>
                  </a:lnTo>
                  <a:lnTo>
                    <a:pt x="603" y="972"/>
                  </a:lnTo>
                  <a:lnTo>
                    <a:pt x="601" y="972"/>
                  </a:lnTo>
                  <a:lnTo>
                    <a:pt x="601" y="974"/>
                  </a:lnTo>
                  <a:lnTo>
                    <a:pt x="599" y="974"/>
                  </a:lnTo>
                  <a:lnTo>
                    <a:pt x="597" y="974"/>
                  </a:lnTo>
                  <a:lnTo>
                    <a:pt x="595" y="976"/>
                  </a:lnTo>
                  <a:lnTo>
                    <a:pt x="595" y="978"/>
                  </a:lnTo>
                  <a:lnTo>
                    <a:pt x="593" y="978"/>
                  </a:lnTo>
                  <a:lnTo>
                    <a:pt x="591" y="978"/>
                  </a:lnTo>
                  <a:lnTo>
                    <a:pt x="591" y="980"/>
                  </a:lnTo>
                  <a:lnTo>
                    <a:pt x="593" y="980"/>
                  </a:lnTo>
                  <a:lnTo>
                    <a:pt x="593" y="982"/>
                  </a:lnTo>
                  <a:lnTo>
                    <a:pt x="593" y="980"/>
                  </a:lnTo>
                  <a:lnTo>
                    <a:pt x="595" y="982"/>
                  </a:lnTo>
                  <a:lnTo>
                    <a:pt x="597" y="982"/>
                  </a:lnTo>
                  <a:lnTo>
                    <a:pt x="599" y="982"/>
                  </a:lnTo>
                  <a:lnTo>
                    <a:pt x="599" y="983"/>
                  </a:lnTo>
                  <a:lnTo>
                    <a:pt x="597" y="983"/>
                  </a:lnTo>
                  <a:lnTo>
                    <a:pt x="597" y="985"/>
                  </a:lnTo>
                  <a:lnTo>
                    <a:pt x="595" y="985"/>
                  </a:lnTo>
                  <a:lnTo>
                    <a:pt x="597" y="985"/>
                  </a:lnTo>
                  <a:lnTo>
                    <a:pt x="599" y="985"/>
                  </a:lnTo>
                  <a:lnTo>
                    <a:pt x="599" y="987"/>
                  </a:lnTo>
                  <a:lnTo>
                    <a:pt x="603" y="987"/>
                  </a:lnTo>
                  <a:lnTo>
                    <a:pt x="605" y="987"/>
                  </a:lnTo>
                  <a:lnTo>
                    <a:pt x="605" y="989"/>
                  </a:lnTo>
                  <a:lnTo>
                    <a:pt x="607" y="989"/>
                  </a:lnTo>
                  <a:lnTo>
                    <a:pt x="607" y="991"/>
                  </a:lnTo>
                  <a:lnTo>
                    <a:pt x="607" y="989"/>
                  </a:lnTo>
                  <a:lnTo>
                    <a:pt x="607" y="991"/>
                  </a:lnTo>
                  <a:lnTo>
                    <a:pt x="607" y="989"/>
                  </a:lnTo>
                  <a:lnTo>
                    <a:pt x="607" y="991"/>
                  </a:lnTo>
                  <a:lnTo>
                    <a:pt x="607" y="989"/>
                  </a:lnTo>
                  <a:lnTo>
                    <a:pt x="607" y="991"/>
                  </a:lnTo>
                  <a:lnTo>
                    <a:pt x="608" y="991"/>
                  </a:lnTo>
                  <a:lnTo>
                    <a:pt x="608" y="989"/>
                  </a:lnTo>
                  <a:lnTo>
                    <a:pt x="608" y="991"/>
                  </a:lnTo>
                  <a:lnTo>
                    <a:pt x="610" y="991"/>
                  </a:lnTo>
                  <a:lnTo>
                    <a:pt x="612" y="991"/>
                  </a:lnTo>
                  <a:lnTo>
                    <a:pt x="612" y="993"/>
                  </a:lnTo>
                  <a:lnTo>
                    <a:pt x="614" y="993"/>
                  </a:lnTo>
                  <a:lnTo>
                    <a:pt x="616" y="995"/>
                  </a:lnTo>
                  <a:lnTo>
                    <a:pt x="614" y="995"/>
                  </a:lnTo>
                  <a:lnTo>
                    <a:pt x="612" y="999"/>
                  </a:lnTo>
                  <a:lnTo>
                    <a:pt x="612" y="1001"/>
                  </a:lnTo>
                  <a:lnTo>
                    <a:pt x="612" y="1003"/>
                  </a:lnTo>
                  <a:lnTo>
                    <a:pt x="612" y="1005"/>
                  </a:lnTo>
                  <a:lnTo>
                    <a:pt x="610" y="1006"/>
                  </a:lnTo>
                  <a:lnTo>
                    <a:pt x="608" y="1006"/>
                  </a:lnTo>
                  <a:lnTo>
                    <a:pt x="607" y="1006"/>
                  </a:lnTo>
                  <a:lnTo>
                    <a:pt x="605" y="1008"/>
                  </a:lnTo>
                  <a:lnTo>
                    <a:pt x="603" y="1008"/>
                  </a:lnTo>
                  <a:lnTo>
                    <a:pt x="601" y="1008"/>
                  </a:lnTo>
                  <a:lnTo>
                    <a:pt x="599" y="1008"/>
                  </a:lnTo>
                  <a:lnTo>
                    <a:pt x="597" y="1008"/>
                  </a:lnTo>
                  <a:lnTo>
                    <a:pt x="595" y="1008"/>
                  </a:lnTo>
                  <a:lnTo>
                    <a:pt x="593" y="1006"/>
                  </a:lnTo>
                  <a:lnTo>
                    <a:pt x="593" y="1005"/>
                  </a:lnTo>
                  <a:lnTo>
                    <a:pt x="591" y="1005"/>
                  </a:lnTo>
                  <a:lnTo>
                    <a:pt x="591" y="1006"/>
                  </a:lnTo>
                  <a:lnTo>
                    <a:pt x="589" y="1006"/>
                  </a:lnTo>
                  <a:lnTo>
                    <a:pt x="591" y="1006"/>
                  </a:lnTo>
                  <a:lnTo>
                    <a:pt x="591" y="1008"/>
                  </a:lnTo>
                  <a:lnTo>
                    <a:pt x="589" y="1008"/>
                  </a:lnTo>
                  <a:lnTo>
                    <a:pt x="589" y="1010"/>
                  </a:lnTo>
                  <a:lnTo>
                    <a:pt x="587" y="1010"/>
                  </a:lnTo>
                  <a:lnTo>
                    <a:pt x="587" y="1012"/>
                  </a:lnTo>
                  <a:lnTo>
                    <a:pt x="585" y="1012"/>
                  </a:lnTo>
                  <a:lnTo>
                    <a:pt x="584" y="1012"/>
                  </a:lnTo>
                  <a:lnTo>
                    <a:pt x="582" y="1012"/>
                  </a:lnTo>
                  <a:lnTo>
                    <a:pt x="584" y="1010"/>
                  </a:lnTo>
                  <a:lnTo>
                    <a:pt x="584" y="1008"/>
                  </a:lnTo>
                  <a:lnTo>
                    <a:pt x="582" y="1008"/>
                  </a:lnTo>
                  <a:lnTo>
                    <a:pt x="580" y="1008"/>
                  </a:lnTo>
                  <a:lnTo>
                    <a:pt x="578" y="1008"/>
                  </a:lnTo>
                  <a:lnTo>
                    <a:pt x="576" y="1008"/>
                  </a:lnTo>
                  <a:lnTo>
                    <a:pt x="574" y="1008"/>
                  </a:lnTo>
                  <a:lnTo>
                    <a:pt x="574" y="1006"/>
                  </a:lnTo>
                  <a:lnTo>
                    <a:pt x="572" y="1006"/>
                  </a:lnTo>
                  <a:lnTo>
                    <a:pt x="572" y="1005"/>
                  </a:lnTo>
                  <a:lnTo>
                    <a:pt x="570" y="1005"/>
                  </a:lnTo>
                  <a:lnTo>
                    <a:pt x="572" y="1005"/>
                  </a:lnTo>
                  <a:lnTo>
                    <a:pt x="572" y="1003"/>
                  </a:lnTo>
                  <a:lnTo>
                    <a:pt x="570" y="1003"/>
                  </a:lnTo>
                  <a:lnTo>
                    <a:pt x="570" y="1005"/>
                  </a:lnTo>
                  <a:lnTo>
                    <a:pt x="570" y="1003"/>
                  </a:lnTo>
                  <a:lnTo>
                    <a:pt x="570" y="1001"/>
                  </a:lnTo>
                  <a:lnTo>
                    <a:pt x="570" y="999"/>
                  </a:lnTo>
                  <a:lnTo>
                    <a:pt x="568" y="999"/>
                  </a:lnTo>
                  <a:lnTo>
                    <a:pt x="566" y="999"/>
                  </a:lnTo>
                  <a:lnTo>
                    <a:pt x="566" y="997"/>
                  </a:lnTo>
                  <a:lnTo>
                    <a:pt x="564" y="997"/>
                  </a:lnTo>
                  <a:lnTo>
                    <a:pt x="564" y="999"/>
                  </a:lnTo>
                  <a:lnTo>
                    <a:pt x="562" y="999"/>
                  </a:lnTo>
                  <a:lnTo>
                    <a:pt x="560" y="999"/>
                  </a:lnTo>
                  <a:lnTo>
                    <a:pt x="559" y="999"/>
                  </a:lnTo>
                  <a:lnTo>
                    <a:pt x="559" y="997"/>
                  </a:lnTo>
                  <a:lnTo>
                    <a:pt x="557" y="999"/>
                  </a:lnTo>
                  <a:lnTo>
                    <a:pt x="557" y="1001"/>
                  </a:lnTo>
                  <a:lnTo>
                    <a:pt x="559" y="1001"/>
                  </a:lnTo>
                  <a:lnTo>
                    <a:pt x="559" y="1003"/>
                  </a:lnTo>
                  <a:lnTo>
                    <a:pt x="557" y="1003"/>
                  </a:lnTo>
                  <a:lnTo>
                    <a:pt x="559" y="1003"/>
                  </a:lnTo>
                  <a:lnTo>
                    <a:pt x="557" y="1003"/>
                  </a:lnTo>
                  <a:lnTo>
                    <a:pt x="555" y="1003"/>
                  </a:lnTo>
                  <a:lnTo>
                    <a:pt x="555" y="1005"/>
                  </a:lnTo>
                  <a:lnTo>
                    <a:pt x="553" y="1003"/>
                  </a:lnTo>
                  <a:lnTo>
                    <a:pt x="553" y="1005"/>
                  </a:lnTo>
                  <a:lnTo>
                    <a:pt x="553" y="1003"/>
                  </a:lnTo>
                  <a:lnTo>
                    <a:pt x="551" y="1003"/>
                  </a:lnTo>
                  <a:lnTo>
                    <a:pt x="551" y="1001"/>
                  </a:lnTo>
                  <a:lnTo>
                    <a:pt x="549" y="1001"/>
                  </a:lnTo>
                  <a:lnTo>
                    <a:pt x="549" y="999"/>
                  </a:lnTo>
                  <a:lnTo>
                    <a:pt x="547" y="999"/>
                  </a:lnTo>
                  <a:lnTo>
                    <a:pt x="545" y="999"/>
                  </a:lnTo>
                  <a:lnTo>
                    <a:pt x="543" y="999"/>
                  </a:lnTo>
                  <a:lnTo>
                    <a:pt x="541" y="999"/>
                  </a:lnTo>
                  <a:lnTo>
                    <a:pt x="543" y="1001"/>
                  </a:lnTo>
                  <a:lnTo>
                    <a:pt x="541" y="1001"/>
                  </a:lnTo>
                  <a:lnTo>
                    <a:pt x="539" y="1001"/>
                  </a:lnTo>
                  <a:lnTo>
                    <a:pt x="539" y="999"/>
                  </a:lnTo>
                  <a:lnTo>
                    <a:pt x="539" y="1001"/>
                  </a:lnTo>
                  <a:lnTo>
                    <a:pt x="539" y="999"/>
                  </a:lnTo>
                  <a:lnTo>
                    <a:pt x="539" y="1001"/>
                  </a:lnTo>
                  <a:lnTo>
                    <a:pt x="537" y="1001"/>
                  </a:lnTo>
                  <a:lnTo>
                    <a:pt x="537" y="1003"/>
                  </a:lnTo>
                  <a:lnTo>
                    <a:pt x="536" y="1003"/>
                  </a:lnTo>
                  <a:lnTo>
                    <a:pt x="534" y="1003"/>
                  </a:lnTo>
                  <a:lnTo>
                    <a:pt x="534" y="1005"/>
                  </a:lnTo>
                  <a:lnTo>
                    <a:pt x="534" y="1006"/>
                  </a:lnTo>
                  <a:lnTo>
                    <a:pt x="534" y="1008"/>
                  </a:lnTo>
                  <a:lnTo>
                    <a:pt x="532" y="1008"/>
                  </a:lnTo>
                  <a:lnTo>
                    <a:pt x="530" y="1008"/>
                  </a:lnTo>
                  <a:lnTo>
                    <a:pt x="530" y="1010"/>
                  </a:lnTo>
                  <a:lnTo>
                    <a:pt x="528" y="1010"/>
                  </a:lnTo>
                  <a:lnTo>
                    <a:pt x="526" y="1010"/>
                  </a:lnTo>
                  <a:lnTo>
                    <a:pt x="524" y="1010"/>
                  </a:lnTo>
                  <a:lnTo>
                    <a:pt x="524" y="1008"/>
                  </a:lnTo>
                  <a:lnTo>
                    <a:pt x="526" y="1008"/>
                  </a:lnTo>
                  <a:lnTo>
                    <a:pt x="524" y="1008"/>
                  </a:lnTo>
                  <a:lnTo>
                    <a:pt x="522" y="1008"/>
                  </a:lnTo>
                  <a:lnTo>
                    <a:pt x="520" y="1006"/>
                  </a:lnTo>
                  <a:lnTo>
                    <a:pt x="520" y="1005"/>
                  </a:lnTo>
                  <a:lnTo>
                    <a:pt x="518" y="1005"/>
                  </a:lnTo>
                  <a:lnTo>
                    <a:pt x="518" y="1003"/>
                  </a:lnTo>
                  <a:lnTo>
                    <a:pt x="520" y="1003"/>
                  </a:lnTo>
                  <a:lnTo>
                    <a:pt x="518" y="1003"/>
                  </a:lnTo>
                  <a:lnTo>
                    <a:pt x="516" y="1003"/>
                  </a:lnTo>
                  <a:lnTo>
                    <a:pt x="516" y="1001"/>
                  </a:lnTo>
                  <a:lnTo>
                    <a:pt x="514" y="1001"/>
                  </a:lnTo>
                  <a:lnTo>
                    <a:pt x="513" y="1001"/>
                  </a:lnTo>
                  <a:lnTo>
                    <a:pt x="514" y="1001"/>
                  </a:lnTo>
                  <a:lnTo>
                    <a:pt x="513" y="1001"/>
                  </a:lnTo>
                  <a:lnTo>
                    <a:pt x="511" y="1001"/>
                  </a:lnTo>
                  <a:lnTo>
                    <a:pt x="513" y="1001"/>
                  </a:lnTo>
                  <a:lnTo>
                    <a:pt x="511" y="1001"/>
                  </a:lnTo>
                  <a:lnTo>
                    <a:pt x="511" y="1003"/>
                  </a:lnTo>
                  <a:lnTo>
                    <a:pt x="513" y="1003"/>
                  </a:lnTo>
                  <a:lnTo>
                    <a:pt x="513" y="1005"/>
                  </a:lnTo>
                  <a:lnTo>
                    <a:pt x="513" y="1006"/>
                  </a:lnTo>
                  <a:lnTo>
                    <a:pt x="513" y="1008"/>
                  </a:lnTo>
                  <a:lnTo>
                    <a:pt x="513" y="1010"/>
                  </a:lnTo>
                  <a:lnTo>
                    <a:pt x="511" y="1010"/>
                  </a:lnTo>
                  <a:lnTo>
                    <a:pt x="511" y="1012"/>
                  </a:lnTo>
                  <a:lnTo>
                    <a:pt x="509" y="1010"/>
                  </a:lnTo>
                  <a:lnTo>
                    <a:pt x="509" y="1008"/>
                  </a:lnTo>
                  <a:lnTo>
                    <a:pt x="509" y="1006"/>
                  </a:lnTo>
                  <a:lnTo>
                    <a:pt x="511" y="1006"/>
                  </a:lnTo>
                  <a:lnTo>
                    <a:pt x="511" y="1005"/>
                  </a:lnTo>
                  <a:lnTo>
                    <a:pt x="509" y="1005"/>
                  </a:lnTo>
                  <a:lnTo>
                    <a:pt x="509" y="1003"/>
                  </a:lnTo>
                  <a:lnTo>
                    <a:pt x="507" y="1003"/>
                  </a:lnTo>
                  <a:lnTo>
                    <a:pt x="507" y="1001"/>
                  </a:lnTo>
                  <a:lnTo>
                    <a:pt x="507" y="1003"/>
                  </a:lnTo>
                  <a:lnTo>
                    <a:pt x="505" y="1003"/>
                  </a:lnTo>
                  <a:lnTo>
                    <a:pt x="505" y="1001"/>
                  </a:lnTo>
                  <a:lnTo>
                    <a:pt x="505" y="999"/>
                  </a:lnTo>
                  <a:lnTo>
                    <a:pt x="503" y="999"/>
                  </a:lnTo>
                  <a:lnTo>
                    <a:pt x="503" y="997"/>
                  </a:lnTo>
                  <a:lnTo>
                    <a:pt x="501" y="997"/>
                  </a:lnTo>
                  <a:lnTo>
                    <a:pt x="499" y="997"/>
                  </a:lnTo>
                  <a:lnTo>
                    <a:pt x="499" y="995"/>
                  </a:lnTo>
                  <a:lnTo>
                    <a:pt x="499" y="997"/>
                  </a:lnTo>
                  <a:lnTo>
                    <a:pt x="499" y="995"/>
                  </a:lnTo>
                  <a:lnTo>
                    <a:pt x="499" y="997"/>
                  </a:lnTo>
                  <a:lnTo>
                    <a:pt x="499" y="995"/>
                  </a:lnTo>
                  <a:lnTo>
                    <a:pt x="497" y="995"/>
                  </a:lnTo>
                  <a:lnTo>
                    <a:pt x="499" y="995"/>
                  </a:lnTo>
                  <a:lnTo>
                    <a:pt x="497" y="995"/>
                  </a:lnTo>
                  <a:lnTo>
                    <a:pt x="497" y="993"/>
                  </a:lnTo>
                  <a:lnTo>
                    <a:pt x="497" y="995"/>
                  </a:lnTo>
                  <a:lnTo>
                    <a:pt x="497" y="993"/>
                  </a:lnTo>
                  <a:lnTo>
                    <a:pt x="497" y="991"/>
                  </a:lnTo>
                  <a:lnTo>
                    <a:pt x="495" y="991"/>
                  </a:lnTo>
                  <a:lnTo>
                    <a:pt x="495" y="989"/>
                  </a:lnTo>
                  <a:lnTo>
                    <a:pt x="493" y="989"/>
                  </a:lnTo>
                  <a:lnTo>
                    <a:pt x="491" y="989"/>
                  </a:lnTo>
                  <a:lnTo>
                    <a:pt x="489" y="989"/>
                  </a:lnTo>
                  <a:lnTo>
                    <a:pt x="491" y="989"/>
                  </a:lnTo>
                  <a:lnTo>
                    <a:pt x="489" y="989"/>
                  </a:lnTo>
                  <a:lnTo>
                    <a:pt x="488" y="989"/>
                  </a:lnTo>
                  <a:lnTo>
                    <a:pt x="488" y="991"/>
                  </a:lnTo>
                  <a:lnTo>
                    <a:pt x="488" y="989"/>
                  </a:lnTo>
                  <a:lnTo>
                    <a:pt x="486" y="989"/>
                  </a:lnTo>
                  <a:lnTo>
                    <a:pt x="488" y="989"/>
                  </a:lnTo>
                  <a:lnTo>
                    <a:pt x="486" y="989"/>
                  </a:lnTo>
                  <a:lnTo>
                    <a:pt x="484" y="989"/>
                  </a:lnTo>
                  <a:lnTo>
                    <a:pt x="482" y="989"/>
                  </a:lnTo>
                  <a:lnTo>
                    <a:pt x="482" y="991"/>
                  </a:lnTo>
                  <a:lnTo>
                    <a:pt x="482" y="989"/>
                  </a:lnTo>
                  <a:lnTo>
                    <a:pt x="482" y="991"/>
                  </a:lnTo>
                  <a:lnTo>
                    <a:pt x="482" y="989"/>
                  </a:lnTo>
                  <a:lnTo>
                    <a:pt x="480" y="989"/>
                  </a:lnTo>
                  <a:lnTo>
                    <a:pt x="482" y="989"/>
                  </a:lnTo>
                  <a:lnTo>
                    <a:pt x="480" y="989"/>
                  </a:lnTo>
                  <a:lnTo>
                    <a:pt x="482" y="987"/>
                  </a:lnTo>
                  <a:lnTo>
                    <a:pt x="480" y="987"/>
                  </a:lnTo>
                  <a:lnTo>
                    <a:pt x="480" y="985"/>
                  </a:lnTo>
                  <a:lnTo>
                    <a:pt x="480" y="983"/>
                  </a:lnTo>
                  <a:lnTo>
                    <a:pt x="478" y="983"/>
                  </a:lnTo>
                  <a:lnTo>
                    <a:pt x="476" y="983"/>
                  </a:lnTo>
                  <a:lnTo>
                    <a:pt x="476" y="985"/>
                  </a:lnTo>
                  <a:lnTo>
                    <a:pt x="474" y="985"/>
                  </a:lnTo>
                  <a:lnTo>
                    <a:pt x="472" y="985"/>
                  </a:lnTo>
                  <a:lnTo>
                    <a:pt x="470" y="985"/>
                  </a:lnTo>
                  <a:lnTo>
                    <a:pt x="470" y="987"/>
                  </a:lnTo>
                  <a:lnTo>
                    <a:pt x="470" y="989"/>
                  </a:lnTo>
                  <a:lnTo>
                    <a:pt x="468" y="991"/>
                  </a:lnTo>
                  <a:lnTo>
                    <a:pt x="468" y="989"/>
                  </a:lnTo>
                  <a:lnTo>
                    <a:pt x="468" y="987"/>
                  </a:lnTo>
                  <a:lnTo>
                    <a:pt x="468" y="989"/>
                  </a:lnTo>
                  <a:lnTo>
                    <a:pt x="468" y="987"/>
                  </a:lnTo>
                  <a:lnTo>
                    <a:pt x="466" y="987"/>
                  </a:lnTo>
                  <a:lnTo>
                    <a:pt x="468" y="989"/>
                  </a:lnTo>
                  <a:lnTo>
                    <a:pt x="466" y="989"/>
                  </a:lnTo>
                  <a:lnTo>
                    <a:pt x="465" y="989"/>
                  </a:lnTo>
                  <a:lnTo>
                    <a:pt x="463" y="989"/>
                  </a:lnTo>
                  <a:lnTo>
                    <a:pt x="463" y="987"/>
                  </a:lnTo>
                  <a:lnTo>
                    <a:pt x="465" y="987"/>
                  </a:lnTo>
                  <a:lnTo>
                    <a:pt x="465" y="985"/>
                  </a:lnTo>
                  <a:lnTo>
                    <a:pt x="463" y="985"/>
                  </a:lnTo>
                  <a:lnTo>
                    <a:pt x="461" y="985"/>
                  </a:lnTo>
                  <a:lnTo>
                    <a:pt x="459" y="985"/>
                  </a:lnTo>
                  <a:lnTo>
                    <a:pt x="457" y="985"/>
                  </a:lnTo>
                  <a:lnTo>
                    <a:pt x="457" y="983"/>
                  </a:lnTo>
                  <a:lnTo>
                    <a:pt x="455" y="983"/>
                  </a:lnTo>
                  <a:lnTo>
                    <a:pt x="455" y="985"/>
                  </a:lnTo>
                  <a:lnTo>
                    <a:pt x="457" y="985"/>
                  </a:lnTo>
                  <a:lnTo>
                    <a:pt x="455" y="987"/>
                  </a:lnTo>
                  <a:lnTo>
                    <a:pt x="457" y="987"/>
                  </a:lnTo>
                  <a:lnTo>
                    <a:pt x="457" y="985"/>
                  </a:lnTo>
                  <a:lnTo>
                    <a:pt x="457" y="987"/>
                  </a:lnTo>
                  <a:lnTo>
                    <a:pt x="455" y="987"/>
                  </a:lnTo>
                  <a:lnTo>
                    <a:pt x="455" y="985"/>
                  </a:lnTo>
                  <a:lnTo>
                    <a:pt x="453" y="985"/>
                  </a:lnTo>
                  <a:lnTo>
                    <a:pt x="453" y="987"/>
                  </a:lnTo>
                  <a:lnTo>
                    <a:pt x="451" y="989"/>
                  </a:lnTo>
                  <a:lnTo>
                    <a:pt x="453" y="989"/>
                  </a:lnTo>
                  <a:lnTo>
                    <a:pt x="451" y="989"/>
                  </a:lnTo>
                  <a:lnTo>
                    <a:pt x="451" y="991"/>
                  </a:lnTo>
                  <a:lnTo>
                    <a:pt x="449" y="991"/>
                  </a:lnTo>
                  <a:lnTo>
                    <a:pt x="449" y="993"/>
                  </a:lnTo>
                  <a:lnTo>
                    <a:pt x="447" y="993"/>
                  </a:lnTo>
                  <a:lnTo>
                    <a:pt x="447" y="995"/>
                  </a:lnTo>
                  <a:lnTo>
                    <a:pt x="445" y="995"/>
                  </a:lnTo>
                  <a:lnTo>
                    <a:pt x="443" y="995"/>
                  </a:lnTo>
                  <a:lnTo>
                    <a:pt x="443" y="997"/>
                  </a:lnTo>
                  <a:lnTo>
                    <a:pt x="441" y="997"/>
                  </a:lnTo>
                  <a:lnTo>
                    <a:pt x="441" y="999"/>
                  </a:lnTo>
                  <a:lnTo>
                    <a:pt x="440" y="999"/>
                  </a:lnTo>
                  <a:lnTo>
                    <a:pt x="438" y="999"/>
                  </a:lnTo>
                  <a:lnTo>
                    <a:pt x="436" y="999"/>
                  </a:lnTo>
                  <a:lnTo>
                    <a:pt x="436" y="1001"/>
                  </a:lnTo>
                  <a:lnTo>
                    <a:pt x="434" y="1001"/>
                  </a:lnTo>
                  <a:lnTo>
                    <a:pt x="436" y="1001"/>
                  </a:lnTo>
                  <a:lnTo>
                    <a:pt x="436" y="1003"/>
                  </a:lnTo>
                  <a:lnTo>
                    <a:pt x="436" y="1005"/>
                  </a:lnTo>
                  <a:lnTo>
                    <a:pt x="434" y="1005"/>
                  </a:lnTo>
                  <a:lnTo>
                    <a:pt x="432" y="1005"/>
                  </a:lnTo>
                  <a:lnTo>
                    <a:pt x="432" y="1006"/>
                  </a:lnTo>
                  <a:lnTo>
                    <a:pt x="430" y="1006"/>
                  </a:lnTo>
                  <a:lnTo>
                    <a:pt x="430" y="1008"/>
                  </a:lnTo>
                  <a:lnTo>
                    <a:pt x="428" y="1008"/>
                  </a:lnTo>
                  <a:lnTo>
                    <a:pt x="428" y="1010"/>
                  </a:lnTo>
                  <a:lnTo>
                    <a:pt x="426" y="1010"/>
                  </a:lnTo>
                  <a:lnTo>
                    <a:pt x="424" y="1010"/>
                  </a:lnTo>
                  <a:lnTo>
                    <a:pt x="424" y="1008"/>
                  </a:lnTo>
                  <a:lnTo>
                    <a:pt x="424" y="1010"/>
                  </a:lnTo>
                  <a:lnTo>
                    <a:pt x="424" y="1012"/>
                  </a:lnTo>
                  <a:lnTo>
                    <a:pt x="424" y="1014"/>
                  </a:lnTo>
                  <a:lnTo>
                    <a:pt x="426" y="1016"/>
                  </a:lnTo>
                  <a:lnTo>
                    <a:pt x="426" y="1018"/>
                  </a:lnTo>
                  <a:lnTo>
                    <a:pt x="426" y="1020"/>
                  </a:lnTo>
                  <a:lnTo>
                    <a:pt x="426" y="1022"/>
                  </a:lnTo>
                  <a:lnTo>
                    <a:pt x="428" y="1022"/>
                  </a:lnTo>
                  <a:lnTo>
                    <a:pt x="428" y="1024"/>
                  </a:lnTo>
                  <a:lnTo>
                    <a:pt x="426" y="1026"/>
                  </a:lnTo>
                  <a:lnTo>
                    <a:pt x="422" y="1028"/>
                  </a:lnTo>
                  <a:lnTo>
                    <a:pt x="420" y="1028"/>
                  </a:lnTo>
                  <a:lnTo>
                    <a:pt x="418" y="1028"/>
                  </a:lnTo>
                  <a:lnTo>
                    <a:pt x="418" y="1026"/>
                  </a:lnTo>
                  <a:lnTo>
                    <a:pt x="417" y="1026"/>
                  </a:lnTo>
                  <a:lnTo>
                    <a:pt x="417" y="1024"/>
                  </a:lnTo>
                  <a:lnTo>
                    <a:pt x="417" y="1022"/>
                  </a:lnTo>
                  <a:lnTo>
                    <a:pt x="415" y="1022"/>
                  </a:lnTo>
                  <a:lnTo>
                    <a:pt x="415" y="1020"/>
                  </a:lnTo>
                  <a:lnTo>
                    <a:pt x="415" y="1018"/>
                  </a:lnTo>
                  <a:lnTo>
                    <a:pt x="413" y="1018"/>
                  </a:lnTo>
                  <a:lnTo>
                    <a:pt x="413" y="1016"/>
                  </a:lnTo>
                  <a:lnTo>
                    <a:pt x="411" y="1016"/>
                  </a:lnTo>
                  <a:lnTo>
                    <a:pt x="411" y="1014"/>
                  </a:lnTo>
                  <a:lnTo>
                    <a:pt x="409" y="1014"/>
                  </a:lnTo>
                  <a:lnTo>
                    <a:pt x="411" y="1014"/>
                  </a:lnTo>
                  <a:lnTo>
                    <a:pt x="409" y="1014"/>
                  </a:lnTo>
                  <a:lnTo>
                    <a:pt x="407" y="1014"/>
                  </a:lnTo>
                  <a:lnTo>
                    <a:pt x="407" y="1016"/>
                  </a:lnTo>
                  <a:lnTo>
                    <a:pt x="405" y="1016"/>
                  </a:lnTo>
                  <a:lnTo>
                    <a:pt x="405" y="1018"/>
                  </a:lnTo>
                  <a:lnTo>
                    <a:pt x="405" y="1020"/>
                  </a:lnTo>
                  <a:lnTo>
                    <a:pt x="405" y="1022"/>
                  </a:lnTo>
                  <a:lnTo>
                    <a:pt x="403" y="1024"/>
                  </a:lnTo>
                  <a:lnTo>
                    <a:pt x="403" y="1026"/>
                  </a:lnTo>
                  <a:lnTo>
                    <a:pt x="401" y="1026"/>
                  </a:lnTo>
                  <a:lnTo>
                    <a:pt x="399" y="1028"/>
                  </a:lnTo>
                  <a:lnTo>
                    <a:pt x="399" y="1026"/>
                  </a:lnTo>
                  <a:lnTo>
                    <a:pt x="399" y="1028"/>
                  </a:lnTo>
                  <a:lnTo>
                    <a:pt x="399" y="1030"/>
                  </a:lnTo>
                  <a:lnTo>
                    <a:pt x="399" y="1031"/>
                  </a:lnTo>
                  <a:lnTo>
                    <a:pt x="397" y="1031"/>
                  </a:lnTo>
                  <a:lnTo>
                    <a:pt x="397" y="1033"/>
                  </a:lnTo>
                  <a:lnTo>
                    <a:pt x="397" y="1035"/>
                  </a:lnTo>
                  <a:lnTo>
                    <a:pt x="397" y="1037"/>
                  </a:lnTo>
                  <a:lnTo>
                    <a:pt x="397" y="1039"/>
                  </a:lnTo>
                  <a:lnTo>
                    <a:pt x="399" y="1039"/>
                  </a:lnTo>
                  <a:lnTo>
                    <a:pt x="399" y="1041"/>
                  </a:lnTo>
                  <a:lnTo>
                    <a:pt x="401" y="1041"/>
                  </a:lnTo>
                  <a:lnTo>
                    <a:pt x="401" y="1043"/>
                  </a:lnTo>
                  <a:lnTo>
                    <a:pt x="401" y="1045"/>
                  </a:lnTo>
                  <a:lnTo>
                    <a:pt x="399" y="1045"/>
                  </a:lnTo>
                  <a:lnTo>
                    <a:pt x="399" y="1047"/>
                  </a:lnTo>
                  <a:lnTo>
                    <a:pt x="397" y="1047"/>
                  </a:lnTo>
                  <a:lnTo>
                    <a:pt x="397" y="1049"/>
                  </a:lnTo>
                  <a:lnTo>
                    <a:pt x="395" y="1051"/>
                  </a:lnTo>
                  <a:lnTo>
                    <a:pt x="395" y="1053"/>
                  </a:lnTo>
                  <a:lnTo>
                    <a:pt x="395" y="1055"/>
                  </a:lnTo>
                  <a:lnTo>
                    <a:pt x="394" y="1058"/>
                  </a:lnTo>
                  <a:lnTo>
                    <a:pt x="395" y="1060"/>
                  </a:lnTo>
                  <a:lnTo>
                    <a:pt x="397" y="1060"/>
                  </a:lnTo>
                  <a:lnTo>
                    <a:pt x="399" y="1062"/>
                  </a:lnTo>
                  <a:lnTo>
                    <a:pt x="401" y="1062"/>
                  </a:lnTo>
                  <a:lnTo>
                    <a:pt x="401" y="1064"/>
                  </a:lnTo>
                  <a:lnTo>
                    <a:pt x="403" y="1066"/>
                  </a:lnTo>
                  <a:lnTo>
                    <a:pt x="401" y="1066"/>
                  </a:lnTo>
                  <a:lnTo>
                    <a:pt x="403" y="1066"/>
                  </a:lnTo>
                  <a:lnTo>
                    <a:pt x="403" y="1068"/>
                  </a:lnTo>
                  <a:lnTo>
                    <a:pt x="401" y="1068"/>
                  </a:lnTo>
                  <a:lnTo>
                    <a:pt x="401" y="1070"/>
                  </a:lnTo>
                  <a:lnTo>
                    <a:pt x="403" y="1072"/>
                  </a:lnTo>
                  <a:lnTo>
                    <a:pt x="403" y="1074"/>
                  </a:lnTo>
                  <a:lnTo>
                    <a:pt x="405" y="1074"/>
                  </a:lnTo>
                  <a:lnTo>
                    <a:pt x="405" y="1076"/>
                  </a:lnTo>
                  <a:lnTo>
                    <a:pt x="407" y="1076"/>
                  </a:lnTo>
                  <a:lnTo>
                    <a:pt x="407" y="1074"/>
                  </a:lnTo>
                  <a:lnTo>
                    <a:pt x="407" y="1072"/>
                  </a:lnTo>
                  <a:lnTo>
                    <a:pt x="407" y="1074"/>
                  </a:lnTo>
                  <a:lnTo>
                    <a:pt x="409" y="1074"/>
                  </a:lnTo>
                  <a:lnTo>
                    <a:pt x="411" y="1074"/>
                  </a:lnTo>
                  <a:lnTo>
                    <a:pt x="413" y="1074"/>
                  </a:lnTo>
                  <a:lnTo>
                    <a:pt x="415" y="1074"/>
                  </a:lnTo>
                  <a:lnTo>
                    <a:pt x="417" y="1074"/>
                  </a:lnTo>
                  <a:lnTo>
                    <a:pt x="417" y="1076"/>
                  </a:lnTo>
                  <a:lnTo>
                    <a:pt x="418" y="1076"/>
                  </a:lnTo>
                  <a:lnTo>
                    <a:pt x="420" y="1078"/>
                  </a:lnTo>
                  <a:lnTo>
                    <a:pt x="420" y="1081"/>
                  </a:lnTo>
                  <a:lnTo>
                    <a:pt x="422" y="1081"/>
                  </a:lnTo>
                  <a:lnTo>
                    <a:pt x="424" y="1083"/>
                  </a:lnTo>
                  <a:lnTo>
                    <a:pt x="424" y="1085"/>
                  </a:lnTo>
                  <a:lnTo>
                    <a:pt x="424" y="1087"/>
                  </a:lnTo>
                  <a:lnTo>
                    <a:pt x="424" y="1089"/>
                  </a:lnTo>
                  <a:lnTo>
                    <a:pt x="426" y="1089"/>
                  </a:lnTo>
                  <a:lnTo>
                    <a:pt x="428" y="1093"/>
                  </a:lnTo>
                  <a:lnTo>
                    <a:pt x="430" y="1093"/>
                  </a:lnTo>
                  <a:lnTo>
                    <a:pt x="430" y="1095"/>
                  </a:lnTo>
                  <a:lnTo>
                    <a:pt x="430" y="1097"/>
                  </a:lnTo>
                  <a:lnTo>
                    <a:pt x="428" y="1097"/>
                  </a:lnTo>
                  <a:lnTo>
                    <a:pt x="426" y="1097"/>
                  </a:lnTo>
                  <a:lnTo>
                    <a:pt x="424" y="1095"/>
                  </a:lnTo>
                  <a:lnTo>
                    <a:pt x="422" y="1095"/>
                  </a:lnTo>
                  <a:lnTo>
                    <a:pt x="422" y="1097"/>
                  </a:lnTo>
                  <a:lnTo>
                    <a:pt x="422" y="1099"/>
                  </a:lnTo>
                  <a:lnTo>
                    <a:pt x="424" y="1099"/>
                  </a:lnTo>
                  <a:lnTo>
                    <a:pt x="422" y="1099"/>
                  </a:lnTo>
                  <a:lnTo>
                    <a:pt x="424" y="1099"/>
                  </a:lnTo>
                  <a:lnTo>
                    <a:pt x="424" y="1101"/>
                  </a:lnTo>
                  <a:lnTo>
                    <a:pt x="424" y="1099"/>
                  </a:lnTo>
                  <a:lnTo>
                    <a:pt x="424" y="1101"/>
                  </a:lnTo>
                  <a:lnTo>
                    <a:pt x="426" y="1101"/>
                  </a:lnTo>
                  <a:lnTo>
                    <a:pt x="428" y="1101"/>
                  </a:lnTo>
                  <a:lnTo>
                    <a:pt x="428" y="1103"/>
                  </a:lnTo>
                  <a:lnTo>
                    <a:pt x="430" y="1103"/>
                  </a:lnTo>
                  <a:lnTo>
                    <a:pt x="432" y="1103"/>
                  </a:lnTo>
                  <a:lnTo>
                    <a:pt x="432" y="1104"/>
                  </a:lnTo>
                  <a:lnTo>
                    <a:pt x="432" y="1106"/>
                  </a:lnTo>
                  <a:lnTo>
                    <a:pt x="430" y="1106"/>
                  </a:lnTo>
                  <a:lnTo>
                    <a:pt x="430" y="1108"/>
                  </a:lnTo>
                  <a:lnTo>
                    <a:pt x="430" y="1110"/>
                  </a:lnTo>
                  <a:lnTo>
                    <a:pt x="430" y="1108"/>
                  </a:lnTo>
                  <a:lnTo>
                    <a:pt x="428" y="1110"/>
                  </a:lnTo>
                  <a:lnTo>
                    <a:pt x="430" y="1110"/>
                  </a:lnTo>
                  <a:lnTo>
                    <a:pt x="428" y="1110"/>
                  </a:lnTo>
                  <a:lnTo>
                    <a:pt x="428" y="1108"/>
                  </a:lnTo>
                  <a:lnTo>
                    <a:pt x="428" y="1110"/>
                  </a:lnTo>
                  <a:lnTo>
                    <a:pt x="428" y="1112"/>
                  </a:lnTo>
                  <a:lnTo>
                    <a:pt x="426" y="1112"/>
                  </a:lnTo>
                  <a:lnTo>
                    <a:pt x="428" y="1112"/>
                  </a:lnTo>
                  <a:lnTo>
                    <a:pt x="428" y="1114"/>
                  </a:lnTo>
                  <a:lnTo>
                    <a:pt x="426" y="1114"/>
                  </a:lnTo>
                  <a:lnTo>
                    <a:pt x="426" y="1112"/>
                  </a:lnTo>
                  <a:lnTo>
                    <a:pt x="426" y="1114"/>
                  </a:lnTo>
                  <a:lnTo>
                    <a:pt x="426" y="1112"/>
                  </a:lnTo>
                  <a:lnTo>
                    <a:pt x="426" y="1110"/>
                  </a:lnTo>
                  <a:lnTo>
                    <a:pt x="426" y="1112"/>
                  </a:lnTo>
                  <a:lnTo>
                    <a:pt x="424" y="1112"/>
                  </a:lnTo>
                  <a:lnTo>
                    <a:pt x="426" y="1112"/>
                  </a:lnTo>
                  <a:lnTo>
                    <a:pt x="426" y="1114"/>
                  </a:lnTo>
                  <a:lnTo>
                    <a:pt x="426" y="1116"/>
                  </a:lnTo>
                  <a:lnTo>
                    <a:pt x="424" y="1116"/>
                  </a:lnTo>
                  <a:lnTo>
                    <a:pt x="424" y="1114"/>
                  </a:lnTo>
                  <a:lnTo>
                    <a:pt x="426" y="1114"/>
                  </a:lnTo>
                  <a:lnTo>
                    <a:pt x="424" y="1114"/>
                  </a:lnTo>
                  <a:lnTo>
                    <a:pt x="424" y="1112"/>
                  </a:lnTo>
                  <a:lnTo>
                    <a:pt x="422" y="1112"/>
                  </a:lnTo>
                  <a:lnTo>
                    <a:pt x="422" y="1114"/>
                  </a:lnTo>
                  <a:lnTo>
                    <a:pt x="420" y="1114"/>
                  </a:lnTo>
                  <a:lnTo>
                    <a:pt x="420" y="1116"/>
                  </a:lnTo>
                  <a:lnTo>
                    <a:pt x="420" y="1118"/>
                  </a:lnTo>
                  <a:lnTo>
                    <a:pt x="422" y="1118"/>
                  </a:lnTo>
                  <a:lnTo>
                    <a:pt x="420" y="1116"/>
                  </a:lnTo>
                  <a:lnTo>
                    <a:pt x="422" y="1116"/>
                  </a:lnTo>
                  <a:lnTo>
                    <a:pt x="422" y="1118"/>
                  </a:lnTo>
                  <a:lnTo>
                    <a:pt x="420" y="1118"/>
                  </a:lnTo>
                  <a:lnTo>
                    <a:pt x="418" y="1118"/>
                  </a:lnTo>
                  <a:lnTo>
                    <a:pt x="418" y="1116"/>
                  </a:lnTo>
                  <a:lnTo>
                    <a:pt x="420" y="1116"/>
                  </a:lnTo>
                  <a:lnTo>
                    <a:pt x="418" y="1116"/>
                  </a:lnTo>
                  <a:lnTo>
                    <a:pt x="418" y="1118"/>
                  </a:lnTo>
                  <a:lnTo>
                    <a:pt x="418" y="1116"/>
                  </a:lnTo>
                  <a:lnTo>
                    <a:pt x="418" y="1118"/>
                  </a:lnTo>
                  <a:lnTo>
                    <a:pt x="417" y="1118"/>
                  </a:lnTo>
                  <a:lnTo>
                    <a:pt x="417" y="1116"/>
                  </a:lnTo>
                  <a:lnTo>
                    <a:pt x="417" y="1118"/>
                  </a:lnTo>
                  <a:lnTo>
                    <a:pt x="415" y="1118"/>
                  </a:lnTo>
                  <a:lnTo>
                    <a:pt x="413" y="1118"/>
                  </a:lnTo>
                  <a:lnTo>
                    <a:pt x="413" y="1120"/>
                  </a:lnTo>
                  <a:lnTo>
                    <a:pt x="413" y="1122"/>
                  </a:lnTo>
                  <a:lnTo>
                    <a:pt x="413" y="1120"/>
                  </a:lnTo>
                  <a:lnTo>
                    <a:pt x="413" y="1118"/>
                  </a:lnTo>
                  <a:lnTo>
                    <a:pt x="411" y="1118"/>
                  </a:lnTo>
                  <a:lnTo>
                    <a:pt x="411" y="1120"/>
                  </a:lnTo>
                  <a:lnTo>
                    <a:pt x="411" y="1118"/>
                  </a:lnTo>
                  <a:lnTo>
                    <a:pt x="411" y="1120"/>
                  </a:lnTo>
                  <a:lnTo>
                    <a:pt x="411" y="1122"/>
                  </a:lnTo>
                  <a:lnTo>
                    <a:pt x="411" y="1124"/>
                  </a:lnTo>
                  <a:lnTo>
                    <a:pt x="411" y="1122"/>
                  </a:lnTo>
                  <a:lnTo>
                    <a:pt x="411" y="1120"/>
                  </a:lnTo>
                  <a:lnTo>
                    <a:pt x="411" y="1118"/>
                  </a:lnTo>
                  <a:lnTo>
                    <a:pt x="409" y="1118"/>
                  </a:lnTo>
                  <a:lnTo>
                    <a:pt x="409" y="1120"/>
                  </a:lnTo>
                  <a:lnTo>
                    <a:pt x="411" y="1120"/>
                  </a:lnTo>
                  <a:lnTo>
                    <a:pt x="409" y="1120"/>
                  </a:lnTo>
                  <a:lnTo>
                    <a:pt x="411" y="1120"/>
                  </a:lnTo>
                  <a:lnTo>
                    <a:pt x="409" y="1122"/>
                  </a:lnTo>
                  <a:lnTo>
                    <a:pt x="409" y="1124"/>
                  </a:lnTo>
                  <a:lnTo>
                    <a:pt x="407" y="1126"/>
                  </a:lnTo>
                  <a:lnTo>
                    <a:pt x="409" y="1126"/>
                  </a:lnTo>
                  <a:lnTo>
                    <a:pt x="407" y="1126"/>
                  </a:lnTo>
                  <a:lnTo>
                    <a:pt x="407" y="1124"/>
                  </a:lnTo>
                  <a:lnTo>
                    <a:pt x="407" y="1126"/>
                  </a:lnTo>
                  <a:lnTo>
                    <a:pt x="407" y="1128"/>
                  </a:lnTo>
                  <a:lnTo>
                    <a:pt x="407" y="1129"/>
                  </a:lnTo>
                  <a:lnTo>
                    <a:pt x="407" y="1128"/>
                  </a:lnTo>
                  <a:lnTo>
                    <a:pt x="407" y="1129"/>
                  </a:lnTo>
                  <a:lnTo>
                    <a:pt x="405" y="1129"/>
                  </a:lnTo>
                  <a:lnTo>
                    <a:pt x="405" y="1131"/>
                  </a:lnTo>
                  <a:lnTo>
                    <a:pt x="405" y="1133"/>
                  </a:lnTo>
                  <a:lnTo>
                    <a:pt x="403" y="1133"/>
                  </a:lnTo>
                  <a:lnTo>
                    <a:pt x="405" y="1133"/>
                  </a:lnTo>
                  <a:lnTo>
                    <a:pt x="403" y="1135"/>
                  </a:lnTo>
                  <a:lnTo>
                    <a:pt x="405" y="1135"/>
                  </a:lnTo>
                  <a:lnTo>
                    <a:pt x="403" y="1137"/>
                  </a:lnTo>
                  <a:lnTo>
                    <a:pt x="401" y="1137"/>
                  </a:lnTo>
                  <a:lnTo>
                    <a:pt x="401" y="1135"/>
                  </a:lnTo>
                  <a:lnTo>
                    <a:pt x="401" y="1137"/>
                  </a:lnTo>
                  <a:lnTo>
                    <a:pt x="399" y="1137"/>
                  </a:lnTo>
                  <a:lnTo>
                    <a:pt x="399" y="1139"/>
                  </a:lnTo>
                  <a:lnTo>
                    <a:pt x="397" y="1139"/>
                  </a:lnTo>
                  <a:lnTo>
                    <a:pt x="397" y="1141"/>
                  </a:lnTo>
                  <a:lnTo>
                    <a:pt x="397" y="1139"/>
                  </a:lnTo>
                  <a:lnTo>
                    <a:pt x="397" y="1141"/>
                  </a:lnTo>
                  <a:lnTo>
                    <a:pt x="397" y="1143"/>
                  </a:lnTo>
                  <a:lnTo>
                    <a:pt x="399" y="1143"/>
                  </a:lnTo>
                  <a:lnTo>
                    <a:pt x="397" y="1143"/>
                  </a:lnTo>
                  <a:lnTo>
                    <a:pt x="397" y="1141"/>
                  </a:lnTo>
                  <a:lnTo>
                    <a:pt x="397" y="1143"/>
                  </a:lnTo>
                  <a:lnTo>
                    <a:pt x="395" y="1143"/>
                  </a:lnTo>
                  <a:lnTo>
                    <a:pt x="397" y="1143"/>
                  </a:lnTo>
                  <a:lnTo>
                    <a:pt x="397" y="1145"/>
                  </a:lnTo>
                  <a:lnTo>
                    <a:pt x="399" y="1145"/>
                  </a:lnTo>
                  <a:lnTo>
                    <a:pt x="401" y="1145"/>
                  </a:lnTo>
                  <a:lnTo>
                    <a:pt x="401" y="1147"/>
                  </a:lnTo>
                  <a:lnTo>
                    <a:pt x="401" y="1149"/>
                  </a:lnTo>
                  <a:lnTo>
                    <a:pt x="403" y="1149"/>
                  </a:lnTo>
                  <a:lnTo>
                    <a:pt x="405" y="1151"/>
                  </a:lnTo>
                  <a:lnTo>
                    <a:pt x="405" y="1152"/>
                  </a:lnTo>
                  <a:lnTo>
                    <a:pt x="407" y="1152"/>
                  </a:lnTo>
                  <a:lnTo>
                    <a:pt x="407" y="1154"/>
                  </a:lnTo>
                  <a:lnTo>
                    <a:pt x="407" y="1156"/>
                  </a:lnTo>
                  <a:lnTo>
                    <a:pt x="409" y="1156"/>
                  </a:lnTo>
                  <a:lnTo>
                    <a:pt x="407" y="1158"/>
                  </a:lnTo>
                  <a:lnTo>
                    <a:pt x="407" y="1160"/>
                  </a:lnTo>
                  <a:lnTo>
                    <a:pt x="409" y="1158"/>
                  </a:lnTo>
                  <a:lnTo>
                    <a:pt x="409" y="1156"/>
                  </a:lnTo>
                  <a:lnTo>
                    <a:pt x="409" y="1154"/>
                  </a:lnTo>
                  <a:lnTo>
                    <a:pt x="411" y="1154"/>
                  </a:lnTo>
                  <a:lnTo>
                    <a:pt x="411" y="1156"/>
                  </a:lnTo>
                  <a:lnTo>
                    <a:pt x="409" y="1156"/>
                  </a:lnTo>
                  <a:lnTo>
                    <a:pt x="409" y="1158"/>
                  </a:lnTo>
                  <a:lnTo>
                    <a:pt x="409" y="1160"/>
                  </a:lnTo>
                  <a:lnTo>
                    <a:pt x="409" y="1162"/>
                  </a:lnTo>
                  <a:lnTo>
                    <a:pt x="407" y="1162"/>
                  </a:lnTo>
                  <a:lnTo>
                    <a:pt x="407" y="1164"/>
                  </a:lnTo>
                  <a:lnTo>
                    <a:pt x="407" y="1166"/>
                  </a:lnTo>
                  <a:lnTo>
                    <a:pt x="407" y="1168"/>
                  </a:lnTo>
                  <a:lnTo>
                    <a:pt x="409" y="1168"/>
                  </a:lnTo>
                  <a:lnTo>
                    <a:pt x="409" y="1166"/>
                  </a:lnTo>
                  <a:lnTo>
                    <a:pt x="409" y="1168"/>
                  </a:lnTo>
                  <a:lnTo>
                    <a:pt x="409" y="1166"/>
                  </a:lnTo>
                  <a:lnTo>
                    <a:pt x="409" y="1168"/>
                  </a:lnTo>
                  <a:lnTo>
                    <a:pt x="407" y="1170"/>
                  </a:lnTo>
                  <a:lnTo>
                    <a:pt x="407" y="1172"/>
                  </a:lnTo>
                  <a:lnTo>
                    <a:pt x="407" y="1174"/>
                  </a:lnTo>
                  <a:lnTo>
                    <a:pt x="409" y="1174"/>
                  </a:lnTo>
                  <a:lnTo>
                    <a:pt x="409" y="1176"/>
                  </a:lnTo>
                  <a:lnTo>
                    <a:pt x="411" y="1176"/>
                  </a:lnTo>
                  <a:lnTo>
                    <a:pt x="411" y="1177"/>
                  </a:lnTo>
                  <a:lnTo>
                    <a:pt x="411" y="1179"/>
                  </a:lnTo>
                  <a:lnTo>
                    <a:pt x="411" y="1181"/>
                  </a:lnTo>
                  <a:lnTo>
                    <a:pt x="413" y="1181"/>
                  </a:lnTo>
                  <a:lnTo>
                    <a:pt x="415" y="1183"/>
                  </a:lnTo>
                  <a:lnTo>
                    <a:pt x="415" y="1185"/>
                  </a:lnTo>
                  <a:lnTo>
                    <a:pt x="417" y="1185"/>
                  </a:lnTo>
                  <a:lnTo>
                    <a:pt x="417" y="1187"/>
                  </a:lnTo>
                  <a:lnTo>
                    <a:pt x="418" y="1189"/>
                  </a:lnTo>
                  <a:lnTo>
                    <a:pt x="418" y="1191"/>
                  </a:lnTo>
                  <a:lnTo>
                    <a:pt x="420" y="1191"/>
                  </a:lnTo>
                  <a:lnTo>
                    <a:pt x="420" y="1193"/>
                  </a:lnTo>
                  <a:lnTo>
                    <a:pt x="420" y="1195"/>
                  </a:lnTo>
                  <a:lnTo>
                    <a:pt x="422" y="1195"/>
                  </a:lnTo>
                  <a:lnTo>
                    <a:pt x="424" y="1195"/>
                  </a:lnTo>
                  <a:lnTo>
                    <a:pt x="424" y="1197"/>
                  </a:lnTo>
                  <a:lnTo>
                    <a:pt x="422" y="1197"/>
                  </a:lnTo>
                  <a:lnTo>
                    <a:pt x="422" y="1199"/>
                  </a:lnTo>
                  <a:lnTo>
                    <a:pt x="420" y="1199"/>
                  </a:lnTo>
                  <a:lnTo>
                    <a:pt x="420" y="1200"/>
                  </a:lnTo>
                  <a:lnTo>
                    <a:pt x="418" y="1200"/>
                  </a:lnTo>
                  <a:lnTo>
                    <a:pt x="418" y="1202"/>
                  </a:lnTo>
                  <a:lnTo>
                    <a:pt x="417" y="1202"/>
                  </a:lnTo>
                  <a:lnTo>
                    <a:pt x="417" y="1204"/>
                  </a:lnTo>
                  <a:lnTo>
                    <a:pt x="415" y="1204"/>
                  </a:lnTo>
                  <a:lnTo>
                    <a:pt x="415" y="1206"/>
                  </a:lnTo>
                  <a:lnTo>
                    <a:pt x="413" y="1206"/>
                  </a:lnTo>
                  <a:lnTo>
                    <a:pt x="415" y="1206"/>
                  </a:lnTo>
                  <a:lnTo>
                    <a:pt x="413" y="1206"/>
                  </a:lnTo>
                  <a:lnTo>
                    <a:pt x="413" y="1208"/>
                  </a:lnTo>
                  <a:lnTo>
                    <a:pt x="415" y="1208"/>
                  </a:lnTo>
                  <a:lnTo>
                    <a:pt x="413" y="1208"/>
                  </a:lnTo>
                  <a:lnTo>
                    <a:pt x="411" y="1208"/>
                  </a:lnTo>
                  <a:lnTo>
                    <a:pt x="409" y="1208"/>
                  </a:lnTo>
                  <a:lnTo>
                    <a:pt x="407" y="1208"/>
                  </a:lnTo>
                  <a:lnTo>
                    <a:pt x="407" y="1206"/>
                  </a:lnTo>
                  <a:lnTo>
                    <a:pt x="407" y="1208"/>
                  </a:lnTo>
                  <a:lnTo>
                    <a:pt x="407" y="1206"/>
                  </a:lnTo>
                  <a:lnTo>
                    <a:pt x="405" y="1206"/>
                  </a:lnTo>
                  <a:lnTo>
                    <a:pt x="405" y="1204"/>
                  </a:lnTo>
                  <a:lnTo>
                    <a:pt x="403" y="1204"/>
                  </a:lnTo>
                  <a:lnTo>
                    <a:pt x="403" y="1202"/>
                  </a:lnTo>
                  <a:lnTo>
                    <a:pt x="401" y="1200"/>
                  </a:lnTo>
                  <a:lnTo>
                    <a:pt x="403" y="1200"/>
                  </a:lnTo>
                  <a:lnTo>
                    <a:pt x="401" y="1200"/>
                  </a:lnTo>
                  <a:lnTo>
                    <a:pt x="401" y="1202"/>
                  </a:lnTo>
                  <a:lnTo>
                    <a:pt x="401" y="1200"/>
                  </a:lnTo>
                  <a:lnTo>
                    <a:pt x="401" y="1202"/>
                  </a:lnTo>
                  <a:lnTo>
                    <a:pt x="401" y="1200"/>
                  </a:lnTo>
                  <a:lnTo>
                    <a:pt x="399" y="1200"/>
                  </a:lnTo>
                  <a:lnTo>
                    <a:pt x="399" y="1199"/>
                  </a:lnTo>
                  <a:lnTo>
                    <a:pt x="397" y="1199"/>
                  </a:lnTo>
                  <a:lnTo>
                    <a:pt x="397" y="1197"/>
                  </a:lnTo>
                  <a:lnTo>
                    <a:pt x="397" y="1195"/>
                  </a:lnTo>
                  <a:lnTo>
                    <a:pt x="395" y="1197"/>
                  </a:lnTo>
                  <a:lnTo>
                    <a:pt x="394" y="1197"/>
                  </a:lnTo>
                  <a:lnTo>
                    <a:pt x="394" y="1195"/>
                  </a:lnTo>
                  <a:lnTo>
                    <a:pt x="392" y="1195"/>
                  </a:lnTo>
                  <a:lnTo>
                    <a:pt x="390" y="1195"/>
                  </a:lnTo>
                  <a:lnTo>
                    <a:pt x="390" y="1193"/>
                  </a:lnTo>
                  <a:lnTo>
                    <a:pt x="388" y="1193"/>
                  </a:lnTo>
                  <a:lnTo>
                    <a:pt x="386" y="1193"/>
                  </a:lnTo>
                  <a:lnTo>
                    <a:pt x="384" y="1193"/>
                  </a:lnTo>
                  <a:lnTo>
                    <a:pt x="384" y="1191"/>
                  </a:lnTo>
                  <a:lnTo>
                    <a:pt x="382" y="1191"/>
                  </a:lnTo>
                  <a:lnTo>
                    <a:pt x="382" y="1189"/>
                  </a:lnTo>
                  <a:lnTo>
                    <a:pt x="380" y="1189"/>
                  </a:lnTo>
                  <a:lnTo>
                    <a:pt x="380" y="1187"/>
                  </a:lnTo>
                  <a:lnTo>
                    <a:pt x="382" y="1187"/>
                  </a:lnTo>
                  <a:lnTo>
                    <a:pt x="382" y="1185"/>
                  </a:lnTo>
                  <a:lnTo>
                    <a:pt x="382" y="1183"/>
                  </a:lnTo>
                  <a:lnTo>
                    <a:pt x="380" y="1183"/>
                  </a:lnTo>
                  <a:lnTo>
                    <a:pt x="380" y="1181"/>
                  </a:lnTo>
                  <a:lnTo>
                    <a:pt x="378" y="1181"/>
                  </a:lnTo>
                  <a:lnTo>
                    <a:pt x="376" y="1181"/>
                  </a:lnTo>
                  <a:lnTo>
                    <a:pt x="376" y="1183"/>
                  </a:lnTo>
                  <a:lnTo>
                    <a:pt x="376" y="1181"/>
                  </a:lnTo>
                  <a:lnTo>
                    <a:pt x="374" y="1181"/>
                  </a:lnTo>
                  <a:lnTo>
                    <a:pt x="374" y="1179"/>
                  </a:lnTo>
                  <a:lnTo>
                    <a:pt x="372" y="1179"/>
                  </a:lnTo>
                  <a:lnTo>
                    <a:pt x="370" y="1179"/>
                  </a:lnTo>
                  <a:lnTo>
                    <a:pt x="370" y="1177"/>
                  </a:lnTo>
                  <a:lnTo>
                    <a:pt x="369" y="1177"/>
                  </a:lnTo>
                  <a:lnTo>
                    <a:pt x="369" y="1179"/>
                  </a:lnTo>
                  <a:lnTo>
                    <a:pt x="369" y="1181"/>
                  </a:lnTo>
                  <a:lnTo>
                    <a:pt x="369" y="1179"/>
                  </a:lnTo>
                  <a:lnTo>
                    <a:pt x="367" y="1179"/>
                  </a:lnTo>
                  <a:lnTo>
                    <a:pt x="367" y="1177"/>
                  </a:lnTo>
                  <a:lnTo>
                    <a:pt x="365" y="1177"/>
                  </a:lnTo>
                  <a:lnTo>
                    <a:pt x="365" y="1179"/>
                  </a:lnTo>
                  <a:lnTo>
                    <a:pt x="363" y="1179"/>
                  </a:lnTo>
                  <a:lnTo>
                    <a:pt x="361" y="1179"/>
                  </a:lnTo>
                  <a:lnTo>
                    <a:pt x="359" y="1179"/>
                  </a:lnTo>
                  <a:lnTo>
                    <a:pt x="359" y="1181"/>
                  </a:lnTo>
                  <a:lnTo>
                    <a:pt x="359" y="1179"/>
                  </a:lnTo>
                  <a:lnTo>
                    <a:pt x="359" y="1181"/>
                  </a:lnTo>
                  <a:lnTo>
                    <a:pt x="357" y="1181"/>
                  </a:lnTo>
                  <a:lnTo>
                    <a:pt x="355" y="1181"/>
                  </a:lnTo>
                  <a:lnTo>
                    <a:pt x="353" y="1181"/>
                  </a:lnTo>
                  <a:lnTo>
                    <a:pt x="353" y="1179"/>
                  </a:lnTo>
                  <a:lnTo>
                    <a:pt x="353" y="1177"/>
                  </a:lnTo>
                  <a:lnTo>
                    <a:pt x="351" y="1177"/>
                  </a:lnTo>
                  <a:lnTo>
                    <a:pt x="351" y="1176"/>
                  </a:lnTo>
                  <a:lnTo>
                    <a:pt x="349" y="1176"/>
                  </a:lnTo>
                  <a:lnTo>
                    <a:pt x="347" y="1176"/>
                  </a:lnTo>
                  <a:lnTo>
                    <a:pt x="346" y="1176"/>
                  </a:lnTo>
                  <a:lnTo>
                    <a:pt x="346" y="1174"/>
                  </a:lnTo>
                  <a:lnTo>
                    <a:pt x="344" y="1174"/>
                  </a:lnTo>
                  <a:lnTo>
                    <a:pt x="344" y="1172"/>
                  </a:lnTo>
                  <a:lnTo>
                    <a:pt x="342" y="1172"/>
                  </a:lnTo>
                  <a:lnTo>
                    <a:pt x="342" y="1170"/>
                  </a:lnTo>
                  <a:lnTo>
                    <a:pt x="340" y="1170"/>
                  </a:lnTo>
                  <a:lnTo>
                    <a:pt x="342" y="1170"/>
                  </a:lnTo>
                  <a:lnTo>
                    <a:pt x="340" y="1170"/>
                  </a:lnTo>
                  <a:lnTo>
                    <a:pt x="338" y="1170"/>
                  </a:lnTo>
                  <a:lnTo>
                    <a:pt x="336" y="1170"/>
                  </a:lnTo>
                  <a:lnTo>
                    <a:pt x="334" y="1170"/>
                  </a:lnTo>
                  <a:lnTo>
                    <a:pt x="334" y="1168"/>
                  </a:lnTo>
                  <a:lnTo>
                    <a:pt x="332" y="1168"/>
                  </a:lnTo>
                  <a:lnTo>
                    <a:pt x="330" y="1168"/>
                  </a:lnTo>
                  <a:lnTo>
                    <a:pt x="328" y="1168"/>
                  </a:lnTo>
                  <a:lnTo>
                    <a:pt x="328" y="1170"/>
                  </a:lnTo>
                  <a:lnTo>
                    <a:pt x="328" y="1168"/>
                  </a:lnTo>
                  <a:lnTo>
                    <a:pt x="326" y="1168"/>
                  </a:lnTo>
                  <a:lnTo>
                    <a:pt x="326" y="1170"/>
                  </a:lnTo>
                  <a:lnTo>
                    <a:pt x="326" y="1168"/>
                  </a:lnTo>
                  <a:lnTo>
                    <a:pt x="324" y="1168"/>
                  </a:lnTo>
                  <a:lnTo>
                    <a:pt x="324" y="1170"/>
                  </a:lnTo>
                  <a:lnTo>
                    <a:pt x="324" y="1168"/>
                  </a:lnTo>
                  <a:lnTo>
                    <a:pt x="322" y="1168"/>
                  </a:lnTo>
                  <a:lnTo>
                    <a:pt x="321" y="1168"/>
                  </a:lnTo>
                  <a:lnTo>
                    <a:pt x="319" y="1168"/>
                  </a:lnTo>
                  <a:lnTo>
                    <a:pt x="319" y="1166"/>
                  </a:lnTo>
                  <a:lnTo>
                    <a:pt x="317" y="1166"/>
                  </a:lnTo>
                  <a:lnTo>
                    <a:pt x="315" y="1166"/>
                  </a:lnTo>
                  <a:lnTo>
                    <a:pt x="315" y="1164"/>
                  </a:lnTo>
                  <a:lnTo>
                    <a:pt x="315" y="1166"/>
                  </a:lnTo>
                  <a:lnTo>
                    <a:pt x="315" y="1164"/>
                  </a:lnTo>
                  <a:lnTo>
                    <a:pt x="315" y="1166"/>
                  </a:lnTo>
                  <a:lnTo>
                    <a:pt x="313" y="1166"/>
                  </a:lnTo>
                  <a:lnTo>
                    <a:pt x="313" y="1164"/>
                  </a:lnTo>
                  <a:lnTo>
                    <a:pt x="311" y="1164"/>
                  </a:lnTo>
                  <a:lnTo>
                    <a:pt x="309" y="1164"/>
                  </a:lnTo>
                  <a:lnTo>
                    <a:pt x="309" y="1162"/>
                  </a:lnTo>
                  <a:lnTo>
                    <a:pt x="307" y="1162"/>
                  </a:lnTo>
                  <a:lnTo>
                    <a:pt x="309" y="1162"/>
                  </a:lnTo>
                  <a:lnTo>
                    <a:pt x="307" y="1162"/>
                  </a:lnTo>
                  <a:lnTo>
                    <a:pt x="305" y="1162"/>
                  </a:lnTo>
                  <a:lnTo>
                    <a:pt x="303" y="1162"/>
                  </a:lnTo>
                  <a:lnTo>
                    <a:pt x="301" y="1162"/>
                  </a:lnTo>
                  <a:lnTo>
                    <a:pt x="299" y="1162"/>
                  </a:lnTo>
                  <a:lnTo>
                    <a:pt x="299" y="1164"/>
                  </a:lnTo>
                  <a:lnTo>
                    <a:pt x="298" y="1164"/>
                  </a:lnTo>
                  <a:lnTo>
                    <a:pt x="298" y="1166"/>
                  </a:lnTo>
                  <a:lnTo>
                    <a:pt x="298" y="1164"/>
                  </a:lnTo>
                  <a:lnTo>
                    <a:pt x="296" y="1164"/>
                  </a:lnTo>
                  <a:lnTo>
                    <a:pt x="296" y="1162"/>
                  </a:lnTo>
                  <a:lnTo>
                    <a:pt x="294" y="1162"/>
                  </a:lnTo>
                  <a:lnTo>
                    <a:pt x="294" y="1160"/>
                  </a:lnTo>
                  <a:lnTo>
                    <a:pt x="292" y="1160"/>
                  </a:lnTo>
                  <a:lnTo>
                    <a:pt x="292" y="1158"/>
                  </a:lnTo>
                  <a:lnTo>
                    <a:pt x="290" y="1158"/>
                  </a:lnTo>
                  <a:lnTo>
                    <a:pt x="290" y="1156"/>
                  </a:lnTo>
                  <a:lnTo>
                    <a:pt x="288" y="1154"/>
                  </a:lnTo>
                  <a:lnTo>
                    <a:pt x="286" y="1152"/>
                  </a:lnTo>
                  <a:lnTo>
                    <a:pt x="284" y="1152"/>
                  </a:lnTo>
                  <a:lnTo>
                    <a:pt x="284" y="1151"/>
                  </a:lnTo>
                  <a:lnTo>
                    <a:pt x="284" y="1149"/>
                  </a:lnTo>
                  <a:lnTo>
                    <a:pt x="282" y="1149"/>
                  </a:lnTo>
                  <a:lnTo>
                    <a:pt x="280" y="1149"/>
                  </a:lnTo>
                  <a:lnTo>
                    <a:pt x="280" y="1147"/>
                  </a:lnTo>
                  <a:lnTo>
                    <a:pt x="278" y="1147"/>
                  </a:lnTo>
                  <a:lnTo>
                    <a:pt x="276" y="1147"/>
                  </a:lnTo>
                  <a:lnTo>
                    <a:pt x="276" y="1145"/>
                  </a:lnTo>
                  <a:lnTo>
                    <a:pt x="275" y="1145"/>
                  </a:lnTo>
                  <a:lnTo>
                    <a:pt x="273" y="1145"/>
                  </a:lnTo>
                  <a:lnTo>
                    <a:pt x="271" y="1145"/>
                  </a:lnTo>
                  <a:lnTo>
                    <a:pt x="271" y="1143"/>
                  </a:lnTo>
                  <a:lnTo>
                    <a:pt x="271" y="1141"/>
                  </a:lnTo>
                  <a:lnTo>
                    <a:pt x="269" y="1141"/>
                  </a:lnTo>
                  <a:lnTo>
                    <a:pt x="271" y="1141"/>
                  </a:lnTo>
                  <a:lnTo>
                    <a:pt x="269" y="1141"/>
                  </a:lnTo>
                  <a:lnTo>
                    <a:pt x="267" y="1141"/>
                  </a:lnTo>
                  <a:lnTo>
                    <a:pt x="267" y="1139"/>
                  </a:lnTo>
                  <a:lnTo>
                    <a:pt x="267" y="1137"/>
                  </a:lnTo>
                  <a:lnTo>
                    <a:pt x="265" y="1137"/>
                  </a:lnTo>
                  <a:lnTo>
                    <a:pt x="267" y="1137"/>
                  </a:lnTo>
                  <a:lnTo>
                    <a:pt x="265" y="1137"/>
                  </a:lnTo>
                  <a:lnTo>
                    <a:pt x="265" y="1139"/>
                  </a:lnTo>
                  <a:lnTo>
                    <a:pt x="267" y="1139"/>
                  </a:lnTo>
                  <a:lnTo>
                    <a:pt x="265" y="1139"/>
                  </a:lnTo>
                  <a:lnTo>
                    <a:pt x="263" y="1139"/>
                  </a:lnTo>
                  <a:lnTo>
                    <a:pt x="261" y="1139"/>
                  </a:lnTo>
                  <a:lnTo>
                    <a:pt x="261" y="1137"/>
                  </a:lnTo>
                  <a:lnTo>
                    <a:pt x="259" y="1137"/>
                  </a:lnTo>
                  <a:lnTo>
                    <a:pt x="259" y="1135"/>
                  </a:lnTo>
                  <a:lnTo>
                    <a:pt x="259" y="1133"/>
                  </a:lnTo>
                  <a:lnTo>
                    <a:pt x="257" y="1133"/>
                  </a:lnTo>
                  <a:lnTo>
                    <a:pt x="257" y="1131"/>
                  </a:lnTo>
                  <a:lnTo>
                    <a:pt x="255" y="1131"/>
                  </a:lnTo>
                  <a:lnTo>
                    <a:pt x="253" y="1131"/>
                  </a:lnTo>
                  <a:lnTo>
                    <a:pt x="253" y="1129"/>
                  </a:lnTo>
                  <a:lnTo>
                    <a:pt x="251" y="1129"/>
                  </a:lnTo>
                  <a:lnTo>
                    <a:pt x="250" y="1129"/>
                  </a:lnTo>
                  <a:lnTo>
                    <a:pt x="248" y="1129"/>
                  </a:lnTo>
                  <a:lnTo>
                    <a:pt x="248" y="1128"/>
                  </a:lnTo>
                  <a:lnTo>
                    <a:pt x="250" y="1128"/>
                  </a:lnTo>
                  <a:lnTo>
                    <a:pt x="251" y="1128"/>
                  </a:lnTo>
                  <a:lnTo>
                    <a:pt x="253" y="1128"/>
                  </a:lnTo>
                  <a:lnTo>
                    <a:pt x="253" y="1126"/>
                  </a:lnTo>
                  <a:lnTo>
                    <a:pt x="253" y="1128"/>
                  </a:lnTo>
                  <a:lnTo>
                    <a:pt x="253" y="1126"/>
                  </a:lnTo>
                  <a:lnTo>
                    <a:pt x="251" y="1126"/>
                  </a:lnTo>
                  <a:lnTo>
                    <a:pt x="251" y="1124"/>
                  </a:lnTo>
                  <a:lnTo>
                    <a:pt x="251" y="1126"/>
                  </a:lnTo>
                  <a:lnTo>
                    <a:pt x="251" y="1124"/>
                  </a:lnTo>
                  <a:lnTo>
                    <a:pt x="250" y="1124"/>
                  </a:lnTo>
                  <a:lnTo>
                    <a:pt x="250" y="1126"/>
                  </a:lnTo>
                  <a:lnTo>
                    <a:pt x="248" y="1126"/>
                  </a:lnTo>
                  <a:lnTo>
                    <a:pt x="250" y="1126"/>
                  </a:lnTo>
                  <a:lnTo>
                    <a:pt x="250" y="1124"/>
                  </a:lnTo>
                  <a:lnTo>
                    <a:pt x="251" y="1124"/>
                  </a:lnTo>
                  <a:lnTo>
                    <a:pt x="253" y="1124"/>
                  </a:lnTo>
                  <a:lnTo>
                    <a:pt x="255" y="1124"/>
                  </a:lnTo>
                  <a:lnTo>
                    <a:pt x="255" y="1126"/>
                  </a:lnTo>
                  <a:lnTo>
                    <a:pt x="257" y="1126"/>
                  </a:lnTo>
                  <a:lnTo>
                    <a:pt x="259" y="1126"/>
                  </a:lnTo>
                  <a:lnTo>
                    <a:pt x="261" y="1126"/>
                  </a:lnTo>
                  <a:lnTo>
                    <a:pt x="261" y="1124"/>
                  </a:lnTo>
                  <a:lnTo>
                    <a:pt x="263" y="1124"/>
                  </a:lnTo>
                  <a:lnTo>
                    <a:pt x="263" y="1122"/>
                  </a:lnTo>
                  <a:lnTo>
                    <a:pt x="263" y="1120"/>
                  </a:lnTo>
                  <a:lnTo>
                    <a:pt x="263" y="1118"/>
                  </a:lnTo>
                  <a:lnTo>
                    <a:pt x="265" y="1118"/>
                  </a:lnTo>
                  <a:lnTo>
                    <a:pt x="265" y="1116"/>
                  </a:lnTo>
                  <a:lnTo>
                    <a:pt x="267" y="1116"/>
                  </a:lnTo>
                  <a:lnTo>
                    <a:pt x="267" y="1114"/>
                  </a:lnTo>
                  <a:lnTo>
                    <a:pt x="267" y="1112"/>
                  </a:lnTo>
                  <a:lnTo>
                    <a:pt x="269" y="1110"/>
                  </a:lnTo>
                  <a:lnTo>
                    <a:pt x="271" y="1110"/>
                  </a:lnTo>
                  <a:lnTo>
                    <a:pt x="271" y="1112"/>
                  </a:lnTo>
                  <a:lnTo>
                    <a:pt x="271" y="1110"/>
                  </a:lnTo>
                  <a:lnTo>
                    <a:pt x="271" y="1108"/>
                  </a:lnTo>
                  <a:lnTo>
                    <a:pt x="273" y="1108"/>
                  </a:lnTo>
                  <a:lnTo>
                    <a:pt x="273" y="1106"/>
                  </a:lnTo>
                  <a:lnTo>
                    <a:pt x="273" y="1108"/>
                  </a:lnTo>
                  <a:lnTo>
                    <a:pt x="275" y="1108"/>
                  </a:lnTo>
                  <a:lnTo>
                    <a:pt x="275" y="1110"/>
                  </a:lnTo>
                  <a:lnTo>
                    <a:pt x="276" y="1110"/>
                  </a:lnTo>
                  <a:lnTo>
                    <a:pt x="276" y="1108"/>
                  </a:lnTo>
                  <a:lnTo>
                    <a:pt x="275" y="1108"/>
                  </a:lnTo>
                  <a:lnTo>
                    <a:pt x="275" y="1106"/>
                  </a:lnTo>
                  <a:lnTo>
                    <a:pt x="273" y="1106"/>
                  </a:lnTo>
                  <a:lnTo>
                    <a:pt x="273" y="1104"/>
                  </a:lnTo>
                  <a:lnTo>
                    <a:pt x="271" y="1104"/>
                  </a:lnTo>
                  <a:lnTo>
                    <a:pt x="271" y="1103"/>
                  </a:lnTo>
                  <a:lnTo>
                    <a:pt x="269" y="1103"/>
                  </a:lnTo>
                  <a:lnTo>
                    <a:pt x="269" y="1104"/>
                  </a:lnTo>
                  <a:lnTo>
                    <a:pt x="269" y="1103"/>
                  </a:lnTo>
                  <a:lnTo>
                    <a:pt x="267" y="1103"/>
                  </a:lnTo>
                  <a:lnTo>
                    <a:pt x="267" y="1101"/>
                  </a:lnTo>
                  <a:lnTo>
                    <a:pt x="265" y="1099"/>
                  </a:lnTo>
                  <a:lnTo>
                    <a:pt x="265" y="1097"/>
                  </a:lnTo>
                  <a:lnTo>
                    <a:pt x="267" y="1097"/>
                  </a:lnTo>
                  <a:lnTo>
                    <a:pt x="267" y="1099"/>
                  </a:lnTo>
                  <a:lnTo>
                    <a:pt x="269" y="1099"/>
                  </a:lnTo>
                  <a:lnTo>
                    <a:pt x="271" y="1097"/>
                  </a:lnTo>
                  <a:lnTo>
                    <a:pt x="273" y="1097"/>
                  </a:lnTo>
                  <a:lnTo>
                    <a:pt x="273" y="1095"/>
                  </a:lnTo>
                  <a:lnTo>
                    <a:pt x="273" y="1097"/>
                  </a:lnTo>
                  <a:lnTo>
                    <a:pt x="275" y="1097"/>
                  </a:lnTo>
                  <a:lnTo>
                    <a:pt x="276" y="1097"/>
                  </a:lnTo>
                  <a:lnTo>
                    <a:pt x="276" y="1099"/>
                  </a:lnTo>
                  <a:lnTo>
                    <a:pt x="276" y="1097"/>
                  </a:lnTo>
                  <a:lnTo>
                    <a:pt x="278" y="1097"/>
                  </a:lnTo>
                  <a:lnTo>
                    <a:pt x="276" y="1097"/>
                  </a:lnTo>
                  <a:lnTo>
                    <a:pt x="276" y="1095"/>
                  </a:lnTo>
                  <a:lnTo>
                    <a:pt x="275" y="1095"/>
                  </a:lnTo>
                  <a:lnTo>
                    <a:pt x="275" y="1093"/>
                  </a:lnTo>
                  <a:lnTo>
                    <a:pt x="276" y="1093"/>
                  </a:lnTo>
                  <a:lnTo>
                    <a:pt x="278" y="1093"/>
                  </a:lnTo>
                  <a:lnTo>
                    <a:pt x="280" y="1093"/>
                  </a:lnTo>
                  <a:lnTo>
                    <a:pt x="282" y="1091"/>
                  </a:lnTo>
                  <a:lnTo>
                    <a:pt x="284" y="1091"/>
                  </a:lnTo>
                  <a:lnTo>
                    <a:pt x="284" y="1089"/>
                  </a:lnTo>
                  <a:lnTo>
                    <a:pt x="286" y="1089"/>
                  </a:lnTo>
                  <a:lnTo>
                    <a:pt x="288" y="1089"/>
                  </a:lnTo>
                  <a:lnTo>
                    <a:pt x="286" y="1089"/>
                  </a:lnTo>
                  <a:lnTo>
                    <a:pt x="288" y="1089"/>
                  </a:lnTo>
                  <a:lnTo>
                    <a:pt x="288" y="1087"/>
                  </a:lnTo>
                  <a:lnTo>
                    <a:pt x="286" y="1087"/>
                  </a:lnTo>
                  <a:lnTo>
                    <a:pt x="286" y="1085"/>
                  </a:lnTo>
                  <a:lnTo>
                    <a:pt x="288" y="1085"/>
                  </a:lnTo>
                  <a:lnTo>
                    <a:pt x="286" y="1085"/>
                  </a:lnTo>
                  <a:lnTo>
                    <a:pt x="288" y="1085"/>
                  </a:lnTo>
                  <a:lnTo>
                    <a:pt x="286" y="1085"/>
                  </a:lnTo>
                  <a:lnTo>
                    <a:pt x="286" y="1083"/>
                  </a:lnTo>
                  <a:lnTo>
                    <a:pt x="284" y="1083"/>
                  </a:lnTo>
                  <a:lnTo>
                    <a:pt x="284" y="1085"/>
                  </a:lnTo>
                  <a:lnTo>
                    <a:pt x="284" y="1083"/>
                  </a:lnTo>
                  <a:lnTo>
                    <a:pt x="282" y="1083"/>
                  </a:lnTo>
                  <a:lnTo>
                    <a:pt x="282" y="1085"/>
                  </a:lnTo>
                  <a:lnTo>
                    <a:pt x="282" y="1087"/>
                  </a:lnTo>
                  <a:lnTo>
                    <a:pt x="280" y="1087"/>
                  </a:lnTo>
                  <a:lnTo>
                    <a:pt x="278" y="1087"/>
                  </a:lnTo>
                  <a:lnTo>
                    <a:pt x="276" y="1087"/>
                  </a:lnTo>
                  <a:lnTo>
                    <a:pt x="276" y="1085"/>
                  </a:lnTo>
                  <a:lnTo>
                    <a:pt x="276" y="1087"/>
                  </a:lnTo>
                  <a:lnTo>
                    <a:pt x="275" y="1087"/>
                  </a:lnTo>
                  <a:lnTo>
                    <a:pt x="273" y="1087"/>
                  </a:lnTo>
                  <a:lnTo>
                    <a:pt x="273" y="1085"/>
                  </a:lnTo>
                  <a:lnTo>
                    <a:pt x="275" y="1085"/>
                  </a:lnTo>
                  <a:lnTo>
                    <a:pt x="275" y="1083"/>
                  </a:lnTo>
                  <a:lnTo>
                    <a:pt x="273" y="1083"/>
                  </a:lnTo>
                  <a:lnTo>
                    <a:pt x="275" y="1083"/>
                  </a:lnTo>
                  <a:lnTo>
                    <a:pt x="273" y="1083"/>
                  </a:lnTo>
                  <a:lnTo>
                    <a:pt x="275" y="1083"/>
                  </a:lnTo>
                  <a:lnTo>
                    <a:pt x="273" y="1083"/>
                  </a:lnTo>
                  <a:lnTo>
                    <a:pt x="273" y="1081"/>
                  </a:lnTo>
                  <a:lnTo>
                    <a:pt x="273" y="1079"/>
                  </a:lnTo>
                  <a:lnTo>
                    <a:pt x="273" y="1078"/>
                  </a:lnTo>
                  <a:lnTo>
                    <a:pt x="275" y="1078"/>
                  </a:lnTo>
                  <a:lnTo>
                    <a:pt x="275" y="1076"/>
                  </a:lnTo>
                  <a:lnTo>
                    <a:pt x="278" y="1076"/>
                  </a:lnTo>
                  <a:lnTo>
                    <a:pt x="280" y="1076"/>
                  </a:lnTo>
                  <a:lnTo>
                    <a:pt x="280" y="1074"/>
                  </a:lnTo>
                  <a:lnTo>
                    <a:pt x="280" y="1072"/>
                  </a:lnTo>
                  <a:lnTo>
                    <a:pt x="282" y="1072"/>
                  </a:lnTo>
                  <a:lnTo>
                    <a:pt x="284" y="1072"/>
                  </a:lnTo>
                  <a:lnTo>
                    <a:pt x="286" y="1072"/>
                  </a:lnTo>
                  <a:lnTo>
                    <a:pt x="288" y="1072"/>
                  </a:lnTo>
                  <a:lnTo>
                    <a:pt x="290" y="1072"/>
                  </a:lnTo>
                  <a:lnTo>
                    <a:pt x="292" y="1072"/>
                  </a:lnTo>
                  <a:lnTo>
                    <a:pt x="294" y="1072"/>
                  </a:lnTo>
                  <a:lnTo>
                    <a:pt x="296" y="1072"/>
                  </a:lnTo>
                  <a:lnTo>
                    <a:pt x="296" y="1070"/>
                  </a:lnTo>
                  <a:lnTo>
                    <a:pt x="296" y="1068"/>
                  </a:lnTo>
                  <a:lnTo>
                    <a:pt x="296" y="1066"/>
                  </a:lnTo>
                  <a:lnTo>
                    <a:pt x="298" y="1064"/>
                  </a:lnTo>
                  <a:lnTo>
                    <a:pt x="298" y="1062"/>
                  </a:lnTo>
                  <a:lnTo>
                    <a:pt x="296" y="1062"/>
                  </a:lnTo>
                  <a:lnTo>
                    <a:pt x="296" y="1060"/>
                  </a:lnTo>
                  <a:lnTo>
                    <a:pt x="298" y="1060"/>
                  </a:lnTo>
                  <a:lnTo>
                    <a:pt x="296" y="1060"/>
                  </a:lnTo>
                  <a:lnTo>
                    <a:pt x="298" y="1060"/>
                  </a:lnTo>
                  <a:lnTo>
                    <a:pt x="296" y="1060"/>
                  </a:lnTo>
                  <a:lnTo>
                    <a:pt x="298" y="1060"/>
                  </a:lnTo>
                  <a:lnTo>
                    <a:pt x="298" y="1058"/>
                  </a:lnTo>
                  <a:lnTo>
                    <a:pt x="296" y="1058"/>
                  </a:lnTo>
                  <a:lnTo>
                    <a:pt x="296" y="1056"/>
                  </a:lnTo>
                  <a:lnTo>
                    <a:pt x="296" y="1058"/>
                  </a:lnTo>
                  <a:lnTo>
                    <a:pt x="296" y="1056"/>
                  </a:lnTo>
                  <a:lnTo>
                    <a:pt x="296" y="1055"/>
                  </a:lnTo>
                  <a:lnTo>
                    <a:pt x="294" y="1055"/>
                  </a:lnTo>
                  <a:lnTo>
                    <a:pt x="294" y="1056"/>
                  </a:lnTo>
                  <a:lnTo>
                    <a:pt x="294" y="1055"/>
                  </a:lnTo>
                  <a:lnTo>
                    <a:pt x="294" y="1056"/>
                  </a:lnTo>
                  <a:lnTo>
                    <a:pt x="294" y="1055"/>
                  </a:lnTo>
                  <a:lnTo>
                    <a:pt x="294" y="1053"/>
                  </a:lnTo>
                  <a:lnTo>
                    <a:pt x="294" y="1051"/>
                  </a:lnTo>
                  <a:lnTo>
                    <a:pt x="296" y="1051"/>
                  </a:lnTo>
                  <a:lnTo>
                    <a:pt x="298" y="1051"/>
                  </a:lnTo>
                  <a:lnTo>
                    <a:pt x="299" y="1049"/>
                  </a:lnTo>
                  <a:lnTo>
                    <a:pt x="298" y="1049"/>
                  </a:lnTo>
                  <a:lnTo>
                    <a:pt x="296" y="1049"/>
                  </a:lnTo>
                  <a:lnTo>
                    <a:pt x="294" y="1049"/>
                  </a:lnTo>
                  <a:lnTo>
                    <a:pt x="296" y="1049"/>
                  </a:lnTo>
                  <a:lnTo>
                    <a:pt x="296" y="1047"/>
                  </a:lnTo>
                  <a:lnTo>
                    <a:pt x="294" y="1047"/>
                  </a:lnTo>
                  <a:lnTo>
                    <a:pt x="296" y="1047"/>
                  </a:lnTo>
                  <a:lnTo>
                    <a:pt x="294" y="1047"/>
                  </a:lnTo>
                  <a:lnTo>
                    <a:pt x="294" y="1045"/>
                  </a:lnTo>
                  <a:lnTo>
                    <a:pt x="296" y="1045"/>
                  </a:lnTo>
                  <a:lnTo>
                    <a:pt x="298" y="1045"/>
                  </a:lnTo>
                  <a:lnTo>
                    <a:pt x="298" y="1043"/>
                  </a:lnTo>
                  <a:lnTo>
                    <a:pt x="299" y="1043"/>
                  </a:lnTo>
                  <a:lnTo>
                    <a:pt x="299" y="1041"/>
                  </a:lnTo>
                  <a:lnTo>
                    <a:pt x="301" y="1041"/>
                  </a:lnTo>
                  <a:lnTo>
                    <a:pt x="301" y="1039"/>
                  </a:lnTo>
                  <a:lnTo>
                    <a:pt x="299" y="1037"/>
                  </a:lnTo>
                  <a:lnTo>
                    <a:pt x="298" y="1035"/>
                  </a:lnTo>
                  <a:lnTo>
                    <a:pt x="299" y="1035"/>
                  </a:lnTo>
                  <a:lnTo>
                    <a:pt x="301" y="1033"/>
                  </a:lnTo>
                  <a:lnTo>
                    <a:pt x="299" y="1033"/>
                  </a:lnTo>
                  <a:lnTo>
                    <a:pt x="298" y="1033"/>
                  </a:lnTo>
                  <a:lnTo>
                    <a:pt x="296" y="1033"/>
                  </a:lnTo>
                  <a:lnTo>
                    <a:pt x="294" y="1033"/>
                  </a:lnTo>
                  <a:lnTo>
                    <a:pt x="292" y="1031"/>
                  </a:lnTo>
                  <a:lnTo>
                    <a:pt x="292" y="1030"/>
                  </a:lnTo>
                  <a:lnTo>
                    <a:pt x="290" y="1030"/>
                  </a:lnTo>
                  <a:lnTo>
                    <a:pt x="288" y="1030"/>
                  </a:lnTo>
                  <a:lnTo>
                    <a:pt x="286" y="1030"/>
                  </a:lnTo>
                  <a:lnTo>
                    <a:pt x="286" y="1028"/>
                  </a:lnTo>
                  <a:lnTo>
                    <a:pt x="286" y="1026"/>
                  </a:lnTo>
                  <a:lnTo>
                    <a:pt x="286" y="1028"/>
                  </a:lnTo>
                  <a:lnTo>
                    <a:pt x="284" y="1028"/>
                  </a:lnTo>
                  <a:lnTo>
                    <a:pt x="282" y="1028"/>
                  </a:lnTo>
                  <a:lnTo>
                    <a:pt x="280" y="1028"/>
                  </a:lnTo>
                  <a:lnTo>
                    <a:pt x="280" y="1026"/>
                  </a:lnTo>
                  <a:lnTo>
                    <a:pt x="278" y="1026"/>
                  </a:lnTo>
                  <a:lnTo>
                    <a:pt x="278" y="1024"/>
                  </a:lnTo>
                  <a:lnTo>
                    <a:pt x="278" y="1026"/>
                  </a:lnTo>
                  <a:lnTo>
                    <a:pt x="278" y="1024"/>
                  </a:lnTo>
                  <a:lnTo>
                    <a:pt x="276" y="1024"/>
                  </a:lnTo>
                  <a:lnTo>
                    <a:pt x="276" y="1026"/>
                  </a:lnTo>
                  <a:lnTo>
                    <a:pt x="276" y="1024"/>
                  </a:lnTo>
                  <a:lnTo>
                    <a:pt x="275" y="1024"/>
                  </a:lnTo>
                  <a:lnTo>
                    <a:pt x="275" y="1022"/>
                  </a:lnTo>
                  <a:lnTo>
                    <a:pt x="273" y="1022"/>
                  </a:lnTo>
                  <a:lnTo>
                    <a:pt x="271" y="1022"/>
                  </a:lnTo>
                  <a:lnTo>
                    <a:pt x="271" y="1024"/>
                  </a:lnTo>
                  <a:lnTo>
                    <a:pt x="273" y="1024"/>
                  </a:lnTo>
                  <a:lnTo>
                    <a:pt x="271" y="1024"/>
                  </a:lnTo>
                  <a:lnTo>
                    <a:pt x="271" y="1026"/>
                  </a:lnTo>
                  <a:lnTo>
                    <a:pt x="269" y="1026"/>
                  </a:lnTo>
                  <a:lnTo>
                    <a:pt x="269" y="1024"/>
                  </a:lnTo>
                  <a:lnTo>
                    <a:pt x="267" y="1024"/>
                  </a:lnTo>
                  <a:lnTo>
                    <a:pt x="267" y="1022"/>
                  </a:lnTo>
                  <a:lnTo>
                    <a:pt x="265" y="1022"/>
                  </a:lnTo>
                  <a:lnTo>
                    <a:pt x="265" y="1020"/>
                  </a:lnTo>
                  <a:lnTo>
                    <a:pt x="263" y="1020"/>
                  </a:lnTo>
                  <a:lnTo>
                    <a:pt x="263" y="1018"/>
                  </a:lnTo>
                  <a:lnTo>
                    <a:pt x="263" y="1016"/>
                  </a:lnTo>
                  <a:lnTo>
                    <a:pt x="261" y="1016"/>
                  </a:lnTo>
                  <a:lnTo>
                    <a:pt x="261" y="1014"/>
                  </a:lnTo>
                  <a:lnTo>
                    <a:pt x="259" y="1014"/>
                  </a:lnTo>
                  <a:lnTo>
                    <a:pt x="257" y="1014"/>
                  </a:lnTo>
                  <a:lnTo>
                    <a:pt x="257" y="1016"/>
                  </a:lnTo>
                  <a:lnTo>
                    <a:pt x="255" y="1016"/>
                  </a:lnTo>
                  <a:lnTo>
                    <a:pt x="253" y="1016"/>
                  </a:lnTo>
                  <a:lnTo>
                    <a:pt x="251" y="1016"/>
                  </a:lnTo>
                  <a:lnTo>
                    <a:pt x="251" y="1018"/>
                  </a:lnTo>
                  <a:lnTo>
                    <a:pt x="250" y="1018"/>
                  </a:lnTo>
                  <a:lnTo>
                    <a:pt x="248" y="1018"/>
                  </a:lnTo>
                  <a:lnTo>
                    <a:pt x="248" y="1016"/>
                  </a:lnTo>
                  <a:lnTo>
                    <a:pt x="246" y="1016"/>
                  </a:lnTo>
                  <a:lnTo>
                    <a:pt x="246" y="1018"/>
                  </a:lnTo>
                  <a:lnTo>
                    <a:pt x="244" y="1018"/>
                  </a:lnTo>
                  <a:lnTo>
                    <a:pt x="244" y="1016"/>
                  </a:lnTo>
                  <a:lnTo>
                    <a:pt x="242" y="1016"/>
                  </a:lnTo>
                  <a:lnTo>
                    <a:pt x="242" y="1014"/>
                  </a:lnTo>
                  <a:lnTo>
                    <a:pt x="240" y="1014"/>
                  </a:lnTo>
                  <a:lnTo>
                    <a:pt x="238" y="1014"/>
                  </a:lnTo>
                  <a:lnTo>
                    <a:pt x="236" y="1014"/>
                  </a:lnTo>
                  <a:lnTo>
                    <a:pt x="236" y="1016"/>
                  </a:lnTo>
                  <a:lnTo>
                    <a:pt x="234" y="1016"/>
                  </a:lnTo>
                  <a:lnTo>
                    <a:pt x="234" y="1014"/>
                  </a:lnTo>
                  <a:lnTo>
                    <a:pt x="232" y="1012"/>
                  </a:lnTo>
                  <a:lnTo>
                    <a:pt x="232" y="1014"/>
                  </a:lnTo>
                  <a:lnTo>
                    <a:pt x="232" y="1012"/>
                  </a:lnTo>
                  <a:lnTo>
                    <a:pt x="230" y="1012"/>
                  </a:lnTo>
                  <a:lnTo>
                    <a:pt x="230" y="1010"/>
                  </a:lnTo>
                  <a:lnTo>
                    <a:pt x="230" y="1008"/>
                  </a:lnTo>
                  <a:lnTo>
                    <a:pt x="232" y="1008"/>
                  </a:lnTo>
                  <a:lnTo>
                    <a:pt x="232" y="1006"/>
                  </a:lnTo>
                  <a:lnTo>
                    <a:pt x="230" y="1006"/>
                  </a:lnTo>
                  <a:lnTo>
                    <a:pt x="230" y="1005"/>
                  </a:lnTo>
                  <a:lnTo>
                    <a:pt x="230" y="1003"/>
                  </a:lnTo>
                  <a:lnTo>
                    <a:pt x="230" y="1001"/>
                  </a:lnTo>
                  <a:lnTo>
                    <a:pt x="230" y="999"/>
                  </a:lnTo>
                  <a:lnTo>
                    <a:pt x="228" y="999"/>
                  </a:lnTo>
                  <a:lnTo>
                    <a:pt x="227" y="999"/>
                  </a:lnTo>
                  <a:lnTo>
                    <a:pt x="227" y="997"/>
                  </a:lnTo>
                  <a:lnTo>
                    <a:pt x="227" y="995"/>
                  </a:lnTo>
                  <a:lnTo>
                    <a:pt x="225" y="997"/>
                  </a:lnTo>
                  <a:lnTo>
                    <a:pt x="225" y="995"/>
                  </a:lnTo>
                  <a:lnTo>
                    <a:pt x="225" y="997"/>
                  </a:lnTo>
                  <a:lnTo>
                    <a:pt x="223" y="997"/>
                  </a:lnTo>
                  <a:lnTo>
                    <a:pt x="221" y="997"/>
                  </a:lnTo>
                  <a:lnTo>
                    <a:pt x="221" y="995"/>
                  </a:lnTo>
                  <a:lnTo>
                    <a:pt x="219" y="995"/>
                  </a:lnTo>
                  <a:lnTo>
                    <a:pt x="217" y="995"/>
                  </a:lnTo>
                  <a:lnTo>
                    <a:pt x="215" y="995"/>
                  </a:lnTo>
                  <a:lnTo>
                    <a:pt x="213" y="995"/>
                  </a:lnTo>
                  <a:lnTo>
                    <a:pt x="213" y="993"/>
                  </a:lnTo>
                  <a:lnTo>
                    <a:pt x="215" y="993"/>
                  </a:lnTo>
                  <a:lnTo>
                    <a:pt x="215" y="991"/>
                  </a:lnTo>
                  <a:lnTo>
                    <a:pt x="213" y="991"/>
                  </a:lnTo>
                  <a:lnTo>
                    <a:pt x="213" y="989"/>
                  </a:lnTo>
                  <a:lnTo>
                    <a:pt x="215" y="989"/>
                  </a:lnTo>
                  <a:lnTo>
                    <a:pt x="213" y="989"/>
                  </a:lnTo>
                  <a:lnTo>
                    <a:pt x="213" y="987"/>
                  </a:lnTo>
                  <a:lnTo>
                    <a:pt x="213" y="985"/>
                  </a:lnTo>
                  <a:lnTo>
                    <a:pt x="211" y="985"/>
                  </a:lnTo>
                  <a:lnTo>
                    <a:pt x="213" y="985"/>
                  </a:lnTo>
                  <a:lnTo>
                    <a:pt x="213" y="983"/>
                  </a:lnTo>
                  <a:lnTo>
                    <a:pt x="213" y="985"/>
                  </a:lnTo>
                  <a:lnTo>
                    <a:pt x="213" y="983"/>
                  </a:lnTo>
                  <a:lnTo>
                    <a:pt x="215" y="983"/>
                  </a:lnTo>
                  <a:lnTo>
                    <a:pt x="217" y="983"/>
                  </a:lnTo>
                  <a:lnTo>
                    <a:pt x="217" y="982"/>
                  </a:lnTo>
                  <a:lnTo>
                    <a:pt x="215" y="982"/>
                  </a:lnTo>
                  <a:lnTo>
                    <a:pt x="215" y="980"/>
                  </a:lnTo>
                  <a:lnTo>
                    <a:pt x="213" y="980"/>
                  </a:lnTo>
                  <a:lnTo>
                    <a:pt x="213" y="978"/>
                  </a:lnTo>
                  <a:lnTo>
                    <a:pt x="211" y="978"/>
                  </a:lnTo>
                  <a:lnTo>
                    <a:pt x="213" y="978"/>
                  </a:lnTo>
                  <a:lnTo>
                    <a:pt x="211" y="978"/>
                  </a:lnTo>
                  <a:lnTo>
                    <a:pt x="211" y="976"/>
                  </a:lnTo>
                  <a:lnTo>
                    <a:pt x="211" y="974"/>
                  </a:lnTo>
                  <a:lnTo>
                    <a:pt x="211" y="972"/>
                  </a:lnTo>
                  <a:lnTo>
                    <a:pt x="209" y="972"/>
                  </a:lnTo>
                  <a:lnTo>
                    <a:pt x="211" y="972"/>
                  </a:lnTo>
                  <a:lnTo>
                    <a:pt x="209" y="972"/>
                  </a:lnTo>
                  <a:lnTo>
                    <a:pt x="209" y="970"/>
                  </a:lnTo>
                  <a:lnTo>
                    <a:pt x="207" y="970"/>
                  </a:lnTo>
                  <a:lnTo>
                    <a:pt x="207" y="968"/>
                  </a:lnTo>
                  <a:lnTo>
                    <a:pt x="205" y="968"/>
                  </a:lnTo>
                  <a:lnTo>
                    <a:pt x="205" y="970"/>
                  </a:lnTo>
                  <a:lnTo>
                    <a:pt x="204" y="970"/>
                  </a:lnTo>
                  <a:lnTo>
                    <a:pt x="204" y="968"/>
                  </a:lnTo>
                  <a:lnTo>
                    <a:pt x="202" y="968"/>
                  </a:lnTo>
                  <a:lnTo>
                    <a:pt x="202" y="970"/>
                  </a:lnTo>
                  <a:lnTo>
                    <a:pt x="202" y="968"/>
                  </a:lnTo>
                  <a:lnTo>
                    <a:pt x="200" y="968"/>
                  </a:lnTo>
                  <a:lnTo>
                    <a:pt x="198" y="968"/>
                  </a:lnTo>
                  <a:lnTo>
                    <a:pt x="198" y="970"/>
                  </a:lnTo>
                  <a:lnTo>
                    <a:pt x="196" y="970"/>
                  </a:lnTo>
                  <a:lnTo>
                    <a:pt x="194" y="972"/>
                  </a:lnTo>
                  <a:lnTo>
                    <a:pt x="194" y="970"/>
                  </a:lnTo>
                  <a:lnTo>
                    <a:pt x="192" y="972"/>
                  </a:lnTo>
                  <a:lnTo>
                    <a:pt x="192" y="970"/>
                  </a:lnTo>
                  <a:lnTo>
                    <a:pt x="192" y="972"/>
                  </a:lnTo>
                  <a:lnTo>
                    <a:pt x="192" y="970"/>
                  </a:lnTo>
                  <a:lnTo>
                    <a:pt x="192" y="972"/>
                  </a:lnTo>
                  <a:lnTo>
                    <a:pt x="190" y="972"/>
                  </a:lnTo>
                  <a:lnTo>
                    <a:pt x="190" y="970"/>
                  </a:lnTo>
                  <a:lnTo>
                    <a:pt x="188" y="970"/>
                  </a:lnTo>
                  <a:lnTo>
                    <a:pt x="186" y="970"/>
                  </a:lnTo>
                  <a:lnTo>
                    <a:pt x="186" y="972"/>
                  </a:lnTo>
                  <a:lnTo>
                    <a:pt x="186" y="974"/>
                  </a:lnTo>
                  <a:lnTo>
                    <a:pt x="184" y="974"/>
                  </a:lnTo>
                  <a:lnTo>
                    <a:pt x="186" y="974"/>
                  </a:lnTo>
                  <a:lnTo>
                    <a:pt x="184" y="974"/>
                  </a:lnTo>
                  <a:lnTo>
                    <a:pt x="184" y="976"/>
                  </a:lnTo>
                  <a:lnTo>
                    <a:pt x="182" y="976"/>
                  </a:lnTo>
                  <a:lnTo>
                    <a:pt x="180" y="976"/>
                  </a:lnTo>
                  <a:lnTo>
                    <a:pt x="179" y="976"/>
                  </a:lnTo>
                  <a:lnTo>
                    <a:pt x="179" y="974"/>
                  </a:lnTo>
                  <a:lnTo>
                    <a:pt x="179" y="976"/>
                  </a:lnTo>
                  <a:lnTo>
                    <a:pt x="179" y="974"/>
                  </a:lnTo>
                  <a:lnTo>
                    <a:pt x="179" y="972"/>
                  </a:lnTo>
                  <a:lnTo>
                    <a:pt x="177" y="972"/>
                  </a:lnTo>
                  <a:lnTo>
                    <a:pt x="177" y="970"/>
                  </a:lnTo>
                  <a:lnTo>
                    <a:pt x="175" y="970"/>
                  </a:lnTo>
                  <a:lnTo>
                    <a:pt x="175" y="968"/>
                  </a:lnTo>
                  <a:lnTo>
                    <a:pt x="175" y="966"/>
                  </a:lnTo>
                  <a:lnTo>
                    <a:pt x="175" y="964"/>
                  </a:lnTo>
                  <a:lnTo>
                    <a:pt x="177" y="964"/>
                  </a:lnTo>
                  <a:lnTo>
                    <a:pt x="175" y="964"/>
                  </a:lnTo>
                  <a:lnTo>
                    <a:pt x="175" y="962"/>
                  </a:lnTo>
                  <a:lnTo>
                    <a:pt x="175" y="960"/>
                  </a:lnTo>
                  <a:lnTo>
                    <a:pt x="173" y="960"/>
                  </a:lnTo>
                  <a:lnTo>
                    <a:pt x="175" y="960"/>
                  </a:lnTo>
                  <a:lnTo>
                    <a:pt x="175" y="958"/>
                  </a:lnTo>
                  <a:lnTo>
                    <a:pt x="175" y="957"/>
                  </a:lnTo>
                  <a:lnTo>
                    <a:pt x="173" y="957"/>
                  </a:lnTo>
                  <a:lnTo>
                    <a:pt x="173" y="955"/>
                  </a:lnTo>
                  <a:lnTo>
                    <a:pt x="171" y="955"/>
                  </a:lnTo>
                  <a:lnTo>
                    <a:pt x="173" y="955"/>
                  </a:lnTo>
                  <a:lnTo>
                    <a:pt x="171" y="955"/>
                  </a:lnTo>
                  <a:lnTo>
                    <a:pt x="171" y="953"/>
                  </a:lnTo>
                  <a:lnTo>
                    <a:pt x="169" y="953"/>
                  </a:lnTo>
                  <a:lnTo>
                    <a:pt x="171" y="953"/>
                  </a:lnTo>
                  <a:lnTo>
                    <a:pt x="171" y="951"/>
                  </a:lnTo>
                  <a:lnTo>
                    <a:pt x="173" y="951"/>
                  </a:lnTo>
                  <a:lnTo>
                    <a:pt x="171" y="951"/>
                  </a:lnTo>
                  <a:lnTo>
                    <a:pt x="171" y="949"/>
                  </a:lnTo>
                  <a:lnTo>
                    <a:pt x="173" y="949"/>
                  </a:lnTo>
                  <a:lnTo>
                    <a:pt x="175" y="949"/>
                  </a:lnTo>
                  <a:lnTo>
                    <a:pt x="175" y="947"/>
                  </a:lnTo>
                  <a:lnTo>
                    <a:pt x="177" y="947"/>
                  </a:lnTo>
                  <a:lnTo>
                    <a:pt x="177" y="949"/>
                  </a:lnTo>
                  <a:lnTo>
                    <a:pt x="179" y="949"/>
                  </a:lnTo>
                  <a:lnTo>
                    <a:pt x="179" y="951"/>
                  </a:lnTo>
                  <a:lnTo>
                    <a:pt x="180" y="951"/>
                  </a:lnTo>
                  <a:lnTo>
                    <a:pt x="182" y="951"/>
                  </a:lnTo>
                  <a:lnTo>
                    <a:pt x="184" y="951"/>
                  </a:lnTo>
                  <a:lnTo>
                    <a:pt x="186" y="951"/>
                  </a:lnTo>
                  <a:lnTo>
                    <a:pt x="186" y="949"/>
                  </a:lnTo>
                  <a:lnTo>
                    <a:pt x="188" y="949"/>
                  </a:lnTo>
                  <a:lnTo>
                    <a:pt x="188" y="947"/>
                  </a:lnTo>
                  <a:lnTo>
                    <a:pt x="188" y="945"/>
                  </a:lnTo>
                  <a:lnTo>
                    <a:pt x="188" y="947"/>
                  </a:lnTo>
                  <a:lnTo>
                    <a:pt x="188" y="945"/>
                  </a:lnTo>
                  <a:lnTo>
                    <a:pt x="190" y="945"/>
                  </a:lnTo>
                  <a:lnTo>
                    <a:pt x="190" y="947"/>
                  </a:lnTo>
                  <a:lnTo>
                    <a:pt x="190" y="945"/>
                  </a:lnTo>
                  <a:lnTo>
                    <a:pt x="190" y="947"/>
                  </a:lnTo>
                  <a:lnTo>
                    <a:pt x="190" y="945"/>
                  </a:lnTo>
                  <a:lnTo>
                    <a:pt x="192" y="945"/>
                  </a:lnTo>
                  <a:lnTo>
                    <a:pt x="190" y="945"/>
                  </a:lnTo>
                  <a:lnTo>
                    <a:pt x="192" y="945"/>
                  </a:lnTo>
                  <a:lnTo>
                    <a:pt x="192" y="943"/>
                  </a:lnTo>
                  <a:lnTo>
                    <a:pt x="192" y="941"/>
                  </a:lnTo>
                  <a:lnTo>
                    <a:pt x="190" y="941"/>
                  </a:lnTo>
                  <a:lnTo>
                    <a:pt x="188" y="941"/>
                  </a:lnTo>
                  <a:lnTo>
                    <a:pt x="188" y="939"/>
                  </a:lnTo>
                  <a:lnTo>
                    <a:pt x="188" y="937"/>
                  </a:lnTo>
                  <a:lnTo>
                    <a:pt x="186" y="937"/>
                  </a:lnTo>
                  <a:lnTo>
                    <a:pt x="188" y="937"/>
                  </a:lnTo>
                  <a:lnTo>
                    <a:pt x="188" y="935"/>
                  </a:lnTo>
                  <a:lnTo>
                    <a:pt x="186" y="935"/>
                  </a:lnTo>
                  <a:lnTo>
                    <a:pt x="184" y="935"/>
                  </a:lnTo>
                  <a:lnTo>
                    <a:pt x="184" y="933"/>
                  </a:lnTo>
                  <a:lnTo>
                    <a:pt x="182" y="933"/>
                  </a:lnTo>
                  <a:lnTo>
                    <a:pt x="180" y="933"/>
                  </a:lnTo>
                  <a:lnTo>
                    <a:pt x="179" y="933"/>
                  </a:lnTo>
                  <a:lnTo>
                    <a:pt x="177" y="933"/>
                  </a:lnTo>
                  <a:lnTo>
                    <a:pt x="179" y="933"/>
                  </a:lnTo>
                  <a:lnTo>
                    <a:pt x="177" y="933"/>
                  </a:lnTo>
                  <a:lnTo>
                    <a:pt x="179" y="933"/>
                  </a:lnTo>
                  <a:lnTo>
                    <a:pt x="177" y="933"/>
                  </a:lnTo>
                  <a:lnTo>
                    <a:pt x="179" y="933"/>
                  </a:lnTo>
                  <a:lnTo>
                    <a:pt x="179" y="932"/>
                  </a:lnTo>
                  <a:lnTo>
                    <a:pt x="179" y="933"/>
                  </a:lnTo>
                  <a:lnTo>
                    <a:pt x="179" y="932"/>
                  </a:lnTo>
                  <a:lnTo>
                    <a:pt x="179" y="930"/>
                  </a:lnTo>
                  <a:lnTo>
                    <a:pt x="179" y="928"/>
                  </a:lnTo>
                  <a:lnTo>
                    <a:pt x="179" y="926"/>
                  </a:lnTo>
                  <a:lnTo>
                    <a:pt x="177" y="926"/>
                  </a:lnTo>
                  <a:lnTo>
                    <a:pt x="179" y="926"/>
                  </a:lnTo>
                  <a:lnTo>
                    <a:pt x="177" y="926"/>
                  </a:lnTo>
                  <a:lnTo>
                    <a:pt x="175" y="926"/>
                  </a:lnTo>
                  <a:lnTo>
                    <a:pt x="175" y="924"/>
                  </a:lnTo>
                  <a:lnTo>
                    <a:pt x="175" y="926"/>
                  </a:lnTo>
                  <a:lnTo>
                    <a:pt x="175" y="924"/>
                  </a:lnTo>
                  <a:lnTo>
                    <a:pt x="173" y="924"/>
                  </a:lnTo>
                  <a:lnTo>
                    <a:pt x="173" y="922"/>
                  </a:lnTo>
                  <a:lnTo>
                    <a:pt x="171" y="922"/>
                  </a:lnTo>
                  <a:lnTo>
                    <a:pt x="171" y="920"/>
                  </a:lnTo>
                  <a:lnTo>
                    <a:pt x="171" y="918"/>
                  </a:lnTo>
                  <a:lnTo>
                    <a:pt x="169" y="918"/>
                  </a:lnTo>
                  <a:lnTo>
                    <a:pt x="169" y="916"/>
                  </a:lnTo>
                  <a:lnTo>
                    <a:pt x="167" y="916"/>
                  </a:lnTo>
                  <a:lnTo>
                    <a:pt x="167" y="914"/>
                  </a:lnTo>
                  <a:lnTo>
                    <a:pt x="167" y="916"/>
                  </a:lnTo>
                  <a:lnTo>
                    <a:pt x="167" y="914"/>
                  </a:lnTo>
                  <a:lnTo>
                    <a:pt x="167" y="916"/>
                  </a:lnTo>
                  <a:lnTo>
                    <a:pt x="167" y="914"/>
                  </a:lnTo>
                  <a:lnTo>
                    <a:pt x="169" y="914"/>
                  </a:lnTo>
                  <a:lnTo>
                    <a:pt x="169" y="912"/>
                  </a:lnTo>
                  <a:lnTo>
                    <a:pt x="167" y="912"/>
                  </a:lnTo>
                  <a:lnTo>
                    <a:pt x="167" y="910"/>
                  </a:lnTo>
                  <a:lnTo>
                    <a:pt x="165" y="910"/>
                  </a:lnTo>
                  <a:lnTo>
                    <a:pt x="165" y="909"/>
                  </a:lnTo>
                  <a:lnTo>
                    <a:pt x="163" y="909"/>
                  </a:lnTo>
                  <a:lnTo>
                    <a:pt x="163" y="907"/>
                  </a:lnTo>
                  <a:lnTo>
                    <a:pt x="163" y="905"/>
                  </a:lnTo>
                  <a:lnTo>
                    <a:pt x="165" y="905"/>
                  </a:lnTo>
                  <a:lnTo>
                    <a:pt x="165" y="903"/>
                  </a:lnTo>
                  <a:lnTo>
                    <a:pt x="167" y="903"/>
                  </a:lnTo>
                  <a:lnTo>
                    <a:pt x="167" y="901"/>
                  </a:lnTo>
                  <a:lnTo>
                    <a:pt x="167" y="899"/>
                  </a:lnTo>
                  <a:lnTo>
                    <a:pt x="167" y="901"/>
                  </a:lnTo>
                  <a:lnTo>
                    <a:pt x="167" y="899"/>
                  </a:lnTo>
                  <a:lnTo>
                    <a:pt x="165" y="899"/>
                  </a:lnTo>
                  <a:lnTo>
                    <a:pt x="167" y="899"/>
                  </a:lnTo>
                  <a:lnTo>
                    <a:pt x="165" y="899"/>
                  </a:lnTo>
                  <a:lnTo>
                    <a:pt x="165" y="897"/>
                  </a:lnTo>
                  <a:lnTo>
                    <a:pt x="163" y="897"/>
                  </a:lnTo>
                  <a:lnTo>
                    <a:pt x="163" y="895"/>
                  </a:lnTo>
                  <a:lnTo>
                    <a:pt x="165" y="895"/>
                  </a:lnTo>
                  <a:lnTo>
                    <a:pt x="165" y="893"/>
                  </a:lnTo>
                  <a:lnTo>
                    <a:pt x="165" y="891"/>
                  </a:lnTo>
                  <a:lnTo>
                    <a:pt x="165" y="889"/>
                  </a:lnTo>
                  <a:lnTo>
                    <a:pt x="165" y="891"/>
                  </a:lnTo>
                  <a:lnTo>
                    <a:pt x="165" y="889"/>
                  </a:lnTo>
                  <a:lnTo>
                    <a:pt x="165" y="887"/>
                  </a:lnTo>
                  <a:lnTo>
                    <a:pt x="163" y="887"/>
                  </a:lnTo>
                  <a:lnTo>
                    <a:pt x="165" y="887"/>
                  </a:lnTo>
                  <a:lnTo>
                    <a:pt x="163" y="887"/>
                  </a:lnTo>
                  <a:lnTo>
                    <a:pt x="163" y="885"/>
                  </a:lnTo>
                  <a:lnTo>
                    <a:pt x="161" y="885"/>
                  </a:lnTo>
                  <a:lnTo>
                    <a:pt x="163" y="885"/>
                  </a:lnTo>
                  <a:lnTo>
                    <a:pt x="161" y="887"/>
                  </a:lnTo>
                  <a:lnTo>
                    <a:pt x="163" y="887"/>
                  </a:lnTo>
                  <a:lnTo>
                    <a:pt x="161" y="887"/>
                  </a:lnTo>
                  <a:lnTo>
                    <a:pt x="161" y="885"/>
                  </a:lnTo>
                  <a:lnTo>
                    <a:pt x="161" y="884"/>
                  </a:lnTo>
                  <a:lnTo>
                    <a:pt x="159" y="884"/>
                  </a:lnTo>
                  <a:lnTo>
                    <a:pt x="159" y="882"/>
                  </a:lnTo>
                  <a:lnTo>
                    <a:pt x="157" y="882"/>
                  </a:lnTo>
                  <a:lnTo>
                    <a:pt x="156" y="882"/>
                  </a:lnTo>
                  <a:lnTo>
                    <a:pt x="154" y="882"/>
                  </a:lnTo>
                  <a:lnTo>
                    <a:pt x="152" y="882"/>
                  </a:lnTo>
                  <a:lnTo>
                    <a:pt x="150" y="882"/>
                  </a:lnTo>
                  <a:lnTo>
                    <a:pt x="150" y="884"/>
                  </a:lnTo>
                  <a:lnTo>
                    <a:pt x="148" y="884"/>
                  </a:lnTo>
                  <a:lnTo>
                    <a:pt x="146" y="884"/>
                  </a:lnTo>
                  <a:lnTo>
                    <a:pt x="146" y="885"/>
                  </a:lnTo>
                  <a:lnTo>
                    <a:pt x="144" y="885"/>
                  </a:lnTo>
                  <a:lnTo>
                    <a:pt x="144" y="884"/>
                  </a:lnTo>
                  <a:lnTo>
                    <a:pt x="142" y="884"/>
                  </a:lnTo>
                  <a:lnTo>
                    <a:pt x="142" y="882"/>
                  </a:lnTo>
                  <a:lnTo>
                    <a:pt x="144" y="882"/>
                  </a:lnTo>
                  <a:lnTo>
                    <a:pt x="144" y="880"/>
                  </a:lnTo>
                  <a:lnTo>
                    <a:pt x="142" y="880"/>
                  </a:lnTo>
                  <a:lnTo>
                    <a:pt x="144" y="880"/>
                  </a:lnTo>
                  <a:lnTo>
                    <a:pt x="144" y="878"/>
                  </a:lnTo>
                  <a:lnTo>
                    <a:pt x="142" y="878"/>
                  </a:lnTo>
                  <a:lnTo>
                    <a:pt x="140" y="878"/>
                  </a:lnTo>
                  <a:lnTo>
                    <a:pt x="138" y="878"/>
                  </a:lnTo>
                  <a:lnTo>
                    <a:pt x="138" y="876"/>
                  </a:lnTo>
                  <a:lnTo>
                    <a:pt x="138" y="878"/>
                  </a:lnTo>
                  <a:lnTo>
                    <a:pt x="136" y="878"/>
                  </a:lnTo>
                  <a:lnTo>
                    <a:pt x="134" y="878"/>
                  </a:lnTo>
                  <a:lnTo>
                    <a:pt x="134" y="880"/>
                  </a:lnTo>
                  <a:lnTo>
                    <a:pt x="134" y="878"/>
                  </a:lnTo>
                  <a:lnTo>
                    <a:pt x="132" y="878"/>
                  </a:lnTo>
                  <a:lnTo>
                    <a:pt x="132" y="876"/>
                  </a:lnTo>
                  <a:lnTo>
                    <a:pt x="132" y="874"/>
                  </a:lnTo>
                  <a:lnTo>
                    <a:pt x="132" y="876"/>
                  </a:lnTo>
                  <a:lnTo>
                    <a:pt x="132" y="874"/>
                  </a:lnTo>
                  <a:lnTo>
                    <a:pt x="132" y="876"/>
                  </a:lnTo>
                  <a:lnTo>
                    <a:pt x="131" y="876"/>
                  </a:lnTo>
                  <a:lnTo>
                    <a:pt x="131" y="874"/>
                  </a:lnTo>
                  <a:lnTo>
                    <a:pt x="129" y="874"/>
                  </a:lnTo>
                  <a:lnTo>
                    <a:pt x="129" y="876"/>
                  </a:lnTo>
                  <a:lnTo>
                    <a:pt x="129" y="874"/>
                  </a:lnTo>
                  <a:lnTo>
                    <a:pt x="129" y="876"/>
                  </a:lnTo>
                  <a:lnTo>
                    <a:pt x="129" y="874"/>
                  </a:lnTo>
                  <a:lnTo>
                    <a:pt x="129" y="876"/>
                  </a:lnTo>
                  <a:lnTo>
                    <a:pt x="127" y="876"/>
                  </a:lnTo>
                  <a:lnTo>
                    <a:pt x="127" y="874"/>
                  </a:lnTo>
                  <a:lnTo>
                    <a:pt x="125" y="874"/>
                  </a:lnTo>
                  <a:lnTo>
                    <a:pt x="125" y="872"/>
                  </a:lnTo>
                  <a:lnTo>
                    <a:pt x="125" y="870"/>
                  </a:lnTo>
                  <a:lnTo>
                    <a:pt x="127" y="870"/>
                  </a:lnTo>
                  <a:lnTo>
                    <a:pt x="125" y="870"/>
                  </a:lnTo>
                  <a:lnTo>
                    <a:pt x="125" y="868"/>
                  </a:lnTo>
                  <a:lnTo>
                    <a:pt x="125" y="866"/>
                  </a:lnTo>
                  <a:lnTo>
                    <a:pt x="125" y="864"/>
                  </a:lnTo>
                  <a:lnTo>
                    <a:pt x="123" y="864"/>
                  </a:lnTo>
                  <a:lnTo>
                    <a:pt x="125" y="864"/>
                  </a:lnTo>
                  <a:lnTo>
                    <a:pt x="125" y="862"/>
                  </a:lnTo>
                  <a:lnTo>
                    <a:pt x="123" y="862"/>
                  </a:lnTo>
                  <a:lnTo>
                    <a:pt x="123" y="861"/>
                  </a:lnTo>
                  <a:lnTo>
                    <a:pt x="123" y="859"/>
                  </a:lnTo>
                  <a:lnTo>
                    <a:pt x="121" y="859"/>
                  </a:lnTo>
                  <a:lnTo>
                    <a:pt x="121" y="857"/>
                  </a:lnTo>
                  <a:lnTo>
                    <a:pt x="123" y="857"/>
                  </a:lnTo>
                  <a:lnTo>
                    <a:pt x="123" y="855"/>
                  </a:lnTo>
                  <a:lnTo>
                    <a:pt x="121" y="855"/>
                  </a:lnTo>
                  <a:lnTo>
                    <a:pt x="121" y="857"/>
                  </a:lnTo>
                  <a:lnTo>
                    <a:pt x="121" y="855"/>
                  </a:lnTo>
                  <a:lnTo>
                    <a:pt x="119" y="855"/>
                  </a:lnTo>
                  <a:lnTo>
                    <a:pt x="117" y="855"/>
                  </a:lnTo>
                  <a:lnTo>
                    <a:pt x="117" y="853"/>
                  </a:lnTo>
                  <a:lnTo>
                    <a:pt x="119" y="853"/>
                  </a:lnTo>
                  <a:lnTo>
                    <a:pt x="119" y="851"/>
                  </a:lnTo>
                  <a:lnTo>
                    <a:pt x="119" y="849"/>
                  </a:lnTo>
                  <a:lnTo>
                    <a:pt x="119" y="847"/>
                  </a:lnTo>
                  <a:lnTo>
                    <a:pt x="121" y="847"/>
                  </a:lnTo>
                  <a:lnTo>
                    <a:pt x="119" y="845"/>
                  </a:lnTo>
                  <a:lnTo>
                    <a:pt x="121" y="845"/>
                  </a:lnTo>
                  <a:lnTo>
                    <a:pt x="121" y="843"/>
                  </a:lnTo>
                  <a:lnTo>
                    <a:pt x="119" y="843"/>
                  </a:lnTo>
                  <a:lnTo>
                    <a:pt x="119" y="841"/>
                  </a:lnTo>
                  <a:lnTo>
                    <a:pt x="117" y="841"/>
                  </a:lnTo>
                  <a:lnTo>
                    <a:pt x="117" y="839"/>
                  </a:lnTo>
                  <a:lnTo>
                    <a:pt x="115" y="839"/>
                  </a:lnTo>
                  <a:lnTo>
                    <a:pt x="115" y="837"/>
                  </a:lnTo>
                  <a:lnTo>
                    <a:pt x="115" y="836"/>
                  </a:lnTo>
                  <a:lnTo>
                    <a:pt x="115" y="837"/>
                  </a:lnTo>
                  <a:lnTo>
                    <a:pt x="113" y="837"/>
                  </a:lnTo>
                  <a:lnTo>
                    <a:pt x="113" y="836"/>
                  </a:lnTo>
                  <a:lnTo>
                    <a:pt x="113" y="834"/>
                  </a:lnTo>
                  <a:lnTo>
                    <a:pt x="113" y="832"/>
                  </a:lnTo>
                  <a:lnTo>
                    <a:pt x="115" y="832"/>
                  </a:lnTo>
                  <a:lnTo>
                    <a:pt x="115" y="830"/>
                  </a:lnTo>
                  <a:lnTo>
                    <a:pt x="115" y="828"/>
                  </a:lnTo>
                  <a:lnTo>
                    <a:pt x="117" y="828"/>
                  </a:lnTo>
                  <a:lnTo>
                    <a:pt x="119" y="828"/>
                  </a:lnTo>
                  <a:lnTo>
                    <a:pt x="119" y="826"/>
                  </a:lnTo>
                  <a:lnTo>
                    <a:pt x="117" y="826"/>
                  </a:lnTo>
                  <a:lnTo>
                    <a:pt x="119" y="826"/>
                  </a:lnTo>
                  <a:lnTo>
                    <a:pt x="117" y="826"/>
                  </a:lnTo>
                  <a:lnTo>
                    <a:pt x="117" y="824"/>
                  </a:lnTo>
                  <a:lnTo>
                    <a:pt x="117" y="822"/>
                  </a:lnTo>
                  <a:lnTo>
                    <a:pt x="119" y="822"/>
                  </a:lnTo>
                  <a:lnTo>
                    <a:pt x="119" y="824"/>
                  </a:lnTo>
                  <a:lnTo>
                    <a:pt x="121" y="824"/>
                  </a:lnTo>
                  <a:lnTo>
                    <a:pt x="121" y="826"/>
                  </a:lnTo>
                  <a:lnTo>
                    <a:pt x="121" y="828"/>
                  </a:lnTo>
                  <a:lnTo>
                    <a:pt x="123" y="828"/>
                  </a:lnTo>
                  <a:lnTo>
                    <a:pt x="125" y="828"/>
                  </a:lnTo>
                  <a:lnTo>
                    <a:pt x="125" y="826"/>
                  </a:lnTo>
                  <a:lnTo>
                    <a:pt x="125" y="824"/>
                  </a:lnTo>
                  <a:lnTo>
                    <a:pt x="125" y="822"/>
                  </a:lnTo>
                  <a:lnTo>
                    <a:pt x="123" y="822"/>
                  </a:lnTo>
                  <a:lnTo>
                    <a:pt x="125" y="822"/>
                  </a:lnTo>
                  <a:lnTo>
                    <a:pt x="123" y="822"/>
                  </a:lnTo>
                  <a:lnTo>
                    <a:pt x="123" y="820"/>
                  </a:lnTo>
                  <a:lnTo>
                    <a:pt x="121" y="820"/>
                  </a:lnTo>
                  <a:lnTo>
                    <a:pt x="119" y="820"/>
                  </a:lnTo>
                  <a:lnTo>
                    <a:pt x="119" y="818"/>
                  </a:lnTo>
                  <a:lnTo>
                    <a:pt x="119" y="820"/>
                  </a:lnTo>
                  <a:lnTo>
                    <a:pt x="117" y="820"/>
                  </a:lnTo>
                  <a:lnTo>
                    <a:pt x="117" y="818"/>
                  </a:lnTo>
                  <a:lnTo>
                    <a:pt x="115" y="818"/>
                  </a:lnTo>
                  <a:lnTo>
                    <a:pt x="115" y="816"/>
                  </a:lnTo>
                  <a:lnTo>
                    <a:pt x="115" y="814"/>
                  </a:lnTo>
                  <a:lnTo>
                    <a:pt x="117" y="814"/>
                  </a:lnTo>
                  <a:lnTo>
                    <a:pt x="117" y="816"/>
                  </a:lnTo>
                  <a:lnTo>
                    <a:pt x="117" y="814"/>
                  </a:lnTo>
                  <a:lnTo>
                    <a:pt x="117" y="816"/>
                  </a:lnTo>
                  <a:lnTo>
                    <a:pt x="117" y="814"/>
                  </a:lnTo>
                  <a:lnTo>
                    <a:pt x="117" y="812"/>
                  </a:lnTo>
                  <a:lnTo>
                    <a:pt x="119" y="812"/>
                  </a:lnTo>
                  <a:lnTo>
                    <a:pt x="119" y="811"/>
                  </a:lnTo>
                  <a:lnTo>
                    <a:pt x="119" y="812"/>
                  </a:lnTo>
                  <a:lnTo>
                    <a:pt x="119" y="811"/>
                  </a:lnTo>
                  <a:lnTo>
                    <a:pt x="121" y="811"/>
                  </a:lnTo>
                  <a:lnTo>
                    <a:pt x="119" y="811"/>
                  </a:lnTo>
                  <a:lnTo>
                    <a:pt x="121" y="811"/>
                  </a:lnTo>
                  <a:lnTo>
                    <a:pt x="119" y="811"/>
                  </a:lnTo>
                  <a:lnTo>
                    <a:pt x="121" y="811"/>
                  </a:lnTo>
                  <a:lnTo>
                    <a:pt x="121" y="809"/>
                  </a:lnTo>
                  <a:lnTo>
                    <a:pt x="119" y="809"/>
                  </a:lnTo>
                  <a:lnTo>
                    <a:pt x="119" y="807"/>
                  </a:lnTo>
                  <a:lnTo>
                    <a:pt x="119" y="805"/>
                  </a:lnTo>
                  <a:lnTo>
                    <a:pt x="119" y="803"/>
                  </a:lnTo>
                  <a:lnTo>
                    <a:pt x="119" y="801"/>
                  </a:lnTo>
                  <a:lnTo>
                    <a:pt x="119" y="799"/>
                  </a:lnTo>
                  <a:lnTo>
                    <a:pt x="119" y="797"/>
                  </a:lnTo>
                  <a:lnTo>
                    <a:pt x="119" y="795"/>
                  </a:lnTo>
                  <a:lnTo>
                    <a:pt x="119" y="793"/>
                  </a:lnTo>
                  <a:lnTo>
                    <a:pt x="119" y="791"/>
                  </a:lnTo>
                  <a:lnTo>
                    <a:pt x="121" y="791"/>
                  </a:lnTo>
                  <a:lnTo>
                    <a:pt x="121" y="789"/>
                  </a:lnTo>
                  <a:lnTo>
                    <a:pt x="121" y="788"/>
                  </a:lnTo>
                  <a:lnTo>
                    <a:pt x="123" y="788"/>
                  </a:lnTo>
                  <a:lnTo>
                    <a:pt x="125" y="788"/>
                  </a:lnTo>
                  <a:lnTo>
                    <a:pt x="125" y="786"/>
                  </a:lnTo>
                  <a:lnTo>
                    <a:pt x="125" y="784"/>
                  </a:lnTo>
                  <a:lnTo>
                    <a:pt x="123" y="784"/>
                  </a:lnTo>
                  <a:lnTo>
                    <a:pt x="123" y="782"/>
                  </a:lnTo>
                  <a:lnTo>
                    <a:pt x="123" y="780"/>
                  </a:lnTo>
                  <a:lnTo>
                    <a:pt x="123" y="778"/>
                  </a:lnTo>
                  <a:lnTo>
                    <a:pt x="123" y="776"/>
                  </a:lnTo>
                  <a:lnTo>
                    <a:pt x="123" y="774"/>
                  </a:lnTo>
                  <a:lnTo>
                    <a:pt x="125" y="772"/>
                  </a:lnTo>
                  <a:lnTo>
                    <a:pt x="125" y="774"/>
                  </a:lnTo>
                  <a:lnTo>
                    <a:pt x="125" y="776"/>
                  </a:lnTo>
                  <a:lnTo>
                    <a:pt x="127" y="776"/>
                  </a:lnTo>
                  <a:lnTo>
                    <a:pt x="129" y="776"/>
                  </a:lnTo>
                  <a:lnTo>
                    <a:pt x="129" y="774"/>
                  </a:lnTo>
                  <a:lnTo>
                    <a:pt x="129" y="772"/>
                  </a:lnTo>
                  <a:lnTo>
                    <a:pt x="131" y="772"/>
                  </a:lnTo>
                  <a:lnTo>
                    <a:pt x="132" y="772"/>
                  </a:lnTo>
                  <a:lnTo>
                    <a:pt x="132" y="774"/>
                  </a:lnTo>
                  <a:lnTo>
                    <a:pt x="134" y="774"/>
                  </a:lnTo>
                  <a:lnTo>
                    <a:pt x="134" y="772"/>
                  </a:lnTo>
                  <a:lnTo>
                    <a:pt x="134" y="774"/>
                  </a:lnTo>
                  <a:lnTo>
                    <a:pt x="134" y="772"/>
                  </a:lnTo>
                  <a:lnTo>
                    <a:pt x="136" y="772"/>
                  </a:lnTo>
                  <a:lnTo>
                    <a:pt x="138" y="772"/>
                  </a:lnTo>
                  <a:lnTo>
                    <a:pt x="138" y="770"/>
                  </a:lnTo>
                  <a:lnTo>
                    <a:pt x="136" y="770"/>
                  </a:lnTo>
                  <a:lnTo>
                    <a:pt x="138" y="770"/>
                  </a:lnTo>
                  <a:lnTo>
                    <a:pt x="138" y="768"/>
                  </a:lnTo>
                  <a:lnTo>
                    <a:pt x="140" y="768"/>
                  </a:lnTo>
                  <a:lnTo>
                    <a:pt x="140" y="766"/>
                  </a:lnTo>
                  <a:lnTo>
                    <a:pt x="140" y="768"/>
                  </a:lnTo>
                  <a:lnTo>
                    <a:pt x="142" y="768"/>
                  </a:lnTo>
                  <a:lnTo>
                    <a:pt x="144" y="768"/>
                  </a:lnTo>
                  <a:lnTo>
                    <a:pt x="146" y="768"/>
                  </a:lnTo>
                  <a:lnTo>
                    <a:pt x="148" y="768"/>
                  </a:lnTo>
                  <a:lnTo>
                    <a:pt x="148" y="766"/>
                  </a:lnTo>
                  <a:lnTo>
                    <a:pt x="148" y="768"/>
                  </a:lnTo>
                  <a:lnTo>
                    <a:pt x="148" y="770"/>
                  </a:lnTo>
                  <a:lnTo>
                    <a:pt x="150" y="770"/>
                  </a:lnTo>
                  <a:lnTo>
                    <a:pt x="152" y="770"/>
                  </a:lnTo>
                  <a:lnTo>
                    <a:pt x="154" y="770"/>
                  </a:lnTo>
                  <a:lnTo>
                    <a:pt x="154" y="772"/>
                  </a:lnTo>
                  <a:lnTo>
                    <a:pt x="154" y="770"/>
                  </a:lnTo>
                  <a:lnTo>
                    <a:pt x="156" y="770"/>
                  </a:lnTo>
                  <a:lnTo>
                    <a:pt x="154" y="770"/>
                  </a:lnTo>
                  <a:lnTo>
                    <a:pt x="156" y="770"/>
                  </a:lnTo>
                  <a:lnTo>
                    <a:pt x="156" y="768"/>
                  </a:lnTo>
                  <a:lnTo>
                    <a:pt x="154" y="768"/>
                  </a:lnTo>
                  <a:lnTo>
                    <a:pt x="156" y="768"/>
                  </a:lnTo>
                  <a:lnTo>
                    <a:pt x="154" y="768"/>
                  </a:lnTo>
                  <a:lnTo>
                    <a:pt x="156" y="768"/>
                  </a:lnTo>
                  <a:lnTo>
                    <a:pt x="154" y="768"/>
                  </a:lnTo>
                  <a:lnTo>
                    <a:pt x="154" y="766"/>
                  </a:lnTo>
                  <a:lnTo>
                    <a:pt x="154" y="768"/>
                  </a:lnTo>
                  <a:lnTo>
                    <a:pt x="154" y="766"/>
                  </a:lnTo>
                  <a:lnTo>
                    <a:pt x="154" y="768"/>
                  </a:lnTo>
                  <a:lnTo>
                    <a:pt x="154" y="766"/>
                  </a:lnTo>
                  <a:lnTo>
                    <a:pt x="152" y="766"/>
                  </a:lnTo>
                  <a:lnTo>
                    <a:pt x="150" y="766"/>
                  </a:lnTo>
                  <a:lnTo>
                    <a:pt x="152" y="766"/>
                  </a:lnTo>
                  <a:lnTo>
                    <a:pt x="152" y="764"/>
                  </a:lnTo>
                  <a:lnTo>
                    <a:pt x="152" y="766"/>
                  </a:lnTo>
                  <a:lnTo>
                    <a:pt x="152" y="764"/>
                  </a:lnTo>
                  <a:lnTo>
                    <a:pt x="150" y="764"/>
                  </a:lnTo>
                  <a:lnTo>
                    <a:pt x="152" y="764"/>
                  </a:lnTo>
                  <a:lnTo>
                    <a:pt x="150" y="764"/>
                  </a:lnTo>
                  <a:lnTo>
                    <a:pt x="152" y="764"/>
                  </a:lnTo>
                  <a:lnTo>
                    <a:pt x="152" y="763"/>
                  </a:lnTo>
                  <a:lnTo>
                    <a:pt x="150" y="763"/>
                  </a:lnTo>
                  <a:lnTo>
                    <a:pt x="148" y="763"/>
                  </a:lnTo>
                  <a:lnTo>
                    <a:pt x="148" y="761"/>
                  </a:lnTo>
                  <a:lnTo>
                    <a:pt x="146" y="761"/>
                  </a:lnTo>
                  <a:lnTo>
                    <a:pt x="144" y="761"/>
                  </a:lnTo>
                  <a:lnTo>
                    <a:pt x="146" y="761"/>
                  </a:lnTo>
                  <a:lnTo>
                    <a:pt x="144" y="761"/>
                  </a:lnTo>
                  <a:lnTo>
                    <a:pt x="144" y="763"/>
                  </a:lnTo>
                  <a:lnTo>
                    <a:pt x="142" y="763"/>
                  </a:lnTo>
                  <a:lnTo>
                    <a:pt x="140" y="763"/>
                  </a:lnTo>
                  <a:lnTo>
                    <a:pt x="138" y="763"/>
                  </a:lnTo>
                  <a:lnTo>
                    <a:pt x="136" y="761"/>
                  </a:lnTo>
                  <a:lnTo>
                    <a:pt x="138" y="761"/>
                  </a:lnTo>
                  <a:lnTo>
                    <a:pt x="136" y="761"/>
                  </a:lnTo>
                  <a:lnTo>
                    <a:pt x="136" y="759"/>
                  </a:lnTo>
                  <a:lnTo>
                    <a:pt x="136" y="761"/>
                  </a:lnTo>
                  <a:lnTo>
                    <a:pt x="136" y="759"/>
                  </a:lnTo>
                  <a:lnTo>
                    <a:pt x="134" y="759"/>
                  </a:lnTo>
                  <a:lnTo>
                    <a:pt x="134" y="757"/>
                  </a:lnTo>
                  <a:lnTo>
                    <a:pt x="132" y="757"/>
                  </a:lnTo>
                  <a:lnTo>
                    <a:pt x="131" y="757"/>
                  </a:lnTo>
                  <a:lnTo>
                    <a:pt x="132" y="757"/>
                  </a:lnTo>
                  <a:lnTo>
                    <a:pt x="131" y="757"/>
                  </a:lnTo>
                  <a:lnTo>
                    <a:pt x="131" y="755"/>
                  </a:lnTo>
                  <a:lnTo>
                    <a:pt x="131" y="753"/>
                  </a:lnTo>
                  <a:lnTo>
                    <a:pt x="129" y="753"/>
                  </a:lnTo>
                  <a:lnTo>
                    <a:pt x="129" y="751"/>
                  </a:lnTo>
                  <a:lnTo>
                    <a:pt x="131" y="751"/>
                  </a:lnTo>
                  <a:lnTo>
                    <a:pt x="131" y="753"/>
                  </a:lnTo>
                  <a:lnTo>
                    <a:pt x="132" y="753"/>
                  </a:lnTo>
                  <a:lnTo>
                    <a:pt x="132" y="755"/>
                  </a:lnTo>
                  <a:lnTo>
                    <a:pt x="132" y="753"/>
                  </a:lnTo>
                  <a:lnTo>
                    <a:pt x="132" y="751"/>
                  </a:lnTo>
                  <a:lnTo>
                    <a:pt x="132" y="749"/>
                  </a:lnTo>
                  <a:lnTo>
                    <a:pt x="132" y="747"/>
                  </a:lnTo>
                  <a:lnTo>
                    <a:pt x="132" y="749"/>
                  </a:lnTo>
                  <a:lnTo>
                    <a:pt x="132" y="747"/>
                  </a:lnTo>
                  <a:lnTo>
                    <a:pt x="132" y="749"/>
                  </a:lnTo>
                  <a:lnTo>
                    <a:pt x="132" y="747"/>
                  </a:lnTo>
                  <a:lnTo>
                    <a:pt x="132" y="745"/>
                  </a:lnTo>
                  <a:lnTo>
                    <a:pt x="134" y="745"/>
                  </a:lnTo>
                  <a:lnTo>
                    <a:pt x="132" y="745"/>
                  </a:lnTo>
                  <a:lnTo>
                    <a:pt x="134" y="745"/>
                  </a:lnTo>
                  <a:lnTo>
                    <a:pt x="132" y="745"/>
                  </a:lnTo>
                  <a:lnTo>
                    <a:pt x="132" y="743"/>
                  </a:lnTo>
                  <a:lnTo>
                    <a:pt x="132" y="745"/>
                  </a:lnTo>
                  <a:lnTo>
                    <a:pt x="132" y="747"/>
                  </a:lnTo>
                  <a:lnTo>
                    <a:pt x="132" y="745"/>
                  </a:lnTo>
                  <a:lnTo>
                    <a:pt x="132" y="747"/>
                  </a:lnTo>
                  <a:lnTo>
                    <a:pt x="131" y="747"/>
                  </a:lnTo>
                  <a:lnTo>
                    <a:pt x="132" y="747"/>
                  </a:lnTo>
                  <a:lnTo>
                    <a:pt x="131" y="747"/>
                  </a:lnTo>
                  <a:lnTo>
                    <a:pt x="129" y="747"/>
                  </a:lnTo>
                  <a:lnTo>
                    <a:pt x="129" y="749"/>
                  </a:lnTo>
                  <a:lnTo>
                    <a:pt x="127" y="749"/>
                  </a:lnTo>
                  <a:lnTo>
                    <a:pt x="127" y="751"/>
                  </a:lnTo>
                  <a:lnTo>
                    <a:pt x="127" y="749"/>
                  </a:lnTo>
                  <a:lnTo>
                    <a:pt x="127" y="751"/>
                  </a:lnTo>
                  <a:lnTo>
                    <a:pt x="125" y="751"/>
                  </a:lnTo>
                  <a:lnTo>
                    <a:pt x="127" y="751"/>
                  </a:lnTo>
                  <a:lnTo>
                    <a:pt x="125" y="751"/>
                  </a:lnTo>
                  <a:lnTo>
                    <a:pt x="127" y="751"/>
                  </a:lnTo>
                  <a:lnTo>
                    <a:pt x="125" y="751"/>
                  </a:lnTo>
                  <a:lnTo>
                    <a:pt x="127" y="751"/>
                  </a:lnTo>
                  <a:lnTo>
                    <a:pt x="125" y="751"/>
                  </a:lnTo>
                  <a:lnTo>
                    <a:pt x="125" y="753"/>
                  </a:lnTo>
                  <a:lnTo>
                    <a:pt x="125" y="751"/>
                  </a:lnTo>
                  <a:lnTo>
                    <a:pt x="123" y="751"/>
                  </a:lnTo>
                  <a:lnTo>
                    <a:pt x="123" y="753"/>
                  </a:lnTo>
                  <a:lnTo>
                    <a:pt x="123" y="751"/>
                  </a:lnTo>
                  <a:lnTo>
                    <a:pt x="123" y="753"/>
                  </a:lnTo>
                  <a:lnTo>
                    <a:pt x="123" y="751"/>
                  </a:lnTo>
                  <a:lnTo>
                    <a:pt x="123" y="753"/>
                  </a:lnTo>
                  <a:lnTo>
                    <a:pt x="123" y="751"/>
                  </a:lnTo>
                  <a:lnTo>
                    <a:pt x="121" y="751"/>
                  </a:lnTo>
                  <a:lnTo>
                    <a:pt x="121" y="753"/>
                  </a:lnTo>
                  <a:lnTo>
                    <a:pt x="121" y="751"/>
                  </a:lnTo>
                  <a:lnTo>
                    <a:pt x="121" y="753"/>
                  </a:lnTo>
                  <a:lnTo>
                    <a:pt x="121" y="751"/>
                  </a:lnTo>
                  <a:lnTo>
                    <a:pt x="119" y="751"/>
                  </a:lnTo>
                  <a:lnTo>
                    <a:pt x="121" y="751"/>
                  </a:lnTo>
                  <a:lnTo>
                    <a:pt x="119" y="751"/>
                  </a:lnTo>
                  <a:lnTo>
                    <a:pt x="121" y="751"/>
                  </a:lnTo>
                  <a:lnTo>
                    <a:pt x="119" y="751"/>
                  </a:lnTo>
                  <a:lnTo>
                    <a:pt x="119" y="753"/>
                  </a:lnTo>
                  <a:lnTo>
                    <a:pt x="121" y="753"/>
                  </a:lnTo>
                  <a:lnTo>
                    <a:pt x="121" y="751"/>
                  </a:lnTo>
                  <a:lnTo>
                    <a:pt x="121" y="753"/>
                  </a:lnTo>
                  <a:lnTo>
                    <a:pt x="119" y="753"/>
                  </a:lnTo>
                  <a:lnTo>
                    <a:pt x="119" y="751"/>
                  </a:lnTo>
                  <a:lnTo>
                    <a:pt x="119" y="753"/>
                  </a:lnTo>
                  <a:lnTo>
                    <a:pt x="119" y="751"/>
                  </a:lnTo>
                  <a:lnTo>
                    <a:pt x="121" y="751"/>
                  </a:lnTo>
                  <a:lnTo>
                    <a:pt x="121" y="749"/>
                  </a:lnTo>
                  <a:lnTo>
                    <a:pt x="123" y="747"/>
                  </a:lnTo>
                  <a:lnTo>
                    <a:pt x="123" y="745"/>
                  </a:lnTo>
                  <a:lnTo>
                    <a:pt x="125" y="745"/>
                  </a:lnTo>
                  <a:lnTo>
                    <a:pt x="125" y="743"/>
                  </a:lnTo>
                  <a:lnTo>
                    <a:pt x="127" y="743"/>
                  </a:lnTo>
                  <a:lnTo>
                    <a:pt x="127" y="741"/>
                  </a:lnTo>
                  <a:lnTo>
                    <a:pt x="129" y="741"/>
                  </a:lnTo>
                  <a:lnTo>
                    <a:pt x="129" y="739"/>
                  </a:lnTo>
                  <a:lnTo>
                    <a:pt x="131" y="739"/>
                  </a:lnTo>
                  <a:lnTo>
                    <a:pt x="131" y="738"/>
                  </a:lnTo>
                  <a:lnTo>
                    <a:pt x="131" y="739"/>
                  </a:lnTo>
                  <a:lnTo>
                    <a:pt x="132" y="739"/>
                  </a:lnTo>
                  <a:lnTo>
                    <a:pt x="132" y="738"/>
                  </a:lnTo>
                  <a:lnTo>
                    <a:pt x="132" y="736"/>
                  </a:lnTo>
                  <a:lnTo>
                    <a:pt x="134" y="736"/>
                  </a:lnTo>
                  <a:lnTo>
                    <a:pt x="134" y="734"/>
                  </a:lnTo>
                  <a:lnTo>
                    <a:pt x="136" y="734"/>
                  </a:lnTo>
                  <a:lnTo>
                    <a:pt x="136" y="732"/>
                  </a:lnTo>
                  <a:lnTo>
                    <a:pt x="138" y="732"/>
                  </a:lnTo>
                  <a:lnTo>
                    <a:pt x="138" y="730"/>
                  </a:lnTo>
                  <a:lnTo>
                    <a:pt x="140" y="730"/>
                  </a:lnTo>
                  <a:lnTo>
                    <a:pt x="140" y="728"/>
                  </a:lnTo>
                  <a:lnTo>
                    <a:pt x="142" y="728"/>
                  </a:lnTo>
                  <a:lnTo>
                    <a:pt x="142" y="726"/>
                  </a:lnTo>
                  <a:lnTo>
                    <a:pt x="144" y="724"/>
                  </a:lnTo>
                  <a:lnTo>
                    <a:pt x="144" y="722"/>
                  </a:lnTo>
                  <a:lnTo>
                    <a:pt x="146" y="722"/>
                  </a:lnTo>
                  <a:lnTo>
                    <a:pt x="146" y="720"/>
                  </a:lnTo>
                  <a:lnTo>
                    <a:pt x="148" y="720"/>
                  </a:lnTo>
                  <a:lnTo>
                    <a:pt x="148" y="718"/>
                  </a:lnTo>
                  <a:lnTo>
                    <a:pt x="150" y="718"/>
                  </a:lnTo>
                  <a:lnTo>
                    <a:pt x="150" y="716"/>
                  </a:lnTo>
                  <a:lnTo>
                    <a:pt x="150" y="715"/>
                  </a:lnTo>
                  <a:lnTo>
                    <a:pt x="152" y="715"/>
                  </a:lnTo>
                  <a:lnTo>
                    <a:pt x="154" y="713"/>
                  </a:lnTo>
                  <a:lnTo>
                    <a:pt x="154" y="711"/>
                  </a:lnTo>
                  <a:lnTo>
                    <a:pt x="156" y="711"/>
                  </a:lnTo>
                  <a:lnTo>
                    <a:pt x="154" y="711"/>
                  </a:lnTo>
                  <a:lnTo>
                    <a:pt x="156" y="711"/>
                  </a:lnTo>
                  <a:lnTo>
                    <a:pt x="156" y="709"/>
                  </a:lnTo>
                  <a:lnTo>
                    <a:pt x="156" y="707"/>
                  </a:lnTo>
                  <a:lnTo>
                    <a:pt x="157" y="707"/>
                  </a:lnTo>
                  <a:lnTo>
                    <a:pt x="157" y="705"/>
                  </a:lnTo>
                  <a:lnTo>
                    <a:pt x="159" y="705"/>
                  </a:lnTo>
                  <a:lnTo>
                    <a:pt x="159" y="703"/>
                  </a:lnTo>
                  <a:lnTo>
                    <a:pt x="161" y="703"/>
                  </a:lnTo>
                  <a:lnTo>
                    <a:pt x="161" y="701"/>
                  </a:lnTo>
                  <a:lnTo>
                    <a:pt x="161" y="699"/>
                  </a:lnTo>
                  <a:lnTo>
                    <a:pt x="163" y="699"/>
                  </a:lnTo>
                  <a:lnTo>
                    <a:pt x="163" y="697"/>
                  </a:lnTo>
                  <a:lnTo>
                    <a:pt x="165" y="697"/>
                  </a:lnTo>
                  <a:lnTo>
                    <a:pt x="165" y="695"/>
                  </a:lnTo>
                  <a:lnTo>
                    <a:pt x="167" y="695"/>
                  </a:lnTo>
                  <a:lnTo>
                    <a:pt x="167" y="693"/>
                  </a:lnTo>
                  <a:lnTo>
                    <a:pt x="169" y="693"/>
                  </a:lnTo>
                  <a:lnTo>
                    <a:pt x="169" y="691"/>
                  </a:lnTo>
                  <a:lnTo>
                    <a:pt x="169" y="690"/>
                  </a:lnTo>
                  <a:lnTo>
                    <a:pt x="171" y="690"/>
                  </a:lnTo>
                  <a:lnTo>
                    <a:pt x="169" y="690"/>
                  </a:lnTo>
                  <a:lnTo>
                    <a:pt x="171" y="690"/>
                  </a:lnTo>
                  <a:lnTo>
                    <a:pt x="171" y="686"/>
                  </a:lnTo>
                  <a:lnTo>
                    <a:pt x="173" y="686"/>
                  </a:lnTo>
                  <a:lnTo>
                    <a:pt x="173" y="684"/>
                  </a:lnTo>
                  <a:lnTo>
                    <a:pt x="173" y="682"/>
                  </a:lnTo>
                  <a:lnTo>
                    <a:pt x="173" y="680"/>
                  </a:lnTo>
                  <a:lnTo>
                    <a:pt x="175" y="680"/>
                  </a:lnTo>
                  <a:lnTo>
                    <a:pt x="175" y="678"/>
                  </a:lnTo>
                  <a:lnTo>
                    <a:pt x="175" y="676"/>
                  </a:lnTo>
                  <a:lnTo>
                    <a:pt x="173" y="674"/>
                  </a:lnTo>
                  <a:lnTo>
                    <a:pt x="173" y="672"/>
                  </a:lnTo>
                  <a:lnTo>
                    <a:pt x="171" y="672"/>
                  </a:lnTo>
                  <a:lnTo>
                    <a:pt x="171" y="670"/>
                  </a:lnTo>
                  <a:lnTo>
                    <a:pt x="171" y="668"/>
                  </a:lnTo>
                  <a:lnTo>
                    <a:pt x="169" y="668"/>
                  </a:lnTo>
                  <a:lnTo>
                    <a:pt x="169" y="667"/>
                  </a:lnTo>
                  <a:lnTo>
                    <a:pt x="167" y="667"/>
                  </a:lnTo>
                  <a:lnTo>
                    <a:pt x="167" y="665"/>
                  </a:lnTo>
                  <a:lnTo>
                    <a:pt x="165" y="665"/>
                  </a:lnTo>
                  <a:lnTo>
                    <a:pt x="165" y="663"/>
                  </a:lnTo>
                  <a:lnTo>
                    <a:pt x="163" y="663"/>
                  </a:lnTo>
                  <a:lnTo>
                    <a:pt x="163" y="661"/>
                  </a:lnTo>
                  <a:lnTo>
                    <a:pt x="161" y="661"/>
                  </a:lnTo>
                  <a:lnTo>
                    <a:pt x="159" y="661"/>
                  </a:lnTo>
                  <a:lnTo>
                    <a:pt x="159" y="659"/>
                  </a:lnTo>
                  <a:lnTo>
                    <a:pt x="157" y="659"/>
                  </a:lnTo>
                  <a:lnTo>
                    <a:pt x="157" y="657"/>
                  </a:lnTo>
                  <a:lnTo>
                    <a:pt x="156" y="657"/>
                  </a:lnTo>
                  <a:lnTo>
                    <a:pt x="156" y="655"/>
                  </a:lnTo>
                  <a:lnTo>
                    <a:pt x="154" y="653"/>
                  </a:lnTo>
                  <a:lnTo>
                    <a:pt x="154" y="651"/>
                  </a:lnTo>
                  <a:lnTo>
                    <a:pt x="152" y="651"/>
                  </a:lnTo>
                  <a:lnTo>
                    <a:pt x="152" y="649"/>
                  </a:lnTo>
                  <a:lnTo>
                    <a:pt x="154" y="649"/>
                  </a:lnTo>
                  <a:lnTo>
                    <a:pt x="156" y="647"/>
                  </a:lnTo>
                  <a:lnTo>
                    <a:pt x="156" y="645"/>
                  </a:lnTo>
                  <a:lnTo>
                    <a:pt x="157" y="643"/>
                  </a:lnTo>
                  <a:lnTo>
                    <a:pt x="159" y="642"/>
                  </a:lnTo>
                  <a:lnTo>
                    <a:pt x="159" y="640"/>
                  </a:lnTo>
                  <a:lnTo>
                    <a:pt x="159" y="638"/>
                  </a:lnTo>
                  <a:lnTo>
                    <a:pt x="159" y="636"/>
                  </a:lnTo>
                  <a:lnTo>
                    <a:pt x="159" y="634"/>
                  </a:lnTo>
                  <a:lnTo>
                    <a:pt x="157" y="634"/>
                  </a:lnTo>
                  <a:lnTo>
                    <a:pt x="157" y="632"/>
                  </a:lnTo>
                  <a:lnTo>
                    <a:pt x="156" y="632"/>
                  </a:lnTo>
                  <a:lnTo>
                    <a:pt x="156" y="630"/>
                  </a:lnTo>
                  <a:lnTo>
                    <a:pt x="154" y="630"/>
                  </a:lnTo>
                  <a:lnTo>
                    <a:pt x="152" y="628"/>
                  </a:lnTo>
                  <a:lnTo>
                    <a:pt x="152" y="626"/>
                  </a:lnTo>
                  <a:lnTo>
                    <a:pt x="152" y="624"/>
                  </a:lnTo>
                  <a:lnTo>
                    <a:pt x="152" y="622"/>
                  </a:lnTo>
                  <a:lnTo>
                    <a:pt x="152" y="620"/>
                  </a:lnTo>
                  <a:lnTo>
                    <a:pt x="154" y="620"/>
                  </a:lnTo>
                  <a:lnTo>
                    <a:pt x="152" y="618"/>
                  </a:lnTo>
                  <a:lnTo>
                    <a:pt x="152" y="617"/>
                  </a:lnTo>
                  <a:lnTo>
                    <a:pt x="154" y="617"/>
                  </a:lnTo>
                  <a:lnTo>
                    <a:pt x="152" y="615"/>
                  </a:lnTo>
                  <a:lnTo>
                    <a:pt x="150" y="615"/>
                  </a:lnTo>
                  <a:lnTo>
                    <a:pt x="148" y="615"/>
                  </a:lnTo>
                  <a:lnTo>
                    <a:pt x="148" y="613"/>
                  </a:lnTo>
                  <a:lnTo>
                    <a:pt x="146" y="613"/>
                  </a:lnTo>
                  <a:lnTo>
                    <a:pt x="146" y="611"/>
                  </a:lnTo>
                  <a:lnTo>
                    <a:pt x="146" y="609"/>
                  </a:lnTo>
                  <a:lnTo>
                    <a:pt x="146" y="607"/>
                  </a:lnTo>
                  <a:lnTo>
                    <a:pt x="146" y="605"/>
                  </a:lnTo>
                  <a:lnTo>
                    <a:pt x="148" y="605"/>
                  </a:lnTo>
                  <a:lnTo>
                    <a:pt x="150" y="605"/>
                  </a:lnTo>
                  <a:lnTo>
                    <a:pt x="150" y="603"/>
                  </a:lnTo>
                  <a:lnTo>
                    <a:pt x="150" y="601"/>
                  </a:lnTo>
                  <a:lnTo>
                    <a:pt x="148" y="599"/>
                  </a:lnTo>
                  <a:lnTo>
                    <a:pt x="146" y="599"/>
                  </a:lnTo>
                  <a:lnTo>
                    <a:pt x="146" y="597"/>
                  </a:lnTo>
                  <a:lnTo>
                    <a:pt x="148" y="595"/>
                  </a:lnTo>
                  <a:lnTo>
                    <a:pt x="148" y="592"/>
                  </a:lnTo>
                  <a:lnTo>
                    <a:pt x="148" y="590"/>
                  </a:lnTo>
                  <a:lnTo>
                    <a:pt x="150" y="588"/>
                  </a:lnTo>
                  <a:lnTo>
                    <a:pt x="148" y="586"/>
                  </a:lnTo>
                  <a:lnTo>
                    <a:pt x="150" y="584"/>
                  </a:lnTo>
                  <a:lnTo>
                    <a:pt x="152" y="584"/>
                  </a:lnTo>
                  <a:lnTo>
                    <a:pt x="154" y="584"/>
                  </a:lnTo>
                  <a:lnTo>
                    <a:pt x="154" y="582"/>
                  </a:lnTo>
                  <a:lnTo>
                    <a:pt x="154" y="580"/>
                  </a:lnTo>
                  <a:lnTo>
                    <a:pt x="154" y="578"/>
                  </a:lnTo>
                  <a:lnTo>
                    <a:pt x="154" y="576"/>
                  </a:lnTo>
                  <a:lnTo>
                    <a:pt x="152" y="576"/>
                  </a:lnTo>
                  <a:lnTo>
                    <a:pt x="152" y="574"/>
                  </a:lnTo>
                  <a:lnTo>
                    <a:pt x="152" y="572"/>
                  </a:lnTo>
                  <a:lnTo>
                    <a:pt x="152" y="570"/>
                  </a:lnTo>
                  <a:lnTo>
                    <a:pt x="150" y="569"/>
                  </a:lnTo>
                  <a:lnTo>
                    <a:pt x="150" y="567"/>
                  </a:lnTo>
                  <a:lnTo>
                    <a:pt x="150" y="565"/>
                  </a:lnTo>
                  <a:lnTo>
                    <a:pt x="148" y="565"/>
                  </a:lnTo>
                  <a:lnTo>
                    <a:pt x="148" y="563"/>
                  </a:lnTo>
                  <a:lnTo>
                    <a:pt x="146" y="561"/>
                  </a:lnTo>
                  <a:lnTo>
                    <a:pt x="146" y="559"/>
                  </a:lnTo>
                  <a:lnTo>
                    <a:pt x="146" y="557"/>
                  </a:lnTo>
                  <a:lnTo>
                    <a:pt x="144" y="555"/>
                  </a:lnTo>
                  <a:lnTo>
                    <a:pt x="144" y="553"/>
                  </a:lnTo>
                  <a:lnTo>
                    <a:pt x="144" y="551"/>
                  </a:lnTo>
                  <a:lnTo>
                    <a:pt x="142" y="551"/>
                  </a:lnTo>
                  <a:lnTo>
                    <a:pt x="142" y="549"/>
                  </a:lnTo>
                  <a:lnTo>
                    <a:pt x="140" y="545"/>
                  </a:lnTo>
                  <a:lnTo>
                    <a:pt x="140" y="544"/>
                  </a:lnTo>
                  <a:lnTo>
                    <a:pt x="138" y="544"/>
                  </a:lnTo>
                  <a:lnTo>
                    <a:pt x="138" y="542"/>
                  </a:lnTo>
                  <a:lnTo>
                    <a:pt x="138" y="540"/>
                  </a:lnTo>
                  <a:lnTo>
                    <a:pt x="138" y="538"/>
                  </a:lnTo>
                  <a:lnTo>
                    <a:pt x="138" y="536"/>
                  </a:lnTo>
                  <a:lnTo>
                    <a:pt x="140" y="534"/>
                  </a:lnTo>
                  <a:lnTo>
                    <a:pt x="140" y="532"/>
                  </a:lnTo>
                  <a:lnTo>
                    <a:pt x="142" y="530"/>
                  </a:lnTo>
                  <a:lnTo>
                    <a:pt x="142" y="528"/>
                  </a:lnTo>
                  <a:lnTo>
                    <a:pt x="144" y="528"/>
                  </a:lnTo>
                  <a:lnTo>
                    <a:pt x="144" y="526"/>
                  </a:lnTo>
                  <a:lnTo>
                    <a:pt x="144" y="524"/>
                  </a:lnTo>
                  <a:lnTo>
                    <a:pt x="146" y="524"/>
                  </a:lnTo>
                  <a:lnTo>
                    <a:pt x="146" y="522"/>
                  </a:lnTo>
                  <a:lnTo>
                    <a:pt x="148" y="522"/>
                  </a:lnTo>
                  <a:lnTo>
                    <a:pt x="148" y="521"/>
                  </a:lnTo>
                  <a:lnTo>
                    <a:pt x="150" y="519"/>
                  </a:lnTo>
                  <a:lnTo>
                    <a:pt x="150" y="517"/>
                  </a:lnTo>
                  <a:lnTo>
                    <a:pt x="152" y="517"/>
                  </a:lnTo>
                  <a:lnTo>
                    <a:pt x="152" y="515"/>
                  </a:lnTo>
                  <a:lnTo>
                    <a:pt x="152" y="513"/>
                  </a:lnTo>
                  <a:lnTo>
                    <a:pt x="152" y="511"/>
                  </a:lnTo>
                  <a:lnTo>
                    <a:pt x="152" y="509"/>
                  </a:lnTo>
                  <a:lnTo>
                    <a:pt x="150" y="509"/>
                  </a:lnTo>
                  <a:lnTo>
                    <a:pt x="150" y="507"/>
                  </a:lnTo>
                  <a:lnTo>
                    <a:pt x="148" y="507"/>
                  </a:lnTo>
                  <a:lnTo>
                    <a:pt x="146" y="505"/>
                  </a:lnTo>
                  <a:lnTo>
                    <a:pt x="146" y="503"/>
                  </a:lnTo>
                  <a:lnTo>
                    <a:pt x="144" y="499"/>
                  </a:lnTo>
                  <a:lnTo>
                    <a:pt x="144" y="497"/>
                  </a:lnTo>
                  <a:lnTo>
                    <a:pt x="142" y="497"/>
                  </a:lnTo>
                  <a:lnTo>
                    <a:pt x="142" y="496"/>
                  </a:lnTo>
                  <a:lnTo>
                    <a:pt x="140" y="494"/>
                  </a:lnTo>
                  <a:lnTo>
                    <a:pt x="138" y="494"/>
                  </a:lnTo>
                  <a:lnTo>
                    <a:pt x="136" y="492"/>
                  </a:lnTo>
                  <a:lnTo>
                    <a:pt x="134" y="492"/>
                  </a:lnTo>
                  <a:lnTo>
                    <a:pt x="132" y="490"/>
                  </a:lnTo>
                  <a:lnTo>
                    <a:pt x="132" y="488"/>
                  </a:lnTo>
                  <a:lnTo>
                    <a:pt x="131" y="488"/>
                  </a:lnTo>
                  <a:lnTo>
                    <a:pt x="131" y="486"/>
                  </a:lnTo>
                  <a:lnTo>
                    <a:pt x="131" y="484"/>
                  </a:lnTo>
                  <a:lnTo>
                    <a:pt x="131" y="482"/>
                  </a:lnTo>
                  <a:lnTo>
                    <a:pt x="131" y="480"/>
                  </a:lnTo>
                  <a:lnTo>
                    <a:pt x="129" y="480"/>
                  </a:lnTo>
                  <a:lnTo>
                    <a:pt x="129" y="478"/>
                  </a:lnTo>
                  <a:lnTo>
                    <a:pt x="129" y="476"/>
                  </a:lnTo>
                  <a:lnTo>
                    <a:pt x="129" y="474"/>
                  </a:lnTo>
                  <a:lnTo>
                    <a:pt x="131" y="474"/>
                  </a:lnTo>
                  <a:lnTo>
                    <a:pt x="131" y="472"/>
                  </a:lnTo>
                  <a:lnTo>
                    <a:pt x="132" y="471"/>
                  </a:lnTo>
                  <a:lnTo>
                    <a:pt x="132" y="469"/>
                  </a:lnTo>
                  <a:lnTo>
                    <a:pt x="132" y="467"/>
                  </a:lnTo>
                  <a:lnTo>
                    <a:pt x="134" y="467"/>
                  </a:lnTo>
                  <a:lnTo>
                    <a:pt x="134" y="465"/>
                  </a:lnTo>
                  <a:lnTo>
                    <a:pt x="134" y="463"/>
                  </a:lnTo>
                  <a:lnTo>
                    <a:pt x="132" y="463"/>
                  </a:lnTo>
                  <a:lnTo>
                    <a:pt x="131" y="463"/>
                  </a:lnTo>
                  <a:lnTo>
                    <a:pt x="129" y="463"/>
                  </a:lnTo>
                  <a:lnTo>
                    <a:pt x="129" y="461"/>
                  </a:lnTo>
                  <a:lnTo>
                    <a:pt x="131" y="461"/>
                  </a:lnTo>
                  <a:lnTo>
                    <a:pt x="132" y="457"/>
                  </a:lnTo>
                  <a:lnTo>
                    <a:pt x="136" y="455"/>
                  </a:lnTo>
                  <a:lnTo>
                    <a:pt x="136" y="457"/>
                  </a:lnTo>
                  <a:lnTo>
                    <a:pt x="138" y="457"/>
                  </a:lnTo>
                  <a:lnTo>
                    <a:pt x="138" y="455"/>
                  </a:lnTo>
                  <a:lnTo>
                    <a:pt x="140" y="455"/>
                  </a:lnTo>
                  <a:lnTo>
                    <a:pt x="140" y="453"/>
                  </a:lnTo>
                  <a:lnTo>
                    <a:pt x="140" y="451"/>
                  </a:lnTo>
                  <a:lnTo>
                    <a:pt x="142" y="451"/>
                  </a:lnTo>
                  <a:lnTo>
                    <a:pt x="142" y="449"/>
                  </a:lnTo>
                  <a:lnTo>
                    <a:pt x="142" y="448"/>
                  </a:lnTo>
                  <a:lnTo>
                    <a:pt x="140" y="448"/>
                  </a:lnTo>
                  <a:lnTo>
                    <a:pt x="142" y="448"/>
                  </a:lnTo>
                  <a:lnTo>
                    <a:pt x="140" y="448"/>
                  </a:lnTo>
                  <a:lnTo>
                    <a:pt x="140" y="446"/>
                  </a:lnTo>
                  <a:lnTo>
                    <a:pt x="142" y="446"/>
                  </a:lnTo>
                  <a:lnTo>
                    <a:pt x="142" y="444"/>
                  </a:lnTo>
                  <a:lnTo>
                    <a:pt x="144" y="446"/>
                  </a:lnTo>
                  <a:lnTo>
                    <a:pt x="144" y="444"/>
                  </a:lnTo>
                  <a:lnTo>
                    <a:pt x="144" y="446"/>
                  </a:lnTo>
                  <a:lnTo>
                    <a:pt x="146" y="446"/>
                  </a:lnTo>
                  <a:lnTo>
                    <a:pt x="146" y="444"/>
                  </a:lnTo>
                  <a:lnTo>
                    <a:pt x="148" y="444"/>
                  </a:lnTo>
                  <a:lnTo>
                    <a:pt x="148" y="442"/>
                  </a:lnTo>
                  <a:lnTo>
                    <a:pt x="150" y="442"/>
                  </a:lnTo>
                  <a:lnTo>
                    <a:pt x="150" y="440"/>
                  </a:lnTo>
                  <a:lnTo>
                    <a:pt x="152" y="442"/>
                  </a:lnTo>
                  <a:lnTo>
                    <a:pt x="150" y="442"/>
                  </a:lnTo>
                  <a:lnTo>
                    <a:pt x="152" y="442"/>
                  </a:lnTo>
                  <a:lnTo>
                    <a:pt x="152" y="440"/>
                  </a:lnTo>
                  <a:lnTo>
                    <a:pt x="154" y="440"/>
                  </a:lnTo>
                  <a:lnTo>
                    <a:pt x="154" y="438"/>
                  </a:lnTo>
                  <a:lnTo>
                    <a:pt x="154" y="436"/>
                  </a:lnTo>
                  <a:lnTo>
                    <a:pt x="154" y="434"/>
                  </a:lnTo>
                  <a:lnTo>
                    <a:pt x="154" y="432"/>
                  </a:lnTo>
                  <a:lnTo>
                    <a:pt x="154" y="430"/>
                  </a:lnTo>
                  <a:lnTo>
                    <a:pt x="156" y="430"/>
                  </a:lnTo>
                  <a:lnTo>
                    <a:pt x="156" y="432"/>
                  </a:lnTo>
                  <a:lnTo>
                    <a:pt x="157" y="432"/>
                  </a:lnTo>
                  <a:lnTo>
                    <a:pt x="157" y="434"/>
                  </a:lnTo>
                  <a:lnTo>
                    <a:pt x="159" y="434"/>
                  </a:lnTo>
                  <a:lnTo>
                    <a:pt x="159" y="436"/>
                  </a:lnTo>
                  <a:lnTo>
                    <a:pt x="161" y="436"/>
                  </a:lnTo>
                  <a:lnTo>
                    <a:pt x="163" y="436"/>
                  </a:lnTo>
                  <a:lnTo>
                    <a:pt x="165" y="436"/>
                  </a:lnTo>
                  <a:lnTo>
                    <a:pt x="165" y="434"/>
                  </a:lnTo>
                  <a:lnTo>
                    <a:pt x="165" y="432"/>
                  </a:lnTo>
                  <a:lnTo>
                    <a:pt x="165" y="430"/>
                  </a:lnTo>
                  <a:lnTo>
                    <a:pt x="165" y="428"/>
                  </a:lnTo>
                  <a:lnTo>
                    <a:pt x="165" y="426"/>
                  </a:lnTo>
                  <a:lnTo>
                    <a:pt x="163" y="426"/>
                  </a:lnTo>
                  <a:lnTo>
                    <a:pt x="165" y="426"/>
                  </a:lnTo>
                  <a:lnTo>
                    <a:pt x="163" y="426"/>
                  </a:lnTo>
                  <a:lnTo>
                    <a:pt x="165" y="426"/>
                  </a:lnTo>
                  <a:lnTo>
                    <a:pt x="163" y="426"/>
                  </a:lnTo>
                  <a:lnTo>
                    <a:pt x="163" y="424"/>
                  </a:lnTo>
                  <a:lnTo>
                    <a:pt x="165" y="424"/>
                  </a:lnTo>
                  <a:lnTo>
                    <a:pt x="165" y="426"/>
                  </a:lnTo>
                  <a:lnTo>
                    <a:pt x="167" y="426"/>
                  </a:lnTo>
                  <a:lnTo>
                    <a:pt x="169" y="426"/>
                  </a:lnTo>
                  <a:lnTo>
                    <a:pt x="171" y="426"/>
                  </a:lnTo>
                  <a:lnTo>
                    <a:pt x="171" y="428"/>
                  </a:lnTo>
                  <a:lnTo>
                    <a:pt x="173" y="428"/>
                  </a:lnTo>
                  <a:lnTo>
                    <a:pt x="173" y="430"/>
                  </a:lnTo>
                  <a:lnTo>
                    <a:pt x="171" y="430"/>
                  </a:lnTo>
                  <a:lnTo>
                    <a:pt x="171" y="432"/>
                  </a:lnTo>
                  <a:lnTo>
                    <a:pt x="173" y="432"/>
                  </a:lnTo>
                  <a:lnTo>
                    <a:pt x="173" y="430"/>
                  </a:lnTo>
                  <a:lnTo>
                    <a:pt x="175" y="430"/>
                  </a:lnTo>
                  <a:lnTo>
                    <a:pt x="175" y="432"/>
                  </a:lnTo>
                  <a:lnTo>
                    <a:pt x="175" y="430"/>
                  </a:lnTo>
                  <a:lnTo>
                    <a:pt x="177" y="430"/>
                  </a:lnTo>
                  <a:lnTo>
                    <a:pt x="179" y="430"/>
                  </a:lnTo>
                  <a:lnTo>
                    <a:pt x="177" y="428"/>
                  </a:lnTo>
                  <a:lnTo>
                    <a:pt x="177" y="426"/>
                  </a:lnTo>
                  <a:lnTo>
                    <a:pt x="177" y="424"/>
                  </a:lnTo>
                  <a:lnTo>
                    <a:pt x="179" y="423"/>
                  </a:lnTo>
                  <a:lnTo>
                    <a:pt x="179" y="424"/>
                  </a:lnTo>
                  <a:lnTo>
                    <a:pt x="180" y="424"/>
                  </a:lnTo>
                  <a:lnTo>
                    <a:pt x="180" y="426"/>
                  </a:lnTo>
                  <a:lnTo>
                    <a:pt x="182" y="426"/>
                  </a:lnTo>
                  <a:lnTo>
                    <a:pt x="182" y="424"/>
                  </a:lnTo>
                  <a:lnTo>
                    <a:pt x="180" y="423"/>
                  </a:lnTo>
                  <a:lnTo>
                    <a:pt x="180" y="421"/>
                  </a:lnTo>
                  <a:lnTo>
                    <a:pt x="179" y="421"/>
                  </a:lnTo>
                  <a:lnTo>
                    <a:pt x="180" y="419"/>
                  </a:lnTo>
                  <a:lnTo>
                    <a:pt x="179" y="419"/>
                  </a:lnTo>
                  <a:lnTo>
                    <a:pt x="180" y="419"/>
                  </a:lnTo>
                  <a:lnTo>
                    <a:pt x="182" y="419"/>
                  </a:lnTo>
                  <a:lnTo>
                    <a:pt x="184" y="419"/>
                  </a:lnTo>
                  <a:lnTo>
                    <a:pt x="184" y="421"/>
                  </a:lnTo>
                  <a:lnTo>
                    <a:pt x="186" y="421"/>
                  </a:lnTo>
                  <a:lnTo>
                    <a:pt x="186" y="423"/>
                  </a:lnTo>
                  <a:lnTo>
                    <a:pt x="188" y="423"/>
                  </a:lnTo>
                  <a:lnTo>
                    <a:pt x="188" y="424"/>
                  </a:lnTo>
                  <a:lnTo>
                    <a:pt x="190" y="424"/>
                  </a:lnTo>
                  <a:lnTo>
                    <a:pt x="190" y="426"/>
                  </a:lnTo>
                  <a:lnTo>
                    <a:pt x="192" y="424"/>
                  </a:lnTo>
                  <a:lnTo>
                    <a:pt x="192" y="426"/>
                  </a:lnTo>
                  <a:lnTo>
                    <a:pt x="194" y="426"/>
                  </a:lnTo>
                  <a:lnTo>
                    <a:pt x="194" y="424"/>
                  </a:lnTo>
                  <a:lnTo>
                    <a:pt x="194" y="426"/>
                  </a:lnTo>
                  <a:lnTo>
                    <a:pt x="196" y="426"/>
                  </a:lnTo>
                  <a:lnTo>
                    <a:pt x="198" y="426"/>
                  </a:lnTo>
                  <a:lnTo>
                    <a:pt x="198" y="428"/>
                  </a:lnTo>
                  <a:lnTo>
                    <a:pt x="198" y="430"/>
                  </a:lnTo>
                  <a:lnTo>
                    <a:pt x="196" y="432"/>
                  </a:lnTo>
                  <a:lnTo>
                    <a:pt x="196" y="434"/>
                  </a:lnTo>
                  <a:lnTo>
                    <a:pt x="194" y="434"/>
                  </a:lnTo>
                  <a:lnTo>
                    <a:pt x="192" y="434"/>
                  </a:lnTo>
                  <a:lnTo>
                    <a:pt x="190" y="434"/>
                  </a:lnTo>
                  <a:lnTo>
                    <a:pt x="188" y="432"/>
                  </a:lnTo>
                  <a:lnTo>
                    <a:pt x="186" y="432"/>
                  </a:lnTo>
                  <a:lnTo>
                    <a:pt x="184" y="432"/>
                  </a:lnTo>
                  <a:lnTo>
                    <a:pt x="184" y="430"/>
                  </a:lnTo>
                  <a:lnTo>
                    <a:pt x="184" y="428"/>
                  </a:lnTo>
                  <a:lnTo>
                    <a:pt x="182" y="426"/>
                  </a:lnTo>
                  <a:lnTo>
                    <a:pt x="182" y="428"/>
                  </a:lnTo>
                  <a:lnTo>
                    <a:pt x="182" y="430"/>
                  </a:lnTo>
                  <a:lnTo>
                    <a:pt x="182" y="432"/>
                  </a:lnTo>
                  <a:lnTo>
                    <a:pt x="180" y="432"/>
                  </a:lnTo>
                  <a:lnTo>
                    <a:pt x="182" y="432"/>
                  </a:lnTo>
                  <a:lnTo>
                    <a:pt x="182" y="434"/>
                  </a:lnTo>
                  <a:lnTo>
                    <a:pt x="180" y="434"/>
                  </a:lnTo>
                  <a:lnTo>
                    <a:pt x="182" y="434"/>
                  </a:lnTo>
                  <a:lnTo>
                    <a:pt x="184" y="434"/>
                  </a:lnTo>
                  <a:lnTo>
                    <a:pt x="186" y="434"/>
                  </a:lnTo>
                  <a:lnTo>
                    <a:pt x="188" y="434"/>
                  </a:lnTo>
                  <a:lnTo>
                    <a:pt x="188" y="436"/>
                  </a:lnTo>
                  <a:lnTo>
                    <a:pt x="186" y="436"/>
                  </a:lnTo>
                  <a:lnTo>
                    <a:pt x="188" y="436"/>
                  </a:lnTo>
                  <a:lnTo>
                    <a:pt x="188" y="438"/>
                  </a:lnTo>
                  <a:lnTo>
                    <a:pt x="186" y="438"/>
                  </a:lnTo>
                  <a:lnTo>
                    <a:pt x="186" y="440"/>
                  </a:lnTo>
                  <a:lnTo>
                    <a:pt x="184" y="440"/>
                  </a:lnTo>
                  <a:lnTo>
                    <a:pt x="186" y="440"/>
                  </a:lnTo>
                  <a:lnTo>
                    <a:pt x="184" y="440"/>
                  </a:lnTo>
                  <a:lnTo>
                    <a:pt x="186" y="440"/>
                  </a:lnTo>
                  <a:lnTo>
                    <a:pt x="184" y="440"/>
                  </a:lnTo>
                  <a:lnTo>
                    <a:pt x="186" y="440"/>
                  </a:lnTo>
                  <a:lnTo>
                    <a:pt x="184" y="440"/>
                  </a:lnTo>
                  <a:lnTo>
                    <a:pt x="186" y="440"/>
                  </a:lnTo>
                  <a:lnTo>
                    <a:pt x="188" y="440"/>
                  </a:lnTo>
                  <a:lnTo>
                    <a:pt x="186" y="440"/>
                  </a:lnTo>
                  <a:lnTo>
                    <a:pt x="188" y="440"/>
                  </a:lnTo>
                  <a:lnTo>
                    <a:pt x="188" y="438"/>
                  </a:lnTo>
                  <a:lnTo>
                    <a:pt x="190" y="438"/>
                  </a:lnTo>
                  <a:lnTo>
                    <a:pt x="190" y="440"/>
                  </a:lnTo>
                  <a:lnTo>
                    <a:pt x="190" y="438"/>
                  </a:lnTo>
                  <a:lnTo>
                    <a:pt x="190" y="440"/>
                  </a:lnTo>
                  <a:lnTo>
                    <a:pt x="190" y="438"/>
                  </a:lnTo>
                  <a:lnTo>
                    <a:pt x="192" y="438"/>
                  </a:lnTo>
                  <a:lnTo>
                    <a:pt x="194" y="438"/>
                  </a:lnTo>
                  <a:lnTo>
                    <a:pt x="192" y="438"/>
                  </a:lnTo>
                  <a:lnTo>
                    <a:pt x="194" y="438"/>
                  </a:lnTo>
                  <a:lnTo>
                    <a:pt x="194" y="440"/>
                  </a:lnTo>
                  <a:lnTo>
                    <a:pt x="194" y="438"/>
                  </a:lnTo>
                  <a:lnTo>
                    <a:pt x="194" y="440"/>
                  </a:lnTo>
                  <a:lnTo>
                    <a:pt x="192" y="440"/>
                  </a:lnTo>
                  <a:lnTo>
                    <a:pt x="192" y="442"/>
                  </a:lnTo>
                  <a:lnTo>
                    <a:pt x="194" y="442"/>
                  </a:lnTo>
                  <a:lnTo>
                    <a:pt x="194" y="440"/>
                  </a:lnTo>
                  <a:lnTo>
                    <a:pt x="196" y="440"/>
                  </a:lnTo>
                  <a:lnTo>
                    <a:pt x="196" y="442"/>
                  </a:lnTo>
                  <a:lnTo>
                    <a:pt x="194" y="442"/>
                  </a:lnTo>
                  <a:lnTo>
                    <a:pt x="194" y="444"/>
                  </a:lnTo>
                  <a:lnTo>
                    <a:pt x="192" y="444"/>
                  </a:lnTo>
                  <a:lnTo>
                    <a:pt x="192" y="446"/>
                  </a:lnTo>
                  <a:lnTo>
                    <a:pt x="192" y="444"/>
                  </a:lnTo>
                  <a:lnTo>
                    <a:pt x="192" y="446"/>
                  </a:lnTo>
                  <a:lnTo>
                    <a:pt x="194" y="446"/>
                  </a:lnTo>
                  <a:lnTo>
                    <a:pt x="194" y="444"/>
                  </a:lnTo>
                  <a:lnTo>
                    <a:pt x="194" y="446"/>
                  </a:lnTo>
                  <a:lnTo>
                    <a:pt x="194" y="444"/>
                  </a:lnTo>
                  <a:lnTo>
                    <a:pt x="196" y="444"/>
                  </a:lnTo>
                  <a:lnTo>
                    <a:pt x="196" y="442"/>
                  </a:lnTo>
                  <a:lnTo>
                    <a:pt x="196" y="444"/>
                  </a:lnTo>
                  <a:lnTo>
                    <a:pt x="196" y="442"/>
                  </a:lnTo>
                  <a:lnTo>
                    <a:pt x="198" y="442"/>
                  </a:lnTo>
                  <a:lnTo>
                    <a:pt x="200" y="442"/>
                  </a:lnTo>
                  <a:lnTo>
                    <a:pt x="200" y="440"/>
                  </a:lnTo>
                  <a:lnTo>
                    <a:pt x="202" y="440"/>
                  </a:lnTo>
                  <a:lnTo>
                    <a:pt x="202" y="442"/>
                  </a:lnTo>
                  <a:lnTo>
                    <a:pt x="202" y="440"/>
                  </a:lnTo>
                  <a:lnTo>
                    <a:pt x="202" y="442"/>
                  </a:lnTo>
                  <a:lnTo>
                    <a:pt x="204" y="442"/>
                  </a:lnTo>
                  <a:lnTo>
                    <a:pt x="202" y="442"/>
                  </a:lnTo>
                  <a:lnTo>
                    <a:pt x="204" y="442"/>
                  </a:lnTo>
                  <a:lnTo>
                    <a:pt x="202" y="442"/>
                  </a:lnTo>
                  <a:lnTo>
                    <a:pt x="202" y="444"/>
                  </a:lnTo>
                  <a:lnTo>
                    <a:pt x="204" y="444"/>
                  </a:lnTo>
                  <a:lnTo>
                    <a:pt x="202" y="444"/>
                  </a:lnTo>
                  <a:lnTo>
                    <a:pt x="204" y="444"/>
                  </a:lnTo>
                  <a:lnTo>
                    <a:pt x="202" y="444"/>
                  </a:lnTo>
                  <a:lnTo>
                    <a:pt x="202" y="446"/>
                  </a:lnTo>
                  <a:lnTo>
                    <a:pt x="200" y="446"/>
                  </a:lnTo>
                  <a:lnTo>
                    <a:pt x="202" y="446"/>
                  </a:lnTo>
                  <a:lnTo>
                    <a:pt x="200" y="446"/>
                  </a:lnTo>
                  <a:lnTo>
                    <a:pt x="200" y="448"/>
                  </a:lnTo>
                  <a:lnTo>
                    <a:pt x="198" y="448"/>
                  </a:lnTo>
                  <a:lnTo>
                    <a:pt x="200" y="448"/>
                  </a:lnTo>
                  <a:lnTo>
                    <a:pt x="202" y="448"/>
                  </a:lnTo>
                  <a:lnTo>
                    <a:pt x="202" y="446"/>
                  </a:lnTo>
                  <a:lnTo>
                    <a:pt x="202" y="448"/>
                  </a:lnTo>
                  <a:lnTo>
                    <a:pt x="202" y="449"/>
                  </a:lnTo>
                  <a:lnTo>
                    <a:pt x="200" y="449"/>
                  </a:lnTo>
                  <a:lnTo>
                    <a:pt x="202" y="449"/>
                  </a:lnTo>
                  <a:lnTo>
                    <a:pt x="204" y="449"/>
                  </a:lnTo>
                  <a:lnTo>
                    <a:pt x="204" y="451"/>
                  </a:lnTo>
                  <a:lnTo>
                    <a:pt x="202" y="451"/>
                  </a:lnTo>
                  <a:lnTo>
                    <a:pt x="204" y="451"/>
                  </a:lnTo>
                  <a:lnTo>
                    <a:pt x="202" y="451"/>
                  </a:lnTo>
                  <a:lnTo>
                    <a:pt x="204" y="451"/>
                  </a:lnTo>
                  <a:lnTo>
                    <a:pt x="202" y="451"/>
                  </a:lnTo>
                  <a:lnTo>
                    <a:pt x="202" y="453"/>
                  </a:lnTo>
                  <a:lnTo>
                    <a:pt x="200" y="453"/>
                  </a:lnTo>
                  <a:lnTo>
                    <a:pt x="200" y="455"/>
                  </a:lnTo>
                  <a:lnTo>
                    <a:pt x="198" y="455"/>
                  </a:lnTo>
                  <a:lnTo>
                    <a:pt x="196" y="455"/>
                  </a:lnTo>
                  <a:lnTo>
                    <a:pt x="196" y="457"/>
                  </a:lnTo>
                  <a:lnTo>
                    <a:pt x="196" y="459"/>
                  </a:lnTo>
                  <a:lnTo>
                    <a:pt x="196" y="461"/>
                  </a:lnTo>
                  <a:lnTo>
                    <a:pt x="196" y="463"/>
                  </a:lnTo>
                  <a:lnTo>
                    <a:pt x="194" y="463"/>
                  </a:lnTo>
                  <a:lnTo>
                    <a:pt x="194" y="465"/>
                  </a:lnTo>
                  <a:lnTo>
                    <a:pt x="192" y="465"/>
                  </a:lnTo>
                  <a:lnTo>
                    <a:pt x="194" y="465"/>
                  </a:lnTo>
                  <a:lnTo>
                    <a:pt x="192" y="465"/>
                  </a:lnTo>
                  <a:lnTo>
                    <a:pt x="194" y="465"/>
                  </a:lnTo>
                  <a:lnTo>
                    <a:pt x="192" y="465"/>
                  </a:lnTo>
                  <a:lnTo>
                    <a:pt x="194" y="465"/>
                  </a:lnTo>
                  <a:lnTo>
                    <a:pt x="194" y="463"/>
                  </a:lnTo>
                  <a:lnTo>
                    <a:pt x="196" y="463"/>
                  </a:lnTo>
                  <a:lnTo>
                    <a:pt x="196" y="461"/>
                  </a:lnTo>
                  <a:lnTo>
                    <a:pt x="196" y="459"/>
                  </a:lnTo>
                  <a:lnTo>
                    <a:pt x="196" y="457"/>
                  </a:lnTo>
                  <a:lnTo>
                    <a:pt x="196" y="455"/>
                  </a:lnTo>
                  <a:lnTo>
                    <a:pt x="198" y="455"/>
                  </a:lnTo>
                  <a:lnTo>
                    <a:pt x="200" y="455"/>
                  </a:lnTo>
                  <a:lnTo>
                    <a:pt x="202" y="455"/>
                  </a:lnTo>
                  <a:lnTo>
                    <a:pt x="204" y="455"/>
                  </a:lnTo>
                  <a:lnTo>
                    <a:pt x="202" y="455"/>
                  </a:lnTo>
                  <a:lnTo>
                    <a:pt x="202" y="453"/>
                  </a:lnTo>
                  <a:lnTo>
                    <a:pt x="204" y="453"/>
                  </a:lnTo>
                  <a:lnTo>
                    <a:pt x="204" y="451"/>
                  </a:lnTo>
                  <a:lnTo>
                    <a:pt x="204" y="453"/>
                  </a:lnTo>
                  <a:lnTo>
                    <a:pt x="204" y="451"/>
                  </a:lnTo>
                  <a:lnTo>
                    <a:pt x="204" y="449"/>
                  </a:lnTo>
                  <a:lnTo>
                    <a:pt x="205" y="449"/>
                  </a:lnTo>
                  <a:lnTo>
                    <a:pt x="205" y="451"/>
                  </a:lnTo>
                  <a:lnTo>
                    <a:pt x="205" y="449"/>
                  </a:lnTo>
                  <a:lnTo>
                    <a:pt x="204" y="449"/>
                  </a:lnTo>
                  <a:lnTo>
                    <a:pt x="204" y="448"/>
                  </a:lnTo>
                  <a:lnTo>
                    <a:pt x="205" y="448"/>
                  </a:lnTo>
                  <a:lnTo>
                    <a:pt x="204" y="448"/>
                  </a:lnTo>
                  <a:lnTo>
                    <a:pt x="204" y="446"/>
                  </a:lnTo>
                  <a:lnTo>
                    <a:pt x="205" y="446"/>
                  </a:lnTo>
                  <a:lnTo>
                    <a:pt x="207" y="446"/>
                  </a:lnTo>
                  <a:lnTo>
                    <a:pt x="205" y="446"/>
                  </a:lnTo>
                  <a:lnTo>
                    <a:pt x="205" y="448"/>
                  </a:lnTo>
                  <a:lnTo>
                    <a:pt x="205" y="446"/>
                  </a:lnTo>
                  <a:lnTo>
                    <a:pt x="205" y="448"/>
                  </a:lnTo>
                  <a:lnTo>
                    <a:pt x="205" y="446"/>
                  </a:lnTo>
                  <a:lnTo>
                    <a:pt x="207" y="446"/>
                  </a:lnTo>
                  <a:lnTo>
                    <a:pt x="207" y="448"/>
                  </a:lnTo>
                  <a:lnTo>
                    <a:pt x="209" y="448"/>
                  </a:lnTo>
                  <a:lnTo>
                    <a:pt x="207" y="448"/>
                  </a:lnTo>
                  <a:lnTo>
                    <a:pt x="207" y="446"/>
                  </a:lnTo>
                  <a:lnTo>
                    <a:pt x="209" y="446"/>
                  </a:lnTo>
                  <a:lnTo>
                    <a:pt x="211" y="446"/>
                  </a:lnTo>
                  <a:lnTo>
                    <a:pt x="213" y="446"/>
                  </a:lnTo>
                  <a:lnTo>
                    <a:pt x="215" y="446"/>
                  </a:lnTo>
                  <a:lnTo>
                    <a:pt x="217" y="446"/>
                  </a:lnTo>
                  <a:lnTo>
                    <a:pt x="215" y="446"/>
                  </a:lnTo>
                  <a:lnTo>
                    <a:pt x="215" y="448"/>
                  </a:lnTo>
                  <a:lnTo>
                    <a:pt x="217" y="448"/>
                  </a:lnTo>
                  <a:lnTo>
                    <a:pt x="215" y="448"/>
                  </a:lnTo>
                  <a:lnTo>
                    <a:pt x="217" y="448"/>
                  </a:lnTo>
                  <a:lnTo>
                    <a:pt x="219" y="448"/>
                  </a:lnTo>
                  <a:lnTo>
                    <a:pt x="219" y="449"/>
                  </a:lnTo>
                  <a:lnTo>
                    <a:pt x="221" y="449"/>
                  </a:lnTo>
                  <a:lnTo>
                    <a:pt x="219" y="449"/>
                  </a:lnTo>
                  <a:lnTo>
                    <a:pt x="221" y="449"/>
                  </a:lnTo>
                  <a:lnTo>
                    <a:pt x="221" y="448"/>
                  </a:lnTo>
                  <a:lnTo>
                    <a:pt x="219" y="448"/>
                  </a:lnTo>
                  <a:lnTo>
                    <a:pt x="221" y="448"/>
                  </a:lnTo>
                  <a:lnTo>
                    <a:pt x="223" y="448"/>
                  </a:lnTo>
                  <a:lnTo>
                    <a:pt x="221" y="449"/>
                  </a:lnTo>
                  <a:lnTo>
                    <a:pt x="223" y="449"/>
                  </a:lnTo>
                  <a:lnTo>
                    <a:pt x="223" y="448"/>
                  </a:lnTo>
                  <a:lnTo>
                    <a:pt x="223" y="449"/>
                  </a:lnTo>
                  <a:lnTo>
                    <a:pt x="221" y="449"/>
                  </a:lnTo>
                  <a:lnTo>
                    <a:pt x="223" y="449"/>
                  </a:lnTo>
                  <a:lnTo>
                    <a:pt x="221" y="449"/>
                  </a:lnTo>
                  <a:lnTo>
                    <a:pt x="223" y="449"/>
                  </a:lnTo>
                  <a:lnTo>
                    <a:pt x="225" y="449"/>
                  </a:lnTo>
                  <a:lnTo>
                    <a:pt x="225" y="451"/>
                  </a:lnTo>
                  <a:lnTo>
                    <a:pt x="225" y="449"/>
                  </a:lnTo>
                  <a:lnTo>
                    <a:pt x="227" y="449"/>
                  </a:lnTo>
                  <a:lnTo>
                    <a:pt x="227" y="451"/>
                  </a:lnTo>
                  <a:lnTo>
                    <a:pt x="227" y="453"/>
                  </a:lnTo>
                  <a:lnTo>
                    <a:pt x="227" y="451"/>
                  </a:lnTo>
                  <a:lnTo>
                    <a:pt x="227" y="449"/>
                  </a:lnTo>
                  <a:lnTo>
                    <a:pt x="228" y="449"/>
                  </a:lnTo>
                  <a:lnTo>
                    <a:pt x="228" y="451"/>
                  </a:lnTo>
                  <a:lnTo>
                    <a:pt x="228" y="449"/>
                  </a:lnTo>
                  <a:lnTo>
                    <a:pt x="227" y="448"/>
                  </a:lnTo>
                  <a:lnTo>
                    <a:pt x="228" y="448"/>
                  </a:lnTo>
                  <a:lnTo>
                    <a:pt x="230" y="448"/>
                  </a:lnTo>
                  <a:lnTo>
                    <a:pt x="230" y="449"/>
                  </a:lnTo>
                  <a:lnTo>
                    <a:pt x="232" y="449"/>
                  </a:lnTo>
                  <a:lnTo>
                    <a:pt x="234" y="449"/>
                  </a:lnTo>
                  <a:lnTo>
                    <a:pt x="236" y="449"/>
                  </a:lnTo>
                  <a:lnTo>
                    <a:pt x="236" y="451"/>
                  </a:lnTo>
                  <a:lnTo>
                    <a:pt x="236" y="449"/>
                  </a:lnTo>
                  <a:lnTo>
                    <a:pt x="238" y="451"/>
                  </a:lnTo>
                  <a:lnTo>
                    <a:pt x="240" y="453"/>
                  </a:lnTo>
                  <a:lnTo>
                    <a:pt x="240" y="455"/>
                  </a:lnTo>
                  <a:lnTo>
                    <a:pt x="240" y="453"/>
                  </a:lnTo>
                  <a:lnTo>
                    <a:pt x="240" y="451"/>
                  </a:lnTo>
                  <a:lnTo>
                    <a:pt x="240" y="453"/>
                  </a:lnTo>
                  <a:lnTo>
                    <a:pt x="242" y="453"/>
                  </a:lnTo>
                  <a:lnTo>
                    <a:pt x="244" y="453"/>
                  </a:lnTo>
                  <a:lnTo>
                    <a:pt x="244" y="455"/>
                  </a:lnTo>
                  <a:lnTo>
                    <a:pt x="244" y="457"/>
                  </a:lnTo>
                  <a:lnTo>
                    <a:pt x="244" y="455"/>
                  </a:lnTo>
                  <a:lnTo>
                    <a:pt x="246" y="455"/>
                  </a:lnTo>
                  <a:lnTo>
                    <a:pt x="246" y="457"/>
                  </a:lnTo>
                  <a:lnTo>
                    <a:pt x="248" y="457"/>
                  </a:lnTo>
                  <a:lnTo>
                    <a:pt x="250" y="459"/>
                  </a:lnTo>
                  <a:lnTo>
                    <a:pt x="251" y="461"/>
                  </a:lnTo>
                  <a:lnTo>
                    <a:pt x="253" y="461"/>
                  </a:lnTo>
                  <a:lnTo>
                    <a:pt x="253" y="463"/>
                  </a:lnTo>
                  <a:lnTo>
                    <a:pt x="255" y="463"/>
                  </a:lnTo>
                  <a:lnTo>
                    <a:pt x="253" y="463"/>
                  </a:lnTo>
                  <a:lnTo>
                    <a:pt x="255" y="463"/>
                  </a:lnTo>
                  <a:lnTo>
                    <a:pt x="255" y="465"/>
                  </a:lnTo>
                  <a:lnTo>
                    <a:pt x="257" y="465"/>
                  </a:lnTo>
                  <a:lnTo>
                    <a:pt x="257" y="467"/>
                  </a:lnTo>
                  <a:lnTo>
                    <a:pt x="259" y="467"/>
                  </a:lnTo>
                  <a:lnTo>
                    <a:pt x="261" y="469"/>
                  </a:lnTo>
                  <a:lnTo>
                    <a:pt x="263" y="469"/>
                  </a:lnTo>
                  <a:lnTo>
                    <a:pt x="263" y="471"/>
                  </a:lnTo>
                  <a:lnTo>
                    <a:pt x="263" y="469"/>
                  </a:lnTo>
                  <a:lnTo>
                    <a:pt x="263" y="471"/>
                  </a:lnTo>
                  <a:lnTo>
                    <a:pt x="265" y="471"/>
                  </a:lnTo>
                  <a:lnTo>
                    <a:pt x="265" y="472"/>
                  </a:lnTo>
                  <a:lnTo>
                    <a:pt x="267" y="472"/>
                  </a:lnTo>
                  <a:lnTo>
                    <a:pt x="267" y="474"/>
                  </a:lnTo>
                  <a:lnTo>
                    <a:pt x="269" y="474"/>
                  </a:lnTo>
                  <a:lnTo>
                    <a:pt x="269" y="476"/>
                  </a:lnTo>
                  <a:lnTo>
                    <a:pt x="271" y="478"/>
                  </a:lnTo>
                  <a:lnTo>
                    <a:pt x="269" y="478"/>
                  </a:lnTo>
                  <a:lnTo>
                    <a:pt x="271" y="478"/>
                  </a:lnTo>
                  <a:lnTo>
                    <a:pt x="273" y="480"/>
                  </a:lnTo>
                  <a:lnTo>
                    <a:pt x="273" y="482"/>
                  </a:lnTo>
                  <a:lnTo>
                    <a:pt x="275" y="482"/>
                  </a:lnTo>
                  <a:lnTo>
                    <a:pt x="273" y="482"/>
                  </a:lnTo>
                  <a:lnTo>
                    <a:pt x="275" y="482"/>
                  </a:lnTo>
                  <a:lnTo>
                    <a:pt x="275" y="484"/>
                  </a:lnTo>
                  <a:lnTo>
                    <a:pt x="275" y="486"/>
                  </a:lnTo>
                  <a:lnTo>
                    <a:pt x="275" y="484"/>
                  </a:lnTo>
                  <a:lnTo>
                    <a:pt x="276" y="486"/>
                  </a:lnTo>
                  <a:lnTo>
                    <a:pt x="276" y="484"/>
                  </a:lnTo>
                  <a:lnTo>
                    <a:pt x="278" y="484"/>
                  </a:lnTo>
                  <a:lnTo>
                    <a:pt x="280" y="484"/>
                  </a:lnTo>
                  <a:lnTo>
                    <a:pt x="280" y="486"/>
                  </a:lnTo>
                  <a:lnTo>
                    <a:pt x="282" y="486"/>
                  </a:lnTo>
                  <a:lnTo>
                    <a:pt x="282" y="488"/>
                  </a:lnTo>
                  <a:lnTo>
                    <a:pt x="284" y="490"/>
                  </a:lnTo>
                  <a:lnTo>
                    <a:pt x="284" y="492"/>
                  </a:lnTo>
                  <a:lnTo>
                    <a:pt x="284" y="490"/>
                  </a:lnTo>
                  <a:lnTo>
                    <a:pt x="286" y="492"/>
                  </a:lnTo>
                  <a:lnTo>
                    <a:pt x="286" y="490"/>
                  </a:lnTo>
                  <a:lnTo>
                    <a:pt x="286" y="492"/>
                  </a:lnTo>
                  <a:lnTo>
                    <a:pt x="288" y="492"/>
                  </a:lnTo>
                  <a:lnTo>
                    <a:pt x="288" y="494"/>
                  </a:lnTo>
                  <a:lnTo>
                    <a:pt x="290" y="494"/>
                  </a:lnTo>
                  <a:lnTo>
                    <a:pt x="290" y="496"/>
                  </a:lnTo>
                  <a:lnTo>
                    <a:pt x="292" y="496"/>
                  </a:lnTo>
                  <a:lnTo>
                    <a:pt x="292" y="497"/>
                  </a:lnTo>
                  <a:lnTo>
                    <a:pt x="294" y="497"/>
                  </a:lnTo>
                  <a:lnTo>
                    <a:pt x="292" y="496"/>
                  </a:lnTo>
                  <a:lnTo>
                    <a:pt x="294" y="496"/>
                  </a:lnTo>
                  <a:lnTo>
                    <a:pt x="294" y="497"/>
                  </a:lnTo>
                  <a:lnTo>
                    <a:pt x="294" y="496"/>
                  </a:lnTo>
                  <a:lnTo>
                    <a:pt x="296" y="496"/>
                  </a:lnTo>
                  <a:lnTo>
                    <a:pt x="296" y="497"/>
                  </a:lnTo>
                  <a:lnTo>
                    <a:pt x="296" y="496"/>
                  </a:lnTo>
                  <a:lnTo>
                    <a:pt x="296" y="494"/>
                  </a:lnTo>
                  <a:lnTo>
                    <a:pt x="294" y="494"/>
                  </a:lnTo>
                  <a:lnTo>
                    <a:pt x="294" y="492"/>
                  </a:lnTo>
                  <a:lnTo>
                    <a:pt x="296" y="492"/>
                  </a:lnTo>
                  <a:lnTo>
                    <a:pt x="296" y="494"/>
                  </a:lnTo>
                  <a:lnTo>
                    <a:pt x="298" y="496"/>
                  </a:lnTo>
                  <a:lnTo>
                    <a:pt x="298" y="497"/>
                  </a:lnTo>
                  <a:lnTo>
                    <a:pt x="298" y="499"/>
                  </a:lnTo>
                  <a:lnTo>
                    <a:pt x="298" y="497"/>
                  </a:lnTo>
                  <a:lnTo>
                    <a:pt x="299" y="497"/>
                  </a:lnTo>
                  <a:lnTo>
                    <a:pt x="299" y="499"/>
                  </a:lnTo>
                  <a:lnTo>
                    <a:pt x="301" y="499"/>
                  </a:lnTo>
                  <a:lnTo>
                    <a:pt x="301" y="501"/>
                  </a:lnTo>
                  <a:lnTo>
                    <a:pt x="301" y="499"/>
                  </a:lnTo>
                  <a:lnTo>
                    <a:pt x="301" y="501"/>
                  </a:lnTo>
                  <a:lnTo>
                    <a:pt x="301" y="503"/>
                  </a:lnTo>
                  <a:lnTo>
                    <a:pt x="301" y="501"/>
                  </a:lnTo>
                  <a:lnTo>
                    <a:pt x="303" y="501"/>
                  </a:lnTo>
                  <a:lnTo>
                    <a:pt x="301" y="503"/>
                  </a:lnTo>
                  <a:lnTo>
                    <a:pt x="303" y="503"/>
                  </a:lnTo>
                  <a:lnTo>
                    <a:pt x="303" y="501"/>
                  </a:lnTo>
                  <a:lnTo>
                    <a:pt x="303" y="503"/>
                  </a:lnTo>
                  <a:lnTo>
                    <a:pt x="303" y="505"/>
                  </a:lnTo>
                  <a:lnTo>
                    <a:pt x="303" y="503"/>
                  </a:lnTo>
                  <a:lnTo>
                    <a:pt x="301" y="503"/>
                  </a:lnTo>
                  <a:lnTo>
                    <a:pt x="303" y="505"/>
                  </a:lnTo>
                  <a:lnTo>
                    <a:pt x="303" y="507"/>
                  </a:lnTo>
                  <a:lnTo>
                    <a:pt x="305" y="507"/>
                  </a:lnTo>
                  <a:lnTo>
                    <a:pt x="305" y="509"/>
                  </a:lnTo>
                  <a:lnTo>
                    <a:pt x="305" y="507"/>
                  </a:lnTo>
                  <a:lnTo>
                    <a:pt x="307" y="507"/>
                  </a:lnTo>
                  <a:lnTo>
                    <a:pt x="305" y="505"/>
                  </a:lnTo>
                  <a:lnTo>
                    <a:pt x="307" y="505"/>
                  </a:lnTo>
                  <a:lnTo>
                    <a:pt x="307" y="507"/>
                  </a:lnTo>
                  <a:lnTo>
                    <a:pt x="309" y="507"/>
                  </a:lnTo>
                  <a:lnTo>
                    <a:pt x="309" y="509"/>
                  </a:lnTo>
                  <a:lnTo>
                    <a:pt x="311" y="509"/>
                  </a:lnTo>
                  <a:lnTo>
                    <a:pt x="313" y="509"/>
                  </a:lnTo>
                  <a:lnTo>
                    <a:pt x="313" y="511"/>
                  </a:lnTo>
                  <a:lnTo>
                    <a:pt x="313" y="513"/>
                  </a:lnTo>
                  <a:lnTo>
                    <a:pt x="313" y="515"/>
                  </a:lnTo>
                  <a:lnTo>
                    <a:pt x="313" y="517"/>
                  </a:lnTo>
                  <a:lnTo>
                    <a:pt x="313" y="519"/>
                  </a:lnTo>
                  <a:lnTo>
                    <a:pt x="311" y="519"/>
                  </a:lnTo>
                  <a:lnTo>
                    <a:pt x="313" y="519"/>
                  </a:lnTo>
                  <a:lnTo>
                    <a:pt x="313" y="521"/>
                  </a:lnTo>
                  <a:lnTo>
                    <a:pt x="315" y="521"/>
                  </a:lnTo>
                  <a:lnTo>
                    <a:pt x="315" y="522"/>
                  </a:lnTo>
                  <a:lnTo>
                    <a:pt x="315" y="524"/>
                  </a:lnTo>
                  <a:lnTo>
                    <a:pt x="315" y="526"/>
                  </a:lnTo>
                  <a:lnTo>
                    <a:pt x="313" y="526"/>
                  </a:lnTo>
                  <a:lnTo>
                    <a:pt x="315" y="526"/>
                  </a:lnTo>
                  <a:lnTo>
                    <a:pt x="315" y="528"/>
                  </a:lnTo>
                  <a:lnTo>
                    <a:pt x="317" y="528"/>
                  </a:lnTo>
                  <a:lnTo>
                    <a:pt x="317" y="530"/>
                  </a:lnTo>
                  <a:lnTo>
                    <a:pt x="317" y="532"/>
                  </a:lnTo>
                  <a:lnTo>
                    <a:pt x="319" y="532"/>
                  </a:lnTo>
                  <a:lnTo>
                    <a:pt x="317" y="534"/>
                  </a:lnTo>
                  <a:lnTo>
                    <a:pt x="317" y="536"/>
                  </a:lnTo>
                  <a:lnTo>
                    <a:pt x="317" y="538"/>
                  </a:lnTo>
                  <a:lnTo>
                    <a:pt x="317" y="540"/>
                  </a:lnTo>
                  <a:lnTo>
                    <a:pt x="317" y="542"/>
                  </a:lnTo>
                  <a:lnTo>
                    <a:pt x="315" y="544"/>
                  </a:lnTo>
                  <a:lnTo>
                    <a:pt x="315" y="545"/>
                  </a:lnTo>
                  <a:lnTo>
                    <a:pt x="313" y="545"/>
                  </a:lnTo>
                  <a:lnTo>
                    <a:pt x="313" y="547"/>
                  </a:lnTo>
                  <a:lnTo>
                    <a:pt x="311" y="547"/>
                  </a:lnTo>
                  <a:lnTo>
                    <a:pt x="311" y="549"/>
                  </a:lnTo>
                  <a:lnTo>
                    <a:pt x="309" y="549"/>
                  </a:lnTo>
                  <a:lnTo>
                    <a:pt x="309" y="551"/>
                  </a:lnTo>
                  <a:lnTo>
                    <a:pt x="309" y="553"/>
                  </a:lnTo>
                  <a:lnTo>
                    <a:pt x="307" y="553"/>
                  </a:lnTo>
                  <a:lnTo>
                    <a:pt x="307" y="555"/>
                  </a:lnTo>
                  <a:lnTo>
                    <a:pt x="305" y="557"/>
                  </a:lnTo>
                  <a:lnTo>
                    <a:pt x="305" y="559"/>
                  </a:lnTo>
                  <a:lnTo>
                    <a:pt x="303" y="559"/>
                  </a:lnTo>
                  <a:lnTo>
                    <a:pt x="301" y="559"/>
                  </a:lnTo>
                  <a:lnTo>
                    <a:pt x="301" y="561"/>
                  </a:lnTo>
                  <a:lnTo>
                    <a:pt x="299" y="561"/>
                  </a:lnTo>
                  <a:lnTo>
                    <a:pt x="299" y="563"/>
                  </a:lnTo>
                  <a:lnTo>
                    <a:pt x="298" y="563"/>
                  </a:lnTo>
                  <a:lnTo>
                    <a:pt x="298" y="565"/>
                  </a:lnTo>
                  <a:lnTo>
                    <a:pt x="296" y="565"/>
                  </a:lnTo>
                  <a:lnTo>
                    <a:pt x="294" y="565"/>
                  </a:lnTo>
                  <a:lnTo>
                    <a:pt x="292" y="567"/>
                  </a:lnTo>
                  <a:lnTo>
                    <a:pt x="290" y="567"/>
                  </a:lnTo>
                  <a:lnTo>
                    <a:pt x="288" y="567"/>
                  </a:lnTo>
                  <a:lnTo>
                    <a:pt x="288" y="569"/>
                  </a:lnTo>
                  <a:lnTo>
                    <a:pt x="286" y="569"/>
                  </a:lnTo>
                  <a:lnTo>
                    <a:pt x="284" y="569"/>
                  </a:lnTo>
                  <a:lnTo>
                    <a:pt x="282" y="569"/>
                  </a:lnTo>
                  <a:lnTo>
                    <a:pt x="280" y="569"/>
                  </a:lnTo>
                  <a:lnTo>
                    <a:pt x="280" y="570"/>
                  </a:lnTo>
                  <a:lnTo>
                    <a:pt x="278" y="570"/>
                  </a:lnTo>
                  <a:lnTo>
                    <a:pt x="276" y="570"/>
                  </a:lnTo>
                  <a:lnTo>
                    <a:pt x="275" y="570"/>
                  </a:lnTo>
                  <a:lnTo>
                    <a:pt x="273" y="570"/>
                  </a:lnTo>
                  <a:lnTo>
                    <a:pt x="271" y="570"/>
                  </a:lnTo>
                  <a:lnTo>
                    <a:pt x="269" y="570"/>
                  </a:lnTo>
                  <a:lnTo>
                    <a:pt x="267" y="570"/>
                  </a:lnTo>
                  <a:lnTo>
                    <a:pt x="267" y="569"/>
                  </a:lnTo>
                  <a:lnTo>
                    <a:pt x="265" y="569"/>
                  </a:lnTo>
                  <a:lnTo>
                    <a:pt x="263" y="569"/>
                  </a:lnTo>
                  <a:lnTo>
                    <a:pt x="261" y="567"/>
                  </a:lnTo>
                  <a:lnTo>
                    <a:pt x="259" y="567"/>
                  </a:lnTo>
                  <a:lnTo>
                    <a:pt x="259" y="565"/>
                  </a:lnTo>
                  <a:lnTo>
                    <a:pt x="257" y="565"/>
                  </a:lnTo>
                  <a:lnTo>
                    <a:pt x="255" y="565"/>
                  </a:lnTo>
                  <a:lnTo>
                    <a:pt x="255" y="563"/>
                  </a:lnTo>
                  <a:lnTo>
                    <a:pt x="253" y="563"/>
                  </a:lnTo>
                  <a:lnTo>
                    <a:pt x="251" y="563"/>
                  </a:lnTo>
                  <a:lnTo>
                    <a:pt x="250" y="563"/>
                  </a:lnTo>
                  <a:lnTo>
                    <a:pt x="248" y="563"/>
                  </a:lnTo>
                  <a:lnTo>
                    <a:pt x="246" y="563"/>
                  </a:lnTo>
                  <a:lnTo>
                    <a:pt x="242" y="561"/>
                  </a:lnTo>
                  <a:lnTo>
                    <a:pt x="240" y="561"/>
                  </a:lnTo>
                  <a:lnTo>
                    <a:pt x="238" y="561"/>
                  </a:lnTo>
                  <a:lnTo>
                    <a:pt x="236" y="561"/>
                  </a:lnTo>
                  <a:lnTo>
                    <a:pt x="236" y="559"/>
                  </a:lnTo>
                  <a:lnTo>
                    <a:pt x="234" y="559"/>
                  </a:lnTo>
                  <a:lnTo>
                    <a:pt x="232" y="559"/>
                  </a:lnTo>
                  <a:lnTo>
                    <a:pt x="230" y="557"/>
                  </a:lnTo>
                  <a:lnTo>
                    <a:pt x="230" y="555"/>
                  </a:lnTo>
                  <a:lnTo>
                    <a:pt x="228" y="555"/>
                  </a:lnTo>
                  <a:lnTo>
                    <a:pt x="227" y="555"/>
                  </a:lnTo>
                  <a:lnTo>
                    <a:pt x="227" y="553"/>
                  </a:lnTo>
                  <a:lnTo>
                    <a:pt x="225" y="553"/>
                  </a:lnTo>
                  <a:lnTo>
                    <a:pt x="225" y="551"/>
                  </a:lnTo>
                  <a:lnTo>
                    <a:pt x="223" y="551"/>
                  </a:lnTo>
                  <a:lnTo>
                    <a:pt x="221" y="551"/>
                  </a:lnTo>
                  <a:lnTo>
                    <a:pt x="219" y="553"/>
                  </a:lnTo>
                  <a:lnTo>
                    <a:pt x="217" y="553"/>
                  </a:lnTo>
                  <a:lnTo>
                    <a:pt x="217" y="551"/>
                  </a:lnTo>
                  <a:lnTo>
                    <a:pt x="215" y="551"/>
                  </a:lnTo>
                  <a:lnTo>
                    <a:pt x="215" y="549"/>
                  </a:lnTo>
                  <a:lnTo>
                    <a:pt x="217" y="549"/>
                  </a:lnTo>
                  <a:lnTo>
                    <a:pt x="215" y="549"/>
                  </a:lnTo>
                  <a:lnTo>
                    <a:pt x="213" y="549"/>
                  </a:lnTo>
                  <a:lnTo>
                    <a:pt x="213" y="547"/>
                  </a:lnTo>
                  <a:lnTo>
                    <a:pt x="213" y="549"/>
                  </a:lnTo>
                  <a:lnTo>
                    <a:pt x="213" y="547"/>
                  </a:lnTo>
                  <a:lnTo>
                    <a:pt x="211" y="547"/>
                  </a:lnTo>
                  <a:lnTo>
                    <a:pt x="213" y="547"/>
                  </a:lnTo>
                  <a:lnTo>
                    <a:pt x="211" y="547"/>
                  </a:lnTo>
                  <a:lnTo>
                    <a:pt x="211" y="545"/>
                  </a:lnTo>
                  <a:lnTo>
                    <a:pt x="211" y="547"/>
                  </a:lnTo>
                  <a:lnTo>
                    <a:pt x="209" y="547"/>
                  </a:lnTo>
                  <a:lnTo>
                    <a:pt x="209" y="545"/>
                  </a:lnTo>
                  <a:lnTo>
                    <a:pt x="209" y="547"/>
                  </a:lnTo>
                  <a:lnTo>
                    <a:pt x="207" y="547"/>
                  </a:lnTo>
                  <a:lnTo>
                    <a:pt x="209" y="547"/>
                  </a:lnTo>
                  <a:lnTo>
                    <a:pt x="207" y="547"/>
                  </a:lnTo>
                  <a:lnTo>
                    <a:pt x="207" y="545"/>
                  </a:lnTo>
                  <a:lnTo>
                    <a:pt x="205" y="544"/>
                  </a:lnTo>
                  <a:lnTo>
                    <a:pt x="204" y="544"/>
                  </a:lnTo>
                  <a:lnTo>
                    <a:pt x="204" y="545"/>
                  </a:lnTo>
                  <a:lnTo>
                    <a:pt x="205" y="545"/>
                  </a:lnTo>
                  <a:lnTo>
                    <a:pt x="204" y="545"/>
                  </a:lnTo>
                  <a:lnTo>
                    <a:pt x="205" y="545"/>
                  </a:lnTo>
                  <a:lnTo>
                    <a:pt x="204" y="545"/>
                  </a:lnTo>
                  <a:lnTo>
                    <a:pt x="204" y="544"/>
                  </a:lnTo>
                  <a:lnTo>
                    <a:pt x="204" y="545"/>
                  </a:lnTo>
                  <a:lnTo>
                    <a:pt x="205" y="545"/>
                  </a:lnTo>
                  <a:lnTo>
                    <a:pt x="204" y="545"/>
                  </a:lnTo>
                  <a:lnTo>
                    <a:pt x="205" y="545"/>
                  </a:lnTo>
                  <a:lnTo>
                    <a:pt x="205" y="547"/>
                  </a:lnTo>
                  <a:lnTo>
                    <a:pt x="204" y="545"/>
                  </a:lnTo>
                  <a:lnTo>
                    <a:pt x="204" y="547"/>
                  </a:lnTo>
                  <a:lnTo>
                    <a:pt x="204" y="545"/>
                  </a:lnTo>
                  <a:lnTo>
                    <a:pt x="202" y="545"/>
                  </a:lnTo>
                  <a:lnTo>
                    <a:pt x="200" y="544"/>
                  </a:lnTo>
                  <a:lnTo>
                    <a:pt x="198" y="544"/>
                  </a:lnTo>
                  <a:lnTo>
                    <a:pt x="198" y="542"/>
                  </a:lnTo>
                  <a:lnTo>
                    <a:pt x="196" y="540"/>
                  </a:lnTo>
                  <a:lnTo>
                    <a:pt x="194" y="538"/>
                  </a:lnTo>
                  <a:lnTo>
                    <a:pt x="192" y="536"/>
                  </a:lnTo>
                  <a:lnTo>
                    <a:pt x="192" y="534"/>
                  </a:lnTo>
                  <a:lnTo>
                    <a:pt x="190" y="532"/>
                  </a:lnTo>
                  <a:lnTo>
                    <a:pt x="188" y="532"/>
                  </a:lnTo>
                  <a:lnTo>
                    <a:pt x="186" y="532"/>
                  </a:lnTo>
                  <a:lnTo>
                    <a:pt x="186" y="530"/>
                  </a:lnTo>
                  <a:lnTo>
                    <a:pt x="184" y="530"/>
                  </a:lnTo>
                  <a:lnTo>
                    <a:pt x="184" y="532"/>
                  </a:lnTo>
                  <a:lnTo>
                    <a:pt x="184" y="530"/>
                  </a:lnTo>
                  <a:lnTo>
                    <a:pt x="182" y="532"/>
                  </a:lnTo>
                  <a:lnTo>
                    <a:pt x="184" y="532"/>
                  </a:lnTo>
                  <a:lnTo>
                    <a:pt x="186" y="532"/>
                  </a:lnTo>
                  <a:lnTo>
                    <a:pt x="186" y="534"/>
                  </a:lnTo>
                  <a:lnTo>
                    <a:pt x="184" y="534"/>
                  </a:lnTo>
                  <a:lnTo>
                    <a:pt x="186" y="534"/>
                  </a:lnTo>
                  <a:lnTo>
                    <a:pt x="188" y="534"/>
                  </a:lnTo>
                  <a:lnTo>
                    <a:pt x="188" y="536"/>
                  </a:lnTo>
                  <a:lnTo>
                    <a:pt x="190" y="538"/>
                  </a:lnTo>
                  <a:lnTo>
                    <a:pt x="188" y="538"/>
                  </a:lnTo>
                  <a:lnTo>
                    <a:pt x="186" y="538"/>
                  </a:lnTo>
                  <a:lnTo>
                    <a:pt x="188" y="538"/>
                  </a:lnTo>
                  <a:lnTo>
                    <a:pt x="188" y="540"/>
                  </a:lnTo>
                  <a:lnTo>
                    <a:pt x="188" y="542"/>
                  </a:lnTo>
                  <a:lnTo>
                    <a:pt x="190" y="542"/>
                  </a:lnTo>
                  <a:lnTo>
                    <a:pt x="190" y="544"/>
                  </a:lnTo>
                  <a:lnTo>
                    <a:pt x="192" y="544"/>
                  </a:lnTo>
                  <a:lnTo>
                    <a:pt x="190" y="544"/>
                  </a:lnTo>
                  <a:lnTo>
                    <a:pt x="192" y="544"/>
                  </a:lnTo>
                  <a:lnTo>
                    <a:pt x="194" y="544"/>
                  </a:lnTo>
                  <a:lnTo>
                    <a:pt x="194" y="545"/>
                  </a:lnTo>
                  <a:lnTo>
                    <a:pt x="194" y="547"/>
                  </a:lnTo>
                  <a:lnTo>
                    <a:pt x="194" y="545"/>
                  </a:lnTo>
                  <a:lnTo>
                    <a:pt x="192" y="545"/>
                  </a:lnTo>
                  <a:lnTo>
                    <a:pt x="194" y="547"/>
                  </a:lnTo>
                  <a:lnTo>
                    <a:pt x="196" y="547"/>
                  </a:lnTo>
                  <a:lnTo>
                    <a:pt x="198" y="547"/>
                  </a:lnTo>
                  <a:lnTo>
                    <a:pt x="198" y="549"/>
                  </a:lnTo>
                  <a:lnTo>
                    <a:pt x="200" y="549"/>
                  </a:lnTo>
                  <a:lnTo>
                    <a:pt x="200" y="551"/>
                  </a:lnTo>
                  <a:lnTo>
                    <a:pt x="200" y="549"/>
                  </a:lnTo>
                  <a:lnTo>
                    <a:pt x="200" y="551"/>
                  </a:lnTo>
                  <a:lnTo>
                    <a:pt x="202" y="551"/>
                  </a:lnTo>
                  <a:lnTo>
                    <a:pt x="202" y="553"/>
                  </a:lnTo>
                  <a:lnTo>
                    <a:pt x="204" y="553"/>
                  </a:lnTo>
                  <a:lnTo>
                    <a:pt x="202" y="553"/>
                  </a:lnTo>
                  <a:lnTo>
                    <a:pt x="200" y="553"/>
                  </a:lnTo>
                  <a:lnTo>
                    <a:pt x="198" y="553"/>
                  </a:lnTo>
                  <a:lnTo>
                    <a:pt x="198" y="551"/>
                  </a:lnTo>
                  <a:lnTo>
                    <a:pt x="198" y="553"/>
                  </a:lnTo>
                  <a:lnTo>
                    <a:pt x="200" y="553"/>
                  </a:lnTo>
                  <a:lnTo>
                    <a:pt x="200" y="555"/>
                  </a:lnTo>
                  <a:lnTo>
                    <a:pt x="202" y="555"/>
                  </a:lnTo>
                  <a:lnTo>
                    <a:pt x="202" y="557"/>
                  </a:lnTo>
                  <a:lnTo>
                    <a:pt x="202" y="555"/>
                  </a:lnTo>
                  <a:lnTo>
                    <a:pt x="202" y="557"/>
                  </a:lnTo>
                  <a:lnTo>
                    <a:pt x="204" y="557"/>
                  </a:lnTo>
                  <a:lnTo>
                    <a:pt x="204" y="555"/>
                  </a:lnTo>
                  <a:lnTo>
                    <a:pt x="205" y="555"/>
                  </a:lnTo>
                  <a:lnTo>
                    <a:pt x="204" y="555"/>
                  </a:lnTo>
                  <a:lnTo>
                    <a:pt x="204" y="557"/>
                  </a:lnTo>
                  <a:lnTo>
                    <a:pt x="205" y="557"/>
                  </a:lnTo>
                  <a:lnTo>
                    <a:pt x="205" y="559"/>
                  </a:lnTo>
                  <a:lnTo>
                    <a:pt x="205" y="557"/>
                  </a:lnTo>
                  <a:lnTo>
                    <a:pt x="205" y="559"/>
                  </a:lnTo>
                  <a:lnTo>
                    <a:pt x="204" y="559"/>
                  </a:lnTo>
                  <a:lnTo>
                    <a:pt x="204" y="561"/>
                  </a:lnTo>
                  <a:lnTo>
                    <a:pt x="205" y="561"/>
                  </a:lnTo>
                  <a:lnTo>
                    <a:pt x="204" y="561"/>
                  </a:lnTo>
                  <a:lnTo>
                    <a:pt x="202" y="561"/>
                  </a:lnTo>
                  <a:lnTo>
                    <a:pt x="204" y="561"/>
                  </a:lnTo>
                  <a:lnTo>
                    <a:pt x="205" y="561"/>
                  </a:lnTo>
                  <a:lnTo>
                    <a:pt x="205" y="563"/>
                  </a:lnTo>
                  <a:lnTo>
                    <a:pt x="204" y="563"/>
                  </a:lnTo>
                  <a:lnTo>
                    <a:pt x="205" y="563"/>
                  </a:lnTo>
                  <a:lnTo>
                    <a:pt x="207" y="563"/>
                  </a:lnTo>
                  <a:lnTo>
                    <a:pt x="209" y="563"/>
                  </a:lnTo>
                  <a:lnTo>
                    <a:pt x="207" y="565"/>
                  </a:lnTo>
                  <a:lnTo>
                    <a:pt x="209" y="565"/>
                  </a:lnTo>
                  <a:lnTo>
                    <a:pt x="211" y="565"/>
                  </a:lnTo>
                  <a:lnTo>
                    <a:pt x="213" y="565"/>
                  </a:lnTo>
                  <a:lnTo>
                    <a:pt x="213" y="567"/>
                  </a:lnTo>
                  <a:lnTo>
                    <a:pt x="215" y="567"/>
                  </a:lnTo>
                  <a:lnTo>
                    <a:pt x="215" y="569"/>
                  </a:lnTo>
                  <a:lnTo>
                    <a:pt x="217" y="569"/>
                  </a:lnTo>
                  <a:lnTo>
                    <a:pt x="217" y="570"/>
                  </a:lnTo>
                  <a:lnTo>
                    <a:pt x="219" y="570"/>
                  </a:lnTo>
                  <a:lnTo>
                    <a:pt x="219" y="572"/>
                  </a:lnTo>
                  <a:lnTo>
                    <a:pt x="221" y="572"/>
                  </a:lnTo>
                  <a:lnTo>
                    <a:pt x="221" y="574"/>
                  </a:lnTo>
                  <a:lnTo>
                    <a:pt x="219" y="576"/>
                  </a:lnTo>
                  <a:lnTo>
                    <a:pt x="221" y="576"/>
                  </a:lnTo>
                  <a:lnTo>
                    <a:pt x="221" y="578"/>
                  </a:lnTo>
                  <a:lnTo>
                    <a:pt x="221" y="576"/>
                  </a:lnTo>
                  <a:lnTo>
                    <a:pt x="223" y="576"/>
                  </a:lnTo>
                  <a:lnTo>
                    <a:pt x="223" y="578"/>
                  </a:lnTo>
                  <a:lnTo>
                    <a:pt x="221" y="580"/>
                  </a:lnTo>
                  <a:lnTo>
                    <a:pt x="223" y="580"/>
                  </a:lnTo>
                  <a:lnTo>
                    <a:pt x="225" y="580"/>
                  </a:lnTo>
                  <a:lnTo>
                    <a:pt x="225" y="582"/>
                  </a:lnTo>
                  <a:lnTo>
                    <a:pt x="223" y="582"/>
                  </a:lnTo>
                  <a:lnTo>
                    <a:pt x="225" y="582"/>
                  </a:lnTo>
                  <a:lnTo>
                    <a:pt x="225" y="584"/>
                  </a:lnTo>
                  <a:lnTo>
                    <a:pt x="223" y="584"/>
                  </a:lnTo>
                  <a:lnTo>
                    <a:pt x="223" y="582"/>
                  </a:lnTo>
                  <a:lnTo>
                    <a:pt x="221" y="582"/>
                  </a:lnTo>
                  <a:lnTo>
                    <a:pt x="221" y="580"/>
                  </a:lnTo>
                  <a:lnTo>
                    <a:pt x="221" y="582"/>
                  </a:lnTo>
                  <a:lnTo>
                    <a:pt x="221" y="580"/>
                  </a:lnTo>
                  <a:lnTo>
                    <a:pt x="221" y="582"/>
                  </a:lnTo>
                  <a:lnTo>
                    <a:pt x="221" y="584"/>
                  </a:lnTo>
                  <a:lnTo>
                    <a:pt x="221" y="586"/>
                  </a:lnTo>
                  <a:lnTo>
                    <a:pt x="221" y="588"/>
                  </a:lnTo>
                  <a:lnTo>
                    <a:pt x="223" y="588"/>
                  </a:lnTo>
                  <a:lnTo>
                    <a:pt x="221" y="588"/>
                  </a:lnTo>
                  <a:lnTo>
                    <a:pt x="221" y="590"/>
                  </a:lnTo>
                  <a:lnTo>
                    <a:pt x="219" y="592"/>
                  </a:lnTo>
                  <a:lnTo>
                    <a:pt x="221" y="592"/>
                  </a:lnTo>
                  <a:lnTo>
                    <a:pt x="221" y="594"/>
                  </a:lnTo>
                  <a:lnTo>
                    <a:pt x="219" y="594"/>
                  </a:lnTo>
                  <a:lnTo>
                    <a:pt x="217" y="594"/>
                  </a:lnTo>
                  <a:lnTo>
                    <a:pt x="219" y="594"/>
                  </a:lnTo>
                  <a:lnTo>
                    <a:pt x="217" y="594"/>
                  </a:lnTo>
                  <a:lnTo>
                    <a:pt x="215" y="594"/>
                  </a:lnTo>
                  <a:lnTo>
                    <a:pt x="215" y="595"/>
                  </a:lnTo>
                  <a:lnTo>
                    <a:pt x="217" y="595"/>
                  </a:lnTo>
                  <a:lnTo>
                    <a:pt x="215" y="595"/>
                  </a:lnTo>
                  <a:lnTo>
                    <a:pt x="217" y="595"/>
                  </a:lnTo>
                  <a:lnTo>
                    <a:pt x="217" y="597"/>
                  </a:lnTo>
                  <a:lnTo>
                    <a:pt x="217" y="599"/>
                  </a:lnTo>
                  <a:lnTo>
                    <a:pt x="219" y="599"/>
                  </a:lnTo>
                  <a:lnTo>
                    <a:pt x="219" y="601"/>
                  </a:lnTo>
                  <a:lnTo>
                    <a:pt x="219" y="599"/>
                  </a:lnTo>
                  <a:lnTo>
                    <a:pt x="219" y="601"/>
                  </a:lnTo>
                  <a:lnTo>
                    <a:pt x="221" y="601"/>
                  </a:lnTo>
                  <a:lnTo>
                    <a:pt x="221" y="603"/>
                  </a:lnTo>
                  <a:lnTo>
                    <a:pt x="219" y="603"/>
                  </a:lnTo>
                  <a:lnTo>
                    <a:pt x="221" y="603"/>
                  </a:lnTo>
                  <a:lnTo>
                    <a:pt x="221" y="605"/>
                  </a:lnTo>
                  <a:lnTo>
                    <a:pt x="219" y="605"/>
                  </a:lnTo>
                  <a:lnTo>
                    <a:pt x="221" y="605"/>
                  </a:lnTo>
                  <a:lnTo>
                    <a:pt x="221" y="607"/>
                  </a:lnTo>
                  <a:lnTo>
                    <a:pt x="221" y="609"/>
                  </a:lnTo>
                  <a:lnTo>
                    <a:pt x="221" y="607"/>
                  </a:lnTo>
                  <a:lnTo>
                    <a:pt x="223" y="607"/>
                  </a:lnTo>
                  <a:lnTo>
                    <a:pt x="223" y="609"/>
                  </a:lnTo>
                  <a:lnTo>
                    <a:pt x="221" y="609"/>
                  </a:lnTo>
                  <a:lnTo>
                    <a:pt x="221" y="611"/>
                  </a:lnTo>
                  <a:lnTo>
                    <a:pt x="221" y="609"/>
                  </a:lnTo>
                  <a:lnTo>
                    <a:pt x="221" y="611"/>
                  </a:lnTo>
                  <a:lnTo>
                    <a:pt x="223" y="611"/>
                  </a:lnTo>
                  <a:lnTo>
                    <a:pt x="223" y="613"/>
                  </a:lnTo>
                  <a:lnTo>
                    <a:pt x="225" y="613"/>
                  </a:lnTo>
                  <a:lnTo>
                    <a:pt x="225" y="615"/>
                  </a:lnTo>
                  <a:lnTo>
                    <a:pt x="223" y="615"/>
                  </a:lnTo>
                  <a:lnTo>
                    <a:pt x="223" y="617"/>
                  </a:lnTo>
                  <a:lnTo>
                    <a:pt x="221" y="617"/>
                  </a:lnTo>
                  <a:lnTo>
                    <a:pt x="223" y="617"/>
                  </a:lnTo>
                  <a:lnTo>
                    <a:pt x="225" y="617"/>
                  </a:lnTo>
                  <a:lnTo>
                    <a:pt x="223" y="618"/>
                  </a:lnTo>
                  <a:lnTo>
                    <a:pt x="223" y="620"/>
                  </a:lnTo>
                  <a:lnTo>
                    <a:pt x="225" y="620"/>
                  </a:lnTo>
                  <a:lnTo>
                    <a:pt x="225" y="622"/>
                  </a:lnTo>
                  <a:lnTo>
                    <a:pt x="223" y="622"/>
                  </a:lnTo>
                  <a:lnTo>
                    <a:pt x="223" y="624"/>
                  </a:lnTo>
                  <a:lnTo>
                    <a:pt x="221" y="624"/>
                  </a:lnTo>
                  <a:lnTo>
                    <a:pt x="223" y="624"/>
                  </a:lnTo>
                  <a:lnTo>
                    <a:pt x="223" y="626"/>
                  </a:lnTo>
                  <a:lnTo>
                    <a:pt x="225" y="626"/>
                  </a:lnTo>
                  <a:lnTo>
                    <a:pt x="225" y="624"/>
                  </a:lnTo>
                  <a:lnTo>
                    <a:pt x="225" y="626"/>
                  </a:lnTo>
                  <a:lnTo>
                    <a:pt x="225" y="628"/>
                  </a:lnTo>
                  <a:lnTo>
                    <a:pt x="227" y="628"/>
                  </a:lnTo>
                  <a:lnTo>
                    <a:pt x="227" y="630"/>
                  </a:lnTo>
                  <a:lnTo>
                    <a:pt x="228" y="630"/>
                  </a:lnTo>
                  <a:lnTo>
                    <a:pt x="228" y="628"/>
                  </a:lnTo>
                  <a:lnTo>
                    <a:pt x="228" y="630"/>
                  </a:lnTo>
                  <a:lnTo>
                    <a:pt x="230" y="630"/>
                  </a:lnTo>
                  <a:lnTo>
                    <a:pt x="230" y="632"/>
                  </a:lnTo>
                  <a:lnTo>
                    <a:pt x="232" y="632"/>
                  </a:lnTo>
                  <a:lnTo>
                    <a:pt x="232" y="630"/>
                  </a:lnTo>
                  <a:lnTo>
                    <a:pt x="234" y="632"/>
                  </a:lnTo>
                  <a:lnTo>
                    <a:pt x="234" y="630"/>
                  </a:lnTo>
                  <a:lnTo>
                    <a:pt x="236" y="630"/>
                  </a:lnTo>
                  <a:lnTo>
                    <a:pt x="236" y="632"/>
                  </a:lnTo>
                  <a:lnTo>
                    <a:pt x="238" y="632"/>
                  </a:lnTo>
                  <a:lnTo>
                    <a:pt x="238" y="630"/>
                  </a:lnTo>
                  <a:lnTo>
                    <a:pt x="238" y="628"/>
                  </a:lnTo>
                  <a:lnTo>
                    <a:pt x="238" y="630"/>
                  </a:lnTo>
                  <a:lnTo>
                    <a:pt x="240" y="630"/>
                  </a:lnTo>
                  <a:lnTo>
                    <a:pt x="240" y="632"/>
                  </a:lnTo>
                  <a:lnTo>
                    <a:pt x="238" y="632"/>
                  </a:lnTo>
                  <a:lnTo>
                    <a:pt x="238" y="634"/>
                  </a:lnTo>
                  <a:lnTo>
                    <a:pt x="238" y="636"/>
                  </a:lnTo>
                  <a:lnTo>
                    <a:pt x="240" y="636"/>
                  </a:lnTo>
                  <a:lnTo>
                    <a:pt x="242" y="636"/>
                  </a:lnTo>
                  <a:lnTo>
                    <a:pt x="244" y="638"/>
                  </a:lnTo>
                  <a:lnTo>
                    <a:pt x="242" y="638"/>
                  </a:lnTo>
                  <a:lnTo>
                    <a:pt x="242" y="640"/>
                  </a:lnTo>
                  <a:lnTo>
                    <a:pt x="244" y="640"/>
                  </a:lnTo>
                  <a:lnTo>
                    <a:pt x="244" y="642"/>
                  </a:lnTo>
                  <a:lnTo>
                    <a:pt x="244" y="643"/>
                  </a:lnTo>
                  <a:lnTo>
                    <a:pt x="246" y="643"/>
                  </a:lnTo>
                  <a:lnTo>
                    <a:pt x="248" y="643"/>
                  </a:lnTo>
                  <a:lnTo>
                    <a:pt x="250" y="643"/>
                  </a:lnTo>
                  <a:lnTo>
                    <a:pt x="250" y="645"/>
                  </a:lnTo>
                  <a:lnTo>
                    <a:pt x="251" y="645"/>
                  </a:lnTo>
                  <a:lnTo>
                    <a:pt x="253" y="645"/>
                  </a:lnTo>
                  <a:lnTo>
                    <a:pt x="255" y="645"/>
                  </a:lnTo>
                  <a:lnTo>
                    <a:pt x="257" y="645"/>
                  </a:lnTo>
                  <a:lnTo>
                    <a:pt x="257" y="647"/>
                  </a:lnTo>
                  <a:lnTo>
                    <a:pt x="257" y="649"/>
                  </a:lnTo>
                  <a:lnTo>
                    <a:pt x="259" y="649"/>
                  </a:lnTo>
                  <a:lnTo>
                    <a:pt x="261" y="649"/>
                  </a:lnTo>
                  <a:lnTo>
                    <a:pt x="263" y="649"/>
                  </a:lnTo>
                  <a:lnTo>
                    <a:pt x="263" y="647"/>
                  </a:lnTo>
                  <a:lnTo>
                    <a:pt x="263" y="645"/>
                  </a:lnTo>
                  <a:lnTo>
                    <a:pt x="265" y="645"/>
                  </a:lnTo>
                  <a:lnTo>
                    <a:pt x="267" y="645"/>
                  </a:lnTo>
                  <a:lnTo>
                    <a:pt x="269" y="645"/>
                  </a:lnTo>
                  <a:lnTo>
                    <a:pt x="269" y="643"/>
                  </a:lnTo>
                  <a:lnTo>
                    <a:pt x="271" y="642"/>
                  </a:lnTo>
                  <a:lnTo>
                    <a:pt x="269" y="642"/>
                  </a:lnTo>
                  <a:lnTo>
                    <a:pt x="269" y="640"/>
                  </a:lnTo>
                  <a:lnTo>
                    <a:pt x="269" y="638"/>
                  </a:lnTo>
                  <a:lnTo>
                    <a:pt x="269" y="636"/>
                  </a:lnTo>
                  <a:lnTo>
                    <a:pt x="267" y="636"/>
                  </a:lnTo>
                  <a:lnTo>
                    <a:pt x="267" y="634"/>
                  </a:lnTo>
                  <a:lnTo>
                    <a:pt x="269" y="634"/>
                  </a:lnTo>
                  <a:lnTo>
                    <a:pt x="269" y="632"/>
                  </a:lnTo>
                  <a:lnTo>
                    <a:pt x="267" y="632"/>
                  </a:lnTo>
                  <a:lnTo>
                    <a:pt x="269" y="632"/>
                  </a:lnTo>
                  <a:lnTo>
                    <a:pt x="269" y="630"/>
                  </a:lnTo>
                  <a:lnTo>
                    <a:pt x="267" y="630"/>
                  </a:lnTo>
                  <a:lnTo>
                    <a:pt x="265" y="630"/>
                  </a:lnTo>
                  <a:lnTo>
                    <a:pt x="265" y="628"/>
                  </a:lnTo>
                  <a:lnTo>
                    <a:pt x="267" y="628"/>
                  </a:lnTo>
                  <a:lnTo>
                    <a:pt x="265" y="628"/>
                  </a:lnTo>
                  <a:lnTo>
                    <a:pt x="267" y="628"/>
                  </a:lnTo>
                  <a:lnTo>
                    <a:pt x="267" y="626"/>
                  </a:lnTo>
                  <a:lnTo>
                    <a:pt x="265" y="626"/>
                  </a:lnTo>
                  <a:lnTo>
                    <a:pt x="265" y="628"/>
                  </a:lnTo>
                  <a:lnTo>
                    <a:pt x="265" y="626"/>
                  </a:lnTo>
                  <a:lnTo>
                    <a:pt x="265" y="628"/>
                  </a:lnTo>
                  <a:lnTo>
                    <a:pt x="263" y="628"/>
                  </a:lnTo>
                  <a:lnTo>
                    <a:pt x="263" y="630"/>
                  </a:lnTo>
                  <a:lnTo>
                    <a:pt x="261" y="630"/>
                  </a:lnTo>
                  <a:lnTo>
                    <a:pt x="259" y="630"/>
                  </a:lnTo>
                  <a:lnTo>
                    <a:pt x="257" y="630"/>
                  </a:lnTo>
                  <a:lnTo>
                    <a:pt x="257" y="628"/>
                  </a:lnTo>
                  <a:lnTo>
                    <a:pt x="255" y="628"/>
                  </a:lnTo>
                  <a:lnTo>
                    <a:pt x="255" y="626"/>
                  </a:lnTo>
                  <a:lnTo>
                    <a:pt x="253" y="626"/>
                  </a:lnTo>
                  <a:lnTo>
                    <a:pt x="253" y="624"/>
                  </a:lnTo>
                  <a:lnTo>
                    <a:pt x="251" y="622"/>
                  </a:lnTo>
                  <a:lnTo>
                    <a:pt x="251" y="620"/>
                  </a:lnTo>
                  <a:lnTo>
                    <a:pt x="250" y="618"/>
                  </a:lnTo>
                  <a:lnTo>
                    <a:pt x="248" y="618"/>
                  </a:lnTo>
                  <a:lnTo>
                    <a:pt x="248" y="617"/>
                  </a:lnTo>
                  <a:lnTo>
                    <a:pt x="248" y="615"/>
                  </a:lnTo>
                  <a:lnTo>
                    <a:pt x="246" y="613"/>
                  </a:lnTo>
                  <a:lnTo>
                    <a:pt x="246" y="611"/>
                  </a:lnTo>
                  <a:lnTo>
                    <a:pt x="248" y="611"/>
                  </a:lnTo>
                  <a:lnTo>
                    <a:pt x="250" y="611"/>
                  </a:lnTo>
                  <a:lnTo>
                    <a:pt x="251" y="611"/>
                  </a:lnTo>
                  <a:lnTo>
                    <a:pt x="251" y="609"/>
                  </a:lnTo>
                  <a:lnTo>
                    <a:pt x="251" y="607"/>
                  </a:lnTo>
                  <a:lnTo>
                    <a:pt x="251" y="605"/>
                  </a:lnTo>
                  <a:lnTo>
                    <a:pt x="251" y="603"/>
                  </a:lnTo>
                  <a:lnTo>
                    <a:pt x="253" y="603"/>
                  </a:lnTo>
                  <a:lnTo>
                    <a:pt x="255" y="603"/>
                  </a:lnTo>
                  <a:lnTo>
                    <a:pt x="257" y="603"/>
                  </a:lnTo>
                  <a:lnTo>
                    <a:pt x="257" y="605"/>
                  </a:lnTo>
                  <a:lnTo>
                    <a:pt x="259" y="605"/>
                  </a:lnTo>
                  <a:lnTo>
                    <a:pt x="263" y="607"/>
                  </a:lnTo>
                  <a:lnTo>
                    <a:pt x="265" y="607"/>
                  </a:lnTo>
                  <a:lnTo>
                    <a:pt x="265" y="609"/>
                  </a:lnTo>
                  <a:lnTo>
                    <a:pt x="265" y="611"/>
                  </a:lnTo>
                  <a:lnTo>
                    <a:pt x="267" y="611"/>
                  </a:lnTo>
                  <a:lnTo>
                    <a:pt x="267" y="613"/>
                  </a:lnTo>
                  <a:lnTo>
                    <a:pt x="269" y="613"/>
                  </a:lnTo>
                  <a:lnTo>
                    <a:pt x="271" y="613"/>
                  </a:lnTo>
                  <a:lnTo>
                    <a:pt x="273" y="613"/>
                  </a:lnTo>
                  <a:lnTo>
                    <a:pt x="275" y="613"/>
                  </a:lnTo>
                  <a:lnTo>
                    <a:pt x="275" y="615"/>
                  </a:lnTo>
                  <a:lnTo>
                    <a:pt x="275" y="617"/>
                  </a:lnTo>
                  <a:lnTo>
                    <a:pt x="275" y="615"/>
                  </a:lnTo>
                  <a:lnTo>
                    <a:pt x="273" y="615"/>
                  </a:lnTo>
                  <a:lnTo>
                    <a:pt x="273" y="617"/>
                  </a:lnTo>
                  <a:lnTo>
                    <a:pt x="271" y="617"/>
                  </a:lnTo>
                  <a:lnTo>
                    <a:pt x="273" y="617"/>
                  </a:lnTo>
                  <a:lnTo>
                    <a:pt x="271" y="615"/>
                  </a:lnTo>
                  <a:lnTo>
                    <a:pt x="271" y="617"/>
                  </a:lnTo>
                  <a:lnTo>
                    <a:pt x="269" y="617"/>
                  </a:lnTo>
                  <a:lnTo>
                    <a:pt x="269" y="618"/>
                  </a:lnTo>
                  <a:lnTo>
                    <a:pt x="271" y="618"/>
                  </a:lnTo>
                  <a:lnTo>
                    <a:pt x="271" y="620"/>
                  </a:lnTo>
                  <a:lnTo>
                    <a:pt x="269" y="620"/>
                  </a:lnTo>
                  <a:lnTo>
                    <a:pt x="269" y="622"/>
                  </a:lnTo>
                  <a:lnTo>
                    <a:pt x="269" y="620"/>
                  </a:lnTo>
                  <a:lnTo>
                    <a:pt x="271" y="620"/>
                  </a:lnTo>
                  <a:lnTo>
                    <a:pt x="271" y="618"/>
                  </a:lnTo>
                  <a:lnTo>
                    <a:pt x="273" y="618"/>
                  </a:lnTo>
                  <a:lnTo>
                    <a:pt x="273" y="617"/>
                  </a:lnTo>
                  <a:lnTo>
                    <a:pt x="275" y="617"/>
                  </a:lnTo>
                  <a:lnTo>
                    <a:pt x="276" y="617"/>
                  </a:lnTo>
                  <a:lnTo>
                    <a:pt x="275" y="617"/>
                  </a:lnTo>
                  <a:lnTo>
                    <a:pt x="275" y="615"/>
                  </a:lnTo>
                  <a:lnTo>
                    <a:pt x="276" y="615"/>
                  </a:lnTo>
                  <a:lnTo>
                    <a:pt x="276" y="617"/>
                  </a:lnTo>
                  <a:lnTo>
                    <a:pt x="278" y="617"/>
                  </a:lnTo>
                  <a:lnTo>
                    <a:pt x="280" y="617"/>
                  </a:lnTo>
                  <a:lnTo>
                    <a:pt x="282" y="617"/>
                  </a:lnTo>
                  <a:lnTo>
                    <a:pt x="282" y="618"/>
                  </a:lnTo>
                  <a:lnTo>
                    <a:pt x="284" y="618"/>
                  </a:lnTo>
                  <a:lnTo>
                    <a:pt x="284" y="620"/>
                  </a:lnTo>
                  <a:lnTo>
                    <a:pt x="286" y="620"/>
                  </a:lnTo>
                  <a:lnTo>
                    <a:pt x="288" y="620"/>
                  </a:lnTo>
                  <a:lnTo>
                    <a:pt x="288" y="622"/>
                  </a:lnTo>
                  <a:lnTo>
                    <a:pt x="290" y="622"/>
                  </a:lnTo>
                  <a:lnTo>
                    <a:pt x="290" y="624"/>
                  </a:lnTo>
                  <a:lnTo>
                    <a:pt x="292" y="624"/>
                  </a:lnTo>
                  <a:lnTo>
                    <a:pt x="294" y="624"/>
                  </a:lnTo>
                  <a:lnTo>
                    <a:pt x="294" y="622"/>
                  </a:lnTo>
                  <a:lnTo>
                    <a:pt x="294" y="624"/>
                  </a:lnTo>
                  <a:lnTo>
                    <a:pt x="294" y="622"/>
                  </a:lnTo>
                  <a:lnTo>
                    <a:pt x="296" y="622"/>
                  </a:lnTo>
                  <a:lnTo>
                    <a:pt x="294" y="622"/>
                  </a:lnTo>
                  <a:lnTo>
                    <a:pt x="296" y="622"/>
                  </a:lnTo>
                  <a:lnTo>
                    <a:pt x="296" y="620"/>
                  </a:lnTo>
                  <a:lnTo>
                    <a:pt x="298" y="620"/>
                  </a:lnTo>
                  <a:lnTo>
                    <a:pt x="299" y="620"/>
                  </a:lnTo>
                  <a:lnTo>
                    <a:pt x="299" y="622"/>
                  </a:lnTo>
                  <a:lnTo>
                    <a:pt x="299" y="620"/>
                  </a:lnTo>
                  <a:lnTo>
                    <a:pt x="298" y="620"/>
                  </a:lnTo>
                  <a:lnTo>
                    <a:pt x="298" y="618"/>
                  </a:lnTo>
                  <a:lnTo>
                    <a:pt x="296" y="618"/>
                  </a:lnTo>
                  <a:lnTo>
                    <a:pt x="298" y="618"/>
                  </a:lnTo>
                  <a:lnTo>
                    <a:pt x="299" y="618"/>
                  </a:lnTo>
                  <a:lnTo>
                    <a:pt x="301" y="618"/>
                  </a:lnTo>
                  <a:lnTo>
                    <a:pt x="301" y="620"/>
                  </a:lnTo>
                  <a:lnTo>
                    <a:pt x="303" y="620"/>
                  </a:lnTo>
                  <a:lnTo>
                    <a:pt x="305" y="620"/>
                  </a:lnTo>
                  <a:lnTo>
                    <a:pt x="303" y="620"/>
                  </a:lnTo>
                  <a:lnTo>
                    <a:pt x="303" y="618"/>
                  </a:lnTo>
                  <a:lnTo>
                    <a:pt x="305" y="618"/>
                  </a:lnTo>
                  <a:lnTo>
                    <a:pt x="303" y="618"/>
                  </a:lnTo>
                  <a:lnTo>
                    <a:pt x="303" y="617"/>
                  </a:lnTo>
                  <a:lnTo>
                    <a:pt x="305" y="617"/>
                  </a:lnTo>
                  <a:lnTo>
                    <a:pt x="303" y="617"/>
                  </a:lnTo>
                  <a:lnTo>
                    <a:pt x="305" y="617"/>
                  </a:lnTo>
                  <a:lnTo>
                    <a:pt x="305" y="615"/>
                  </a:lnTo>
                  <a:lnTo>
                    <a:pt x="303" y="615"/>
                  </a:lnTo>
                  <a:lnTo>
                    <a:pt x="303" y="613"/>
                  </a:lnTo>
                  <a:lnTo>
                    <a:pt x="303" y="611"/>
                  </a:lnTo>
                  <a:lnTo>
                    <a:pt x="303" y="609"/>
                  </a:lnTo>
                  <a:lnTo>
                    <a:pt x="301" y="609"/>
                  </a:lnTo>
                  <a:lnTo>
                    <a:pt x="301" y="607"/>
                  </a:lnTo>
                  <a:lnTo>
                    <a:pt x="299" y="605"/>
                  </a:lnTo>
                  <a:lnTo>
                    <a:pt x="299" y="603"/>
                  </a:lnTo>
                  <a:lnTo>
                    <a:pt x="298" y="603"/>
                  </a:lnTo>
                  <a:lnTo>
                    <a:pt x="298" y="601"/>
                  </a:lnTo>
                  <a:lnTo>
                    <a:pt x="298" y="599"/>
                  </a:lnTo>
                  <a:lnTo>
                    <a:pt x="294" y="597"/>
                  </a:lnTo>
                  <a:lnTo>
                    <a:pt x="294" y="594"/>
                  </a:lnTo>
                  <a:lnTo>
                    <a:pt x="294" y="592"/>
                  </a:lnTo>
                  <a:lnTo>
                    <a:pt x="294" y="590"/>
                  </a:lnTo>
                  <a:lnTo>
                    <a:pt x="296" y="588"/>
                  </a:lnTo>
                  <a:lnTo>
                    <a:pt x="296" y="586"/>
                  </a:lnTo>
                  <a:lnTo>
                    <a:pt x="298" y="586"/>
                  </a:lnTo>
                  <a:lnTo>
                    <a:pt x="301" y="584"/>
                  </a:lnTo>
                  <a:lnTo>
                    <a:pt x="301" y="582"/>
                  </a:lnTo>
                  <a:lnTo>
                    <a:pt x="305" y="580"/>
                  </a:lnTo>
                  <a:lnTo>
                    <a:pt x="305" y="578"/>
                  </a:lnTo>
                  <a:lnTo>
                    <a:pt x="307" y="578"/>
                  </a:lnTo>
                  <a:lnTo>
                    <a:pt x="307" y="576"/>
                  </a:lnTo>
                  <a:lnTo>
                    <a:pt x="309" y="572"/>
                  </a:lnTo>
                  <a:lnTo>
                    <a:pt x="313" y="572"/>
                  </a:lnTo>
                  <a:lnTo>
                    <a:pt x="317" y="570"/>
                  </a:lnTo>
                  <a:lnTo>
                    <a:pt x="319" y="570"/>
                  </a:lnTo>
                  <a:lnTo>
                    <a:pt x="321" y="569"/>
                  </a:lnTo>
                  <a:lnTo>
                    <a:pt x="324" y="565"/>
                  </a:lnTo>
                  <a:lnTo>
                    <a:pt x="324" y="561"/>
                  </a:lnTo>
                  <a:lnTo>
                    <a:pt x="326" y="561"/>
                  </a:lnTo>
                  <a:lnTo>
                    <a:pt x="328" y="559"/>
                  </a:lnTo>
                  <a:lnTo>
                    <a:pt x="328" y="557"/>
                  </a:lnTo>
                  <a:lnTo>
                    <a:pt x="328" y="555"/>
                  </a:lnTo>
                  <a:lnTo>
                    <a:pt x="332" y="553"/>
                  </a:lnTo>
                  <a:lnTo>
                    <a:pt x="332" y="555"/>
                  </a:lnTo>
                  <a:lnTo>
                    <a:pt x="336" y="557"/>
                  </a:lnTo>
                  <a:lnTo>
                    <a:pt x="338" y="559"/>
                  </a:lnTo>
                  <a:lnTo>
                    <a:pt x="340" y="559"/>
                  </a:lnTo>
                  <a:lnTo>
                    <a:pt x="346" y="557"/>
                  </a:lnTo>
                  <a:lnTo>
                    <a:pt x="346" y="559"/>
                  </a:lnTo>
                  <a:lnTo>
                    <a:pt x="347" y="559"/>
                  </a:lnTo>
                  <a:lnTo>
                    <a:pt x="347" y="561"/>
                  </a:lnTo>
                  <a:lnTo>
                    <a:pt x="351" y="563"/>
                  </a:lnTo>
                  <a:lnTo>
                    <a:pt x="351" y="565"/>
                  </a:lnTo>
                  <a:lnTo>
                    <a:pt x="353" y="567"/>
                  </a:lnTo>
                  <a:lnTo>
                    <a:pt x="355" y="567"/>
                  </a:lnTo>
                  <a:lnTo>
                    <a:pt x="357" y="570"/>
                  </a:lnTo>
                  <a:lnTo>
                    <a:pt x="359" y="570"/>
                  </a:lnTo>
                  <a:lnTo>
                    <a:pt x="359" y="569"/>
                  </a:lnTo>
                  <a:lnTo>
                    <a:pt x="357" y="567"/>
                  </a:lnTo>
                  <a:lnTo>
                    <a:pt x="357" y="565"/>
                  </a:lnTo>
                  <a:lnTo>
                    <a:pt x="359" y="561"/>
                  </a:lnTo>
                  <a:lnTo>
                    <a:pt x="359" y="557"/>
                  </a:lnTo>
                  <a:lnTo>
                    <a:pt x="361" y="555"/>
                  </a:lnTo>
                  <a:lnTo>
                    <a:pt x="363" y="555"/>
                  </a:lnTo>
                  <a:lnTo>
                    <a:pt x="363" y="553"/>
                  </a:lnTo>
                  <a:lnTo>
                    <a:pt x="363" y="551"/>
                  </a:lnTo>
                  <a:lnTo>
                    <a:pt x="363" y="549"/>
                  </a:lnTo>
                  <a:lnTo>
                    <a:pt x="363" y="547"/>
                  </a:lnTo>
                  <a:lnTo>
                    <a:pt x="363" y="545"/>
                  </a:lnTo>
                  <a:lnTo>
                    <a:pt x="361" y="545"/>
                  </a:lnTo>
                  <a:lnTo>
                    <a:pt x="361" y="544"/>
                  </a:lnTo>
                  <a:lnTo>
                    <a:pt x="363" y="544"/>
                  </a:lnTo>
                  <a:lnTo>
                    <a:pt x="363" y="542"/>
                  </a:lnTo>
                  <a:lnTo>
                    <a:pt x="365" y="542"/>
                  </a:lnTo>
                  <a:lnTo>
                    <a:pt x="363" y="542"/>
                  </a:lnTo>
                  <a:lnTo>
                    <a:pt x="363" y="540"/>
                  </a:lnTo>
                  <a:lnTo>
                    <a:pt x="365" y="540"/>
                  </a:lnTo>
                  <a:lnTo>
                    <a:pt x="363" y="538"/>
                  </a:lnTo>
                  <a:lnTo>
                    <a:pt x="363" y="536"/>
                  </a:lnTo>
                  <a:lnTo>
                    <a:pt x="361" y="536"/>
                  </a:lnTo>
                  <a:lnTo>
                    <a:pt x="361" y="534"/>
                  </a:lnTo>
                  <a:lnTo>
                    <a:pt x="359" y="530"/>
                  </a:lnTo>
                  <a:lnTo>
                    <a:pt x="357" y="530"/>
                  </a:lnTo>
                  <a:lnTo>
                    <a:pt x="355" y="530"/>
                  </a:lnTo>
                  <a:lnTo>
                    <a:pt x="353" y="530"/>
                  </a:lnTo>
                  <a:lnTo>
                    <a:pt x="353" y="528"/>
                  </a:lnTo>
                  <a:lnTo>
                    <a:pt x="353" y="526"/>
                  </a:lnTo>
                  <a:lnTo>
                    <a:pt x="353" y="524"/>
                  </a:lnTo>
                  <a:lnTo>
                    <a:pt x="353" y="522"/>
                  </a:lnTo>
                  <a:lnTo>
                    <a:pt x="353" y="521"/>
                  </a:lnTo>
                  <a:lnTo>
                    <a:pt x="355" y="519"/>
                  </a:lnTo>
                  <a:lnTo>
                    <a:pt x="355" y="515"/>
                  </a:lnTo>
                  <a:lnTo>
                    <a:pt x="357" y="515"/>
                  </a:lnTo>
                  <a:lnTo>
                    <a:pt x="357" y="513"/>
                  </a:lnTo>
                  <a:lnTo>
                    <a:pt x="357" y="511"/>
                  </a:lnTo>
                  <a:lnTo>
                    <a:pt x="359" y="511"/>
                  </a:lnTo>
                  <a:lnTo>
                    <a:pt x="357" y="509"/>
                  </a:lnTo>
                  <a:lnTo>
                    <a:pt x="359" y="509"/>
                  </a:lnTo>
                  <a:lnTo>
                    <a:pt x="359" y="507"/>
                  </a:lnTo>
                  <a:lnTo>
                    <a:pt x="359" y="505"/>
                  </a:lnTo>
                  <a:lnTo>
                    <a:pt x="359" y="503"/>
                  </a:lnTo>
                  <a:lnTo>
                    <a:pt x="361" y="503"/>
                  </a:lnTo>
                  <a:lnTo>
                    <a:pt x="361" y="501"/>
                  </a:lnTo>
                  <a:lnTo>
                    <a:pt x="359" y="501"/>
                  </a:lnTo>
                  <a:lnTo>
                    <a:pt x="359" y="499"/>
                  </a:lnTo>
                  <a:lnTo>
                    <a:pt x="359" y="497"/>
                  </a:lnTo>
                  <a:lnTo>
                    <a:pt x="359" y="496"/>
                  </a:lnTo>
                  <a:lnTo>
                    <a:pt x="359" y="494"/>
                  </a:lnTo>
                  <a:lnTo>
                    <a:pt x="359" y="490"/>
                  </a:lnTo>
                  <a:lnTo>
                    <a:pt x="359" y="486"/>
                  </a:lnTo>
                  <a:lnTo>
                    <a:pt x="359" y="484"/>
                  </a:lnTo>
                  <a:lnTo>
                    <a:pt x="357" y="484"/>
                  </a:lnTo>
                  <a:lnTo>
                    <a:pt x="357" y="482"/>
                  </a:lnTo>
                  <a:lnTo>
                    <a:pt x="355" y="482"/>
                  </a:lnTo>
                  <a:lnTo>
                    <a:pt x="355" y="480"/>
                  </a:lnTo>
                  <a:lnTo>
                    <a:pt x="353" y="480"/>
                  </a:lnTo>
                  <a:lnTo>
                    <a:pt x="347" y="474"/>
                  </a:lnTo>
                  <a:lnTo>
                    <a:pt x="346" y="472"/>
                  </a:lnTo>
                  <a:lnTo>
                    <a:pt x="346" y="471"/>
                  </a:lnTo>
                  <a:lnTo>
                    <a:pt x="347" y="471"/>
                  </a:lnTo>
                  <a:lnTo>
                    <a:pt x="349" y="472"/>
                  </a:lnTo>
                  <a:lnTo>
                    <a:pt x="351" y="472"/>
                  </a:lnTo>
                  <a:lnTo>
                    <a:pt x="353" y="472"/>
                  </a:lnTo>
                  <a:lnTo>
                    <a:pt x="353" y="474"/>
                  </a:lnTo>
                  <a:lnTo>
                    <a:pt x="355" y="474"/>
                  </a:lnTo>
                  <a:lnTo>
                    <a:pt x="355" y="476"/>
                  </a:lnTo>
                  <a:lnTo>
                    <a:pt x="357" y="476"/>
                  </a:lnTo>
                  <a:lnTo>
                    <a:pt x="363" y="476"/>
                  </a:lnTo>
                  <a:lnTo>
                    <a:pt x="367" y="476"/>
                  </a:lnTo>
                  <a:lnTo>
                    <a:pt x="369" y="476"/>
                  </a:lnTo>
                  <a:lnTo>
                    <a:pt x="370" y="476"/>
                  </a:lnTo>
                  <a:lnTo>
                    <a:pt x="372" y="476"/>
                  </a:lnTo>
                  <a:lnTo>
                    <a:pt x="376" y="478"/>
                  </a:lnTo>
                  <a:lnTo>
                    <a:pt x="378" y="478"/>
                  </a:lnTo>
                  <a:lnTo>
                    <a:pt x="380" y="478"/>
                  </a:lnTo>
                  <a:lnTo>
                    <a:pt x="382" y="478"/>
                  </a:lnTo>
                  <a:lnTo>
                    <a:pt x="384" y="480"/>
                  </a:lnTo>
                  <a:lnTo>
                    <a:pt x="386" y="480"/>
                  </a:lnTo>
                  <a:lnTo>
                    <a:pt x="386" y="482"/>
                  </a:lnTo>
                  <a:lnTo>
                    <a:pt x="386" y="480"/>
                  </a:lnTo>
                  <a:lnTo>
                    <a:pt x="384" y="480"/>
                  </a:lnTo>
                  <a:lnTo>
                    <a:pt x="384" y="482"/>
                  </a:lnTo>
                  <a:lnTo>
                    <a:pt x="386" y="484"/>
                  </a:lnTo>
                  <a:lnTo>
                    <a:pt x="386" y="486"/>
                  </a:lnTo>
                  <a:lnTo>
                    <a:pt x="388" y="486"/>
                  </a:lnTo>
                  <a:lnTo>
                    <a:pt x="388" y="488"/>
                  </a:lnTo>
                  <a:lnTo>
                    <a:pt x="390" y="492"/>
                  </a:lnTo>
                  <a:lnTo>
                    <a:pt x="392" y="492"/>
                  </a:lnTo>
                  <a:lnTo>
                    <a:pt x="394" y="492"/>
                  </a:lnTo>
                  <a:lnTo>
                    <a:pt x="394" y="494"/>
                  </a:lnTo>
                  <a:lnTo>
                    <a:pt x="394" y="496"/>
                  </a:lnTo>
                  <a:lnTo>
                    <a:pt x="394" y="497"/>
                  </a:lnTo>
                  <a:lnTo>
                    <a:pt x="395" y="499"/>
                  </a:lnTo>
                  <a:lnTo>
                    <a:pt x="395" y="501"/>
                  </a:lnTo>
                  <a:lnTo>
                    <a:pt x="395" y="503"/>
                  </a:lnTo>
                  <a:lnTo>
                    <a:pt x="395" y="505"/>
                  </a:lnTo>
                  <a:lnTo>
                    <a:pt x="394" y="505"/>
                  </a:lnTo>
                  <a:lnTo>
                    <a:pt x="392" y="505"/>
                  </a:lnTo>
                  <a:lnTo>
                    <a:pt x="390" y="505"/>
                  </a:lnTo>
                  <a:lnTo>
                    <a:pt x="388" y="505"/>
                  </a:lnTo>
                  <a:lnTo>
                    <a:pt x="386" y="507"/>
                  </a:lnTo>
                  <a:lnTo>
                    <a:pt x="386" y="505"/>
                  </a:lnTo>
                  <a:lnTo>
                    <a:pt x="386" y="507"/>
                  </a:lnTo>
                  <a:lnTo>
                    <a:pt x="384" y="507"/>
                  </a:lnTo>
                  <a:lnTo>
                    <a:pt x="382" y="507"/>
                  </a:lnTo>
                  <a:lnTo>
                    <a:pt x="380" y="507"/>
                  </a:lnTo>
                  <a:lnTo>
                    <a:pt x="378" y="507"/>
                  </a:lnTo>
                  <a:lnTo>
                    <a:pt x="376" y="509"/>
                  </a:lnTo>
                  <a:lnTo>
                    <a:pt x="376" y="511"/>
                  </a:lnTo>
                  <a:lnTo>
                    <a:pt x="376" y="513"/>
                  </a:lnTo>
                  <a:lnTo>
                    <a:pt x="376" y="515"/>
                  </a:lnTo>
                  <a:lnTo>
                    <a:pt x="374" y="515"/>
                  </a:lnTo>
                  <a:lnTo>
                    <a:pt x="372" y="515"/>
                  </a:lnTo>
                  <a:lnTo>
                    <a:pt x="370" y="517"/>
                  </a:lnTo>
                  <a:lnTo>
                    <a:pt x="370" y="519"/>
                  </a:lnTo>
                  <a:lnTo>
                    <a:pt x="370" y="521"/>
                  </a:lnTo>
                  <a:lnTo>
                    <a:pt x="370" y="522"/>
                  </a:lnTo>
                  <a:lnTo>
                    <a:pt x="370" y="524"/>
                  </a:lnTo>
                  <a:lnTo>
                    <a:pt x="374" y="526"/>
                  </a:lnTo>
                  <a:lnTo>
                    <a:pt x="376" y="528"/>
                  </a:lnTo>
                  <a:lnTo>
                    <a:pt x="378" y="528"/>
                  </a:lnTo>
                  <a:lnTo>
                    <a:pt x="378" y="530"/>
                  </a:lnTo>
                  <a:lnTo>
                    <a:pt x="380" y="530"/>
                  </a:lnTo>
                  <a:lnTo>
                    <a:pt x="380" y="532"/>
                  </a:lnTo>
                  <a:lnTo>
                    <a:pt x="380" y="534"/>
                  </a:lnTo>
                  <a:lnTo>
                    <a:pt x="382" y="536"/>
                  </a:lnTo>
                  <a:lnTo>
                    <a:pt x="382" y="538"/>
                  </a:lnTo>
                  <a:lnTo>
                    <a:pt x="382" y="540"/>
                  </a:lnTo>
                  <a:lnTo>
                    <a:pt x="384" y="540"/>
                  </a:lnTo>
                  <a:lnTo>
                    <a:pt x="384" y="542"/>
                  </a:lnTo>
                  <a:lnTo>
                    <a:pt x="386" y="542"/>
                  </a:lnTo>
                  <a:lnTo>
                    <a:pt x="388" y="542"/>
                  </a:lnTo>
                  <a:lnTo>
                    <a:pt x="390" y="542"/>
                  </a:lnTo>
                  <a:lnTo>
                    <a:pt x="392" y="542"/>
                  </a:lnTo>
                  <a:lnTo>
                    <a:pt x="394" y="542"/>
                  </a:lnTo>
                  <a:lnTo>
                    <a:pt x="395" y="542"/>
                  </a:lnTo>
                  <a:lnTo>
                    <a:pt x="397" y="542"/>
                  </a:lnTo>
                  <a:lnTo>
                    <a:pt x="399" y="542"/>
                  </a:lnTo>
                  <a:lnTo>
                    <a:pt x="401" y="542"/>
                  </a:lnTo>
                  <a:lnTo>
                    <a:pt x="403" y="540"/>
                  </a:lnTo>
                  <a:lnTo>
                    <a:pt x="405" y="540"/>
                  </a:lnTo>
                  <a:lnTo>
                    <a:pt x="407" y="540"/>
                  </a:lnTo>
                  <a:lnTo>
                    <a:pt x="409" y="540"/>
                  </a:lnTo>
                  <a:lnTo>
                    <a:pt x="409" y="538"/>
                  </a:lnTo>
                  <a:lnTo>
                    <a:pt x="411" y="538"/>
                  </a:lnTo>
                  <a:lnTo>
                    <a:pt x="411" y="536"/>
                  </a:lnTo>
                  <a:lnTo>
                    <a:pt x="411" y="530"/>
                  </a:lnTo>
                  <a:lnTo>
                    <a:pt x="411" y="528"/>
                  </a:lnTo>
                  <a:lnTo>
                    <a:pt x="413" y="526"/>
                  </a:lnTo>
                  <a:lnTo>
                    <a:pt x="411" y="526"/>
                  </a:lnTo>
                  <a:lnTo>
                    <a:pt x="411" y="524"/>
                  </a:lnTo>
                  <a:lnTo>
                    <a:pt x="413" y="524"/>
                  </a:lnTo>
                  <a:lnTo>
                    <a:pt x="411" y="522"/>
                  </a:lnTo>
                  <a:lnTo>
                    <a:pt x="413" y="522"/>
                  </a:lnTo>
                  <a:lnTo>
                    <a:pt x="413" y="521"/>
                  </a:lnTo>
                  <a:lnTo>
                    <a:pt x="415" y="519"/>
                  </a:lnTo>
                  <a:lnTo>
                    <a:pt x="413" y="519"/>
                  </a:lnTo>
                  <a:lnTo>
                    <a:pt x="413" y="517"/>
                  </a:lnTo>
                  <a:lnTo>
                    <a:pt x="413" y="515"/>
                  </a:lnTo>
                  <a:lnTo>
                    <a:pt x="413" y="513"/>
                  </a:lnTo>
                  <a:lnTo>
                    <a:pt x="415" y="513"/>
                  </a:lnTo>
                  <a:lnTo>
                    <a:pt x="415" y="511"/>
                  </a:lnTo>
                  <a:lnTo>
                    <a:pt x="417" y="513"/>
                  </a:lnTo>
                  <a:lnTo>
                    <a:pt x="417" y="515"/>
                  </a:lnTo>
                  <a:lnTo>
                    <a:pt x="417" y="513"/>
                  </a:lnTo>
                  <a:lnTo>
                    <a:pt x="418" y="513"/>
                  </a:lnTo>
                  <a:lnTo>
                    <a:pt x="418" y="511"/>
                  </a:lnTo>
                  <a:lnTo>
                    <a:pt x="420" y="511"/>
                  </a:lnTo>
                  <a:lnTo>
                    <a:pt x="422" y="511"/>
                  </a:lnTo>
                  <a:lnTo>
                    <a:pt x="424" y="511"/>
                  </a:lnTo>
                  <a:lnTo>
                    <a:pt x="424" y="509"/>
                  </a:lnTo>
                  <a:lnTo>
                    <a:pt x="426" y="509"/>
                  </a:lnTo>
                  <a:lnTo>
                    <a:pt x="424" y="509"/>
                  </a:lnTo>
                  <a:lnTo>
                    <a:pt x="424" y="511"/>
                  </a:lnTo>
                  <a:lnTo>
                    <a:pt x="426" y="511"/>
                  </a:lnTo>
                  <a:lnTo>
                    <a:pt x="428" y="511"/>
                  </a:lnTo>
                  <a:lnTo>
                    <a:pt x="428" y="509"/>
                  </a:lnTo>
                  <a:lnTo>
                    <a:pt x="426" y="509"/>
                  </a:lnTo>
                  <a:lnTo>
                    <a:pt x="426" y="507"/>
                  </a:lnTo>
                  <a:lnTo>
                    <a:pt x="426" y="505"/>
                  </a:lnTo>
                  <a:lnTo>
                    <a:pt x="426" y="503"/>
                  </a:lnTo>
                  <a:lnTo>
                    <a:pt x="424" y="503"/>
                  </a:lnTo>
                  <a:lnTo>
                    <a:pt x="424" y="501"/>
                  </a:lnTo>
                  <a:lnTo>
                    <a:pt x="426" y="503"/>
                  </a:lnTo>
                  <a:lnTo>
                    <a:pt x="428" y="503"/>
                  </a:lnTo>
                  <a:lnTo>
                    <a:pt x="430" y="505"/>
                  </a:lnTo>
                  <a:lnTo>
                    <a:pt x="432" y="503"/>
                  </a:lnTo>
                  <a:lnTo>
                    <a:pt x="438" y="499"/>
                  </a:lnTo>
                  <a:lnTo>
                    <a:pt x="440" y="499"/>
                  </a:lnTo>
                  <a:lnTo>
                    <a:pt x="445" y="494"/>
                  </a:lnTo>
                  <a:lnTo>
                    <a:pt x="449" y="490"/>
                  </a:lnTo>
                  <a:lnTo>
                    <a:pt x="451" y="488"/>
                  </a:lnTo>
                  <a:lnTo>
                    <a:pt x="453" y="486"/>
                  </a:lnTo>
                  <a:lnTo>
                    <a:pt x="455" y="486"/>
                  </a:lnTo>
                  <a:lnTo>
                    <a:pt x="455" y="484"/>
                  </a:lnTo>
                  <a:lnTo>
                    <a:pt x="457" y="482"/>
                  </a:lnTo>
                  <a:lnTo>
                    <a:pt x="457" y="480"/>
                  </a:lnTo>
                  <a:lnTo>
                    <a:pt x="459" y="480"/>
                  </a:lnTo>
                  <a:lnTo>
                    <a:pt x="459" y="478"/>
                  </a:lnTo>
                  <a:lnTo>
                    <a:pt x="461" y="478"/>
                  </a:lnTo>
                  <a:lnTo>
                    <a:pt x="463" y="478"/>
                  </a:lnTo>
                  <a:lnTo>
                    <a:pt x="465" y="478"/>
                  </a:lnTo>
                  <a:lnTo>
                    <a:pt x="466" y="478"/>
                  </a:lnTo>
                  <a:lnTo>
                    <a:pt x="468" y="478"/>
                  </a:lnTo>
                  <a:lnTo>
                    <a:pt x="472" y="478"/>
                  </a:lnTo>
                  <a:lnTo>
                    <a:pt x="472" y="476"/>
                  </a:lnTo>
                  <a:lnTo>
                    <a:pt x="474" y="476"/>
                  </a:lnTo>
                  <a:lnTo>
                    <a:pt x="476" y="476"/>
                  </a:lnTo>
                  <a:lnTo>
                    <a:pt x="476" y="474"/>
                  </a:lnTo>
                  <a:lnTo>
                    <a:pt x="478" y="476"/>
                  </a:lnTo>
                  <a:lnTo>
                    <a:pt x="476" y="476"/>
                  </a:lnTo>
                  <a:lnTo>
                    <a:pt x="476" y="478"/>
                  </a:lnTo>
                  <a:lnTo>
                    <a:pt x="474" y="478"/>
                  </a:lnTo>
                  <a:lnTo>
                    <a:pt x="474" y="480"/>
                  </a:lnTo>
                  <a:lnTo>
                    <a:pt x="474" y="478"/>
                  </a:lnTo>
                  <a:lnTo>
                    <a:pt x="476" y="478"/>
                  </a:lnTo>
                  <a:lnTo>
                    <a:pt x="478" y="480"/>
                  </a:lnTo>
                  <a:lnTo>
                    <a:pt x="476" y="480"/>
                  </a:lnTo>
                  <a:lnTo>
                    <a:pt x="478" y="480"/>
                  </a:lnTo>
                  <a:lnTo>
                    <a:pt x="478" y="478"/>
                  </a:lnTo>
                  <a:lnTo>
                    <a:pt x="478" y="480"/>
                  </a:lnTo>
                  <a:lnTo>
                    <a:pt x="478" y="482"/>
                  </a:lnTo>
                  <a:lnTo>
                    <a:pt x="476" y="482"/>
                  </a:lnTo>
                  <a:lnTo>
                    <a:pt x="476" y="484"/>
                  </a:lnTo>
                  <a:lnTo>
                    <a:pt x="478" y="486"/>
                  </a:lnTo>
                  <a:lnTo>
                    <a:pt x="478" y="484"/>
                  </a:lnTo>
                  <a:lnTo>
                    <a:pt x="478" y="486"/>
                  </a:lnTo>
                  <a:lnTo>
                    <a:pt x="480" y="484"/>
                  </a:lnTo>
                  <a:lnTo>
                    <a:pt x="482" y="484"/>
                  </a:lnTo>
                  <a:lnTo>
                    <a:pt x="482" y="482"/>
                  </a:lnTo>
                  <a:lnTo>
                    <a:pt x="484" y="482"/>
                  </a:lnTo>
                  <a:lnTo>
                    <a:pt x="484" y="480"/>
                  </a:lnTo>
                  <a:lnTo>
                    <a:pt x="486" y="478"/>
                  </a:lnTo>
                  <a:lnTo>
                    <a:pt x="484" y="478"/>
                  </a:lnTo>
                  <a:lnTo>
                    <a:pt x="482" y="478"/>
                  </a:lnTo>
                  <a:lnTo>
                    <a:pt x="482" y="476"/>
                  </a:lnTo>
                  <a:lnTo>
                    <a:pt x="482" y="474"/>
                  </a:lnTo>
                  <a:lnTo>
                    <a:pt x="480" y="474"/>
                  </a:lnTo>
                  <a:lnTo>
                    <a:pt x="482" y="474"/>
                  </a:lnTo>
                  <a:lnTo>
                    <a:pt x="480" y="474"/>
                  </a:lnTo>
                  <a:lnTo>
                    <a:pt x="482" y="474"/>
                  </a:lnTo>
                  <a:lnTo>
                    <a:pt x="482" y="472"/>
                  </a:lnTo>
                  <a:lnTo>
                    <a:pt x="480" y="472"/>
                  </a:lnTo>
                  <a:lnTo>
                    <a:pt x="480" y="474"/>
                  </a:lnTo>
                  <a:lnTo>
                    <a:pt x="478" y="474"/>
                  </a:lnTo>
                  <a:lnTo>
                    <a:pt x="480" y="472"/>
                  </a:lnTo>
                  <a:lnTo>
                    <a:pt x="482" y="471"/>
                  </a:lnTo>
                  <a:lnTo>
                    <a:pt x="484" y="471"/>
                  </a:lnTo>
                  <a:lnTo>
                    <a:pt x="486" y="469"/>
                  </a:lnTo>
                  <a:lnTo>
                    <a:pt x="488" y="467"/>
                  </a:lnTo>
                  <a:lnTo>
                    <a:pt x="489" y="465"/>
                  </a:lnTo>
                  <a:lnTo>
                    <a:pt x="491" y="465"/>
                  </a:lnTo>
                  <a:lnTo>
                    <a:pt x="493" y="463"/>
                  </a:lnTo>
                  <a:lnTo>
                    <a:pt x="495" y="461"/>
                  </a:lnTo>
                  <a:lnTo>
                    <a:pt x="497" y="461"/>
                  </a:lnTo>
                  <a:lnTo>
                    <a:pt x="499" y="461"/>
                  </a:lnTo>
                  <a:lnTo>
                    <a:pt x="501" y="459"/>
                  </a:lnTo>
                  <a:lnTo>
                    <a:pt x="503" y="459"/>
                  </a:lnTo>
                  <a:lnTo>
                    <a:pt x="507" y="459"/>
                  </a:lnTo>
                  <a:lnTo>
                    <a:pt x="509" y="459"/>
                  </a:lnTo>
                  <a:lnTo>
                    <a:pt x="511" y="459"/>
                  </a:lnTo>
                  <a:lnTo>
                    <a:pt x="509" y="459"/>
                  </a:lnTo>
                  <a:lnTo>
                    <a:pt x="507" y="461"/>
                  </a:lnTo>
                  <a:lnTo>
                    <a:pt x="505" y="461"/>
                  </a:lnTo>
                  <a:lnTo>
                    <a:pt x="503" y="461"/>
                  </a:lnTo>
                  <a:lnTo>
                    <a:pt x="501" y="461"/>
                  </a:lnTo>
                  <a:lnTo>
                    <a:pt x="499" y="461"/>
                  </a:lnTo>
                  <a:lnTo>
                    <a:pt x="497" y="463"/>
                  </a:lnTo>
                  <a:lnTo>
                    <a:pt x="497" y="461"/>
                  </a:lnTo>
                  <a:lnTo>
                    <a:pt x="497" y="463"/>
                  </a:lnTo>
                  <a:lnTo>
                    <a:pt x="497" y="465"/>
                  </a:lnTo>
                  <a:lnTo>
                    <a:pt x="499" y="465"/>
                  </a:lnTo>
                  <a:lnTo>
                    <a:pt x="499" y="463"/>
                  </a:lnTo>
                  <a:lnTo>
                    <a:pt x="497" y="463"/>
                  </a:lnTo>
                  <a:lnTo>
                    <a:pt x="499" y="463"/>
                  </a:lnTo>
                  <a:lnTo>
                    <a:pt x="501" y="463"/>
                  </a:lnTo>
                  <a:lnTo>
                    <a:pt x="501" y="465"/>
                  </a:lnTo>
                  <a:lnTo>
                    <a:pt x="503" y="465"/>
                  </a:lnTo>
                  <a:lnTo>
                    <a:pt x="503" y="467"/>
                  </a:lnTo>
                  <a:lnTo>
                    <a:pt x="501" y="467"/>
                  </a:lnTo>
                  <a:lnTo>
                    <a:pt x="501" y="469"/>
                  </a:lnTo>
                  <a:lnTo>
                    <a:pt x="501" y="471"/>
                  </a:lnTo>
                  <a:lnTo>
                    <a:pt x="499" y="472"/>
                  </a:lnTo>
                  <a:lnTo>
                    <a:pt x="499" y="474"/>
                  </a:lnTo>
                  <a:lnTo>
                    <a:pt x="501" y="476"/>
                  </a:lnTo>
                  <a:lnTo>
                    <a:pt x="501" y="478"/>
                  </a:lnTo>
                  <a:lnTo>
                    <a:pt x="503" y="480"/>
                  </a:lnTo>
                  <a:lnTo>
                    <a:pt x="501" y="480"/>
                  </a:lnTo>
                  <a:lnTo>
                    <a:pt x="503" y="482"/>
                  </a:lnTo>
                  <a:lnTo>
                    <a:pt x="501" y="482"/>
                  </a:lnTo>
                  <a:lnTo>
                    <a:pt x="501" y="484"/>
                  </a:lnTo>
                  <a:lnTo>
                    <a:pt x="499" y="484"/>
                  </a:lnTo>
                  <a:lnTo>
                    <a:pt x="497" y="482"/>
                  </a:lnTo>
                  <a:lnTo>
                    <a:pt x="497" y="484"/>
                  </a:lnTo>
                  <a:lnTo>
                    <a:pt x="497" y="486"/>
                  </a:lnTo>
                  <a:lnTo>
                    <a:pt x="497" y="484"/>
                  </a:lnTo>
                  <a:lnTo>
                    <a:pt x="495" y="484"/>
                  </a:lnTo>
                  <a:lnTo>
                    <a:pt x="493" y="484"/>
                  </a:lnTo>
                  <a:lnTo>
                    <a:pt x="493" y="486"/>
                  </a:lnTo>
                  <a:lnTo>
                    <a:pt x="491" y="486"/>
                  </a:lnTo>
                  <a:lnTo>
                    <a:pt x="491" y="488"/>
                  </a:lnTo>
                  <a:lnTo>
                    <a:pt x="491" y="490"/>
                  </a:lnTo>
                  <a:lnTo>
                    <a:pt x="493" y="490"/>
                  </a:lnTo>
                  <a:lnTo>
                    <a:pt x="493" y="488"/>
                  </a:lnTo>
                  <a:lnTo>
                    <a:pt x="495" y="488"/>
                  </a:lnTo>
                  <a:lnTo>
                    <a:pt x="497" y="488"/>
                  </a:lnTo>
                  <a:lnTo>
                    <a:pt x="499" y="488"/>
                  </a:lnTo>
                  <a:lnTo>
                    <a:pt x="501" y="488"/>
                  </a:lnTo>
                  <a:lnTo>
                    <a:pt x="501" y="490"/>
                  </a:lnTo>
                  <a:lnTo>
                    <a:pt x="503" y="490"/>
                  </a:lnTo>
                  <a:lnTo>
                    <a:pt x="503" y="488"/>
                  </a:lnTo>
                  <a:lnTo>
                    <a:pt x="505" y="488"/>
                  </a:lnTo>
                  <a:lnTo>
                    <a:pt x="503" y="490"/>
                  </a:lnTo>
                  <a:lnTo>
                    <a:pt x="505" y="490"/>
                  </a:lnTo>
                  <a:lnTo>
                    <a:pt x="505" y="488"/>
                  </a:lnTo>
                  <a:lnTo>
                    <a:pt x="505" y="490"/>
                  </a:lnTo>
                  <a:lnTo>
                    <a:pt x="505" y="492"/>
                  </a:lnTo>
                  <a:lnTo>
                    <a:pt x="507" y="490"/>
                  </a:lnTo>
                  <a:lnTo>
                    <a:pt x="507" y="488"/>
                  </a:lnTo>
                  <a:lnTo>
                    <a:pt x="509" y="488"/>
                  </a:lnTo>
                  <a:lnTo>
                    <a:pt x="509" y="486"/>
                  </a:lnTo>
                  <a:lnTo>
                    <a:pt x="511" y="486"/>
                  </a:lnTo>
                  <a:lnTo>
                    <a:pt x="511" y="488"/>
                  </a:lnTo>
                  <a:lnTo>
                    <a:pt x="513" y="490"/>
                  </a:lnTo>
                  <a:lnTo>
                    <a:pt x="513" y="492"/>
                  </a:lnTo>
                  <a:lnTo>
                    <a:pt x="514" y="492"/>
                  </a:lnTo>
                  <a:lnTo>
                    <a:pt x="514" y="494"/>
                  </a:lnTo>
                  <a:lnTo>
                    <a:pt x="516" y="492"/>
                  </a:lnTo>
                  <a:lnTo>
                    <a:pt x="516" y="490"/>
                  </a:lnTo>
                  <a:lnTo>
                    <a:pt x="516" y="488"/>
                  </a:lnTo>
                  <a:lnTo>
                    <a:pt x="516" y="486"/>
                  </a:lnTo>
                  <a:lnTo>
                    <a:pt x="514" y="486"/>
                  </a:lnTo>
                  <a:lnTo>
                    <a:pt x="516" y="486"/>
                  </a:lnTo>
                  <a:lnTo>
                    <a:pt x="516" y="484"/>
                  </a:lnTo>
                  <a:lnTo>
                    <a:pt x="516" y="482"/>
                  </a:lnTo>
                  <a:lnTo>
                    <a:pt x="518" y="482"/>
                  </a:lnTo>
                  <a:lnTo>
                    <a:pt x="518" y="480"/>
                  </a:lnTo>
                  <a:lnTo>
                    <a:pt x="520" y="480"/>
                  </a:lnTo>
                  <a:lnTo>
                    <a:pt x="520" y="478"/>
                  </a:lnTo>
                  <a:lnTo>
                    <a:pt x="522" y="478"/>
                  </a:lnTo>
                  <a:lnTo>
                    <a:pt x="522" y="476"/>
                  </a:lnTo>
                  <a:lnTo>
                    <a:pt x="524" y="476"/>
                  </a:lnTo>
                  <a:lnTo>
                    <a:pt x="526" y="476"/>
                  </a:lnTo>
                  <a:lnTo>
                    <a:pt x="528" y="476"/>
                  </a:lnTo>
                  <a:lnTo>
                    <a:pt x="528" y="474"/>
                  </a:lnTo>
                  <a:lnTo>
                    <a:pt x="530" y="474"/>
                  </a:lnTo>
                  <a:lnTo>
                    <a:pt x="532" y="472"/>
                  </a:lnTo>
                  <a:lnTo>
                    <a:pt x="534" y="472"/>
                  </a:lnTo>
                  <a:lnTo>
                    <a:pt x="536" y="474"/>
                  </a:lnTo>
                  <a:lnTo>
                    <a:pt x="534" y="474"/>
                  </a:lnTo>
                  <a:lnTo>
                    <a:pt x="536" y="474"/>
                  </a:lnTo>
                  <a:lnTo>
                    <a:pt x="537" y="474"/>
                  </a:lnTo>
                  <a:lnTo>
                    <a:pt x="539" y="474"/>
                  </a:lnTo>
                  <a:lnTo>
                    <a:pt x="539" y="472"/>
                  </a:lnTo>
                  <a:lnTo>
                    <a:pt x="541" y="472"/>
                  </a:lnTo>
                  <a:lnTo>
                    <a:pt x="541" y="474"/>
                  </a:lnTo>
                  <a:lnTo>
                    <a:pt x="541" y="472"/>
                  </a:lnTo>
                  <a:lnTo>
                    <a:pt x="541" y="474"/>
                  </a:lnTo>
                  <a:lnTo>
                    <a:pt x="543" y="474"/>
                  </a:lnTo>
                  <a:lnTo>
                    <a:pt x="545" y="476"/>
                  </a:lnTo>
                  <a:lnTo>
                    <a:pt x="547" y="476"/>
                  </a:lnTo>
                  <a:lnTo>
                    <a:pt x="547" y="478"/>
                  </a:lnTo>
                  <a:lnTo>
                    <a:pt x="549" y="476"/>
                  </a:lnTo>
                  <a:lnTo>
                    <a:pt x="551" y="476"/>
                  </a:lnTo>
                  <a:lnTo>
                    <a:pt x="553" y="476"/>
                  </a:lnTo>
                  <a:lnTo>
                    <a:pt x="553" y="474"/>
                  </a:lnTo>
                  <a:lnTo>
                    <a:pt x="553" y="472"/>
                  </a:lnTo>
                  <a:lnTo>
                    <a:pt x="555" y="472"/>
                  </a:lnTo>
                  <a:lnTo>
                    <a:pt x="555" y="471"/>
                  </a:lnTo>
                  <a:lnTo>
                    <a:pt x="557" y="469"/>
                  </a:lnTo>
                  <a:lnTo>
                    <a:pt x="555" y="469"/>
                  </a:lnTo>
                  <a:lnTo>
                    <a:pt x="553" y="469"/>
                  </a:lnTo>
                  <a:lnTo>
                    <a:pt x="553" y="471"/>
                  </a:lnTo>
                  <a:lnTo>
                    <a:pt x="551" y="469"/>
                  </a:lnTo>
                  <a:lnTo>
                    <a:pt x="549" y="471"/>
                  </a:lnTo>
                  <a:lnTo>
                    <a:pt x="549" y="469"/>
                  </a:lnTo>
                  <a:lnTo>
                    <a:pt x="551" y="469"/>
                  </a:lnTo>
                  <a:lnTo>
                    <a:pt x="555" y="467"/>
                  </a:lnTo>
                  <a:lnTo>
                    <a:pt x="557" y="467"/>
                  </a:lnTo>
                  <a:lnTo>
                    <a:pt x="559" y="467"/>
                  </a:lnTo>
                  <a:lnTo>
                    <a:pt x="560" y="467"/>
                  </a:lnTo>
                  <a:lnTo>
                    <a:pt x="560" y="465"/>
                  </a:lnTo>
                  <a:lnTo>
                    <a:pt x="562" y="465"/>
                  </a:lnTo>
                  <a:lnTo>
                    <a:pt x="564" y="465"/>
                  </a:lnTo>
                  <a:lnTo>
                    <a:pt x="564" y="463"/>
                  </a:lnTo>
                  <a:lnTo>
                    <a:pt x="566" y="463"/>
                  </a:lnTo>
                  <a:lnTo>
                    <a:pt x="568" y="463"/>
                  </a:lnTo>
                  <a:lnTo>
                    <a:pt x="568" y="461"/>
                  </a:lnTo>
                  <a:lnTo>
                    <a:pt x="570" y="461"/>
                  </a:lnTo>
                  <a:lnTo>
                    <a:pt x="572" y="459"/>
                  </a:lnTo>
                  <a:lnTo>
                    <a:pt x="574" y="459"/>
                  </a:lnTo>
                  <a:lnTo>
                    <a:pt x="576" y="459"/>
                  </a:lnTo>
                  <a:lnTo>
                    <a:pt x="578" y="459"/>
                  </a:lnTo>
                  <a:lnTo>
                    <a:pt x="580" y="459"/>
                  </a:lnTo>
                  <a:lnTo>
                    <a:pt x="578" y="459"/>
                  </a:lnTo>
                  <a:lnTo>
                    <a:pt x="578" y="461"/>
                  </a:lnTo>
                  <a:lnTo>
                    <a:pt x="576" y="461"/>
                  </a:lnTo>
                  <a:lnTo>
                    <a:pt x="578" y="461"/>
                  </a:lnTo>
                  <a:lnTo>
                    <a:pt x="578" y="463"/>
                  </a:lnTo>
                  <a:lnTo>
                    <a:pt x="580" y="463"/>
                  </a:lnTo>
                  <a:lnTo>
                    <a:pt x="580" y="465"/>
                  </a:lnTo>
                  <a:lnTo>
                    <a:pt x="582" y="465"/>
                  </a:lnTo>
                  <a:lnTo>
                    <a:pt x="582" y="467"/>
                  </a:lnTo>
                  <a:lnTo>
                    <a:pt x="584" y="467"/>
                  </a:lnTo>
                  <a:lnTo>
                    <a:pt x="587" y="469"/>
                  </a:lnTo>
                  <a:lnTo>
                    <a:pt x="591" y="471"/>
                  </a:lnTo>
                  <a:lnTo>
                    <a:pt x="593" y="471"/>
                  </a:lnTo>
                  <a:lnTo>
                    <a:pt x="595" y="471"/>
                  </a:lnTo>
                  <a:lnTo>
                    <a:pt x="597" y="471"/>
                  </a:lnTo>
                  <a:lnTo>
                    <a:pt x="599" y="469"/>
                  </a:lnTo>
                  <a:lnTo>
                    <a:pt x="601" y="469"/>
                  </a:lnTo>
                  <a:lnTo>
                    <a:pt x="601" y="467"/>
                  </a:lnTo>
                  <a:lnTo>
                    <a:pt x="601" y="465"/>
                  </a:lnTo>
                  <a:lnTo>
                    <a:pt x="603" y="465"/>
                  </a:lnTo>
                  <a:lnTo>
                    <a:pt x="603" y="463"/>
                  </a:lnTo>
                  <a:lnTo>
                    <a:pt x="605" y="463"/>
                  </a:lnTo>
                  <a:lnTo>
                    <a:pt x="605" y="461"/>
                  </a:lnTo>
                  <a:lnTo>
                    <a:pt x="605" y="459"/>
                  </a:lnTo>
                  <a:lnTo>
                    <a:pt x="605" y="457"/>
                  </a:lnTo>
                  <a:lnTo>
                    <a:pt x="605" y="455"/>
                  </a:lnTo>
                  <a:lnTo>
                    <a:pt x="605" y="453"/>
                  </a:lnTo>
                  <a:lnTo>
                    <a:pt x="603" y="453"/>
                  </a:lnTo>
                  <a:lnTo>
                    <a:pt x="603" y="451"/>
                  </a:lnTo>
                  <a:lnTo>
                    <a:pt x="601" y="451"/>
                  </a:lnTo>
                  <a:lnTo>
                    <a:pt x="601" y="453"/>
                  </a:lnTo>
                  <a:lnTo>
                    <a:pt x="603" y="453"/>
                  </a:lnTo>
                  <a:lnTo>
                    <a:pt x="601" y="453"/>
                  </a:lnTo>
                  <a:lnTo>
                    <a:pt x="599" y="451"/>
                  </a:lnTo>
                  <a:lnTo>
                    <a:pt x="601" y="449"/>
                  </a:lnTo>
                  <a:lnTo>
                    <a:pt x="601" y="448"/>
                  </a:lnTo>
                  <a:lnTo>
                    <a:pt x="599" y="448"/>
                  </a:lnTo>
                  <a:lnTo>
                    <a:pt x="599" y="446"/>
                  </a:lnTo>
                  <a:lnTo>
                    <a:pt x="597" y="444"/>
                  </a:lnTo>
                  <a:lnTo>
                    <a:pt x="597" y="442"/>
                  </a:lnTo>
                  <a:lnTo>
                    <a:pt x="595" y="440"/>
                  </a:lnTo>
                  <a:lnTo>
                    <a:pt x="595" y="438"/>
                  </a:lnTo>
                  <a:lnTo>
                    <a:pt x="593" y="438"/>
                  </a:lnTo>
                  <a:lnTo>
                    <a:pt x="593" y="436"/>
                  </a:lnTo>
                  <a:lnTo>
                    <a:pt x="593" y="434"/>
                  </a:lnTo>
                  <a:lnTo>
                    <a:pt x="593" y="432"/>
                  </a:lnTo>
                  <a:lnTo>
                    <a:pt x="595" y="430"/>
                  </a:lnTo>
                  <a:lnTo>
                    <a:pt x="597" y="430"/>
                  </a:lnTo>
                  <a:lnTo>
                    <a:pt x="599" y="430"/>
                  </a:lnTo>
                  <a:lnTo>
                    <a:pt x="601" y="430"/>
                  </a:lnTo>
                  <a:lnTo>
                    <a:pt x="601" y="428"/>
                  </a:lnTo>
                  <a:lnTo>
                    <a:pt x="603" y="428"/>
                  </a:lnTo>
                  <a:lnTo>
                    <a:pt x="603" y="426"/>
                  </a:lnTo>
                  <a:lnTo>
                    <a:pt x="601" y="424"/>
                  </a:lnTo>
                  <a:lnTo>
                    <a:pt x="603" y="423"/>
                  </a:lnTo>
                  <a:lnTo>
                    <a:pt x="605" y="423"/>
                  </a:lnTo>
                  <a:lnTo>
                    <a:pt x="607" y="423"/>
                  </a:lnTo>
                  <a:lnTo>
                    <a:pt x="608" y="423"/>
                  </a:lnTo>
                  <a:lnTo>
                    <a:pt x="608" y="424"/>
                  </a:lnTo>
                  <a:lnTo>
                    <a:pt x="608" y="423"/>
                  </a:lnTo>
                  <a:lnTo>
                    <a:pt x="608" y="424"/>
                  </a:lnTo>
                  <a:lnTo>
                    <a:pt x="610" y="424"/>
                  </a:lnTo>
                  <a:lnTo>
                    <a:pt x="612" y="424"/>
                  </a:lnTo>
                  <a:lnTo>
                    <a:pt x="612" y="426"/>
                  </a:lnTo>
                  <a:lnTo>
                    <a:pt x="614" y="426"/>
                  </a:lnTo>
                  <a:lnTo>
                    <a:pt x="616" y="426"/>
                  </a:lnTo>
                  <a:lnTo>
                    <a:pt x="618" y="426"/>
                  </a:lnTo>
                  <a:lnTo>
                    <a:pt x="620" y="426"/>
                  </a:lnTo>
                  <a:lnTo>
                    <a:pt x="622" y="428"/>
                  </a:lnTo>
                  <a:lnTo>
                    <a:pt x="624" y="428"/>
                  </a:lnTo>
                  <a:lnTo>
                    <a:pt x="626" y="428"/>
                  </a:lnTo>
                  <a:lnTo>
                    <a:pt x="628" y="428"/>
                  </a:lnTo>
                  <a:lnTo>
                    <a:pt x="630" y="428"/>
                  </a:lnTo>
                  <a:lnTo>
                    <a:pt x="632" y="428"/>
                  </a:lnTo>
                  <a:lnTo>
                    <a:pt x="633" y="428"/>
                  </a:lnTo>
                  <a:lnTo>
                    <a:pt x="635" y="430"/>
                  </a:lnTo>
                  <a:lnTo>
                    <a:pt x="637" y="430"/>
                  </a:lnTo>
                  <a:lnTo>
                    <a:pt x="639" y="430"/>
                  </a:lnTo>
                  <a:lnTo>
                    <a:pt x="641" y="432"/>
                  </a:lnTo>
                  <a:lnTo>
                    <a:pt x="643" y="432"/>
                  </a:lnTo>
                  <a:lnTo>
                    <a:pt x="645" y="434"/>
                  </a:lnTo>
                  <a:lnTo>
                    <a:pt x="647" y="434"/>
                  </a:lnTo>
                  <a:lnTo>
                    <a:pt x="649" y="434"/>
                  </a:lnTo>
                  <a:lnTo>
                    <a:pt x="649" y="436"/>
                  </a:lnTo>
                  <a:lnTo>
                    <a:pt x="653" y="436"/>
                  </a:lnTo>
                  <a:lnTo>
                    <a:pt x="655" y="438"/>
                  </a:lnTo>
                  <a:lnTo>
                    <a:pt x="656" y="440"/>
                  </a:lnTo>
                  <a:lnTo>
                    <a:pt x="658" y="442"/>
                  </a:lnTo>
                  <a:lnTo>
                    <a:pt x="662" y="444"/>
                  </a:lnTo>
                  <a:lnTo>
                    <a:pt x="662" y="448"/>
                  </a:lnTo>
                  <a:lnTo>
                    <a:pt x="662" y="446"/>
                  </a:lnTo>
                  <a:lnTo>
                    <a:pt x="660" y="446"/>
                  </a:lnTo>
                  <a:lnTo>
                    <a:pt x="660" y="448"/>
                  </a:lnTo>
                  <a:lnTo>
                    <a:pt x="658" y="448"/>
                  </a:lnTo>
                  <a:lnTo>
                    <a:pt x="660" y="448"/>
                  </a:lnTo>
                  <a:lnTo>
                    <a:pt x="660" y="449"/>
                  </a:lnTo>
                  <a:lnTo>
                    <a:pt x="660" y="448"/>
                  </a:lnTo>
                  <a:lnTo>
                    <a:pt x="660" y="449"/>
                  </a:lnTo>
                  <a:lnTo>
                    <a:pt x="660" y="451"/>
                  </a:lnTo>
                  <a:lnTo>
                    <a:pt x="660" y="453"/>
                  </a:lnTo>
                  <a:lnTo>
                    <a:pt x="662" y="451"/>
                  </a:lnTo>
                  <a:lnTo>
                    <a:pt x="662" y="449"/>
                  </a:lnTo>
                  <a:lnTo>
                    <a:pt x="662" y="448"/>
                  </a:lnTo>
                  <a:lnTo>
                    <a:pt x="664" y="448"/>
                  </a:lnTo>
                  <a:lnTo>
                    <a:pt x="666" y="448"/>
                  </a:lnTo>
                  <a:lnTo>
                    <a:pt x="666" y="449"/>
                  </a:lnTo>
                  <a:lnTo>
                    <a:pt x="668" y="449"/>
                  </a:lnTo>
                  <a:lnTo>
                    <a:pt x="670" y="451"/>
                  </a:lnTo>
                  <a:lnTo>
                    <a:pt x="672" y="451"/>
                  </a:lnTo>
                  <a:lnTo>
                    <a:pt x="674" y="453"/>
                  </a:lnTo>
                  <a:lnTo>
                    <a:pt x="676" y="453"/>
                  </a:lnTo>
                  <a:lnTo>
                    <a:pt x="678" y="453"/>
                  </a:lnTo>
                  <a:lnTo>
                    <a:pt x="679" y="453"/>
                  </a:lnTo>
                  <a:lnTo>
                    <a:pt x="679" y="455"/>
                  </a:lnTo>
                  <a:lnTo>
                    <a:pt x="681" y="455"/>
                  </a:lnTo>
                  <a:lnTo>
                    <a:pt x="683" y="455"/>
                  </a:lnTo>
                  <a:lnTo>
                    <a:pt x="683" y="457"/>
                  </a:lnTo>
                  <a:lnTo>
                    <a:pt x="685" y="459"/>
                  </a:lnTo>
                  <a:lnTo>
                    <a:pt x="687" y="461"/>
                  </a:lnTo>
                  <a:lnTo>
                    <a:pt x="685" y="461"/>
                  </a:lnTo>
                  <a:lnTo>
                    <a:pt x="685" y="459"/>
                  </a:lnTo>
                  <a:lnTo>
                    <a:pt x="683" y="457"/>
                  </a:lnTo>
                  <a:lnTo>
                    <a:pt x="681" y="457"/>
                  </a:lnTo>
                  <a:lnTo>
                    <a:pt x="681" y="455"/>
                  </a:lnTo>
                  <a:lnTo>
                    <a:pt x="679" y="455"/>
                  </a:lnTo>
                  <a:lnTo>
                    <a:pt x="678" y="455"/>
                  </a:lnTo>
                  <a:lnTo>
                    <a:pt x="678" y="453"/>
                  </a:lnTo>
                  <a:lnTo>
                    <a:pt x="678" y="455"/>
                  </a:lnTo>
                  <a:lnTo>
                    <a:pt x="678" y="453"/>
                  </a:lnTo>
                  <a:lnTo>
                    <a:pt x="678" y="455"/>
                  </a:lnTo>
                  <a:lnTo>
                    <a:pt x="676" y="453"/>
                  </a:lnTo>
                  <a:lnTo>
                    <a:pt x="678" y="455"/>
                  </a:lnTo>
                  <a:lnTo>
                    <a:pt x="676" y="455"/>
                  </a:lnTo>
                  <a:lnTo>
                    <a:pt x="676" y="453"/>
                  </a:lnTo>
                  <a:lnTo>
                    <a:pt x="676" y="455"/>
                  </a:lnTo>
                  <a:lnTo>
                    <a:pt x="676" y="453"/>
                  </a:lnTo>
                  <a:lnTo>
                    <a:pt x="676" y="455"/>
                  </a:lnTo>
                  <a:lnTo>
                    <a:pt x="676" y="453"/>
                  </a:lnTo>
                  <a:lnTo>
                    <a:pt x="674" y="453"/>
                  </a:lnTo>
                  <a:lnTo>
                    <a:pt x="672" y="453"/>
                  </a:lnTo>
                  <a:lnTo>
                    <a:pt x="672" y="451"/>
                  </a:lnTo>
                  <a:lnTo>
                    <a:pt x="672" y="453"/>
                  </a:lnTo>
                  <a:lnTo>
                    <a:pt x="674" y="453"/>
                  </a:lnTo>
                  <a:lnTo>
                    <a:pt x="674" y="455"/>
                  </a:lnTo>
                  <a:lnTo>
                    <a:pt x="676" y="455"/>
                  </a:lnTo>
                  <a:lnTo>
                    <a:pt x="678" y="455"/>
                  </a:lnTo>
                  <a:lnTo>
                    <a:pt x="678" y="457"/>
                  </a:lnTo>
                  <a:lnTo>
                    <a:pt x="679" y="457"/>
                  </a:lnTo>
                  <a:lnTo>
                    <a:pt x="681" y="457"/>
                  </a:lnTo>
                  <a:lnTo>
                    <a:pt x="681" y="459"/>
                  </a:lnTo>
                  <a:lnTo>
                    <a:pt x="683" y="459"/>
                  </a:lnTo>
                  <a:lnTo>
                    <a:pt x="683" y="461"/>
                  </a:lnTo>
                  <a:lnTo>
                    <a:pt x="685" y="461"/>
                  </a:lnTo>
                  <a:lnTo>
                    <a:pt x="687" y="461"/>
                  </a:lnTo>
                  <a:lnTo>
                    <a:pt x="687" y="463"/>
                  </a:lnTo>
                  <a:lnTo>
                    <a:pt x="689" y="463"/>
                  </a:lnTo>
                  <a:lnTo>
                    <a:pt x="691" y="463"/>
                  </a:lnTo>
                  <a:lnTo>
                    <a:pt x="691" y="465"/>
                  </a:lnTo>
                  <a:lnTo>
                    <a:pt x="693" y="465"/>
                  </a:lnTo>
                  <a:lnTo>
                    <a:pt x="695" y="465"/>
                  </a:lnTo>
                  <a:lnTo>
                    <a:pt x="697" y="465"/>
                  </a:lnTo>
                  <a:lnTo>
                    <a:pt x="699" y="467"/>
                  </a:lnTo>
                  <a:lnTo>
                    <a:pt x="699" y="469"/>
                  </a:lnTo>
                  <a:lnTo>
                    <a:pt x="697" y="467"/>
                  </a:lnTo>
                  <a:lnTo>
                    <a:pt x="695" y="467"/>
                  </a:lnTo>
                  <a:lnTo>
                    <a:pt x="695" y="465"/>
                  </a:lnTo>
                  <a:lnTo>
                    <a:pt x="695" y="467"/>
                  </a:lnTo>
                  <a:lnTo>
                    <a:pt x="693" y="467"/>
                  </a:lnTo>
                  <a:lnTo>
                    <a:pt x="695" y="467"/>
                  </a:lnTo>
                  <a:lnTo>
                    <a:pt x="695" y="469"/>
                  </a:lnTo>
                  <a:lnTo>
                    <a:pt x="697" y="471"/>
                  </a:lnTo>
                  <a:lnTo>
                    <a:pt x="699" y="471"/>
                  </a:lnTo>
                  <a:lnTo>
                    <a:pt x="699" y="472"/>
                  </a:lnTo>
                  <a:lnTo>
                    <a:pt x="701" y="474"/>
                  </a:lnTo>
                  <a:lnTo>
                    <a:pt x="703" y="474"/>
                  </a:lnTo>
                  <a:lnTo>
                    <a:pt x="703" y="476"/>
                  </a:lnTo>
                  <a:lnTo>
                    <a:pt x="703" y="478"/>
                  </a:lnTo>
                  <a:lnTo>
                    <a:pt x="704" y="478"/>
                  </a:lnTo>
                  <a:lnTo>
                    <a:pt x="703" y="478"/>
                  </a:lnTo>
                  <a:lnTo>
                    <a:pt x="704" y="478"/>
                  </a:lnTo>
                  <a:lnTo>
                    <a:pt x="704" y="480"/>
                  </a:lnTo>
                  <a:lnTo>
                    <a:pt x="706" y="480"/>
                  </a:lnTo>
                  <a:lnTo>
                    <a:pt x="708" y="482"/>
                  </a:lnTo>
                  <a:lnTo>
                    <a:pt x="710" y="482"/>
                  </a:lnTo>
                  <a:lnTo>
                    <a:pt x="710" y="484"/>
                  </a:lnTo>
                  <a:lnTo>
                    <a:pt x="712" y="484"/>
                  </a:lnTo>
                  <a:lnTo>
                    <a:pt x="712" y="486"/>
                  </a:lnTo>
                  <a:lnTo>
                    <a:pt x="710" y="486"/>
                  </a:lnTo>
                  <a:lnTo>
                    <a:pt x="710" y="488"/>
                  </a:lnTo>
                  <a:lnTo>
                    <a:pt x="710" y="490"/>
                  </a:lnTo>
                  <a:lnTo>
                    <a:pt x="712" y="490"/>
                  </a:lnTo>
                  <a:lnTo>
                    <a:pt x="710" y="490"/>
                  </a:lnTo>
                  <a:lnTo>
                    <a:pt x="712" y="490"/>
                  </a:lnTo>
                  <a:lnTo>
                    <a:pt x="712" y="492"/>
                  </a:lnTo>
                  <a:lnTo>
                    <a:pt x="714" y="490"/>
                  </a:lnTo>
                  <a:lnTo>
                    <a:pt x="714" y="488"/>
                  </a:lnTo>
                  <a:lnTo>
                    <a:pt x="716" y="488"/>
                  </a:lnTo>
                  <a:lnTo>
                    <a:pt x="716" y="486"/>
                  </a:lnTo>
                  <a:lnTo>
                    <a:pt x="716" y="484"/>
                  </a:lnTo>
                  <a:lnTo>
                    <a:pt x="718" y="482"/>
                  </a:lnTo>
                  <a:lnTo>
                    <a:pt x="718" y="480"/>
                  </a:lnTo>
                  <a:lnTo>
                    <a:pt x="720" y="478"/>
                  </a:lnTo>
                  <a:lnTo>
                    <a:pt x="720" y="476"/>
                  </a:lnTo>
                  <a:lnTo>
                    <a:pt x="722" y="474"/>
                  </a:lnTo>
                  <a:lnTo>
                    <a:pt x="722" y="472"/>
                  </a:lnTo>
                  <a:lnTo>
                    <a:pt x="722" y="471"/>
                  </a:lnTo>
                  <a:lnTo>
                    <a:pt x="722" y="469"/>
                  </a:lnTo>
                  <a:lnTo>
                    <a:pt x="724" y="467"/>
                  </a:lnTo>
                  <a:lnTo>
                    <a:pt x="724" y="465"/>
                  </a:lnTo>
                  <a:lnTo>
                    <a:pt x="724" y="463"/>
                  </a:lnTo>
                  <a:lnTo>
                    <a:pt x="722" y="463"/>
                  </a:lnTo>
                  <a:lnTo>
                    <a:pt x="724" y="463"/>
                  </a:lnTo>
                  <a:lnTo>
                    <a:pt x="724" y="461"/>
                  </a:lnTo>
                  <a:lnTo>
                    <a:pt x="722" y="461"/>
                  </a:lnTo>
                  <a:lnTo>
                    <a:pt x="720" y="461"/>
                  </a:lnTo>
                  <a:lnTo>
                    <a:pt x="718" y="461"/>
                  </a:lnTo>
                  <a:lnTo>
                    <a:pt x="716" y="461"/>
                  </a:lnTo>
                  <a:lnTo>
                    <a:pt x="716" y="459"/>
                  </a:lnTo>
                  <a:lnTo>
                    <a:pt x="714" y="459"/>
                  </a:lnTo>
                  <a:lnTo>
                    <a:pt x="714" y="457"/>
                  </a:lnTo>
                  <a:lnTo>
                    <a:pt x="714" y="455"/>
                  </a:lnTo>
                  <a:lnTo>
                    <a:pt x="712" y="453"/>
                  </a:lnTo>
                  <a:lnTo>
                    <a:pt x="710" y="451"/>
                  </a:lnTo>
                  <a:lnTo>
                    <a:pt x="710" y="449"/>
                  </a:lnTo>
                  <a:lnTo>
                    <a:pt x="708" y="449"/>
                  </a:lnTo>
                  <a:lnTo>
                    <a:pt x="708" y="448"/>
                  </a:lnTo>
                  <a:lnTo>
                    <a:pt x="708" y="446"/>
                  </a:lnTo>
                  <a:lnTo>
                    <a:pt x="708" y="444"/>
                  </a:lnTo>
                  <a:lnTo>
                    <a:pt x="708" y="442"/>
                  </a:lnTo>
                  <a:lnTo>
                    <a:pt x="710" y="442"/>
                  </a:lnTo>
                  <a:lnTo>
                    <a:pt x="708" y="442"/>
                  </a:lnTo>
                  <a:lnTo>
                    <a:pt x="710" y="440"/>
                  </a:lnTo>
                  <a:lnTo>
                    <a:pt x="710" y="438"/>
                  </a:lnTo>
                  <a:lnTo>
                    <a:pt x="710" y="436"/>
                  </a:lnTo>
                  <a:lnTo>
                    <a:pt x="708" y="436"/>
                  </a:lnTo>
                  <a:lnTo>
                    <a:pt x="708" y="438"/>
                  </a:lnTo>
                  <a:lnTo>
                    <a:pt x="706" y="438"/>
                  </a:lnTo>
                  <a:lnTo>
                    <a:pt x="704" y="438"/>
                  </a:lnTo>
                  <a:lnTo>
                    <a:pt x="704" y="436"/>
                  </a:lnTo>
                  <a:lnTo>
                    <a:pt x="703" y="436"/>
                  </a:lnTo>
                  <a:lnTo>
                    <a:pt x="703" y="434"/>
                  </a:lnTo>
                  <a:lnTo>
                    <a:pt x="701" y="434"/>
                  </a:lnTo>
                  <a:lnTo>
                    <a:pt x="701" y="432"/>
                  </a:lnTo>
                  <a:lnTo>
                    <a:pt x="699" y="432"/>
                  </a:lnTo>
                  <a:lnTo>
                    <a:pt x="699" y="434"/>
                  </a:lnTo>
                  <a:lnTo>
                    <a:pt x="699" y="436"/>
                  </a:lnTo>
                  <a:lnTo>
                    <a:pt x="699" y="438"/>
                  </a:lnTo>
                  <a:lnTo>
                    <a:pt x="697" y="438"/>
                  </a:lnTo>
                  <a:lnTo>
                    <a:pt x="699" y="438"/>
                  </a:lnTo>
                  <a:lnTo>
                    <a:pt x="697" y="438"/>
                  </a:lnTo>
                  <a:lnTo>
                    <a:pt x="697" y="440"/>
                  </a:lnTo>
                  <a:lnTo>
                    <a:pt x="697" y="442"/>
                  </a:lnTo>
                  <a:lnTo>
                    <a:pt x="697" y="444"/>
                  </a:lnTo>
                  <a:lnTo>
                    <a:pt x="695" y="444"/>
                  </a:lnTo>
                  <a:lnTo>
                    <a:pt x="693" y="442"/>
                  </a:lnTo>
                  <a:lnTo>
                    <a:pt x="693" y="440"/>
                  </a:lnTo>
                  <a:lnTo>
                    <a:pt x="695" y="440"/>
                  </a:lnTo>
                  <a:lnTo>
                    <a:pt x="697" y="440"/>
                  </a:lnTo>
                  <a:lnTo>
                    <a:pt x="695" y="440"/>
                  </a:lnTo>
                  <a:lnTo>
                    <a:pt x="693" y="438"/>
                  </a:lnTo>
                  <a:lnTo>
                    <a:pt x="695" y="438"/>
                  </a:lnTo>
                  <a:lnTo>
                    <a:pt x="695" y="436"/>
                  </a:lnTo>
                  <a:lnTo>
                    <a:pt x="695" y="434"/>
                  </a:lnTo>
                  <a:lnTo>
                    <a:pt x="697" y="434"/>
                  </a:lnTo>
                  <a:lnTo>
                    <a:pt x="699" y="434"/>
                  </a:lnTo>
                  <a:lnTo>
                    <a:pt x="699" y="432"/>
                  </a:lnTo>
                  <a:lnTo>
                    <a:pt x="697" y="432"/>
                  </a:lnTo>
                  <a:lnTo>
                    <a:pt x="697" y="430"/>
                  </a:lnTo>
                  <a:lnTo>
                    <a:pt x="695" y="430"/>
                  </a:lnTo>
                  <a:lnTo>
                    <a:pt x="693" y="428"/>
                  </a:lnTo>
                  <a:lnTo>
                    <a:pt x="693" y="430"/>
                  </a:lnTo>
                  <a:lnTo>
                    <a:pt x="693" y="432"/>
                  </a:lnTo>
                  <a:lnTo>
                    <a:pt x="691" y="432"/>
                  </a:lnTo>
                  <a:lnTo>
                    <a:pt x="693" y="432"/>
                  </a:lnTo>
                  <a:lnTo>
                    <a:pt x="693" y="430"/>
                  </a:lnTo>
                  <a:lnTo>
                    <a:pt x="693" y="432"/>
                  </a:lnTo>
                  <a:lnTo>
                    <a:pt x="691" y="432"/>
                  </a:lnTo>
                  <a:lnTo>
                    <a:pt x="691" y="434"/>
                  </a:lnTo>
                  <a:lnTo>
                    <a:pt x="693" y="434"/>
                  </a:lnTo>
                  <a:lnTo>
                    <a:pt x="693" y="436"/>
                  </a:lnTo>
                  <a:lnTo>
                    <a:pt x="691" y="436"/>
                  </a:lnTo>
                  <a:lnTo>
                    <a:pt x="691" y="434"/>
                  </a:lnTo>
                  <a:lnTo>
                    <a:pt x="691" y="432"/>
                  </a:lnTo>
                  <a:lnTo>
                    <a:pt x="691" y="430"/>
                  </a:lnTo>
                  <a:lnTo>
                    <a:pt x="691" y="428"/>
                  </a:lnTo>
                  <a:lnTo>
                    <a:pt x="691" y="426"/>
                  </a:lnTo>
                  <a:lnTo>
                    <a:pt x="691" y="424"/>
                  </a:lnTo>
                  <a:lnTo>
                    <a:pt x="691" y="423"/>
                  </a:lnTo>
                  <a:lnTo>
                    <a:pt x="691" y="421"/>
                  </a:lnTo>
                  <a:lnTo>
                    <a:pt x="691" y="419"/>
                  </a:lnTo>
                  <a:lnTo>
                    <a:pt x="691" y="417"/>
                  </a:lnTo>
                  <a:lnTo>
                    <a:pt x="693" y="415"/>
                  </a:lnTo>
                  <a:lnTo>
                    <a:pt x="693" y="417"/>
                  </a:lnTo>
                  <a:lnTo>
                    <a:pt x="693" y="419"/>
                  </a:lnTo>
                  <a:lnTo>
                    <a:pt x="695" y="419"/>
                  </a:lnTo>
                  <a:lnTo>
                    <a:pt x="697" y="419"/>
                  </a:lnTo>
                  <a:lnTo>
                    <a:pt x="697" y="417"/>
                  </a:lnTo>
                  <a:lnTo>
                    <a:pt x="699" y="417"/>
                  </a:lnTo>
                  <a:lnTo>
                    <a:pt x="699" y="415"/>
                  </a:lnTo>
                  <a:lnTo>
                    <a:pt x="699" y="413"/>
                  </a:lnTo>
                  <a:lnTo>
                    <a:pt x="699" y="411"/>
                  </a:lnTo>
                  <a:lnTo>
                    <a:pt x="697" y="411"/>
                  </a:lnTo>
                  <a:lnTo>
                    <a:pt x="697" y="409"/>
                  </a:lnTo>
                  <a:lnTo>
                    <a:pt x="697" y="407"/>
                  </a:lnTo>
                  <a:lnTo>
                    <a:pt x="695" y="407"/>
                  </a:lnTo>
                  <a:lnTo>
                    <a:pt x="695" y="405"/>
                  </a:lnTo>
                  <a:lnTo>
                    <a:pt x="695" y="403"/>
                  </a:lnTo>
                  <a:lnTo>
                    <a:pt x="697" y="403"/>
                  </a:lnTo>
                  <a:lnTo>
                    <a:pt x="697" y="401"/>
                  </a:lnTo>
                  <a:lnTo>
                    <a:pt x="697" y="400"/>
                  </a:lnTo>
                  <a:lnTo>
                    <a:pt x="697" y="398"/>
                  </a:lnTo>
                  <a:lnTo>
                    <a:pt x="699" y="398"/>
                  </a:lnTo>
                  <a:lnTo>
                    <a:pt x="699" y="396"/>
                  </a:lnTo>
                  <a:lnTo>
                    <a:pt x="697" y="396"/>
                  </a:lnTo>
                  <a:lnTo>
                    <a:pt x="697" y="394"/>
                  </a:lnTo>
                  <a:lnTo>
                    <a:pt x="697" y="392"/>
                  </a:lnTo>
                  <a:lnTo>
                    <a:pt x="697" y="390"/>
                  </a:lnTo>
                  <a:lnTo>
                    <a:pt x="697" y="388"/>
                  </a:lnTo>
                  <a:lnTo>
                    <a:pt x="699" y="388"/>
                  </a:lnTo>
                  <a:lnTo>
                    <a:pt x="699" y="386"/>
                  </a:lnTo>
                  <a:lnTo>
                    <a:pt x="699" y="384"/>
                  </a:lnTo>
                  <a:lnTo>
                    <a:pt x="699" y="382"/>
                  </a:lnTo>
                  <a:lnTo>
                    <a:pt x="697" y="382"/>
                  </a:lnTo>
                  <a:lnTo>
                    <a:pt x="699" y="382"/>
                  </a:lnTo>
                  <a:lnTo>
                    <a:pt x="697" y="382"/>
                  </a:lnTo>
                  <a:lnTo>
                    <a:pt x="697" y="380"/>
                  </a:lnTo>
                  <a:lnTo>
                    <a:pt x="695" y="380"/>
                  </a:lnTo>
                  <a:lnTo>
                    <a:pt x="693" y="380"/>
                  </a:lnTo>
                  <a:lnTo>
                    <a:pt x="693" y="382"/>
                  </a:lnTo>
                  <a:lnTo>
                    <a:pt x="691" y="382"/>
                  </a:lnTo>
                  <a:lnTo>
                    <a:pt x="689" y="382"/>
                  </a:lnTo>
                  <a:lnTo>
                    <a:pt x="689" y="384"/>
                  </a:lnTo>
                  <a:lnTo>
                    <a:pt x="689" y="382"/>
                  </a:lnTo>
                  <a:lnTo>
                    <a:pt x="689" y="380"/>
                  </a:lnTo>
                  <a:lnTo>
                    <a:pt x="687" y="378"/>
                  </a:lnTo>
                  <a:lnTo>
                    <a:pt x="689" y="378"/>
                  </a:lnTo>
                  <a:lnTo>
                    <a:pt x="689" y="376"/>
                  </a:lnTo>
                  <a:lnTo>
                    <a:pt x="691" y="375"/>
                  </a:lnTo>
                  <a:lnTo>
                    <a:pt x="689" y="375"/>
                  </a:lnTo>
                  <a:lnTo>
                    <a:pt x="691" y="375"/>
                  </a:lnTo>
                  <a:lnTo>
                    <a:pt x="691" y="373"/>
                  </a:lnTo>
                  <a:lnTo>
                    <a:pt x="691" y="371"/>
                  </a:lnTo>
                  <a:lnTo>
                    <a:pt x="693" y="371"/>
                  </a:lnTo>
                  <a:lnTo>
                    <a:pt x="691" y="371"/>
                  </a:lnTo>
                  <a:lnTo>
                    <a:pt x="691" y="369"/>
                  </a:lnTo>
                  <a:lnTo>
                    <a:pt x="693" y="369"/>
                  </a:lnTo>
                  <a:lnTo>
                    <a:pt x="691" y="369"/>
                  </a:lnTo>
                  <a:lnTo>
                    <a:pt x="689" y="369"/>
                  </a:lnTo>
                  <a:lnTo>
                    <a:pt x="689" y="371"/>
                  </a:lnTo>
                  <a:lnTo>
                    <a:pt x="691" y="371"/>
                  </a:lnTo>
                  <a:lnTo>
                    <a:pt x="691" y="373"/>
                  </a:lnTo>
                  <a:lnTo>
                    <a:pt x="689" y="373"/>
                  </a:lnTo>
                  <a:lnTo>
                    <a:pt x="689" y="375"/>
                  </a:lnTo>
                  <a:lnTo>
                    <a:pt x="687" y="375"/>
                  </a:lnTo>
                  <a:lnTo>
                    <a:pt x="687" y="376"/>
                  </a:lnTo>
                  <a:lnTo>
                    <a:pt x="687" y="375"/>
                  </a:lnTo>
                  <a:lnTo>
                    <a:pt x="687" y="376"/>
                  </a:lnTo>
                  <a:lnTo>
                    <a:pt x="687" y="378"/>
                  </a:lnTo>
                  <a:lnTo>
                    <a:pt x="687" y="380"/>
                  </a:lnTo>
                  <a:lnTo>
                    <a:pt x="685" y="380"/>
                  </a:lnTo>
                  <a:lnTo>
                    <a:pt x="685" y="378"/>
                  </a:lnTo>
                  <a:lnTo>
                    <a:pt x="687" y="376"/>
                  </a:lnTo>
                  <a:lnTo>
                    <a:pt x="687" y="375"/>
                  </a:lnTo>
                  <a:lnTo>
                    <a:pt x="687" y="373"/>
                  </a:lnTo>
                  <a:lnTo>
                    <a:pt x="689" y="373"/>
                  </a:lnTo>
                  <a:lnTo>
                    <a:pt x="687" y="373"/>
                  </a:lnTo>
                  <a:lnTo>
                    <a:pt x="689" y="373"/>
                  </a:lnTo>
                  <a:lnTo>
                    <a:pt x="689" y="371"/>
                  </a:lnTo>
                  <a:lnTo>
                    <a:pt x="687" y="371"/>
                  </a:lnTo>
                  <a:lnTo>
                    <a:pt x="689" y="371"/>
                  </a:lnTo>
                  <a:lnTo>
                    <a:pt x="689" y="369"/>
                  </a:lnTo>
                  <a:lnTo>
                    <a:pt x="689" y="367"/>
                  </a:lnTo>
                  <a:lnTo>
                    <a:pt x="693" y="361"/>
                  </a:lnTo>
                  <a:lnTo>
                    <a:pt x="693" y="359"/>
                  </a:lnTo>
                  <a:lnTo>
                    <a:pt x="695" y="359"/>
                  </a:lnTo>
                  <a:lnTo>
                    <a:pt x="697" y="357"/>
                  </a:lnTo>
                  <a:lnTo>
                    <a:pt x="699" y="357"/>
                  </a:lnTo>
                  <a:lnTo>
                    <a:pt x="699" y="355"/>
                  </a:lnTo>
                  <a:lnTo>
                    <a:pt x="701" y="355"/>
                  </a:lnTo>
                  <a:lnTo>
                    <a:pt x="701" y="353"/>
                  </a:lnTo>
                  <a:lnTo>
                    <a:pt x="703" y="353"/>
                  </a:lnTo>
                  <a:lnTo>
                    <a:pt x="703" y="351"/>
                  </a:lnTo>
                  <a:lnTo>
                    <a:pt x="704" y="351"/>
                  </a:lnTo>
                  <a:lnTo>
                    <a:pt x="704" y="350"/>
                  </a:lnTo>
                  <a:lnTo>
                    <a:pt x="706" y="350"/>
                  </a:lnTo>
                  <a:lnTo>
                    <a:pt x="708" y="348"/>
                  </a:lnTo>
                  <a:lnTo>
                    <a:pt x="708" y="346"/>
                  </a:lnTo>
                  <a:lnTo>
                    <a:pt x="710" y="346"/>
                  </a:lnTo>
                  <a:lnTo>
                    <a:pt x="710" y="344"/>
                  </a:lnTo>
                  <a:lnTo>
                    <a:pt x="712" y="344"/>
                  </a:lnTo>
                  <a:lnTo>
                    <a:pt x="712" y="342"/>
                  </a:lnTo>
                  <a:lnTo>
                    <a:pt x="712" y="340"/>
                  </a:lnTo>
                  <a:lnTo>
                    <a:pt x="714" y="340"/>
                  </a:lnTo>
                  <a:lnTo>
                    <a:pt x="714" y="338"/>
                  </a:lnTo>
                  <a:lnTo>
                    <a:pt x="714" y="336"/>
                  </a:lnTo>
                  <a:lnTo>
                    <a:pt x="714" y="334"/>
                  </a:lnTo>
                  <a:lnTo>
                    <a:pt x="716" y="332"/>
                  </a:lnTo>
                  <a:lnTo>
                    <a:pt x="716" y="330"/>
                  </a:lnTo>
                  <a:lnTo>
                    <a:pt x="716" y="328"/>
                  </a:lnTo>
                  <a:lnTo>
                    <a:pt x="716" y="327"/>
                  </a:lnTo>
                  <a:lnTo>
                    <a:pt x="716" y="325"/>
                  </a:lnTo>
                  <a:lnTo>
                    <a:pt x="716" y="323"/>
                  </a:lnTo>
                  <a:lnTo>
                    <a:pt x="718" y="323"/>
                  </a:lnTo>
                  <a:lnTo>
                    <a:pt x="718" y="321"/>
                  </a:lnTo>
                  <a:lnTo>
                    <a:pt x="718" y="319"/>
                  </a:lnTo>
                  <a:lnTo>
                    <a:pt x="718" y="317"/>
                  </a:lnTo>
                  <a:lnTo>
                    <a:pt x="718" y="315"/>
                  </a:lnTo>
                  <a:lnTo>
                    <a:pt x="718" y="313"/>
                  </a:lnTo>
                  <a:lnTo>
                    <a:pt x="718" y="311"/>
                  </a:lnTo>
                  <a:lnTo>
                    <a:pt x="720" y="313"/>
                  </a:lnTo>
                  <a:lnTo>
                    <a:pt x="720" y="311"/>
                  </a:lnTo>
                  <a:lnTo>
                    <a:pt x="718" y="311"/>
                  </a:lnTo>
                  <a:lnTo>
                    <a:pt x="720" y="309"/>
                  </a:lnTo>
                  <a:lnTo>
                    <a:pt x="720" y="305"/>
                  </a:lnTo>
                  <a:lnTo>
                    <a:pt x="720" y="303"/>
                  </a:lnTo>
                  <a:lnTo>
                    <a:pt x="720" y="300"/>
                  </a:lnTo>
                  <a:lnTo>
                    <a:pt x="722" y="298"/>
                  </a:lnTo>
                  <a:lnTo>
                    <a:pt x="722" y="296"/>
                  </a:lnTo>
                  <a:lnTo>
                    <a:pt x="722" y="294"/>
                  </a:lnTo>
                  <a:lnTo>
                    <a:pt x="722" y="292"/>
                  </a:lnTo>
                  <a:lnTo>
                    <a:pt x="724" y="290"/>
                  </a:lnTo>
                  <a:lnTo>
                    <a:pt x="726" y="286"/>
                  </a:lnTo>
                  <a:lnTo>
                    <a:pt x="726" y="284"/>
                  </a:lnTo>
                  <a:lnTo>
                    <a:pt x="727" y="280"/>
                  </a:lnTo>
                  <a:lnTo>
                    <a:pt x="729" y="280"/>
                  </a:lnTo>
                  <a:lnTo>
                    <a:pt x="731" y="280"/>
                  </a:lnTo>
                  <a:lnTo>
                    <a:pt x="733" y="280"/>
                  </a:lnTo>
                  <a:lnTo>
                    <a:pt x="733" y="282"/>
                  </a:lnTo>
                  <a:lnTo>
                    <a:pt x="733" y="280"/>
                  </a:lnTo>
                  <a:lnTo>
                    <a:pt x="733" y="282"/>
                  </a:lnTo>
                  <a:lnTo>
                    <a:pt x="731" y="282"/>
                  </a:lnTo>
                  <a:lnTo>
                    <a:pt x="729" y="282"/>
                  </a:lnTo>
                  <a:lnTo>
                    <a:pt x="729" y="284"/>
                  </a:lnTo>
                  <a:lnTo>
                    <a:pt x="731" y="284"/>
                  </a:lnTo>
                  <a:lnTo>
                    <a:pt x="733" y="284"/>
                  </a:lnTo>
                  <a:lnTo>
                    <a:pt x="735" y="284"/>
                  </a:lnTo>
                  <a:lnTo>
                    <a:pt x="737" y="284"/>
                  </a:lnTo>
                  <a:lnTo>
                    <a:pt x="739" y="284"/>
                  </a:lnTo>
                  <a:lnTo>
                    <a:pt x="741" y="284"/>
                  </a:lnTo>
                  <a:lnTo>
                    <a:pt x="743" y="284"/>
                  </a:lnTo>
                  <a:lnTo>
                    <a:pt x="743" y="282"/>
                  </a:lnTo>
                  <a:lnTo>
                    <a:pt x="745" y="282"/>
                  </a:lnTo>
                  <a:lnTo>
                    <a:pt x="745" y="284"/>
                  </a:lnTo>
                  <a:lnTo>
                    <a:pt x="747" y="284"/>
                  </a:lnTo>
                  <a:lnTo>
                    <a:pt x="749" y="284"/>
                  </a:lnTo>
                  <a:lnTo>
                    <a:pt x="751" y="282"/>
                  </a:lnTo>
                  <a:lnTo>
                    <a:pt x="752" y="282"/>
                  </a:lnTo>
                  <a:lnTo>
                    <a:pt x="752" y="284"/>
                  </a:lnTo>
                  <a:lnTo>
                    <a:pt x="754" y="282"/>
                  </a:lnTo>
                  <a:lnTo>
                    <a:pt x="754" y="284"/>
                  </a:lnTo>
                  <a:lnTo>
                    <a:pt x="756" y="284"/>
                  </a:lnTo>
                  <a:lnTo>
                    <a:pt x="758" y="282"/>
                  </a:lnTo>
                  <a:lnTo>
                    <a:pt x="760" y="282"/>
                  </a:lnTo>
                  <a:lnTo>
                    <a:pt x="762" y="284"/>
                  </a:lnTo>
                  <a:lnTo>
                    <a:pt x="764" y="286"/>
                  </a:lnTo>
                  <a:lnTo>
                    <a:pt x="766" y="286"/>
                  </a:lnTo>
                  <a:lnTo>
                    <a:pt x="766" y="288"/>
                  </a:lnTo>
                  <a:lnTo>
                    <a:pt x="764" y="288"/>
                  </a:lnTo>
                  <a:lnTo>
                    <a:pt x="766" y="288"/>
                  </a:lnTo>
                  <a:lnTo>
                    <a:pt x="766" y="286"/>
                  </a:lnTo>
                  <a:lnTo>
                    <a:pt x="768" y="286"/>
                  </a:lnTo>
                  <a:lnTo>
                    <a:pt x="766" y="286"/>
                  </a:lnTo>
                  <a:lnTo>
                    <a:pt x="768" y="286"/>
                  </a:lnTo>
                  <a:lnTo>
                    <a:pt x="768" y="288"/>
                  </a:lnTo>
                  <a:lnTo>
                    <a:pt x="770" y="288"/>
                  </a:lnTo>
                  <a:lnTo>
                    <a:pt x="772" y="288"/>
                  </a:lnTo>
                  <a:lnTo>
                    <a:pt x="772" y="290"/>
                  </a:lnTo>
                  <a:lnTo>
                    <a:pt x="774" y="290"/>
                  </a:lnTo>
                  <a:lnTo>
                    <a:pt x="775" y="290"/>
                  </a:lnTo>
                  <a:lnTo>
                    <a:pt x="777" y="292"/>
                  </a:lnTo>
                  <a:lnTo>
                    <a:pt x="775" y="292"/>
                  </a:lnTo>
                  <a:lnTo>
                    <a:pt x="775" y="294"/>
                  </a:lnTo>
                  <a:lnTo>
                    <a:pt x="777" y="294"/>
                  </a:lnTo>
                  <a:lnTo>
                    <a:pt x="777" y="296"/>
                  </a:lnTo>
                  <a:lnTo>
                    <a:pt x="777" y="294"/>
                  </a:lnTo>
                  <a:lnTo>
                    <a:pt x="779" y="294"/>
                  </a:lnTo>
                  <a:lnTo>
                    <a:pt x="779" y="296"/>
                  </a:lnTo>
                  <a:lnTo>
                    <a:pt x="779" y="298"/>
                  </a:lnTo>
                  <a:lnTo>
                    <a:pt x="777" y="298"/>
                  </a:lnTo>
                  <a:lnTo>
                    <a:pt x="777" y="296"/>
                  </a:lnTo>
                  <a:lnTo>
                    <a:pt x="777" y="298"/>
                  </a:lnTo>
                  <a:lnTo>
                    <a:pt x="775" y="298"/>
                  </a:lnTo>
                  <a:lnTo>
                    <a:pt x="775" y="300"/>
                  </a:lnTo>
                  <a:lnTo>
                    <a:pt x="777" y="302"/>
                  </a:lnTo>
                  <a:lnTo>
                    <a:pt x="777" y="303"/>
                  </a:lnTo>
                  <a:lnTo>
                    <a:pt x="775" y="303"/>
                  </a:lnTo>
                  <a:lnTo>
                    <a:pt x="775" y="302"/>
                  </a:lnTo>
                  <a:lnTo>
                    <a:pt x="777" y="303"/>
                  </a:lnTo>
                  <a:lnTo>
                    <a:pt x="777" y="305"/>
                  </a:lnTo>
                  <a:lnTo>
                    <a:pt x="777" y="307"/>
                  </a:lnTo>
                  <a:lnTo>
                    <a:pt x="777" y="309"/>
                  </a:lnTo>
                  <a:lnTo>
                    <a:pt x="777" y="311"/>
                  </a:lnTo>
                  <a:lnTo>
                    <a:pt x="777" y="313"/>
                  </a:lnTo>
                  <a:lnTo>
                    <a:pt x="777" y="315"/>
                  </a:lnTo>
                  <a:lnTo>
                    <a:pt x="775" y="317"/>
                  </a:lnTo>
                  <a:lnTo>
                    <a:pt x="775" y="319"/>
                  </a:lnTo>
                  <a:lnTo>
                    <a:pt x="775" y="321"/>
                  </a:lnTo>
                  <a:lnTo>
                    <a:pt x="775" y="323"/>
                  </a:lnTo>
                  <a:lnTo>
                    <a:pt x="774" y="323"/>
                  </a:lnTo>
                  <a:lnTo>
                    <a:pt x="774" y="325"/>
                  </a:lnTo>
                  <a:lnTo>
                    <a:pt x="774" y="327"/>
                  </a:lnTo>
                  <a:lnTo>
                    <a:pt x="774" y="328"/>
                  </a:lnTo>
                  <a:lnTo>
                    <a:pt x="774" y="330"/>
                  </a:lnTo>
                  <a:lnTo>
                    <a:pt x="774" y="332"/>
                  </a:lnTo>
                  <a:lnTo>
                    <a:pt x="772" y="332"/>
                  </a:lnTo>
                  <a:lnTo>
                    <a:pt x="772" y="334"/>
                  </a:lnTo>
                  <a:lnTo>
                    <a:pt x="772" y="338"/>
                  </a:lnTo>
                  <a:lnTo>
                    <a:pt x="772" y="340"/>
                  </a:lnTo>
                  <a:lnTo>
                    <a:pt x="770" y="340"/>
                  </a:lnTo>
                  <a:lnTo>
                    <a:pt x="770" y="342"/>
                  </a:lnTo>
                  <a:lnTo>
                    <a:pt x="770" y="344"/>
                  </a:lnTo>
                  <a:lnTo>
                    <a:pt x="768" y="344"/>
                  </a:lnTo>
                  <a:lnTo>
                    <a:pt x="770" y="344"/>
                  </a:lnTo>
                  <a:lnTo>
                    <a:pt x="768" y="346"/>
                  </a:lnTo>
                  <a:lnTo>
                    <a:pt x="766" y="346"/>
                  </a:lnTo>
                  <a:lnTo>
                    <a:pt x="766" y="348"/>
                  </a:lnTo>
                  <a:lnTo>
                    <a:pt x="764" y="350"/>
                  </a:lnTo>
                  <a:lnTo>
                    <a:pt x="764" y="351"/>
                  </a:lnTo>
                  <a:lnTo>
                    <a:pt x="764" y="353"/>
                  </a:lnTo>
                  <a:lnTo>
                    <a:pt x="766" y="355"/>
                  </a:lnTo>
                  <a:lnTo>
                    <a:pt x="766" y="357"/>
                  </a:lnTo>
                  <a:lnTo>
                    <a:pt x="766" y="359"/>
                  </a:lnTo>
                  <a:lnTo>
                    <a:pt x="768" y="359"/>
                  </a:lnTo>
                  <a:lnTo>
                    <a:pt x="768" y="361"/>
                  </a:lnTo>
                  <a:lnTo>
                    <a:pt x="770" y="361"/>
                  </a:lnTo>
                  <a:lnTo>
                    <a:pt x="770" y="363"/>
                  </a:lnTo>
                  <a:lnTo>
                    <a:pt x="772" y="365"/>
                  </a:lnTo>
                  <a:lnTo>
                    <a:pt x="774" y="365"/>
                  </a:lnTo>
                  <a:lnTo>
                    <a:pt x="775" y="365"/>
                  </a:lnTo>
                  <a:lnTo>
                    <a:pt x="775" y="367"/>
                  </a:lnTo>
                  <a:lnTo>
                    <a:pt x="775" y="369"/>
                  </a:lnTo>
                  <a:lnTo>
                    <a:pt x="775" y="371"/>
                  </a:lnTo>
                  <a:lnTo>
                    <a:pt x="775" y="373"/>
                  </a:lnTo>
                  <a:lnTo>
                    <a:pt x="775" y="375"/>
                  </a:lnTo>
                  <a:lnTo>
                    <a:pt x="777" y="376"/>
                  </a:lnTo>
                  <a:lnTo>
                    <a:pt x="777" y="378"/>
                  </a:lnTo>
                  <a:lnTo>
                    <a:pt x="777" y="380"/>
                  </a:lnTo>
                  <a:lnTo>
                    <a:pt x="777" y="382"/>
                  </a:lnTo>
                  <a:lnTo>
                    <a:pt x="777" y="384"/>
                  </a:lnTo>
                  <a:lnTo>
                    <a:pt x="777" y="386"/>
                  </a:lnTo>
                  <a:lnTo>
                    <a:pt x="777" y="388"/>
                  </a:lnTo>
                  <a:lnTo>
                    <a:pt x="777" y="390"/>
                  </a:lnTo>
                  <a:lnTo>
                    <a:pt x="775" y="392"/>
                  </a:lnTo>
                  <a:lnTo>
                    <a:pt x="777" y="392"/>
                  </a:lnTo>
                  <a:lnTo>
                    <a:pt x="777" y="394"/>
                  </a:lnTo>
                  <a:lnTo>
                    <a:pt x="777" y="396"/>
                  </a:lnTo>
                  <a:lnTo>
                    <a:pt x="777" y="398"/>
                  </a:lnTo>
                  <a:lnTo>
                    <a:pt x="777" y="400"/>
                  </a:lnTo>
                  <a:lnTo>
                    <a:pt x="775" y="400"/>
                  </a:lnTo>
                  <a:lnTo>
                    <a:pt x="775" y="401"/>
                  </a:lnTo>
                  <a:lnTo>
                    <a:pt x="774" y="401"/>
                  </a:lnTo>
                  <a:lnTo>
                    <a:pt x="774" y="403"/>
                  </a:lnTo>
                  <a:lnTo>
                    <a:pt x="772" y="403"/>
                  </a:lnTo>
                  <a:lnTo>
                    <a:pt x="772" y="405"/>
                  </a:lnTo>
                  <a:lnTo>
                    <a:pt x="772" y="403"/>
                  </a:lnTo>
                  <a:lnTo>
                    <a:pt x="772" y="405"/>
                  </a:lnTo>
                  <a:lnTo>
                    <a:pt x="774" y="407"/>
                  </a:lnTo>
                  <a:lnTo>
                    <a:pt x="774" y="409"/>
                  </a:lnTo>
                  <a:lnTo>
                    <a:pt x="774" y="411"/>
                  </a:lnTo>
                  <a:lnTo>
                    <a:pt x="774" y="413"/>
                  </a:lnTo>
                  <a:lnTo>
                    <a:pt x="774" y="415"/>
                  </a:lnTo>
                  <a:lnTo>
                    <a:pt x="774" y="417"/>
                  </a:lnTo>
                  <a:lnTo>
                    <a:pt x="774" y="419"/>
                  </a:lnTo>
                  <a:lnTo>
                    <a:pt x="775" y="421"/>
                  </a:lnTo>
                  <a:lnTo>
                    <a:pt x="775" y="423"/>
                  </a:lnTo>
                  <a:lnTo>
                    <a:pt x="775" y="424"/>
                  </a:lnTo>
                  <a:lnTo>
                    <a:pt x="775" y="426"/>
                  </a:lnTo>
                  <a:lnTo>
                    <a:pt x="775" y="428"/>
                  </a:lnTo>
                  <a:lnTo>
                    <a:pt x="774" y="430"/>
                  </a:lnTo>
                  <a:lnTo>
                    <a:pt x="774" y="432"/>
                  </a:lnTo>
                  <a:lnTo>
                    <a:pt x="774" y="434"/>
                  </a:lnTo>
                  <a:lnTo>
                    <a:pt x="775" y="436"/>
                  </a:lnTo>
                  <a:lnTo>
                    <a:pt x="775" y="438"/>
                  </a:lnTo>
                  <a:lnTo>
                    <a:pt x="775" y="440"/>
                  </a:lnTo>
                  <a:lnTo>
                    <a:pt x="775" y="442"/>
                  </a:lnTo>
                  <a:lnTo>
                    <a:pt x="775" y="440"/>
                  </a:lnTo>
                  <a:lnTo>
                    <a:pt x="774" y="440"/>
                  </a:lnTo>
                  <a:lnTo>
                    <a:pt x="774" y="442"/>
                  </a:lnTo>
                  <a:lnTo>
                    <a:pt x="775" y="444"/>
                  </a:lnTo>
                  <a:lnTo>
                    <a:pt x="775" y="446"/>
                  </a:lnTo>
                  <a:lnTo>
                    <a:pt x="775" y="448"/>
                  </a:lnTo>
                  <a:lnTo>
                    <a:pt x="774" y="448"/>
                  </a:lnTo>
                  <a:lnTo>
                    <a:pt x="774" y="449"/>
                  </a:lnTo>
                  <a:lnTo>
                    <a:pt x="774" y="451"/>
                  </a:lnTo>
                  <a:lnTo>
                    <a:pt x="774" y="453"/>
                  </a:lnTo>
                  <a:lnTo>
                    <a:pt x="774" y="455"/>
                  </a:lnTo>
                  <a:lnTo>
                    <a:pt x="774" y="457"/>
                  </a:lnTo>
                  <a:lnTo>
                    <a:pt x="775" y="461"/>
                  </a:lnTo>
                  <a:lnTo>
                    <a:pt x="775" y="463"/>
                  </a:lnTo>
                  <a:lnTo>
                    <a:pt x="777" y="465"/>
                  </a:lnTo>
                  <a:lnTo>
                    <a:pt x="777" y="467"/>
                  </a:lnTo>
                  <a:lnTo>
                    <a:pt x="779" y="467"/>
                  </a:lnTo>
                  <a:lnTo>
                    <a:pt x="781" y="469"/>
                  </a:lnTo>
                  <a:lnTo>
                    <a:pt x="783" y="469"/>
                  </a:lnTo>
                  <a:lnTo>
                    <a:pt x="783" y="471"/>
                  </a:lnTo>
                  <a:lnTo>
                    <a:pt x="785" y="472"/>
                  </a:lnTo>
                  <a:lnTo>
                    <a:pt x="787" y="474"/>
                  </a:lnTo>
                  <a:lnTo>
                    <a:pt x="789" y="476"/>
                  </a:lnTo>
                  <a:lnTo>
                    <a:pt x="789" y="478"/>
                  </a:lnTo>
                  <a:lnTo>
                    <a:pt x="789" y="480"/>
                  </a:lnTo>
                  <a:lnTo>
                    <a:pt x="789" y="482"/>
                  </a:lnTo>
                  <a:lnTo>
                    <a:pt x="789" y="480"/>
                  </a:lnTo>
                  <a:lnTo>
                    <a:pt x="789" y="478"/>
                  </a:lnTo>
                  <a:lnTo>
                    <a:pt x="789" y="480"/>
                  </a:lnTo>
                  <a:lnTo>
                    <a:pt x="787" y="480"/>
                  </a:lnTo>
                  <a:lnTo>
                    <a:pt x="787" y="482"/>
                  </a:lnTo>
                  <a:lnTo>
                    <a:pt x="787" y="484"/>
                  </a:lnTo>
                  <a:lnTo>
                    <a:pt x="785" y="486"/>
                  </a:lnTo>
                  <a:lnTo>
                    <a:pt x="783" y="488"/>
                  </a:lnTo>
                  <a:lnTo>
                    <a:pt x="783" y="490"/>
                  </a:lnTo>
                  <a:lnTo>
                    <a:pt x="781" y="490"/>
                  </a:lnTo>
                  <a:lnTo>
                    <a:pt x="783" y="490"/>
                  </a:lnTo>
                  <a:lnTo>
                    <a:pt x="783" y="492"/>
                  </a:lnTo>
                  <a:lnTo>
                    <a:pt x="781" y="494"/>
                  </a:lnTo>
                  <a:lnTo>
                    <a:pt x="781" y="496"/>
                  </a:lnTo>
                  <a:lnTo>
                    <a:pt x="781" y="497"/>
                  </a:lnTo>
                  <a:lnTo>
                    <a:pt x="783" y="497"/>
                  </a:lnTo>
                  <a:lnTo>
                    <a:pt x="783" y="499"/>
                  </a:lnTo>
                  <a:lnTo>
                    <a:pt x="783" y="501"/>
                  </a:lnTo>
                  <a:lnTo>
                    <a:pt x="783" y="503"/>
                  </a:lnTo>
                  <a:lnTo>
                    <a:pt x="783" y="505"/>
                  </a:lnTo>
                  <a:lnTo>
                    <a:pt x="781" y="505"/>
                  </a:lnTo>
                  <a:lnTo>
                    <a:pt x="781" y="507"/>
                  </a:lnTo>
                  <a:lnTo>
                    <a:pt x="783" y="509"/>
                  </a:lnTo>
                  <a:lnTo>
                    <a:pt x="783" y="511"/>
                  </a:lnTo>
                  <a:lnTo>
                    <a:pt x="781" y="511"/>
                  </a:lnTo>
                  <a:lnTo>
                    <a:pt x="783" y="509"/>
                  </a:lnTo>
                  <a:lnTo>
                    <a:pt x="781" y="509"/>
                  </a:lnTo>
                  <a:lnTo>
                    <a:pt x="779" y="511"/>
                  </a:lnTo>
                  <a:lnTo>
                    <a:pt x="779" y="513"/>
                  </a:lnTo>
                  <a:lnTo>
                    <a:pt x="777" y="513"/>
                  </a:lnTo>
                  <a:lnTo>
                    <a:pt x="775" y="513"/>
                  </a:lnTo>
                  <a:lnTo>
                    <a:pt x="775" y="515"/>
                  </a:lnTo>
                  <a:lnTo>
                    <a:pt x="774" y="517"/>
                  </a:lnTo>
                  <a:lnTo>
                    <a:pt x="774" y="519"/>
                  </a:lnTo>
                  <a:lnTo>
                    <a:pt x="772" y="519"/>
                  </a:lnTo>
                  <a:lnTo>
                    <a:pt x="772" y="521"/>
                  </a:lnTo>
                  <a:lnTo>
                    <a:pt x="774" y="521"/>
                  </a:lnTo>
                  <a:lnTo>
                    <a:pt x="774" y="522"/>
                  </a:lnTo>
                  <a:lnTo>
                    <a:pt x="772" y="522"/>
                  </a:lnTo>
                  <a:lnTo>
                    <a:pt x="772" y="524"/>
                  </a:lnTo>
                  <a:lnTo>
                    <a:pt x="770" y="524"/>
                  </a:lnTo>
                  <a:lnTo>
                    <a:pt x="768" y="524"/>
                  </a:lnTo>
                  <a:lnTo>
                    <a:pt x="768" y="526"/>
                  </a:lnTo>
                  <a:lnTo>
                    <a:pt x="768" y="524"/>
                  </a:lnTo>
                  <a:lnTo>
                    <a:pt x="768" y="526"/>
                  </a:lnTo>
                  <a:lnTo>
                    <a:pt x="770" y="526"/>
                  </a:lnTo>
                  <a:lnTo>
                    <a:pt x="770" y="528"/>
                  </a:lnTo>
                  <a:lnTo>
                    <a:pt x="770" y="530"/>
                  </a:lnTo>
                  <a:lnTo>
                    <a:pt x="770" y="532"/>
                  </a:lnTo>
                  <a:lnTo>
                    <a:pt x="770" y="530"/>
                  </a:lnTo>
                  <a:lnTo>
                    <a:pt x="768" y="530"/>
                  </a:lnTo>
                  <a:lnTo>
                    <a:pt x="770" y="530"/>
                  </a:lnTo>
                  <a:lnTo>
                    <a:pt x="768" y="530"/>
                  </a:lnTo>
                  <a:lnTo>
                    <a:pt x="766" y="532"/>
                  </a:lnTo>
                  <a:lnTo>
                    <a:pt x="764" y="532"/>
                  </a:lnTo>
                  <a:lnTo>
                    <a:pt x="766" y="532"/>
                  </a:lnTo>
                  <a:lnTo>
                    <a:pt x="768" y="532"/>
                  </a:lnTo>
                  <a:lnTo>
                    <a:pt x="766" y="532"/>
                  </a:lnTo>
                  <a:lnTo>
                    <a:pt x="766" y="534"/>
                  </a:lnTo>
                  <a:lnTo>
                    <a:pt x="768" y="534"/>
                  </a:lnTo>
                  <a:lnTo>
                    <a:pt x="766" y="534"/>
                  </a:lnTo>
                  <a:lnTo>
                    <a:pt x="766" y="536"/>
                  </a:lnTo>
                  <a:lnTo>
                    <a:pt x="764" y="536"/>
                  </a:lnTo>
                  <a:lnTo>
                    <a:pt x="764" y="538"/>
                  </a:lnTo>
                  <a:lnTo>
                    <a:pt x="762" y="540"/>
                  </a:lnTo>
                  <a:lnTo>
                    <a:pt x="764" y="540"/>
                  </a:lnTo>
                  <a:lnTo>
                    <a:pt x="762" y="540"/>
                  </a:lnTo>
                  <a:lnTo>
                    <a:pt x="762" y="542"/>
                  </a:lnTo>
                  <a:lnTo>
                    <a:pt x="762" y="540"/>
                  </a:lnTo>
                  <a:lnTo>
                    <a:pt x="762" y="538"/>
                  </a:lnTo>
                  <a:lnTo>
                    <a:pt x="760" y="538"/>
                  </a:lnTo>
                  <a:lnTo>
                    <a:pt x="760" y="540"/>
                  </a:lnTo>
                  <a:lnTo>
                    <a:pt x="758" y="540"/>
                  </a:lnTo>
                  <a:lnTo>
                    <a:pt x="758" y="538"/>
                  </a:lnTo>
                  <a:lnTo>
                    <a:pt x="756" y="538"/>
                  </a:lnTo>
                  <a:lnTo>
                    <a:pt x="756" y="540"/>
                  </a:lnTo>
                  <a:lnTo>
                    <a:pt x="756" y="538"/>
                  </a:lnTo>
                  <a:lnTo>
                    <a:pt x="758" y="538"/>
                  </a:lnTo>
                  <a:lnTo>
                    <a:pt x="758" y="540"/>
                  </a:lnTo>
                  <a:lnTo>
                    <a:pt x="758" y="542"/>
                  </a:lnTo>
                  <a:lnTo>
                    <a:pt x="758" y="540"/>
                  </a:lnTo>
                  <a:lnTo>
                    <a:pt x="758" y="542"/>
                  </a:lnTo>
                  <a:lnTo>
                    <a:pt x="760" y="542"/>
                  </a:lnTo>
                  <a:lnTo>
                    <a:pt x="758" y="542"/>
                  </a:lnTo>
                  <a:lnTo>
                    <a:pt x="760" y="542"/>
                  </a:lnTo>
                  <a:lnTo>
                    <a:pt x="760" y="544"/>
                  </a:lnTo>
                  <a:lnTo>
                    <a:pt x="758" y="542"/>
                  </a:lnTo>
                  <a:lnTo>
                    <a:pt x="758" y="544"/>
                  </a:lnTo>
                  <a:lnTo>
                    <a:pt x="760" y="544"/>
                  </a:lnTo>
                  <a:lnTo>
                    <a:pt x="758" y="544"/>
                  </a:lnTo>
                  <a:lnTo>
                    <a:pt x="760" y="544"/>
                  </a:lnTo>
                  <a:lnTo>
                    <a:pt x="760" y="545"/>
                  </a:lnTo>
                  <a:lnTo>
                    <a:pt x="760" y="547"/>
                  </a:lnTo>
                  <a:lnTo>
                    <a:pt x="760" y="549"/>
                  </a:lnTo>
                  <a:lnTo>
                    <a:pt x="758" y="549"/>
                  </a:lnTo>
                  <a:lnTo>
                    <a:pt x="758" y="551"/>
                  </a:lnTo>
                  <a:lnTo>
                    <a:pt x="756" y="551"/>
                  </a:lnTo>
                  <a:lnTo>
                    <a:pt x="758" y="551"/>
                  </a:lnTo>
                  <a:lnTo>
                    <a:pt x="758" y="549"/>
                  </a:lnTo>
                  <a:lnTo>
                    <a:pt x="756" y="549"/>
                  </a:lnTo>
                  <a:lnTo>
                    <a:pt x="758" y="549"/>
                  </a:lnTo>
                  <a:lnTo>
                    <a:pt x="756" y="549"/>
                  </a:lnTo>
                  <a:lnTo>
                    <a:pt x="754" y="549"/>
                  </a:lnTo>
                  <a:lnTo>
                    <a:pt x="754" y="551"/>
                  </a:lnTo>
                  <a:lnTo>
                    <a:pt x="754" y="549"/>
                  </a:lnTo>
                  <a:lnTo>
                    <a:pt x="752" y="551"/>
                  </a:lnTo>
                  <a:lnTo>
                    <a:pt x="752" y="549"/>
                  </a:lnTo>
                  <a:lnTo>
                    <a:pt x="752" y="551"/>
                  </a:lnTo>
                  <a:lnTo>
                    <a:pt x="751" y="551"/>
                  </a:lnTo>
                  <a:lnTo>
                    <a:pt x="751" y="553"/>
                  </a:lnTo>
                  <a:lnTo>
                    <a:pt x="752" y="553"/>
                  </a:lnTo>
                  <a:lnTo>
                    <a:pt x="751" y="553"/>
                  </a:lnTo>
                  <a:lnTo>
                    <a:pt x="749" y="553"/>
                  </a:lnTo>
                  <a:lnTo>
                    <a:pt x="749" y="555"/>
                  </a:lnTo>
                  <a:lnTo>
                    <a:pt x="747" y="555"/>
                  </a:lnTo>
                  <a:lnTo>
                    <a:pt x="745" y="555"/>
                  </a:lnTo>
                  <a:lnTo>
                    <a:pt x="745" y="553"/>
                  </a:lnTo>
                  <a:lnTo>
                    <a:pt x="743" y="553"/>
                  </a:lnTo>
                  <a:lnTo>
                    <a:pt x="743" y="551"/>
                  </a:lnTo>
                  <a:lnTo>
                    <a:pt x="743" y="553"/>
                  </a:lnTo>
                  <a:lnTo>
                    <a:pt x="741" y="551"/>
                  </a:lnTo>
                  <a:lnTo>
                    <a:pt x="741" y="549"/>
                  </a:lnTo>
                  <a:lnTo>
                    <a:pt x="743" y="549"/>
                  </a:lnTo>
                  <a:lnTo>
                    <a:pt x="745" y="549"/>
                  </a:lnTo>
                  <a:lnTo>
                    <a:pt x="745" y="547"/>
                  </a:lnTo>
                  <a:lnTo>
                    <a:pt x="747" y="547"/>
                  </a:lnTo>
                  <a:lnTo>
                    <a:pt x="749" y="545"/>
                  </a:lnTo>
                  <a:lnTo>
                    <a:pt x="747" y="545"/>
                  </a:lnTo>
                  <a:lnTo>
                    <a:pt x="749" y="545"/>
                  </a:lnTo>
                  <a:lnTo>
                    <a:pt x="747" y="545"/>
                  </a:lnTo>
                  <a:lnTo>
                    <a:pt x="745" y="545"/>
                  </a:lnTo>
                  <a:lnTo>
                    <a:pt x="745" y="547"/>
                  </a:lnTo>
                  <a:lnTo>
                    <a:pt x="743" y="547"/>
                  </a:lnTo>
                  <a:lnTo>
                    <a:pt x="741" y="547"/>
                  </a:lnTo>
                  <a:lnTo>
                    <a:pt x="739" y="547"/>
                  </a:lnTo>
                  <a:lnTo>
                    <a:pt x="739" y="545"/>
                  </a:lnTo>
                  <a:lnTo>
                    <a:pt x="737" y="545"/>
                  </a:lnTo>
                  <a:lnTo>
                    <a:pt x="737" y="544"/>
                  </a:lnTo>
                  <a:lnTo>
                    <a:pt x="737" y="542"/>
                  </a:lnTo>
                  <a:lnTo>
                    <a:pt x="735" y="542"/>
                  </a:lnTo>
                  <a:lnTo>
                    <a:pt x="735" y="544"/>
                  </a:lnTo>
                  <a:lnTo>
                    <a:pt x="733" y="544"/>
                  </a:lnTo>
                  <a:lnTo>
                    <a:pt x="731" y="544"/>
                  </a:lnTo>
                  <a:lnTo>
                    <a:pt x="731" y="542"/>
                  </a:lnTo>
                  <a:lnTo>
                    <a:pt x="729" y="542"/>
                  </a:lnTo>
                  <a:lnTo>
                    <a:pt x="727" y="542"/>
                  </a:lnTo>
                  <a:lnTo>
                    <a:pt x="726" y="540"/>
                  </a:lnTo>
                  <a:lnTo>
                    <a:pt x="724" y="540"/>
                  </a:lnTo>
                  <a:lnTo>
                    <a:pt x="722" y="540"/>
                  </a:lnTo>
                  <a:lnTo>
                    <a:pt x="724" y="542"/>
                  </a:lnTo>
                  <a:lnTo>
                    <a:pt x="724" y="544"/>
                  </a:lnTo>
                  <a:lnTo>
                    <a:pt x="722" y="544"/>
                  </a:lnTo>
                  <a:lnTo>
                    <a:pt x="722" y="545"/>
                  </a:lnTo>
                  <a:lnTo>
                    <a:pt x="724" y="545"/>
                  </a:lnTo>
                  <a:lnTo>
                    <a:pt x="726" y="545"/>
                  </a:lnTo>
                  <a:lnTo>
                    <a:pt x="724" y="547"/>
                  </a:lnTo>
                  <a:lnTo>
                    <a:pt x="724" y="549"/>
                  </a:lnTo>
                  <a:lnTo>
                    <a:pt x="724" y="551"/>
                  </a:lnTo>
                  <a:lnTo>
                    <a:pt x="726" y="551"/>
                  </a:lnTo>
                  <a:lnTo>
                    <a:pt x="726" y="553"/>
                  </a:lnTo>
                  <a:lnTo>
                    <a:pt x="727" y="553"/>
                  </a:lnTo>
                  <a:lnTo>
                    <a:pt x="727" y="555"/>
                  </a:lnTo>
                  <a:lnTo>
                    <a:pt x="729" y="555"/>
                  </a:lnTo>
                  <a:lnTo>
                    <a:pt x="731" y="555"/>
                  </a:lnTo>
                  <a:lnTo>
                    <a:pt x="733" y="555"/>
                  </a:lnTo>
                  <a:lnTo>
                    <a:pt x="735" y="557"/>
                  </a:lnTo>
                  <a:lnTo>
                    <a:pt x="735" y="559"/>
                  </a:lnTo>
                  <a:lnTo>
                    <a:pt x="737" y="559"/>
                  </a:lnTo>
                  <a:lnTo>
                    <a:pt x="739" y="559"/>
                  </a:lnTo>
                  <a:lnTo>
                    <a:pt x="739" y="561"/>
                  </a:lnTo>
                  <a:lnTo>
                    <a:pt x="739" y="559"/>
                  </a:lnTo>
                  <a:lnTo>
                    <a:pt x="741" y="559"/>
                  </a:lnTo>
                  <a:lnTo>
                    <a:pt x="741" y="561"/>
                  </a:lnTo>
                  <a:lnTo>
                    <a:pt x="743" y="561"/>
                  </a:lnTo>
                  <a:lnTo>
                    <a:pt x="745" y="561"/>
                  </a:lnTo>
                  <a:lnTo>
                    <a:pt x="747" y="561"/>
                  </a:lnTo>
                  <a:lnTo>
                    <a:pt x="749" y="561"/>
                  </a:lnTo>
                  <a:lnTo>
                    <a:pt x="751" y="561"/>
                  </a:lnTo>
                  <a:lnTo>
                    <a:pt x="752" y="561"/>
                  </a:lnTo>
                  <a:lnTo>
                    <a:pt x="751" y="561"/>
                  </a:lnTo>
                  <a:lnTo>
                    <a:pt x="752" y="561"/>
                  </a:lnTo>
                  <a:lnTo>
                    <a:pt x="754" y="561"/>
                  </a:lnTo>
                  <a:lnTo>
                    <a:pt x="756" y="561"/>
                  </a:lnTo>
                  <a:lnTo>
                    <a:pt x="758" y="561"/>
                  </a:lnTo>
                  <a:lnTo>
                    <a:pt x="760" y="561"/>
                  </a:lnTo>
                  <a:lnTo>
                    <a:pt x="762" y="563"/>
                  </a:lnTo>
                  <a:lnTo>
                    <a:pt x="762" y="565"/>
                  </a:lnTo>
                  <a:lnTo>
                    <a:pt x="764" y="565"/>
                  </a:lnTo>
                  <a:lnTo>
                    <a:pt x="766" y="565"/>
                  </a:lnTo>
                  <a:lnTo>
                    <a:pt x="768" y="565"/>
                  </a:lnTo>
                  <a:lnTo>
                    <a:pt x="770" y="565"/>
                  </a:lnTo>
                  <a:lnTo>
                    <a:pt x="770" y="563"/>
                  </a:lnTo>
                  <a:lnTo>
                    <a:pt x="770" y="565"/>
                  </a:lnTo>
                  <a:lnTo>
                    <a:pt x="770" y="563"/>
                  </a:lnTo>
                  <a:lnTo>
                    <a:pt x="772" y="563"/>
                  </a:lnTo>
                  <a:lnTo>
                    <a:pt x="770" y="563"/>
                  </a:lnTo>
                  <a:lnTo>
                    <a:pt x="772" y="563"/>
                  </a:lnTo>
                  <a:lnTo>
                    <a:pt x="772" y="561"/>
                  </a:lnTo>
                  <a:lnTo>
                    <a:pt x="772" y="559"/>
                  </a:lnTo>
                  <a:lnTo>
                    <a:pt x="772" y="557"/>
                  </a:lnTo>
                  <a:lnTo>
                    <a:pt x="772" y="555"/>
                  </a:lnTo>
                  <a:lnTo>
                    <a:pt x="772" y="557"/>
                  </a:lnTo>
                  <a:lnTo>
                    <a:pt x="772" y="555"/>
                  </a:lnTo>
                  <a:lnTo>
                    <a:pt x="772" y="553"/>
                  </a:lnTo>
                  <a:lnTo>
                    <a:pt x="774" y="551"/>
                  </a:lnTo>
                  <a:lnTo>
                    <a:pt x="775" y="551"/>
                  </a:lnTo>
                  <a:lnTo>
                    <a:pt x="777" y="549"/>
                  </a:lnTo>
                  <a:lnTo>
                    <a:pt x="779" y="549"/>
                  </a:lnTo>
                  <a:lnTo>
                    <a:pt x="781" y="547"/>
                  </a:lnTo>
                  <a:lnTo>
                    <a:pt x="781" y="545"/>
                  </a:lnTo>
                  <a:lnTo>
                    <a:pt x="783" y="545"/>
                  </a:lnTo>
                  <a:lnTo>
                    <a:pt x="785" y="545"/>
                  </a:lnTo>
                  <a:lnTo>
                    <a:pt x="785" y="544"/>
                  </a:lnTo>
                  <a:lnTo>
                    <a:pt x="787" y="544"/>
                  </a:lnTo>
                  <a:lnTo>
                    <a:pt x="789" y="544"/>
                  </a:lnTo>
                  <a:lnTo>
                    <a:pt x="789" y="542"/>
                  </a:lnTo>
                  <a:lnTo>
                    <a:pt x="789" y="540"/>
                  </a:lnTo>
                  <a:lnTo>
                    <a:pt x="789" y="542"/>
                  </a:lnTo>
                  <a:lnTo>
                    <a:pt x="789" y="540"/>
                  </a:lnTo>
                  <a:lnTo>
                    <a:pt x="791" y="538"/>
                  </a:lnTo>
                  <a:lnTo>
                    <a:pt x="793" y="538"/>
                  </a:lnTo>
                  <a:lnTo>
                    <a:pt x="793" y="536"/>
                  </a:lnTo>
                  <a:lnTo>
                    <a:pt x="793" y="534"/>
                  </a:lnTo>
                  <a:lnTo>
                    <a:pt x="795" y="534"/>
                  </a:lnTo>
                  <a:lnTo>
                    <a:pt x="795" y="532"/>
                  </a:lnTo>
                  <a:lnTo>
                    <a:pt x="795" y="530"/>
                  </a:lnTo>
                  <a:lnTo>
                    <a:pt x="795" y="528"/>
                  </a:lnTo>
                  <a:lnTo>
                    <a:pt x="795" y="526"/>
                  </a:lnTo>
                  <a:lnTo>
                    <a:pt x="795" y="524"/>
                  </a:lnTo>
                  <a:lnTo>
                    <a:pt x="797" y="522"/>
                  </a:lnTo>
                  <a:lnTo>
                    <a:pt x="797" y="521"/>
                  </a:lnTo>
                  <a:lnTo>
                    <a:pt x="797" y="519"/>
                  </a:lnTo>
                  <a:lnTo>
                    <a:pt x="798" y="519"/>
                  </a:lnTo>
                  <a:lnTo>
                    <a:pt x="798" y="517"/>
                  </a:lnTo>
                  <a:lnTo>
                    <a:pt x="800" y="517"/>
                  </a:lnTo>
                  <a:lnTo>
                    <a:pt x="802" y="515"/>
                  </a:lnTo>
                  <a:lnTo>
                    <a:pt x="804" y="513"/>
                  </a:lnTo>
                  <a:lnTo>
                    <a:pt x="806" y="511"/>
                  </a:lnTo>
                  <a:lnTo>
                    <a:pt x="806" y="509"/>
                  </a:lnTo>
                  <a:lnTo>
                    <a:pt x="806" y="507"/>
                  </a:lnTo>
                  <a:lnTo>
                    <a:pt x="806" y="505"/>
                  </a:lnTo>
                  <a:lnTo>
                    <a:pt x="806" y="503"/>
                  </a:lnTo>
                  <a:lnTo>
                    <a:pt x="806" y="501"/>
                  </a:lnTo>
                  <a:lnTo>
                    <a:pt x="806" y="499"/>
                  </a:lnTo>
                  <a:lnTo>
                    <a:pt x="806" y="497"/>
                  </a:lnTo>
                  <a:lnTo>
                    <a:pt x="806" y="496"/>
                  </a:lnTo>
                  <a:lnTo>
                    <a:pt x="806" y="494"/>
                  </a:lnTo>
                  <a:lnTo>
                    <a:pt x="806" y="492"/>
                  </a:lnTo>
                  <a:lnTo>
                    <a:pt x="804" y="490"/>
                  </a:lnTo>
                  <a:lnTo>
                    <a:pt x="804" y="488"/>
                  </a:lnTo>
                  <a:lnTo>
                    <a:pt x="802" y="488"/>
                  </a:lnTo>
                  <a:lnTo>
                    <a:pt x="802" y="486"/>
                  </a:lnTo>
                  <a:lnTo>
                    <a:pt x="800" y="484"/>
                  </a:lnTo>
                  <a:lnTo>
                    <a:pt x="800" y="482"/>
                  </a:lnTo>
                  <a:lnTo>
                    <a:pt x="800" y="480"/>
                  </a:lnTo>
                  <a:lnTo>
                    <a:pt x="802" y="480"/>
                  </a:lnTo>
                  <a:lnTo>
                    <a:pt x="802" y="478"/>
                  </a:lnTo>
                  <a:lnTo>
                    <a:pt x="802" y="476"/>
                  </a:lnTo>
                  <a:lnTo>
                    <a:pt x="802" y="474"/>
                  </a:lnTo>
                  <a:lnTo>
                    <a:pt x="802" y="471"/>
                  </a:lnTo>
                  <a:lnTo>
                    <a:pt x="802" y="469"/>
                  </a:lnTo>
                  <a:lnTo>
                    <a:pt x="804" y="467"/>
                  </a:lnTo>
                  <a:lnTo>
                    <a:pt x="806" y="467"/>
                  </a:lnTo>
                  <a:lnTo>
                    <a:pt x="808" y="465"/>
                  </a:lnTo>
                  <a:lnTo>
                    <a:pt x="810" y="465"/>
                  </a:lnTo>
                  <a:lnTo>
                    <a:pt x="812" y="465"/>
                  </a:lnTo>
                  <a:lnTo>
                    <a:pt x="812" y="463"/>
                  </a:lnTo>
                  <a:lnTo>
                    <a:pt x="814" y="463"/>
                  </a:lnTo>
                  <a:lnTo>
                    <a:pt x="816" y="463"/>
                  </a:lnTo>
                  <a:lnTo>
                    <a:pt x="816" y="461"/>
                  </a:lnTo>
                  <a:lnTo>
                    <a:pt x="818" y="461"/>
                  </a:lnTo>
                  <a:lnTo>
                    <a:pt x="820" y="461"/>
                  </a:lnTo>
                  <a:lnTo>
                    <a:pt x="822" y="461"/>
                  </a:lnTo>
                  <a:lnTo>
                    <a:pt x="823" y="461"/>
                  </a:lnTo>
                  <a:lnTo>
                    <a:pt x="823" y="459"/>
                  </a:lnTo>
                  <a:lnTo>
                    <a:pt x="825" y="459"/>
                  </a:lnTo>
                  <a:lnTo>
                    <a:pt x="827" y="457"/>
                  </a:lnTo>
                  <a:lnTo>
                    <a:pt x="829" y="459"/>
                  </a:lnTo>
                  <a:lnTo>
                    <a:pt x="831" y="459"/>
                  </a:lnTo>
                  <a:lnTo>
                    <a:pt x="831" y="457"/>
                  </a:lnTo>
                  <a:lnTo>
                    <a:pt x="833" y="457"/>
                  </a:lnTo>
                  <a:lnTo>
                    <a:pt x="833" y="459"/>
                  </a:lnTo>
                  <a:lnTo>
                    <a:pt x="833" y="461"/>
                  </a:lnTo>
                  <a:lnTo>
                    <a:pt x="833" y="463"/>
                  </a:lnTo>
                  <a:lnTo>
                    <a:pt x="835" y="463"/>
                  </a:lnTo>
                  <a:lnTo>
                    <a:pt x="835" y="465"/>
                  </a:lnTo>
                  <a:lnTo>
                    <a:pt x="833" y="465"/>
                  </a:lnTo>
                  <a:lnTo>
                    <a:pt x="833" y="467"/>
                  </a:lnTo>
                  <a:lnTo>
                    <a:pt x="833" y="469"/>
                  </a:lnTo>
                  <a:lnTo>
                    <a:pt x="835" y="469"/>
                  </a:lnTo>
                  <a:lnTo>
                    <a:pt x="835" y="471"/>
                  </a:lnTo>
                  <a:lnTo>
                    <a:pt x="837" y="471"/>
                  </a:lnTo>
                  <a:lnTo>
                    <a:pt x="837" y="472"/>
                  </a:lnTo>
                  <a:lnTo>
                    <a:pt x="839" y="472"/>
                  </a:lnTo>
                  <a:lnTo>
                    <a:pt x="839" y="474"/>
                  </a:lnTo>
                  <a:lnTo>
                    <a:pt x="839" y="476"/>
                  </a:lnTo>
                  <a:lnTo>
                    <a:pt x="841" y="476"/>
                  </a:lnTo>
                  <a:lnTo>
                    <a:pt x="841" y="474"/>
                  </a:lnTo>
                  <a:lnTo>
                    <a:pt x="843" y="476"/>
                  </a:lnTo>
                  <a:lnTo>
                    <a:pt x="843" y="478"/>
                  </a:lnTo>
                  <a:lnTo>
                    <a:pt x="845" y="478"/>
                  </a:lnTo>
                  <a:lnTo>
                    <a:pt x="843" y="478"/>
                  </a:lnTo>
                  <a:lnTo>
                    <a:pt x="843" y="480"/>
                  </a:lnTo>
                  <a:lnTo>
                    <a:pt x="843" y="482"/>
                  </a:lnTo>
                  <a:lnTo>
                    <a:pt x="843" y="484"/>
                  </a:lnTo>
                  <a:lnTo>
                    <a:pt x="841" y="486"/>
                  </a:lnTo>
                  <a:lnTo>
                    <a:pt x="841" y="488"/>
                  </a:lnTo>
                  <a:lnTo>
                    <a:pt x="843" y="488"/>
                  </a:lnTo>
                  <a:lnTo>
                    <a:pt x="845" y="488"/>
                  </a:lnTo>
                  <a:lnTo>
                    <a:pt x="843" y="490"/>
                  </a:lnTo>
                  <a:lnTo>
                    <a:pt x="843" y="492"/>
                  </a:lnTo>
                  <a:lnTo>
                    <a:pt x="843" y="494"/>
                  </a:lnTo>
                  <a:lnTo>
                    <a:pt x="843" y="496"/>
                  </a:lnTo>
                  <a:lnTo>
                    <a:pt x="843" y="497"/>
                  </a:lnTo>
                  <a:lnTo>
                    <a:pt x="843" y="499"/>
                  </a:lnTo>
                  <a:lnTo>
                    <a:pt x="843" y="501"/>
                  </a:lnTo>
                  <a:lnTo>
                    <a:pt x="843" y="503"/>
                  </a:lnTo>
                  <a:lnTo>
                    <a:pt x="843" y="505"/>
                  </a:lnTo>
                  <a:lnTo>
                    <a:pt x="841" y="505"/>
                  </a:lnTo>
                  <a:lnTo>
                    <a:pt x="841" y="507"/>
                  </a:lnTo>
                  <a:lnTo>
                    <a:pt x="841" y="509"/>
                  </a:lnTo>
                  <a:lnTo>
                    <a:pt x="843" y="509"/>
                  </a:lnTo>
                  <a:lnTo>
                    <a:pt x="845" y="511"/>
                  </a:lnTo>
                  <a:lnTo>
                    <a:pt x="846" y="511"/>
                  </a:lnTo>
                  <a:lnTo>
                    <a:pt x="848" y="513"/>
                  </a:lnTo>
                  <a:lnTo>
                    <a:pt x="848" y="515"/>
                  </a:lnTo>
                  <a:lnTo>
                    <a:pt x="850" y="515"/>
                  </a:lnTo>
                  <a:lnTo>
                    <a:pt x="852" y="515"/>
                  </a:lnTo>
                  <a:lnTo>
                    <a:pt x="854" y="517"/>
                  </a:lnTo>
                  <a:lnTo>
                    <a:pt x="856" y="515"/>
                  </a:lnTo>
                  <a:lnTo>
                    <a:pt x="858" y="515"/>
                  </a:lnTo>
                  <a:lnTo>
                    <a:pt x="858" y="517"/>
                  </a:lnTo>
                  <a:lnTo>
                    <a:pt x="860" y="517"/>
                  </a:lnTo>
                  <a:lnTo>
                    <a:pt x="862" y="517"/>
                  </a:lnTo>
                  <a:lnTo>
                    <a:pt x="862" y="515"/>
                  </a:lnTo>
                  <a:lnTo>
                    <a:pt x="860" y="515"/>
                  </a:lnTo>
                  <a:lnTo>
                    <a:pt x="862" y="515"/>
                  </a:lnTo>
                  <a:lnTo>
                    <a:pt x="864" y="515"/>
                  </a:lnTo>
                  <a:lnTo>
                    <a:pt x="864" y="513"/>
                  </a:lnTo>
                  <a:lnTo>
                    <a:pt x="862" y="515"/>
                  </a:lnTo>
                  <a:lnTo>
                    <a:pt x="862" y="513"/>
                  </a:lnTo>
                  <a:lnTo>
                    <a:pt x="860" y="513"/>
                  </a:lnTo>
                  <a:lnTo>
                    <a:pt x="862" y="513"/>
                  </a:lnTo>
                  <a:lnTo>
                    <a:pt x="864" y="513"/>
                  </a:lnTo>
                  <a:lnTo>
                    <a:pt x="864" y="511"/>
                  </a:lnTo>
                  <a:lnTo>
                    <a:pt x="862" y="511"/>
                  </a:lnTo>
                  <a:lnTo>
                    <a:pt x="860" y="511"/>
                  </a:lnTo>
                  <a:lnTo>
                    <a:pt x="860" y="513"/>
                  </a:lnTo>
                  <a:lnTo>
                    <a:pt x="858" y="511"/>
                  </a:lnTo>
                  <a:lnTo>
                    <a:pt x="856" y="511"/>
                  </a:lnTo>
                  <a:lnTo>
                    <a:pt x="854" y="513"/>
                  </a:lnTo>
                  <a:lnTo>
                    <a:pt x="854" y="511"/>
                  </a:lnTo>
                  <a:lnTo>
                    <a:pt x="852" y="511"/>
                  </a:lnTo>
                  <a:lnTo>
                    <a:pt x="852" y="509"/>
                  </a:lnTo>
                  <a:lnTo>
                    <a:pt x="854" y="509"/>
                  </a:lnTo>
                  <a:lnTo>
                    <a:pt x="852" y="509"/>
                  </a:lnTo>
                  <a:lnTo>
                    <a:pt x="850" y="509"/>
                  </a:lnTo>
                  <a:lnTo>
                    <a:pt x="850" y="507"/>
                  </a:lnTo>
                  <a:lnTo>
                    <a:pt x="850" y="509"/>
                  </a:lnTo>
                  <a:lnTo>
                    <a:pt x="848" y="509"/>
                  </a:lnTo>
                  <a:lnTo>
                    <a:pt x="846" y="509"/>
                  </a:lnTo>
                  <a:lnTo>
                    <a:pt x="846" y="507"/>
                  </a:lnTo>
                  <a:lnTo>
                    <a:pt x="846" y="505"/>
                  </a:lnTo>
                  <a:lnTo>
                    <a:pt x="846" y="503"/>
                  </a:lnTo>
                  <a:lnTo>
                    <a:pt x="846" y="501"/>
                  </a:lnTo>
                  <a:lnTo>
                    <a:pt x="848" y="501"/>
                  </a:lnTo>
                  <a:lnTo>
                    <a:pt x="846" y="499"/>
                  </a:lnTo>
                  <a:lnTo>
                    <a:pt x="846" y="501"/>
                  </a:lnTo>
                  <a:lnTo>
                    <a:pt x="846" y="499"/>
                  </a:lnTo>
                  <a:lnTo>
                    <a:pt x="846" y="497"/>
                  </a:lnTo>
                  <a:lnTo>
                    <a:pt x="846" y="496"/>
                  </a:lnTo>
                  <a:lnTo>
                    <a:pt x="846" y="494"/>
                  </a:lnTo>
                  <a:lnTo>
                    <a:pt x="846" y="492"/>
                  </a:lnTo>
                  <a:lnTo>
                    <a:pt x="848" y="492"/>
                  </a:lnTo>
                  <a:lnTo>
                    <a:pt x="848" y="490"/>
                  </a:lnTo>
                  <a:lnTo>
                    <a:pt x="850" y="490"/>
                  </a:lnTo>
                  <a:lnTo>
                    <a:pt x="850" y="488"/>
                  </a:lnTo>
                  <a:lnTo>
                    <a:pt x="850" y="490"/>
                  </a:lnTo>
                  <a:lnTo>
                    <a:pt x="850" y="488"/>
                  </a:lnTo>
                  <a:lnTo>
                    <a:pt x="852" y="488"/>
                  </a:lnTo>
                  <a:lnTo>
                    <a:pt x="852" y="490"/>
                  </a:lnTo>
                  <a:lnTo>
                    <a:pt x="852" y="488"/>
                  </a:lnTo>
                  <a:lnTo>
                    <a:pt x="852" y="490"/>
                  </a:lnTo>
                  <a:lnTo>
                    <a:pt x="854" y="490"/>
                  </a:lnTo>
                  <a:lnTo>
                    <a:pt x="854" y="488"/>
                  </a:lnTo>
                  <a:lnTo>
                    <a:pt x="856" y="488"/>
                  </a:lnTo>
                  <a:lnTo>
                    <a:pt x="856" y="486"/>
                  </a:lnTo>
                  <a:lnTo>
                    <a:pt x="854" y="486"/>
                  </a:lnTo>
                  <a:lnTo>
                    <a:pt x="854" y="484"/>
                  </a:lnTo>
                  <a:lnTo>
                    <a:pt x="854" y="482"/>
                  </a:lnTo>
                  <a:lnTo>
                    <a:pt x="852" y="482"/>
                  </a:lnTo>
                  <a:lnTo>
                    <a:pt x="852" y="480"/>
                  </a:lnTo>
                  <a:lnTo>
                    <a:pt x="852" y="478"/>
                  </a:lnTo>
                  <a:lnTo>
                    <a:pt x="852" y="476"/>
                  </a:lnTo>
                  <a:lnTo>
                    <a:pt x="850" y="478"/>
                  </a:lnTo>
                  <a:lnTo>
                    <a:pt x="850" y="476"/>
                  </a:lnTo>
                  <a:lnTo>
                    <a:pt x="850" y="474"/>
                  </a:lnTo>
                  <a:lnTo>
                    <a:pt x="850" y="472"/>
                  </a:lnTo>
                  <a:lnTo>
                    <a:pt x="850" y="471"/>
                  </a:lnTo>
                  <a:lnTo>
                    <a:pt x="850" y="469"/>
                  </a:lnTo>
                  <a:lnTo>
                    <a:pt x="850" y="467"/>
                  </a:lnTo>
                  <a:lnTo>
                    <a:pt x="848" y="467"/>
                  </a:lnTo>
                  <a:lnTo>
                    <a:pt x="848" y="465"/>
                  </a:lnTo>
                  <a:lnTo>
                    <a:pt x="848" y="463"/>
                  </a:lnTo>
                  <a:lnTo>
                    <a:pt x="848" y="461"/>
                  </a:lnTo>
                  <a:lnTo>
                    <a:pt x="846" y="461"/>
                  </a:lnTo>
                  <a:lnTo>
                    <a:pt x="845" y="461"/>
                  </a:lnTo>
                  <a:lnTo>
                    <a:pt x="843" y="459"/>
                  </a:lnTo>
                  <a:lnTo>
                    <a:pt x="841" y="459"/>
                  </a:lnTo>
                  <a:lnTo>
                    <a:pt x="841" y="457"/>
                  </a:lnTo>
                  <a:lnTo>
                    <a:pt x="839" y="457"/>
                  </a:lnTo>
                  <a:lnTo>
                    <a:pt x="837" y="457"/>
                  </a:lnTo>
                  <a:lnTo>
                    <a:pt x="837" y="455"/>
                  </a:lnTo>
                  <a:lnTo>
                    <a:pt x="835" y="453"/>
                  </a:lnTo>
                  <a:lnTo>
                    <a:pt x="835" y="451"/>
                  </a:lnTo>
                  <a:lnTo>
                    <a:pt x="833" y="451"/>
                  </a:lnTo>
                  <a:lnTo>
                    <a:pt x="831" y="451"/>
                  </a:lnTo>
                  <a:lnTo>
                    <a:pt x="829" y="451"/>
                  </a:lnTo>
                  <a:lnTo>
                    <a:pt x="829" y="449"/>
                  </a:lnTo>
                  <a:lnTo>
                    <a:pt x="827" y="449"/>
                  </a:lnTo>
                  <a:lnTo>
                    <a:pt x="825" y="448"/>
                  </a:lnTo>
                  <a:lnTo>
                    <a:pt x="823" y="448"/>
                  </a:lnTo>
                  <a:lnTo>
                    <a:pt x="822" y="448"/>
                  </a:lnTo>
                  <a:lnTo>
                    <a:pt x="820" y="448"/>
                  </a:lnTo>
                  <a:lnTo>
                    <a:pt x="818" y="448"/>
                  </a:lnTo>
                  <a:lnTo>
                    <a:pt x="816" y="448"/>
                  </a:lnTo>
                  <a:lnTo>
                    <a:pt x="814" y="449"/>
                  </a:lnTo>
                  <a:lnTo>
                    <a:pt x="812" y="451"/>
                  </a:lnTo>
                  <a:lnTo>
                    <a:pt x="812" y="453"/>
                  </a:lnTo>
                  <a:lnTo>
                    <a:pt x="810" y="453"/>
                  </a:lnTo>
                  <a:lnTo>
                    <a:pt x="808" y="453"/>
                  </a:lnTo>
                  <a:lnTo>
                    <a:pt x="806" y="453"/>
                  </a:lnTo>
                  <a:lnTo>
                    <a:pt x="804" y="453"/>
                  </a:lnTo>
                  <a:lnTo>
                    <a:pt x="804" y="451"/>
                  </a:lnTo>
                  <a:lnTo>
                    <a:pt x="802" y="451"/>
                  </a:lnTo>
                  <a:lnTo>
                    <a:pt x="800" y="451"/>
                  </a:lnTo>
                  <a:lnTo>
                    <a:pt x="798" y="451"/>
                  </a:lnTo>
                  <a:lnTo>
                    <a:pt x="798" y="453"/>
                  </a:lnTo>
                  <a:lnTo>
                    <a:pt x="797" y="453"/>
                  </a:lnTo>
                  <a:lnTo>
                    <a:pt x="795" y="455"/>
                  </a:lnTo>
                  <a:lnTo>
                    <a:pt x="793" y="453"/>
                  </a:lnTo>
                  <a:lnTo>
                    <a:pt x="793" y="451"/>
                  </a:lnTo>
                  <a:lnTo>
                    <a:pt x="793" y="449"/>
                  </a:lnTo>
                  <a:lnTo>
                    <a:pt x="793" y="448"/>
                  </a:lnTo>
                  <a:lnTo>
                    <a:pt x="793" y="446"/>
                  </a:lnTo>
                  <a:lnTo>
                    <a:pt x="793" y="444"/>
                  </a:lnTo>
                  <a:lnTo>
                    <a:pt x="795" y="442"/>
                  </a:lnTo>
                  <a:lnTo>
                    <a:pt x="795" y="440"/>
                  </a:lnTo>
                  <a:lnTo>
                    <a:pt x="793" y="438"/>
                  </a:lnTo>
                  <a:lnTo>
                    <a:pt x="793" y="436"/>
                  </a:lnTo>
                  <a:lnTo>
                    <a:pt x="793" y="434"/>
                  </a:lnTo>
                  <a:lnTo>
                    <a:pt x="791" y="434"/>
                  </a:lnTo>
                  <a:lnTo>
                    <a:pt x="791" y="432"/>
                  </a:lnTo>
                  <a:lnTo>
                    <a:pt x="789" y="432"/>
                  </a:lnTo>
                  <a:lnTo>
                    <a:pt x="789" y="430"/>
                  </a:lnTo>
                  <a:lnTo>
                    <a:pt x="789" y="428"/>
                  </a:lnTo>
                  <a:lnTo>
                    <a:pt x="789" y="426"/>
                  </a:lnTo>
                  <a:lnTo>
                    <a:pt x="789" y="424"/>
                  </a:lnTo>
                  <a:lnTo>
                    <a:pt x="791" y="424"/>
                  </a:lnTo>
                  <a:lnTo>
                    <a:pt x="791" y="423"/>
                  </a:lnTo>
                  <a:lnTo>
                    <a:pt x="791" y="421"/>
                  </a:lnTo>
                  <a:lnTo>
                    <a:pt x="791" y="419"/>
                  </a:lnTo>
                  <a:lnTo>
                    <a:pt x="791" y="417"/>
                  </a:lnTo>
                  <a:lnTo>
                    <a:pt x="793" y="415"/>
                  </a:lnTo>
                  <a:lnTo>
                    <a:pt x="793" y="413"/>
                  </a:lnTo>
                  <a:lnTo>
                    <a:pt x="791" y="413"/>
                  </a:lnTo>
                  <a:lnTo>
                    <a:pt x="791" y="411"/>
                  </a:lnTo>
                  <a:lnTo>
                    <a:pt x="791" y="409"/>
                  </a:lnTo>
                  <a:lnTo>
                    <a:pt x="793" y="407"/>
                  </a:lnTo>
                  <a:lnTo>
                    <a:pt x="795" y="405"/>
                  </a:lnTo>
                  <a:lnTo>
                    <a:pt x="795" y="403"/>
                  </a:lnTo>
                  <a:lnTo>
                    <a:pt x="797" y="403"/>
                  </a:lnTo>
                  <a:lnTo>
                    <a:pt x="797" y="401"/>
                  </a:lnTo>
                  <a:lnTo>
                    <a:pt x="797" y="400"/>
                  </a:lnTo>
                  <a:lnTo>
                    <a:pt x="798" y="400"/>
                  </a:lnTo>
                  <a:lnTo>
                    <a:pt x="798" y="396"/>
                  </a:lnTo>
                  <a:lnTo>
                    <a:pt x="800" y="394"/>
                  </a:lnTo>
                  <a:lnTo>
                    <a:pt x="800" y="392"/>
                  </a:lnTo>
                  <a:lnTo>
                    <a:pt x="800" y="390"/>
                  </a:lnTo>
                  <a:lnTo>
                    <a:pt x="800" y="388"/>
                  </a:lnTo>
                  <a:lnTo>
                    <a:pt x="798" y="388"/>
                  </a:lnTo>
                  <a:lnTo>
                    <a:pt x="798" y="386"/>
                  </a:lnTo>
                  <a:lnTo>
                    <a:pt x="797" y="384"/>
                  </a:lnTo>
                  <a:lnTo>
                    <a:pt x="797" y="382"/>
                  </a:lnTo>
                  <a:lnTo>
                    <a:pt x="795" y="380"/>
                  </a:lnTo>
                  <a:lnTo>
                    <a:pt x="795" y="378"/>
                  </a:lnTo>
                  <a:lnTo>
                    <a:pt x="793" y="378"/>
                  </a:lnTo>
                  <a:lnTo>
                    <a:pt x="795" y="376"/>
                  </a:lnTo>
                  <a:lnTo>
                    <a:pt x="795" y="375"/>
                  </a:lnTo>
                  <a:lnTo>
                    <a:pt x="793" y="373"/>
                  </a:lnTo>
                  <a:lnTo>
                    <a:pt x="791" y="371"/>
                  </a:lnTo>
                  <a:lnTo>
                    <a:pt x="791" y="369"/>
                  </a:lnTo>
                  <a:lnTo>
                    <a:pt x="791" y="367"/>
                  </a:lnTo>
                  <a:lnTo>
                    <a:pt x="791" y="365"/>
                  </a:lnTo>
                  <a:lnTo>
                    <a:pt x="789" y="365"/>
                  </a:lnTo>
                  <a:lnTo>
                    <a:pt x="789" y="363"/>
                  </a:lnTo>
                  <a:lnTo>
                    <a:pt x="787" y="361"/>
                  </a:lnTo>
                  <a:lnTo>
                    <a:pt x="787" y="359"/>
                  </a:lnTo>
                  <a:lnTo>
                    <a:pt x="785" y="357"/>
                  </a:lnTo>
                  <a:lnTo>
                    <a:pt x="783" y="357"/>
                  </a:lnTo>
                  <a:lnTo>
                    <a:pt x="783" y="355"/>
                  </a:lnTo>
                  <a:lnTo>
                    <a:pt x="781" y="355"/>
                  </a:lnTo>
                  <a:lnTo>
                    <a:pt x="781" y="353"/>
                  </a:lnTo>
                  <a:lnTo>
                    <a:pt x="781" y="351"/>
                  </a:lnTo>
                  <a:lnTo>
                    <a:pt x="783" y="350"/>
                  </a:lnTo>
                  <a:lnTo>
                    <a:pt x="783" y="348"/>
                  </a:lnTo>
                  <a:lnTo>
                    <a:pt x="785" y="348"/>
                  </a:lnTo>
                  <a:lnTo>
                    <a:pt x="785" y="346"/>
                  </a:lnTo>
                  <a:lnTo>
                    <a:pt x="787" y="346"/>
                  </a:lnTo>
                  <a:lnTo>
                    <a:pt x="787" y="344"/>
                  </a:lnTo>
                  <a:lnTo>
                    <a:pt x="789" y="342"/>
                  </a:lnTo>
                  <a:lnTo>
                    <a:pt x="789" y="340"/>
                  </a:lnTo>
                  <a:lnTo>
                    <a:pt x="789" y="338"/>
                  </a:lnTo>
                  <a:lnTo>
                    <a:pt x="787" y="338"/>
                  </a:lnTo>
                  <a:lnTo>
                    <a:pt x="787" y="336"/>
                  </a:lnTo>
                  <a:lnTo>
                    <a:pt x="789" y="336"/>
                  </a:lnTo>
                  <a:lnTo>
                    <a:pt x="791" y="334"/>
                  </a:lnTo>
                  <a:lnTo>
                    <a:pt x="793" y="332"/>
                  </a:lnTo>
                  <a:lnTo>
                    <a:pt x="795" y="330"/>
                  </a:lnTo>
                  <a:lnTo>
                    <a:pt x="797" y="330"/>
                  </a:lnTo>
                  <a:lnTo>
                    <a:pt x="798" y="328"/>
                  </a:lnTo>
                  <a:lnTo>
                    <a:pt x="800" y="328"/>
                  </a:lnTo>
                  <a:lnTo>
                    <a:pt x="802" y="327"/>
                  </a:lnTo>
                  <a:lnTo>
                    <a:pt x="804" y="327"/>
                  </a:lnTo>
                  <a:lnTo>
                    <a:pt x="804" y="325"/>
                  </a:lnTo>
                  <a:lnTo>
                    <a:pt x="806" y="325"/>
                  </a:lnTo>
                  <a:lnTo>
                    <a:pt x="806" y="323"/>
                  </a:lnTo>
                  <a:lnTo>
                    <a:pt x="808" y="321"/>
                  </a:lnTo>
                  <a:lnTo>
                    <a:pt x="808" y="319"/>
                  </a:lnTo>
                  <a:lnTo>
                    <a:pt x="810" y="319"/>
                  </a:lnTo>
                  <a:lnTo>
                    <a:pt x="810" y="317"/>
                  </a:lnTo>
                  <a:lnTo>
                    <a:pt x="810" y="315"/>
                  </a:lnTo>
                  <a:lnTo>
                    <a:pt x="810" y="313"/>
                  </a:lnTo>
                  <a:lnTo>
                    <a:pt x="810" y="311"/>
                  </a:lnTo>
                  <a:lnTo>
                    <a:pt x="812" y="309"/>
                  </a:lnTo>
                  <a:lnTo>
                    <a:pt x="812" y="307"/>
                  </a:lnTo>
                  <a:lnTo>
                    <a:pt x="810" y="307"/>
                  </a:lnTo>
                  <a:lnTo>
                    <a:pt x="810" y="305"/>
                  </a:lnTo>
                  <a:lnTo>
                    <a:pt x="810" y="303"/>
                  </a:lnTo>
                  <a:lnTo>
                    <a:pt x="810" y="300"/>
                  </a:lnTo>
                  <a:lnTo>
                    <a:pt x="810" y="298"/>
                  </a:lnTo>
                  <a:lnTo>
                    <a:pt x="810" y="296"/>
                  </a:lnTo>
                  <a:lnTo>
                    <a:pt x="808" y="294"/>
                  </a:lnTo>
                  <a:lnTo>
                    <a:pt x="808" y="292"/>
                  </a:lnTo>
                  <a:lnTo>
                    <a:pt x="808" y="290"/>
                  </a:lnTo>
                  <a:lnTo>
                    <a:pt x="806" y="288"/>
                  </a:lnTo>
                  <a:lnTo>
                    <a:pt x="806" y="286"/>
                  </a:lnTo>
                  <a:lnTo>
                    <a:pt x="808" y="286"/>
                  </a:lnTo>
                  <a:lnTo>
                    <a:pt x="808" y="284"/>
                  </a:lnTo>
                  <a:lnTo>
                    <a:pt x="810" y="284"/>
                  </a:lnTo>
                  <a:lnTo>
                    <a:pt x="812" y="286"/>
                  </a:lnTo>
                  <a:lnTo>
                    <a:pt x="814" y="286"/>
                  </a:lnTo>
                  <a:lnTo>
                    <a:pt x="814" y="288"/>
                  </a:lnTo>
                  <a:lnTo>
                    <a:pt x="816" y="288"/>
                  </a:lnTo>
                  <a:lnTo>
                    <a:pt x="816" y="290"/>
                  </a:lnTo>
                  <a:lnTo>
                    <a:pt x="818" y="290"/>
                  </a:lnTo>
                  <a:lnTo>
                    <a:pt x="816" y="292"/>
                  </a:lnTo>
                  <a:lnTo>
                    <a:pt x="816" y="290"/>
                  </a:lnTo>
                  <a:lnTo>
                    <a:pt x="814" y="290"/>
                  </a:lnTo>
                  <a:lnTo>
                    <a:pt x="814" y="292"/>
                  </a:lnTo>
                  <a:lnTo>
                    <a:pt x="814" y="294"/>
                  </a:lnTo>
                  <a:lnTo>
                    <a:pt x="816" y="294"/>
                  </a:lnTo>
                  <a:lnTo>
                    <a:pt x="816" y="296"/>
                  </a:lnTo>
                  <a:lnTo>
                    <a:pt x="818" y="296"/>
                  </a:lnTo>
                  <a:lnTo>
                    <a:pt x="818" y="298"/>
                  </a:lnTo>
                  <a:lnTo>
                    <a:pt x="818" y="300"/>
                  </a:lnTo>
                  <a:lnTo>
                    <a:pt x="820" y="300"/>
                  </a:lnTo>
                  <a:lnTo>
                    <a:pt x="820" y="302"/>
                  </a:lnTo>
                  <a:lnTo>
                    <a:pt x="818" y="302"/>
                  </a:lnTo>
                  <a:lnTo>
                    <a:pt x="818" y="300"/>
                  </a:lnTo>
                  <a:lnTo>
                    <a:pt x="818" y="302"/>
                  </a:lnTo>
                  <a:lnTo>
                    <a:pt x="818" y="303"/>
                  </a:lnTo>
                  <a:lnTo>
                    <a:pt x="818" y="305"/>
                  </a:lnTo>
                  <a:lnTo>
                    <a:pt x="818" y="307"/>
                  </a:lnTo>
                  <a:lnTo>
                    <a:pt x="818" y="309"/>
                  </a:lnTo>
                  <a:lnTo>
                    <a:pt x="820" y="311"/>
                  </a:lnTo>
                  <a:lnTo>
                    <a:pt x="818" y="311"/>
                  </a:lnTo>
                  <a:lnTo>
                    <a:pt x="820" y="311"/>
                  </a:lnTo>
                  <a:lnTo>
                    <a:pt x="820" y="313"/>
                  </a:lnTo>
                  <a:lnTo>
                    <a:pt x="820" y="315"/>
                  </a:lnTo>
                  <a:lnTo>
                    <a:pt x="818" y="315"/>
                  </a:lnTo>
                  <a:lnTo>
                    <a:pt x="818" y="317"/>
                  </a:lnTo>
                  <a:lnTo>
                    <a:pt x="818" y="319"/>
                  </a:lnTo>
                  <a:lnTo>
                    <a:pt x="816" y="319"/>
                  </a:lnTo>
                  <a:lnTo>
                    <a:pt x="818" y="319"/>
                  </a:lnTo>
                  <a:lnTo>
                    <a:pt x="816" y="319"/>
                  </a:lnTo>
                  <a:lnTo>
                    <a:pt x="816" y="321"/>
                  </a:lnTo>
                  <a:lnTo>
                    <a:pt x="816" y="323"/>
                  </a:lnTo>
                  <a:lnTo>
                    <a:pt x="816" y="325"/>
                  </a:lnTo>
                  <a:lnTo>
                    <a:pt x="816" y="327"/>
                  </a:lnTo>
                  <a:lnTo>
                    <a:pt x="816" y="328"/>
                  </a:lnTo>
                  <a:lnTo>
                    <a:pt x="814" y="328"/>
                  </a:lnTo>
                  <a:lnTo>
                    <a:pt x="814" y="330"/>
                  </a:lnTo>
                  <a:lnTo>
                    <a:pt x="814" y="332"/>
                  </a:lnTo>
                  <a:lnTo>
                    <a:pt x="814" y="334"/>
                  </a:lnTo>
                  <a:lnTo>
                    <a:pt x="814" y="336"/>
                  </a:lnTo>
                  <a:lnTo>
                    <a:pt x="814" y="338"/>
                  </a:lnTo>
                  <a:lnTo>
                    <a:pt x="814" y="340"/>
                  </a:lnTo>
                  <a:lnTo>
                    <a:pt x="816" y="340"/>
                  </a:lnTo>
                  <a:lnTo>
                    <a:pt x="816" y="342"/>
                  </a:lnTo>
                  <a:lnTo>
                    <a:pt x="818" y="344"/>
                  </a:lnTo>
                  <a:lnTo>
                    <a:pt x="816" y="344"/>
                  </a:lnTo>
                  <a:lnTo>
                    <a:pt x="816" y="346"/>
                  </a:lnTo>
                  <a:lnTo>
                    <a:pt x="816" y="348"/>
                  </a:lnTo>
                  <a:lnTo>
                    <a:pt x="818" y="348"/>
                  </a:lnTo>
                  <a:lnTo>
                    <a:pt x="818" y="350"/>
                  </a:lnTo>
                  <a:lnTo>
                    <a:pt x="816" y="350"/>
                  </a:lnTo>
                  <a:lnTo>
                    <a:pt x="816" y="351"/>
                  </a:lnTo>
                  <a:lnTo>
                    <a:pt x="816" y="353"/>
                  </a:lnTo>
                  <a:lnTo>
                    <a:pt x="816" y="351"/>
                  </a:lnTo>
                  <a:lnTo>
                    <a:pt x="814" y="351"/>
                  </a:lnTo>
                  <a:lnTo>
                    <a:pt x="814" y="353"/>
                  </a:lnTo>
                  <a:lnTo>
                    <a:pt x="812" y="353"/>
                  </a:lnTo>
                  <a:lnTo>
                    <a:pt x="814" y="355"/>
                  </a:lnTo>
                  <a:lnTo>
                    <a:pt x="814" y="357"/>
                  </a:lnTo>
                  <a:lnTo>
                    <a:pt x="816" y="359"/>
                  </a:lnTo>
                  <a:lnTo>
                    <a:pt x="818" y="359"/>
                  </a:lnTo>
                  <a:lnTo>
                    <a:pt x="820" y="361"/>
                  </a:lnTo>
                  <a:lnTo>
                    <a:pt x="822" y="361"/>
                  </a:lnTo>
                  <a:lnTo>
                    <a:pt x="822" y="363"/>
                  </a:lnTo>
                  <a:lnTo>
                    <a:pt x="823" y="363"/>
                  </a:lnTo>
                  <a:lnTo>
                    <a:pt x="825" y="363"/>
                  </a:lnTo>
                  <a:lnTo>
                    <a:pt x="825" y="365"/>
                  </a:lnTo>
                  <a:lnTo>
                    <a:pt x="825" y="363"/>
                  </a:lnTo>
                  <a:lnTo>
                    <a:pt x="827" y="363"/>
                  </a:lnTo>
                  <a:lnTo>
                    <a:pt x="829" y="365"/>
                  </a:lnTo>
                  <a:lnTo>
                    <a:pt x="831" y="365"/>
                  </a:lnTo>
                  <a:lnTo>
                    <a:pt x="833" y="365"/>
                  </a:lnTo>
                  <a:lnTo>
                    <a:pt x="835" y="365"/>
                  </a:lnTo>
                  <a:lnTo>
                    <a:pt x="837" y="365"/>
                  </a:lnTo>
                  <a:lnTo>
                    <a:pt x="839" y="365"/>
                  </a:lnTo>
                  <a:lnTo>
                    <a:pt x="841" y="365"/>
                  </a:lnTo>
                  <a:lnTo>
                    <a:pt x="843" y="365"/>
                  </a:lnTo>
                  <a:lnTo>
                    <a:pt x="843" y="367"/>
                  </a:lnTo>
                  <a:lnTo>
                    <a:pt x="843" y="365"/>
                  </a:lnTo>
                  <a:lnTo>
                    <a:pt x="845" y="365"/>
                  </a:lnTo>
                  <a:lnTo>
                    <a:pt x="846" y="365"/>
                  </a:lnTo>
                  <a:lnTo>
                    <a:pt x="846" y="367"/>
                  </a:lnTo>
                  <a:lnTo>
                    <a:pt x="848" y="367"/>
                  </a:lnTo>
                  <a:lnTo>
                    <a:pt x="850" y="367"/>
                  </a:lnTo>
                  <a:lnTo>
                    <a:pt x="852" y="369"/>
                  </a:lnTo>
                  <a:lnTo>
                    <a:pt x="852" y="371"/>
                  </a:lnTo>
                  <a:lnTo>
                    <a:pt x="852" y="373"/>
                  </a:lnTo>
                  <a:lnTo>
                    <a:pt x="852" y="375"/>
                  </a:lnTo>
                  <a:lnTo>
                    <a:pt x="854" y="375"/>
                  </a:lnTo>
                  <a:lnTo>
                    <a:pt x="856" y="375"/>
                  </a:lnTo>
                  <a:lnTo>
                    <a:pt x="856" y="376"/>
                  </a:lnTo>
                  <a:lnTo>
                    <a:pt x="858" y="376"/>
                  </a:lnTo>
                  <a:lnTo>
                    <a:pt x="860" y="376"/>
                  </a:lnTo>
                  <a:lnTo>
                    <a:pt x="860" y="375"/>
                  </a:lnTo>
                  <a:lnTo>
                    <a:pt x="860" y="373"/>
                  </a:lnTo>
                  <a:lnTo>
                    <a:pt x="860" y="371"/>
                  </a:lnTo>
                  <a:lnTo>
                    <a:pt x="858" y="371"/>
                  </a:lnTo>
                  <a:lnTo>
                    <a:pt x="858" y="369"/>
                  </a:lnTo>
                  <a:lnTo>
                    <a:pt x="856" y="367"/>
                  </a:lnTo>
                  <a:lnTo>
                    <a:pt x="858" y="367"/>
                  </a:lnTo>
                  <a:lnTo>
                    <a:pt x="858" y="365"/>
                  </a:lnTo>
                  <a:lnTo>
                    <a:pt x="858" y="363"/>
                  </a:lnTo>
                  <a:lnTo>
                    <a:pt x="858" y="361"/>
                  </a:lnTo>
                  <a:lnTo>
                    <a:pt x="856" y="361"/>
                  </a:lnTo>
                  <a:lnTo>
                    <a:pt x="854" y="361"/>
                  </a:lnTo>
                  <a:lnTo>
                    <a:pt x="852" y="361"/>
                  </a:lnTo>
                  <a:lnTo>
                    <a:pt x="852" y="359"/>
                  </a:lnTo>
                  <a:lnTo>
                    <a:pt x="852" y="357"/>
                  </a:lnTo>
                  <a:lnTo>
                    <a:pt x="854" y="357"/>
                  </a:lnTo>
                  <a:lnTo>
                    <a:pt x="852" y="357"/>
                  </a:lnTo>
                  <a:lnTo>
                    <a:pt x="852" y="359"/>
                  </a:lnTo>
                  <a:lnTo>
                    <a:pt x="850" y="359"/>
                  </a:lnTo>
                  <a:lnTo>
                    <a:pt x="848" y="359"/>
                  </a:lnTo>
                  <a:lnTo>
                    <a:pt x="850" y="361"/>
                  </a:lnTo>
                  <a:lnTo>
                    <a:pt x="848" y="361"/>
                  </a:lnTo>
                  <a:lnTo>
                    <a:pt x="848" y="359"/>
                  </a:lnTo>
                  <a:lnTo>
                    <a:pt x="846" y="359"/>
                  </a:lnTo>
                  <a:lnTo>
                    <a:pt x="846" y="357"/>
                  </a:lnTo>
                  <a:lnTo>
                    <a:pt x="846" y="359"/>
                  </a:lnTo>
                  <a:lnTo>
                    <a:pt x="845" y="359"/>
                  </a:lnTo>
                  <a:lnTo>
                    <a:pt x="845" y="357"/>
                  </a:lnTo>
                  <a:lnTo>
                    <a:pt x="843" y="357"/>
                  </a:lnTo>
                  <a:lnTo>
                    <a:pt x="843" y="355"/>
                  </a:lnTo>
                  <a:lnTo>
                    <a:pt x="841" y="355"/>
                  </a:lnTo>
                  <a:lnTo>
                    <a:pt x="841" y="353"/>
                  </a:lnTo>
                  <a:lnTo>
                    <a:pt x="839" y="353"/>
                  </a:lnTo>
                  <a:lnTo>
                    <a:pt x="837" y="353"/>
                  </a:lnTo>
                  <a:lnTo>
                    <a:pt x="835" y="351"/>
                  </a:lnTo>
                  <a:lnTo>
                    <a:pt x="833" y="350"/>
                  </a:lnTo>
                  <a:lnTo>
                    <a:pt x="833" y="348"/>
                  </a:lnTo>
                  <a:lnTo>
                    <a:pt x="831" y="348"/>
                  </a:lnTo>
                  <a:lnTo>
                    <a:pt x="829" y="346"/>
                  </a:lnTo>
                  <a:lnTo>
                    <a:pt x="829" y="344"/>
                  </a:lnTo>
                  <a:lnTo>
                    <a:pt x="829" y="342"/>
                  </a:lnTo>
                  <a:lnTo>
                    <a:pt x="827" y="340"/>
                  </a:lnTo>
                  <a:lnTo>
                    <a:pt x="827" y="338"/>
                  </a:lnTo>
                  <a:lnTo>
                    <a:pt x="827" y="336"/>
                  </a:lnTo>
                  <a:lnTo>
                    <a:pt x="825" y="334"/>
                  </a:lnTo>
                  <a:lnTo>
                    <a:pt x="825" y="332"/>
                  </a:lnTo>
                  <a:lnTo>
                    <a:pt x="825" y="330"/>
                  </a:lnTo>
                  <a:lnTo>
                    <a:pt x="827" y="330"/>
                  </a:lnTo>
                  <a:lnTo>
                    <a:pt x="827" y="328"/>
                  </a:lnTo>
                  <a:lnTo>
                    <a:pt x="829" y="328"/>
                  </a:lnTo>
                  <a:lnTo>
                    <a:pt x="831" y="327"/>
                  </a:lnTo>
                  <a:lnTo>
                    <a:pt x="831" y="325"/>
                  </a:lnTo>
                  <a:lnTo>
                    <a:pt x="833" y="325"/>
                  </a:lnTo>
                  <a:lnTo>
                    <a:pt x="835" y="323"/>
                  </a:lnTo>
                  <a:lnTo>
                    <a:pt x="837" y="323"/>
                  </a:lnTo>
                  <a:lnTo>
                    <a:pt x="839" y="323"/>
                  </a:lnTo>
                  <a:lnTo>
                    <a:pt x="839" y="325"/>
                  </a:lnTo>
                  <a:lnTo>
                    <a:pt x="839" y="327"/>
                  </a:lnTo>
                  <a:lnTo>
                    <a:pt x="841" y="327"/>
                  </a:lnTo>
                  <a:lnTo>
                    <a:pt x="841" y="328"/>
                  </a:lnTo>
                  <a:lnTo>
                    <a:pt x="843" y="328"/>
                  </a:lnTo>
                  <a:lnTo>
                    <a:pt x="845" y="330"/>
                  </a:lnTo>
                  <a:lnTo>
                    <a:pt x="845" y="332"/>
                  </a:lnTo>
                  <a:lnTo>
                    <a:pt x="846" y="334"/>
                  </a:lnTo>
                  <a:lnTo>
                    <a:pt x="848" y="334"/>
                  </a:lnTo>
                  <a:lnTo>
                    <a:pt x="850" y="334"/>
                  </a:lnTo>
                  <a:lnTo>
                    <a:pt x="852" y="334"/>
                  </a:lnTo>
                  <a:lnTo>
                    <a:pt x="854" y="334"/>
                  </a:lnTo>
                  <a:lnTo>
                    <a:pt x="854" y="332"/>
                  </a:lnTo>
                  <a:lnTo>
                    <a:pt x="856" y="332"/>
                  </a:lnTo>
                  <a:lnTo>
                    <a:pt x="856" y="330"/>
                  </a:lnTo>
                  <a:lnTo>
                    <a:pt x="858" y="328"/>
                  </a:lnTo>
                  <a:lnTo>
                    <a:pt x="856" y="327"/>
                  </a:lnTo>
                  <a:lnTo>
                    <a:pt x="856" y="325"/>
                  </a:lnTo>
                  <a:lnTo>
                    <a:pt x="854" y="323"/>
                  </a:lnTo>
                  <a:lnTo>
                    <a:pt x="854" y="321"/>
                  </a:lnTo>
                  <a:lnTo>
                    <a:pt x="852" y="321"/>
                  </a:lnTo>
                  <a:lnTo>
                    <a:pt x="850" y="321"/>
                  </a:lnTo>
                  <a:lnTo>
                    <a:pt x="848" y="323"/>
                  </a:lnTo>
                  <a:lnTo>
                    <a:pt x="846" y="323"/>
                  </a:lnTo>
                  <a:lnTo>
                    <a:pt x="845" y="323"/>
                  </a:lnTo>
                  <a:lnTo>
                    <a:pt x="845" y="321"/>
                  </a:lnTo>
                  <a:lnTo>
                    <a:pt x="846" y="319"/>
                  </a:lnTo>
                  <a:lnTo>
                    <a:pt x="846" y="317"/>
                  </a:lnTo>
                  <a:lnTo>
                    <a:pt x="846" y="315"/>
                  </a:lnTo>
                  <a:lnTo>
                    <a:pt x="846" y="317"/>
                  </a:lnTo>
                  <a:lnTo>
                    <a:pt x="848" y="317"/>
                  </a:lnTo>
                  <a:lnTo>
                    <a:pt x="850" y="317"/>
                  </a:lnTo>
                  <a:lnTo>
                    <a:pt x="850" y="315"/>
                  </a:lnTo>
                  <a:lnTo>
                    <a:pt x="852" y="313"/>
                  </a:lnTo>
                  <a:lnTo>
                    <a:pt x="852" y="311"/>
                  </a:lnTo>
                  <a:lnTo>
                    <a:pt x="854" y="311"/>
                  </a:lnTo>
                  <a:lnTo>
                    <a:pt x="852" y="311"/>
                  </a:lnTo>
                  <a:lnTo>
                    <a:pt x="854" y="311"/>
                  </a:lnTo>
                  <a:lnTo>
                    <a:pt x="854" y="309"/>
                  </a:lnTo>
                  <a:lnTo>
                    <a:pt x="856" y="309"/>
                  </a:lnTo>
                  <a:lnTo>
                    <a:pt x="858" y="309"/>
                  </a:lnTo>
                  <a:lnTo>
                    <a:pt x="856" y="309"/>
                  </a:lnTo>
                  <a:lnTo>
                    <a:pt x="858" y="309"/>
                  </a:lnTo>
                  <a:lnTo>
                    <a:pt x="858" y="307"/>
                  </a:lnTo>
                  <a:lnTo>
                    <a:pt x="860" y="307"/>
                  </a:lnTo>
                  <a:lnTo>
                    <a:pt x="862" y="307"/>
                  </a:lnTo>
                  <a:lnTo>
                    <a:pt x="864" y="307"/>
                  </a:lnTo>
                  <a:lnTo>
                    <a:pt x="864" y="309"/>
                  </a:lnTo>
                  <a:lnTo>
                    <a:pt x="866" y="309"/>
                  </a:lnTo>
                  <a:lnTo>
                    <a:pt x="868" y="309"/>
                  </a:lnTo>
                  <a:lnTo>
                    <a:pt x="869" y="309"/>
                  </a:lnTo>
                  <a:lnTo>
                    <a:pt x="871" y="309"/>
                  </a:lnTo>
                  <a:lnTo>
                    <a:pt x="875" y="309"/>
                  </a:lnTo>
                  <a:lnTo>
                    <a:pt x="877" y="311"/>
                  </a:lnTo>
                  <a:lnTo>
                    <a:pt x="879" y="313"/>
                  </a:lnTo>
                  <a:lnTo>
                    <a:pt x="881" y="315"/>
                  </a:lnTo>
                  <a:lnTo>
                    <a:pt x="881" y="317"/>
                  </a:lnTo>
                  <a:lnTo>
                    <a:pt x="883" y="317"/>
                  </a:lnTo>
                  <a:lnTo>
                    <a:pt x="883" y="319"/>
                  </a:lnTo>
                  <a:lnTo>
                    <a:pt x="885" y="317"/>
                  </a:lnTo>
                  <a:lnTo>
                    <a:pt x="885" y="319"/>
                  </a:lnTo>
                  <a:lnTo>
                    <a:pt x="887" y="319"/>
                  </a:lnTo>
                  <a:lnTo>
                    <a:pt x="889" y="321"/>
                  </a:lnTo>
                  <a:lnTo>
                    <a:pt x="891" y="321"/>
                  </a:lnTo>
                  <a:lnTo>
                    <a:pt x="893" y="321"/>
                  </a:lnTo>
                  <a:lnTo>
                    <a:pt x="893" y="323"/>
                  </a:lnTo>
                  <a:lnTo>
                    <a:pt x="893" y="325"/>
                  </a:lnTo>
                  <a:lnTo>
                    <a:pt x="894" y="327"/>
                  </a:lnTo>
                  <a:lnTo>
                    <a:pt x="896" y="327"/>
                  </a:lnTo>
                  <a:lnTo>
                    <a:pt x="896" y="328"/>
                  </a:lnTo>
                  <a:lnTo>
                    <a:pt x="898" y="328"/>
                  </a:lnTo>
                  <a:lnTo>
                    <a:pt x="898" y="330"/>
                  </a:lnTo>
                  <a:lnTo>
                    <a:pt x="900" y="332"/>
                  </a:lnTo>
                  <a:lnTo>
                    <a:pt x="902" y="334"/>
                  </a:lnTo>
                  <a:lnTo>
                    <a:pt x="902" y="336"/>
                  </a:lnTo>
                  <a:lnTo>
                    <a:pt x="902" y="338"/>
                  </a:lnTo>
                  <a:lnTo>
                    <a:pt x="904" y="338"/>
                  </a:lnTo>
                  <a:lnTo>
                    <a:pt x="904" y="340"/>
                  </a:lnTo>
                  <a:lnTo>
                    <a:pt x="906" y="340"/>
                  </a:lnTo>
                  <a:lnTo>
                    <a:pt x="908" y="340"/>
                  </a:lnTo>
                  <a:lnTo>
                    <a:pt x="908" y="342"/>
                  </a:lnTo>
                  <a:lnTo>
                    <a:pt x="910" y="342"/>
                  </a:lnTo>
                  <a:lnTo>
                    <a:pt x="912" y="340"/>
                  </a:lnTo>
                  <a:lnTo>
                    <a:pt x="914" y="340"/>
                  </a:lnTo>
                  <a:lnTo>
                    <a:pt x="916" y="340"/>
                  </a:lnTo>
                  <a:lnTo>
                    <a:pt x="917" y="340"/>
                  </a:lnTo>
                  <a:lnTo>
                    <a:pt x="919" y="340"/>
                  </a:lnTo>
                  <a:lnTo>
                    <a:pt x="919" y="338"/>
                  </a:lnTo>
                  <a:lnTo>
                    <a:pt x="921" y="338"/>
                  </a:lnTo>
                  <a:lnTo>
                    <a:pt x="923" y="338"/>
                  </a:lnTo>
                  <a:lnTo>
                    <a:pt x="925" y="338"/>
                  </a:lnTo>
                  <a:lnTo>
                    <a:pt x="927" y="338"/>
                  </a:lnTo>
                  <a:lnTo>
                    <a:pt x="927" y="340"/>
                  </a:lnTo>
                  <a:lnTo>
                    <a:pt x="929" y="340"/>
                  </a:lnTo>
                  <a:lnTo>
                    <a:pt x="931" y="340"/>
                  </a:lnTo>
                  <a:lnTo>
                    <a:pt x="931" y="342"/>
                  </a:lnTo>
                  <a:lnTo>
                    <a:pt x="931" y="344"/>
                  </a:lnTo>
                  <a:lnTo>
                    <a:pt x="931" y="346"/>
                  </a:lnTo>
                  <a:lnTo>
                    <a:pt x="929" y="346"/>
                  </a:lnTo>
                  <a:lnTo>
                    <a:pt x="929" y="348"/>
                  </a:lnTo>
                  <a:lnTo>
                    <a:pt x="927" y="348"/>
                  </a:lnTo>
                  <a:lnTo>
                    <a:pt x="927" y="350"/>
                  </a:lnTo>
                  <a:lnTo>
                    <a:pt x="927" y="351"/>
                  </a:lnTo>
                  <a:lnTo>
                    <a:pt x="927" y="353"/>
                  </a:lnTo>
                  <a:lnTo>
                    <a:pt x="925" y="355"/>
                  </a:lnTo>
                  <a:lnTo>
                    <a:pt x="923" y="355"/>
                  </a:lnTo>
                  <a:lnTo>
                    <a:pt x="921" y="357"/>
                  </a:lnTo>
                  <a:lnTo>
                    <a:pt x="919" y="357"/>
                  </a:lnTo>
                  <a:lnTo>
                    <a:pt x="919" y="359"/>
                  </a:lnTo>
                  <a:lnTo>
                    <a:pt x="917" y="359"/>
                  </a:lnTo>
                  <a:lnTo>
                    <a:pt x="916" y="361"/>
                  </a:lnTo>
                  <a:lnTo>
                    <a:pt x="916" y="363"/>
                  </a:lnTo>
                  <a:lnTo>
                    <a:pt x="916" y="365"/>
                  </a:lnTo>
                  <a:lnTo>
                    <a:pt x="917" y="367"/>
                  </a:lnTo>
                  <a:lnTo>
                    <a:pt x="917" y="369"/>
                  </a:lnTo>
                  <a:lnTo>
                    <a:pt x="917" y="371"/>
                  </a:lnTo>
                  <a:lnTo>
                    <a:pt x="916" y="371"/>
                  </a:lnTo>
                  <a:lnTo>
                    <a:pt x="916" y="373"/>
                  </a:lnTo>
                  <a:lnTo>
                    <a:pt x="917" y="373"/>
                  </a:lnTo>
                  <a:lnTo>
                    <a:pt x="919" y="373"/>
                  </a:lnTo>
                  <a:lnTo>
                    <a:pt x="921" y="373"/>
                  </a:lnTo>
                  <a:lnTo>
                    <a:pt x="921" y="375"/>
                  </a:lnTo>
                  <a:lnTo>
                    <a:pt x="923" y="375"/>
                  </a:lnTo>
                  <a:lnTo>
                    <a:pt x="925" y="375"/>
                  </a:lnTo>
                  <a:lnTo>
                    <a:pt x="925" y="373"/>
                  </a:lnTo>
                  <a:lnTo>
                    <a:pt x="927" y="373"/>
                  </a:lnTo>
                  <a:lnTo>
                    <a:pt x="929" y="375"/>
                  </a:lnTo>
                  <a:lnTo>
                    <a:pt x="931" y="375"/>
                  </a:lnTo>
                  <a:lnTo>
                    <a:pt x="931" y="376"/>
                  </a:lnTo>
                  <a:lnTo>
                    <a:pt x="931" y="378"/>
                  </a:lnTo>
                  <a:lnTo>
                    <a:pt x="931" y="380"/>
                  </a:lnTo>
                  <a:lnTo>
                    <a:pt x="933" y="382"/>
                  </a:lnTo>
                  <a:lnTo>
                    <a:pt x="933" y="384"/>
                  </a:lnTo>
                  <a:lnTo>
                    <a:pt x="933" y="386"/>
                  </a:lnTo>
                  <a:lnTo>
                    <a:pt x="933" y="388"/>
                  </a:lnTo>
                  <a:lnTo>
                    <a:pt x="935" y="388"/>
                  </a:lnTo>
                  <a:lnTo>
                    <a:pt x="937" y="390"/>
                  </a:lnTo>
                  <a:lnTo>
                    <a:pt x="937" y="388"/>
                  </a:lnTo>
                  <a:lnTo>
                    <a:pt x="937" y="386"/>
                  </a:lnTo>
                  <a:lnTo>
                    <a:pt x="935" y="386"/>
                  </a:lnTo>
                  <a:lnTo>
                    <a:pt x="937" y="384"/>
                  </a:lnTo>
                  <a:lnTo>
                    <a:pt x="935" y="384"/>
                  </a:lnTo>
                  <a:lnTo>
                    <a:pt x="935" y="382"/>
                  </a:lnTo>
                  <a:lnTo>
                    <a:pt x="935" y="380"/>
                  </a:lnTo>
                  <a:lnTo>
                    <a:pt x="935" y="378"/>
                  </a:lnTo>
                  <a:lnTo>
                    <a:pt x="935" y="376"/>
                  </a:lnTo>
                  <a:lnTo>
                    <a:pt x="933" y="375"/>
                  </a:lnTo>
                  <a:lnTo>
                    <a:pt x="933" y="373"/>
                  </a:lnTo>
                  <a:lnTo>
                    <a:pt x="933" y="371"/>
                  </a:lnTo>
                  <a:lnTo>
                    <a:pt x="931" y="371"/>
                  </a:lnTo>
                  <a:lnTo>
                    <a:pt x="931" y="369"/>
                  </a:lnTo>
                  <a:lnTo>
                    <a:pt x="929" y="369"/>
                  </a:lnTo>
                  <a:lnTo>
                    <a:pt x="929" y="367"/>
                  </a:lnTo>
                  <a:lnTo>
                    <a:pt x="929" y="369"/>
                  </a:lnTo>
                  <a:lnTo>
                    <a:pt x="931" y="369"/>
                  </a:lnTo>
                  <a:lnTo>
                    <a:pt x="931" y="367"/>
                  </a:lnTo>
                  <a:lnTo>
                    <a:pt x="931" y="365"/>
                  </a:lnTo>
                  <a:lnTo>
                    <a:pt x="931" y="363"/>
                  </a:lnTo>
                  <a:lnTo>
                    <a:pt x="929" y="363"/>
                  </a:lnTo>
                  <a:lnTo>
                    <a:pt x="929" y="361"/>
                  </a:lnTo>
                  <a:lnTo>
                    <a:pt x="931" y="361"/>
                  </a:lnTo>
                  <a:lnTo>
                    <a:pt x="931" y="359"/>
                  </a:lnTo>
                  <a:lnTo>
                    <a:pt x="933" y="357"/>
                  </a:lnTo>
                  <a:lnTo>
                    <a:pt x="933" y="355"/>
                  </a:lnTo>
                  <a:lnTo>
                    <a:pt x="933" y="353"/>
                  </a:lnTo>
                  <a:lnTo>
                    <a:pt x="933" y="351"/>
                  </a:lnTo>
                  <a:lnTo>
                    <a:pt x="935" y="350"/>
                  </a:lnTo>
                  <a:lnTo>
                    <a:pt x="937" y="348"/>
                  </a:lnTo>
                  <a:lnTo>
                    <a:pt x="937" y="346"/>
                  </a:lnTo>
                  <a:lnTo>
                    <a:pt x="937" y="344"/>
                  </a:lnTo>
                  <a:lnTo>
                    <a:pt x="937" y="342"/>
                  </a:lnTo>
                  <a:lnTo>
                    <a:pt x="935" y="340"/>
                  </a:lnTo>
                  <a:lnTo>
                    <a:pt x="933" y="340"/>
                  </a:lnTo>
                  <a:lnTo>
                    <a:pt x="933" y="338"/>
                  </a:lnTo>
                  <a:lnTo>
                    <a:pt x="933" y="336"/>
                  </a:lnTo>
                  <a:lnTo>
                    <a:pt x="933" y="334"/>
                  </a:lnTo>
                  <a:lnTo>
                    <a:pt x="931" y="334"/>
                  </a:lnTo>
                  <a:lnTo>
                    <a:pt x="931" y="332"/>
                  </a:lnTo>
                  <a:lnTo>
                    <a:pt x="929" y="332"/>
                  </a:lnTo>
                  <a:lnTo>
                    <a:pt x="927" y="332"/>
                  </a:lnTo>
                  <a:lnTo>
                    <a:pt x="925" y="332"/>
                  </a:lnTo>
                  <a:lnTo>
                    <a:pt x="923" y="332"/>
                  </a:lnTo>
                  <a:lnTo>
                    <a:pt x="923" y="330"/>
                  </a:lnTo>
                  <a:lnTo>
                    <a:pt x="923" y="332"/>
                  </a:lnTo>
                  <a:lnTo>
                    <a:pt x="921" y="332"/>
                  </a:lnTo>
                  <a:lnTo>
                    <a:pt x="921" y="330"/>
                  </a:lnTo>
                  <a:lnTo>
                    <a:pt x="921" y="328"/>
                  </a:lnTo>
                  <a:lnTo>
                    <a:pt x="921" y="327"/>
                  </a:lnTo>
                  <a:lnTo>
                    <a:pt x="919" y="327"/>
                  </a:lnTo>
                  <a:lnTo>
                    <a:pt x="921" y="327"/>
                  </a:lnTo>
                  <a:lnTo>
                    <a:pt x="919" y="325"/>
                  </a:lnTo>
                  <a:lnTo>
                    <a:pt x="917" y="323"/>
                  </a:lnTo>
                  <a:lnTo>
                    <a:pt x="916" y="321"/>
                  </a:lnTo>
                  <a:lnTo>
                    <a:pt x="917" y="323"/>
                  </a:lnTo>
                  <a:lnTo>
                    <a:pt x="917" y="321"/>
                  </a:lnTo>
                  <a:lnTo>
                    <a:pt x="919" y="321"/>
                  </a:lnTo>
                  <a:lnTo>
                    <a:pt x="919" y="319"/>
                  </a:lnTo>
                  <a:lnTo>
                    <a:pt x="917" y="319"/>
                  </a:lnTo>
                  <a:lnTo>
                    <a:pt x="919" y="319"/>
                  </a:lnTo>
                  <a:lnTo>
                    <a:pt x="917" y="319"/>
                  </a:lnTo>
                  <a:lnTo>
                    <a:pt x="917" y="317"/>
                  </a:lnTo>
                  <a:lnTo>
                    <a:pt x="917" y="315"/>
                  </a:lnTo>
                  <a:lnTo>
                    <a:pt x="916" y="315"/>
                  </a:lnTo>
                  <a:lnTo>
                    <a:pt x="916" y="313"/>
                  </a:lnTo>
                  <a:lnTo>
                    <a:pt x="914" y="313"/>
                  </a:lnTo>
                  <a:lnTo>
                    <a:pt x="912" y="311"/>
                  </a:lnTo>
                  <a:lnTo>
                    <a:pt x="912" y="309"/>
                  </a:lnTo>
                  <a:lnTo>
                    <a:pt x="912" y="311"/>
                  </a:lnTo>
                  <a:lnTo>
                    <a:pt x="910" y="311"/>
                  </a:lnTo>
                  <a:lnTo>
                    <a:pt x="908" y="311"/>
                  </a:lnTo>
                  <a:lnTo>
                    <a:pt x="908" y="309"/>
                  </a:lnTo>
                  <a:lnTo>
                    <a:pt x="906" y="309"/>
                  </a:lnTo>
                  <a:lnTo>
                    <a:pt x="906" y="311"/>
                  </a:lnTo>
                  <a:lnTo>
                    <a:pt x="906" y="309"/>
                  </a:lnTo>
                  <a:lnTo>
                    <a:pt x="904" y="309"/>
                  </a:lnTo>
                  <a:lnTo>
                    <a:pt x="902" y="309"/>
                  </a:lnTo>
                  <a:lnTo>
                    <a:pt x="900" y="309"/>
                  </a:lnTo>
                  <a:lnTo>
                    <a:pt x="900" y="307"/>
                  </a:lnTo>
                  <a:lnTo>
                    <a:pt x="898" y="307"/>
                  </a:lnTo>
                  <a:lnTo>
                    <a:pt x="896" y="305"/>
                  </a:lnTo>
                  <a:lnTo>
                    <a:pt x="894" y="303"/>
                  </a:lnTo>
                  <a:lnTo>
                    <a:pt x="894" y="302"/>
                  </a:lnTo>
                  <a:lnTo>
                    <a:pt x="894" y="300"/>
                  </a:lnTo>
                  <a:lnTo>
                    <a:pt x="894" y="302"/>
                  </a:lnTo>
                  <a:lnTo>
                    <a:pt x="896" y="300"/>
                  </a:lnTo>
                  <a:lnTo>
                    <a:pt x="894" y="300"/>
                  </a:lnTo>
                  <a:lnTo>
                    <a:pt x="894" y="298"/>
                  </a:lnTo>
                  <a:lnTo>
                    <a:pt x="896" y="298"/>
                  </a:lnTo>
                  <a:lnTo>
                    <a:pt x="896" y="296"/>
                  </a:lnTo>
                  <a:lnTo>
                    <a:pt x="894" y="296"/>
                  </a:lnTo>
                  <a:lnTo>
                    <a:pt x="894" y="298"/>
                  </a:lnTo>
                  <a:lnTo>
                    <a:pt x="894" y="296"/>
                  </a:lnTo>
                  <a:lnTo>
                    <a:pt x="893" y="296"/>
                  </a:lnTo>
                  <a:lnTo>
                    <a:pt x="893" y="294"/>
                  </a:lnTo>
                  <a:lnTo>
                    <a:pt x="893" y="292"/>
                  </a:lnTo>
                  <a:lnTo>
                    <a:pt x="894" y="290"/>
                  </a:lnTo>
                  <a:lnTo>
                    <a:pt x="894" y="288"/>
                  </a:lnTo>
                  <a:lnTo>
                    <a:pt x="896" y="288"/>
                  </a:lnTo>
                  <a:lnTo>
                    <a:pt x="894" y="288"/>
                  </a:lnTo>
                  <a:lnTo>
                    <a:pt x="894" y="286"/>
                  </a:lnTo>
                  <a:lnTo>
                    <a:pt x="896" y="284"/>
                  </a:lnTo>
                  <a:lnTo>
                    <a:pt x="896" y="282"/>
                  </a:lnTo>
                  <a:lnTo>
                    <a:pt x="896" y="280"/>
                  </a:lnTo>
                  <a:lnTo>
                    <a:pt x="896" y="278"/>
                  </a:lnTo>
                  <a:lnTo>
                    <a:pt x="894" y="278"/>
                  </a:lnTo>
                  <a:lnTo>
                    <a:pt x="894" y="277"/>
                  </a:lnTo>
                  <a:lnTo>
                    <a:pt x="893" y="275"/>
                  </a:lnTo>
                  <a:lnTo>
                    <a:pt x="891" y="275"/>
                  </a:lnTo>
                  <a:lnTo>
                    <a:pt x="891" y="273"/>
                  </a:lnTo>
                  <a:lnTo>
                    <a:pt x="893" y="273"/>
                  </a:lnTo>
                  <a:lnTo>
                    <a:pt x="893" y="271"/>
                  </a:lnTo>
                  <a:lnTo>
                    <a:pt x="891" y="271"/>
                  </a:lnTo>
                  <a:lnTo>
                    <a:pt x="889" y="271"/>
                  </a:lnTo>
                  <a:lnTo>
                    <a:pt x="889" y="269"/>
                  </a:lnTo>
                  <a:lnTo>
                    <a:pt x="887" y="269"/>
                  </a:lnTo>
                  <a:lnTo>
                    <a:pt x="889" y="269"/>
                  </a:lnTo>
                  <a:lnTo>
                    <a:pt x="891" y="269"/>
                  </a:lnTo>
                  <a:lnTo>
                    <a:pt x="893" y="269"/>
                  </a:lnTo>
                  <a:lnTo>
                    <a:pt x="891" y="267"/>
                  </a:lnTo>
                  <a:lnTo>
                    <a:pt x="893" y="267"/>
                  </a:lnTo>
                  <a:lnTo>
                    <a:pt x="893" y="269"/>
                  </a:lnTo>
                  <a:lnTo>
                    <a:pt x="894" y="267"/>
                  </a:lnTo>
                  <a:lnTo>
                    <a:pt x="893" y="267"/>
                  </a:lnTo>
                  <a:lnTo>
                    <a:pt x="893" y="265"/>
                  </a:lnTo>
                  <a:lnTo>
                    <a:pt x="891" y="263"/>
                  </a:lnTo>
                  <a:lnTo>
                    <a:pt x="889" y="263"/>
                  </a:lnTo>
                  <a:lnTo>
                    <a:pt x="889" y="261"/>
                  </a:lnTo>
                  <a:lnTo>
                    <a:pt x="889" y="259"/>
                  </a:lnTo>
                  <a:lnTo>
                    <a:pt x="891" y="259"/>
                  </a:lnTo>
                  <a:lnTo>
                    <a:pt x="891" y="257"/>
                  </a:lnTo>
                  <a:lnTo>
                    <a:pt x="893" y="257"/>
                  </a:lnTo>
                  <a:lnTo>
                    <a:pt x="893" y="255"/>
                  </a:lnTo>
                  <a:lnTo>
                    <a:pt x="894" y="255"/>
                  </a:lnTo>
                  <a:lnTo>
                    <a:pt x="893" y="255"/>
                  </a:lnTo>
                  <a:lnTo>
                    <a:pt x="893" y="254"/>
                  </a:lnTo>
                  <a:lnTo>
                    <a:pt x="893" y="252"/>
                  </a:lnTo>
                  <a:lnTo>
                    <a:pt x="893" y="254"/>
                  </a:lnTo>
                  <a:lnTo>
                    <a:pt x="891" y="254"/>
                  </a:lnTo>
                  <a:lnTo>
                    <a:pt x="891" y="252"/>
                  </a:lnTo>
                  <a:lnTo>
                    <a:pt x="891" y="250"/>
                  </a:lnTo>
                  <a:lnTo>
                    <a:pt x="893" y="250"/>
                  </a:lnTo>
                  <a:lnTo>
                    <a:pt x="894" y="250"/>
                  </a:lnTo>
                  <a:lnTo>
                    <a:pt x="896" y="250"/>
                  </a:lnTo>
                  <a:lnTo>
                    <a:pt x="898" y="250"/>
                  </a:lnTo>
                  <a:lnTo>
                    <a:pt x="898" y="248"/>
                  </a:lnTo>
                  <a:lnTo>
                    <a:pt x="900" y="248"/>
                  </a:lnTo>
                  <a:lnTo>
                    <a:pt x="902" y="248"/>
                  </a:lnTo>
                  <a:lnTo>
                    <a:pt x="904" y="248"/>
                  </a:lnTo>
                  <a:lnTo>
                    <a:pt x="906" y="246"/>
                  </a:lnTo>
                  <a:lnTo>
                    <a:pt x="908" y="246"/>
                  </a:lnTo>
                  <a:lnTo>
                    <a:pt x="912" y="246"/>
                  </a:lnTo>
                  <a:lnTo>
                    <a:pt x="914" y="246"/>
                  </a:lnTo>
                  <a:lnTo>
                    <a:pt x="916" y="246"/>
                  </a:lnTo>
                  <a:lnTo>
                    <a:pt x="917" y="244"/>
                  </a:lnTo>
                  <a:lnTo>
                    <a:pt x="917" y="246"/>
                  </a:lnTo>
                  <a:lnTo>
                    <a:pt x="919" y="246"/>
                  </a:lnTo>
                  <a:lnTo>
                    <a:pt x="919" y="248"/>
                  </a:lnTo>
                  <a:lnTo>
                    <a:pt x="919" y="246"/>
                  </a:lnTo>
                  <a:lnTo>
                    <a:pt x="917" y="244"/>
                  </a:lnTo>
                  <a:lnTo>
                    <a:pt x="919" y="244"/>
                  </a:lnTo>
                  <a:lnTo>
                    <a:pt x="921" y="246"/>
                  </a:lnTo>
                  <a:lnTo>
                    <a:pt x="923" y="244"/>
                  </a:lnTo>
                  <a:lnTo>
                    <a:pt x="925" y="244"/>
                  </a:lnTo>
                  <a:lnTo>
                    <a:pt x="927" y="246"/>
                  </a:lnTo>
                  <a:lnTo>
                    <a:pt x="929" y="246"/>
                  </a:lnTo>
                  <a:lnTo>
                    <a:pt x="931" y="246"/>
                  </a:lnTo>
                  <a:lnTo>
                    <a:pt x="933" y="246"/>
                  </a:lnTo>
                  <a:lnTo>
                    <a:pt x="935" y="246"/>
                  </a:lnTo>
                  <a:lnTo>
                    <a:pt x="937" y="244"/>
                  </a:lnTo>
                  <a:lnTo>
                    <a:pt x="939" y="244"/>
                  </a:lnTo>
                  <a:lnTo>
                    <a:pt x="941" y="244"/>
                  </a:lnTo>
                  <a:lnTo>
                    <a:pt x="941" y="242"/>
                  </a:lnTo>
                  <a:lnTo>
                    <a:pt x="942" y="242"/>
                  </a:lnTo>
                  <a:lnTo>
                    <a:pt x="944" y="242"/>
                  </a:lnTo>
                  <a:lnTo>
                    <a:pt x="946" y="242"/>
                  </a:lnTo>
                  <a:lnTo>
                    <a:pt x="948" y="242"/>
                  </a:lnTo>
                  <a:lnTo>
                    <a:pt x="948" y="240"/>
                  </a:lnTo>
                  <a:lnTo>
                    <a:pt x="950" y="240"/>
                  </a:lnTo>
                  <a:lnTo>
                    <a:pt x="952" y="238"/>
                  </a:lnTo>
                  <a:lnTo>
                    <a:pt x="954" y="238"/>
                  </a:lnTo>
                  <a:lnTo>
                    <a:pt x="954" y="240"/>
                  </a:lnTo>
                  <a:lnTo>
                    <a:pt x="956" y="240"/>
                  </a:lnTo>
                  <a:lnTo>
                    <a:pt x="958" y="240"/>
                  </a:lnTo>
                  <a:lnTo>
                    <a:pt x="958" y="242"/>
                  </a:lnTo>
                  <a:lnTo>
                    <a:pt x="960" y="242"/>
                  </a:lnTo>
                  <a:lnTo>
                    <a:pt x="962" y="242"/>
                  </a:lnTo>
                  <a:lnTo>
                    <a:pt x="964" y="240"/>
                  </a:lnTo>
                  <a:lnTo>
                    <a:pt x="964" y="238"/>
                  </a:lnTo>
                  <a:lnTo>
                    <a:pt x="964" y="236"/>
                  </a:lnTo>
                  <a:lnTo>
                    <a:pt x="965" y="236"/>
                  </a:lnTo>
                  <a:lnTo>
                    <a:pt x="967" y="236"/>
                  </a:lnTo>
                  <a:lnTo>
                    <a:pt x="969" y="236"/>
                  </a:lnTo>
                  <a:lnTo>
                    <a:pt x="971" y="234"/>
                  </a:lnTo>
                  <a:lnTo>
                    <a:pt x="973" y="234"/>
                  </a:lnTo>
                  <a:lnTo>
                    <a:pt x="973" y="232"/>
                  </a:lnTo>
                  <a:lnTo>
                    <a:pt x="973" y="234"/>
                  </a:lnTo>
                  <a:lnTo>
                    <a:pt x="975" y="232"/>
                  </a:lnTo>
                  <a:lnTo>
                    <a:pt x="977" y="232"/>
                  </a:lnTo>
                  <a:lnTo>
                    <a:pt x="979" y="232"/>
                  </a:lnTo>
                  <a:lnTo>
                    <a:pt x="981" y="232"/>
                  </a:lnTo>
                  <a:lnTo>
                    <a:pt x="983" y="232"/>
                  </a:lnTo>
                  <a:lnTo>
                    <a:pt x="985" y="232"/>
                  </a:lnTo>
                  <a:lnTo>
                    <a:pt x="987" y="234"/>
                  </a:lnTo>
                  <a:lnTo>
                    <a:pt x="988" y="232"/>
                  </a:lnTo>
                  <a:lnTo>
                    <a:pt x="988" y="230"/>
                  </a:lnTo>
                  <a:lnTo>
                    <a:pt x="987" y="230"/>
                  </a:lnTo>
                  <a:lnTo>
                    <a:pt x="987" y="229"/>
                  </a:lnTo>
                  <a:lnTo>
                    <a:pt x="987" y="227"/>
                  </a:lnTo>
                  <a:lnTo>
                    <a:pt x="987" y="229"/>
                  </a:lnTo>
                  <a:lnTo>
                    <a:pt x="985" y="227"/>
                  </a:lnTo>
                  <a:lnTo>
                    <a:pt x="985" y="225"/>
                  </a:lnTo>
                  <a:lnTo>
                    <a:pt x="987" y="223"/>
                  </a:lnTo>
                  <a:lnTo>
                    <a:pt x="988" y="223"/>
                  </a:lnTo>
                  <a:lnTo>
                    <a:pt x="990" y="223"/>
                  </a:lnTo>
                  <a:lnTo>
                    <a:pt x="992" y="223"/>
                  </a:lnTo>
                  <a:lnTo>
                    <a:pt x="992" y="221"/>
                  </a:lnTo>
                  <a:lnTo>
                    <a:pt x="990" y="221"/>
                  </a:lnTo>
                  <a:lnTo>
                    <a:pt x="990" y="223"/>
                  </a:lnTo>
                  <a:lnTo>
                    <a:pt x="988" y="223"/>
                  </a:lnTo>
                  <a:lnTo>
                    <a:pt x="987" y="223"/>
                  </a:lnTo>
                  <a:lnTo>
                    <a:pt x="985" y="223"/>
                  </a:lnTo>
                  <a:lnTo>
                    <a:pt x="983" y="223"/>
                  </a:lnTo>
                  <a:lnTo>
                    <a:pt x="983" y="221"/>
                  </a:lnTo>
                  <a:lnTo>
                    <a:pt x="981" y="219"/>
                  </a:lnTo>
                  <a:lnTo>
                    <a:pt x="983" y="219"/>
                  </a:lnTo>
                  <a:lnTo>
                    <a:pt x="983" y="217"/>
                  </a:lnTo>
                  <a:lnTo>
                    <a:pt x="983" y="215"/>
                  </a:lnTo>
                  <a:lnTo>
                    <a:pt x="981" y="213"/>
                  </a:lnTo>
                  <a:lnTo>
                    <a:pt x="979" y="213"/>
                  </a:lnTo>
                  <a:lnTo>
                    <a:pt x="977" y="213"/>
                  </a:lnTo>
                  <a:lnTo>
                    <a:pt x="977" y="211"/>
                  </a:lnTo>
                  <a:lnTo>
                    <a:pt x="975" y="211"/>
                  </a:lnTo>
                  <a:lnTo>
                    <a:pt x="973" y="211"/>
                  </a:lnTo>
                  <a:lnTo>
                    <a:pt x="971" y="211"/>
                  </a:lnTo>
                  <a:lnTo>
                    <a:pt x="969" y="209"/>
                  </a:lnTo>
                  <a:lnTo>
                    <a:pt x="969" y="207"/>
                  </a:lnTo>
                  <a:lnTo>
                    <a:pt x="969" y="206"/>
                  </a:lnTo>
                  <a:lnTo>
                    <a:pt x="971" y="206"/>
                  </a:lnTo>
                  <a:lnTo>
                    <a:pt x="971" y="204"/>
                  </a:lnTo>
                  <a:lnTo>
                    <a:pt x="973" y="206"/>
                  </a:lnTo>
                  <a:lnTo>
                    <a:pt x="975" y="207"/>
                  </a:lnTo>
                  <a:lnTo>
                    <a:pt x="975" y="209"/>
                  </a:lnTo>
                  <a:lnTo>
                    <a:pt x="975" y="207"/>
                  </a:lnTo>
                  <a:lnTo>
                    <a:pt x="975" y="206"/>
                  </a:lnTo>
                  <a:lnTo>
                    <a:pt x="975" y="204"/>
                  </a:lnTo>
                  <a:lnTo>
                    <a:pt x="973" y="204"/>
                  </a:lnTo>
                  <a:lnTo>
                    <a:pt x="971" y="204"/>
                  </a:lnTo>
                  <a:lnTo>
                    <a:pt x="973" y="204"/>
                  </a:lnTo>
                  <a:lnTo>
                    <a:pt x="973" y="202"/>
                  </a:lnTo>
                  <a:lnTo>
                    <a:pt x="975" y="202"/>
                  </a:lnTo>
                  <a:lnTo>
                    <a:pt x="977" y="202"/>
                  </a:lnTo>
                  <a:lnTo>
                    <a:pt x="977" y="200"/>
                  </a:lnTo>
                  <a:lnTo>
                    <a:pt x="977" y="202"/>
                  </a:lnTo>
                  <a:lnTo>
                    <a:pt x="977" y="200"/>
                  </a:lnTo>
                  <a:lnTo>
                    <a:pt x="979" y="200"/>
                  </a:lnTo>
                  <a:lnTo>
                    <a:pt x="979" y="202"/>
                  </a:lnTo>
                  <a:lnTo>
                    <a:pt x="981" y="202"/>
                  </a:lnTo>
                  <a:lnTo>
                    <a:pt x="981" y="204"/>
                  </a:lnTo>
                  <a:lnTo>
                    <a:pt x="983" y="204"/>
                  </a:lnTo>
                  <a:lnTo>
                    <a:pt x="983" y="206"/>
                  </a:lnTo>
                  <a:lnTo>
                    <a:pt x="983" y="204"/>
                  </a:lnTo>
                  <a:lnTo>
                    <a:pt x="985" y="204"/>
                  </a:lnTo>
                  <a:lnTo>
                    <a:pt x="985" y="206"/>
                  </a:lnTo>
                  <a:lnTo>
                    <a:pt x="985" y="207"/>
                  </a:lnTo>
                  <a:lnTo>
                    <a:pt x="983" y="207"/>
                  </a:lnTo>
                  <a:lnTo>
                    <a:pt x="983" y="209"/>
                  </a:lnTo>
                  <a:lnTo>
                    <a:pt x="981" y="209"/>
                  </a:lnTo>
                  <a:lnTo>
                    <a:pt x="983" y="209"/>
                  </a:lnTo>
                  <a:lnTo>
                    <a:pt x="985" y="209"/>
                  </a:lnTo>
                  <a:lnTo>
                    <a:pt x="983" y="207"/>
                  </a:lnTo>
                  <a:lnTo>
                    <a:pt x="985" y="207"/>
                  </a:lnTo>
                  <a:lnTo>
                    <a:pt x="985" y="209"/>
                  </a:lnTo>
                  <a:lnTo>
                    <a:pt x="987" y="209"/>
                  </a:lnTo>
                  <a:lnTo>
                    <a:pt x="985" y="209"/>
                  </a:lnTo>
                  <a:lnTo>
                    <a:pt x="985" y="211"/>
                  </a:lnTo>
                  <a:lnTo>
                    <a:pt x="987" y="211"/>
                  </a:lnTo>
                  <a:lnTo>
                    <a:pt x="987" y="209"/>
                  </a:lnTo>
                  <a:lnTo>
                    <a:pt x="987" y="207"/>
                  </a:lnTo>
                  <a:lnTo>
                    <a:pt x="987" y="206"/>
                  </a:lnTo>
                  <a:lnTo>
                    <a:pt x="985" y="206"/>
                  </a:lnTo>
                  <a:lnTo>
                    <a:pt x="987" y="206"/>
                  </a:lnTo>
                  <a:lnTo>
                    <a:pt x="988" y="207"/>
                  </a:lnTo>
                  <a:lnTo>
                    <a:pt x="990" y="207"/>
                  </a:lnTo>
                  <a:lnTo>
                    <a:pt x="990" y="206"/>
                  </a:lnTo>
                  <a:lnTo>
                    <a:pt x="990" y="204"/>
                  </a:lnTo>
                  <a:lnTo>
                    <a:pt x="990" y="202"/>
                  </a:lnTo>
                  <a:lnTo>
                    <a:pt x="988" y="202"/>
                  </a:lnTo>
                  <a:lnTo>
                    <a:pt x="990" y="202"/>
                  </a:lnTo>
                  <a:lnTo>
                    <a:pt x="988" y="202"/>
                  </a:lnTo>
                  <a:lnTo>
                    <a:pt x="988" y="204"/>
                  </a:lnTo>
                  <a:lnTo>
                    <a:pt x="990" y="206"/>
                  </a:lnTo>
                  <a:lnTo>
                    <a:pt x="990" y="207"/>
                  </a:lnTo>
                  <a:lnTo>
                    <a:pt x="988" y="207"/>
                  </a:lnTo>
                  <a:lnTo>
                    <a:pt x="988" y="206"/>
                  </a:lnTo>
                  <a:lnTo>
                    <a:pt x="987" y="206"/>
                  </a:lnTo>
                  <a:lnTo>
                    <a:pt x="987" y="204"/>
                  </a:lnTo>
                  <a:lnTo>
                    <a:pt x="987" y="202"/>
                  </a:lnTo>
                  <a:lnTo>
                    <a:pt x="988" y="202"/>
                  </a:lnTo>
                  <a:lnTo>
                    <a:pt x="988" y="200"/>
                  </a:lnTo>
                  <a:lnTo>
                    <a:pt x="987" y="200"/>
                  </a:lnTo>
                  <a:lnTo>
                    <a:pt x="987" y="202"/>
                  </a:lnTo>
                  <a:lnTo>
                    <a:pt x="985" y="204"/>
                  </a:lnTo>
                  <a:lnTo>
                    <a:pt x="983" y="204"/>
                  </a:lnTo>
                  <a:lnTo>
                    <a:pt x="983" y="202"/>
                  </a:lnTo>
                  <a:lnTo>
                    <a:pt x="981" y="202"/>
                  </a:lnTo>
                  <a:lnTo>
                    <a:pt x="981" y="200"/>
                  </a:lnTo>
                  <a:lnTo>
                    <a:pt x="981" y="198"/>
                  </a:lnTo>
                  <a:lnTo>
                    <a:pt x="979" y="198"/>
                  </a:lnTo>
                  <a:lnTo>
                    <a:pt x="981" y="198"/>
                  </a:lnTo>
                  <a:lnTo>
                    <a:pt x="981" y="196"/>
                  </a:lnTo>
                  <a:lnTo>
                    <a:pt x="983" y="196"/>
                  </a:lnTo>
                  <a:lnTo>
                    <a:pt x="981" y="196"/>
                  </a:lnTo>
                  <a:lnTo>
                    <a:pt x="979" y="196"/>
                  </a:lnTo>
                  <a:lnTo>
                    <a:pt x="979" y="194"/>
                  </a:lnTo>
                  <a:lnTo>
                    <a:pt x="977" y="194"/>
                  </a:lnTo>
                  <a:lnTo>
                    <a:pt x="977" y="192"/>
                  </a:lnTo>
                  <a:lnTo>
                    <a:pt x="975" y="192"/>
                  </a:lnTo>
                  <a:lnTo>
                    <a:pt x="973" y="192"/>
                  </a:lnTo>
                  <a:lnTo>
                    <a:pt x="971" y="192"/>
                  </a:lnTo>
                  <a:lnTo>
                    <a:pt x="969" y="192"/>
                  </a:lnTo>
                  <a:lnTo>
                    <a:pt x="967" y="192"/>
                  </a:lnTo>
                  <a:lnTo>
                    <a:pt x="967" y="194"/>
                  </a:lnTo>
                  <a:lnTo>
                    <a:pt x="967" y="192"/>
                  </a:lnTo>
                  <a:lnTo>
                    <a:pt x="969" y="192"/>
                  </a:lnTo>
                  <a:lnTo>
                    <a:pt x="967" y="192"/>
                  </a:lnTo>
                  <a:lnTo>
                    <a:pt x="967" y="190"/>
                  </a:lnTo>
                  <a:lnTo>
                    <a:pt x="969" y="190"/>
                  </a:lnTo>
                  <a:lnTo>
                    <a:pt x="969" y="188"/>
                  </a:lnTo>
                  <a:lnTo>
                    <a:pt x="967" y="188"/>
                  </a:lnTo>
                  <a:lnTo>
                    <a:pt x="967" y="186"/>
                  </a:lnTo>
                  <a:lnTo>
                    <a:pt x="969" y="186"/>
                  </a:lnTo>
                  <a:lnTo>
                    <a:pt x="971" y="186"/>
                  </a:lnTo>
                  <a:lnTo>
                    <a:pt x="971" y="184"/>
                  </a:lnTo>
                  <a:lnTo>
                    <a:pt x="973" y="184"/>
                  </a:lnTo>
                  <a:lnTo>
                    <a:pt x="973" y="182"/>
                  </a:lnTo>
                  <a:lnTo>
                    <a:pt x="971" y="182"/>
                  </a:lnTo>
                  <a:lnTo>
                    <a:pt x="971" y="181"/>
                  </a:lnTo>
                  <a:lnTo>
                    <a:pt x="973" y="181"/>
                  </a:lnTo>
                  <a:lnTo>
                    <a:pt x="973" y="182"/>
                  </a:lnTo>
                  <a:lnTo>
                    <a:pt x="975" y="181"/>
                  </a:lnTo>
                  <a:lnTo>
                    <a:pt x="975" y="182"/>
                  </a:lnTo>
                  <a:lnTo>
                    <a:pt x="977" y="182"/>
                  </a:lnTo>
                  <a:lnTo>
                    <a:pt x="977" y="184"/>
                  </a:lnTo>
                  <a:lnTo>
                    <a:pt x="975" y="184"/>
                  </a:lnTo>
                  <a:lnTo>
                    <a:pt x="975" y="186"/>
                  </a:lnTo>
                  <a:lnTo>
                    <a:pt x="975" y="188"/>
                  </a:lnTo>
                  <a:lnTo>
                    <a:pt x="977" y="188"/>
                  </a:lnTo>
                  <a:lnTo>
                    <a:pt x="977" y="186"/>
                  </a:lnTo>
                  <a:lnTo>
                    <a:pt x="979" y="186"/>
                  </a:lnTo>
                  <a:lnTo>
                    <a:pt x="979" y="188"/>
                  </a:lnTo>
                  <a:lnTo>
                    <a:pt x="979" y="186"/>
                  </a:lnTo>
                  <a:lnTo>
                    <a:pt x="981" y="186"/>
                  </a:lnTo>
                  <a:lnTo>
                    <a:pt x="981" y="188"/>
                  </a:lnTo>
                  <a:lnTo>
                    <a:pt x="981" y="190"/>
                  </a:lnTo>
                  <a:lnTo>
                    <a:pt x="979" y="190"/>
                  </a:lnTo>
                  <a:lnTo>
                    <a:pt x="981" y="190"/>
                  </a:lnTo>
                  <a:lnTo>
                    <a:pt x="981" y="192"/>
                  </a:lnTo>
                  <a:lnTo>
                    <a:pt x="983" y="192"/>
                  </a:lnTo>
                  <a:lnTo>
                    <a:pt x="985" y="192"/>
                  </a:lnTo>
                  <a:lnTo>
                    <a:pt x="985" y="194"/>
                  </a:lnTo>
                  <a:lnTo>
                    <a:pt x="985" y="192"/>
                  </a:lnTo>
                  <a:lnTo>
                    <a:pt x="983" y="192"/>
                  </a:lnTo>
                  <a:lnTo>
                    <a:pt x="983" y="190"/>
                  </a:lnTo>
                  <a:lnTo>
                    <a:pt x="985" y="190"/>
                  </a:lnTo>
                  <a:lnTo>
                    <a:pt x="985" y="188"/>
                  </a:lnTo>
                  <a:lnTo>
                    <a:pt x="983" y="188"/>
                  </a:lnTo>
                  <a:lnTo>
                    <a:pt x="983" y="186"/>
                  </a:lnTo>
                  <a:lnTo>
                    <a:pt x="983" y="184"/>
                  </a:lnTo>
                  <a:lnTo>
                    <a:pt x="985" y="184"/>
                  </a:lnTo>
                  <a:lnTo>
                    <a:pt x="987" y="186"/>
                  </a:lnTo>
                  <a:lnTo>
                    <a:pt x="987" y="184"/>
                  </a:lnTo>
                  <a:lnTo>
                    <a:pt x="987" y="182"/>
                  </a:lnTo>
                  <a:lnTo>
                    <a:pt x="987" y="181"/>
                  </a:lnTo>
                  <a:lnTo>
                    <a:pt x="987" y="179"/>
                  </a:lnTo>
                  <a:lnTo>
                    <a:pt x="988" y="179"/>
                  </a:lnTo>
                  <a:lnTo>
                    <a:pt x="987" y="179"/>
                  </a:lnTo>
                  <a:lnTo>
                    <a:pt x="988" y="179"/>
                  </a:lnTo>
                  <a:lnTo>
                    <a:pt x="988" y="177"/>
                  </a:lnTo>
                  <a:lnTo>
                    <a:pt x="990" y="177"/>
                  </a:lnTo>
                  <a:lnTo>
                    <a:pt x="990" y="175"/>
                  </a:lnTo>
                  <a:lnTo>
                    <a:pt x="990" y="173"/>
                  </a:lnTo>
                  <a:lnTo>
                    <a:pt x="990" y="175"/>
                  </a:lnTo>
                  <a:lnTo>
                    <a:pt x="988" y="173"/>
                  </a:lnTo>
                  <a:lnTo>
                    <a:pt x="988" y="171"/>
                  </a:lnTo>
                  <a:lnTo>
                    <a:pt x="990" y="171"/>
                  </a:lnTo>
                  <a:lnTo>
                    <a:pt x="992" y="171"/>
                  </a:lnTo>
                  <a:lnTo>
                    <a:pt x="994" y="171"/>
                  </a:lnTo>
                  <a:lnTo>
                    <a:pt x="996" y="171"/>
                  </a:lnTo>
                  <a:lnTo>
                    <a:pt x="996" y="169"/>
                  </a:lnTo>
                  <a:lnTo>
                    <a:pt x="994" y="169"/>
                  </a:lnTo>
                  <a:lnTo>
                    <a:pt x="992" y="169"/>
                  </a:lnTo>
                  <a:lnTo>
                    <a:pt x="990" y="169"/>
                  </a:lnTo>
                  <a:lnTo>
                    <a:pt x="988" y="167"/>
                  </a:lnTo>
                  <a:lnTo>
                    <a:pt x="987" y="167"/>
                  </a:lnTo>
                  <a:lnTo>
                    <a:pt x="985" y="165"/>
                  </a:lnTo>
                  <a:lnTo>
                    <a:pt x="985" y="167"/>
                  </a:lnTo>
                  <a:lnTo>
                    <a:pt x="983" y="165"/>
                  </a:lnTo>
                  <a:lnTo>
                    <a:pt x="985" y="163"/>
                  </a:lnTo>
                  <a:lnTo>
                    <a:pt x="988" y="163"/>
                  </a:lnTo>
                  <a:lnTo>
                    <a:pt x="990" y="163"/>
                  </a:lnTo>
                  <a:lnTo>
                    <a:pt x="992" y="163"/>
                  </a:lnTo>
                  <a:lnTo>
                    <a:pt x="994" y="163"/>
                  </a:lnTo>
                  <a:lnTo>
                    <a:pt x="996" y="163"/>
                  </a:lnTo>
                  <a:lnTo>
                    <a:pt x="996" y="165"/>
                  </a:lnTo>
                  <a:lnTo>
                    <a:pt x="998" y="165"/>
                  </a:lnTo>
                  <a:lnTo>
                    <a:pt x="1000" y="165"/>
                  </a:lnTo>
                  <a:lnTo>
                    <a:pt x="1002" y="165"/>
                  </a:lnTo>
                  <a:lnTo>
                    <a:pt x="1002" y="163"/>
                  </a:lnTo>
                  <a:lnTo>
                    <a:pt x="1004" y="163"/>
                  </a:lnTo>
                  <a:lnTo>
                    <a:pt x="1006" y="163"/>
                  </a:lnTo>
                  <a:lnTo>
                    <a:pt x="1006" y="161"/>
                  </a:lnTo>
                  <a:lnTo>
                    <a:pt x="1004" y="161"/>
                  </a:lnTo>
                  <a:lnTo>
                    <a:pt x="1004" y="159"/>
                  </a:lnTo>
                  <a:lnTo>
                    <a:pt x="1006" y="159"/>
                  </a:lnTo>
                  <a:lnTo>
                    <a:pt x="1006" y="157"/>
                  </a:lnTo>
                  <a:lnTo>
                    <a:pt x="1008" y="156"/>
                  </a:lnTo>
                  <a:lnTo>
                    <a:pt x="1010" y="156"/>
                  </a:lnTo>
                  <a:lnTo>
                    <a:pt x="1010" y="157"/>
                  </a:lnTo>
                  <a:lnTo>
                    <a:pt x="1010" y="156"/>
                  </a:lnTo>
                  <a:lnTo>
                    <a:pt x="1010" y="154"/>
                  </a:lnTo>
                  <a:lnTo>
                    <a:pt x="1010" y="152"/>
                  </a:lnTo>
                  <a:lnTo>
                    <a:pt x="1012" y="152"/>
                  </a:lnTo>
                  <a:lnTo>
                    <a:pt x="1013" y="152"/>
                  </a:lnTo>
                  <a:lnTo>
                    <a:pt x="1013" y="150"/>
                  </a:lnTo>
                  <a:lnTo>
                    <a:pt x="1012" y="152"/>
                  </a:lnTo>
                  <a:lnTo>
                    <a:pt x="1012" y="150"/>
                  </a:lnTo>
                  <a:lnTo>
                    <a:pt x="1012" y="148"/>
                  </a:lnTo>
                  <a:lnTo>
                    <a:pt x="1013" y="148"/>
                  </a:lnTo>
                  <a:lnTo>
                    <a:pt x="1013" y="146"/>
                  </a:lnTo>
                  <a:lnTo>
                    <a:pt x="1015" y="146"/>
                  </a:lnTo>
                  <a:lnTo>
                    <a:pt x="1017" y="146"/>
                  </a:lnTo>
                  <a:lnTo>
                    <a:pt x="1017" y="144"/>
                  </a:lnTo>
                  <a:lnTo>
                    <a:pt x="1019" y="142"/>
                  </a:lnTo>
                  <a:lnTo>
                    <a:pt x="1021" y="142"/>
                  </a:lnTo>
                  <a:lnTo>
                    <a:pt x="1023" y="142"/>
                  </a:lnTo>
                  <a:lnTo>
                    <a:pt x="1023" y="144"/>
                  </a:lnTo>
                  <a:lnTo>
                    <a:pt x="1021" y="142"/>
                  </a:lnTo>
                  <a:lnTo>
                    <a:pt x="1019" y="142"/>
                  </a:lnTo>
                  <a:lnTo>
                    <a:pt x="1019" y="144"/>
                  </a:lnTo>
                  <a:lnTo>
                    <a:pt x="1021" y="144"/>
                  </a:lnTo>
                  <a:lnTo>
                    <a:pt x="1021" y="146"/>
                  </a:lnTo>
                  <a:lnTo>
                    <a:pt x="1023" y="146"/>
                  </a:lnTo>
                  <a:lnTo>
                    <a:pt x="1025" y="146"/>
                  </a:lnTo>
                  <a:lnTo>
                    <a:pt x="1025" y="144"/>
                  </a:lnTo>
                  <a:lnTo>
                    <a:pt x="1025" y="142"/>
                  </a:lnTo>
                  <a:lnTo>
                    <a:pt x="1027" y="142"/>
                  </a:lnTo>
                  <a:lnTo>
                    <a:pt x="1029" y="142"/>
                  </a:lnTo>
                  <a:lnTo>
                    <a:pt x="1031" y="142"/>
                  </a:lnTo>
                  <a:lnTo>
                    <a:pt x="1029" y="142"/>
                  </a:lnTo>
                  <a:lnTo>
                    <a:pt x="1029" y="140"/>
                  </a:lnTo>
                  <a:lnTo>
                    <a:pt x="1029" y="138"/>
                  </a:lnTo>
                  <a:lnTo>
                    <a:pt x="1031" y="138"/>
                  </a:lnTo>
                  <a:lnTo>
                    <a:pt x="1033" y="138"/>
                  </a:lnTo>
                  <a:lnTo>
                    <a:pt x="1033" y="136"/>
                  </a:lnTo>
                  <a:lnTo>
                    <a:pt x="1035" y="136"/>
                  </a:lnTo>
                  <a:lnTo>
                    <a:pt x="1036" y="138"/>
                  </a:lnTo>
                  <a:lnTo>
                    <a:pt x="1036" y="136"/>
                  </a:lnTo>
                  <a:lnTo>
                    <a:pt x="1038" y="136"/>
                  </a:lnTo>
                  <a:lnTo>
                    <a:pt x="1040" y="136"/>
                  </a:lnTo>
                  <a:lnTo>
                    <a:pt x="1040" y="134"/>
                  </a:lnTo>
                  <a:lnTo>
                    <a:pt x="1038" y="134"/>
                  </a:lnTo>
                  <a:lnTo>
                    <a:pt x="1040" y="134"/>
                  </a:lnTo>
                  <a:lnTo>
                    <a:pt x="1042" y="134"/>
                  </a:lnTo>
                  <a:lnTo>
                    <a:pt x="1042" y="133"/>
                  </a:lnTo>
                  <a:lnTo>
                    <a:pt x="1042" y="134"/>
                  </a:lnTo>
                  <a:lnTo>
                    <a:pt x="1044" y="136"/>
                  </a:lnTo>
                  <a:lnTo>
                    <a:pt x="1046" y="134"/>
                  </a:lnTo>
                  <a:lnTo>
                    <a:pt x="1046" y="133"/>
                  </a:lnTo>
                  <a:lnTo>
                    <a:pt x="1048" y="133"/>
                  </a:lnTo>
                  <a:lnTo>
                    <a:pt x="1048" y="134"/>
                  </a:lnTo>
                  <a:lnTo>
                    <a:pt x="1050" y="134"/>
                  </a:lnTo>
                  <a:lnTo>
                    <a:pt x="1052" y="133"/>
                  </a:lnTo>
                  <a:lnTo>
                    <a:pt x="1050" y="133"/>
                  </a:lnTo>
                  <a:lnTo>
                    <a:pt x="1052" y="133"/>
                  </a:lnTo>
                  <a:lnTo>
                    <a:pt x="1052" y="134"/>
                  </a:lnTo>
                  <a:lnTo>
                    <a:pt x="1054" y="134"/>
                  </a:lnTo>
                  <a:lnTo>
                    <a:pt x="1054" y="133"/>
                  </a:lnTo>
                  <a:lnTo>
                    <a:pt x="1054" y="131"/>
                  </a:lnTo>
                  <a:lnTo>
                    <a:pt x="1054" y="129"/>
                  </a:lnTo>
                  <a:lnTo>
                    <a:pt x="1056" y="129"/>
                  </a:lnTo>
                  <a:lnTo>
                    <a:pt x="1056" y="131"/>
                  </a:lnTo>
                  <a:lnTo>
                    <a:pt x="1056" y="129"/>
                  </a:lnTo>
                  <a:lnTo>
                    <a:pt x="1058" y="129"/>
                  </a:lnTo>
                  <a:lnTo>
                    <a:pt x="1060" y="129"/>
                  </a:lnTo>
                  <a:lnTo>
                    <a:pt x="1060" y="131"/>
                  </a:lnTo>
                  <a:lnTo>
                    <a:pt x="1060" y="129"/>
                  </a:lnTo>
                  <a:lnTo>
                    <a:pt x="1061" y="129"/>
                  </a:lnTo>
                  <a:lnTo>
                    <a:pt x="1063" y="129"/>
                  </a:lnTo>
                  <a:lnTo>
                    <a:pt x="1065" y="129"/>
                  </a:lnTo>
                  <a:lnTo>
                    <a:pt x="1065" y="127"/>
                  </a:lnTo>
                  <a:lnTo>
                    <a:pt x="1067" y="127"/>
                  </a:lnTo>
                  <a:lnTo>
                    <a:pt x="1069" y="127"/>
                  </a:lnTo>
                  <a:lnTo>
                    <a:pt x="1069" y="125"/>
                  </a:lnTo>
                  <a:lnTo>
                    <a:pt x="1071" y="125"/>
                  </a:lnTo>
                  <a:lnTo>
                    <a:pt x="1073" y="125"/>
                  </a:lnTo>
                  <a:lnTo>
                    <a:pt x="1075" y="123"/>
                  </a:lnTo>
                  <a:lnTo>
                    <a:pt x="1077" y="123"/>
                  </a:lnTo>
                  <a:lnTo>
                    <a:pt x="1079" y="123"/>
                  </a:lnTo>
                  <a:lnTo>
                    <a:pt x="1081" y="123"/>
                  </a:lnTo>
                  <a:lnTo>
                    <a:pt x="1081" y="121"/>
                  </a:lnTo>
                  <a:lnTo>
                    <a:pt x="1083" y="121"/>
                  </a:lnTo>
                  <a:lnTo>
                    <a:pt x="1084" y="121"/>
                  </a:lnTo>
                  <a:lnTo>
                    <a:pt x="1086" y="119"/>
                  </a:lnTo>
                  <a:lnTo>
                    <a:pt x="1088" y="119"/>
                  </a:lnTo>
                  <a:lnTo>
                    <a:pt x="1088" y="117"/>
                  </a:lnTo>
                  <a:lnTo>
                    <a:pt x="1090" y="117"/>
                  </a:lnTo>
                  <a:lnTo>
                    <a:pt x="1090" y="115"/>
                  </a:lnTo>
                  <a:lnTo>
                    <a:pt x="1090" y="117"/>
                  </a:lnTo>
                  <a:lnTo>
                    <a:pt x="1088" y="117"/>
                  </a:lnTo>
                  <a:lnTo>
                    <a:pt x="1086" y="117"/>
                  </a:lnTo>
                  <a:lnTo>
                    <a:pt x="1086" y="119"/>
                  </a:lnTo>
                  <a:lnTo>
                    <a:pt x="1084" y="119"/>
                  </a:lnTo>
                  <a:lnTo>
                    <a:pt x="1083" y="119"/>
                  </a:lnTo>
                  <a:lnTo>
                    <a:pt x="1083" y="117"/>
                  </a:lnTo>
                  <a:lnTo>
                    <a:pt x="1081" y="115"/>
                  </a:lnTo>
                  <a:lnTo>
                    <a:pt x="1081" y="117"/>
                  </a:lnTo>
                  <a:lnTo>
                    <a:pt x="1081" y="119"/>
                  </a:lnTo>
                  <a:lnTo>
                    <a:pt x="1081" y="121"/>
                  </a:lnTo>
                  <a:lnTo>
                    <a:pt x="1081" y="119"/>
                  </a:lnTo>
                  <a:lnTo>
                    <a:pt x="1079" y="119"/>
                  </a:lnTo>
                  <a:lnTo>
                    <a:pt x="1079" y="117"/>
                  </a:lnTo>
                  <a:lnTo>
                    <a:pt x="1077" y="117"/>
                  </a:lnTo>
                  <a:lnTo>
                    <a:pt x="1077" y="115"/>
                  </a:lnTo>
                  <a:lnTo>
                    <a:pt x="1077" y="113"/>
                  </a:lnTo>
                  <a:lnTo>
                    <a:pt x="1079" y="113"/>
                  </a:lnTo>
                  <a:lnTo>
                    <a:pt x="1077" y="113"/>
                  </a:lnTo>
                  <a:lnTo>
                    <a:pt x="1077" y="115"/>
                  </a:lnTo>
                  <a:lnTo>
                    <a:pt x="1075" y="115"/>
                  </a:lnTo>
                  <a:lnTo>
                    <a:pt x="1075" y="117"/>
                  </a:lnTo>
                  <a:lnTo>
                    <a:pt x="1073" y="117"/>
                  </a:lnTo>
                  <a:lnTo>
                    <a:pt x="1075" y="117"/>
                  </a:lnTo>
                  <a:lnTo>
                    <a:pt x="1075" y="119"/>
                  </a:lnTo>
                  <a:lnTo>
                    <a:pt x="1073" y="119"/>
                  </a:lnTo>
                  <a:lnTo>
                    <a:pt x="1071" y="119"/>
                  </a:lnTo>
                  <a:lnTo>
                    <a:pt x="1073" y="117"/>
                  </a:lnTo>
                  <a:lnTo>
                    <a:pt x="1071" y="117"/>
                  </a:lnTo>
                  <a:lnTo>
                    <a:pt x="1071" y="115"/>
                  </a:lnTo>
                  <a:lnTo>
                    <a:pt x="1073" y="113"/>
                  </a:lnTo>
                  <a:lnTo>
                    <a:pt x="1073" y="111"/>
                  </a:lnTo>
                  <a:lnTo>
                    <a:pt x="1073" y="109"/>
                  </a:lnTo>
                  <a:lnTo>
                    <a:pt x="1075" y="108"/>
                  </a:lnTo>
                  <a:lnTo>
                    <a:pt x="1075" y="109"/>
                  </a:lnTo>
                  <a:lnTo>
                    <a:pt x="1073" y="109"/>
                  </a:lnTo>
                  <a:lnTo>
                    <a:pt x="1075" y="111"/>
                  </a:lnTo>
                  <a:lnTo>
                    <a:pt x="1077" y="111"/>
                  </a:lnTo>
                  <a:lnTo>
                    <a:pt x="1077" y="109"/>
                  </a:lnTo>
                  <a:lnTo>
                    <a:pt x="1079" y="108"/>
                  </a:lnTo>
                  <a:lnTo>
                    <a:pt x="1077" y="108"/>
                  </a:lnTo>
                  <a:lnTo>
                    <a:pt x="1075" y="108"/>
                  </a:lnTo>
                  <a:lnTo>
                    <a:pt x="1075" y="106"/>
                  </a:lnTo>
                  <a:lnTo>
                    <a:pt x="1077" y="106"/>
                  </a:lnTo>
                  <a:lnTo>
                    <a:pt x="1077" y="108"/>
                  </a:lnTo>
                  <a:lnTo>
                    <a:pt x="1079" y="108"/>
                  </a:lnTo>
                  <a:lnTo>
                    <a:pt x="1079" y="106"/>
                  </a:lnTo>
                  <a:lnTo>
                    <a:pt x="1081" y="106"/>
                  </a:lnTo>
                  <a:lnTo>
                    <a:pt x="1081" y="108"/>
                  </a:lnTo>
                  <a:lnTo>
                    <a:pt x="1079" y="108"/>
                  </a:lnTo>
                  <a:lnTo>
                    <a:pt x="1079" y="109"/>
                  </a:lnTo>
                  <a:lnTo>
                    <a:pt x="1081" y="109"/>
                  </a:lnTo>
                  <a:lnTo>
                    <a:pt x="1079" y="111"/>
                  </a:lnTo>
                  <a:lnTo>
                    <a:pt x="1081" y="111"/>
                  </a:lnTo>
                  <a:lnTo>
                    <a:pt x="1081" y="109"/>
                  </a:lnTo>
                  <a:lnTo>
                    <a:pt x="1083" y="109"/>
                  </a:lnTo>
                  <a:lnTo>
                    <a:pt x="1084" y="108"/>
                  </a:lnTo>
                  <a:lnTo>
                    <a:pt x="1084" y="109"/>
                  </a:lnTo>
                  <a:lnTo>
                    <a:pt x="1086" y="109"/>
                  </a:lnTo>
                  <a:lnTo>
                    <a:pt x="1088" y="109"/>
                  </a:lnTo>
                  <a:lnTo>
                    <a:pt x="1086" y="108"/>
                  </a:lnTo>
                  <a:lnTo>
                    <a:pt x="1084" y="108"/>
                  </a:lnTo>
                  <a:lnTo>
                    <a:pt x="1084" y="106"/>
                  </a:lnTo>
                  <a:lnTo>
                    <a:pt x="1083" y="106"/>
                  </a:lnTo>
                  <a:lnTo>
                    <a:pt x="1084" y="106"/>
                  </a:lnTo>
                  <a:lnTo>
                    <a:pt x="1086" y="106"/>
                  </a:lnTo>
                  <a:lnTo>
                    <a:pt x="1088" y="106"/>
                  </a:lnTo>
                  <a:lnTo>
                    <a:pt x="1090" y="106"/>
                  </a:lnTo>
                  <a:lnTo>
                    <a:pt x="1092" y="106"/>
                  </a:lnTo>
                  <a:lnTo>
                    <a:pt x="1094" y="104"/>
                  </a:lnTo>
                  <a:lnTo>
                    <a:pt x="1094" y="106"/>
                  </a:lnTo>
                  <a:lnTo>
                    <a:pt x="1094" y="108"/>
                  </a:lnTo>
                  <a:lnTo>
                    <a:pt x="1096" y="108"/>
                  </a:lnTo>
                  <a:lnTo>
                    <a:pt x="1098" y="108"/>
                  </a:lnTo>
                  <a:lnTo>
                    <a:pt x="1096" y="106"/>
                  </a:lnTo>
                  <a:lnTo>
                    <a:pt x="1098" y="106"/>
                  </a:lnTo>
                  <a:lnTo>
                    <a:pt x="1100" y="106"/>
                  </a:lnTo>
                  <a:lnTo>
                    <a:pt x="1100" y="104"/>
                  </a:lnTo>
                  <a:lnTo>
                    <a:pt x="1098" y="104"/>
                  </a:lnTo>
                  <a:lnTo>
                    <a:pt x="1096" y="104"/>
                  </a:lnTo>
                  <a:lnTo>
                    <a:pt x="1098" y="104"/>
                  </a:lnTo>
                  <a:lnTo>
                    <a:pt x="1100" y="104"/>
                  </a:lnTo>
                  <a:lnTo>
                    <a:pt x="1102" y="104"/>
                  </a:lnTo>
                  <a:lnTo>
                    <a:pt x="1100" y="104"/>
                  </a:lnTo>
                  <a:lnTo>
                    <a:pt x="1102" y="104"/>
                  </a:lnTo>
                  <a:lnTo>
                    <a:pt x="1102" y="106"/>
                  </a:lnTo>
                  <a:lnTo>
                    <a:pt x="1104" y="106"/>
                  </a:lnTo>
                  <a:lnTo>
                    <a:pt x="1104" y="108"/>
                  </a:lnTo>
                  <a:lnTo>
                    <a:pt x="1104" y="106"/>
                  </a:lnTo>
                  <a:lnTo>
                    <a:pt x="1106" y="106"/>
                  </a:lnTo>
                  <a:lnTo>
                    <a:pt x="1107" y="106"/>
                  </a:lnTo>
                  <a:lnTo>
                    <a:pt x="1107" y="104"/>
                  </a:lnTo>
                  <a:lnTo>
                    <a:pt x="1109" y="102"/>
                  </a:lnTo>
                  <a:lnTo>
                    <a:pt x="1109" y="104"/>
                  </a:lnTo>
                  <a:lnTo>
                    <a:pt x="1111" y="104"/>
                  </a:lnTo>
                  <a:lnTo>
                    <a:pt x="1113" y="102"/>
                  </a:lnTo>
                  <a:lnTo>
                    <a:pt x="1111" y="102"/>
                  </a:lnTo>
                  <a:lnTo>
                    <a:pt x="1111" y="100"/>
                  </a:lnTo>
                  <a:lnTo>
                    <a:pt x="1111" y="102"/>
                  </a:lnTo>
                  <a:lnTo>
                    <a:pt x="1109" y="100"/>
                  </a:lnTo>
                  <a:lnTo>
                    <a:pt x="1107" y="100"/>
                  </a:lnTo>
                  <a:lnTo>
                    <a:pt x="1107" y="98"/>
                  </a:lnTo>
                  <a:lnTo>
                    <a:pt x="1107" y="96"/>
                  </a:lnTo>
                  <a:lnTo>
                    <a:pt x="1107" y="98"/>
                  </a:lnTo>
                  <a:lnTo>
                    <a:pt x="1107" y="96"/>
                  </a:lnTo>
                  <a:lnTo>
                    <a:pt x="1109" y="96"/>
                  </a:lnTo>
                  <a:lnTo>
                    <a:pt x="1111" y="96"/>
                  </a:lnTo>
                  <a:lnTo>
                    <a:pt x="1109" y="96"/>
                  </a:lnTo>
                  <a:lnTo>
                    <a:pt x="1109" y="98"/>
                  </a:lnTo>
                  <a:lnTo>
                    <a:pt x="1111" y="98"/>
                  </a:lnTo>
                  <a:lnTo>
                    <a:pt x="1111" y="96"/>
                  </a:lnTo>
                  <a:lnTo>
                    <a:pt x="1113" y="96"/>
                  </a:lnTo>
                  <a:lnTo>
                    <a:pt x="1113" y="94"/>
                  </a:lnTo>
                  <a:lnTo>
                    <a:pt x="1115" y="94"/>
                  </a:lnTo>
                  <a:lnTo>
                    <a:pt x="1115" y="96"/>
                  </a:lnTo>
                  <a:lnTo>
                    <a:pt x="1117" y="96"/>
                  </a:lnTo>
                  <a:lnTo>
                    <a:pt x="1119" y="96"/>
                  </a:lnTo>
                  <a:lnTo>
                    <a:pt x="1119" y="98"/>
                  </a:lnTo>
                  <a:lnTo>
                    <a:pt x="1121" y="98"/>
                  </a:lnTo>
                  <a:lnTo>
                    <a:pt x="1121" y="96"/>
                  </a:lnTo>
                  <a:lnTo>
                    <a:pt x="1121" y="94"/>
                  </a:lnTo>
                  <a:lnTo>
                    <a:pt x="1123" y="94"/>
                  </a:lnTo>
                  <a:lnTo>
                    <a:pt x="1123" y="92"/>
                  </a:lnTo>
                  <a:lnTo>
                    <a:pt x="1125" y="92"/>
                  </a:lnTo>
                  <a:lnTo>
                    <a:pt x="1127" y="92"/>
                  </a:lnTo>
                  <a:lnTo>
                    <a:pt x="1129" y="92"/>
                  </a:lnTo>
                  <a:lnTo>
                    <a:pt x="1131" y="92"/>
                  </a:lnTo>
                  <a:lnTo>
                    <a:pt x="1131" y="94"/>
                  </a:lnTo>
                  <a:lnTo>
                    <a:pt x="1132" y="92"/>
                  </a:lnTo>
                  <a:lnTo>
                    <a:pt x="1132" y="94"/>
                  </a:lnTo>
                  <a:lnTo>
                    <a:pt x="1132" y="96"/>
                  </a:lnTo>
                  <a:lnTo>
                    <a:pt x="1131" y="96"/>
                  </a:lnTo>
                  <a:lnTo>
                    <a:pt x="1129" y="98"/>
                  </a:lnTo>
                  <a:lnTo>
                    <a:pt x="1129" y="100"/>
                  </a:lnTo>
                  <a:lnTo>
                    <a:pt x="1129" y="102"/>
                  </a:lnTo>
                  <a:lnTo>
                    <a:pt x="1129" y="100"/>
                  </a:lnTo>
                  <a:lnTo>
                    <a:pt x="1131" y="98"/>
                  </a:lnTo>
                  <a:lnTo>
                    <a:pt x="1132" y="98"/>
                  </a:lnTo>
                  <a:lnTo>
                    <a:pt x="1132" y="100"/>
                  </a:lnTo>
                  <a:lnTo>
                    <a:pt x="1131" y="100"/>
                  </a:lnTo>
                  <a:lnTo>
                    <a:pt x="1129" y="100"/>
                  </a:lnTo>
                  <a:lnTo>
                    <a:pt x="1129" y="102"/>
                  </a:lnTo>
                  <a:lnTo>
                    <a:pt x="1129" y="104"/>
                  </a:lnTo>
                  <a:lnTo>
                    <a:pt x="1129" y="102"/>
                  </a:lnTo>
                  <a:lnTo>
                    <a:pt x="1127" y="102"/>
                  </a:lnTo>
                  <a:lnTo>
                    <a:pt x="1127" y="104"/>
                  </a:lnTo>
                  <a:lnTo>
                    <a:pt x="1125" y="104"/>
                  </a:lnTo>
                  <a:lnTo>
                    <a:pt x="1125" y="106"/>
                  </a:lnTo>
                  <a:lnTo>
                    <a:pt x="1125" y="104"/>
                  </a:lnTo>
                  <a:lnTo>
                    <a:pt x="1125" y="102"/>
                  </a:lnTo>
                  <a:lnTo>
                    <a:pt x="1125" y="100"/>
                  </a:lnTo>
                  <a:lnTo>
                    <a:pt x="1125" y="98"/>
                  </a:lnTo>
                  <a:lnTo>
                    <a:pt x="1125" y="96"/>
                  </a:lnTo>
                  <a:lnTo>
                    <a:pt x="1123" y="96"/>
                  </a:lnTo>
                  <a:lnTo>
                    <a:pt x="1123" y="98"/>
                  </a:lnTo>
                  <a:lnTo>
                    <a:pt x="1123" y="100"/>
                  </a:lnTo>
                  <a:lnTo>
                    <a:pt x="1125" y="100"/>
                  </a:lnTo>
                  <a:lnTo>
                    <a:pt x="1123" y="100"/>
                  </a:lnTo>
                  <a:lnTo>
                    <a:pt x="1121" y="100"/>
                  </a:lnTo>
                  <a:lnTo>
                    <a:pt x="1123" y="102"/>
                  </a:lnTo>
                  <a:lnTo>
                    <a:pt x="1125" y="102"/>
                  </a:lnTo>
                  <a:lnTo>
                    <a:pt x="1125" y="104"/>
                  </a:lnTo>
                  <a:lnTo>
                    <a:pt x="1123" y="104"/>
                  </a:lnTo>
                  <a:lnTo>
                    <a:pt x="1123" y="106"/>
                  </a:lnTo>
                  <a:lnTo>
                    <a:pt x="1121" y="108"/>
                  </a:lnTo>
                  <a:lnTo>
                    <a:pt x="1119" y="108"/>
                  </a:lnTo>
                  <a:lnTo>
                    <a:pt x="1119" y="109"/>
                  </a:lnTo>
                  <a:lnTo>
                    <a:pt x="1117" y="109"/>
                  </a:lnTo>
                  <a:lnTo>
                    <a:pt x="1119" y="109"/>
                  </a:lnTo>
                  <a:lnTo>
                    <a:pt x="1119" y="111"/>
                  </a:lnTo>
                  <a:lnTo>
                    <a:pt x="1117" y="111"/>
                  </a:lnTo>
                  <a:lnTo>
                    <a:pt x="1117" y="113"/>
                  </a:lnTo>
                  <a:lnTo>
                    <a:pt x="1115" y="115"/>
                  </a:lnTo>
                  <a:lnTo>
                    <a:pt x="1115" y="117"/>
                  </a:lnTo>
                  <a:lnTo>
                    <a:pt x="1113" y="117"/>
                  </a:lnTo>
                  <a:lnTo>
                    <a:pt x="1113" y="119"/>
                  </a:lnTo>
                  <a:lnTo>
                    <a:pt x="1111" y="119"/>
                  </a:lnTo>
                  <a:lnTo>
                    <a:pt x="1111" y="121"/>
                  </a:lnTo>
                  <a:lnTo>
                    <a:pt x="1113" y="121"/>
                  </a:lnTo>
                  <a:lnTo>
                    <a:pt x="1113" y="123"/>
                  </a:lnTo>
                  <a:lnTo>
                    <a:pt x="1115" y="121"/>
                  </a:lnTo>
                  <a:lnTo>
                    <a:pt x="1115" y="119"/>
                  </a:lnTo>
                  <a:lnTo>
                    <a:pt x="1117" y="117"/>
                  </a:lnTo>
                  <a:lnTo>
                    <a:pt x="1119" y="115"/>
                  </a:lnTo>
                  <a:lnTo>
                    <a:pt x="1119" y="117"/>
                  </a:lnTo>
                  <a:lnTo>
                    <a:pt x="1121" y="117"/>
                  </a:lnTo>
                  <a:lnTo>
                    <a:pt x="1121" y="115"/>
                  </a:lnTo>
                  <a:lnTo>
                    <a:pt x="1123" y="115"/>
                  </a:lnTo>
                  <a:lnTo>
                    <a:pt x="1123" y="113"/>
                  </a:lnTo>
                  <a:lnTo>
                    <a:pt x="1121" y="113"/>
                  </a:lnTo>
                  <a:lnTo>
                    <a:pt x="1123" y="113"/>
                  </a:lnTo>
                  <a:lnTo>
                    <a:pt x="1123" y="111"/>
                  </a:lnTo>
                  <a:lnTo>
                    <a:pt x="1125" y="113"/>
                  </a:lnTo>
                  <a:lnTo>
                    <a:pt x="1125" y="111"/>
                  </a:lnTo>
                  <a:lnTo>
                    <a:pt x="1125" y="113"/>
                  </a:lnTo>
                  <a:lnTo>
                    <a:pt x="1127" y="113"/>
                  </a:lnTo>
                  <a:lnTo>
                    <a:pt x="1129" y="113"/>
                  </a:lnTo>
                  <a:lnTo>
                    <a:pt x="1129" y="111"/>
                  </a:lnTo>
                  <a:lnTo>
                    <a:pt x="1131" y="109"/>
                  </a:lnTo>
                  <a:lnTo>
                    <a:pt x="1132" y="109"/>
                  </a:lnTo>
                  <a:lnTo>
                    <a:pt x="1132" y="108"/>
                  </a:lnTo>
                  <a:lnTo>
                    <a:pt x="1134" y="108"/>
                  </a:lnTo>
                  <a:lnTo>
                    <a:pt x="1136" y="108"/>
                  </a:lnTo>
                  <a:lnTo>
                    <a:pt x="1136" y="106"/>
                  </a:lnTo>
                  <a:lnTo>
                    <a:pt x="1136" y="108"/>
                  </a:lnTo>
                  <a:lnTo>
                    <a:pt x="1136" y="109"/>
                  </a:lnTo>
                  <a:lnTo>
                    <a:pt x="1134" y="109"/>
                  </a:lnTo>
                  <a:lnTo>
                    <a:pt x="1134" y="111"/>
                  </a:lnTo>
                  <a:lnTo>
                    <a:pt x="1136" y="111"/>
                  </a:lnTo>
                  <a:lnTo>
                    <a:pt x="1138" y="111"/>
                  </a:lnTo>
                  <a:lnTo>
                    <a:pt x="1136" y="111"/>
                  </a:lnTo>
                  <a:lnTo>
                    <a:pt x="1134" y="113"/>
                  </a:lnTo>
                  <a:lnTo>
                    <a:pt x="1134" y="115"/>
                  </a:lnTo>
                  <a:lnTo>
                    <a:pt x="1136" y="115"/>
                  </a:lnTo>
                  <a:lnTo>
                    <a:pt x="1134" y="115"/>
                  </a:lnTo>
                  <a:lnTo>
                    <a:pt x="1134" y="117"/>
                  </a:lnTo>
                  <a:lnTo>
                    <a:pt x="1136" y="117"/>
                  </a:lnTo>
                  <a:lnTo>
                    <a:pt x="1136" y="115"/>
                  </a:lnTo>
                  <a:lnTo>
                    <a:pt x="1138" y="113"/>
                  </a:lnTo>
                  <a:lnTo>
                    <a:pt x="1140" y="113"/>
                  </a:lnTo>
                  <a:lnTo>
                    <a:pt x="1142" y="113"/>
                  </a:lnTo>
                  <a:lnTo>
                    <a:pt x="1142" y="115"/>
                  </a:lnTo>
                  <a:lnTo>
                    <a:pt x="1142" y="113"/>
                  </a:lnTo>
                  <a:lnTo>
                    <a:pt x="1144" y="113"/>
                  </a:lnTo>
                  <a:lnTo>
                    <a:pt x="1144" y="115"/>
                  </a:lnTo>
                  <a:lnTo>
                    <a:pt x="1144" y="113"/>
                  </a:lnTo>
                  <a:lnTo>
                    <a:pt x="1144" y="111"/>
                  </a:lnTo>
                  <a:lnTo>
                    <a:pt x="1142" y="111"/>
                  </a:lnTo>
                  <a:lnTo>
                    <a:pt x="1140" y="111"/>
                  </a:lnTo>
                  <a:lnTo>
                    <a:pt x="1140" y="109"/>
                  </a:lnTo>
                  <a:lnTo>
                    <a:pt x="1142" y="109"/>
                  </a:lnTo>
                  <a:lnTo>
                    <a:pt x="1142" y="108"/>
                  </a:lnTo>
                  <a:lnTo>
                    <a:pt x="1144" y="108"/>
                  </a:lnTo>
                  <a:lnTo>
                    <a:pt x="1146" y="108"/>
                  </a:lnTo>
                  <a:lnTo>
                    <a:pt x="1146" y="109"/>
                  </a:lnTo>
                  <a:lnTo>
                    <a:pt x="1148" y="109"/>
                  </a:lnTo>
                  <a:lnTo>
                    <a:pt x="1148" y="108"/>
                  </a:lnTo>
                  <a:lnTo>
                    <a:pt x="1150" y="108"/>
                  </a:lnTo>
                  <a:lnTo>
                    <a:pt x="1148" y="108"/>
                  </a:lnTo>
                  <a:lnTo>
                    <a:pt x="1148" y="106"/>
                  </a:lnTo>
                  <a:lnTo>
                    <a:pt x="1148" y="108"/>
                  </a:lnTo>
                  <a:lnTo>
                    <a:pt x="1148" y="106"/>
                  </a:lnTo>
                  <a:lnTo>
                    <a:pt x="1146" y="106"/>
                  </a:lnTo>
                  <a:lnTo>
                    <a:pt x="1148" y="104"/>
                  </a:lnTo>
                  <a:lnTo>
                    <a:pt x="1148" y="106"/>
                  </a:lnTo>
                  <a:lnTo>
                    <a:pt x="1148" y="104"/>
                  </a:lnTo>
                  <a:lnTo>
                    <a:pt x="1150" y="104"/>
                  </a:lnTo>
                  <a:lnTo>
                    <a:pt x="1152" y="102"/>
                  </a:lnTo>
                  <a:lnTo>
                    <a:pt x="1154" y="102"/>
                  </a:lnTo>
                  <a:lnTo>
                    <a:pt x="1155" y="100"/>
                  </a:lnTo>
                  <a:lnTo>
                    <a:pt x="1155" y="98"/>
                  </a:lnTo>
                  <a:lnTo>
                    <a:pt x="1157" y="98"/>
                  </a:lnTo>
                  <a:lnTo>
                    <a:pt x="1159" y="96"/>
                  </a:lnTo>
                  <a:lnTo>
                    <a:pt x="1159" y="98"/>
                  </a:lnTo>
                  <a:lnTo>
                    <a:pt x="1157" y="100"/>
                  </a:lnTo>
                  <a:lnTo>
                    <a:pt x="1159" y="100"/>
                  </a:lnTo>
                  <a:lnTo>
                    <a:pt x="1161" y="100"/>
                  </a:lnTo>
                  <a:lnTo>
                    <a:pt x="1159" y="100"/>
                  </a:lnTo>
                  <a:lnTo>
                    <a:pt x="1161" y="100"/>
                  </a:lnTo>
                  <a:lnTo>
                    <a:pt x="1163" y="100"/>
                  </a:lnTo>
                  <a:lnTo>
                    <a:pt x="1165" y="100"/>
                  </a:lnTo>
                  <a:lnTo>
                    <a:pt x="1167" y="100"/>
                  </a:lnTo>
                  <a:lnTo>
                    <a:pt x="1167" y="102"/>
                  </a:lnTo>
                  <a:lnTo>
                    <a:pt x="1165" y="102"/>
                  </a:lnTo>
                  <a:lnTo>
                    <a:pt x="1165" y="104"/>
                  </a:lnTo>
                  <a:lnTo>
                    <a:pt x="1163" y="104"/>
                  </a:lnTo>
                  <a:lnTo>
                    <a:pt x="1165" y="106"/>
                  </a:lnTo>
                  <a:lnTo>
                    <a:pt x="1167" y="106"/>
                  </a:lnTo>
                  <a:lnTo>
                    <a:pt x="1169" y="104"/>
                  </a:lnTo>
                  <a:lnTo>
                    <a:pt x="1171" y="104"/>
                  </a:lnTo>
                  <a:lnTo>
                    <a:pt x="1169" y="104"/>
                  </a:lnTo>
                  <a:lnTo>
                    <a:pt x="1169" y="106"/>
                  </a:lnTo>
                  <a:lnTo>
                    <a:pt x="1167" y="106"/>
                  </a:lnTo>
                  <a:lnTo>
                    <a:pt x="1167" y="108"/>
                  </a:lnTo>
                  <a:lnTo>
                    <a:pt x="1169" y="108"/>
                  </a:lnTo>
                  <a:lnTo>
                    <a:pt x="1171" y="108"/>
                  </a:lnTo>
                  <a:lnTo>
                    <a:pt x="1171" y="106"/>
                  </a:lnTo>
                  <a:lnTo>
                    <a:pt x="1173" y="104"/>
                  </a:lnTo>
                  <a:lnTo>
                    <a:pt x="1171" y="102"/>
                  </a:lnTo>
                  <a:lnTo>
                    <a:pt x="1169" y="100"/>
                  </a:lnTo>
                  <a:lnTo>
                    <a:pt x="1169" y="98"/>
                  </a:lnTo>
                  <a:lnTo>
                    <a:pt x="1169" y="96"/>
                  </a:lnTo>
                  <a:lnTo>
                    <a:pt x="1167" y="96"/>
                  </a:lnTo>
                  <a:lnTo>
                    <a:pt x="1167" y="94"/>
                  </a:lnTo>
                  <a:lnTo>
                    <a:pt x="1165" y="94"/>
                  </a:lnTo>
                  <a:lnTo>
                    <a:pt x="1165" y="92"/>
                  </a:lnTo>
                  <a:lnTo>
                    <a:pt x="1163" y="92"/>
                  </a:lnTo>
                  <a:lnTo>
                    <a:pt x="1161" y="88"/>
                  </a:lnTo>
                  <a:lnTo>
                    <a:pt x="1161" y="86"/>
                  </a:lnTo>
                  <a:lnTo>
                    <a:pt x="1159" y="86"/>
                  </a:lnTo>
                  <a:lnTo>
                    <a:pt x="1159" y="84"/>
                  </a:lnTo>
                  <a:lnTo>
                    <a:pt x="1159" y="83"/>
                  </a:lnTo>
                  <a:lnTo>
                    <a:pt x="1161" y="83"/>
                  </a:lnTo>
                  <a:lnTo>
                    <a:pt x="1163" y="83"/>
                  </a:lnTo>
                  <a:lnTo>
                    <a:pt x="1165" y="84"/>
                  </a:lnTo>
                  <a:lnTo>
                    <a:pt x="1167" y="84"/>
                  </a:lnTo>
                  <a:lnTo>
                    <a:pt x="1169" y="84"/>
                  </a:lnTo>
                  <a:lnTo>
                    <a:pt x="1169" y="86"/>
                  </a:lnTo>
                  <a:lnTo>
                    <a:pt x="1171" y="86"/>
                  </a:lnTo>
                  <a:lnTo>
                    <a:pt x="1173" y="84"/>
                  </a:lnTo>
                  <a:lnTo>
                    <a:pt x="1175" y="84"/>
                  </a:lnTo>
                  <a:lnTo>
                    <a:pt x="1177" y="84"/>
                  </a:lnTo>
                  <a:lnTo>
                    <a:pt x="1179" y="84"/>
                  </a:lnTo>
                  <a:lnTo>
                    <a:pt x="1180" y="84"/>
                  </a:lnTo>
                  <a:lnTo>
                    <a:pt x="1182" y="84"/>
                  </a:lnTo>
                  <a:lnTo>
                    <a:pt x="1184" y="84"/>
                  </a:lnTo>
                  <a:lnTo>
                    <a:pt x="1186" y="83"/>
                  </a:lnTo>
                  <a:lnTo>
                    <a:pt x="1188" y="83"/>
                  </a:lnTo>
                  <a:lnTo>
                    <a:pt x="1188" y="81"/>
                  </a:lnTo>
                  <a:lnTo>
                    <a:pt x="1190" y="81"/>
                  </a:lnTo>
                  <a:lnTo>
                    <a:pt x="1192" y="79"/>
                  </a:lnTo>
                  <a:lnTo>
                    <a:pt x="1192" y="77"/>
                  </a:lnTo>
                  <a:lnTo>
                    <a:pt x="1192" y="75"/>
                  </a:lnTo>
                  <a:lnTo>
                    <a:pt x="1192" y="73"/>
                  </a:lnTo>
                  <a:lnTo>
                    <a:pt x="1194" y="71"/>
                  </a:lnTo>
                  <a:lnTo>
                    <a:pt x="1196" y="69"/>
                  </a:lnTo>
                  <a:lnTo>
                    <a:pt x="1194" y="67"/>
                  </a:lnTo>
                  <a:lnTo>
                    <a:pt x="1192" y="65"/>
                  </a:lnTo>
                  <a:lnTo>
                    <a:pt x="1190" y="65"/>
                  </a:lnTo>
                  <a:lnTo>
                    <a:pt x="1190" y="63"/>
                  </a:lnTo>
                  <a:lnTo>
                    <a:pt x="1190" y="61"/>
                  </a:lnTo>
                  <a:lnTo>
                    <a:pt x="1190" y="60"/>
                  </a:lnTo>
                  <a:lnTo>
                    <a:pt x="1190" y="58"/>
                  </a:lnTo>
                  <a:lnTo>
                    <a:pt x="1192" y="56"/>
                  </a:lnTo>
                  <a:lnTo>
                    <a:pt x="1192" y="54"/>
                  </a:lnTo>
                  <a:lnTo>
                    <a:pt x="1192" y="52"/>
                  </a:lnTo>
                  <a:lnTo>
                    <a:pt x="1194" y="52"/>
                  </a:lnTo>
                  <a:lnTo>
                    <a:pt x="1194" y="54"/>
                  </a:lnTo>
                  <a:lnTo>
                    <a:pt x="1192" y="54"/>
                  </a:lnTo>
                  <a:lnTo>
                    <a:pt x="1194" y="54"/>
                  </a:lnTo>
                  <a:lnTo>
                    <a:pt x="1194" y="52"/>
                  </a:lnTo>
                  <a:lnTo>
                    <a:pt x="1196" y="52"/>
                  </a:lnTo>
                  <a:lnTo>
                    <a:pt x="1196" y="50"/>
                  </a:lnTo>
                  <a:lnTo>
                    <a:pt x="1196" y="48"/>
                  </a:lnTo>
                  <a:lnTo>
                    <a:pt x="1196" y="46"/>
                  </a:lnTo>
                  <a:lnTo>
                    <a:pt x="1194" y="48"/>
                  </a:lnTo>
                  <a:lnTo>
                    <a:pt x="1194" y="46"/>
                  </a:lnTo>
                  <a:lnTo>
                    <a:pt x="1196" y="44"/>
                  </a:lnTo>
                  <a:lnTo>
                    <a:pt x="1196" y="42"/>
                  </a:lnTo>
                  <a:lnTo>
                    <a:pt x="1198" y="40"/>
                  </a:lnTo>
                  <a:lnTo>
                    <a:pt x="1200" y="36"/>
                  </a:lnTo>
                  <a:lnTo>
                    <a:pt x="1202" y="36"/>
                  </a:lnTo>
                  <a:lnTo>
                    <a:pt x="1202" y="35"/>
                  </a:lnTo>
                  <a:lnTo>
                    <a:pt x="1202" y="33"/>
                  </a:lnTo>
                  <a:lnTo>
                    <a:pt x="1203" y="33"/>
                  </a:lnTo>
                  <a:lnTo>
                    <a:pt x="1203" y="31"/>
                  </a:lnTo>
                  <a:lnTo>
                    <a:pt x="1205" y="31"/>
                  </a:lnTo>
                  <a:lnTo>
                    <a:pt x="1205" y="29"/>
                  </a:lnTo>
                  <a:lnTo>
                    <a:pt x="1207" y="29"/>
                  </a:lnTo>
                  <a:lnTo>
                    <a:pt x="1207" y="27"/>
                  </a:lnTo>
                  <a:lnTo>
                    <a:pt x="1207" y="25"/>
                  </a:lnTo>
                  <a:lnTo>
                    <a:pt x="1207" y="27"/>
                  </a:lnTo>
                  <a:lnTo>
                    <a:pt x="1209" y="27"/>
                  </a:lnTo>
                  <a:lnTo>
                    <a:pt x="1211" y="27"/>
                  </a:lnTo>
                  <a:lnTo>
                    <a:pt x="1209" y="27"/>
                  </a:lnTo>
                  <a:lnTo>
                    <a:pt x="1211" y="29"/>
                  </a:lnTo>
                  <a:lnTo>
                    <a:pt x="1211" y="27"/>
                  </a:lnTo>
                  <a:lnTo>
                    <a:pt x="1209" y="27"/>
                  </a:lnTo>
                  <a:lnTo>
                    <a:pt x="1209" y="25"/>
                  </a:lnTo>
                  <a:lnTo>
                    <a:pt x="1211" y="25"/>
                  </a:lnTo>
                  <a:lnTo>
                    <a:pt x="1213" y="25"/>
                  </a:lnTo>
                  <a:lnTo>
                    <a:pt x="1211" y="23"/>
                  </a:lnTo>
                  <a:lnTo>
                    <a:pt x="1213" y="23"/>
                  </a:lnTo>
                  <a:lnTo>
                    <a:pt x="1213" y="21"/>
                  </a:lnTo>
                  <a:lnTo>
                    <a:pt x="1215" y="17"/>
                  </a:lnTo>
                  <a:lnTo>
                    <a:pt x="1215" y="15"/>
                  </a:lnTo>
                  <a:lnTo>
                    <a:pt x="1217" y="15"/>
                  </a:lnTo>
                  <a:lnTo>
                    <a:pt x="1215" y="15"/>
                  </a:lnTo>
                  <a:lnTo>
                    <a:pt x="1217" y="15"/>
                  </a:lnTo>
                  <a:lnTo>
                    <a:pt x="1221" y="13"/>
                  </a:lnTo>
                  <a:lnTo>
                    <a:pt x="1221" y="11"/>
                  </a:lnTo>
                  <a:lnTo>
                    <a:pt x="1223" y="10"/>
                  </a:lnTo>
                  <a:lnTo>
                    <a:pt x="1223" y="8"/>
                  </a:lnTo>
                  <a:lnTo>
                    <a:pt x="1225" y="8"/>
                  </a:lnTo>
                  <a:lnTo>
                    <a:pt x="1225" y="6"/>
                  </a:lnTo>
                  <a:lnTo>
                    <a:pt x="1225" y="8"/>
                  </a:lnTo>
                  <a:lnTo>
                    <a:pt x="1226" y="8"/>
                  </a:lnTo>
                  <a:lnTo>
                    <a:pt x="1225" y="8"/>
                  </a:lnTo>
                  <a:lnTo>
                    <a:pt x="1226" y="8"/>
                  </a:lnTo>
                  <a:lnTo>
                    <a:pt x="1226" y="10"/>
                  </a:lnTo>
                  <a:lnTo>
                    <a:pt x="1226" y="8"/>
                  </a:lnTo>
                  <a:lnTo>
                    <a:pt x="1228" y="10"/>
                  </a:lnTo>
                  <a:lnTo>
                    <a:pt x="1228" y="8"/>
                  </a:lnTo>
                  <a:lnTo>
                    <a:pt x="1230" y="6"/>
                  </a:lnTo>
                  <a:lnTo>
                    <a:pt x="1232" y="6"/>
                  </a:lnTo>
                  <a:lnTo>
                    <a:pt x="1232" y="4"/>
                  </a:lnTo>
                  <a:lnTo>
                    <a:pt x="1234" y="4"/>
                  </a:lnTo>
                  <a:lnTo>
                    <a:pt x="1234" y="2"/>
                  </a:lnTo>
                  <a:lnTo>
                    <a:pt x="1236" y="2"/>
                  </a:lnTo>
                  <a:lnTo>
                    <a:pt x="1238" y="2"/>
                  </a:lnTo>
                  <a:lnTo>
                    <a:pt x="1238" y="0"/>
                  </a:lnTo>
                  <a:lnTo>
                    <a:pt x="1238" y="2"/>
                  </a:lnTo>
                  <a:lnTo>
                    <a:pt x="1240" y="2"/>
                  </a:lnTo>
                  <a:lnTo>
                    <a:pt x="1240" y="4"/>
                  </a:lnTo>
                  <a:lnTo>
                    <a:pt x="1238" y="4"/>
                  </a:lnTo>
                  <a:lnTo>
                    <a:pt x="1240" y="4"/>
                  </a:lnTo>
                  <a:lnTo>
                    <a:pt x="1240" y="6"/>
                  </a:lnTo>
                  <a:lnTo>
                    <a:pt x="1242" y="6"/>
                  </a:lnTo>
                  <a:lnTo>
                    <a:pt x="1244" y="4"/>
                  </a:lnTo>
                  <a:lnTo>
                    <a:pt x="1246" y="4"/>
                  </a:lnTo>
                  <a:lnTo>
                    <a:pt x="1246" y="6"/>
                  </a:lnTo>
                  <a:lnTo>
                    <a:pt x="1248" y="6"/>
                  </a:lnTo>
                  <a:lnTo>
                    <a:pt x="1248" y="8"/>
                  </a:lnTo>
                  <a:lnTo>
                    <a:pt x="1246" y="8"/>
                  </a:lnTo>
                  <a:lnTo>
                    <a:pt x="1246" y="10"/>
                  </a:lnTo>
                  <a:lnTo>
                    <a:pt x="1248" y="10"/>
                  </a:lnTo>
                  <a:lnTo>
                    <a:pt x="1248" y="11"/>
                  </a:lnTo>
                  <a:lnTo>
                    <a:pt x="1250" y="11"/>
                  </a:lnTo>
                  <a:lnTo>
                    <a:pt x="1250" y="10"/>
                  </a:lnTo>
                  <a:lnTo>
                    <a:pt x="1251" y="11"/>
                  </a:lnTo>
                  <a:lnTo>
                    <a:pt x="1253" y="11"/>
                  </a:lnTo>
                  <a:lnTo>
                    <a:pt x="1253" y="13"/>
                  </a:lnTo>
                  <a:lnTo>
                    <a:pt x="1255" y="13"/>
                  </a:lnTo>
                  <a:lnTo>
                    <a:pt x="1257" y="13"/>
                  </a:lnTo>
                  <a:lnTo>
                    <a:pt x="1259" y="11"/>
                  </a:lnTo>
                  <a:lnTo>
                    <a:pt x="1259" y="13"/>
                  </a:lnTo>
                  <a:lnTo>
                    <a:pt x="1261" y="13"/>
                  </a:lnTo>
                  <a:lnTo>
                    <a:pt x="1261" y="11"/>
                  </a:lnTo>
                  <a:lnTo>
                    <a:pt x="1263" y="11"/>
                  </a:lnTo>
                  <a:lnTo>
                    <a:pt x="1263" y="13"/>
                  </a:lnTo>
                  <a:lnTo>
                    <a:pt x="1261" y="13"/>
                  </a:lnTo>
                  <a:lnTo>
                    <a:pt x="1261" y="15"/>
                  </a:lnTo>
                  <a:lnTo>
                    <a:pt x="1263" y="15"/>
                  </a:lnTo>
                  <a:lnTo>
                    <a:pt x="1263" y="17"/>
                  </a:lnTo>
                  <a:lnTo>
                    <a:pt x="1263" y="19"/>
                  </a:lnTo>
                  <a:lnTo>
                    <a:pt x="1263" y="21"/>
                  </a:lnTo>
                  <a:lnTo>
                    <a:pt x="1263" y="23"/>
                  </a:lnTo>
                  <a:lnTo>
                    <a:pt x="1265" y="21"/>
                  </a:lnTo>
                  <a:lnTo>
                    <a:pt x="1265" y="23"/>
                  </a:lnTo>
                  <a:lnTo>
                    <a:pt x="1267" y="23"/>
                  </a:lnTo>
                  <a:lnTo>
                    <a:pt x="1267" y="25"/>
                  </a:lnTo>
                  <a:lnTo>
                    <a:pt x="1267" y="27"/>
                  </a:lnTo>
                  <a:lnTo>
                    <a:pt x="1265" y="27"/>
                  </a:lnTo>
                  <a:lnTo>
                    <a:pt x="1265" y="25"/>
                  </a:lnTo>
                  <a:lnTo>
                    <a:pt x="1263" y="25"/>
                  </a:lnTo>
                  <a:lnTo>
                    <a:pt x="1261" y="25"/>
                  </a:lnTo>
                  <a:lnTo>
                    <a:pt x="1261" y="27"/>
                  </a:lnTo>
                  <a:lnTo>
                    <a:pt x="1259" y="27"/>
                  </a:lnTo>
                  <a:lnTo>
                    <a:pt x="1259" y="29"/>
                  </a:lnTo>
                  <a:lnTo>
                    <a:pt x="1259" y="31"/>
                  </a:lnTo>
                  <a:lnTo>
                    <a:pt x="1257" y="31"/>
                  </a:lnTo>
                  <a:lnTo>
                    <a:pt x="1257" y="33"/>
                  </a:lnTo>
                  <a:lnTo>
                    <a:pt x="1257" y="35"/>
                  </a:lnTo>
                  <a:lnTo>
                    <a:pt x="1255" y="36"/>
                  </a:lnTo>
                  <a:lnTo>
                    <a:pt x="1253" y="36"/>
                  </a:lnTo>
                  <a:lnTo>
                    <a:pt x="1251" y="38"/>
                  </a:lnTo>
                  <a:lnTo>
                    <a:pt x="1250" y="38"/>
                  </a:lnTo>
                  <a:lnTo>
                    <a:pt x="1250" y="40"/>
                  </a:lnTo>
                  <a:lnTo>
                    <a:pt x="1246" y="38"/>
                  </a:lnTo>
                  <a:lnTo>
                    <a:pt x="1244" y="40"/>
                  </a:lnTo>
                  <a:lnTo>
                    <a:pt x="1242" y="42"/>
                  </a:lnTo>
                  <a:lnTo>
                    <a:pt x="1242" y="44"/>
                  </a:lnTo>
                  <a:lnTo>
                    <a:pt x="1244" y="44"/>
                  </a:lnTo>
                  <a:lnTo>
                    <a:pt x="1248" y="46"/>
                  </a:lnTo>
                  <a:lnTo>
                    <a:pt x="1250" y="46"/>
                  </a:lnTo>
                  <a:lnTo>
                    <a:pt x="1251" y="46"/>
                  </a:lnTo>
                  <a:lnTo>
                    <a:pt x="1251" y="44"/>
                  </a:lnTo>
                  <a:lnTo>
                    <a:pt x="1253" y="44"/>
                  </a:lnTo>
                  <a:lnTo>
                    <a:pt x="1253" y="46"/>
                  </a:lnTo>
                  <a:lnTo>
                    <a:pt x="1255" y="46"/>
                  </a:lnTo>
                  <a:lnTo>
                    <a:pt x="1255" y="44"/>
                  </a:lnTo>
                  <a:lnTo>
                    <a:pt x="1257" y="44"/>
                  </a:lnTo>
                  <a:lnTo>
                    <a:pt x="1259" y="44"/>
                  </a:lnTo>
                  <a:lnTo>
                    <a:pt x="1261" y="44"/>
                  </a:lnTo>
                  <a:lnTo>
                    <a:pt x="1261" y="42"/>
                  </a:lnTo>
                  <a:lnTo>
                    <a:pt x="1263" y="42"/>
                  </a:lnTo>
                  <a:lnTo>
                    <a:pt x="1261" y="42"/>
                  </a:lnTo>
                  <a:lnTo>
                    <a:pt x="1261" y="44"/>
                  </a:lnTo>
                  <a:lnTo>
                    <a:pt x="1261" y="46"/>
                  </a:lnTo>
                  <a:lnTo>
                    <a:pt x="1259" y="46"/>
                  </a:lnTo>
                  <a:lnTo>
                    <a:pt x="1259" y="48"/>
                  </a:lnTo>
                  <a:lnTo>
                    <a:pt x="1261" y="48"/>
                  </a:lnTo>
                  <a:lnTo>
                    <a:pt x="1259" y="48"/>
                  </a:lnTo>
                  <a:lnTo>
                    <a:pt x="1259" y="50"/>
                  </a:lnTo>
                  <a:lnTo>
                    <a:pt x="1257" y="48"/>
                  </a:lnTo>
                  <a:lnTo>
                    <a:pt x="1255" y="48"/>
                  </a:lnTo>
                  <a:lnTo>
                    <a:pt x="1255" y="50"/>
                  </a:lnTo>
                  <a:lnTo>
                    <a:pt x="1257" y="50"/>
                  </a:lnTo>
                  <a:lnTo>
                    <a:pt x="1257" y="52"/>
                  </a:lnTo>
                  <a:lnTo>
                    <a:pt x="1259" y="52"/>
                  </a:lnTo>
                  <a:lnTo>
                    <a:pt x="1259" y="50"/>
                  </a:lnTo>
                  <a:lnTo>
                    <a:pt x="1261" y="50"/>
                  </a:lnTo>
                  <a:lnTo>
                    <a:pt x="1261" y="52"/>
                  </a:lnTo>
                  <a:lnTo>
                    <a:pt x="1261" y="50"/>
                  </a:lnTo>
                  <a:lnTo>
                    <a:pt x="1263" y="50"/>
                  </a:lnTo>
                  <a:lnTo>
                    <a:pt x="1265" y="48"/>
                  </a:lnTo>
                  <a:lnTo>
                    <a:pt x="1265" y="46"/>
                  </a:lnTo>
                  <a:lnTo>
                    <a:pt x="1267" y="46"/>
                  </a:lnTo>
                  <a:lnTo>
                    <a:pt x="1269" y="46"/>
                  </a:lnTo>
                  <a:lnTo>
                    <a:pt x="1271" y="48"/>
                  </a:lnTo>
                  <a:lnTo>
                    <a:pt x="1271" y="50"/>
                  </a:lnTo>
                  <a:lnTo>
                    <a:pt x="1273" y="50"/>
                  </a:lnTo>
                  <a:lnTo>
                    <a:pt x="1273" y="48"/>
                  </a:lnTo>
                  <a:lnTo>
                    <a:pt x="1273" y="50"/>
                  </a:lnTo>
                  <a:lnTo>
                    <a:pt x="1274" y="50"/>
                  </a:lnTo>
                  <a:lnTo>
                    <a:pt x="1273" y="50"/>
                  </a:lnTo>
                  <a:lnTo>
                    <a:pt x="1273" y="48"/>
                  </a:lnTo>
                  <a:lnTo>
                    <a:pt x="1274" y="48"/>
                  </a:lnTo>
                  <a:lnTo>
                    <a:pt x="1274" y="46"/>
                  </a:lnTo>
                  <a:lnTo>
                    <a:pt x="1276" y="46"/>
                  </a:lnTo>
                  <a:lnTo>
                    <a:pt x="1276" y="48"/>
                  </a:lnTo>
                  <a:lnTo>
                    <a:pt x="1278" y="48"/>
                  </a:lnTo>
                  <a:lnTo>
                    <a:pt x="1276" y="48"/>
                  </a:lnTo>
                  <a:lnTo>
                    <a:pt x="1276" y="50"/>
                  </a:lnTo>
                  <a:lnTo>
                    <a:pt x="1278" y="50"/>
                  </a:lnTo>
                  <a:lnTo>
                    <a:pt x="1278" y="48"/>
                  </a:lnTo>
                  <a:lnTo>
                    <a:pt x="1278" y="50"/>
                  </a:lnTo>
                  <a:lnTo>
                    <a:pt x="1280" y="50"/>
                  </a:lnTo>
                  <a:lnTo>
                    <a:pt x="1282" y="50"/>
                  </a:lnTo>
                  <a:lnTo>
                    <a:pt x="1282" y="52"/>
                  </a:lnTo>
                  <a:lnTo>
                    <a:pt x="1284" y="52"/>
                  </a:lnTo>
                  <a:lnTo>
                    <a:pt x="1282" y="52"/>
                  </a:lnTo>
                  <a:lnTo>
                    <a:pt x="1282" y="54"/>
                  </a:lnTo>
                  <a:lnTo>
                    <a:pt x="1284" y="54"/>
                  </a:lnTo>
                  <a:lnTo>
                    <a:pt x="1284" y="56"/>
                  </a:lnTo>
                  <a:lnTo>
                    <a:pt x="1286" y="56"/>
                  </a:lnTo>
                  <a:lnTo>
                    <a:pt x="1284" y="56"/>
                  </a:lnTo>
                  <a:lnTo>
                    <a:pt x="1284" y="58"/>
                  </a:lnTo>
                  <a:lnTo>
                    <a:pt x="1282" y="58"/>
                  </a:lnTo>
                  <a:lnTo>
                    <a:pt x="1284" y="58"/>
                  </a:lnTo>
                  <a:lnTo>
                    <a:pt x="1284" y="60"/>
                  </a:lnTo>
                  <a:lnTo>
                    <a:pt x="1282" y="60"/>
                  </a:lnTo>
                  <a:lnTo>
                    <a:pt x="1282" y="61"/>
                  </a:lnTo>
                  <a:lnTo>
                    <a:pt x="1282" y="60"/>
                  </a:lnTo>
                  <a:lnTo>
                    <a:pt x="1282" y="61"/>
                  </a:lnTo>
                  <a:lnTo>
                    <a:pt x="1282" y="63"/>
                  </a:lnTo>
                  <a:lnTo>
                    <a:pt x="1280" y="63"/>
                  </a:lnTo>
                  <a:lnTo>
                    <a:pt x="1278" y="63"/>
                  </a:lnTo>
                  <a:lnTo>
                    <a:pt x="1278" y="65"/>
                  </a:lnTo>
                  <a:lnTo>
                    <a:pt x="1278" y="67"/>
                  </a:lnTo>
                  <a:lnTo>
                    <a:pt x="1276" y="67"/>
                  </a:lnTo>
                  <a:lnTo>
                    <a:pt x="1276" y="69"/>
                  </a:lnTo>
                  <a:lnTo>
                    <a:pt x="1276" y="67"/>
                  </a:lnTo>
                  <a:lnTo>
                    <a:pt x="1276" y="69"/>
                  </a:lnTo>
                  <a:lnTo>
                    <a:pt x="1274" y="69"/>
                  </a:lnTo>
                  <a:lnTo>
                    <a:pt x="1274" y="67"/>
                  </a:lnTo>
                  <a:lnTo>
                    <a:pt x="1274" y="69"/>
                  </a:lnTo>
                  <a:lnTo>
                    <a:pt x="1274" y="71"/>
                  </a:lnTo>
                  <a:lnTo>
                    <a:pt x="1276" y="71"/>
                  </a:lnTo>
                  <a:lnTo>
                    <a:pt x="1274" y="73"/>
                  </a:lnTo>
                  <a:lnTo>
                    <a:pt x="1274" y="75"/>
                  </a:lnTo>
                  <a:lnTo>
                    <a:pt x="1274" y="77"/>
                  </a:lnTo>
                  <a:lnTo>
                    <a:pt x="1274" y="79"/>
                  </a:lnTo>
                  <a:lnTo>
                    <a:pt x="1273" y="79"/>
                  </a:lnTo>
                  <a:lnTo>
                    <a:pt x="1273" y="81"/>
                  </a:lnTo>
                  <a:lnTo>
                    <a:pt x="1273" y="79"/>
                  </a:lnTo>
                  <a:lnTo>
                    <a:pt x="1273" y="77"/>
                  </a:lnTo>
                  <a:lnTo>
                    <a:pt x="1271" y="77"/>
                  </a:lnTo>
                  <a:lnTo>
                    <a:pt x="1271" y="79"/>
                  </a:lnTo>
                  <a:lnTo>
                    <a:pt x="1271" y="81"/>
                  </a:lnTo>
                  <a:lnTo>
                    <a:pt x="1271" y="83"/>
                  </a:lnTo>
                  <a:lnTo>
                    <a:pt x="1273" y="83"/>
                  </a:lnTo>
                  <a:lnTo>
                    <a:pt x="1274" y="83"/>
                  </a:lnTo>
                  <a:lnTo>
                    <a:pt x="1276" y="84"/>
                  </a:lnTo>
                  <a:lnTo>
                    <a:pt x="1276" y="83"/>
                  </a:lnTo>
                  <a:lnTo>
                    <a:pt x="1278" y="83"/>
                  </a:lnTo>
                  <a:lnTo>
                    <a:pt x="1280" y="83"/>
                  </a:lnTo>
                  <a:lnTo>
                    <a:pt x="1280" y="81"/>
                  </a:lnTo>
                  <a:lnTo>
                    <a:pt x="1282" y="81"/>
                  </a:lnTo>
                  <a:lnTo>
                    <a:pt x="1284" y="81"/>
                  </a:lnTo>
                  <a:lnTo>
                    <a:pt x="1286" y="81"/>
                  </a:lnTo>
                  <a:lnTo>
                    <a:pt x="1286" y="83"/>
                  </a:lnTo>
                  <a:lnTo>
                    <a:pt x="1288" y="83"/>
                  </a:lnTo>
                  <a:lnTo>
                    <a:pt x="1290" y="81"/>
                  </a:lnTo>
                  <a:lnTo>
                    <a:pt x="1292" y="81"/>
                  </a:lnTo>
                  <a:lnTo>
                    <a:pt x="1292" y="79"/>
                  </a:lnTo>
                  <a:lnTo>
                    <a:pt x="1292" y="77"/>
                  </a:lnTo>
                  <a:lnTo>
                    <a:pt x="1294" y="77"/>
                  </a:lnTo>
                  <a:lnTo>
                    <a:pt x="1294" y="75"/>
                  </a:lnTo>
                  <a:lnTo>
                    <a:pt x="1294" y="73"/>
                  </a:lnTo>
                  <a:lnTo>
                    <a:pt x="1292" y="73"/>
                  </a:lnTo>
                  <a:lnTo>
                    <a:pt x="1292" y="71"/>
                  </a:lnTo>
                  <a:lnTo>
                    <a:pt x="1292" y="69"/>
                  </a:lnTo>
                  <a:lnTo>
                    <a:pt x="1292" y="67"/>
                  </a:lnTo>
                  <a:lnTo>
                    <a:pt x="1294" y="67"/>
                  </a:lnTo>
                  <a:lnTo>
                    <a:pt x="1296" y="67"/>
                  </a:lnTo>
                  <a:lnTo>
                    <a:pt x="1296" y="65"/>
                  </a:lnTo>
                  <a:lnTo>
                    <a:pt x="1298" y="65"/>
                  </a:lnTo>
                  <a:lnTo>
                    <a:pt x="1298" y="67"/>
                  </a:lnTo>
                  <a:lnTo>
                    <a:pt x="1299" y="67"/>
                  </a:lnTo>
                  <a:lnTo>
                    <a:pt x="1301" y="69"/>
                  </a:lnTo>
                  <a:lnTo>
                    <a:pt x="1303" y="69"/>
                  </a:lnTo>
                  <a:lnTo>
                    <a:pt x="1305" y="67"/>
                  </a:lnTo>
                  <a:lnTo>
                    <a:pt x="1307" y="67"/>
                  </a:lnTo>
                  <a:lnTo>
                    <a:pt x="1309" y="65"/>
                  </a:lnTo>
                  <a:lnTo>
                    <a:pt x="1311" y="65"/>
                  </a:lnTo>
                  <a:lnTo>
                    <a:pt x="1311" y="67"/>
                  </a:lnTo>
                  <a:lnTo>
                    <a:pt x="1311" y="65"/>
                  </a:lnTo>
                  <a:lnTo>
                    <a:pt x="1313" y="65"/>
                  </a:lnTo>
                  <a:lnTo>
                    <a:pt x="1313" y="63"/>
                  </a:lnTo>
                  <a:lnTo>
                    <a:pt x="1315" y="63"/>
                  </a:lnTo>
                  <a:lnTo>
                    <a:pt x="1315" y="65"/>
                  </a:lnTo>
                  <a:lnTo>
                    <a:pt x="1317" y="65"/>
                  </a:lnTo>
                  <a:lnTo>
                    <a:pt x="1319" y="67"/>
                  </a:lnTo>
                  <a:lnTo>
                    <a:pt x="1321" y="67"/>
                  </a:lnTo>
                  <a:lnTo>
                    <a:pt x="1321" y="69"/>
                  </a:lnTo>
                  <a:lnTo>
                    <a:pt x="1322" y="69"/>
                  </a:lnTo>
                  <a:lnTo>
                    <a:pt x="1322" y="67"/>
                  </a:lnTo>
                  <a:lnTo>
                    <a:pt x="1322" y="69"/>
                  </a:lnTo>
                  <a:lnTo>
                    <a:pt x="1322" y="71"/>
                  </a:lnTo>
                  <a:lnTo>
                    <a:pt x="1324" y="71"/>
                  </a:lnTo>
                  <a:lnTo>
                    <a:pt x="1324" y="69"/>
                  </a:lnTo>
                  <a:lnTo>
                    <a:pt x="1324" y="67"/>
                  </a:lnTo>
                  <a:lnTo>
                    <a:pt x="1326" y="67"/>
                  </a:lnTo>
                  <a:lnTo>
                    <a:pt x="1328" y="65"/>
                  </a:lnTo>
                  <a:lnTo>
                    <a:pt x="1330" y="65"/>
                  </a:lnTo>
                  <a:lnTo>
                    <a:pt x="1332" y="65"/>
                  </a:lnTo>
                  <a:lnTo>
                    <a:pt x="1334" y="67"/>
                  </a:lnTo>
                  <a:lnTo>
                    <a:pt x="1336" y="67"/>
                  </a:lnTo>
                  <a:lnTo>
                    <a:pt x="1338" y="67"/>
                  </a:lnTo>
                  <a:lnTo>
                    <a:pt x="1336" y="65"/>
                  </a:lnTo>
                  <a:lnTo>
                    <a:pt x="1338" y="65"/>
                  </a:lnTo>
                  <a:lnTo>
                    <a:pt x="1340" y="65"/>
                  </a:lnTo>
                  <a:lnTo>
                    <a:pt x="1340" y="63"/>
                  </a:lnTo>
                  <a:lnTo>
                    <a:pt x="1340" y="65"/>
                  </a:lnTo>
                  <a:lnTo>
                    <a:pt x="1342" y="65"/>
                  </a:lnTo>
                  <a:lnTo>
                    <a:pt x="1340" y="67"/>
                  </a:lnTo>
                  <a:lnTo>
                    <a:pt x="1340" y="69"/>
                  </a:lnTo>
                  <a:lnTo>
                    <a:pt x="1342" y="69"/>
                  </a:lnTo>
                  <a:lnTo>
                    <a:pt x="1344" y="69"/>
                  </a:lnTo>
                  <a:lnTo>
                    <a:pt x="1345" y="69"/>
                  </a:lnTo>
                  <a:lnTo>
                    <a:pt x="1347" y="69"/>
                  </a:lnTo>
                  <a:lnTo>
                    <a:pt x="1347" y="71"/>
                  </a:lnTo>
                  <a:lnTo>
                    <a:pt x="1349" y="71"/>
                  </a:lnTo>
                  <a:lnTo>
                    <a:pt x="1347" y="71"/>
                  </a:lnTo>
                  <a:lnTo>
                    <a:pt x="1347" y="69"/>
                  </a:lnTo>
                  <a:lnTo>
                    <a:pt x="1345" y="69"/>
                  </a:lnTo>
                  <a:lnTo>
                    <a:pt x="1347" y="69"/>
                  </a:lnTo>
                  <a:lnTo>
                    <a:pt x="1347" y="71"/>
                  </a:lnTo>
                  <a:lnTo>
                    <a:pt x="1345" y="71"/>
                  </a:lnTo>
                  <a:lnTo>
                    <a:pt x="1345" y="73"/>
                  </a:lnTo>
                  <a:lnTo>
                    <a:pt x="1347" y="73"/>
                  </a:lnTo>
                  <a:lnTo>
                    <a:pt x="1345" y="73"/>
                  </a:lnTo>
                  <a:lnTo>
                    <a:pt x="1345" y="75"/>
                  </a:lnTo>
                  <a:lnTo>
                    <a:pt x="1347" y="75"/>
                  </a:lnTo>
                  <a:lnTo>
                    <a:pt x="1351" y="77"/>
                  </a:lnTo>
                  <a:lnTo>
                    <a:pt x="1351" y="79"/>
                  </a:lnTo>
                  <a:lnTo>
                    <a:pt x="1351" y="81"/>
                  </a:lnTo>
                  <a:lnTo>
                    <a:pt x="1353" y="81"/>
                  </a:lnTo>
                  <a:lnTo>
                    <a:pt x="1355" y="83"/>
                  </a:lnTo>
                  <a:lnTo>
                    <a:pt x="1355" y="84"/>
                  </a:lnTo>
                  <a:lnTo>
                    <a:pt x="1353" y="86"/>
                  </a:lnTo>
                  <a:lnTo>
                    <a:pt x="1351" y="88"/>
                  </a:lnTo>
                  <a:lnTo>
                    <a:pt x="1351" y="90"/>
                  </a:lnTo>
                  <a:lnTo>
                    <a:pt x="1349" y="92"/>
                  </a:lnTo>
                  <a:lnTo>
                    <a:pt x="1349" y="94"/>
                  </a:lnTo>
                  <a:lnTo>
                    <a:pt x="1351" y="94"/>
                  </a:lnTo>
                  <a:lnTo>
                    <a:pt x="1351" y="96"/>
                  </a:lnTo>
                  <a:lnTo>
                    <a:pt x="1351" y="98"/>
                  </a:lnTo>
                  <a:lnTo>
                    <a:pt x="1349" y="98"/>
                  </a:lnTo>
                  <a:lnTo>
                    <a:pt x="1351" y="100"/>
                  </a:lnTo>
                  <a:lnTo>
                    <a:pt x="1351" y="98"/>
                  </a:lnTo>
                  <a:lnTo>
                    <a:pt x="1351" y="96"/>
                  </a:lnTo>
                  <a:lnTo>
                    <a:pt x="1351" y="94"/>
                  </a:lnTo>
                  <a:lnTo>
                    <a:pt x="1351" y="92"/>
                  </a:lnTo>
                  <a:lnTo>
                    <a:pt x="1351" y="90"/>
                  </a:lnTo>
                  <a:lnTo>
                    <a:pt x="1353" y="90"/>
                  </a:lnTo>
                  <a:lnTo>
                    <a:pt x="1353" y="88"/>
                  </a:lnTo>
                  <a:lnTo>
                    <a:pt x="1355" y="86"/>
                  </a:lnTo>
                  <a:lnTo>
                    <a:pt x="1357" y="84"/>
                  </a:lnTo>
                  <a:lnTo>
                    <a:pt x="1357" y="86"/>
                  </a:lnTo>
                  <a:lnTo>
                    <a:pt x="1359" y="86"/>
                  </a:lnTo>
                  <a:lnTo>
                    <a:pt x="1359" y="88"/>
                  </a:lnTo>
                  <a:lnTo>
                    <a:pt x="1361" y="88"/>
                  </a:lnTo>
                  <a:lnTo>
                    <a:pt x="1361" y="92"/>
                  </a:lnTo>
                  <a:lnTo>
                    <a:pt x="1363" y="92"/>
                  </a:lnTo>
                  <a:lnTo>
                    <a:pt x="1363" y="94"/>
                  </a:lnTo>
                  <a:lnTo>
                    <a:pt x="1361" y="98"/>
                  </a:lnTo>
                  <a:lnTo>
                    <a:pt x="1363" y="100"/>
                  </a:lnTo>
                  <a:lnTo>
                    <a:pt x="1361" y="100"/>
                  </a:lnTo>
                  <a:lnTo>
                    <a:pt x="1361" y="98"/>
                  </a:lnTo>
                  <a:lnTo>
                    <a:pt x="1359" y="98"/>
                  </a:lnTo>
                  <a:lnTo>
                    <a:pt x="1359" y="100"/>
                  </a:lnTo>
                  <a:lnTo>
                    <a:pt x="1359" y="102"/>
                  </a:lnTo>
                  <a:lnTo>
                    <a:pt x="1361" y="102"/>
                  </a:lnTo>
                  <a:lnTo>
                    <a:pt x="1363" y="102"/>
                  </a:lnTo>
                  <a:lnTo>
                    <a:pt x="1361" y="102"/>
                  </a:lnTo>
                  <a:lnTo>
                    <a:pt x="1363" y="100"/>
                  </a:lnTo>
                  <a:lnTo>
                    <a:pt x="1363" y="102"/>
                  </a:lnTo>
                  <a:lnTo>
                    <a:pt x="1363" y="104"/>
                  </a:lnTo>
                  <a:lnTo>
                    <a:pt x="1363" y="106"/>
                  </a:lnTo>
                  <a:lnTo>
                    <a:pt x="1365" y="106"/>
                  </a:lnTo>
                  <a:lnTo>
                    <a:pt x="1365" y="108"/>
                  </a:lnTo>
                  <a:lnTo>
                    <a:pt x="1363" y="108"/>
                  </a:lnTo>
                  <a:lnTo>
                    <a:pt x="1361" y="109"/>
                  </a:lnTo>
                  <a:lnTo>
                    <a:pt x="1363" y="109"/>
                  </a:lnTo>
                  <a:lnTo>
                    <a:pt x="1361" y="109"/>
                  </a:lnTo>
                  <a:lnTo>
                    <a:pt x="1363" y="109"/>
                  </a:lnTo>
                  <a:lnTo>
                    <a:pt x="1365" y="109"/>
                  </a:lnTo>
                  <a:lnTo>
                    <a:pt x="1365" y="111"/>
                  </a:lnTo>
                  <a:lnTo>
                    <a:pt x="1365" y="109"/>
                  </a:lnTo>
                  <a:lnTo>
                    <a:pt x="1365" y="108"/>
                  </a:lnTo>
                  <a:lnTo>
                    <a:pt x="1367" y="108"/>
                  </a:lnTo>
                  <a:lnTo>
                    <a:pt x="1367" y="106"/>
                  </a:lnTo>
                  <a:lnTo>
                    <a:pt x="1367" y="104"/>
                  </a:lnTo>
                  <a:lnTo>
                    <a:pt x="1369" y="104"/>
                  </a:lnTo>
                  <a:lnTo>
                    <a:pt x="1370" y="104"/>
                  </a:lnTo>
                  <a:lnTo>
                    <a:pt x="1370" y="106"/>
                  </a:lnTo>
                  <a:lnTo>
                    <a:pt x="1370" y="104"/>
                  </a:lnTo>
                  <a:lnTo>
                    <a:pt x="1369" y="104"/>
                  </a:lnTo>
                  <a:lnTo>
                    <a:pt x="1369" y="102"/>
                  </a:lnTo>
                  <a:lnTo>
                    <a:pt x="1367" y="102"/>
                  </a:lnTo>
                  <a:lnTo>
                    <a:pt x="1367" y="100"/>
                  </a:lnTo>
                  <a:lnTo>
                    <a:pt x="1367" y="98"/>
                  </a:lnTo>
                  <a:lnTo>
                    <a:pt x="1365" y="98"/>
                  </a:lnTo>
                  <a:lnTo>
                    <a:pt x="1367" y="98"/>
                  </a:lnTo>
                  <a:lnTo>
                    <a:pt x="1369" y="98"/>
                  </a:lnTo>
                  <a:lnTo>
                    <a:pt x="1369" y="96"/>
                  </a:lnTo>
                  <a:lnTo>
                    <a:pt x="1369" y="98"/>
                  </a:lnTo>
                  <a:lnTo>
                    <a:pt x="1370" y="96"/>
                  </a:lnTo>
                  <a:lnTo>
                    <a:pt x="1370" y="98"/>
                  </a:lnTo>
                  <a:lnTo>
                    <a:pt x="1370" y="100"/>
                  </a:lnTo>
                  <a:lnTo>
                    <a:pt x="1372" y="100"/>
                  </a:lnTo>
                  <a:lnTo>
                    <a:pt x="1372" y="102"/>
                  </a:lnTo>
                  <a:lnTo>
                    <a:pt x="1372" y="106"/>
                  </a:lnTo>
                  <a:lnTo>
                    <a:pt x="1372" y="108"/>
                  </a:lnTo>
                  <a:lnTo>
                    <a:pt x="1372" y="109"/>
                  </a:lnTo>
                  <a:lnTo>
                    <a:pt x="1374" y="111"/>
                  </a:lnTo>
                  <a:lnTo>
                    <a:pt x="1374" y="113"/>
                  </a:lnTo>
                  <a:lnTo>
                    <a:pt x="1374" y="115"/>
                  </a:lnTo>
                  <a:lnTo>
                    <a:pt x="1374" y="117"/>
                  </a:lnTo>
                  <a:lnTo>
                    <a:pt x="1374" y="119"/>
                  </a:lnTo>
                  <a:lnTo>
                    <a:pt x="1374" y="121"/>
                  </a:lnTo>
                  <a:lnTo>
                    <a:pt x="1374" y="119"/>
                  </a:lnTo>
                  <a:lnTo>
                    <a:pt x="1374" y="117"/>
                  </a:lnTo>
                  <a:lnTo>
                    <a:pt x="1376" y="117"/>
                  </a:lnTo>
                  <a:lnTo>
                    <a:pt x="1376" y="115"/>
                  </a:lnTo>
                  <a:lnTo>
                    <a:pt x="1378" y="117"/>
                  </a:lnTo>
                  <a:lnTo>
                    <a:pt x="1380" y="119"/>
                  </a:lnTo>
                  <a:lnTo>
                    <a:pt x="1378" y="121"/>
                  </a:lnTo>
                  <a:lnTo>
                    <a:pt x="1378" y="123"/>
                  </a:lnTo>
                  <a:lnTo>
                    <a:pt x="1378" y="125"/>
                  </a:lnTo>
                  <a:lnTo>
                    <a:pt x="1378" y="127"/>
                  </a:lnTo>
                  <a:lnTo>
                    <a:pt x="1378" y="129"/>
                  </a:lnTo>
                  <a:lnTo>
                    <a:pt x="1376" y="131"/>
                  </a:lnTo>
                  <a:lnTo>
                    <a:pt x="1376" y="133"/>
                  </a:lnTo>
                  <a:lnTo>
                    <a:pt x="1376" y="134"/>
                  </a:lnTo>
                  <a:lnTo>
                    <a:pt x="1376" y="136"/>
                  </a:lnTo>
                  <a:lnTo>
                    <a:pt x="1374" y="138"/>
                  </a:lnTo>
                  <a:lnTo>
                    <a:pt x="1374" y="140"/>
                  </a:lnTo>
                  <a:lnTo>
                    <a:pt x="1372" y="140"/>
                  </a:lnTo>
                  <a:lnTo>
                    <a:pt x="1370" y="138"/>
                  </a:lnTo>
                  <a:lnTo>
                    <a:pt x="1372" y="138"/>
                  </a:lnTo>
                  <a:lnTo>
                    <a:pt x="1372" y="136"/>
                  </a:lnTo>
                  <a:lnTo>
                    <a:pt x="1374" y="136"/>
                  </a:lnTo>
                  <a:lnTo>
                    <a:pt x="1374" y="134"/>
                  </a:lnTo>
                  <a:lnTo>
                    <a:pt x="1374" y="133"/>
                  </a:lnTo>
                  <a:lnTo>
                    <a:pt x="1372" y="133"/>
                  </a:lnTo>
                  <a:lnTo>
                    <a:pt x="1370" y="131"/>
                  </a:lnTo>
                  <a:lnTo>
                    <a:pt x="1369" y="131"/>
                  </a:lnTo>
                  <a:lnTo>
                    <a:pt x="1367" y="133"/>
                  </a:lnTo>
                  <a:lnTo>
                    <a:pt x="1365" y="133"/>
                  </a:lnTo>
                  <a:lnTo>
                    <a:pt x="1367" y="133"/>
                  </a:lnTo>
                  <a:lnTo>
                    <a:pt x="1367" y="131"/>
                  </a:lnTo>
                  <a:lnTo>
                    <a:pt x="1369" y="131"/>
                  </a:lnTo>
                  <a:lnTo>
                    <a:pt x="1367" y="129"/>
                  </a:lnTo>
                  <a:lnTo>
                    <a:pt x="1365" y="127"/>
                  </a:lnTo>
                  <a:lnTo>
                    <a:pt x="1363" y="127"/>
                  </a:lnTo>
                  <a:lnTo>
                    <a:pt x="1363" y="125"/>
                  </a:lnTo>
                  <a:lnTo>
                    <a:pt x="1361" y="123"/>
                  </a:lnTo>
                  <a:lnTo>
                    <a:pt x="1359" y="123"/>
                  </a:lnTo>
                  <a:lnTo>
                    <a:pt x="1359" y="121"/>
                  </a:lnTo>
                  <a:lnTo>
                    <a:pt x="1357" y="121"/>
                  </a:lnTo>
                  <a:lnTo>
                    <a:pt x="1355" y="121"/>
                  </a:lnTo>
                  <a:lnTo>
                    <a:pt x="1355" y="123"/>
                  </a:lnTo>
                  <a:lnTo>
                    <a:pt x="1357" y="123"/>
                  </a:lnTo>
                  <a:lnTo>
                    <a:pt x="1359" y="125"/>
                  </a:lnTo>
                  <a:lnTo>
                    <a:pt x="1359" y="127"/>
                  </a:lnTo>
                  <a:lnTo>
                    <a:pt x="1361" y="127"/>
                  </a:lnTo>
                  <a:lnTo>
                    <a:pt x="1363" y="127"/>
                  </a:lnTo>
                  <a:lnTo>
                    <a:pt x="1363" y="129"/>
                  </a:lnTo>
                  <a:lnTo>
                    <a:pt x="1365" y="129"/>
                  </a:lnTo>
                  <a:lnTo>
                    <a:pt x="1365" y="131"/>
                  </a:lnTo>
                  <a:lnTo>
                    <a:pt x="1363" y="131"/>
                  </a:lnTo>
                  <a:lnTo>
                    <a:pt x="1361" y="131"/>
                  </a:lnTo>
                  <a:lnTo>
                    <a:pt x="1361" y="129"/>
                  </a:lnTo>
                  <a:lnTo>
                    <a:pt x="1359" y="131"/>
                  </a:lnTo>
                  <a:lnTo>
                    <a:pt x="1361" y="131"/>
                  </a:lnTo>
                  <a:lnTo>
                    <a:pt x="1363" y="133"/>
                  </a:lnTo>
                  <a:lnTo>
                    <a:pt x="1363" y="131"/>
                  </a:lnTo>
                  <a:lnTo>
                    <a:pt x="1363" y="133"/>
                  </a:lnTo>
                  <a:lnTo>
                    <a:pt x="1363" y="134"/>
                  </a:lnTo>
                  <a:lnTo>
                    <a:pt x="1365" y="134"/>
                  </a:lnTo>
                  <a:lnTo>
                    <a:pt x="1363" y="134"/>
                  </a:lnTo>
                  <a:lnTo>
                    <a:pt x="1365" y="134"/>
                  </a:lnTo>
                  <a:lnTo>
                    <a:pt x="1363" y="136"/>
                  </a:lnTo>
                  <a:lnTo>
                    <a:pt x="1363" y="138"/>
                  </a:lnTo>
                  <a:lnTo>
                    <a:pt x="1363" y="140"/>
                  </a:lnTo>
                  <a:lnTo>
                    <a:pt x="1365" y="140"/>
                  </a:lnTo>
                  <a:lnTo>
                    <a:pt x="1367" y="138"/>
                  </a:lnTo>
                  <a:lnTo>
                    <a:pt x="1365" y="136"/>
                  </a:lnTo>
                  <a:lnTo>
                    <a:pt x="1367" y="134"/>
                  </a:lnTo>
                  <a:lnTo>
                    <a:pt x="1369" y="133"/>
                  </a:lnTo>
                  <a:lnTo>
                    <a:pt x="1370" y="133"/>
                  </a:lnTo>
                  <a:lnTo>
                    <a:pt x="1370" y="134"/>
                  </a:lnTo>
                  <a:lnTo>
                    <a:pt x="1370" y="136"/>
                  </a:lnTo>
                  <a:lnTo>
                    <a:pt x="1370" y="138"/>
                  </a:lnTo>
                  <a:lnTo>
                    <a:pt x="1370" y="140"/>
                  </a:lnTo>
                  <a:lnTo>
                    <a:pt x="1372" y="142"/>
                  </a:lnTo>
                  <a:lnTo>
                    <a:pt x="1374" y="142"/>
                  </a:lnTo>
                  <a:lnTo>
                    <a:pt x="1376" y="142"/>
                  </a:lnTo>
                  <a:lnTo>
                    <a:pt x="1376" y="144"/>
                  </a:lnTo>
                  <a:lnTo>
                    <a:pt x="1376" y="146"/>
                  </a:lnTo>
                  <a:lnTo>
                    <a:pt x="1376" y="148"/>
                  </a:lnTo>
                  <a:lnTo>
                    <a:pt x="1374" y="148"/>
                  </a:lnTo>
                  <a:lnTo>
                    <a:pt x="1374" y="150"/>
                  </a:lnTo>
                  <a:lnTo>
                    <a:pt x="1374" y="148"/>
                  </a:lnTo>
                  <a:lnTo>
                    <a:pt x="1376" y="148"/>
                  </a:lnTo>
                  <a:lnTo>
                    <a:pt x="1376" y="150"/>
                  </a:lnTo>
                  <a:lnTo>
                    <a:pt x="1376" y="152"/>
                  </a:lnTo>
                  <a:lnTo>
                    <a:pt x="1376" y="154"/>
                  </a:lnTo>
                  <a:lnTo>
                    <a:pt x="1374" y="156"/>
                  </a:lnTo>
                  <a:lnTo>
                    <a:pt x="1372" y="159"/>
                  </a:lnTo>
                  <a:lnTo>
                    <a:pt x="1370" y="161"/>
                  </a:lnTo>
                  <a:lnTo>
                    <a:pt x="1370" y="163"/>
                  </a:lnTo>
                  <a:lnTo>
                    <a:pt x="1369" y="163"/>
                  </a:lnTo>
                  <a:lnTo>
                    <a:pt x="1369" y="165"/>
                  </a:lnTo>
                  <a:lnTo>
                    <a:pt x="1367" y="167"/>
                  </a:lnTo>
                  <a:lnTo>
                    <a:pt x="1367" y="169"/>
                  </a:lnTo>
                  <a:lnTo>
                    <a:pt x="1365" y="171"/>
                  </a:lnTo>
                  <a:lnTo>
                    <a:pt x="1363" y="173"/>
                  </a:lnTo>
                  <a:lnTo>
                    <a:pt x="1363" y="175"/>
                  </a:lnTo>
                  <a:lnTo>
                    <a:pt x="1361" y="175"/>
                  </a:lnTo>
                  <a:lnTo>
                    <a:pt x="1359" y="175"/>
                  </a:lnTo>
                  <a:lnTo>
                    <a:pt x="1359" y="177"/>
                  </a:lnTo>
                  <a:lnTo>
                    <a:pt x="1359" y="175"/>
                  </a:lnTo>
                  <a:lnTo>
                    <a:pt x="1357" y="177"/>
                  </a:lnTo>
                  <a:lnTo>
                    <a:pt x="1355" y="177"/>
                  </a:lnTo>
                  <a:lnTo>
                    <a:pt x="1353" y="179"/>
                  </a:lnTo>
                  <a:lnTo>
                    <a:pt x="1353" y="177"/>
                  </a:lnTo>
                  <a:lnTo>
                    <a:pt x="1353" y="179"/>
                  </a:lnTo>
                  <a:lnTo>
                    <a:pt x="1351" y="181"/>
                  </a:lnTo>
                  <a:lnTo>
                    <a:pt x="1351" y="182"/>
                  </a:lnTo>
                  <a:lnTo>
                    <a:pt x="1351" y="184"/>
                  </a:lnTo>
                  <a:lnTo>
                    <a:pt x="1349" y="184"/>
                  </a:lnTo>
                  <a:lnTo>
                    <a:pt x="1351" y="186"/>
                  </a:lnTo>
                  <a:lnTo>
                    <a:pt x="1349" y="188"/>
                  </a:lnTo>
                  <a:lnTo>
                    <a:pt x="1347" y="190"/>
                  </a:lnTo>
                  <a:lnTo>
                    <a:pt x="1345" y="188"/>
                  </a:lnTo>
                  <a:lnTo>
                    <a:pt x="1344" y="188"/>
                  </a:lnTo>
                  <a:lnTo>
                    <a:pt x="1342" y="188"/>
                  </a:lnTo>
                  <a:lnTo>
                    <a:pt x="1342" y="190"/>
                  </a:lnTo>
                  <a:lnTo>
                    <a:pt x="1340" y="190"/>
                  </a:lnTo>
                  <a:lnTo>
                    <a:pt x="1340" y="192"/>
                  </a:lnTo>
                  <a:lnTo>
                    <a:pt x="1338" y="194"/>
                  </a:lnTo>
                  <a:lnTo>
                    <a:pt x="1336" y="196"/>
                  </a:lnTo>
                  <a:lnTo>
                    <a:pt x="1334" y="196"/>
                  </a:lnTo>
                  <a:lnTo>
                    <a:pt x="1334" y="198"/>
                  </a:lnTo>
                  <a:lnTo>
                    <a:pt x="1332" y="198"/>
                  </a:lnTo>
                  <a:lnTo>
                    <a:pt x="1330" y="200"/>
                  </a:lnTo>
                  <a:lnTo>
                    <a:pt x="1328" y="200"/>
                  </a:lnTo>
                  <a:lnTo>
                    <a:pt x="1328" y="198"/>
                  </a:lnTo>
                  <a:lnTo>
                    <a:pt x="1326" y="198"/>
                  </a:lnTo>
                  <a:lnTo>
                    <a:pt x="1324" y="200"/>
                  </a:lnTo>
                  <a:lnTo>
                    <a:pt x="1326" y="200"/>
                  </a:lnTo>
                  <a:lnTo>
                    <a:pt x="1328" y="200"/>
                  </a:lnTo>
                  <a:lnTo>
                    <a:pt x="1328" y="202"/>
                  </a:lnTo>
                  <a:lnTo>
                    <a:pt x="1328" y="204"/>
                  </a:lnTo>
                  <a:lnTo>
                    <a:pt x="1326" y="204"/>
                  </a:lnTo>
                  <a:lnTo>
                    <a:pt x="1324" y="206"/>
                  </a:lnTo>
                  <a:lnTo>
                    <a:pt x="1324" y="207"/>
                  </a:lnTo>
                  <a:lnTo>
                    <a:pt x="1322" y="207"/>
                  </a:lnTo>
                  <a:lnTo>
                    <a:pt x="1322" y="206"/>
                  </a:lnTo>
                  <a:lnTo>
                    <a:pt x="1324" y="206"/>
                  </a:lnTo>
                  <a:lnTo>
                    <a:pt x="1322" y="206"/>
                  </a:lnTo>
                  <a:lnTo>
                    <a:pt x="1321" y="207"/>
                  </a:lnTo>
                  <a:lnTo>
                    <a:pt x="1321" y="209"/>
                  </a:lnTo>
                  <a:lnTo>
                    <a:pt x="1319" y="209"/>
                  </a:lnTo>
                  <a:lnTo>
                    <a:pt x="1319" y="207"/>
                  </a:lnTo>
                  <a:lnTo>
                    <a:pt x="1319" y="209"/>
                  </a:lnTo>
                  <a:lnTo>
                    <a:pt x="1319" y="207"/>
                  </a:lnTo>
                  <a:lnTo>
                    <a:pt x="1317" y="207"/>
                  </a:lnTo>
                  <a:lnTo>
                    <a:pt x="1317" y="209"/>
                  </a:lnTo>
                  <a:lnTo>
                    <a:pt x="1315" y="209"/>
                  </a:lnTo>
                  <a:lnTo>
                    <a:pt x="1313" y="211"/>
                  </a:lnTo>
                  <a:lnTo>
                    <a:pt x="1315" y="211"/>
                  </a:lnTo>
                  <a:lnTo>
                    <a:pt x="1315" y="209"/>
                  </a:lnTo>
                  <a:lnTo>
                    <a:pt x="1317" y="209"/>
                  </a:lnTo>
                  <a:lnTo>
                    <a:pt x="1319" y="209"/>
                  </a:lnTo>
                  <a:lnTo>
                    <a:pt x="1321" y="209"/>
                  </a:lnTo>
                  <a:lnTo>
                    <a:pt x="1321" y="211"/>
                  </a:lnTo>
                  <a:lnTo>
                    <a:pt x="1321" y="213"/>
                  </a:lnTo>
                  <a:lnTo>
                    <a:pt x="1321" y="215"/>
                  </a:lnTo>
                  <a:lnTo>
                    <a:pt x="1319" y="217"/>
                  </a:lnTo>
                  <a:lnTo>
                    <a:pt x="1317" y="219"/>
                  </a:lnTo>
                  <a:lnTo>
                    <a:pt x="1317" y="221"/>
                  </a:lnTo>
                  <a:lnTo>
                    <a:pt x="1315" y="221"/>
                  </a:lnTo>
                  <a:lnTo>
                    <a:pt x="1313" y="221"/>
                  </a:lnTo>
                  <a:lnTo>
                    <a:pt x="1313" y="223"/>
                  </a:lnTo>
                  <a:lnTo>
                    <a:pt x="1311" y="223"/>
                  </a:lnTo>
                  <a:lnTo>
                    <a:pt x="1309" y="223"/>
                  </a:lnTo>
                  <a:lnTo>
                    <a:pt x="1307" y="225"/>
                  </a:lnTo>
                  <a:lnTo>
                    <a:pt x="1307" y="227"/>
                  </a:lnTo>
                  <a:lnTo>
                    <a:pt x="1305" y="227"/>
                  </a:lnTo>
                  <a:lnTo>
                    <a:pt x="1305" y="229"/>
                  </a:lnTo>
                  <a:lnTo>
                    <a:pt x="1303" y="230"/>
                  </a:lnTo>
                  <a:lnTo>
                    <a:pt x="1303" y="234"/>
                  </a:lnTo>
                  <a:lnTo>
                    <a:pt x="1301" y="234"/>
                  </a:lnTo>
                  <a:lnTo>
                    <a:pt x="1301" y="236"/>
                  </a:lnTo>
                  <a:lnTo>
                    <a:pt x="1299" y="236"/>
                  </a:lnTo>
                  <a:lnTo>
                    <a:pt x="1299" y="234"/>
                  </a:lnTo>
                  <a:lnTo>
                    <a:pt x="1298" y="234"/>
                  </a:lnTo>
                  <a:lnTo>
                    <a:pt x="1298" y="236"/>
                  </a:lnTo>
                  <a:lnTo>
                    <a:pt x="1299" y="236"/>
                  </a:lnTo>
                  <a:lnTo>
                    <a:pt x="1299" y="238"/>
                  </a:lnTo>
                  <a:lnTo>
                    <a:pt x="1299" y="240"/>
                  </a:lnTo>
                  <a:lnTo>
                    <a:pt x="1298" y="240"/>
                  </a:lnTo>
                  <a:lnTo>
                    <a:pt x="1298" y="242"/>
                  </a:lnTo>
                  <a:lnTo>
                    <a:pt x="1296" y="242"/>
                  </a:lnTo>
                  <a:lnTo>
                    <a:pt x="1296" y="244"/>
                  </a:lnTo>
                  <a:lnTo>
                    <a:pt x="1294" y="244"/>
                  </a:lnTo>
                  <a:lnTo>
                    <a:pt x="1292" y="244"/>
                  </a:lnTo>
                  <a:lnTo>
                    <a:pt x="1290" y="246"/>
                  </a:lnTo>
                  <a:lnTo>
                    <a:pt x="1288" y="246"/>
                  </a:lnTo>
                  <a:lnTo>
                    <a:pt x="1286" y="246"/>
                  </a:lnTo>
                  <a:lnTo>
                    <a:pt x="1284" y="246"/>
                  </a:lnTo>
                  <a:lnTo>
                    <a:pt x="1282" y="246"/>
                  </a:lnTo>
                  <a:lnTo>
                    <a:pt x="1280" y="246"/>
                  </a:lnTo>
                  <a:lnTo>
                    <a:pt x="1278" y="246"/>
                  </a:lnTo>
                  <a:lnTo>
                    <a:pt x="1276" y="246"/>
                  </a:lnTo>
                  <a:lnTo>
                    <a:pt x="1274" y="246"/>
                  </a:lnTo>
                  <a:lnTo>
                    <a:pt x="1274" y="244"/>
                  </a:lnTo>
                  <a:lnTo>
                    <a:pt x="1274" y="246"/>
                  </a:lnTo>
                  <a:lnTo>
                    <a:pt x="1274" y="244"/>
                  </a:lnTo>
                  <a:lnTo>
                    <a:pt x="1273" y="244"/>
                  </a:lnTo>
                  <a:lnTo>
                    <a:pt x="1271" y="244"/>
                  </a:lnTo>
                  <a:lnTo>
                    <a:pt x="1269" y="244"/>
                  </a:lnTo>
                  <a:lnTo>
                    <a:pt x="1269" y="246"/>
                  </a:lnTo>
                  <a:lnTo>
                    <a:pt x="1267" y="244"/>
                  </a:lnTo>
                  <a:lnTo>
                    <a:pt x="1265" y="244"/>
                  </a:lnTo>
                  <a:lnTo>
                    <a:pt x="1265" y="246"/>
                  </a:lnTo>
                  <a:lnTo>
                    <a:pt x="1267" y="246"/>
                  </a:lnTo>
                  <a:lnTo>
                    <a:pt x="1269" y="246"/>
                  </a:lnTo>
                  <a:lnTo>
                    <a:pt x="1271" y="246"/>
                  </a:lnTo>
                  <a:lnTo>
                    <a:pt x="1273" y="246"/>
                  </a:lnTo>
                  <a:lnTo>
                    <a:pt x="1274" y="246"/>
                  </a:lnTo>
                  <a:lnTo>
                    <a:pt x="1274" y="248"/>
                  </a:lnTo>
                  <a:lnTo>
                    <a:pt x="1276" y="248"/>
                  </a:lnTo>
                  <a:lnTo>
                    <a:pt x="1278" y="248"/>
                  </a:lnTo>
                  <a:lnTo>
                    <a:pt x="1278" y="250"/>
                  </a:lnTo>
                  <a:lnTo>
                    <a:pt x="1278" y="252"/>
                  </a:lnTo>
                  <a:lnTo>
                    <a:pt x="1278" y="254"/>
                  </a:lnTo>
                  <a:lnTo>
                    <a:pt x="1276" y="254"/>
                  </a:lnTo>
                  <a:lnTo>
                    <a:pt x="1276" y="255"/>
                  </a:lnTo>
                  <a:lnTo>
                    <a:pt x="1276" y="257"/>
                  </a:lnTo>
                  <a:lnTo>
                    <a:pt x="1276" y="259"/>
                  </a:lnTo>
                  <a:lnTo>
                    <a:pt x="1276" y="261"/>
                  </a:lnTo>
                  <a:lnTo>
                    <a:pt x="1274" y="261"/>
                  </a:lnTo>
                  <a:lnTo>
                    <a:pt x="1274" y="263"/>
                  </a:lnTo>
                  <a:lnTo>
                    <a:pt x="1273" y="263"/>
                  </a:lnTo>
                  <a:lnTo>
                    <a:pt x="1271" y="261"/>
                  </a:lnTo>
                  <a:lnTo>
                    <a:pt x="1269" y="261"/>
                  </a:lnTo>
                  <a:lnTo>
                    <a:pt x="1267" y="261"/>
                  </a:lnTo>
                  <a:lnTo>
                    <a:pt x="1267" y="263"/>
                  </a:lnTo>
                  <a:lnTo>
                    <a:pt x="1265" y="263"/>
                  </a:lnTo>
                  <a:lnTo>
                    <a:pt x="1265" y="265"/>
                  </a:lnTo>
                  <a:lnTo>
                    <a:pt x="1265" y="267"/>
                  </a:lnTo>
                  <a:lnTo>
                    <a:pt x="1265" y="269"/>
                  </a:lnTo>
                  <a:lnTo>
                    <a:pt x="1263" y="269"/>
                  </a:lnTo>
                  <a:lnTo>
                    <a:pt x="1265" y="269"/>
                  </a:lnTo>
                  <a:lnTo>
                    <a:pt x="1265" y="271"/>
                  </a:lnTo>
                  <a:lnTo>
                    <a:pt x="1263" y="271"/>
                  </a:lnTo>
                  <a:lnTo>
                    <a:pt x="1263" y="273"/>
                  </a:lnTo>
                  <a:lnTo>
                    <a:pt x="1261" y="273"/>
                  </a:lnTo>
                  <a:lnTo>
                    <a:pt x="1261" y="275"/>
                  </a:lnTo>
                  <a:lnTo>
                    <a:pt x="1263" y="275"/>
                  </a:lnTo>
                  <a:lnTo>
                    <a:pt x="1263" y="277"/>
                  </a:lnTo>
                  <a:lnTo>
                    <a:pt x="1261" y="277"/>
                  </a:lnTo>
                  <a:lnTo>
                    <a:pt x="1261" y="278"/>
                  </a:lnTo>
                  <a:lnTo>
                    <a:pt x="1261" y="280"/>
                  </a:lnTo>
                  <a:lnTo>
                    <a:pt x="1259" y="280"/>
                  </a:lnTo>
                  <a:lnTo>
                    <a:pt x="1259" y="282"/>
                  </a:lnTo>
                  <a:lnTo>
                    <a:pt x="1259" y="284"/>
                  </a:lnTo>
                  <a:lnTo>
                    <a:pt x="1257" y="284"/>
                  </a:lnTo>
                  <a:lnTo>
                    <a:pt x="1255" y="286"/>
                  </a:lnTo>
                  <a:lnTo>
                    <a:pt x="1253" y="288"/>
                  </a:lnTo>
                  <a:lnTo>
                    <a:pt x="1251" y="288"/>
                  </a:lnTo>
                  <a:lnTo>
                    <a:pt x="1253" y="290"/>
                  </a:lnTo>
                  <a:lnTo>
                    <a:pt x="1255" y="290"/>
                  </a:lnTo>
                  <a:lnTo>
                    <a:pt x="1257" y="290"/>
                  </a:lnTo>
                  <a:lnTo>
                    <a:pt x="1257" y="288"/>
                  </a:lnTo>
                  <a:lnTo>
                    <a:pt x="1259" y="288"/>
                  </a:lnTo>
                  <a:lnTo>
                    <a:pt x="1259" y="286"/>
                  </a:lnTo>
                  <a:lnTo>
                    <a:pt x="1261" y="286"/>
                  </a:lnTo>
                  <a:lnTo>
                    <a:pt x="1261" y="284"/>
                  </a:lnTo>
                  <a:lnTo>
                    <a:pt x="1263" y="286"/>
                  </a:lnTo>
                  <a:lnTo>
                    <a:pt x="1263" y="284"/>
                  </a:lnTo>
                  <a:lnTo>
                    <a:pt x="1263" y="282"/>
                  </a:lnTo>
                  <a:lnTo>
                    <a:pt x="1263" y="280"/>
                  </a:lnTo>
                  <a:lnTo>
                    <a:pt x="1265" y="280"/>
                  </a:lnTo>
                  <a:lnTo>
                    <a:pt x="1267" y="278"/>
                  </a:lnTo>
                  <a:lnTo>
                    <a:pt x="1267" y="277"/>
                  </a:lnTo>
                  <a:lnTo>
                    <a:pt x="1267" y="275"/>
                  </a:lnTo>
                  <a:lnTo>
                    <a:pt x="1267" y="273"/>
                  </a:lnTo>
                  <a:lnTo>
                    <a:pt x="1267" y="271"/>
                  </a:lnTo>
                  <a:lnTo>
                    <a:pt x="1269" y="271"/>
                  </a:lnTo>
                  <a:lnTo>
                    <a:pt x="1269" y="269"/>
                  </a:lnTo>
                  <a:lnTo>
                    <a:pt x="1271" y="269"/>
                  </a:lnTo>
                  <a:lnTo>
                    <a:pt x="1273" y="271"/>
                  </a:lnTo>
                  <a:lnTo>
                    <a:pt x="1274" y="271"/>
                  </a:lnTo>
                  <a:lnTo>
                    <a:pt x="1276" y="271"/>
                  </a:lnTo>
                  <a:lnTo>
                    <a:pt x="1278" y="271"/>
                  </a:lnTo>
                  <a:lnTo>
                    <a:pt x="1278" y="269"/>
                  </a:lnTo>
                  <a:lnTo>
                    <a:pt x="1280" y="269"/>
                  </a:lnTo>
                  <a:lnTo>
                    <a:pt x="1282" y="271"/>
                  </a:lnTo>
                  <a:lnTo>
                    <a:pt x="1284" y="271"/>
                  </a:lnTo>
                  <a:lnTo>
                    <a:pt x="1286" y="271"/>
                  </a:lnTo>
                  <a:lnTo>
                    <a:pt x="1288" y="271"/>
                  </a:lnTo>
                  <a:lnTo>
                    <a:pt x="1290" y="271"/>
                  </a:lnTo>
                  <a:lnTo>
                    <a:pt x="1290" y="269"/>
                  </a:lnTo>
                  <a:lnTo>
                    <a:pt x="1292" y="267"/>
                  </a:lnTo>
                  <a:lnTo>
                    <a:pt x="1294" y="267"/>
                  </a:lnTo>
                  <a:lnTo>
                    <a:pt x="1294" y="265"/>
                  </a:lnTo>
                  <a:lnTo>
                    <a:pt x="1294" y="267"/>
                  </a:lnTo>
                  <a:lnTo>
                    <a:pt x="1296" y="267"/>
                  </a:lnTo>
                  <a:lnTo>
                    <a:pt x="1296" y="269"/>
                  </a:lnTo>
                  <a:lnTo>
                    <a:pt x="1296" y="271"/>
                  </a:lnTo>
                  <a:lnTo>
                    <a:pt x="1298" y="273"/>
                  </a:lnTo>
                  <a:lnTo>
                    <a:pt x="1299" y="273"/>
                  </a:lnTo>
                  <a:lnTo>
                    <a:pt x="1298" y="271"/>
                  </a:lnTo>
                  <a:lnTo>
                    <a:pt x="1299" y="271"/>
                  </a:lnTo>
                  <a:lnTo>
                    <a:pt x="1298" y="269"/>
                  </a:lnTo>
                  <a:lnTo>
                    <a:pt x="1299" y="269"/>
                  </a:lnTo>
                  <a:lnTo>
                    <a:pt x="1298" y="267"/>
                  </a:lnTo>
                  <a:lnTo>
                    <a:pt x="1299" y="267"/>
                  </a:lnTo>
                  <a:lnTo>
                    <a:pt x="1299" y="265"/>
                  </a:lnTo>
                  <a:lnTo>
                    <a:pt x="1301" y="265"/>
                  </a:lnTo>
                  <a:lnTo>
                    <a:pt x="1299" y="265"/>
                  </a:lnTo>
                  <a:lnTo>
                    <a:pt x="1298" y="265"/>
                  </a:lnTo>
                  <a:lnTo>
                    <a:pt x="1296" y="265"/>
                  </a:lnTo>
                  <a:lnTo>
                    <a:pt x="1296" y="263"/>
                  </a:lnTo>
                  <a:lnTo>
                    <a:pt x="1299" y="263"/>
                  </a:lnTo>
                  <a:lnTo>
                    <a:pt x="1299" y="261"/>
                  </a:lnTo>
                  <a:lnTo>
                    <a:pt x="1301" y="261"/>
                  </a:lnTo>
                  <a:lnTo>
                    <a:pt x="1303" y="261"/>
                  </a:lnTo>
                  <a:lnTo>
                    <a:pt x="1305" y="261"/>
                  </a:lnTo>
                  <a:lnTo>
                    <a:pt x="1305" y="259"/>
                  </a:lnTo>
                  <a:lnTo>
                    <a:pt x="1307" y="259"/>
                  </a:lnTo>
                  <a:lnTo>
                    <a:pt x="1309" y="259"/>
                  </a:lnTo>
                  <a:lnTo>
                    <a:pt x="1309" y="257"/>
                  </a:lnTo>
                  <a:lnTo>
                    <a:pt x="1311" y="257"/>
                  </a:lnTo>
                  <a:lnTo>
                    <a:pt x="1311" y="255"/>
                  </a:lnTo>
                  <a:lnTo>
                    <a:pt x="1311" y="254"/>
                  </a:lnTo>
                  <a:lnTo>
                    <a:pt x="1311" y="255"/>
                  </a:lnTo>
                  <a:lnTo>
                    <a:pt x="1313" y="255"/>
                  </a:lnTo>
                  <a:lnTo>
                    <a:pt x="1313" y="257"/>
                  </a:lnTo>
                  <a:lnTo>
                    <a:pt x="1315" y="257"/>
                  </a:lnTo>
                  <a:lnTo>
                    <a:pt x="1315" y="255"/>
                  </a:lnTo>
                  <a:lnTo>
                    <a:pt x="1317" y="255"/>
                  </a:lnTo>
                  <a:lnTo>
                    <a:pt x="1319" y="255"/>
                  </a:lnTo>
                  <a:lnTo>
                    <a:pt x="1321" y="255"/>
                  </a:lnTo>
                  <a:lnTo>
                    <a:pt x="1321" y="254"/>
                  </a:lnTo>
                  <a:lnTo>
                    <a:pt x="1321" y="252"/>
                  </a:lnTo>
                  <a:lnTo>
                    <a:pt x="1322" y="252"/>
                  </a:lnTo>
                  <a:lnTo>
                    <a:pt x="1324" y="252"/>
                  </a:lnTo>
                  <a:lnTo>
                    <a:pt x="1324" y="250"/>
                  </a:lnTo>
                  <a:lnTo>
                    <a:pt x="1322" y="250"/>
                  </a:lnTo>
                  <a:lnTo>
                    <a:pt x="1324" y="248"/>
                  </a:lnTo>
                  <a:lnTo>
                    <a:pt x="1324" y="250"/>
                  </a:lnTo>
                  <a:lnTo>
                    <a:pt x="1326" y="248"/>
                  </a:lnTo>
                  <a:lnTo>
                    <a:pt x="1328" y="248"/>
                  </a:lnTo>
                  <a:lnTo>
                    <a:pt x="1326" y="248"/>
                  </a:lnTo>
                  <a:lnTo>
                    <a:pt x="1326" y="246"/>
                  </a:lnTo>
                  <a:lnTo>
                    <a:pt x="1328" y="246"/>
                  </a:lnTo>
                  <a:lnTo>
                    <a:pt x="1328" y="244"/>
                  </a:lnTo>
                  <a:lnTo>
                    <a:pt x="1330" y="246"/>
                  </a:lnTo>
                  <a:lnTo>
                    <a:pt x="1330" y="244"/>
                  </a:lnTo>
                  <a:lnTo>
                    <a:pt x="1332" y="244"/>
                  </a:lnTo>
                  <a:lnTo>
                    <a:pt x="1334" y="244"/>
                  </a:lnTo>
                  <a:lnTo>
                    <a:pt x="1334" y="242"/>
                  </a:lnTo>
                  <a:lnTo>
                    <a:pt x="1334" y="244"/>
                  </a:lnTo>
                  <a:lnTo>
                    <a:pt x="1334" y="242"/>
                  </a:lnTo>
                  <a:lnTo>
                    <a:pt x="1334" y="240"/>
                  </a:lnTo>
                  <a:lnTo>
                    <a:pt x="1334" y="238"/>
                  </a:lnTo>
                  <a:lnTo>
                    <a:pt x="1332" y="238"/>
                  </a:lnTo>
                  <a:lnTo>
                    <a:pt x="1332" y="236"/>
                  </a:lnTo>
                  <a:lnTo>
                    <a:pt x="1330" y="238"/>
                  </a:lnTo>
                  <a:lnTo>
                    <a:pt x="1328" y="238"/>
                  </a:lnTo>
                  <a:lnTo>
                    <a:pt x="1328" y="240"/>
                  </a:lnTo>
                  <a:lnTo>
                    <a:pt x="1326" y="242"/>
                  </a:lnTo>
                  <a:lnTo>
                    <a:pt x="1324" y="242"/>
                  </a:lnTo>
                  <a:lnTo>
                    <a:pt x="1322" y="242"/>
                  </a:lnTo>
                  <a:lnTo>
                    <a:pt x="1321" y="242"/>
                  </a:lnTo>
                  <a:lnTo>
                    <a:pt x="1319" y="242"/>
                  </a:lnTo>
                  <a:lnTo>
                    <a:pt x="1319" y="244"/>
                  </a:lnTo>
                  <a:lnTo>
                    <a:pt x="1317" y="244"/>
                  </a:lnTo>
                  <a:lnTo>
                    <a:pt x="1317" y="242"/>
                  </a:lnTo>
                  <a:lnTo>
                    <a:pt x="1317" y="240"/>
                  </a:lnTo>
                  <a:lnTo>
                    <a:pt x="1315" y="240"/>
                  </a:lnTo>
                  <a:lnTo>
                    <a:pt x="1315" y="238"/>
                  </a:lnTo>
                  <a:lnTo>
                    <a:pt x="1315" y="236"/>
                  </a:lnTo>
                  <a:lnTo>
                    <a:pt x="1315" y="234"/>
                  </a:lnTo>
                  <a:lnTo>
                    <a:pt x="1317" y="234"/>
                  </a:lnTo>
                  <a:lnTo>
                    <a:pt x="1319" y="232"/>
                  </a:lnTo>
                  <a:lnTo>
                    <a:pt x="1321" y="230"/>
                  </a:lnTo>
                  <a:lnTo>
                    <a:pt x="1321" y="229"/>
                  </a:lnTo>
                  <a:lnTo>
                    <a:pt x="1321" y="227"/>
                  </a:lnTo>
                  <a:lnTo>
                    <a:pt x="1322" y="225"/>
                  </a:lnTo>
                  <a:lnTo>
                    <a:pt x="1326" y="225"/>
                  </a:lnTo>
                  <a:lnTo>
                    <a:pt x="1328" y="225"/>
                  </a:lnTo>
                  <a:lnTo>
                    <a:pt x="1328" y="227"/>
                  </a:lnTo>
                  <a:lnTo>
                    <a:pt x="1330" y="227"/>
                  </a:lnTo>
                  <a:lnTo>
                    <a:pt x="1332" y="227"/>
                  </a:lnTo>
                  <a:lnTo>
                    <a:pt x="1332" y="229"/>
                  </a:lnTo>
                  <a:lnTo>
                    <a:pt x="1334" y="229"/>
                  </a:lnTo>
                  <a:lnTo>
                    <a:pt x="1334" y="230"/>
                  </a:lnTo>
                  <a:lnTo>
                    <a:pt x="1336" y="230"/>
                  </a:lnTo>
                  <a:lnTo>
                    <a:pt x="1338" y="230"/>
                  </a:lnTo>
                  <a:lnTo>
                    <a:pt x="1338" y="229"/>
                  </a:lnTo>
                  <a:lnTo>
                    <a:pt x="1338" y="227"/>
                  </a:lnTo>
                  <a:lnTo>
                    <a:pt x="1338" y="225"/>
                  </a:lnTo>
                  <a:lnTo>
                    <a:pt x="1340" y="223"/>
                  </a:lnTo>
                  <a:lnTo>
                    <a:pt x="1342" y="223"/>
                  </a:lnTo>
                  <a:lnTo>
                    <a:pt x="1344" y="223"/>
                  </a:lnTo>
                  <a:lnTo>
                    <a:pt x="1344" y="225"/>
                  </a:lnTo>
                  <a:lnTo>
                    <a:pt x="1345" y="225"/>
                  </a:lnTo>
                  <a:lnTo>
                    <a:pt x="1344" y="225"/>
                  </a:lnTo>
                  <a:lnTo>
                    <a:pt x="1344" y="227"/>
                  </a:lnTo>
                  <a:lnTo>
                    <a:pt x="1342" y="227"/>
                  </a:lnTo>
                  <a:lnTo>
                    <a:pt x="1340" y="227"/>
                  </a:lnTo>
                  <a:lnTo>
                    <a:pt x="1340" y="229"/>
                  </a:lnTo>
                  <a:lnTo>
                    <a:pt x="1340" y="230"/>
                  </a:lnTo>
                  <a:lnTo>
                    <a:pt x="1340" y="232"/>
                  </a:lnTo>
                  <a:lnTo>
                    <a:pt x="1342" y="234"/>
                  </a:lnTo>
                  <a:lnTo>
                    <a:pt x="1344" y="236"/>
                  </a:lnTo>
                  <a:lnTo>
                    <a:pt x="1344" y="238"/>
                  </a:lnTo>
                  <a:lnTo>
                    <a:pt x="1345" y="238"/>
                  </a:lnTo>
                  <a:lnTo>
                    <a:pt x="1347" y="240"/>
                  </a:lnTo>
                  <a:lnTo>
                    <a:pt x="1349" y="240"/>
                  </a:lnTo>
                  <a:lnTo>
                    <a:pt x="1351" y="240"/>
                  </a:lnTo>
                  <a:lnTo>
                    <a:pt x="1353" y="242"/>
                  </a:lnTo>
                  <a:lnTo>
                    <a:pt x="1355" y="242"/>
                  </a:lnTo>
                  <a:lnTo>
                    <a:pt x="1357" y="242"/>
                  </a:lnTo>
                  <a:lnTo>
                    <a:pt x="1359" y="242"/>
                  </a:lnTo>
                  <a:lnTo>
                    <a:pt x="1361" y="242"/>
                  </a:lnTo>
                  <a:lnTo>
                    <a:pt x="1361" y="240"/>
                  </a:lnTo>
                  <a:lnTo>
                    <a:pt x="1363" y="240"/>
                  </a:lnTo>
                  <a:lnTo>
                    <a:pt x="1365" y="240"/>
                  </a:lnTo>
                  <a:lnTo>
                    <a:pt x="1365" y="238"/>
                  </a:lnTo>
                  <a:lnTo>
                    <a:pt x="1365" y="236"/>
                  </a:lnTo>
                  <a:lnTo>
                    <a:pt x="1365" y="234"/>
                  </a:lnTo>
                  <a:lnTo>
                    <a:pt x="1365" y="232"/>
                  </a:lnTo>
                  <a:lnTo>
                    <a:pt x="1363" y="230"/>
                  </a:lnTo>
                  <a:lnTo>
                    <a:pt x="1363" y="227"/>
                  </a:lnTo>
                  <a:lnTo>
                    <a:pt x="1365" y="229"/>
                  </a:lnTo>
                  <a:lnTo>
                    <a:pt x="1365" y="230"/>
                  </a:lnTo>
                  <a:lnTo>
                    <a:pt x="1367" y="230"/>
                  </a:lnTo>
                  <a:lnTo>
                    <a:pt x="1367" y="232"/>
                  </a:lnTo>
                  <a:lnTo>
                    <a:pt x="1369" y="232"/>
                  </a:lnTo>
                  <a:lnTo>
                    <a:pt x="1369" y="234"/>
                  </a:lnTo>
                  <a:lnTo>
                    <a:pt x="1369" y="236"/>
                  </a:lnTo>
                  <a:lnTo>
                    <a:pt x="1369" y="238"/>
                  </a:lnTo>
                  <a:lnTo>
                    <a:pt x="1370" y="238"/>
                  </a:lnTo>
                  <a:lnTo>
                    <a:pt x="1370" y="240"/>
                  </a:lnTo>
                  <a:lnTo>
                    <a:pt x="1370" y="242"/>
                  </a:lnTo>
                  <a:lnTo>
                    <a:pt x="1372" y="242"/>
                  </a:lnTo>
                  <a:lnTo>
                    <a:pt x="1372" y="244"/>
                  </a:lnTo>
                  <a:lnTo>
                    <a:pt x="1372" y="246"/>
                  </a:lnTo>
                  <a:lnTo>
                    <a:pt x="1372" y="248"/>
                  </a:lnTo>
                  <a:lnTo>
                    <a:pt x="1370" y="248"/>
                  </a:lnTo>
                  <a:lnTo>
                    <a:pt x="1370" y="250"/>
                  </a:lnTo>
                  <a:lnTo>
                    <a:pt x="1369" y="254"/>
                  </a:lnTo>
                  <a:lnTo>
                    <a:pt x="1369" y="255"/>
                  </a:lnTo>
                  <a:lnTo>
                    <a:pt x="1370" y="255"/>
                  </a:lnTo>
                  <a:lnTo>
                    <a:pt x="1370" y="257"/>
                  </a:lnTo>
                  <a:lnTo>
                    <a:pt x="1370" y="259"/>
                  </a:lnTo>
                  <a:lnTo>
                    <a:pt x="1372" y="259"/>
                  </a:lnTo>
                  <a:lnTo>
                    <a:pt x="1374" y="259"/>
                  </a:lnTo>
                  <a:lnTo>
                    <a:pt x="1374" y="261"/>
                  </a:lnTo>
                  <a:lnTo>
                    <a:pt x="1374" y="263"/>
                  </a:lnTo>
                  <a:lnTo>
                    <a:pt x="1372" y="265"/>
                  </a:lnTo>
                  <a:lnTo>
                    <a:pt x="1374" y="265"/>
                  </a:lnTo>
                  <a:lnTo>
                    <a:pt x="1376" y="263"/>
                  </a:lnTo>
                  <a:lnTo>
                    <a:pt x="1376" y="261"/>
                  </a:lnTo>
                  <a:lnTo>
                    <a:pt x="1378" y="261"/>
                  </a:lnTo>
                  <a:lnTo>
                    <a:pt x="1380" y="261"/>
                  </a:lnTo>
                  <a:lnTo>
                    <a:pt x="1382" y="259"/>
                  </a:lnTo>
                  <a:lnTo>
                    <a:pt x="1380" y="259"/>
                  </a:lnTo>
                  <a:lnTo>
                    <a:pt x="1378" y="259"/>
                  </a:lnTo>
                  <a:lnTo>
                    <a:pt x="1376" y="257"/>
                  </a:lnTo>
                  <a:lnTo>
                    <a:pt x="1374" y="255"/>
                  </a:lnTo>
                  <a:lnTo>
                    <a:pt x="1374" y="254"/>
                  </a:lnTo>
                  <a:lnTo>
                    <a:pt x="1374" y="252"/>
                  </a:lnTo>
                  <a:lnTo>
                    <a:pt x="1372" y="252"/>
                  </a:lnTo>
                  <a:lnTo>
                    <a:pt x="1374" y="252"/>
                  </a:lnTo>
                  <a:lnTo>
                    <a:pt x="1376" y="250"/>
                  </a:lnTo>
                  <a:lnTo>
                    <a:pt x="1378" y="250"/>
                  </a:lnTo>
                  <a:lnTo>
                    <a:pt x="1380" y="250"/>
                  </a:lnTo>
                  <a:lnTo>
                    <a:pt x="1382" y="248"/>
                  </a:lnTo>
                  <a:lnTo>
                    <a:pt x="1384" y="248"/>
                  </a:lnTo>
                  <a:lnTo>
                    <a:pt x="1384" y="246"/>
                  </a:lnTo>
                  <a:lnTo>
                    <a:pt x="1386" y="246"/>
                  </a:lnTo>
                  <a:lnTo>
                    <a:pt x="1386" y="248"/>
                  </a:lnTo>
                  <a:lnTo>
                    <a:pt x="1388" y="248"/>
                  </a:lnTo>
                  <a:lnTo>
                    <a:pt x="1390" y="248"/>
                  </a:lnTo>
                  <a:lnTo>
                    <a:pt x="1392" y="248"/>
                  </a:lnTo>
                  <a:lnTo>
                    <a:pt x="1393" y="246"/>
                  </a:lnTo>
                  <a:lnTo>
                    <a:pt x="1395" y="246"/>
                  </a:lnTo>
                  <a:lnTo>
                    <a:pt x="1395" y="244"/>
                  </a:lnTo>
                  <a:lnTo>
                    <a:pt x="1397" y="244"/>
                  </a:lnTo>
                  <a:lnTo>
                    <a:pt x="1395" y="244"/>
                  </a:lnTo>
                  <a:lnTo>
                    <a:pt x="1397" y="244"/>
                  </a:lnTo>
                  <a:lnTo>
                    <a:pt x="1397" y="242"/>
                  </a:lnTo>
                  <a:lnTo>
                    <a:pt x="1399" y="242"/>
                  </a:lnTo>
                  <a:lnTo>
                    <a:pt x="1401" y="242"/>
                  </a:lnTo>
                  <a:lnTo>
                    <a:pt x="1403" y="240"/>
                  </a:lnTo>
                  <a:lnTo>
                    <a:pt x="1403" y="242"/>
                  </a:lnTo>
                  <a:lnTo>
                    <a:pt x="1405" y="242"/>
                  </a:lnTo>
                  <a:lnTo>
                    <a:pt x="1407" y="242"/>
                  </a:lnTo>
                  <a:lnTo>
                    <a:pt x="1409" y="242"/>
                  </a:lnTo>
                  <a:lnTo>
                    <a:pt x="1411" y="242"/>
                  </a:lnTo>
                  <a:lnTo>
                    <a:pt x="1411" y="244"/>
                  </a:lnTo>
                  <a:lnTo>
                    <a:pt x="1413" y="244"/>
                  </a:lnTo>
                  <a:lnTo>
                    <a:pt x="1415" y="244"/>
                  </a:lnTo>
                  <a:lnTo>
                    <a:pt x="1416" y="244"/>
                  </a:lnTo>
                  <a:lnTo>
                    <a:pt x="1418" y="244"/>
                  </a:lnTo>
                  <a:lnTo>
                    <a:pt x="1420" y="244"/>
                  </a:lnTo>
                  <a:lnTo>
                    <a:pt x="1422" y="244"/>
                  </a:lnTo>
                  <a:lnTo>
                    <a:pt x="1422" y="246"/>
                  </a:lnTo>
                  <a:lnTo>
                    <a:pt x="1424" y="246"/>
                  </a:lnTo>
                  <a:lnTo>
                    <a:pt x="1426" y="246"/>
                  </a:lnTo>
                  <a:lnTo>
                    <a:pt x="1428" y="248"/>
                  </a:lnTo>
                  <a:lnTo>
                    <a:pt x="1430" y="248"/>
                  </a:lnTo>
                  <a:lnTo>
                    <a:pt x="1432" y="248"/>
                  </a:lnTo>
                  <a:lnTo>
                    <a:pt x="1434" y="248"/>
                  </a:lnTo>
                  <a:lnTo>
                    <a:pt x="1432" y="248"/>
                  </a:lnTo>
                  <a:lnTo>
                    <a:pt x="1434" y="248"/>
                  </a:lnTo>
                  <a:lnTo>
                    <a:pt x="1436" y="248"/>
                  </a:lnTo>
                  <a:lnTo>
                    <a:pt x="1438" y="248"/>
                  </a:lnTo>
                  <a:lnTo>
                    <a:pt x="1440" y="248"/>
                  </a:lnTo>
                  <a:lnTo>
                    <a:pt x="1441" y="248"/>
                  </a:lnTo>
                  <a:lnTo>
                    <a:pt x="1443" y="248"/>
                  </a:lnTo>
                  <a:lnTo>
                    <a:pt x="1445" y="248"/>
                  </a:lnTo>
                  <a:lnTo>
                    <a:pt x="1447" y="248"/>
                  </a:lnTo>
                  <a:lnTo>
                    <a:pt x="1449" y="250"/>
                  </a:lnTo>
                  <a:lnTo>
                    <a:pt x="1451" y="250"/>
                  </a:lnTo>
                  <a:lnTo>
                    <a:pt x="1451" y="252"/>
                  </a:lnTo>
                  <a:lnTo>
                    <a:pt x="1453" y="254"/>
                  </a:lnTo>
                  <a:lnTo>
                    <a:pt x="1453" y="255"/>
                  </a:lnTo>
                  <a:lnTo>
                    <a:pt x="1451" y="255"/>
                  </a:lnTo>
                  <a:lnTo>
                    <a:pt x="1449" y="255"/>
                  </a:lnTo>
                  <a:lnTo>
                    <a:pt x="1449" y="254"/>
                  </a:lnTo>
                  <a:lnTo>
                    <a:pt x="1447" y="254"/>
                  </a:lnTo>
                  <a:lnTo>
                    <a:pt x="1447" y="255"/>
                  </a:lnTo>
                  <a:lnTo>
                    <a:pt x="1445" y="255"/>
                  </a:lnTo>
                  <a:lnTo>
                    <a:pt x="1445" y="257"/>
                  </a:lnTo>
                  <a:lnTo>
                    <a:pt x="1445" y="259"/>
                  </a:lnTo>
                  <a:lnTo>
                    <a:pt x="1445" y="261"/>
                  </a:lnTo>
                  <a:lnTo>
                    <a:pt x="1445" y="263"/>
                  </a:lnTo>
                  <a:lnTo>
                    <a:pt x="1445" y="261"/>
                  </a:lnTo>
                  <a:lnTo>
                    <a:pt x="1443" y="263"/>
                  </a:lnTo>
                  <a:lnTo>
                    <a:pt x="1445" y="263"/>
                  </a:lnTo>
                  <a:lnTo>
                    <a:pt x="1445" y="265"/>
                  </a:lnTo>
                  <a:lnTo>
                    <a:pt x="1445" y="267"/>
                  </a:lnTo>
                  <a:lnTo>
                    <a:pt x="1447" y="269"/>
                  </a:lnTo>
                  <a:lnTo>
                    <a:pt x="1449" y="269"/>
                  </a:lnTo>
                  <a:lnTo>
                    <a:pt x="1451" y="271"/>
                  </a:lnTo>
                  <a:lnTo>
                    <a:pt x="1453" y="271"/>
                  </a:lnTo>
                  <a:lnTo>
                    <a:pt x="1455" y="273"/>
                  </a:lnTo>
                  <a:lnTo>
                    <a:pt x="1457" y="273"/>
                  </a:lnTo>
                  <a:lnTo>
                    <a:pt x="1457" y="271"/>
                  </a:lnTo>
                  <a:lnTo>
                    <a:pt x="1459" y="271"/>
                  </a:lnTo>
                  <a:lnTo>
                    <a:pt x="1459" y="273"/>
                  </a:lnTo>
                  <a:lnTo>
                    <a:pt x="1459" y="271"/>
                  </a:lnTo>
                  <a:lnTo>
                    <a:pt x="1461" y="273"/>
                  </a:lnTo>
                  <a:lnTo>
                    <a:pt x="1461" y="271"/>
                  </a:lnTo>
                  <a:lnTo>
                    <a:pt x="1463" y="271"/>
                  </a:lnTo>
                  <a:lnTo>
                    <a:pt x="1463" y="269"/>
                  </a:lnTo>
                  <a:lnTo>
                    <a:pt x="1464" y="269"/>
                  </a:lnTo>
                  <a:lnTo>
                    <a:pt x="1466" y="269"/>
                  </a:lnTo>
                  <a:lnTo>
                    <a:pt x="1468" y="269"/>
                  </a:lnTo>
                  <a:lnTo>
                    <a:pt x="1470" y="269"/>
                  </a:lnTo>
                  <a:lnTo>
                    <a:pt x="1472" y="269"/>
                  </a:lnTo>
                  <a:lnTo>
                    <a:pt x="1472" y="271"/>
                  </a:lnTo>
                  <a:lnTo>
                    <a:pt x="1474" y="273"/>
                  </a:lnTo>
                  <a:lnTo>
                    <a:pt x="1474" y="275"/>
                  </a:lnTo>
                  <a:lnTo>
                    <a:pt x="1476" y="275"/>
                  </a:lnTo>
                  <a:lnTo>
                    <a:pt x="1474" y="277"/>
                  </a:lnTo>
                  <a:lnTo>
                    <a:pt x="1472" y="277"/>
                  </a:lnTo>
                  <a:lnTo>
                    <a:pt x="1474" y="277"/>
                  </a:lnTo>
                  <a:lnTo>
                    <a:pt x="1474" y="278"/>
                  </a:lnTo>
                  <a:lnTo>
                    <a:pt x="1476" y="278"/>
                  </a:lnTo>
                  <a:lnTo>
                    <a:pt x="1478" y="278"/>
                  </a:lnTo>
                  <a:lnTo>
                    <a:pt x="1480" y="278"/>
                  </a:lnTo>
                  <a:lnTo>
                    <a:pt x="1480" y="280"/>
                  </a:lnTo>
                  <a:lnTo>
                    <a:pt x="1482" y="280"/>
                  </a:lnTo>
                  <a:lnTo>
                    <a:pt x="1484" y="280"/>
                  </a:lnTo>
                  <a:lnTo>
                    <a:pt x="1486" y="280"/>
                  </a:lnTo>
                  <a:lnTo>
                    <a:pt x="1488" y="280"/>
                  </a:lnTo>
                  <a:lnTo>
                    <a:pt x="1488" y="278"/>
                  </a:lnTo>
                  <a:lnTo>
                    <a:pt x="1489" y="278"/>
                  </a:lnTo>
                  <a:lnTo>
                    <a:pt x="1491" y="278"/>
                  </a:lnTo>
                  <a:lnTo>
                    <a:pt x="1493" y="278"/>
                  </a:lnTo>
                  <a:lnTo>
                    <a:pt x="1495" y="280"/>
                  </a:lnTo>
                  <a:lnTo>
                    <a:pt x="1495" y="278"/>
                  </a:lnTo>
                  <a:lnTo>
                    <a:pt x="1495" y="280"/>
                  </a:lnTo>
                  <a:lnTo>
                    <a:pt x="1497" y="280"/>
                  </a:lnTo>
                  <a:lnTo>
                    <a:pt x="1497" y="278"/>
                  </a:lnTo>
                  <a:lnTo>
                    <a:pt x="1497" y="280"/>
                  </a:lnTo>
                  <a:lnTo>
                    <a:pt x="1499" y="280"/>
                  </a:lnTo>
                  <a:lnTo>
                    <a:pt x="1499" y="278"/>
                  </a:lnTo>
                  <a:lnTo>
                    <a:pt x="1501" y="278"/>
                  </a:lnTo>
                  <a:lnTo>
                    <a:pt x="1499" y="277"/>
                  </a:lnTo>
                  <a:lnTo>
                    <a:pt x="1499" y="275"/>
                  </a:lnTo>
                  <a:lnTo>
                    <a:pt x="1501" y="275"/>
                  </a:lnTo>
                  <a:lnTo>
                    <a:pt x="1501" y="273"/>
                  </a:lnTo>
                  <a:lnTo>
                    <a:pt x="1503" y="273"/>
                  </a:lnTo>
                  <a:lnTo>
                    <a:pt x="1503" y="275"/>
                  </a:lnTo>
                  <a:lnTo>
                    <a:pt x="1505" y="275"/>
                  </a:lnTo>
                  <a:lnTo>
                    <a:pt x="1505" y="273"/>
                  </a:lnTo>
                  <a:lnTo>
                    <a:pt x="1507" y="273"/>
                  </a:lnTo>
                  <a:lnTo>
                    <a:pt x="1509" y="273"/>
                  </a:lnTo>
                  <a:lnTo>
                    <a:pt x="1511" y="273"/>
                  </a:lnTo>
                  <a:lnTo>
                    <a:pt x="1511" y="275"/>
                  </a:lnTo>
                  <a:lnTo>
                    <a:pt x="1509" y="275"/>
                  </a:lnTo>
                  <a:lnTo>
                    <a:pt x="1507" y="273"/>
                  </a:lnTo>
                  <a:lnTo>
                    <a:pt x="1505" y="275"/>
                  </a:lnTo>
                  <a:lnTo>
                    <a:pt x="1507" y="275"/>
                  </a:lnTo>
                  <a:lnTo>
                    <a:pt x="1507" y="277"/>
                  </a:lnTo>
                  <a:lnTo>
                    <a:pt x="1509" y="278"/>
                  </a:lnTo>
                  <a:lnTo>
                    <a:pt x="1511" y="278"/>
                  </a:lnTo>
                  <a:lnTo>
                    <a:pt x="1511" y="280"/>
                  </a:lnTo>
                  <a:lnTo>
                    <a:pt x="1512" y="280"/>
                  </a:lnTo>
                  <a:lnTo>
                    <a:pt x="1514" y="280"/>
                  </a:lnTo>
                  <a:lnTo>
                    <a:pt x="1514" y="282"/>
                  </a:lnTo>
                  <a:lnTo>
                    <a:pt x="1516" y="282"/>
                  </a:lnTo>
                  <a:lnTo>
                    <a:pt x="1516" y="280"/>
                  </a:lnTo>
                  <a:lnTo>
                    <a:pt x="1518" y="280"/>
                  </a:lnTo>
                  <a:lnTo>
                    <a:pt x="1518" y="278"/>
                  </a:lnTo>
                  <a:lnTo>
                    <a:pt x="1518" y="277"/>
                  </a:lnTo>
                  <a:lnTo>
                    <a:pt x="1518" y="275"/>
                  </a:lnTo>
                  <a:lnTo>
                    <a:pt x="1518" y="273"/>
                  </a:lnTo>
                  <a:lnTo>
                    <a:pt x="1520" y="271"/>
                  </a:lnTo>
                  <a:lnTo>
                    <a:pt x="1520" y="273"/>
                  </a:lnTo>
                  <a:lnTo>
                    <a:pt x="1518" y="273"/>
                  </a:lnTo>
                  <a:lnTo>
                    <a:pt x="1520" y="273"/>
                  </a:lnTo>
                  <a:lnTo>
                    <a:pt x="1520" y="271"/>
                  </a:lnTo>
                  <a:lnTo>
                    <a:pt x="1520" y="273"/>
                  </a:lnTo>
                  <a:lnTo>
                    <a:pt x="1522" y="273"/>
                  </a:lnTo>
                  <a:lnTo>
                    <a:pt x="1522" y="271"/>
                  </a:lnTo>
                  <a:lnTo>
                    <a:pt x="1520" y="271"/>
                  </a:lnTo>
                  <a:lnTo>
                    <a:pt x="1520" y="269"/>
                  </a:lnTo>
                  <a:lnTo>
                    <a:pt x="1518" y="269"/>
                  </a:lnTo>
                  <a:lnTo>
                    <a:pt x="1520" y="269"/>
                  </a:lnTo>
                  <a:lnTo>
                    <a:pt x="1522" y="267"/>
                  </a:lnTo>
                  <a:lnTo>
                    <a:pt x="1522" y="269"/>
                  </a:lnTo>
                  <a:lnTo>
                    <a:pt x="1522" y="267"/>
                  </a:lnTo>
                  <a:lnTo>
                    <a:pt x="1522" y="269"/>
                  </a:lnTo>
                  <a:lnTo>
                    <a:pt x="1522" y="267"/>
                  </a:lnTo>
                  <a:lnTo>
                    <a:pt x="1520" y="265"/>
                  </a:lnTo>
                  <a:lnTo>
                    <a:pt x="1520" y="267"/>
                  </a:lnTo>
                  <a:lnTo>
                    <a:pt x="1520" y="265"/>
                  </a:lnTo>
                  <a:lnTo>
                    <a:pt x="1520" y="263"/>
                  </a:lnTo>
                  <a:lnTo>
                    <a:pt x="1518" y="263"/>
                  </a:lnTo>
                  <a:lnTo>
                    <a:pt x="1520" y="261"/>
                  </a:lnTo>
                  <a:lnTo>
                    <a:pt x="1518" y="261"/>
                  </a:lnTo>
                  <a:lnTo>
                    <a:pt x="1518" y="259"/>
                  </a:lnTo>
                  <a:lnTo>
                    <a:pt x="1520" y="259"/>
                  </a:lnTo>
                  <a:lnTo>
                    <a:pt x="1520" y="257"/>
                  </a:lnTo>
                  <a:lnTo>
                    <a:pt x="1518" y="257"/>
                  </a:lnTo>
                  <a:lnTo>
                    <a:pt x="1516" y="257"/>
                  </a:lnTo>
                  <a:lnTo>
                    <a:pt x="1516" y="255"/>
                  </a:lnTo>
                  <a:lnTo>
                    <a:pt x="1516" y="257"/>
                  </a:lnTo>
                  <a:lnTo>
                    <a:pt x="1518" y="257"/>
                  </a:lnTo>
                  <a:lnTo>
                    <a:pt x="1516" y="255"/>
                  </a:lnTo>
                  <a:lnTo>
                    <a:pt x="1518" y="254"/>
                  </a:lnTo>
                  <a:lnTo>
                    <a:pt x="1518" y="255"/>
                  </a:lnTo>
                  <a:lnTo>
                    <a:pt x="1518" y="257"/>
                  </a:lnTo>
                  <a:lnTo>
                    <a:pt x="1520" y="257"/>
                  </a:lnTo>
                  <a:lnTo>
                    <a:pt x="1520" y="255"/>
                  </a:lnTo>
                  <a:lnTo>
                    <a:pt x="1518" y="257"/>
                  </a:lnTo>
                  <a:lnTo>
                    <a:pt x="1518" y="255"/>
                  </a:lnTo>
                  <a:lnTo>
                    <a:pt x="1518" y="254"/>
                  </a:lnTo>
                  <a:lnTo>
                    <a:pt x="1516" y="254"/>
                  </a:lnTo>
                  <a:lnTo>
                    <a:pt x="1518" y="252"/>
                  </a:lnTo>
                  <a:lnTo>
                    <a:pt x="1516" y="252"/>
                  </a:lnTo>
                  <a:lnTo>
                    <a:pt x="1516" y="250"/>
                  </a:lnTo>
                  <a:lnTo>
                    <a:pt x="1518" y="250"/>
                  </a:lnTo>
                  <a:lnTo>
                    <a:pt x="1518" y="248"/>
                  </a:lnTo>
                  <a:lnTo>
                    <a:pt x="1518" y="250"/>
                  </a:lnTo>
                  <a:lnTo>
                    <a:pt x="1520" y="250"/>
                  </a:lnTo>
                  <a:lnTo>
                    <a:pt x="1520" y="248"/>
                  </a:lnTo>
                  <a:lnTo>
                    <a:pt x="1518" y="248"/>
                  </a:lnTo>
                  <a:lnTo>
                    <a:pt x="1520" y="248"/>
                  </a:lnTo>
                  <a:lnTo>
                    <a:pt x="1518" y="248"/>
                  </a:lnTo>
                  <a:lnTo>
                    <a:pt x="1518" y="246"/>
                  </a:lnTo>
                  <a:lnTo>
                    <a:pt x="1518" y="244"/>
                  </a:lnTo>
                  <a:lnTo>
                    <a:pt x="1520" y="244"/>
                  </a:lnTo>
                  <a:lnTo>
                    <a:pt x="1520" y="246"/>
                  </a:lnTo>
                  <a:lnTo>
                    <a:pt x="1520" y="244"/>
                  </a:lnTo>
                  <a:lnTo>
                    <a:pt x="1520" y="246"/>
                  </a:lnTo>
                  <a:lnTo>
                    <a:pt x="1520" y="244"/>
                  </a:lnTo>
                  <a:lnTo>
                    <a:pt x="1522" y="244"/>
                  </a:lnTo>
                  <a:lnTo>
                    <a:pt x="1522" y="246"/>
                  </a:lnTo>
                  <a:lnTo>
                    <a:pt x="1520" y="246"/>
                  </a:lnTo>
                  <a:lnTo>
                    <a:pt x="1522" y="246"/>
                  </a:lnTo>
                  <a:lnTo>
                    <a:pt x="1522" y="244"/>
                  </a:lnTo>
                  <a:lnTo>
                    <a:pt x="1522" y="246"/>
                  </a:lnTo>
                  <a:lnTo>
                    <a:pt x="1522" y="248"/>
                  </a:lnTo>
                  <a:lnTo>
                    <a:pt x="1524" y="248"/>
                  </a:lnTo>
                  <a:lnTo>
                    <a:pt x="1522" y="248"/>
                  </a:lnTo>
                  <a:lnTo>
                    <a:pt x="1524" y="248"/>
                  </a:lnTo>
                  <a:lnTo>
                    <a:pt x="1524" y="246"/>
                  </a:lnTo>
                  <a:lnTo>
                    <a:pt x="1526" y="246"/>
                  </a:lnTo>
                  <a:lnTo>
                    <a:pt x="1526" y="248"/>
                  </a:lnTo>
                  <a:lnTo>
                    <a:pt x="1526" y="246"/>
                  </a:lnTo>
                  <a:lnTo>
                    <a:pt x="1528" y="246"/>
                  </a:lnTo>
                  <a:lnTo>
                    <a:pt x="1528" y="244"/>
                  </a:lnTo>
                  <a:lnTo>
                    <a:pt x="1528" y="242"/>
                  </a:lnTo>
                  <a:lnTo>
                    <a:pt x="1528" y="244"/>
                  </a:lnTo>
                  <a:lnTo>
                    <a:pt x="1528" y="242"/>
                  </a:lnTo>
                  <a:lnTo>
                    <a:pt x="1530" y="242"/>
                  </a:lnTo>
                  <a:lnTo>
                    <a:pt x="1528" y="242"/>
                  </a:lnTo>
                  <a:lnTo>
                    <a:pt x="1530" y="240"/>
                  </a:lnTo>
                  <a:lnTo>
                    <a:pt x="1530" y="242"/>
                  </a:lnTo>
                  <a:lnTo>
                    <a:pt x="1530" y="240"/>
                  </a:lnTo>
                  <a:lnTo>
                    <a:pt x="1530" y="238"/>
                  </a:lnTo>
                  <a:lnTo>
                    <a:pt x="1532" y="240"/>
                  </a:lnTo>
                  <a:lnTo>
                    <a:pt x="1530" y="240"/>
                  </a:lnTo>
                  <a:lnTo>
                    <a:pt x="1532" y="240"/>
                  </a:lnTo>
                  <a:lnTo>
                    <a:pt x="1532" y="238"/>
                  </a:lnTo>
                  <a:lnTo>
                    <a:pt x="1532" y="240"/>
                  </a:lnTo>
                  <a:lnTo>
                    <a:pt x="1532" y="238"/>
                  </a:lnTo>
                  <a:lnTo>
                    <a:pt x="1532" y="236"/>
                  </a:lnTo>
                  <a:lnTo>
                    <a:pt x="1534" y="236"/>
                  </a:lnTo>
                  <a:lnTo>
                    <a:pt x="1534" y="238"/>
                  </a:lnTo>
                  <a:lnTo>
                    <a:pt x="1534" y="240"/>
                  </a:lnTo>
                  <a:lnTo>
                    <a:pt x="1534" y="238"/>
                  </a:lnTo>
                  <a:lnTo>
                    <a:pt x="1534" y="240"/>
                  </a:lnTo>
                  <a:lnTo>
                    <a:pt x="1535" y="240"/>
                  </a:lnTo>
                  <a:lnTo>
                    <a:pt x="1535" y="238"/>
                  </a:lnTo>
                  <a:lnTo>
                    <a:pt x="1535" y="240"/>
                  </a:lnTo>
                  <a:lnTo>
                    <a:pt x="1537" y="240"/>
                  </a:lnTo>
                  <a:lnTo>
                    <a:pt x="1537" y="238"/>
                  </a:lnTo>
                  <a:lnTo>
                    <a:pt x="1537" y="240"/>
                  </a:lnTo>
                  <a:lnTo>
                    <a:pt x="1537" y="242"/>
                  </a:lnTo>
                  <a:lnTo>
                    <a:pt x="1537" y="244"/>
                  </a:lnTo>
                  <a:lnTo>
                    <a:pt x="1537" y="242"/>
                  </a:lnTo>
                  <a:lnTo>
                    <a:pt x="1539" y="242"/>
                  </a:lnTo>
                  <a:lnTo>
                    <a:pt x="1539" y="240"/>
                  </a:lnTo>
                  <a:lnTo>
                    <a:pt x="1541" y="240"/>
                  </a:lnTo>
                  <a:lnTo>
                    <a:pt x="1539" y="240"/>
                  </a:lnTo>
                  <a:lnTo>
                    <a:pt x="1539" y="242"/>
                  </a:lnTo>
                  <a:lnTo>
                    <a:pt x="1541" y="242"/>
                  </a:lnTo>
                  <a:lnTo>
                    <a:pt x="1539" y="244"/>
                  </a:lnTo>
                  <a:lnTo>
                    <a:pt x="1541" y="244"/>
                  </a:lnTo>
                  <a:lnTo>
                    <a:pt x="1541" y="242"/>
                  </a:lnTo>
                  <a:lnTo>
                    <a:pt x="1541" y="244"/>
                  </a:lnTo>
                  <a:lnTo>
                    <a:pt x="1541" y="246"/>
                  </a:lnTo>
                  <a:lnTo>
                    <a:pt x="1543" y="246"/>
                  </a:lnTo>
                  <a:lnTo>
                    <a:pt x="1543" y="244"/>
                  </a:lnTo>
                  <a:lnTo>
                    <a:pt x="1543" y="242"/>
                  </a:lnTo>
                  <a:lnTo>
                    <a:pt x="1543" y="244"/>
                  </a:lnTo>
                  <a:lnTo>
                    <a:pt x="1545" y="244"/>
                  </a:lnTo>
                  <a:lnTo>
                    <a:pt x="1543" y="244"/>
                  </a:lnTo>
                  <a:lnTo>
                    <a:pt x="1543" y="246"/>
                  </a:lnTo>
                  <a:lnTo>
                    <a:pt x="1543" y="244"/>
                  </a:lnTo>
                  <a:lnTo>
                    <a:pt x="1543" y="246"/>
                  </a:lnTo>
                  <a:lnTo>
                    <a:pt x="1545" y="244"/>
                  </a:lnTo>
                  <a:lnTo>
                    <a:pt x="1545" y="246"/>
                  </a:lnTo>
                  <a:lnTo>
                    <a:pt x="1545" y="248"/>
                  </a:lnTo>
                  <a:lnTo>
                    <a:pt x="1543" y="248"/>
                  </a:lnTo>
                  <a:lnTo>
                    <a:pt x="1543" y="250"/>
                  </a:lnTo>
                  <a:lnTo>
                    <a:pt x="1543" y="248"/>
                  </a:lnTo>
                  <a:lnTo>
                    <a:pt x="1545" y="248"/>
                  </a:lnTo>
                  <a:lnTo>
                    <a:pt x="1545" y="246"/>
                  </a:lnTo>
                  <a:lnTo>
                    <a:pt x="1545" y="248"/>
                  </a:lnTo>
                  <a:lnTo>
                    <a:pt x="1545" y="250"/>
                  </a:lnTo>
                  <a:lnTo>
                    <a:pt x="1545" y="252"/>
                  </a:lnTo>
                  <a:lnTo>
                    <a:pt x="1545" y="250"/>
                  </a:lnTo>
                  <a:lnTo>
                    <a:pt x="1547" y="250"/>
                  </a:lnTo>
                  <a:lnTo>
                    <a:pt x="1547" y="248"/>
                  </a:lnTo>
                  <a:lnTo>
                    <a:pt x="1547" y="250"/>
                  </a:lnTo>
                  <a:lnTo>
                    <a:pt x="1549" y="250"/>
                  </a:lnTo>
                  <a:lnTo>
                    <a:pt x="1547" y="250"/>
                  </a:lnTo>
                  <a:lnTo>
                    <a:pt x="1547" y="248"/>
                  </a:lnTo>
                  <a:lnTo>
                    <a:pt x="1549" y="248"/>
                  </a:lnTo>
                  <a:lnTo>
                    <a:pt x="1549" y="250"/>
                  </a:lnTo>
                  <a:lnTo>
                    <a:pt x="1549" y="252"/>
                  </a:lnTo>
                  <a:lnTo>
                    <a:pt x="1551" y="252"/>
                  </a:lnTo>
                  <a:lnTo>
                    <a:pt x="1551" y="250"/>
                  </a:lnTo>
                  <a:lnTo>
                    <a:pt x="1551" y="252"/>
                  </a:lnTo>
                  <a:lnTo>
                    <a:pt x="1551" y="250"/>
                  </a:lnTo>
                  <a:lnTo>
                    <a:pt x="1551" y="252"/>
                  </a:lnTo>
                  <a:lnTo>
                    <a:pt x="1551" y="254"/>
                  </a:lnTo>
                  <a:lnTo>
                    <a:pt x="1553" y="254"/>
                  </a:lnTo>
                  <a:lnTo>
                    <a:pt x="1551" y="254"/>
                  </a:lnTo>
                  <a:lnTo>
                    <a:pt x="1553" y="255"/>
                  </a:lnTo>
                  <a:lnTo>
                    <a:pt x="1553" y="254"/>
                  </a:lnTo>
                  <a:lnTo>
                    <a:pt x="1553" y="255"/>
                  </a:lnTo>
                  <a:lnTo>
                    <a:pt x="1555" y="255"/>
                  </a:lnTo>
                  <a:lnTo>
                    <a:pt x="1555" y="254"/>
                  </a:lnTo>
                  <a:lnTo>
                    <a:pt x="1553" y="254"/>
                  </a:lnTo>
                  <a:lnTo>
                    <a:pt x="1555" y="254"/>
                  </a:lnTo>
                  <a:lnTo>
                    <a:pt x="1557" y="254"/>
                  </a:lnTo>
                  <a:lnTo>
                    <a:pt x="1555" y="254"/>
                  </a:lnTo>
                  <a:lnTo>
                    <a:pt x="1555" y="252"/>
                  </a:lnTo>
                  <a:lnTo>
                    <a:pt x="1555" y="250"/>
                  </a:lnTo>
                  <a:lnTo>
                    <a:pt x="1557" y="252"/>
                  </a:lnTo>
                  <a:lnTo>
                    <a:pt x="1555" y="252"/>
                  </a:lnTo>
                  <a:lnTo>
                    <a:pt x="1557" y="252"/>
                  </a:lnTo>
                  <a:lnTo>
                    <a:pt x="1557" y="254"/>
                  </a:lnTo>
                  <a:lnTo>
                    <a:pt x="1557" y="252"/>
                  </a:lnTo>
                  <a:lnTo>
                    <a:pt x="1557" y="254"/>
                  </a:lnTo>
                  <a:lnTo>
                    <a:pt x="1559" y="252"/>
                  </a:lnTo>
                  <a:lnTo>
                    <a:pt x="1559" y="250"/>
                  </a:lnTo>
                  <a:lnTo>
                    <a:pt x="1560" y="250"/>
                  </a:lnTo>
                  <a:lnTo>
                    <a:pt x="1562" y="252"/>
                  </a:lnTo>
                  <a:lnTo>
                    <a:pt x="1562" y="254"/>
                  </a:lnTo>
                  <a:lnTo>
                    <a:pt x="1562" y="255"/>
                  </a:lnTo>
                  <a:lnTo>
                    <a:pt x="1562" y="257"/>
                  </a:lnTo>
                  <a:lnTo>
                    <a:pt x="1560" y="257"/>
                  </a:lnTo>
                  <a:lnTo>
                    <a:pt x="1560" y="259"/>
                  </a:lnTo>
                  <a:lnTo>
                    <a:pt x="1560" y="257"/>
                  </a:lnTo>
                  <a:lnTo>
                    <a:pt x="1562" y="257"/>
                  </a:lnTo>
                  <a:lnTo>
                    <a:pt x="1562" y="259"/>
                  </a:lnTo>
                  <a:lnTo>
                    <a:pt x="1564" y="259"/>
                  </a:lnTo>
                  <a:lnTo>
                    <a:pt x="1564" y="257"/>
                  </a:lnTo>
                  <a:lnTo>
                    <a:pt x="1566" y="259"/>
                  </a:lnTo>
                  <a:lnTo>
                    <a:pt x="1566" y="257"/>
                  </a:lnTo>
                  <a:lnTo>
                    <a:pt x="1566" y="255"/>
                  </a:lnTo>
                  <a:lnTo>
                    <a:pt x="1568" y="255"/>
                  </a:lnTo>
                  <a:lnTo>
                    <a:pt x="1568" y="254"/>
                  </a:lnTo>
                  <a:lnTo>
                    <a:pt x="1568" y="255"/>
                  </a:lnTo>
                  <a:lnTo>
                    <a:pt x="1568" y="257"/>
                  </a:lnTo>
                  <a:lnTo>
                    <a:pt x="1570" y="257"/>
                  </a:lnTo>
                  <a:lnTo>
                    <a:pt x="1570" y="259"/>
                  </a:lnTo>
                  <a:lnTo>
                    <a:pt x="1570" y="257"/>
                  </a:lnTo>
                  <a:lnTo>
                    <a:pt x="1570" y="255"/>
                  </a:lnTo>
                  <a:lnTo>
                    <a:pt x="1570" y="254"/>
                  </a:lnTo>
                  <a:lnTo>
                    <a:pt x="1570" y="252"/>
                  </a:lnTo>
                  <a:lnTo>
                    <a:pt x="1570" y="250"/>
                  </a:lnTo>
                  <a:lnTo>
                    <a:pt x="1572" y="250"/>
                  </a:lnTo>
                  <a:lnTo>
                    <a:pt x="1572" y="252"/>
                  </a:lnTo>
                  <a:lnTo>
                    <a:pt x="1572" y="250"/>
                  </a:lnTo>
                  <a:lnTo>
                    <a:pt x="1574" y="250"/>
                  </a:lnTo>
                  <a:lnTo>
                    <a:pt x="1574" y="252"/>
                  </a:lnTo>
                  <a:lnTo>
                    <a:pt x="1574" y="250"/>
                  </a:lnTo>
                  <a:lnTo>
                    <a:pt x="1576" y="252"/>
                  </a:lnTo>
                  <a:lnTo>
                    <a:pt x="1578" y="254"/>
                  </a:lnTo>
                  <a:lnTo>
                    <a:pt x="1576" y="254"/>
                  </a:lnTo>
                  <a:lnTo>
                    <a:pt x="1578" y="255"/>
                  </a:lnTo>
                  <a:lnTo>
                    <a:pt x="1578" y="254"/>
                  </a:lnTo>
                  <a:lnTo>
                    <a:pt x="1580" y="254"/>
                  </a:lnTo>
                  <a:lnTo>
                    <a:pt x="1582" y="254"/>
                  </a:lnTo>
                  <a:lnTo>
                    <a:pt x="1583" y="254"/>
                  </a:lnTo>
                  <a:lnTo>
                    <a:pt x="1583" y="255"/>
                  </a:lnTo>
                  <a:lnTo>
                    <a:pt x="1582" y="255"/>
                  </a:lnTo>
                  <a:lnTo>
                    <a:pt x="1582" y="257"/>
                  </a:lnTo>
                  <a:lnTo>
                    <a:pt x="1583" y="257"/>
                  </a:lnTo>
                  <a:lnTo>
                    <a:pt x="1583" y="255"/>
                  </a:lnTo>
                  <a:lnTo>
                    <a:pt x="1583" y="257"/>
                  </a:lnTo>
                  <a:lnTo>
                    <a:pt x="1585" y="257"/>
                  </a:lnTo>
                  <a:lnTo>
                    <a:pt x="1587" y="257"/>
                  </a:lnTo>
                  <a:lnTo>
                    <a:pt x="1587" y="255"/>
                  </a:lnTo>
                  <a:lnTo>
                    <a:pt x="1585" y="257"/>
                  </a:lnTo>
                  <a:lnTo>
                    <a:pt x="1585" y="259"/>
                  </a:lnTo>
                  <a:lnTo>
                    <a:pt x="1587" y="257"/>
                  </a:lnTo>
                  <a:lnTo>
                    <a:pt x="1585" y="259"/>
                  </a:lnTo>
                  <a:lnTo>
                    <a:pt x="1585" y="261"/>
                  </a:lnTo>
                  <a:lnTo>
                    <a:pt x="1585" y="259"/>
                  </a:lnTo>
                  <a:lnTo>
                    <a:pt x="1587" y="259"/>
                  </a:lnTo>
                  <a:lnTo>
                    <a:pt x="1589" y="259"/>
                  </a:lnTo>
                  <a:lnTo>
                    <a:pt x="1591" y="259"/>
                  </a:lnTo>
                  <a:lnTo>
                    <a:pt x="1593" y="259"/>
                  </a:lnTo>
                  <a:lnTo>
                    <a:pt x="1593" y="261"/>
                  </a:lnTo>
                  <a:lnTo>
                    <a:pt x="1591" y="261"/>
                  </a:lnTo>
                  <a:lnTo>
                    <a:pt x="1593" y="261"/>
                  </a:lnTo>
                  <a:lnTo>
                    <a:pt x="1593" y="263"/>
                  </a:lnTo>
                  <a:lnTo>
                    <a:pt x="1591" y="263"/>
                  </a:lnTo>
                  <a:lnTo>
                    <a:pt x="1591" y="265"/>
                  </a:lnTo>
                  <a:lnTo>
                    <a:pt x="1589" y="265"/>
                  </a:lnTo>
                  <a:lnTo>
                    <a:pt x="1591" y="265"/>
                  </a:lnTo>
                  <a:lnTo>
                    <a:pt x="1593" y="265"/>
                  </a:lnTo>
                  <a:lnTo>
                    <a:pt x="1595" y="265"/>
                  </a:lnTo>
                  <a:lnTo>
                    <a:pt x="1597" y="265"/>
                  </a:lnTo>
                  <a:lnTo>
                    <a:pt x="1597" y="267"/>
                  </a:lnTo>
                  <a:lnTo>
                    <a:pt x="1599" y="267"/>
                  </a:lnTo>
                  <a:lnTo>
                    <a:pt x="1597" y="267"/>
                  </a:lnTo>
                  <a:lnTo>
                    <a:pt x="1599" y="267"/>
                  </a:lnTo>
                  <a:lnTo>
                    <a:pt x="1597" y="267"/>
                  </a:lnTo>
                  <a:lnTo>
                    <a:pt x="1599" y="267"/>
                  </a:lnTo>
                  <a:lnTo>
                    <a:pt x="1597" y="267"/>
                  </a:lnTo>
                  <a:lnTo>
                    <a:pt x="1597" y="269"/>
                  </a:lnTo>
                  <a:lnTo>
                    <a:pt x="1597" y="267"/>
                  </a:lnTo>
                  <a:lnTo>
                    <a:pt x="1597" y="269"/>
                  </a:lnTo>
                  <a:lnTo>
                    <a:pt x="1599" y="267"/>
                  </a:lnTo>
                  <a:lnTo>
                    <a:pt x="1599" y="269"/>
                  </a:lnTo>
                  <a:lnTo>
                    <a:pt x="1597" y="269"/>
                  </a:lnTo>
                  <a:lnTo>
                    <a:pt x="1597" y="271"/>
                  </a:lnTo>
                  <a:lnTo>
                    <a:pt x="1599" y="271"/>
                  </a:lnTo>
                  <a:lnTo>
                    <a:pt x="1599" y="273"/>
                  </a:lnTo>
                  <a:lnTo>
                    <a:pt x="1601" y="273"/>
                  </a:lnTo>
                  <a:lnTo>
                    <a:pt x="1601" y="271"/>
                  </a:lnTo>
                  <a:lnTo>
                    <a:pt x="1603" y="271"/>
                  </a:lnTo>
                  <a:lnTo>
                    <a:pt x="1603" y="273"/>
                  </a:lnTo>
                  <a:lnTo>
                    <a:pt x="1605" y="273"/>
                  </a:lnTo>
                  <a:lnTo>
                    <a:pt x="1605" y="275"/>
                  </a:lnTo>
                  <a:lnTo>
                    <a:pt x="1605" y="277"/>
                  </a:lnTo>
                  <a:lnTo>
                    <a:pt x="1607" y="277"/>
                  </a:lnTo>
                  <a:lnTo>
                    <a:pt x="1607" y="278"/>
                  </a:lnTo>
                  <a:lnTo>
                    <a:pt x="1607" y="277"/>
                  </a:lnTo>
                  <a:lnTo>
                    <a:pt x="1608" y="278"/>
                  </a:lnTo>
                  <a:lnTo>
                    <a:pt x="1607" y="278"/>
                  </a:lnTo>
                  <a:lnTo>
                    <a:pt x="1608" y="278"/>
                  </a:lnTo>
                  <a:lnTo>
                    <a:pt x="1608" y="280"/>
                  </a:lnTo>
                  <a:lnTo>
                    <a:pt x="1607" y="280"/>
                  </a:lnTo>
                  <a:lnTo>
                    <a:pt x="1608" y="280"/>
                  </a:lnTo>
                  <a:lnTo>
                    <a:pt x="1607" y="280"/>
                  </a:lnTo>
                  <a:lnTo>
                    <a:pt x="1605" y="280"/>
                  </a:lnTo>
                  <a:lnTo>
                    <a:pt x="1603" y="280"/>
                  </a:lnTo>
                  <a:lnTo>
                    <a:pt x="1603" y="278"/>
                  </a:lnTo>
                  <a:lnTo>
                    <a:pt x="1601" y="278"/>
                  </a:lnTo>
                  <a:lnTo>
                    <a:pt x="1603" y="278"/>
                  </a:lnTo>
                  <a:lnTo>
                    <a:pt x="1603" y="280"/>
                  </a:lnTo>
                  <a:lnTo>
                    <a:pt x="1601" y="280"/>
                  </a:lnTo>
                  <a:lnTo>
                    <a:pt x="1603" y="280"/>
                  </a:lnTo>
                  <a:lnTo>
                    <a:pt x="1603" y="282"/>
                  </a:lnTo>
                  <a:lnTo>
                    <a:pt x="1603" y="280"/>
                  </a:lnTo>
                  <a:lnTo>
                    <a:pt x="1603" y="282"/>
                  </a:lnTo>
                  <a:lnTo>
                    <a:pt x="1605" y="282"/>
                  </a:lnTo>
                  <a:lnTo>
                    <a:pt x="1607" y="284"/>
                  </a:lnTo>
                  <a:lnTo>
                    <a:pt x="1605" y="284"/>
                  </a:lnTo>
                  <a:lnTo>
                    <a:pt x="1607" y="284"/>
                  </a:lnTo>
                  <a:lnTo>
                    <a:pt x="1607" y="286"/>
                  </a:lnTo>
                  <a:lnTo>
                    <a:pt x="1605" y="286"/>
                  </a:lnTo>
                  <a:lnTo>
                    <a:pt x="1605" y="288"/>
                  </a:lnTo>
                  <a:lnTo>
                    <a:pt x="1607" y="288"/>
                  </a:lnTo>
                  <a:lnTo>
                    <a:pt x="1605" y="288"/>
                  </a:lnTo>
                  <a:lnTo>
                    <a:pt x="1605" y="290"/>
                  </a:lnTo>
                  <a:lnTo>
                    <a:pt x="1603" y="290"/>
                  </a:lnTo>
                  <a:lnTo>
                    <a:pt x="1603" y="292"/>
                  </a:lnTo>
                  <a:lnTo>
                    <a:pt x="1605" y="292"/>
                  </a:lnTo>
                  <a:lnTo>
                    <a:pt x="1603" y="292"/>
                  </a:lnTo>
                  <a:lnTo>
                    <a:pt x="1605" y="292"/>
                  </a:lnTo>
                  <a:lnTo>
                    <a:pt x="1607" y="292"/>
                  </a:lnTo>
                  <a:lnTo>
                    <a:pt x="1607" y="294"/>
                  </a:lnTo>
                  <a:lnTo>
                    <a:pt x="1608" y="294"/>
                  </a:lnTo>
                  <a:lnTo>
                    <a:pt x="1607" y="296"/>
                  </a:lnTo>
                  <a:lnTo>
                    <a:pt x="1607" y="294"/>
                  </a:lnTo>
                  <a:lnTo>
                    <a:pt x="1607" y="296"/>
                  </a:lnTo>
                  <a:lnTo>
                    <a:pt x="1607" y="298"/>
                  </a:lnTo>
                  <a:lnTo>
                    <a:pt x="1605" y="298"/>
                  </a:lnTo>
                  <a:lnTo>
                    <a:pt x="1605" y="296"/>
                  </a:lnTo>
                  <a:lnTo>
                    <a:pt x="1603" y="296"/>
                  </a:lnTo>
                  <a:lnTo>
                    <a:pt x="1605" y="298"/>
                  </a:lnTo>
                  <a:lnTo>
                    <a:pt x="1603" y="296"/>
                  </a:lnTo>
                  <a:lnTo>
                    <a:pt x="1601" y="296"/>
                  </a:lnTo>
                  <a:lnTo>
                    <a:pt x="1603" y="296"/>
                  </a:lnTo>
                  <a:lnTo>
                    <a:pt x="1601" y="296"/>
                  </a:lnTo>
                  <a:lnTo>
                    <a:pt x="1603" y="296"/>
                  </a:lnTo>
                  <a:lnTo>
                    <a:pt x="1603" y="298"/>
                  </a:lnTo>
                  <a:lnTo>
                    <a:pt x="1601" y="298"/>
                  </a:lnTo>
                  <a:lnTo>
                    <a:pt x="1603" y="298"/>
                  </a:lnTo>
                  <a:lnTo>
                    <a:pt x="1601" y="298"/>
                  </a:lnTo>
                  <a:lnTo>
                    <a:pt x="1599" y="298"/>
                  </a:lnTo>
                  <a:lnTo>
                    <a:pt x="1597" y="298"/>
                  </a:lnTo>
                  <a:lnTo>
                    <a:pt x="1599" y="298"/>
                  </a:lnTo>
                  <a:lnTo>
                    <a:pt x="1597" y="298"/>
                  </a:lnTo>
                  <a:lnTo>
                    <a:pt x="1599" y="300"/>
                  </a:lnTo>
                  <a:lnTo>
                    <a:pt x="1597" y="300"/>
                  </a:lnTo>
                  <a:lnTo>
                    <a:pt x="1599" y="300"/>
                  </a:lnTo>
                  <a:lnTo>
                    <a:pt x="1597" y="300"/>
                  </a:lnTo>
                  <a:lnTo>
                    <a:pt x="1597" y="302"/>
                  </a:lnTo>
                  <a:lnTo>
                    <a:pt x="1599" y="302"/>
                  </a:lnTo>
                  <a:lnTo>
                    <a:pt x="1597" y="302"/>
                  </a:lnTo>
                  <a:lnTo>
                    <a:pt x="1599" y="302"/>
                  </a:lnTo>
                  <a:lnTo>
                    <a:pt x="1599" y="303"/>
                  </a:lnTo>
                  <a:lnTo>
                    <a:pt x="1601" y="303"/>
                  </a:lnTo>
                  <a:lnTo>
                    <a:pt x="1603" y="303"/>
                  </a:lnTo>
                  <a:lnTo>
                    <a:pt x="1605" y="303"/>
                  </a:lnTo>
                  <a:lnTo>
                    <a:pt x="1605" y="305"/>
                  </a:lnTo>
                  <a:lnTo>
                    <a:pt x="1605" y="303"/>
                  </a:lnTo>
                  <a:lnTo>
                    <a:pt x="1605" y="305"/>
                  </a:lnTo>
                  <a:lnTo>
                    <a:pt x="1607" y="305"/>
                  </a:lnTo>
                  <a:lnTo>
                    <a:pt x="1607" y="307"/>
                  </a:lnTo>
                  <a:lnTo>
                    <a:pt x="1605" y="307"/>
                  </a:lnTo>
                  <a:lnTo>
                    <a:pt x="1607" y="307"/>
                  </a:lnTo>
                  <a:lnTo>
                    <a:pt x="1607" y="309"/>
                  </a:lnTo>
                  <a:lnTo>
                    <a:pt x="1608" y="309"/>
                  </a:lnTo>
                  <a:lnTo>
                    <a:pt x="1607" y="309"/>
                  </a:lnTo>
                  <a:lnTo>
                    <a:pt x="1608" y="309"/>
                  </a:lnTo>
                  <a:lnTo>
                    <a:pt x="1607" y="309"/>
                  </a:lnTo>
                  <a:lnTo>
                    <a:pt x="1608" y="311"/>
                  </a:lnTo>
                  <a:lnTo>
                    <a:pt x="1607" y="311"/>
                  </a:lnTo>
                  <a:lnTo>
                    <a:pt x="1607" y="313"/>
                  </a:lnTo>
                  <a:lnTo>
                    <a:pt x="1605" y="313"/>
                  </a:lnTo>
                  <a:lnTo>
                    <a:pt x="1607" y="313"/>
                  </a:lnTo>
                  <a:lnTo>
                    <a:pt x="1607" y="315"/>
                  </a:lnTo>
                  <a:lnTo>
                    <a:pt x="1607" y="313"/>
                  </a:lnTo>
                  <a:lnTo>
                    <a:pt x="1607" y="315"/>
                  </a:lnTo>
                  <a:lnTo>
                    <a:pt x="1608" y="315"/>
                  </a:lnTo>
                  <a:lnTo>
                    <a:pt x="1608" y="317"/>
                  </a:lnTo>
                  <a:lnTo>
                    <a:pt x="1608" y="315"/>
                  </a:lnTo>
                  <a:lnTo>
                    <a:pt x="1607" y="317"/>
                  </a:lnTo>
                  <a:lnTo>
                    <a:pt x="1607" y="319"/>
                  </a:lnTo>
                  <a:lnTo>
                    <a:pt x="1605" y="319"/>
                  </a:lnTo>
                  <a:lnTo>
                    <a:pt x="1607" y="319"/>
                  </a:lnTo>
                  <a:lnTo>
                    <a:pt x="1608" y="319"/>
                  </a:lnTo>
                  <a:lnTo>
                    <a:pt x="1607" y="319"/>
                  </a:lnTo>
                  <a:lnTo>
                    <a:pt x="1608" y="319"/>
                  </a:lnTo>
                  <a:lnTo>
                    <a:pt x="1608" y="321"/>
                  </a:lnTo>
                  <a:lnTo>
                    <a:pt x="1607" y="321"/>
                  </a:lnTo>
                  <a:lnTo>
                    <a:pt x="1607" y="323"/>
                  </a:lnTo>
                  <a:lnTo>
                    <a:pt x="1605" y="321"/>
                  </a:lnTo>
                  <a:lnTo>
                    <a:pt x="1605" y="323"/>
                  </a:lnTo>
                  <a:lnTo>
                    <a:pt x="1603" y="323"/>
                  </a:lnTo>
                  <a:lnTo>
                    <a:pt x="1601" y="323"/>
                  </a:lnTo>
                  <a:lnTo>
                    <a:pt x="1601" y="325"/>
                  </a:lnTo>
                  <a:lnTo>
                    <a:pt x="1599" y="325"/>
                  </a:lnTo>
                  <a:lnTo>
                    <a:pt x="1599" y="323"/>
                  </a:lnTo>
                  <a:lnTo>
                    <a:pt x="1597" y="323"/>
                  </a:lnTo>
                  <a:lnTo>
                    <a:pt x="1595" y="323"/>
                  </a:lnTo>
                  <a:lnTo>
                    <a:pt x="1595" y="325"/>
                  </a:lnTo>
                  <a:lnTo>
                    <a:pt x="1595" y="327"/>
                  </a:lnTo>
                  <a:lnTo>
                    <a:pt x="1595" y="328"/>
                  </a:lnTo>
                  <a:lnTo>
                    <a:pt x="1597" y="328"/>
                  </a:lnTo>
                  <a:lnTo>
                    <a:pt x="1597" y="330"/>
                  </a:lnTo>
                  <a:lnTo>
                    <a:pt x="1595" y="330"/>
                  </a:lnTo>
                  <a:lnTo>
                    <a:pt x="1595" y="328"/>
                  </a:lnTo>
                  <a:lnTo>
                    <a:pt x="1593" y="328"/>
                  </a:lnTo>
                  <a:lnTo>
                    <a:pt x="1593" y="327"/>
                  </a:lnTo>
                  <a:lnTo>
                    <a:pt x="1593" y="328"/>
                  </a:lnTo>
                  <a:lnTo>
                    <a:pt x="1593" y="330"/>
                  </a:lnTo>
                  <a:lnTo>
                    <a:pt x="1593" y="332"/>
                  </a:lnTo>
                  <a:lnTo>
                    <a:pt x="1595" y="332"/>
                  </a:lnTo>
                  <a:lnTo>
                    <a:pt x="1595" y="334"/>
                  </a:lnTo>
                  <a:lnTo>
                    <a:pt x="1595" y="336"/>
                  </a:lnTo>
                  <a:lnTo>
                    <a:pt x="1597" y="338"/>
                  </a:lnTo>
                  <a:lnTo>
                    <a:pt x="1599" y="338"/>
                  </a:lnTo>
                  <a:lnTo>
                    <a:pt x="1599" y="340"/>
                  </a:lnTo>
                  <a:lnTo>
                    <a:pt x="1599" y="338"/>
                  </a:lnTo>
                  <a:lnTo>
                    <a:pt x="1601" y="338"/>
                  </a:lnTo>
                  <a:lnTo>
                    <a:pt x="1603" y="338"/>
                  </a:lnTo>
                  <a:lnTo>
                    <a:pt x="1603" y="336"/>
                  </a:lnTo>
                  <a:lnTo>
                    <a:pt x="1605" y="336"/>
                  </a:lnTo>
                  <a:lnTo>
                    <a:pt x="1605" y="334"/>
                  </a:lnTo>
                  <a:lnTo>
                    <a:pt x="1603" y="332"/>
                  </a:lnTo>
                  <a:lnTo>
                    <a:pt x="1603" y="330"/>
                  </a:lnTo>
                  <a:lnTo>
                    <a:pt x="1603" y="328"/>
                  </a:lnTo>
                  <a:lnTo>
                    <a:pt x="1603" y="327"/>
                  </a:lnTo>
                  <a:lnTo>
                    <a:pt x="1601" y="327"/>
                  </a:lnTo>
                  <a:lnTo>
                    <a:pt x="1601" y="325"/>
                  </a:lnTo>
                  <a:lnTo>
                    <a:pt x="1601" y="327"/>
                  </a:lnTo>
                  <a:lnTo>
                    <a:pt x="1603" y="327"/>
                  </a:lnTo>
                  <a:lnTo>
                    <a:pt x="1603" y="328"/>
                  </a:lnTo>
                  <a:lnTo>
                    <a:pt x="1603" y="330"/>
                  </a:lnTo>
                  <a:lnTo>
                    <a:pt x="1605" y="330"/>
                  </a:lnTo>
                  <a:lnTo>
                    <a:pt x="1605" y="332"/>
                  </a:lnTo>
                  <a:lnTo>
                    <a:pt x="1605" y="334"/>
                  </a:lnTo>
                  <a:lnTo>
                    <a:pt x="1605" y="336"/>
                  </a:lnTo>
                  <a:lnTo>
                    <a:pt x="1607" y="336"/>
                  </a:lnTo>
                  <a:lnTo>
                    <a:pt x="1607" y="338"/>
                  </a:lnTo>
                  <a:lnTo>
                    <a:pt x="1608" y="338"/>
                  </a:lnTo>
                  <a:lnTo>
                    <a:pt x="1608" y="340"/>
                  </a:lnTo>
                  <a:lnTo>
                    <a:pt x="1607" y="340"/>
                  </a:lnTo>
                  <a:lnTo>
                    <a:pt x="1607" y="338"/>
                  </a:lnTo>
                  <a:lnTo>
                    <a:pt x="1605" y="338"/>
                  </a:lnTo>
                  <a:lnTo>
                    <a:pt x="1605" y="340"/>
                  </a:lnTo>
                  <a:lnTo>
                    <a:pt x="1603" y="340"/>
                  </a:lnTo>
                  <a:lnTo>
                    <a:pt x="1601" y="340"/>
                  </a:lnTo>
                  <a:lnTo>
                    <a:pt x="1599" y="342"/>
                  </a:lnTo>
                  <a:lnTo>
                    <a:pt x="1597" y="342"/>
                  </a:lnTo>
                  <a:lnTo>
                    <a:pt x="1597" y="344"/>
                  </a:lnTo>
                  <a:lnTo>
                    <a:pt x="1599" y="344"/>
                  </a:lnTo>
                  <a:lnTo>
                    <a:pt x="1599" y="346"/>
                  </a:lnTo>
                  <a:lnTo>
                    <a:pt x="1601" y="346"/>
                  </a:lnTo>
                  <a:lnTo>
                    <a:pt x="1603" y="346"/>
                  </a:lnTo>
                  <a:lnTo>
                    <a:pt x="1603" y="344"/>
                  </a:lnTo>
                  <a:lnTo>
                    <a:pt x="1603" y="346"/>
                  </a:lnTo>
                  <a:lnTo>
                    <a:pt x="1605" y="346"/>
                  </a:lnTo>
                  <a:lnTo>
                    <a:pt x="1605" y="348"/>
                  </a:lnTo>
                  <a:lnTo>
                    <a:pt x="1605" y="350"/>
                  </a:lnTo>
                  <a:lnTo>
                    <a:pt x="1605" y="351"/>
                  </a:lnTo>
                  <a:lnTo>
                    <a:pt x="1605" y="350"/>
                  </a:lnTo>
                  <a:lnTo>
                    <a:pt x="1605" y="351"/>
                  </a:lnTo>
                  <a:lnTo>
                    <a:pt x="1607" y="353"/>
                  </a:lnTo>
                  <a:lnTo>
                    <a:pt x="1607" y="355"/>
                  </a:lnTo>
                  <a:lnTo>
                    <a:pt x="1607" y="357"/>
                  </a:lnTo>
                  <a:lnTo>
                    <a:pt x="1607" y="359"/>
                  </a:lnTo>
                  <a:lnTo>
                    <a:pt x="1608" y="361"/>
                  </a:lnTo>
                  <a:lnTo>
                    <a:pt x="1610" y="361"/>
                  </a:lnTo>
                  <a:lnTo>
                    <a:pt x="1610" y="363"/>
                  </a:lnTo>
                  <a:lnTo>
                    <a:pt x="1610" y="365"/>
                  </a:lnTo>
                  <a:lnTo>
                    <a:pt x="1612" y="365"/>
                  </a:lnTo>
                  <a:lnTo>
                    <a:pt x="1612" y="367"/>
                  </a:lnTo>
                  <a:lnTo>
                    <a:pt x="1612" y="369"/>
                  </a:lnTo>
                  <a:lnTo>
                    <a:pt x="1612" y="367"/>
                  </a:lnTo>
                  <a:lnTo>
                    <a:pt x="1614" y="369"/>
                  </a:lnTo>
                  <a:lnTo>
                    <a:pt x="1616" y="369"/>
                  </a:lnTo>
                  <a:lnTo>
                    <a:pt x="1618" y="371"/>
                  </a:lnTo>
                  <a:lnTo>
                    <a:pt x="1618" y="373"/>
                  </a:lnTo>
                  <a:lnTo>
                    <a:pt x="1618" y="375"/>
                  </a:lnTo>
                  <a:lnTo>
                    <a:pt x="1620" y="376"/>
                  </a:lnTo>
                  <a:lnTo>
                    <a:pt x="1622" y="376"/>
                  </a:lnTo>
                  <a:lnTo>
                    <a:pt x="1622" y="378"/>
                  </a:lnTo>
                  <a:lnTo>
                    <a:pt x="1624" y="378"/>
                  </a:lnTo>
                  <a:lnTo>
                    <a:pt x="1624" y="380"/>
                  </a:lnTo>
                  <a:lnTo>
                    <a:pt x="1624" y="378"/>
                  </a:lnTo>
                  <a:lnTo>
                    <a:pt x="1626" y="378"/>
                  </a:lnTo>
                  <a:lnTo>
                    <a:pt x="1626" y="376"/>
                  </a:lnTo>
                  <a:lnTo>
                    <a:pt x="1626" y="375"/>
                  </a:lnTo>
                  <a:lnTo>
                    <a:pt x="1628" y="375"/>
                  </a:lnTo>
                  <a:lnTo>
                    <a:pt x="1628" y="376"/>
                  </a:lnTo>
                  <a:lnTo>
                    <a:pt x="1628" y="378"/>
                  </a:lnTo>
                  <a:lnTo>
                    <a:pt x="1628" y="380"/>
                  </a:lnTo>
                  <a:lnTo>
                    <a:pt x="1628" y="382"/>
                  </a:lnTo>
                  <a:lnTo>
                    <a:pt x="1628" y="384"/>
                  </a:lnTo>
                  <a:lnTo>
                    <a:pt x="1630" y="384"/>
                  </a:lnTo>
                  <a:lnTo>
                    <a:pt x="1630" y="386"/>
                  </a:lnTo>
                  <a:lnTo>
                    <a:pt x="1631" y="386"/>
                  </a:lnTo>
                  <a:lnTo>
                    <a:pt x="1631" y="384"/>
                  </a:lnTo>
                  <a:lnTo>
                    <a:pt x="1633" y="384"/>
                  </a:lnTo>
                  <a:lnTo>
                    <a:pt x="1633" y="382"/>
                  </a:lnTo>
                  <a:lnTo>
                    <a:pt x="1635" y="382"/>
                  </a:lnTo>
                  <a:lnTo>
                    <a:pt x="1635" y="380"/>
                  </a:lnTo>
                  <a:lnTo>
                    <a:pt x="1637" y="378"/>
                  </a:lnTo>
                  <a:lnTo>
                    <a:pt x="1639" y="376"/>
                  </a:lnTo>
                  <a:lnTo>
                    <a:pt x="1639" y="375"/>
                  </a:lnTo>
                  <a:lnTo>
                    <a:pt x="1639" y="373"/>
                  </a:lnTo>
                  <a:lnTo>
                    <a:pt x="1641" y="371"/>
                  </a:lnTo>
                  <a:lnTo>
                    <a:pt x="1641" y="369"/>
                  </a:lnTo>
                  <a:lnTo>
                    <a:pt x="1641" y="367"/>
                  </a:lnTo>
                  <a:lnTo>
                    <a:pt x="1641" y="365"/>
                  </a:lnTo>
                  <a:lnTo>
                    <a:pt x="1643" y="363"/>
                  </a:lnTo>
                  <a:lnTo>
                    <a:pt x="1643" y="361"/>
                  </a:lnTo>
                  <a:lnTo>
                    <a:pt x="1643" y="359"/>
                  </a:lnTo>
                  <a:lnTo>
                    <a:pt x="1645" y="359"/>
                  </a:lnTo>
                  <a:lnTo>
                    <a:pt x="1645" y="355"/>
                  </a:lnTo>
                  <a:lnTo>
                    <a:pt x="1645" y="353"/>
                  </a:lnTo>
                  <a:lnTo>
                    <a:pt x="1645" y="351"/>
                  </a:lnTo>
                  <a:lnTo>
                    <a:pt x="1645" y="350"/>
                  </a:lnTo>
                  <a:lnTo>
                    <a:pt x="1647" y="348"/>
                  </a:lnTo>
                  <a:lnTo>
                    <a:pt x="1647" y="346"/>
                  </a:lnTo>
                  <a:lnTo>
                    <a:pt x="1647" y="344"/>
                  </a:lnTo>
                  <a:lnTo>
                    <a:pt x="1647" y="342"/>
                  </a:lnTo>
                  <a:lnTo>
                    <a:pt x="1649" y="342"/>
                  </a:lnTo>
                  <a:lnTo>
                    <a:pt x="1649" y="340"/>
                  </a:lnTo>
                  <a:lnTo>
                    <a:pt x="1649" y="338"/>
                  </a:lnTo>
                  <a:lnTo>
                    <a:pt x="1651" y="336"/>
                  </a:lnTo>
                  <a:lnTo>
                    <a:pt x="1651" y="334"/>
                  </a:lnTo>
                  <a:lnTo>
                    <a:pt x="1653" y="332"/>
                  </a:lnTo>
                  <a:lnTo>
                    <a:pt x="1653" y="330"/>
                  </a:lnTo>
                  <a:lnTo>
                    <a:pt x="1654" y="328"/>
                  </a:lnTo>
                  <a:lnTo>
                    <a:pt x="1656" y="328"/>
                  </a:lnTo>
                  <a:lnTo>
                    <a:pt x="1658" y="328"/>
                  </a:lnTo>
                  <a:lnTo>
                    <a:pt x="1660" y="328"/>
                  </a:lnTo>
                  <a:lnTo>
                    <a:pt x="1662" y="330"/>
                  </a:lnTo>
                  <a:lnTo>
                    <a:pt x="1662" y="332"/>
                  </a:lnTo>
                  <a:lnTo>
                    <a:pt x="1664" y="332"/>
                  </a:lnTo>
                  <a:lnTo>
                    <a:pt x="1664" y="334"/>
                  </a:lnTo>
                  <a:lnTo>
                    <a:pt x="1662" y="332"/>
                  </a:lnTo>
                  <a:lnTo>
                    <a:pt x="1662" y="330"/>
                  </a:lnTo>
                  <a:lnTo>
                    <a:pt x="1660" y="330"/>
                  </a:lnTo>
                  <a:lnTo>
                    <a:pt x="1660" y="328"/>
                  </a:lnTo>
                  <a:lnTo>
                    <a:pt x="1658" y="328"/>
                  </a:lnTo>
                  <a:lnTo>
                    <a:pt x="1656" y="330"/>
                  </a:lnTo>
                  <a:lnTo>
                    <a:pt x="1654" y="330"/>
                  </a:lnTo>
                  <a:lnTo>
                    <a:pt x="1654" y="332"/>
                  </a:lnTo>
                  <a:lnTo>
                    <a:pt x="1656" y="334"/>
                  </a:lnTo>
                  <a:lnTo>
                    <a:pt x="1654" y="334"/>
                  </a:lnTo>
                  <a:lnTo>
                    <a:pt x="1654" y="336"/>
                  </a:lnTo>
                  <a:lnTo>
                    <a:pt x="1654" y="338"/>
                  </a:lnTo>
                  <a:lnTo>
                    <a:pt x="1656" y="338"/>
                  </a:lnTo>
                  <a:lnTo>
                    <a:pt x="1658" y="338"/>
                  </a:lnTo>
                  <a:lnTo>
                    <a:pt x="1658" y="340"/>
                  </a:lnTo>
                  <a:lnTo>
                    <a:pt x="1658" y="342"/>
                  </a:lnTo>
                  <a:lnTo>
                    <a:pt x="1660" y="344"/>
                  </a:lnTo>
                  <a:lnTo>
                    <a:pt x="1660" y="346"/>
                  </a:lnTo>
                  <a:lnTo>
                    <a:pt x="1662" y="348"/>
                  </a:lnTo>
                  <a:lnTo>
                    <a:pt x="1664" y="348"/>
                  </a:lnTo>
                  <a:lnTo>
                    <a:pt x="1664" y="350"/>
                  </a:lnTo>
                  <a:lnTo>
                    <a:pt x="1666" y="350"/>
                  </a:lnTo>
                  <a:lnTo>
                    <a:pt x="1666" y="351"/>
                  </a:lnTo>
                  <a:lnTo>
                    <a:pt x="1668" y="351"/>
                  </a:lnTo>
                  <a:lnTo>
                    <a:pt x="1670" y="353"/>
                  </a:lnTo>
                  <a:lnTo>
                    <a:pt x="1674" y="355"/>
                  </a:lnTo>
                  <a:lnTo>
                    <a:pt x="1676" y="355"/>
                  </a:lnTo>
                  <a:lnTo>
                    <a:pt x="1678" y="355"/>
                  </a:lnTo>
                  <a:lnTo>
                    <a:pt x="1679" y="355"/>
                  </a:lnTo>
                  <a:lnTo>
                    <a:pt x="1681" y="355"/>
                  </a:lnTo>
                  <a:lnTo>
                    <a:pt x="1683" y="355"/>
                  </a:lnTo>
                  <a:lnTo>
                    <a:pt x="1683" y="353"/>
                  </a:lnTo>
                  <a:lnTo>
                    <a:pt x="1685" y="351"/>
                  </a:lnTo>
                  <a:lnTo>
                    <a:pt x="1687" y="351"/>
                  </a:lnTo>
                  <a:lnTo>
                    <a:pt x="1687" y="350"/>
                  </a:lnTo>
                  <a:lnTo>
                    <a:pt x="1689" y="350"/>
                  </a:lnTo>
                  <a:lnTo>
                    <a:pt x="1689" y="348"/>
                  </a:lnTo>
                  <a:lnTo>
                    <a:pt x="1691" y="348"/>
                  </a:lnTo>
                  <a:lnTo>
                    <a:pt x="1693" y="346"/>
                  </a:lnTo>
                  <a:lnTo>
                    <a:pt x="1695" y="346"/>
                  </a:lnTo>
                  <a:lnTo>
                    <a:pt x="1695" y="344"/>
                  </a:lnTo>
                  <a:lnTo>
                    <a:pt x="1695" y="346"/>
                  </a:lnTo>
                  <a:lnTo>
                    <a:pt x="1697" y="344"/>
                  </a:lnTo>
                  <a:lnTo>
                    <a:pt x="1699" y="344"/>
                  </a:lnTo>
                  <a:lnTo>
                    <a:pt x="1701" y="344"/>
                  </a:lnTo>
                  <a:lnTo>
                    <a:pt x="1702" y="344"/>
                  </a:lnTo>
                  <a:lnTo>
                    <a:pt x="1704" y="344"/>
                  </a:lnTo>
                  <a:lnTo>
                    <a:pt x="1704" y="346"/>
                  </a:lnTo>
                  <a:lnTo>
                    <a:pt x="1704" y="344"/>
                  </a:lnTo>
                  <a:lnTo>
                    <a:pt x="1706" y="344"/>
                  </a:lnTo>
                  <a:lnTo>
                    <a:pt x="1706" y="346"/>
                  </a:lnTo>
                  <a:lnTo>
                    <a:pt x="1708" y="346"/>
                  </a:lnTo>
                  <a:lnTo>
                    <a:pt x="1710" y="346"/>
                  </a:lnTo>
                  <a:lnTo>
                    <a:pt x="1710" y="348"/>
                  </a:lnTo>
                  <a:lnTo>
                    <a:pt x="1712" y="348"/>
                  </a:lnTo>
                  <a:lnTo>
                    <a:pt x="1714" y="348"/>
                  </a:lnTo>
                  <a:lnTo>
                    <a:pt x="1716" y="348"/>
                  </a:lnTo>
                  <a:lnTo>
                    <a:pt x="1718" y="348"/>
                  </a:lnTo>
                  <a:lnTo>
                    <a:pt x="1718" y="346"/>
                  </a:lnTo>
                  <a:lnTo>
                    <a:pt x="1718" y="348"/>
                  </a:lnTo>
                  <a:lnTo>
                    <a:pt x="1720" y="348"/>
                  </a:lnTo>
                  <a:lnTo>
                    <a:pt x="1720" y="346"/>
                  </a:lnTo>
                  <a:lnTo>
                    <a:pt x="1722" y="346"/>
                  </a:lnTo>
                  <a:lnTo>
                    <a:pt x="1724" y="346"/>
                  </a:lnTo>
                  <a:lnTo>
                    <a:pt x="1726" y="346"/>
                  </a:lnTo>
                  <a:lnTo>
                    <a:pt x="1727" y="346"/>
                  </a:lnTo>
                  <a:lnTo>
                    <a:pt x="1726" y="346"/>
                  </a:lnTo>
                  <a:lnTo>
                    <a:pt x="1727" y="346"/>
                  </a:lnTo>
                  <a:lnTo>
                    <a:pt x="1729" y="346"/>
                  </a:lnTo>
                  <a:lnTo>
                    <a:pt x="1731" y="346"/>
                  </a:lnTo>
                  <a:lnTo>
                    <a:pt x="1731" y="348"/>
                  </a:lnTo>
                  <a:lnTo>
                    <a:pt x="1731" y="350"/>
                  </a:lnTo>
                  <a:lnTo>
                    <a:pt x="1731" y="351"/>
                  </a:lnTo>
                  <a:lnTo>
                    <a:pt x="1729" y="353"/>
                  </a:lnTo>
                  <a:lnTo>
                    <a:pt x="1729" y="355"/>
                  </a:lnTo>
                  <a:lnTo>
                    <a:pt x="1731" y="355"/>
                  </a:lnTo>
                  <a:lnTo>
                    <a:pt x="1731" y="353"/>
                  </a:lnTo>
                  <a:lnTo>
                    <a:pt x="1731" y="351"/>
                  </a:lnTo>
                  <a:lnTo>
                    <a:pt x="1733" y="351"/>
                  </a:lnTo>
                  <a:lnTo>
                    <a:pt x="1733" y="350"/>
                  </a:lnTo>
                  <a:lnTo>
                    <a:pt x="1733" y="348"/>
                  </a:lnTo>
                  <a:lnTo>
                    <a:pt x="1733" y="346"/>
                  </a:lnTo>
                  <a:lnTo>
                    <a:pt x="1735" y="346"/>
                  </a:lnTo>
                  <a:lnTo>
                    <a:pt x="1737" y="346"/>
                  </a:lnTo>
                  <a:lnTo>
                    <a:pt x="1739" y="346"/>
                  </a:lnTo>
                  <a:lnTo>
                    <a:pt x="1737" y="346"/>
                  </a:lnTo>
                  <a:lnTo>
                    <a:pt x="1739" y="346"/>
                  </a:lnTo>
                  <a:lnTo>
                    <a:pt x="1739" y="348"/>
                  </a:lnTo>
                  <a:lnTo>
                    <a:pt x="1741" y="348"/>
                  </a:lnTo>
                  <a:lnTo>
                    <a:pt x="1741" y="346"/>
                  </a:lnTo>
                  <a:lnTo>
                    <a:pt x="1741" y="344"/>
                  </a:lnTo>
                  <a:lnTo>
                    <a:pt x="1743" y="344"/>
                  </a:lnTo>
                  <a:lnTo>
                    <a:pt x="1745" y="344"/>
                  </a:lnTo>
                  <a:lnTo>
                    <a:pt x="1745" y="346"/>
                  </a:lnTo>
                  <a:lnTo>
                    <a:pt x="1747" y="344"/>
                  </a:lnTo>
                  <a:lnTo>
                    <a:pt x="1747" y="346"/>
                  </a:lnTo>
                  <a:lnTo>
                    <a:pt x="1749" y="346"/>
                  </a:lnTo>
                  <a:lnTo>
                    <a:pt x="1749" y="348"/>
                  </a:lnTo>
                  <a:lnTo>
                    <a:pt x="1749" y="350"/>
                  </a:lnTo>
                  <a:lnTo>
                    <a:pt x="1749" y="351"/>
                  </a:lnTo>
                  <a:lnTo>
                    <a:pt x="1749" y="353"/>
                  </a:lnTo>
                  <a:lnTo>
                    <a:pt x="1750" y="353"/>
                  </a:lnTo>
                  <a:lnTo>
                    <a:pt x="1752" y="353"/>
                  </a:lnTo>
                  <a:lnTo>
                    <a:pt x="1752" y="351"/>
                  </a:lnTo>
                  <a:lnTo>
                    <a:pt x="1752" y="350"/>
                  </a:lnTo>
                  <a:lnTo>
                    <a:pt x="1754" y="350"/>
                  </a:lnTo>
                  <a:lnTo>
                    <a:pt x="1756" y="350"/>
                  </a:lnTo>
                  <a:lnTo>
                    <a:pt x="1756" y="351"/>
                  </a:lnTo>
                  <a:lnTo>
                    <a:pt x="1758" y="351"/>
                  </a:lnTo>
                  <a:lnTo>
                    <a:pt x="1758" y="353"/>
                  </a:lnTo>
                  <a:lnTo>
                    <a:pt x="1758" y="351"/>
                  </a:lnTo>
                  <a:lnTo>
                    <a:pt x="1760" y="351"/>
                  </a:lnTo>
                  <a:lnTo>
                    <a:pt x="1758" y="351"/>
                  </a:lnTo>
                  <a:lnTo>
                    <a:pt x="1760" y="351"/>
                  </a:lnTo>
                  <a:lnTo>
                    <a:pt x="1760" y="350"/>
                  </a:lnTo>
                  <a:lnTo>
                    <a:pt x="1762" y="350"/>
                  </a:lnTo>
                  <a:lnTo>
                    <a:pt x="1760" y="348"/>
                  </a:lnTo>
                  <a:lnTo>
                    <a:pt x="1760" y="346"/>
                  </a:lnTo>
                  <a:lnTo>
                    <a:pt x="1758" y="346"/>
                  </a:lnTo>
                  <a:lnTo>
                    <a:pt x="1758" y="344"/>
                  </a:lnTo>
                  <a:lnTo>
                    <a:pt x="1758" y="342"/>
                  </a:lnTo>
                  <a:lnTo>
                    <a:pt x="1758" y="340"/>
                  </a:lnTo>
                  <a:lnTo>
                    <a:pt x="1758" y="338"/>
                  </a:lnTo>
                  <a:lnTo>
                    <a:pt x="1758" y="336"/>
                  </a:lnTo>
                  <a:lnTo>
                    <a:pt x="1758" y="334"/>
                  </a:lnTo>
                  <a:lnTo>
                    <a:pt x="1756" y="334"/>
                  </a:lnTo>
                  <a:lnTo>
                    <a:pt x="1758" y="334"/>
                  </a:lnTo>
                  <a:lnTo>
                    <a:pt x="1758" y="332"/>
                  </a:lnTo>
                  <a:lnTo>
                    <a:pt x="1756" y="332"/>
                  </a:lnTo>
                  <a:lnTo>
                    <a:pt x="1756" y="330"/>
                  </a:lnTo>
                  <a:lnTo>
                    <a:pt x="1754" y="328"/>
                  </a:lnTo>
                  <a:lnTo>
                    <a:pt x="1754" y="330"/>
                  </a:lnTo>
                  <a:lnTo>
                    <a:pt x="1754" y="328"/>
                  </a:lnTo>
                  <a:lnTo>
                    <a:pt x="1752" y="328"/>
                  </a:lnTo>
                  <a:lnTo>
                    <a:pt x="1754" y="328"/>
                  </a:lnTo>
                  <a:lnTo>
                    <a:pt x="1756" y="328"/>
                  </a:lnTo>
                  <a:lnTo>
                    <a:pt x="1756" y="327"/>
                  </a:lnTo>
                  <a:lnTo>
                    <a:pt x="1758" y="327"/>
                  </a:lnTo>
                  <a:lnTo>
                    <a:pt x="1756" y="325"/>
                  </a:lnTo>
                  <a:lnTo>
                    <a:pt x="1758" y="325"/>
                  </a:lnTo>
                  <a:lnTo>
                    <a:pt x="1758" y="323"/>
                  </a:lnTo>
                  <a:lnTo>
                    <a:pt x="1758" y="321"/>
                  </a:lnTo>
                  <a:lnTo>
                    <a:pt x="1760" y="321"/>
                  </a:lnTo>
                  <a:lnTo>
                    <a:pt x="1760" y="319"/>
                  </a:lnTo>
                  <a:lnTo>
                    <a:pt x="1762" y="319"/>
                  </a:lnTo>
                  <a:lnTo>
                    <a:pt x="1764" y="319"/>
                  </a:lnTo>
                  <a:lnTo>
                    <a:pt x="1766" y="317"/>
                  </a:lnTo>
                  <a:lnTo>
                    <a:pt x="1764" y="317"/>
                  </a:lnTo>
                  <a:lnTo>
                    <a:pt x="1764" y="315"/>
                  </a:lnTo>
                  <a:lnTo>
                    <a:pt x="1762" y="315"/>
                  </a:lnTo>
                  <a:lnTo>
                    <a:pt x="1762" y="313"/>
                  </a:lnTo>
                  <a:lnTo>
                    <a:pt x="1762" y="315"/>
                  </a:lnTo>
                  <a:lnTo>
                    <a:pt x="1760" y="315"/>
                  </a:lnTo>
                  <a:lnTo>
                    <a:pt x="1758" y="315"/>
                  </a:lnTo>
                  <a:lnTo>
                    <a:pt x="1756" y="315"/>
                  </a:lnTo>
                  <a:lnTo>
                    <a:pt x="1754" y="315"/>
                  </a:lnTo>
                  <a:lnTo>
                    <a:pt x="1754" y="317"/>
                  </a:lnTo>
                  <a:lnTo>
                    <a:pt x="1752" y="319"/>
                  </a:lnTo>
                  <a:lnTo>
                    <a:pt x="1750" y="319"/>
                  </a:lnTo>
                  <a:lnTo>
                    <a:pt x="1749" y="319"/>
                  </a:lnTo>
                  <a:lnTo>
                    <a:pt x="1749" y="317"/>
                  </a:lnTo>
                  <a:lnTo>
                    <a:pt x="1749" y="315"/>
                  </a:lnTo>
                  <a:lnTo>
                    <a:pt x="1749" y="313"/>
                  </a:lnTo>
                  <a:lnTo>
                    <a:pt x="1749" y="311"/>
                  </a:lnTo>
                  <a:lnTo>
                    <a:pt x="1750" y="309"/>
                  </a:lnTo>
                  <a:lnTo>
                    <a:pt x="1750" y="307"/>
                  </a:lnTo>
                  <a:lnTo>
                    <a:pt x="1752" y="307"/>
                  </a:lnTo>
                  <a:lnTo>
                    <a:pt x="1752" y="305"/>
                  </a:lnTo>
                  <a:lnTo>
                    <a:pt x="1754" y="303"/>
                  </a:lnTo>
                  <a:lnTo>
                    <a:pt x="1756" y="302"/>
                  </a:lnTo>
                  <a:lnTo>
                    <a:pt x="1758" y="302"/>
                  </a:lnTo>
                  <a:lnTo>
                    <a:pt x="1760" y="302"/>
                  </a:lnTo>
                  <a:lnTo>
                    <a:pt x="1760" y="303"/>
                  </a:lnTo>
                  <a:lnTo>
                    <a:pt x="1762" y="303"/>
                  </a:lnTo>
                  <a:lnTo>
                    <a:pt x="1764" y="303"/>
                  </a:lnTo>
                  <a:lnTo>
                    <a:pt x="1764" y="305"/>
                  </a:lnTo>
                  <a:lnTo>
                    <a:pt x="1764" y="303"/>
                  </a:lnTo>
                  <a:lnTo>
                    <a:pt x="1766" y="303"/>
                  </a:lnTo>
                  <a:lnTo>
                    <a:pt x="1768" y="303"/>
                  </a:lnTo>
                  <a:lnTo>
                    <a:pt x="1770" y="303"/>
                  </a:lnTo>
                  <a:lnTo>
                    <a:pt x="1772" y="303"/>
                  </a:lnTo>
                  <a:lnTo>
                    <a:pt x="1772" y="302"/>
                  </a:lnTo>
                  <a:lnTo>
                    <a:pt x="1773" y="302"/>
                  </a:lnTo>
                  <a:lnTo>
                    <a:pt x="1775" y="302"/>
                  </a:lnTo>
                  <a:lnTo>
                    <a:pt x="1775" y="300"/>
                  </a:lnTo>
                  <a:lnTo>
                    <a:pt x="1777" y="300"/>
                  </a:lnTo>
                  <a:lnTo>
                    <a:pt x="1777" y="298"/>
                  </a:lnTo>
                  <a:lnTo>
                    <a:pt x="1779" y="298"/>
                  </a:lnTo>
                  <a:lnTo>
                    <a:pt x="1777" y="298"/>
                  </a:lnTo>
                  <a:lnTo>
                    <a:pt x="1777" y="296"/>
                  </a:lnTo>
                  <a:lnTo>
                    <a:pt x="1777" y="294"/>
                  </a:lnTo>
                  <a:lnTo>
                    <a:pt x="1775" y="292"/>
                  </a:lnTo>
                  <a:lnTo>
                    <a:pt x="1775" y="290"/>
                  </a:lnTo>
                  <a:lnTo>
                    <a:pt x="1773" y="290"/>
                  </a:lnTo>
                  <a:lnTo>
                    <a:pt x="1773" y="288"/>
                  </a:lnTo>
                  <a:lnTo>
                    <a:pt x="1772" y="288"/>
                  </a:lnTo>
                  <a:lnTo>
                    <a:pt x="1772" y="286"/>
                  </a:lnTo>
                  <a:lnTo>
                    <a:pt x="1772" y="284"/>
                  </a:lnTo>
                  <a:lnTo>
                    <a:pt x="1772" y="282"/>
                  </a:lnTo>
                  <a:lnTo>
                    <a:pt x="1773" y="282"/>
                  </a:lnTo>
                  <a:lnTo>
                    <a:pt x="1775" y="284"/>
                  </a:lnTo>
                  <a:lnTo>
                    <a:pt x="1777" y="284"/>
                  </a:lnTo>
                  <a:lnTo>
                    <a:pt x="1779" y="284"/>
                  </a:lnTo>
                  <a:lnTo>
                    <a:pt x="1781" y="284"/>
                  </a:lnTo>
                  <a:lnTo>
                    <a:pt x="1781" y="286"/>
                  </a:lnTo>
                  <a:lnTo>
                    <a:pt x="1783" y="288"/>
                  </a:lnTo>
                  <a:lnTo>
                    <a:pt x="1785" y="288"/>
                  </a:lnTo>
                  <a:lnTo>
                    <a:pt x="1785" y="290"/>
                  </a:lnTo>
                  <a:lnTo>
                    <a:pt x="1787" y="290"/>
                  </a:lnTo>
                  <a:lnTo>
                    <a:pt x="1789" y="290"/>
                  </a:lnTo>
                  <a:lnTo>
                    <a:pt x="1789" y="292"/>
                  </a:lnTo>
                  <a:lnTo>
                    <a:pt x="1791" y="292"/>
                  </a:lnTo>
                  <a:lnTo>
                    <a:pt x="1793" y="292"/>
                  </a:lnTo>
                  <a:lnTo>
                    <a:pt x="1795" y="292"/>
                  </a:lnTo>
                  <a:lnTo>
                    <a:pt x="1797" y="292"/>
                  </a:lnTo>
                  <a:lnTo>
                    <a:pt x="1800" y="292"/>
                  </a:lnTo>
                  <a:lnTo>
                    <a:pt x="1802" y="292"/>
                  </a:lnTo>
                  <a:lnTo>
                    <a:pt x="1804" y="292"/>
                  </a:lnTo>
                  <a:lnTo>
                    <a:pt x="1806" y="292"/>
                  </a:lnTo>
                  <a:lnTo>
                    <a:pt x="1808" y="292"/>
                  </a:lnTo>
                  <a:lnTo>
                    <a:pt x="1810" y="292"/>
                  </a:lnTo>
                  <a:lnTo>
                    <a:pt x="1812" y="292"/>
                  </a:lnTo>
                  <a:lnTo>
                    <a:pt x="1814" y="294"/>
                  </a:lnTo>
                  <a:lnTo>
                    <a:pt x="1816" y="294"/>
                  </a:lnTo>
                  <a:lnTo>
                    <a:pt x="1818" y="294"/>
                  </a:lnTo>
                  <a:lnTo>
                    <a:pt x="1820" y="294"/>
                  </a:lnTo>
                  <a:lnTo>
                    <a:pt x="1821" y="294"/>
                  </a:lnTo>
                  <a:lnTo>
                    <a:pt x="1823" y="294"/>
                  </a:lnTo>
                  <a:lnTo>
                    <a:pt x="1823" y="296"/>
                  </a:lnTo>
                  <a:lnTo>
                    <a:pt x="1825" y="296"/>
                  </a:lnTo>
                  <a:lnTo>
                    <a:pt x="1827" y="296"/>
                  </a:lnTo>
                  <a:lnTo>
                    <a:pt x="1829" y="296"/>
                  </a:lnTo>
                  <a:lnTo>
                    <a:pt x="1829" y="298"/>
                  </a:lnTo>
                  <a:lnTo>
                    <a:pt x="1831" y="298"/>
                  </a:lnTo>
                  <a:lnTo>
                    <a:pt x="1833" y="298"/>
                  </a:lnTo>
                  <a:lnTo>
                    <a:pt x="1835" y="298"/>
                  </a:lnTo>
                  <a:lnTo>
                    <a:pt x="1837" y="298"/>
                  </a:lnTo>
                  <a:lnTo>
                    <a:pt x="1839" y="300"/>
                  </a:lnTo>
                  <a:lnTo>
                    <a:pt x="1839" y="298"/>
                  </a:lnTo>
                  <a:lnTo>
                    <a:pt x="1839" y="300"/>
                  </a:lnTo>
                  <a:lnTo>
                    <a:pt x="1841" y="300"/>
                  </a:lnTo>
                  <a:lnTo>
                    <a:pt x="1843" y="300"/>
                  </a:lnTo>
                  <a:lnTo>
                    <a:pt x="1845" y="300"/>
                  </a:lnTo>
                  <a:lnTo>
                    <a:pt x="1845" y="302"/>
                  </a:lnTo>
                  <a:lnTo>
                    <a:pt x="1846" y="302"/>
                  </a:lnTo>
                  <a:lnTo>
                    <a:pt x="1848" y="302"/>
                  </a:lnTo>
                  <a:lnTo>
                    <a:pt x="1850" y="303"/>
                  </a:lnTo>
                  <a:lnTo>
                    <a:pt x="1852" y="303"/>
                  </a:lnTo>
                  <a:lnTo>
                    <a:pt x="1854" y="305"/>
                  </a:lnTo>
                  <a:lnTo>
                    <a:pt x="1856" y="305"/>
                  </a:lnTo>
                  <a:lnTo>
                    <a:pt x="1858" y="307"/>
                  </a:lnTo>
                  <a:lnTo>
                    <a:pt x="1860" y="309"/>
                  </a:lnTo>
                  <a:lnTo>
                    <a:pt x="1862" y="309"/>
                  </a:lnTo>
                  <a:lnTo>
                    <a:pt x="1862" y="311"/>
                  </a:lnTo>
                  <a:lnTo>
                    <a:pt x="1864" y="311"/>
                  </a:lnTo>
                  <a:lnTo>
                    <a:pt x="1866" y="311"/>
                  </a:lnTo>
                  <a:lnTo>
                    <a:pt x="1868" y="311"/>
                  </a:lnTo>
                  <a:lnTo>
                    <a:pt x="1869" y="311"/>
                  </a:lnTo>
                  <a:lnTo>
                    <a:pt x="1871" y="311"/>
                  </a:lnTo>
                  <a:lnTo>
                    <a:pt x="1871" y="309"/>
                  </a:lnTo>
                  <a:lnTo>
                    <a:pt x="1873" y="309"/>
                  </a:lnTo>
                  <a:lnTo>
                    <a:pt x="1875" y="311"/>
                  </a:lnTo>
                  <a:lnTo>
                    <a:pt x="1877" y="311"/>
                  </a:lnTo>
                  <a:lnTo>
                    <a:pt x="1879" y="311"/>
                  </a:lnTo>
                  <a:lnTo>
                    <a:pt x="1881" y="311"/>
                  </a:lnTo>
                  <a:lnTo>
                    <a:pt x="1883" y="311"/>
                  </a:lnTo>
                  <a:lnTo>
                    <a:pt x="1885" y="311"/>
                  </a:lnTo>
                  <a:lnTo>
                    <a:pt x="1887" y="311"/>
                  </a:lnTo>
                  <a:lnTo>
                    <a:pt x="1887" y="313"/>
                  </a:lnTo>
                  <a:lnTo>
                    <a:pt x="1889" y="313"/>
                  </a:lnTo>
                  <a:lnTo>
                    <a:pt x="1891" y="313"/>
                  </a:lnTo>
                  <a:lnTo>
                    <a:pt x="1892" y="315"/>
                  </a:lnTo>
                  <a:lnTo>
                    <a:pt x="1894" y="315"/>
                  </a:lnTo>
                  <a:lnTo>
                    <a:pt x="1896" y="315"/>
                  </a:lnTo>
                  <a:lnTo>
                    <a:pt x="1898" y="317"/>
                  </a:lnTo>
                  <a:lnTo>
                    <a:pt x="1900" y="319"/>
                  </a:lnTo>
                  <a:lnTo>
                    <a:pt x="1902" y="321"/>
                  </a:lnTo>
                  <a:lnTo>
                    <a:pt x="1904" y="321"/>
                  </a:lnTo>
                  <a:lnTo>
                    <a:pt x="1904" y="323"/>
                  </a:lnTo>
                  <a:lnTo>
                    <a:pt x="1906" y="325"/>
                  </a:lnTo>
                  <a:lnTo>
                    <a:pt x="1906" y="327"/>
                  </a:lnTo>
                  <a:lnTo>
                    <a:pt x="1908" y="328"/>
                  </a:lnTo>
                  <a:lnTo>
                    <a:pt x="1908" y="332"/>
                  </a:lnTo>
                  <a:lnTo>
                    <a:pt x="1908" y="334"/>
                  </a:lnTo>
                  <a:lnTo>
                    <a:pt x="1906" y="334"/>
                  </a:lnTo>
                  <a:lnTo>
                    <a:pt x="1906" y="336"/>
                  </a:lnTo>
                  <a:lnTo>
                    <a:pt x="1904" y="336"/>
                  </a:lnTo>
                  <a:lnTo>
                    <a:pt x="1902" y="338"/>
                  </a:lnTo>
                  <a:lnTo>
                    <a:pt x="1902" y="336"/>
                  </a:lnTo>
                  <a:lnTo>
                    <a:pt x="1900" y="336"/>
                  </a:lnTo>
                  <a:lnTo>
                    <a:pt x="1902" y="336"/>
                  </a:lnTo>
                  <a:lnTo>
                    <a:pt x="1900" y="336"/>
                  </a:lnTo>
                  <a:lnTo>
                    <a:pt x="1900" y="334"/>
                  </a:lnTo>
                  <a:lnTo>
                    <a:pt x="1900" y="336"/>
                  </a:lnTo>
                  <a:lnTo>
                    <a:pt x="1900" y="334"/>
                  </a:lnTo>
                  <a:lnTo>
                    <a:pt x="1900" y="332"/>
                  </a:lnTo>
                  <a:lnTo>
                    <a:pt x="1898" y="330"/>
                  </a:lnTo>
                  <a:lnTo>
                    <a:pt x="1898" y="332"/>
                  </a:lnTo>
                  <a:lnTo>
                    <a:pt x="1896" y="332"/>
                  </a:lnTo>
                  <a:lnTo>
                    <a:pt x="1898" y="332"/>
                  </a:lnTo>
                  <a:lnTo>
                    <a:pt x="1896" y="332"/>
                  </a:lnTo>
                  <a:lnTo>
                    <a:pt x="1896" y="334"/>
                  </a:lnTo>
                  <a:lnTo>
                    <a:pt x="1894" y="336"/>
                  </a:lnTo>
                  <a:lnTo>
                    <a:pt x="1894" y="338"/>
                  </a:lnTo>
                  <a:lnTo>
                    <a:pt x="1892" y="338"/>
                  </a:lnTo>
                  <a:lnTo>
                    <a:pt x="1892" y="340"/>
                  </a:lnTo>
                  <a:lnTo>
                    <a:pt x="1892" y="342"/>
                  </a:lnTo>
                  <a:lnTo>
                    <a:pt x="1894" y="342"/>
                  </a:lnTo>
                  <a:lnTo>
                    <a:pt x="1894" y="340"/>
                  </a:lnTo>
                  <a:lnTo>
                    <a:pt x="1894" y="342"/>
                  </a:lnTo>
                  <a:lnTo>
                    <a:pt x="1896" y="342"/>
                  </a:lnTo>
                  <a:lnTo>
                    <a:pt x="1896" y="340"/>
                  </a:lnTo>
                  <a:lnTo>
                    <a:pt x="1898" y="342"/>
                  </a:lnTo>
                  <a:lnTo>
                    <a:pt x="1900" y="342"/>
                  </a:lnTo>
                  <a:lnTo>
                    <a:pt x="1902" y="342"/>
                  </a:lnTo>
                  <a:lnTo>
                    <a:pt x="1904" y="342"/>
                  </a:lnTo>
                  <a:lnTo>
                    <a:pt x="1906" y="342"/>
                  </a:lnTo>
                  <a:lnTo>
                    <a:pt x="1908" y="344"/>
                  </a:lnTo>
                  <a:lnTo>
                    <a:pt x="1910" y="344"/>
                  </a:lnTo>
                  <a:lnTo>
                    <a:pt x="1910" y="346"/>
                  </a:lnTo>
                  <a:lnTo>
                    <a:pt x="1910" y="344"/>
                  </a:lnTo>
                  <a:lnTo>
                    <a:pt x="1912" y="344"/>
                  </a:lnTo>
                  <a:lnTo>
                    <a:pt x="1912" y="346"/>
                  </a:lnTo>
                  <a:lnTo>
                    <a:pt x="1914" y="346"/>
                  </a:lnTo>
                  <a:lnTo>
                    <a:pt x="1914" y="348"/>
                  </a:lnTo>
                  <a:lnTo>
                    <a:pt x="1912" y="348"/>
                  </a:lnTo>
                  <a:lnTo>
                    <a:pt x="1910" y="348"/>
                  </a:lnTo>
                  <a:lnTo>
                    <a:pt x="1912" y="348"/>
                  </a:lnTo>
                  <a:lnTo>
                    <a:pt x="1912" y="350"/>
                  </a:lnTo>
                  <a:lnTo>
                    <a:pt x="1912" y="348"/>
                  </a:lnTo>
                  <a:lnTo>
                    <a:pt x="1912" y="350"/>
                  </a:lnTo>
                  <a:lnTo>
                    <a:pt x="1914" y="350"/>
                  </a:lnTo>
                  <a:lnTo>
                    <a:pt x="1914" y="348"/>
                  </a:lnTo>
                  <a:lnTo>
                    <a:pt x="1914" y="346"/>
                  </a:lnTo>
                  <a:lnTo>
                    <a:pt x="1916" y="346"/>
                  </a:lnTo>
                  <a:lnTo>
                    <a:pt x="1916" y="348"/>
                  </a:lnTo>
                  <a:lnTo>
                    <a:pt x="1916" y="350"/>
                  </a:lnTo>
                  <a:lnTo>
                    <a:pt x="1916" y="348"/>
                  </a:lnTo>
                  <a:lnTo>
                    <a:pt x="1916" y="350"/>
                  </a:lnTo>
                  <a:lnTo>
                    <a:pt x="1917" y="350"/>
                  </a:lnTo>
                  <a:lnTo>
                    <a:pt x="1919" y="350"/>
                  </a:lnTo>
                  <a:lnTo>
                    <a:pt x="1917" y="350"/>
                  </a:lnTo>
                  <a:lnTo>
                    <a:pt x="1917" y="351"/>
                  </a:lnTo>
                  <a:lnTo>
                    <a:pt x="1917" y="353"/>
                  </a:lnTo>
                  <a:lnTo>
                    <a:pt x="1917" y="351"/>
                  </a:lnTo>
                  <a:lnTo>
                    <a:pt x="1919" y="351"/>
                  </a:lnTo>
                  <a:lnTo>
                    <a:pt x="1921" y="351"/>
                  </a:lnTo>
                  <a:lnTo>
                    <a:pt x="1921" y="353"/>
                  </a:lnTo>
                  <a:lnTo>
                    <a:pt x="1919" y="353"/>
                  </a:lnTo>
                  <a:lnTo>
                    <a:pt x="1919" y="355"/>
                  </a:lnTo>
                  <a:lnTo>
                    <a:pt x="1917" y="355"/>
                  </a:lnTo>
                  <a:lnTo>
                    <a:pt x="1919" y="355"/>
                  </a:lnTo>
                  <a:lnTo>
                    <a:pt x="1921" y="355"/>
                  </a:lnTo>
                  <a:lnTo>
                    <a:pt x="1923" y="355"/>
                  </a:lnTo>
                  <a:lnTo>
                    <a:pt x="1923" y="353"/>
                  </a:lnTo>
                  <a:lnTo>
                    <a:pt x="1923" y="355"/>
                  </a:lnTo>
                  <a:lnTo>
                    <a:pt x="1923" y="353"/>
                  </a:lnTo>
                  <a:lnTo>
                    <a:pt x="1925" y="353"/>
                  </a:lnTo>
                  <a:lnTo>
                    <a:pt x="1925" y="355"/>
                  </a:lnTo>
                  <a:lnTo>
                    <a:pt x="1929" y="355"/>
                  </a:lnTo>
                  <a:lnTo>
                    <a:pt x="1929" y="357"/>
                  </a:lnTo>
                  <a:lnTo>
                    <a:pt x="1931" y="357"/>
                  </a:lnTo>
                  <a:lnTo>
                    <a:pt x="1931" y="359"/>
                  </a:lnTo>
                  <a:lnTo>
                    <a:pt x="1933" y="359"/>
                  </a:lnTo>
                  <a:lnTo>
                    <a:pt x="1933" y="361"/>
                  </a:lnTo>
                  <a:lnTo>
                    <a:pt x="1933" y="363"/>
                  </a:lnTo>
                  <a:lnTo>
                    <a:pt x="1933" y="361"/>
                  </a:lnTo>
                  <a:lnTo>
                    <a:pt x="1933" y="363"/>
                  </a:lnTo>
                  <a:lnTo>
                    <a:pt x="1933" y="365"/>
                  </a:lnTo>
                  <a:lnTo>
                    <a:pt x="1935" y="367"/>
                  </a:lnTo>
                  <a:lnTo>
                    <a:pt x="1935" y="369"/>
                  </a:lnTo>
                  <a:lnTo>
                    <a:pt x="1937" y="369"/>
                  </a:lnTo>
                  <a:lnTo>
                    <a:pt x="1935" y="369"/>
                  </a:lnTo>
                  <a:lnTo>
                    <a:pt x="1937" y="369"/>
                  </a:lnTo>
                  <a:lnTo>
                    <a:pt x="1935" y="369"/>
                  </a:lnTo>
                  <a:lnTo>
                    <a:pt x="1937" y="369"/>
                  </a:lnTo>
                  <a:lnTo>
                    <a:pt x="1937" y="371"/>
                  </a:lnTo>
                  <a:lnTo>
                    <a:pt x="1939" y="371"/>
                  </a:lnTo>
                  <a:lnTo>
                    <a:pt x="1939" y="373"/>
                  </a:lnTo>
                  <a:lnTo>
                    <a:pt x="1937" y="373"/>
                  </a:lnTo>
                  <a:lnTo>
                    <a:pt x="1935" y="373"/>
                  </a:lnTo>
                  <a:lnTo>
                    <a:pt x="1933" y="373"/>
                  </a:lnTo>
                  <a:lnTo>
                    <a:pt x="1933" y="375"/>
                  </a:lnTo>
                  <a:lnTo>
                    <a:pt x="1935" y="375"/>
                  </a:lnTo>
                  <a:lnTo>
                    <a:pt x="1937" y="375"/>
                  </a:lnTo>
                  <a:lnTo>
                    <a:pt x="1937" y="376"/>
                  </a:lnTo>
                  <a:lnTo>
                    <a:pt x="1939" y="376"/>
                  </a:lnTo>
                  <a:lnTo>
                    <a:pt x="1939" y="378"/>
                  </a:lnTo>
                  <a:lnTo>
                    <a:pt x="1940" y="378"/>
                  </a:lnTo>
                  <a:lnTo>
                    <a:pt x="1942" y="378"/>
                  </a:lnTo>
                  <a:lnTo>
                    <a:pt x="1942" y="380"/>
                  </a:lnTo>
                  <a:lnTo>
                    <a:pt x="1942" y="378"/>
                  </a:lnTo>
                  <a:lnTo>
                    <a:pt x="1942" y="380"/>
                  </a:lnTo>
                  <a:lnTo>
                    <a:pt x="1944" y="380"/>
                  </a:lnTo>
                  <a:lnTo>
                    <a:pt x="1946" y="380"/>
                  </a:lnTo>
                  <a:lnTo>
                    <a:pt x="1948" y="380"/>
                  </a:lnTo>
                  <a:lnTo>
                    <a:pt x="1950" y="380"/>
                  </a:lnTo>
                  <a:lnTo>
                    <a:pt x="1952" y="380"/>
                  </a:lnTo>
                  <a:lnTo>
                    <a:pt x="1952" y="378"/>
                  </a:lnTo>
                  <a:lnTo>
                    <a:pt x="1954" y="378"/>
                  </a:lnTo>
                  <a:lnTo>
                    <a:pt x="1954" y="380"/>
                  </a:lnTo>
                  <a:lnTo>
                    <a:pt x="1954" y="378"/>
                  </a:lnTo>
                  <a:lnTo>
                    <a:pt x="1954" y="380"/>
                  </a:lnTo>
                  <a:lnTo>
                    <a:pt x="1956" y="380"/>
                  </a:lnTo>
                  <a:lnTo>
                    <a:pt x="1956" y="378"/>
                  </a:lnTo>
                  <a:lnTo>
                    <a:pt x="1958" y="378"/>
                  </a:lnTo>
                  <a:lnTo>
                    <a:pt x="1960" y="378"/>
                  </a:lnTo>
                  <a:lnTo>
                    <a:pt x="1962" y="378"/>
                  </a:lnTo>
                  <a:lnTo>
                    <a:pt x="1963" y="378"/>
                  </a:lnTo>
                  <a:lnTo>
                    <a:pt x="1965" y="376"/>
                  </a:lnTo>
                  <a:lnTo>
                    <a:pt x="1967" y="376"/>
                  </a:lnTo>
                  <a:lnTo>
                    <a:pt x="1969" y="375"/>
                  </a:lnTo>
                  <a:lnTo>
                    <a:pt x="1971" y="375"/>
                  </a:lnTo>
                  <a:lnTo>
                    <a:pt x="1973" y="375"/>
                  </a:lnTo>
                  <a:lnTo>
                    <a:pt x="1973" y="373"/>
                  </a:lnTo>
                  <a:lnTo>
                    <a:pt x="1975" y="373"/>
                  </a:lnTo>
                  <a:lnTo>
                    <a:pt x="1977" y="373"/>
                  </a:lnTo>
                  <a:lnTo>
                    <a:pt x="1979" y="373"/>
                  </a:lnTo>
                  <a:lnTo>
                    <a:pt x="1979" y="371"/>
                  </a:lnTo>
                  <a:lnTo>
                    <a:pt x="1979" y="373"/>
                  </a:lnTo>
                  <a:lnTo>
                    <a:pt x="1981" y="373"/>
                  </a:lnTo>
                  <a:lnTo>
                    <a:pt x="1981" y="371"/>
                  </a:lnTo>
                  <a:lnTo>
                    <a:pt x="1983" y="371"/>
                  </a:lnTo>
                  <a:lnTo>
                    <a:pt x="1985" y="371"/>
                  </a:lnTo>
                  <a:lnTo>
                    <a:pt x="1987" y="371"/>
                  </a:lnTo>
                  <a:lnTo>
                    <a:pt x="1988" y="369"/>
                  </a:lnTo>
                  <a:lnTo>
                    <a:pt x="1990" y="369"/>
                  </a:lnTo>
                  <a:lnTo>
                    <a:pt x="1992" y="369"/>
                  </a:lnTo>
                  <a:lnTo>
                    <a:pt x="1994" y="369"/>
                  </a:lnTo>
                  <a:lnTo>
                    <a:pt x="1996" y="369"/>
                  </a:lnTo>
                  <a:lnTo>
                    <a:pt x="1998" y="369"/>
                  </a:lnTo>
                  <a:lnTo>
                    <a:pt x="2000" y="369"/>
                  </a:lnTo>
                  <a:lnTo>
                    <a:pt x="2002" y="369"/>
                  </a:lnTo>
                  <a:lnTo>
                    <a:pt x="2004" y="369"/>
                  </a:lnTo>
                  <a:lnTo>
                    <a:pt x="2006" y="369"/>
                  </a:lnTo>
                  <a:lnTo>
                    <a:pt x="2008" y="369"/>
                  </a:lnTo>
                  <a:lnTo>
                    <a:pt x="2010" y="369"/>
                  </a:lnTo>
                  <a:lnTo>
                    <a:pt x="2011" y="369"/>
                  </a:lnTo>
                  <a:lnTo>
                    <a:pt x="2013" y="369"/>
                  </a:lnTo>
                  <a:lnTo>
                    <a:pt x="2017" y="369"/>
                  </a:lnTo>
                  <a:lnTo>
                    <a:pt x="2019" y="371"/>
                  </a:lnTo>
                  <a:lnTo>
                    <a:pt x="2021" y="371"/>
                  </a:lnTo>
                  <a:lnTo>
                    <a:pt x="2023" y="371"/>
                  </a:lnTo>
                  <a:lnTo>
                    <a:pt x="2025" y="373"/>
                  </a:lnTo>
                  <a:lnTo>
                    <a:pt x="2027" y="373"/>
                  </a:lnTo>
                  <a:lnTo>
                    <a:pt x="2031" y="375"/>
                  </a:lnTo>
                  <a:lnTo>
                    <a:pt x="2033" y="375"/>
                  </a:lnTo>
                  <a:lnTo>
                    <a:pt x="2035" y="376"/>
                  </a:lnTo>
                  <a:lnTo>
                    <a:pt x="2036" y="376"/>
                  </a:lnTo>
                  <a:lnTo>
                    <a:pt x="2036" y="378"/>
                  </a:lnTo>
                  <a:lnTo>
                    <a:pt x="2038" y="378"/>
                  </a:lnTo>
                  <a:lnTo>
                    <a:pt x="2040" y="380"/>
                  </a:lnTo>
                  <a:lnTo>
                    <a:pt x="2042" y="380"/>
                  </a:lnTo>
                  <a:lnTo>
                    <a:pt x="2044" y="382"/>
                  </a:lnTo>
                  <a:lnTo>
                    <a:pt x="2046" y="384"/>
                  </a:lnTo>
                  <a:lnTo>
                    <a:pt x="2048" y="386"/>
                  </a:lnTo>
                  <a:lnTo>
                    <a:pt x="2048" y="388"/>
                  </a:lnTo>
                  <a:lnTo>
                    <a:pt x="2050" y="388"/>
                  </a:lnTo>
                  <a:lnTo>
                    <a:pt x="2050" y="390"/>
                  </a:lnTo>
                  <a:lnTo>
                    <a:pt x="2052" y="392"/>
                  </a:lnTo>
                  <a:lnTo>
                    <a:pt x="2052" y="394"/>
                  </a:lnTo>
                  <a:lnTo>
                    <a:pt x="2052" y="396"/>
                  </a:lnTo>
                  <a:lnTo>
                    <a:pt x="2054" y="396"/>
                  </a:lnTo>
                  <a:lnTo>
                    <a:pt x="2054" y="398"/>
                  </a:lnTo>
                  <a:lnTo>
                    <a:pt x="2054" y="400"/>
                  </a:lnTo>
                  <a:lnTo>
                    <a:pt x="2054" y="401"/>
                  </a:lnTo>
                  <a:lnTo>
                    <a:pt x="2054" y="403"/>
                  </a:lnTo>
                  <a:lnTo>
                    <a:pt x="2056" y="405"/>
                  </a:lnTo>
                  <a:lnTo>
                    <a:pt x="2054" y="405"/>
                  </a:lnTo>
                  <a:lnTo>
                    <a:pt x="2054" y="407"/>
                  </a:lnTo>
                  <a:lnTo>
                    <a:pt x="2054" y="409"/>
                  </a:lnTo>
                  <a:lnTo>
                    <a:pt x="2052" y="411"/>
                  </a:lnTo>
                  <a:lnTo>
                    <a:pt x="2052" y="413"/>
                  </a:lnTo>
                  <a:lnTo>
                    <a:pt x="2054" y="413"/>
                  </a:lnTo>
                  <a:lnTo>
                    <a:pt x="2052" y="413"/>
                  </a:lnTo>
                  <a:lnTo>
                    <a:pt x="2052" y="415"/>
                  </a:lnTo>
                  <a:lnTo>
                    <a:pt x="2052" y="417"/>
                  </a:lnTo>
                  <a:lnTo>
                    <a:pt x="2050" y="419"/>
                  </a:lnTo>
                  <a:lnTo>
                    <a:pt x="2050" y="421"/>
                  </a:lnTo>
                  <a:lnTo>
                    <a:pt x="2048" y="421"/>
                  </a:lnTo>
                  <a:lnTo>
                    <a:pt x="2048" y="423"/>
                  </a:lnTo>
                  <a:lnTo>
                    <a:pt x="2050" y="423"/>
                  </a:lnTo>
                  <a:lnTo>
                    <a:pt x="2050" y="424"/>
                  </a:lnTo>
                  <a:lnTo>
                    <a:pt x="2052" y="426"/>
                  </a:lnTo>
                  <a:lnTo>
                    <a:pt x="2054" y="426"/>
                  </a:lnTo>
                  <a:lnTo>
                    <a:pt x="2054" y="428"/>
                  </a:lnTo>
                  <a:lnTo>
                    <a:pt x="2056" y="428"/>
                  </a:lnTo>
                  <a:lnTo>
                    <a:pt x="2056" y="430"/>
                  </a:lnTo>
                  <a:lnTo>
                    <a:pt x="2056" y="428"/>
                  </a:lnTo>
                  <a:lnTo>
                    <a:pt x="2058" y="428"/>
                  </a:lnTo>
                  <a:lnTo>
                    <a:pt x="2059" y="430"/>
                  </a:lnTo>
                  <a:lnTo>
                    <a:pt x="2061" y="430"/>
                  </a:lnTo>
                  <a:lnTo>
                    <a:pt x="2063" y="432"/>
                  </a:lnTo>
                  <a:lnTo>
                    <a:pt x="2063" y="430"/>
                  </a:lnTo>
                  <a:lnTo>
                    <a:pt x="2065" y="430"/>
                  </a:lnTo>
                  <a:lnTo>
                    <a:pt x="2065" y="432"/>
                  </a:lnTo>
                  <a:lnTo>
                    <a:pt x="2067" y="432"/>
                  </a:lnTo>
                  <a:lnTo>
                    <a:pt x="2067" y="434"/>
                  </a:lnTo>
                  <a:lnTo>
                    <a:pt x="2069" y="434"/>
                  </a:lnTo>
                  <a:lnTo>
                    <a:pt x="2069" y="436"/>
                  </a:lnTo>
                  <a:lnTo>
                    <a:pt x="2067" y="436"/>
                  </a:lnTo>
                  <a:lnTo>
                    <a:pt x="2067" y="438"/>
                  </a:lnTo>
                  <a:lnTo>
                    <a:pt x="2067" y="440"/>
                  </a:lnTo>
                  <a:lnTo>
                    <a:pt x="2067" y="442"/>
                  </a:lnTo>
                  <a:lnTo>
                    <a:pt x="2067" y="444"/>
                  </a:lnTo>
                  <a:lnTo>
                    <a:pt x="2069" y="446"/>
                  </a:lnTo>
                  <a:lnTo>
                    <a:pt x="2067" y="446"/>
                  </a:lnTo>
                  <a:lnTo>
                    <a:pt x="2069" y="448"/>
                  </a:lnTo>
                  <a:lnTo>
                    <a:pt x="2069" y="449"/>
                  </a:lnTo>
                  <a:lnTo>
                    <a:pt x="2069" y="448"/>
                  </a:lnTo>
                  <a:lnTo>
                    <a:pt x="2071" y="446"/>
                  </a:lnTo>
                  <a:lnTo>
                    <a:pt x="2071" y="448"/>
                  </a:lnTo>
                  <a:lnTo>
                    <a:pt x="2071" y="446"/>
                  </a:lnTo>
                  <a:lnTo>
                    <a:pt x="2071" y="444"/>
                  </a:lnTo>
                  <a:lnTo>
                    <a:pt x="2069" y="444"/>
                  </a:lnTo>
                  <a:lnTo>
                    <a:pt x="2069" y="442"/>
                  </a:lnTo>
                  <a:lnTo>
                    <a:pt x="2069" y="440"/>
                  </a:lnTo>
                  <a:lnTo>
                    <a:pt x="2069" y="438"/>
                  </a:lnTo>
                  <a:lnTo>
                    <a:pt x="2071" y="438"/>
                  </a:lnTo>
                  <a:lnTo>
                    <a:pt x="2073" y="436"/>
                  </a:lnTo>
                  <a:lnTo>
                    <a:pt x="2075" y="434"/>
                  </a:lnTo>
                  <a:lnTo>
                    <a:pt x="2075" y="432"/>
                  </a:lnTo>
                  <a:lnTo>
                    <a:pt x="2077" y="432"/>
                  </a:lnTo>
                  <a:lnTo>
                    <a:pt x="2077" y="434"/>
                  </a:lnTo>
                  <a:lnTo>
                    <a:pt x="2079" y="434"/>
                  </a:lnTo>
                  <a:lnTo>
                    <a:pt x="2079" y="432"/>
                  </a:lnTo>
                  <a:lnTo>
                    <a:pt x="2081" y="430"/>
                  </a:lnTo>
                  <a:lnTo>
                    <a:pt x="2081" y="432"/>
                  </a:lnTo>
                  <a:lnTo>
                    <a:pt x="2081" y="434"/>
                  </a:lnTo>
                  <a:lnTo>
                    <a:pt x="2081" y="436"/>
                  </a:lnTo>
                  <a:lnTo>
                    <a:pt x="2079" y="436"/>
                  </a:lnTo>
                  <a:lnTo>
                    <a:pt x="2079" y="434"/>
                  </a:lnTo>
                  <a:lnTo>
                    <a:pt x="2077" y="434"/>
                  </a:lnTo>
                  <a:lnTo>
                    <a:pt x="2077" y="436"/>
                  </a:lnTo>
                  <a:lnTo>
                    <a:pt x="2077" y="438"/>
                  </a:lnTo>
                  <a:lnTo>
                    <a:pt x="2079" y="440"/>
                  </a:lnTo>
                  <a:lnTo>
                    <a:pt x="2079" y="438"/>
                  </a:lnTo>
                  <a:lnTo>
                    <a:pt x="2081" y="438"/>
                  </a:lnTo>
                  <a:lnTo>
                    <a:pt x="2082" y="438"/>
                  </a:lnTo>
                  <a:lnTo>
                    <a:pt x="2082" y="436"/>
                  </a:lnTo>
                  <a:lnTo>
                    <a:pt x="2084" y="436"/>
                  </a:lnTo>
                  <a:lnTo>
                    <a:pt x="2082" y="434"/>
                  </a:lnTo>
                  <a:lnTo>
                    <a:pt x="2084" y="434"/>
                  </a:lnTo>
                  <a:lnTo>
                    <a:pt x="2086" y="434"/>
                  </a:lnTo>
                  <a:lnTo>
                    <a:pt x="2086" y="432"/>
                  </a:lnTo>
                  <a:lnTo>
                    <a:pt x="2088" y="432"/>
                  </a:lnTo>
                  <a:lnTo>
                    <a:pt x="2088" y="430"/>
                  </a:lnTo>
                  <a:lnTo>
                    <a:pt x="2090" y="430"/>
                  </a:lnTo>
                  <a:lnTo>
                    <a:pt x="2092" y="430"/>
                  </a:lnTo>
                  <a:lnTo>
                    <a:pt x="2092" y="432"/>
                  </a:lnTo>
                  <a:lnTo>
                    <a:pt x="2094" y="432"/>
                  </a:lnTo>
                  <a:lnTo>
                    <a:pt x="2096" y="432"/>
                  </a:lnTo>
                  <a:lnTo>
                    <a:pt x="2096" y="430"/>
                  </a:lnTo>
                  <a:lnTo>
                    <a:pt x="2098" y="430"/>
                  </a:lnTo>
                  <a:lnTo>
                    <a:pt x="2100" y="428"/>
                  </a:lnTo>
                  <a:lnTo>
                    <a:pt x="2102" y="428"/>
                  </a:lnTo>
                  <a:lnTo>
                    <a:pt x="2104" y="428"/>
                  </a:lnTo>
                  <a:lnTo>
                    <a:pt x="2104" y="430"/>
                  </a:lnTo>
                  <a:lnTo>
                    <a:pt x="2107" y="430"/>
                  </a:lnTo>
                  <a:lnTo>
                    <a:pt x="2109" y="430"/>
                  </a:lnTo>
                  <a:lnTo>
                    <a:pt x="2109" y="428"/>
                  </a:lnTo>
                  <a:lnTo>
                    <a:pt x="2111" y="428"/>
                  </a:lnTo>
                  <a:lnTo>
                    <a:pt x="2111" y="426"/>
                  </a:lnTo>
                  <a:lnTo>
                    <a:pt x="2113" y="426"/>
                  </a:lnTo>
                  <a:lnTo>
                    <a:pt x="2113" y="428"/>
                  </a:lnTo>
                  <a:lnTo>
                    <a:pt x="2115" y="428"/>
                  </a:lnTo>
                  <a:lnTo>
                    <a:pt x="2115" y="430"/>
                  </a:lnTo>
                  <a:lnTo>
                    <a:pt x="2117" y="430"/>
                  </a:lnTo>
                  <a:lnTo>
                    <a:pt x="2117" y="432"/>
                  </a:lnTo>
                  <a:lnTo>
                    <a:pt x="2119" y="432"/>
                  </a:lnTo>
                  <a:lnTo>
                    <a:pt x="2119" y="434"/>
                  </a:lnTo>
                  <a:lnTo>
                    <a:pt x="2121" y="434"/>
                  </a:lnTo>
                  <a:lnTo>
                    <a:pt x="2123" y="434"/>
                  </a:lnTo>
                  <a:lnTo>
                    <a:pt x="2125" y="434"/>
                  </a:lnTo>
                  <a:lnTo>
                    <a:pt x="2127" y="434"/>
                  </a:lnTo>
                  <a:lnTo>
                    <a:pt x="2129" y="434"/>
                  </a:lnTo>
                  <a:lnTo>
                    <a:pt x="2130" y="434"/>
                  </a:lnTo>
                  <a:lnTo>
                    <a:pt x="2132" y="434"/>
                  </a:lnTo>
                  <a:lnTo>
                    <a:pt x="2134" y="434"/>
                  </a:lnTo>
                  <a:lnTo>
                    <a:pt x="2136" y="434"/>
                  </a:lnTo>
                  <a:lnTo>
                    <a:pt x="2138" y="434"/>
                  </a:lnTo>
                  <a:lnTo>
                    <a:pt x="2140" y="436"/>
                  </a:lnTo>
                  <a:lnTo>
                    <a:pt x="2142" y="436"/>
                  </a:lnTo>
                  <a:lnTo>
                    <a:pt x="2144" y="438"/>
                  </a:lnTo>
                  <a:lnTo>
                    <a:pt x="2146" y="438"/>
                  </a:lnTo>
                  <a:lnTo>
                    <a:pt x="2148" y="438"/>
                  </a:lnTo>
                  <a:lnTo>
                    <a:pt x="2150" y="438"/>
                  </a:lnTo>
                  <a:lnTo>
                    <a:pt x="2152" y="436"/>
                  </a:lnTo>
                  <a:lnTo>
                    <a:pt x="2152" y="438"/>
                  </a:lnTo>
                  <a:lnTo>
                    <a:pt x="2154" y="438"/>
                  </a:lnTo>
                  <a:lnTo>
                    <a:pt x="2155" y="438"/>
                  </a:lnTo>
                  <a:lnTo>
                    <a:pt x="2159" y="434"/>
                  </a:lnTo>
                  <a:lnTo>
                    <a:pt x="2161" y="432"/>
                  </a:lnTo>
                  <a:lnTo>
                    <a:pt x="2163" y="430"/>
                  </a:lnTo>
                  <a:lnTo>
                    <a:pt x="2163" y="428"/>
                  </a:lnTo>
                  <a:lnTo>
                    <a:pt x="2165" y="428"/>
                  </a:lnTo>
                  <a:lnTo>
                    <a:pt x="2165" y="426"/>
                  </a:lnTo>
                  <a:lnTo>
                    <a:pt x="2167" y="426"/>
                  </a:lnTo>
                  <a:lnTo>
                    <a:pt x="2169" y="426"/>
                  </a:lnTo>
                  <a:lnTo>
                    <a:pt x="2169" y="428"/>
                  </a:lnTo>
                  <a:lnTo>
                    <a:pt x="2171" y="428"/>
                  </a:lnTo>
                  <a:lnTo>
                    <a:pt x="2171" y="430"/>
                  </a:lnTo>
                  <a:lnTo>
                    <a:pt x="2169" y="432"/>
                  </a:lnTo>
                  <a:lnTo>
                    <a:pt x="2171" y="432"/>
                  </a:lnTo>
                  <a:lnTo>
                    <a:pt x="2171" y="434"/>
                  </a:lnTo>
                  <a:lnTo>
                    <a:pt x="2173" y="434"/>
                  </a:lnTo>
                  <a:lnTo>
                    <a:pt x="2175" y="434"/>
                  </a:lnTo>
                  <a:lnTo>
                    <a:pt x="2175" y="436"/>
                  </a:lnTo>
                  <a:lnTo>
                    <a:pt x="2175" y="438"/>
                  </a:lnTo>
                  <a:lnTo>
                    <a:pt x="2175" y="440"/>
                  </a:lnTo>
                  <a:lnTo>
                    <a:pt x="2175" y="442"/>
                  </a:lnTo>
                  <a:lnTo>
                    <a:pt x="2173" y="442"/>
                  </a:lnTo>
                  <a:lnTo>
                    <a:pt x="2173" y="444"/>
                  </a:lnTo>
                  <a:lnTo>
                    <a:pt x="2173" y="446"/>
                  </a:lnTo>
                  <a:lnTo>
                    <a:pt x="2175" y="448"/>
                  </a:lnTo>
                  <a:lnTo>
                    <a:pt x="2175" y="449"/>
                  </a:lnTo>
                  <a:lnTo>
                    <a:pt x="2177" y="449"/>
                  </a:lnTo>
                  <a:lnTo>
                    <a:pt x="2178" y="449"/>
                  </a:lnTo>
                  <a:lnTo>
                    <a:pt x="2180" y="449"/>
                  </a:lnTo>
                  <a:lnTo>
                    <a:pt x="2182" y="449"/>
                  </a:lnTo>
                  <a:lnTo>
                    <a:pt x="2182" y="451"/>
                  </a:lnTo>
                  <a:lnTo>
                    <a:pt x="2184" y="451"/>
                  </a:lnTo>
                  <a:lnTo>
                    <a:pt x="2186" y="453"/>
                  </a:lnTo>
                  <a:lnTo>
                    <a:pt x="2188" y="455"/>
                  </a:lnTo>
                  <a:lnTo>
                    <a:pt x="2190" y="455"/>
                  </a:lnTo>
                  <a:lnTo>
                    <a:pt x="2192" y="455"/>
                  </a:lnTo>
                  <a:lnTo>
                    <a:pt x="2192" y="457"/>
                  </a:lnTo>
                  <a:lnTo>
                    <a:pt x="2192" y="459"/>
                  </a:lnTo>
                  <a:lnTo>
                    <a:pt x="2192" y="461"/>
                  </a:lnTo>
                  <a:lnTo>
                    <a:pt x="2192" y="463"/>
                  </a:lnTo>
                  <a:lnTo>
                    <a:pt x="2192" y="465"/>
                  </a:lnTo>
                  <a:lnTo>
                    <a:pt x="2192" y="467"/>
                  </a:lnTo>
                  <a:lnTo>
                    <a:pt x="2194" y="467"/>
                  </a:lnTo>
                  <a:lnTo>
                    <a:pt x="2196" y="467"/>
                  </a:lnTo>
                  <a:lnTo>
                    <a:pt x="2198" y="467"/>
                  </a:lnTo>
                  <a:lnTo>
                    <a:pt x="2200" y="467"/>
                  </a:lnTo>
                  <a:lnTo>
                    <a:pt x="2201" y="467"/>
                  </a:lnTo>
                  <a:lnTo>
                    <a:pt x="2203" y="467"/>
                  </a:lnTo>
                  <a:lnTo>
                    <a:pt x="2203" y="465"/>
                  </a:lnTo>
                  <a:lnTo>
                    <a:pt x="2205" y="465"/>
                  </a:lnTo>
                  <a:lnTo>
                    <a:pt x="2205" y="463"/>
                  </a:lnTo>
                  <a:lnTo>
                    <a:pt x="2207" y="463"/>
                  </a:lnTo>
                  <a:lnTo>
                    <a:pt x="2209" y="463"/>
                  </a:lnTo>
                  <a:lnTo>
                    <a:pt x="2209" y="461"/>
                  </a:lnTo>
                  <a:lnTo>
                    <a:pt x="2211" y="461"/>
                  </a:lnTo>
                  <a:lnTo>
                    <a:pt x="2211" y="459"/>
                  </a:lnTo>
                  <a:lnTo>
                    <a:pt x="2213" y="459"/>
                  </a:lnTo>
                  <a:lnTo>
                    <a:pt x="2213" y="457"/>
                  </a:lnTo>
                  <a:lnTo>
                    <a:pt x="2215" y="457"/>
                  </a:lnTo>
                  <a:lnTo>
                    <a:pt x="2215" y="455"/>
                  </a:lnTo>
                  <a:lnTo>
                    <a:pt x="2215" y="453"/>
                  </a:lnTo>
                  <a:lnTo>
                    <a:pt x="2215" y="451"/>
                  </a:lnTo>
                  <a:lnTo>
                    <a:pt x="2213" y="451"/>
                  </a:lnTo>
                  <a:lnTo>
                    <a:pt x="2213" y="449"/>
                  </a:lnTo>
                  <a:lnTo>
                    <a:pt x="2213" y="448"/>
                  </a:lnTo>
                  <a:lnTo>
                    <a:pt x="2213" y="446"/>
                  </a:lnTo>
                  <a:lnTo>
                    <a:pt x="2213" y="444"/>
                  </a:lnTo>
                  <a:lnTo>
                    <a:pt x="2211" y="444"/>
                  </a:lnTo>
                  <a:lnTo>
                    <a:pt x="2211" y="442"/>
                  </a:lnTo>
                  <a:lnTo>
                    <a:pt x="2211" y="444"/>
                  </a:lnTo>
                  <a:lnTo>
                    <a:pt x="2211" y="442"/>
                  </a:lnTo>
                  <a:lnTo>
                    <a:pt x="2211" y="440"/>
                  </a:lnTo>
                  <a:lnTo>
                    <a:pt x="2211" y="438"/>
                  </a:lnTo>
                  <a:lnTo>
                    <a:pt x="2209" y="438"/>
                  </a:lnTo>
                  <a:lnTo>
                    <a:pt x="2211" y="438"/>
                  </a:lnTo>
                  <a:lnTo>
                    <a:pt x="2211" y="436"/>
                  </a:lnTo>
                  <a:lnTo>
                    <a:pt x="2209" y="436"/>
                  </a:lnTo>
                  <a:lnTo>
                    <a:pt x="2209" y="434"/>
                  </a:lnTo>
                  <a:lnTo>
                    <a:pt x="2207" y="434"/>
                  </a:lnTo>
                  <a:lnTo>
                    <a:pt x="2205" y="434"/>
                  </a:lnTo>
                  <a:lnTo>
                    <a:pt x="2203" y="434"/>
                  </a:lnTo>
                  <a:lnTo>
                    <a:pt x="2201" y="434"/>
                  </a:lnTo>
                  <a:lnTo>
                    <a:pt x="2201" y="432"/>
                  </a:lnTo>
                  <a:lnTo>
                    <a:pt x="2203" y="432"/>
                  </a:lnTo>
                  <a:lnTo>
                    <a:pt x="2203" y="430"/>
                  </a:lnTo>
                  <a:lnTo>
                    <a:pt x="2203" y="428"/>
                  </a:lnTo>
                  <a:lnTo>
                    <a:pt x="2205" y="428"/>
                  </a:lnTo>
                  <a:lnTo>
                    <a:pt x="2207" y="428"/>
                  </a:lnTo>
                  <a:lnTo>
                    <a:pt x="2209" y="426"/>
                  </a:lnTo>
                  <a:lnTo>
                    <a:pt x="2209" y="424"/>
                  </a:lnTo>
                  <a:lnTo>
                    <a:pt x="2207" y="424"/>
                  </a:lnTo>
                  <a:lnTo>
                    <a:pt x="2209" y="423"/>
                  </a:lnTo>
                  <a:lnTo>
                    <a:pt x="2207" y="423"/>
                  </a:lnTo>
                  <a:lnTo>
                    <a:pt x="2207" y="421"/>
                  </a:lnTo>
                  <a:lnTo>
                    <a:pt x="2207" y="417"/>
                  </a:lnTo>
                  <a:lnTo>
                    <a:pt x="2207" y="415"/>
                  </a:lnTo>
                  <a:lnTo>
                    <a:pt x="2209" y="415"/>
                  </a:lnTo>
                  <a:lnTo>
                    <a:pt x="2209" y="413"/>
                  </a:lnTo>
                  <a:lnTo>
                    <a:pt x="2207" y="413"/>
                  </a:lnTo>
                  <a:lnTo>
                    <a:pt x="2207" y="411"/>
                  </a:lnTo>
                  <a:lnTo>
                    <a:pt x="2205" y="411"/>
                  </a:lnTo>
                  <a:lnTo>
                    <a:pt x="2207" y="411"/>
                  </a:lnTo>
                  <a:lnTo>
                    <a:pt x="2209" y="411"/>
                  </a:lnTo>
                  <a:lnTo>
                    <a:pt x="2211" y="411"/>
                  </a:lnTo>
                  <a:lnTo>
                    <a:pt x="2211" y="413"/>
                  </a:lnTo>
                  <a:lnTo>
                    <a:pt x="2213" y="413"/>
                  </a:lnTo>
                  <a:lnTo>
                    <a:pt x="2215" y="413"/>
                  </a:lnTo>
                  <a:lnTo>
                    <a:pt x="2217" y="413"/>
                  </a:lnTo>
                  <a:lnTo>
                    <a:pt x="2219" y="413"/>
                  </a:lnTo>
                  <a:lnTo>
                    <a:pt x="2221" y="413"/>
                  </a:lnTo>
                  <a:lnTo>
                    <a:pt x="2221" y="415"/>
                  </a:lnTo>
                  <a:lnTo>
                    <a:pt x="2223" y="415"/>
                  </a:lnTo>
                  <a:lnTo>
                    <a:pt x="2225" y="415"/>
                  </a:lnTo>
                  <a:lnTo>
                    <a:pt x="2226" y="417"/>
                  </a:lnTo>
                  <a:lnTo>
                    <a:pt x="2228" y="417"/>
                  </a:lnTo>
                  <a:lnTo>
                    <a:pt x="2230" y="417"/>
                  </a:lnTo>
                  <a:lnTo>
                    <a:pt x="2232" y="417"/>
                  </a:lnTo>
                  <a:lnTo>
                    <a:pt x="2234" y="419"/>
                  </a:lnTo>
                  <a:lnTo>
                    <a:pt x="2236" y="419"/>
                  </a:lnTo>
                  <a:lnTo>
                    <a:pt x="2238" y="419"/>
                  </a:lnTo>
                  <a:lnTo>
                    <a:pt x="2240" y="419"/>
                  </a:lnTo>
                  <a:lnTo>
                    <a:pt x="2240" y="417"/>
                  </a:lnTo>
                  <a:lnTo>
                    <a:pt x="2240" y="419"/>
                  </a:lnTo>
                  <a:lnTo>
                    <a:pt x="2240" y="421"/>
                  </a:lnTo>
                  <a:lnTo>
                    <a:pt x="2242" y="421"/>
                  </a:lnTo>
                  <a:lnTo>
                    <a:pt x="2244" y="423"/>
                  </a:lnTo>
                  <a:lnTo>
                    <a:pt x="2246" y="423"/>
                  </a:lnTo>
                  <a:lnTo>
                    <a:pt x="2246" y="421"/>
                  </a:lnTo>
                  <a:lnTo>
                    <a:pt x="2248" y="421"/>
                  </a:lnTo>
                  <a:lnTo>
                    <a:pt x="2248" y="419"/>
                  </a:lnTo>
                  <a:lnTo>
                    <a:pt x="2249" y="419"/>
                  </a:lnTo>
                  <a:lnTo>
                    <a:pt x="2251" y="419"/>
                  </a:lnTo>
                  <a:lnTo>
                    <a:pt x="2251" y="421"/>
                  </a:lnTo>
                  <a:lnTo>
                    <a:pt x="2253" y="421"/>
                  </a:lnTo>
                  <a:lnTo>
                    <a:pt x="2253" y="423"/>
                  </a:lnTo>
                  <a:lnTo>
                    <a:pt x="2253" y="424"/>
                  </a:lnTo>
                  <a:lnTo>
                    <a:pt x="2255" y="424"/>
                  </a:lnTo>
                  <a:lnTo>
                    <a:pt x="2255" y="423"/>
                  </a:lnTo>
                  <a:lnTo>
                    <a:pt x="2257" y="423"/>
                  </a:lnTo>
                  <a:lnTo>
                    <a:pt x="2259" y="423"/>
                  </a:lnTo>
                  <a:lnTo>
                    <a:pt x="2259" y="421"/>
                  </a:lnTo>
                  <a:lnTo>
                    <a:pt x="2259" y="423"/>
                  </a:lnTo>
                  <a:lnTo>
                    <a:pt x="2259" y="421"/>
                  </a:lnTo>
                  <a:lnTo>
                    <a:pt x="2261" y="421"/>
                  </a:lnTo>
                  <a:lnTo>
                    <a:pt x="2261" y="423"/>
                  </a:lnTo>
                  <a:lnTo>
                    <a:pt x="2261" y="421"/>
                  </a:lnTo>
                  <a:lnTo>
                    <a:pt x="2261" y="423"/>
                  </a:lnTo>
                  <a:lnTo>
                    <a:pt x="2261" y="421"/>
                  </a:lnTo>
                  <a:lnTo>
                    <a:pt x="2261" y="423"/>
                  </a:lnTo>
                  <a:lnTo>
                    <a:pt x="2263" y="423"/>
                  </a:lnTo>
                  <a:lnTo>
                    <a:pt x="2263" y="421"/>
                  </a:lnTo>
                  <a:lnTo>
                    <a:pt x="2263" y="423"/>
                  </a:lnTo>
                  <a:lnTo>
                    <a:pt x="2265" y="423"/>
                  </a:lnTo>
                  <a:lnTo>
                    <a:pt x="2267" y="423"/>
                  </a:lnTo>
                  <a:lnTo>
                    <a:pt x="2269" y="423"/>
                  </a:lnTo>
                  <a:lnTo>
                    <a:pt x="2271" y="423"/>
                  </a:lnTo>
                  <a:lnTo>
                    <a:pt x="2273" y="423"/>
                  </a:lnTo>
                  <a:lnTo>
                    <a:pt x="2274" y="423"/>
                  </a:lnTo>
                  <a:lnTo>
                    <a:pt x="2276" y="423"/>
                  </a:lnTo>
                  <a:lnTo>
                    <a:pt x="2278" y="423"/>
                  </a:lnTo>
                  <a:lnTo>
                    <a:pt x="2280" y="423"/>
                  </a:lnTo>
                  <a:lnTo>
                    <a:pt x="2280" y="421"/>
                  </a:lnTo>
                  <a:lnTo>
                    <a:pt x="2280" y="423"/>
                  </a:lnTo>
                  <a:lnTo>
                    <a:pt x="2282" y="421"/>
                  </a:lnTo>
                  <a:lnTo>
                    <a:pt x="2284" y="421"/>
                  </a:lnTo>
                  <a:lnTo>
                    <a:pt x="2286" y="423"/>
                  </a:lnTo>
                  <a:lnTo>
                    <a:pt x="2288" y="423"/>
                  </a:lnTo>
                  <a:lnTo>
                    <a:pt x="2288" y="421"/>
                  </a:lnTo>
                  <a:lnTo>
                    <a:pt x="2290" y="421"/>
                  </a:lnTo>
                  <a:lnTo>
                    <a:pt x="2290" y="423"/>
                  </a:lnTo>
                  <a:lnTo>
                    <a:pt x="2292" y="424"/>
                  </a:lnTo>
                  <a:lnTo>
                    <a:pt x="2292" y="426"/>
                  </a:lnTo>
                  <a:lnTo>
                    <a:pt x="2294" y="426"/>
                  </a:lnTo>
                  <a:lnTo>
                    <a:pt x="2294" y="428"/>
                  </a:lnTo>
                  <a:lnTo>
                    <a:pt x="2296" y="428"/>
                  </a:lnTo>
                  <a:lnTo>
                    <a:pt x="2297" y="428"/>
                  </a:lnTo>
                  <a:lnTo>
                    <a:pt x="2297" y="430"/>
                  </a:lnTo>
                  <a:lnTo>
                    <a:pt x="2299" y="430"/>
                  </a:lnTo>
                  <a:lnTo>
                    <a:pt x="2299" y="432"/>
                  </a:lnTo>
                  <a:lnTo>
                    <a:pt x="2301" y="432"/>
                  </a:lnTo>
                  <a:lnTo>
                    <a:pt x="2303" y="432"/>
                  </a:lnTo>
                  <a:lnTo>
                    <a:pt x="2305" y="432"/>
                  </a:lnTo>
                  <a:lnTo>
                    <a:pt x="2307" y="432"/>
                  </a:lnTo>
                  <a:lnTo>
                    <a:pt x="2307" y="434"/>
                  </a:lnTo>
                  <a:lnTo>
                    <a:pt x="2309" y="434"/>
                  </a:lnTo>
                  <a:lnTo>
                    <a:pt x="2311" y="434"/>
                  </a:lnTo>
                  <a:lnTo>
                    <a:pt x="2313" y="436"/>
                  </a:lnTo>
                  <a:lnTo>
                    <a:pt x="2315" y="438"/>
                  </a:lnTo>
                  <a:lnTo>
                    <a:pt x="2317" y="438"/>
                  </a:lnTo>
                  <a:lnTo>
                    <a:pt x="2319" y="440"/>
                  </a:lnTo>
                  <a:lnTo>
                    <a:pt x="2320" y="440"/>
                  </a:lnTo>
                  <a:lnTo>
                    <a:pt x="2322" y="440"/>
                  </a:lnTo>
                  <a:lnTo>
                    <a:pt x="2324" y="440"/>
                  </a:lnTo>
                  <a:lnTo>
                    <a:pt x="2326" y="440"/>
                  </a:lnTo>
                  <a:lnTo>
                    <a:pt x="2326" y="442"/>
                  </a:lnTo>
                  <a:lnTo>
                    <a:pt x="2328" y="442"/>
                  </a:lnTo>
                  <a:lnTo>
                    <a:pt x="2330" y="442"/>
                  </a:lnTo>
                  <a:lnTo>
                    <a:pt x="2330" y="444"/>
                  </a:lnTo>
                  <a:lnTo>
                    <a:pt x="2332" y="444"/>
                  </a:lnTo>
                  <a:lnTo>
                    <a:pt x="2334" y="446"/>
                  </a:lnTo>
                  <a:lnTo>
                    <a:pt x="2336" y="448"/>
                  </a:lnTo>
                  <a:lnTo>
                    <a:pt x="2338" y="449"/>
                  </a:lnTo>
                  <a:lnTo>
                    <a:pt x="2338" y="451"/>
                  </a:lnTo>
                  <a:lnTo>
                    <a:pt x="2340" y="451"/>
                  </a:lnTo>
                  <a:lnTo>
                    <a:pt x="2342" y="453"/>
                  </a:lnTo>
                  <a:lnTo>
                    <a:pt x="2342" y="455"/>
                  </a:lnTo>
                  <a:lnTo>
                    <a:pt x="2344" y="455"/>
                  </a:lnTo>
                  <a:lnTo>
                    <a:pt x="2344" y="457"/>
                  </a:lnTo>
                  <a:lnTo>
                    <a:pt x="2345" y="457"/>
                  </a:lnTo>
                  <a:lnTo>
                    <a:pt x="2345" y="459"/>
                  </a:lnTo>
                  <a:lnTo>
                    <a:pt x="2344" y="511"/>
                  </a:lnTo>
                  <a:lnTo>
                    <a:pt x="2345" y="607"/>
                  </a:lnTo>
                  <a:lnTo>
                    <a:pt x="2344" y="607"/>
                  </a:lnTo>
                  <a:lnTo>
                    <a:pt x="2344" y="609"/>
                  </a:lnTo>
                  <a:lnTo>
                    <a:pt x="2342" y="609"/>
                  </a:lnTo>
                  <a:lnTo>
                    <a:pt x="2342" y="611"/>
                  </a:lnTo>
                  <a:lnTo>
                    <a:pt x="2340" y="613"/>
                  </a:lnTo>
                  <a:lnTo>
                    <a:pt x="2340" y="615"/>
                  </a:lnTo>
                  <a:lnTo>
                    <a:pt x="2338" y="615"/>
                  </a:lnTo>
                  <a:lnTo>
                    <a:pt x="2336" y="615"/>
                  </a:lnTo>
                  <a:lnTo>
                    <a:pt x="2334" y="617"/>
                  </a:lnTo>
                  <a:lnTo>
                    <a:pt x="2332" y="617"/>
                  </a:lnTo>
                  <a:lnTo>
                    <a:pt x="2332" y="618"/>
                  </a:lnTo>
                  <a:lnTo>
                    <a:pt x="2330" y="618"/>
                  </a:lnTo>
                  <a:lnTo>
                    <a:pt x="2330" y="620"/>
                  </a:lnTo>
                  <a:lnTo>
                    <a:pt x="2328" y="620"/>
                  </a:lnTo>
                  <a:lnTo>
                    <a:pt x="2326" y="622"/>
                  </a:lnTo>
                  <a:lnTo>
                    <a:pt x="2324" y="622"/>
                  </a:lnTo>
                  <a:lnTo>
                    <a:pt x="2326" y="622"/>
                  </a:lnTo>
                  <a:lnTo>
                    <a:pt x="2326" y="620"/>
                  </a:lnTo>
                  <a:lnTo>
                    <a:pt x="2328" y="620"/>
                  </a:lnTo>
                  <a:lnTo>
                    <a:pt x="2328" y="618"/>
                  </a:lnTo>
                  <a:lnTo>
                    <a:pt x="2326" y="618"/>
                  </a:lnTo>
                  <a:lnTo>
                    <a:pt x="2326" y="620"/>
                  </a:lnTo>
                  <a:lnTo>
                    <a:pt x="2324" y="620"/>
                  </a:lnTo>
                  <a:lnTo>
                    <a:pt x="2322" y="620"/>
                  </a:lnTo>
                  <a:lnTo>
                    <a:pt x="2320" y="620"/>
                  </a:lnTo>
                  <a:lnTo>
                    <a:pt x="2319" y="620"/>
                  </a:lnTo>
                  <a:lnTo>
                    <a:pt x="2319" y="618"/>
                  </a:lnTo>
                  <a:lnTo>
                    <a:pt x="2319" y="620"/>
                  </a:lnTo>
                  <a:lnTo>
                    <a:pt x="2317" y="620"/>
                  </a:lnTo>
                  <a:lnTo>
                    <a:pt x="2317" y="618"/>
                  </a:lnTo>
                  <a:lnTo>
                    <a:pt x="2315" y="618"/>
                  </a:lnTo>
                  <a:lnTo>
                    <a:pt x="2313" y="618"/>
                  </a:lnTo>
                  <a:lnTo>
                    <a:pt x="2311" y="618"/>
                  </a:lnTo>
                  <a:lnTo>
                    <a:pt x="2313" y="618"/>
                  </a:lnTo>
                  <a:lnTo>
                    <a:pt x="2311" y="618"/>
                  </a:lnTo>
                  <a:lnTo>
                    <a:pt x="2311" y="617"/>
                  </a:lnTo>
                  <a:lnTo>
                    <a:pt x="2309" y="617"/>
                  </a:lnTo>
                  <a:lnTo>
                    <a:pt x="2311" y="617"/>
                  </a:lnTo>
                  <a:lnTo>
                    <a:pt x="2311" y="615"/>
                  </a:lnTo>
                  <a:lnTo>
                    <a:pt x="2309" y="615"/>
                  </a:lnTo>
                  <a:lnTo>
                    <a:pt x="2307" y="615"/>
                  </a:lnTo>
                  <a:lnTo>
                    <a:pt x="2309" y="615"/>
                  </a:lnTo>
                  <a:lnTo>
                    <a:pt x="2309" y="613"/>
                  </a:lnTo>
                  <a:lnTo>
                    <a:pt x="2309" y="611"/>
                  </a:lnTo>
                  <a:lnTo>
                    <a:pt x="2307" y="611"/>
                  </a:lnTo>
                  <a:lnTo>
                    <a:pt x="2305" y="611"/>
                  </a:lnTo>
                  <a:lnTo>
                    <a:pt x="2305" y="613"/>
                  </a:lnTo>
                  <a:lnTo>
                    <a:pt x="2305" y="615"/>
                  </a:lnTo>
                  <a:lnTo>
                    <a:pt x="2307" y="615"/>
                  </a:lnTo>
                  <a:lnTo>
                    <a:pt x="2305" y="615"/>
                  </a:lnTo>
                  <a:lnTo>
                    <a:pt x="2305" y="617"/>
                  </a:lnTo>
                  <a:lnTo>
                    <a:pt x="2303" y="617"/>
                  </a:lnTo>
                  <a:lnTo>
                    <a:pt x="2303" y="615"/>
                  </a:lnTo>
                  <a:lnTo>
                    <a:pt x="2301" y="615"/>
                  </a:lnTo>
                  <a:lnTo>
                    <a:pt x="2301" y="617"/>
                  </a:lnTo>
                  <a:lnTo>
                    <a:pt x="2301" y="615"/>
                  </a:lnTo>
                  <a:lnTo>
                    <a:pt x="2299" y="615"/>
                  </a:lnTo>
                  <a:lnTo>
                    <a:pt x="2299" y="613"/>
                  </a:lnTo>
                  <a:lnTo>
                    <a:pt x="2297" y="613"/>
                  </a:lnTo>
                  <a:lnTo>
                    <a:pt x="2296" y="615"/>
                  </a:lnTo>
                  <a:lnTo>
                    <a:pt x="2294" y="615"/>
                  </a:lnTo>
                  <a:lnTo>
                    <a:pt x="2294" y="613"/>
                  </a:lnTo>
                  <a:lnTo>
                    <a:pt x="2292" y="613"/>
                  </a:lnTo>
                  <a:lnTo>
                    <a:pt x="2290" y="613"/>
                  </a:lnTo>
                  <a:lnTo>
                    <a:pt x="2290" y="615"/>
                  </a:lnTo>
                  <a:lnTo>
                    <a:pt x="2292" y="615"/>
                  </a:lnTo>
                  <a:lnTo>
                    <a:pt x="2292" y="617"/>
                  </a:lnTo>
                  <a:lnTo>
                    <a:pt x="2294" y="618"/>
                  </a:lnTo>
                  <a:lnTo>
                    <a:pt x="2294" y="620"/>
                  </a:lnTo>
                  <a:lnTo>
                    <a:pt x="2296" y="620"/>
                  </a:lnTo>
                  <a:lnTo>
                    <a:pt x="2297" y="620"/>
                  </a:lnTo>
                  <a:lnTo>
                    <a:pt x="2297" y="622"/>
                  </a:lnTo>
                  <a:lnTo>
                    <a:pt x="2297" y="624"/>
                  </a:lnTo>
                  <a:lnTo>
                    <a:pt x="2299" y="624"/>
                  </a:lnTo>
                  <a:lnTo>
                    <a:pt x="2299" y="622"/>
                  </a:lnTo>
                  <a:lnTo>
                    <a:pt x="2301" y="620"/>
                  </a:lnTo>
                  <a:lnTo>
                    <a:pt x="2303" y="618"/>
                  </a:lnTo>
                  <a:lnTo>
                    <a:pt x="2305" y="618"/>
                  </a:lnTo>
                  <a:lnTo>
                    <a:pt x="2307" y="617"/>
                  </a:lnTo>
                  <a:lnTo>
                    <a:pt x="2309" y="617"/>
                  </a:lnTo>
                  <a:lnTo>
                    <a:pt x="2309" y="618"/>
                  </a:lnTo>
                  <a:lnTo>
                    <a:pt x="2309" y="620"/>
                  </a:lnTo>
                  <a:lnTo>
                    <a:pt x="2309" y="622"/>
                  </a:lnTo>
                  <a:lnTo>
                    <a:pt x="2307" y="624"/>
                  </a:lnTo>
                  <a:lnTo>
                    <a:pt x="2309" y="624"/>
                  </a:lnTo>
                  <a:lnTo>
                    <a:pt x="2307" y="626"/>
                  </a:lnTo>
                  <a:lnTo>
                    <a:pt x="2309" y="626"/>
                  </a:lnTo>
                  <a:lnTo>
                    <a:pt x="2309" y="628"/>
                  </a:lnTo>
                  <a:lnTo>
                    <a:pt x="2311" y="630"/>
                  </a:lnTo>
                  <a:lnTo>
                    <a:pt x="2313" y="632"/>
                  </a:lnTo>
                  <a:lnTo>
                    <a:pt x="2313" y="634"/>
                  </a:lnTo>
                  <a:lnTo>
                    <a:pt x="2315" y="634"/>
                  </a:lnTo>
                  <a:lnTo>
                    <a:pt x="2317" y="636"/>
                  </a:lnTo>
                  <a:lnTo>
                    <a:pt x="2319" y="636"/>
                  </a:lnTo>
                  <a:lnTo>
                    <a:pt x="2320" y="636"/>
                  </a:lnTo>
                  <a:lnTo>
                    <a:pt x="2319" y="636"/>
                  </a:lnTo>
                  <a:lnTo>
                    <a:pt x="2319" y="634"/>
                  </a:lnTo>
                  <a:lnTo>
                    <a:pt x="2320" y="632"/>
                  </a:lnTo>
                  <a:lnTo>
                    <a:pt x="2320" y="630"/>
                  </a:lnTo>
                  <a:lnTo>
                    <a:pt x="2320" y="628"/>
                  </a:lnTo>
                  <a:lnTo>
                    <a:pt x="2320" y="630"/>
                  </a:lnTo>
                  <a:lnTo>
                    <a:pt x="2320" y="628"/>
                  </a:lnTo>
                  <a:lnTo>
                    <a:pt x="2320" y="630"/>
                  </a:lnTo>
                  <a:lnTo>
                    <a:pt x="2322" y="632"/>
                  </a:lnTo>
                  <a:lnTo>
                    <a:pt x="2322" y="634"/>
                  </a:lnTo>
                  <a:lnTo>
                    <a:pt x="2322" y="636"/>
                  </a:lnTo>
                  <a:lnTo>
                    <a:pt x="2324" y="636"/>
                  </a:lnTo>
                  <a:lnTo>
                    <a:pt x="2324" y="638"/>
                  </a:lnTo>
                  <a:lnTo>
                    <a:pt x="2324" y="640"/>
                  </a:lnTo>
                  <a:lnTo>
                    <a:pt x="2326" y="640"/>
                  </a:lnTo>
                  <a:lnTo>
                    <a:pt x="2326" y="642"/>
                  </a:lnTo>
                  <a:lnTo>
                    <a:pt x="2326" y="643"/>
                  </a:lnTo>
                  <a:lnTo>
                    <a:pt x="2328" y="649"/>
                  </a:lnTo>
                  <a:lnTo>
                    <a:pt x="2328" y="653"/>
                  </a:lnTo>
                  <a:lnTo>
                    <a:pt x="2328" y="655"/>
                  </a:lnTo>
                  <a:lnTo>
                    <a:pt x="2328" y="657"/>
                  </a:lnTo>
                  <a:lnTo>
                    <a:pt x="2328" y="659"/>
                  </a:lnTo>
                  <a:lnTo>
                    <a:pt x="2330" y="661"/>
                  </a:lnTo>
                  <a:lnTo>
                    <a:pt x="2330" y="663"/>
                  </a:lnTo>
                  <a:lnTo>
                    <a:pt x="2332" y="665"/>
                  </a:lnTo>
                  <a:lnTo>
                    <a:pt x="2332" y="667"/>
                  </a:lnTo>
                  <a:lnTo>
                    <a:pt x="2334" y="667"/>
                  </a:lnTo>
                  <a:lnTo>
                    <a:pt x="2334" y="668"/>
                  </a:lnTo>
                  <a:lnTo>
                    <a:pt x="2334" y="667"/>
                  </a:lnTo>
                  <a:lnTo>
                    <a:pt x="2334" y="668"/>
                  </a:lnTo>
                  <a:lnTo>
                    <a:pt x="2336" y="668"/>
                  </a:lnTo>
                  <a:lnTo>
                    <a:pt x="2338" y="670"/>
                  </a:lnTo>
                  <a:lnTo>
                    <a:pt x="2338" y="672"/>
                  </a:lnTo>
                  <a:lnTo>
                    <a:pt x="2338" y="674"/>
                  </a:lnTo>
                  <a:lnTo>
                    <a:pt x="2338" y="672"/>
                  </a:lnTo>
                  <a:lnTo>
                    <a:pt x="2336" y="672"/>
                  </a:lnTo>
                  <a:lnTo>
                    <a:pt x="2336" y="674"/>
                  </a:lnTo>
                  <a:lnTo>
                    <a:pt x="2336" y="676"/>
                  </a:lnTo>
                  <a:lnTo>
                    <a:pt x="2336" y="678"/>
                  </a:lnTo>
                  <a:lnTo>
                    <a:pt x="2338" y="678"/>
                  </a:lnTo>
                  <a:lnTo>
                    <a:pt x="2338" y="680"/>
                  </a:lnTo>
                  <a:lnTo>
                    <a:pt x="2340" y="680"/>
                  </a:lnTo>
                  <a:lnTo>
                    <a:pt x="2340" y="682"/>
                  </a:lnTo>
                  <a:lnTo>
                    <a:pt x="2340" y="684"/>
                  </a:lnTo>
                  <a:lnTo>
                    <a:pt x="2340" y="686"/>
                  </a:lnTo>
                  <a:lnTo>
                    <a:pt x="2340" y="688"/>
                  </a:lnTo>
                  <a:lnTo>
                    <a:pt x="2338" y="688"/>
                  </a:lnTo>
                  <a:lnTo>
                    <a:pt x="2338" y="690"/>
                  </a:lnTo>
                  <a:lnTo>
                    <a:pt x="2338" y="691"/>
                  </a:lnTo>
                  <a:lnTo>
                    <a:pt x="2336" y="691"/>
                  </a:lnTo>
                  <a:lnTo>
                    <a:pt x="2334" y="691"/>
                  </a:lnTo>
                  <a:lnTo>
                    <a:pt x="2332" y="693"/>
                  </a:lnTo>
                  <a:lnTo>
                    <a:pt x="2334" y="693"/>
                  </a:lnTo>
                  <a:lnTo>
                    <a:pt x="2334" y="695"/>
                  </a:lnTo>
                  <a:lnTo>
                    <a:pt x="2334" y="697"/>
                  </a:lnTo>
                  <a:lnTo>
                    <a:pt x="2332" y="697"/>
                  </a:lnTo>
                  <a:lnTo>
                    <a:pt x="2332" y="695"/>
                  </a:lnTo>
                  <a:lnTo>
                    <a:pt x="2330" y="695"/>
                  </a:lnTo>
                  <a:lnTo>
                    <a:pt x="2328" y="695"/>
                  </a:lnTo>
                  <a:lnTo>
                    <a:pt x="2326" y="695"/>
                  </a:lnTo>
                  <a:lnTo>
                    <a:pt x="2326" y="693"/>
                  </a:lnTo>
                  <a:lnTo>
                    <a:pt x="2324" y="693"/>
                  </a:lnTo>
                  <a:lnTo>
                    <a:pt x="2322" y="693"/>
                  </a:lnTo>
                  <a:lnTo>
                    <a:pt x="2320" y="691"/>
                  </a:lnTo>
                  <a:lnTo>
                    <a:pt x="2319" y="691"/>
                  </a:lnTo>
                  <a:lnTo>
                    <a:pt x="2319" y="690"/>
                  </a:lnTo>
                  <a:lnTo>
                    <a:pt x="2317" y="690"/>
                  </a:lnTo>
                  <a:lnTo>
                    <a:pt x="2315" y="690"/>
                  </a:lnTo>
                  <a:lnTo>
                    <a:pt x="2313" y="690"/>
                  </a:lnTo>
                  <a:lnTo>
                    <a:pt x="2311" y="690"/>
                  </a:lnTo>
                  <a:lnTo>
                    <a:pt x="2309" y="690"/>
                  </a:lnTo>
                  <a:lnTo>
                    <a:pt x="2307" y="690"/>
                  </a:lnTo>
                  <a:lnTo>
                    <a:pt x="2305" y="690"/>
                  </a:lnTo>
                  <a:lnTo>
                    <a:pt x="2303" y="690"/>
                  </a:lnTo>
                  <a:lnTo>
                    <a:pt x="2301" y="690"/>
                  </a:lnTo>
                  <a:lnTo>
                    <a:pt x="2301" y="691"/>
                  </a:lnTo>
                  <a:lnTo>
                    <a:pt x="2297" y="691"/>
                  </a:lnTo>
                  <a:lnTo>
                    <a:pt x="2297" y="693"/>
                  </a:lnTo>
                  <a:lnTo>
                    <a:pt x="2296" y="693"/>
                  </a:lnTo>
                  <a:lnTo>
                    <a:pt x="2294" y="693"/>
                  </a:lnTo>
                  <a:lnTo>
                    <a:pt x="2294" y="695"/>
                  </a:lnTo>
                  <a:lnTo>
                    <a:pt x="2292" y="697"/>
                  </a:lnTo>
                  <a:lnTo>
                    <a:pt x="2290" y="697"/>
                  </a:lnTo>
                  <a:lnTo>
                    <a:pt x="2288" y="699"/>
                  </a:lnTo>
                  <a:lnTo>
                    <a:pt x="2286" y="699"/>
                  </a:lnTo>
                  <a:lnTo>
                    <a:pt x="2282" y="701"/>
                  </a:lnTo>
                  <a:lnTo>
                    <a:pt x="2280" y="701"/>
                  </a:lnTo>
                  <a:lnTo>
                    <a:pt x="2280" y="703"/>
                  </a:lnTo>
                  <a:lnTo>
                    <a:pt x="2278" y="703"/>
                  </a:lnTo>
                  <a:lnTo>
                    <a:pt x="2278" y="705"/>
                  </a:lnTo>
                  <a:lnTo>
                    <a:pt x="2276" y="705"/>
                  </a:lnTo>
                  <a:lnTo>
                    <a:pt x="2276" y="707"/>
                  </a:lnTo>
                  <a:lnTo>
                    <a:pt x="2274" y="707"/>
                  </a:lnTo>
                  <a:lnTo>
                    <a:pt x="2273" y="707"/>
                  </a:lnTo>
                  <a:lnTo>
                    <a:pt x="2271" y="709"/>
                  </a:lnTo>
                  <a:lnTo>
                    <a:pt x="2269" y="709"/>
                  </a:lnTo>
                  <a:lnTo>
                    <a:pt x="2269" y="711"/>
                  </a:lnTo>
                  <a:lnTo>
                    <a:pt x="2267" y="711"/>
                  </a:lnTo>
                  <a:lnTo>
                    <a:pt x="2267" y="713"/>
                  </a:lnTo>
                  <a:lnTo>
                    <a:pt x="2265" y="713"/>
                  </a:lnTo>
                  <a:lnTo>
                    <a:pt x="2263" y="713"/>
                  </a:lnTo>
                  <a:lnTo>
                    <a:pt x="2261" y="713"/>
                  </a:lnTo>
                  <a:lnTo>
                    <a:pt x="2259" y="713"/>
                  </a:lnTo>
                  <a:lnTo>
                    <a:pt x="2259" y="715"/>
                  </a:lnTo>
                  <a:lnTo>
                    <a:pt x="2259" y="713"/>
                  </a:lnTo>
                  <a:lnTo>
                    <a:pt x="2259" y="715"/>
                  </a:lnTo>
                  <a:lnTo>
                    <a:pt x="2257" y="716"/>
                  </a:lnTo>
                  <a:lnTo>
                    <a:pt x="2255" y="716"/>
                  </a:lnTo>
                  <a:lnTo>
                    <a:pt x="2255" y="718"/>
                  </a:lnTo>
                  <a:lnTo>
                    <a:pt x="2255" y="716"/>
                  </a:lnTo>
                  <a:lnTo>
                    <a:pt x="2253" y="716"/>
                  </a:lnTo>
                  <a:lnTo>
                    <a:pt x="2253" y="715"/>
                  </a:lnTo>
                  <a:lnTo>
                    <a:pt x="2251" y="715"/>
                  </a:lnTo>
                  <a:lnTo>
                    <a:pt x="2251" y="716"/>
                  </a:lnTo>
                  <a:lnTo>
                    <a:pt x="2251" y="718"/>
                  </a:lnTo>
                  <a:lnTo>
                    <a:pt x="2249" y="718"/>
                  </a:lnTo>
                  <a:lnTo>
                    <a:pt x="2251" y="718"/>
                  </a:lnTo>
                  <a:lnTo>
                    <a:pt x="2251" y="720"/>
                  </a:lnTo>
                  <a:lnTo>
                    <a:pt x="2249" y="720"/>
                  </a:lnTo>
                  <a:lnTo>
                    <a:pt x="2248" y="720"/>
                  </a:lnTo>
                  <a:lnTo>
                    <a:pt x="2248" y="722"/>
                  </a:lnTo>
                  <a:lnTo>
                    <a:pt x="2248" y="724"/>
                  </a:lnTo>
                  <a:lnTo>
                    <a:pt x="2246" y="724"/>
                  </a:lnTo>
                  <a:lnTo>
                    <a:pt x="2246" y="726"/>
                  </a:lnTo>
                  <a:lnTo>
                    <a:pt x="2244" y="726"/>
                  </a:lnTo>
                  <a:lnTo>
                    <a:pt x="2244" y="724"/>
                  </a:lnTo>
                  <a:lnTo>
                    <a:pt x="2242" y="724"/>
                  </a:lnTo>
                  <a:lnTo>
                    <a:pt x="2242" y="722"/>
                  </a:lnTo>
                  <a:lnTo>
                    <a:pt x="2242" y="724"/>
                  </a:lnTo>
                  <a:lnTo>
                    <a:pt x="2240" y="724"/>
                  </a:lnTo>
                  <a:lnTo>
                    <a:pt x="2240" y="726"/>
                  </a:lnTo>
                  <a:lnTo>
                    <a:pt x="2242" y="726"/>
                  </a:lnTo>
                  <a:lnTo>
                    <a:pt x="2242" y="728"/>
                  </a:lnTo>
                  <a:lnTo>
                    <a:pt x="2244" y="728"/>
                  </a:lnTo>
                  <a:lnTo>
                    <a:pt x="2242" y="728"/>
                  </a:lnTo>
                  <a:lnTo>
                    <a:pt x="2242" y="730"/>
                  </a:lnTo>
                  <a:lnTo>
                    <a:pt x="2240" y="730"/>
                  </a:lnTo>
                  <a:lnTo>
                    <a:pt x="2240" y="728"/>
                  </a:lnTo>
                  <a:lnTo>
                    <a:pt x="2238" y="728"/>
                  </a:lnTo>
                  <a:lnTo>
                    <a:pt x="2240" y="728"/>
                  </a:lnTo>
                  <a:lnTo>
                    <a:pt x="2240" y="730"/>
                  </a:lnTo>
                  <a:lnTo>
                    <a:pt x="2238" y="732"/>
                  </a:lnTo>
                  <a:lnTo>
                    <a:pt x="2236" y="732"/>
                  </a:lnTo>
                  <a:lnTo>
                    <a:pt x="2234" y="730"/>
                  </a:lnTo>
                  <a:lnTo>
                    <a:pt x="2234" y="732"/>
                  </a:lnTo>
                  <a:lnTo>
                    <a:pt x="2234" y="734"/>
                  </a:lnTo>
                  <a:lnTo>
                    <a:pt x="2236" y="734"/>
                  </a:lnTo>
                  <a:lnTo>
                    <a:pt x="2234" y="734"/>
                  </a:lnTo>
                  <a:lnTo>
                    <a:pt x="2232" y="734"/>
                  </a:lnTo>
                  <a:lnTo>
                    <a:pt x="2234" y="734"/>
                  </a:lnTo>
                  <a:lnTo>
                    <a:pt x="2234" y="736"/>
                  </a:lnTo>
                  <a:lnTo>
                    <a:pt x="2236" y="736"/>
                  </a:lnTo>
                  <a:lnTo>
                    <a:pt x="2234" y="738"/>
                  </a:lnTo>
                  <a:lnTo>
                    <a:pt x="2234" y="736"/>
                  </a:lnTo>
                  <a:lnTo>
                    <a:pt x="2234" y="738"/>
                  </a:lnTo>
                  <a:lnTo>
                    <a:pt x="2232" y="738"/>
                  </a:lnTo>
                  <a:lnTo>
                    <a:pt x="2232" y="736"/>
                  </a:lnTo>
                  <a:lnTo>
                    <a:pt x="2230" y="736"/>
                  </a:lnTo>
                  <a:lnTo>
                    <a:pt x="2230" y="734"/>
                  </a:lnTo>
                  <a:lnTo>
                    <a:pt x="2228" y="734"/>
                  </a:lnTo>
                  <a:lnTo>
                    <a:pt x="2228" y="736"/>
                  </a:lnTo>
                  <a:lnTo>
                    <a:pt x="2230" y="736"/>
                  </a:lnTo>
                  <a:lnTo>
                    <a:pt x="2230" y="738"/>
                  </a:lnTo>
                  <a:lnTo>
                    <a:pt x="2230" y="736"/>
                  </a:lnTo>
                  <a:lnTo>
                    <a:pt x="2232" y="738"/>
                  </a:lnTo>
                  <a:lnTo>
                    <a:pt x="2232" y="739"/>
                  </a:lnTo>
                  <a:lnTo>
                    <a:pt x="2230" y="739"/>
                  </a:lnTo>
                  <a:lnTo>
                    <a:pt x="2230" y="741"/>
                  </a:lnTo>
                  <a:lnTo>
                    <a:pt x="2228" y="741"/>
                  </a:lnTo>
                  <a:lnTo>
                    <a:pt x="2228" y="743"/>
                  </a:lnTo>
                  <a:lnTo>
                    <a:pt x="2226" y="743"/>
                  </a:lnTo>
                  <a:lnTo>
                    <a:pt x="2226" y="741"/>
                  </a:lnTo>
                  <a:lnTo>
                    <a:pt x="2225" y="741"/>
                  </a:lnTo>
                  <a:lnTo>
                    <a:pt x="2225" y="743"/>
                  </a:lnTo>
                  <a:lnTo>
                    <a:pt x="2223" y="743"/>
                  </a:lnTo>
                  <a:lnTo>
                    <a:pt x="2223" y="745"/>
                  </a:lnTo>
                  <a:lnTo>
                    <a:pt x="2225" y="745"/>
                  </a:lnTo>
                  <a:lnTo>
                    <a:pt x="2223" y="745"/>
                  </a:lnTo>
                  <a:lnTo>
                    <a:pt x="2221" y="745"/>
                  </a:lnTo>
                  <a:lnTo>
                    <a:pt x="2221" y="747"/>
                  </a:lnTo>
                  <a:lnTo>
                    <a:pt x="2221" y="749"/>
                  </a:lnTo>
                  <a:lnTo>
                    <a:pt x="2219" y="749"/>
                  </a:lnTo>
                  <a:lnTo>
                    <a:pt x="2217" y="749"/>
                  </a:lnTo>
                  <a:lnTo>
                    <a:pt x="2217" y="751"/>
                  </a:lnTo>
                  <a:lnTo>
                    <a:pt x="2215" y="751"/>
                  </a:lnTo>
                  <a:lnTo>
                    <a:pt x="2213" y="753"/>
                  </a:lnTo>
                  <a:lnTo>
                    <a:pt x="2211" y="753"/>
                  </a:lnTo>
                  <a:lnTo>
                    <a:pt x="2211" y="755"/>
                  </a:lnTo>
                  <a:lnTo>
                    <a:pt x="2209" y="755"/>
                  </a:lnTo>
                  <a:lnTo>
                    <a:pt x="2209" y="757"/>
                  </a:lnTo>
                  <a:lnTo>
                    <a:pt x="2209" y="759"/>
                  </a:lnTo>
                  <a:lnTo>
                    <a:pt x="2207" y="759"/>
                  </a:lnTo>
                  <a:lnTo>
                    <a:pt x="2207" y="761"/>
                  </a:lnTo>
                  <a:lnTo>
                    <a:pt x="2207" y="763"/>
                  </a:lnTo>
                  <a:lnTo>
                    <a:pt x="2205" y="764"/>
                  </a:lnTo>
                  <a:lnTo>
                    <a:pt x="2205" y="766"/>
                  </a:lnTo>
                  <a:lnTo>
                    <a:pt x="2205" y="768"/>
                  </a:lnTo>
                  <a:lnTo>
                    <a:pt x="2203" y="768"/>
                  </a:lnTo>
                  <a:lnTo>
                    <a:pt x="2201" y="768"/>
                  </a:lnTo>
                  <a:lnTo>
                    <a:pt x="2201" y="766"/>
                  </a:lnTo>
                  <a:lnTo>
                    <a:pt x="2200" y="764"/>
                  </a:lnTo>
                  <a:lnTo>
                    <a:pt x="2198" y="764"/>
                  </a:lnTo>
                  <a:lnTo>
                    <a:pt x="2198" y="763"/>
                  </a:lnTo>
                  <a:lnTo>
                    <a:pt x="2198" y="761"/>
                  </a:lnTo>
                  <a:lnTo>
                    <a:pt x="2198" y="759"/>
                  </a:lnTo>
                  <a:lnTo>
                    <a:pt x="2196" y="759"/>
                  </a:lnTo>
                  <a:lnTo>
                    <a:pt x="2196" y="757"/>
                  </a:lnTo>
                  <a:lnTo>
                    <a:pt x="2196" y="755"/>
                  </a:lnTo>
                  <a:lnTo>
                    <a:pt x="2194" y="755"/>
                  </a:lnTo>
                  <a:lnTo>
                    <a:pt x="2194" y="753"/>
                  </a:lnTo>
                  <a:lnTo>
                    <a:pt x="2192" y="753"/>
                  </a:lnTo>
                  <a:lnTo>
                    <a:pt x="2190" y="751"/>
                  </a:lnTo>
                  <a:lnTo>
                    <a:pt x="2188" y="751"/>
                  </a:lnTo>
                  <a:lnTo>
                    <a:pt x="2186" y="751"/>
                  </a:lnTo>
                  <a:lnTo>
                    <a:pt x="2184" y="751"/>
                  </a:lnTo>
                  <a:lnTo>
                    <a:pt x="2182" y="751"/>
                  </a:lnTo>
                  <a:lnTo>
                    <a:pt x="2180" y="751"/>
                  </a:lnTo>
                  <a:lnTo>
                    <a:pt x="2178" y="751"/>
                  </a:lnTo>
                  <a:lnTo>
                    <a:pt x="2178" y="749"/>
                  </a:lnTo>
                  <a:lnTo>
                    <a:pt x="2177" y="749"/>
                  </a:lnTo>
                  <a:lnTo>
                    <a:pt x="2175" y="749"/>
                  </a:lnTo>
                  <a:lnTo>
                    <a:pt x="2173" y="751"/>
                  </a:lnTo>
                  <a:lnTo>
                    <a:pt x="2171" y="751"/>
                  </a:lnTo>
                  <a:lnTo>
                    <a:pt x="2169" y="751"/>
                  </a:lnTo>
                  <a:lnTo>
                    <a:pt x="2169" y="753"/>
                  </a:lnTo>
                  <a:lnTo>
                    <a:pt x="2167" y="751"/>
                  </a:lnTo>
                  <a:lnTo>
                    <a:pt x="2167" y="753"/>
                  </a:lnTo>
                  <a:lnTo>
                    <a:pt x="2165" y="753"/>
                  </a:lnTo>
                  <a:lnTo>
                    <a:pt x="2165" y="755"/>
                  </a:lnTo>
                  <a:lnTo>
                    <a:pt x="2163" y="755"/>
                  </a:lnTo>
                  <a:lnTo>
                    <a:pt x="2161" y="755"/>
                  </a:lnTo>
                  <a:lnTo>
                    <a:pt x="2159" y="755"/>
                  </a:lnTo>
                  <a:lnTo>
                    <a:pt x="2159" y="757"/>
                  </a:lnTo>
                  <a:lnTo>
                    <a:pt x="2157" y="757"/>
                  </a:lnTo>
                  <a:lnTo>
                    <a:pt x="2157" y="755"/>
                  </a:lnTo>
                  <a:lnTo>
                    <a:pt x="2155" y="755"/>
                  </a:lnTo>
                  <a:lnTo>
                    <a:pt x="2155" y="757"/>
                  </a:lnTo>
                  <a:lnTo>
                    <a:pt x="2157" y="757"/>
                  </a:lnTo>
                  <a:lnTo>
                    <a:pt x="2157" y="759"/>
                  </a:lnTo>
                  <a:lnTo>
                    <a:pt x="2155" y="759"/>
                  </a:lnTo>
                  <a:lnTo>
                    <a:pt x="2154" y="761"/>
                  </a:lnTo>
                  <a:lnTo>
                    <a:pt x="2154" y="763"/>
                  </a:lnTo>
                  <a:lnTo>
                    <a:pt x="2152" y="763"/>
                  </a:lnTo>
                  <a:lnTo>
                    <a:pt x="2152" y="764"/>
                  </a:lnTo>
                  <a:lnTo>
                    <a:pt x="2150" y="764"/>
                  </a:lnTo>
                  <a:lnTo>
                    <a:pt x="2150" y="766"/>
                  </a:lnTo>
                  <a:lnTo>
                    <a:pt x="2148" y="766"/>
                  </a:lnTo>
                  <a:lnTo>
                    <a:pt x="2148" y="768"/>
                  </a:lnTo>
                  <a:lnTo>
                    <a:pt x="2146" y="770"/>
                  </a:lnTo>
                  <a:lnTo>
                    <a:pt x="2146" y="772"/>
                  </a:lnTo>
                  <a:lnTo>
                    <a:pt x="2144" y="772"/>
                  </a:lnTo>
                  <a:lnTo>
                    <a:pt x="2142" y="772"/>
                  </a:lnTo>
                  <a:lnTo>
                    <a:pt x="2142" y="770"/>
                  </a:lnTo>
                  <a:lnTo>
                    <a:pt x="2142" y="768"/>
                  </a:lnTo>
                  <a:lnTo>
                    <a:pt x="2144" y="768"/>
                  </a:lnTo>
                  <a:lnTo>
                    <a:pt x="2144" y="766"/>
                  </a:lnTo>
                  <a:lnTo>
                    <a:pt x="2144" y="764"/>
                  </a:lnTo>
                  <a:lnTo>
                    <a:pt x="2144" y="763"/>
                  </a:lnTo>
                  <a:lnTo>
                    <a:pt x="2146" y="763"/>
                  </a:lnTo>
                  <a:lnTo>
                    <a:pt x="2146" y="761"/>
                  </a:lnTo>
                  <a:lnTo>
                    <a:pt x="2144" y="759"/>
                  </a:lnTo>
                  <a:lnTo>
                    <a:pt x="2146" y="759"/>
                  </a:lnTo>
                  <a:lnTo>
                    <a:pt x="2144" y="759"/>
                  </a:lnTo>
                  <a:lnTo>
                    <a:pt x="2146" y="759"/>
                  </a:lnTo>
                  <a:lnTo>
                    <a:pt x="2146" y="757"/>
                  </a:lnTo>
                  <a:lnTo>
                    <a:pt x="2144" y="757"/>
                  </a:lnTo>
                  <a:lnTo>
                    <a:pt x="2146" y="757"/>
                  </a:lnTo>
                  <a:lnTo>
                    <a:pt x="2146" y="755"/>
                  </a:lnTo>
                  <a:lnTo>
                    <a:pt x="2146" y="753"/>
                  </a:lnTo>
                  <a:lnTo>
                    <a:pt x="2144" y="753"/>
                  </a:lnTo>
                  <a:lnTo>
                    <a:pt x="2144" y="755"/>
                  </a:lnTo>
                  <a:lnTo>
                    <a:pt x="2142" y="755"/>
                  </a:lnTo>
                  <a:lnTo>
                    <a:pt x="2144" y="755"/>
                  </a:lnTo>
                  <a:lnTo>
                    <a:pt x="2142" y="755"/>
                  </a:lnTo>
                  <a:lnTo>
                    <a:pt x="2142" y="757"/>
                  </a:lnTo>
                  <a:lnTo>
                    <a:pt x="2140" y="757"/>
                  </a:lnTo>
                  <a:lnTo>
                    <a:pt x="2138" y="757"/>
                  </a:lnTo>
                  <a:lnTo>
                    <a:pt x="2138" y="759"/>
                  </a:lnTo>
                  <a:lnTo>
                    <a:pt x="2136" y="759"/>
                  </a:lnTo>
                  <a:lnTo>
                    <a:pt x="2136" y="761"/>
                  </a:lnTo>
                  <a:lnTo>
                    <a:pt x="2134" y="761"/>
                  </a:lnTo>
                  <a:lnTo>
                    <a:pt x="2132" y="761"/>
                  </a:lnTo>
                  <a:lnTo>
                    <a:pt x="2132" y="763"/>
                  </a:lnTo>
                  <a:lnTo>
                    <a:pt x="2130" y="763"/>
                  </a:lnTo>
                  <a:lnTo>
                    <a:pt x="2130" y="764"/>
                  </a:lnTo>
                  <a:lnTo>
                    <a:pt x="2129" y="764"/>
                  </a:lnTo>
                  <a:lnTo>
                    <a:pt x="2129" y="763"/>
                  </a:lnTo>
                  <a:lnTo>
                    <a:pt x="2129" y="764"/>
                  </a:lnTo>
                  <a:lnTo>
                    <a:pt x="2127" y="764"/>
                  </a:lnTo>
                  <a:lnTo>
                    <a:pt x="2129" y="764"/>
                  </a:lnTo>
                  <a:lnTo>
                    <a:pt x="2129" y="766"/>
                  </a:lnTo>
                  <a:lnTo>
                    <a:pt x="2130" y="766"/>
                  </a:lnTo>
                  <a:lnTo>
                    <a:pt x="2129" y="766"/>
                  </a:lnTo>
                  <a:lnTo>
                    <a:pt x="2129" y="768"/>
                  </a:lnTo>
                  <a:lnTo>
                    <a:pt x="2129" y="770"/>
                  </a:lnTo>
                  <a:lnTo>
                    <a:pt x="2127" y="772"/>
                  </a:lnTo>
                  <a:lnTo>
                    <a:pt x="2125" y="772"/>
                  </a:lnTo>
                  <a:lnTo>
                    <a:pt x="2125" y="774"/>
                  </a:lnTo>
                  <a:lnTo>
                    <a:pt x="2125" y="772"/>
                  </a:lnTo>
                  <a:lnTo>
                    <a:pt x="2123" y="772"/>
                  </a:lnTo>
                  <a:lnTo>
                    <a:pt x="2123" y="770"/>
                  </a:lnTo>
                  <a:lnTo>
                    <a:pt x="2123" y="768"/>
                  </a:lnTo>
                  <a:lnTo>
                    <a:pt x="2123" y="766"/>
                  </a:lnTo>
                  <a:lnTo>
                    <a:pt x="2121" y="766"/>
                  </a:lnTo>
                  <a:lnTo>
                    <a:pt x="2121" y="764"/>
                  </a:lnTo>
                  <a:lnTo>
                    <a:pt x="2119" y="764"/>
                  </a:lnTo>
                  <a:lnTo>
                    <a:pt x="2117" y="764"/>
                  </a:lnTo>
                  <a:lnTo>
                    <a:pt x="2117" y="766"/>
                  </a:lnTo>
                  <a:lnTo>
                    <a:pt x="2115" y="768"/>
                  </a:lnTo>
                  <a:lnTo>
                    <a:pt x="2113" y="768"/>
                  </a:lnTo>
                  <a:lnTo>
                    <a:pt x="2113" y="770"/>
                  </a:lnTo>
                  <a:lnTo>
                    <a:pt x="2115" y="770"/>
                  </a:lnTo>
                  <a:lnTo>
                    <a:pt x="2113" y="770"/>
                  </a:lnTo>
                  <a:lnTo>
                    <a:pt x="2113" y="768"/>
                  </a:lnTo>
                  <a:lnTo>
                    <a:pt x="2115" y="768"/>
                  </a:lnTo>
                  <a:lnTo>
                    <a:pt x="2115" y="766"/>
                  </a:lnTo>
                  <a:lnTo>
                    <a:pt x="2115" y="768"/>
                  </a:lnTo>
                  <a:lnTo>
                    <a:pt x="2115" y="766"/>
                  </a:lnTo>
                  <a:lnTo>
                    <a:pt x="2113" y="766"/>
                  </a:lnTo>
                  <a:lnTo>
                    <a:pt x="2111" y="766"/>
                  </a:lnTo>
                  <a:lnTo>
                    <a:pt x="2109" y="766"/>
                  </a:lnTo>
                  <a:lnTo>
                    <a:pt x="2109" y="768"/>
                  </a:lnTo>
                  <a:lnTo>
                    <a:pt x="2107" y="768"/>
                  </a:lnTo>
                  <a:lnTo>
                    <a:pt x="2107" y="770"/>
                  </a:lnTo>
                  <a:lnTo>
                    <a:pt x="2106" y="770"/>
                  </a:lnTo>
                  <a:lnTo>
                    <a:pt x="2104" y="770"/>
                  </a:lnTo>
                  <a:lnTo>
                    <a:pt x="2104" y="772"/>
                  </a:lnTo>
                  <a:lnTo>
                    <a:pt x="2104" y="774"/>
                  </a:lnTo>
                  <a:lnTo>
                    <a:pt x="2102" y="774"/>
                  </a:lnTo>
                  <a:lnTo>
                    <a:pt x="2102" y="776"/>
                  </a:lnTo>
                  <a:lnTo>
                    <a:pt x="2104" y="776"/>
                  </a:lnTo>
                  <a:lnTo>
                    <a:pt x="2104" y="778"/>
                  </a:lnTo>
                  <a:lnTo>
                    <a:pt x="2102" y="780"/>
                  </a:lnTo>
                  <a:lnTo>
                    <a:pt x="2102" y="778"/>
                  </a:lnTo>
                  <a:lnTo>
                    <a:pt x="2102" y="780"/>
                  </a:lnTo>
                  <a:lnTo>
                    <a:pt x="2100" y="780"/>
                  </a:lnTo>
                  <a:lnTo>
                    <a:pt x="2100" y="782"/>
                  </a:lnTo>
                  <a:lnTo>
                    <a:pt x="2100" y="780"/>
                  </a:lnTo>
                  <a:lnTo>
                    <a:pt x="2102" y="780"/>
                  </a:lnTo>
                  <a:lnTo>
                    <a:pt x="2100" y="780"/>
                  </a:lnTo>
                  <a:lnTo>
                    <a:pt x="2100" y="782"/>
                  </a:lnTo>
                  <a:lnTo>
                    <a:pt x="2102" y="784"/>
                  </a:lnTo>
                  <a:lnTo>
                    <a:pt x="2102" y="786"/>
                  </a:lnTo>
                  <a:lnTo>
                    <a:pt x="2102" y="788"/>
                  </a:lnTo>
                  <a:lnTo>
                    <a:pt x="2102" y="789"/>
                  </a:lnTo>
                  <a:lnTo>
                    <a:pt x="2102" y="788"/>
                  </a:lnTo>
                  <a:lnTo>
                    <a:pt x="2100" y="788"/>
                  </a:lnTo>
                  <a:lnTo>
                    <a:pt x="2098" y="788"/>
                  </a:lnTo>
                  <a:lnTo>
                    <a:pt x="2098" y="789"/>
                  </a:lnTo>
                  <a:lnTo>
                    <a:pt x="2098" y="791"/>
                  </a:lnTo>
                  <a:lnTo>
                    <a:pt x="2100" y="791"/>
                  </a:lnTo>
                  <a:lnTo>
                    <a:pt x="2098" y="791"/>
                  </a:lnTo>
                  <a:lnTo>
                    <a:pt x="2100" y="791"/>
                  </a:lnTo>
                  <a:lnTo>
                    <a:pt x="2102" y="793"/>
                  </a:lnTo>
                  <a:lnTo>
                    <a:pt x="2100" y="795"/>
                  </a:lnTo>
                  <a:lnTo>
                    <a:pt x="2100" y="793"/>
                  </a:lnTo>
                  <a:lnTo>
                    <a:pt x="2098" y="793"/>
                  </a:lnTo>
                  <a:lnTo>
                    <a:pt x="2098" y="791"/>
                  </a:lnTo>
                  <a:lnTo>
                    <a:pt x="2098" y="793"/>
                  </a:lnTo>
                  <a:lnTo>
                    <a:pt x="2100" y="793"/>
                  </a:lnTo>
                  <a:lnTo>
                    <a:pt x="2100" y="791"/>
                  </a:lnTo>
                  <a:lnTo>
                    <a:pt x="2098" y="791"/>
                  </a:lnTo>
                  <a:lnTo>
                    <a:pt x="2096" y="791"/>
                  </a:lnTo>
                  <a:lnTo>
                    <a:pt x="2096" y="793"/>
                  </a:lnTo>
                  <a:lnTo>
                    <a:pt x="2096" y="795"/>
                  </a:lnTo>
                  <a:lnTo>
                    <a:pt x="2098" y="795"/>
                  </a:lnTo>
                  <a:lnTo>
                    <a:pt x="2098" y="797"/>
                  </a:lnTo>
                  <a:lnTo>
                    <a:pt x="2096" y="797"/>
                  </a:lnTo>
                  <a:lnTo>
                    <a:pt x="2096" y="799"/>
                  </a:lnTo>
                  <a:lnTo>
                    <a:pt x="2094" y="799"/>
                  </a:lnTo>
                  <a:lnTo>
                    <a:pt x="2094" y="801"/>
                  </a:lnTo>
                  <a:lnTo>
                    <a:pt x="2092" y="801"/>
                  </a:lnTo>
                  <a:lnTo>
                    <a:pt x="2092" y="803"/>
                  </a:lnTo>
                  <a:lnTo>
                    <a:pt x="2090" y="803"/>
                  </a:lnTo>
                  <a:lnTo>
                    <a:pt x="2088" y="805"/>
                  </a:lnTo>
                  <a:lnTo>
                    <a:pt x="2088" y="807"/>
                  </a:lnTo>
                  <a:lnTo>
                    <a:pt x="2088" y="809"/>
                  </a:lnTo>
                  <a:lnTo>
                    <a:pt x="2086" y="809"/>
                  </a:lnTo>
                  <a:lnTo>
                    <a:pt x="2086" y="811"/>
                  </a:lnTo>
                  <a:lnTo>
                    <a:pt x="2086" y="812"/>
                  </a:lnTo>
                  <a:lnTo>
                    <a:pt x="2084" y="812"/>
                  </a:lnTo>
                  <a:lnTo>
                    <a:pt x="2084" y="814"/>
                  </a:lnTo>
                  <a:lnTo>
                    <a:pt x="2084" y="816"/>
                  </a:lnTo>
                  <a:lnTo>
                    <a:pt x="2082" y="818"/>
                  </a:lnTo>
                  <a:lnTo>
                    <a:pt x="2082" y="820"/>
                  </a:lnTo>
                  <a:lnTo>
                    <a:pt x="2082" y="822"/>
                  </a:lnTo>
                  <a:lnTo>
                    <a:pt x="2082" y="824"/>
                  </a:lnTo>
                  <a:lnTo>
                    <a:pt x="2082" y="826"/>
                  </a:lnTo>
                  <a:lnTo>
                    <a:pt x="2084" y="828"/>
                  </a:lnTo>
                  <a:lnTo>
                    <a:pt x="2086" y="830"/>
                  </a:lnTo>
                  <a:lnTo>
                    <a:pt x="2088" y="830"/>
                  </a:lnTo>
                  <a:lnTo>
                    <a:pt x="2090" y="830"/>
                  </a:lnTo>
                  <a:lnTo>
                    <a:pt x="2090" y="828"/>
                  </a:lnTo>
                  <a:lnTo>
                    <a:pt x="2090" y="826"/>
                  </a:lnTo>
                  <a:lnTo>
                    <a:pt x="2090" y="828"/>
                  </a:lnTo>
                  <a:lnTo>
                    <a:pt x="2090" y="826"/>
                  </a:lnTo>
                  <a:lnTo>
                    <a:pt x="2092" y="826"/>
                  </a:lnTo>
                  <a:lnTo>
                    <a:pt x="2094" y="826"/>
                  </a:lnTo>
                  <a:lnTo>
                    <a:pt x="2096" y="826"/>
                  </a:lnTo>
                  <a:lnTo>
                    <a:pt x="2096" y="828"/>
                  </a:lnTo>
                  <a:lnTo>
                    <a:pt x="2098" y="828"/>
                  </a:lnTo>
                  <a:lnTo>
                    <a:pt x="2098" y="830"/>
                  </a:lnTo>
                  <a:lnTo>
                    <a:pt x="2100" y="830"/>
                  </a:lnTo>
                  <a:lnTo>
                    <a:pt x="2102" y="830"/>
                  </a:lnTo>
                  <a:lnTo>
                    <a:pt x="2102" y="832"/>
                  </a:lnTo>
                  <a:lnTo>
                    <a:pt x="2100" y="834"/>
                  </a:lnTo>
                  <a:lnTo>
                    <a:pt x="2100" y="836"/>
                  </a:lnTo>
                  <a:lnTo>
                    <a:pt x="2100" y="837"/>
                  </a:lnTo>
                  <a:lnTo>
                    <a:pt x="2098" y="837"/>
                  </a:lnTo>
                  <a:lnTo>
                    <a:pt x="2098" y="839"/>
                  </a:lnTo>
                  <a:lnTo>
                    <a:pt x="2096" y="839"/>
                  </a:lnTo>
                  <a:lnTo>
                    <a:pt x="2094" y="839"/>
                  </a:lnTo>
                  <a:lnTo>
                    <a:pt x="2094" y="841"/>
                  </a:lnTo>
                  <a:lnTo>
                    <a:pt x="2094" y="843"/>
                  </a:lnTo>
                  <a:lnTo>
                    <a:pt x="2094" y="845"/>
                  </a:lnTo>
                  <a:lnTo>
                    <a:pt x="2094" y="847"/>
                  </a:lnTo>
                  <a:lnTo>
                    <a:pt x="2094" y="849"/>
                  </a:lnTo>
                  <a:lnTo>
                    <a:pt x="2094" y="851"/>
                  </a:lnTo>
                  <a:lnTo>
                    <a:pt x="2096" y="851"/>
                  </a:lnTo>
                  <a:lnTo>
                    <a:pt x="2094" y="851"/>
                  </a:lnTo>
                  <a:lnTo>
                    <a:pt x="2094" y="853"/>
                  </a:lnTo>
                  <a:lnTo>
                    <a:pt x="2094" y="855"/>
                  </a:lnTo>
                  <a:lnTo>
                    <a:pt x="2094" y="857"/>
                  </a:lnTo>
                  <a:lnTo>
                    <a:pt x="2094" y="859"/>
                  </a:lnTo>
                  <a:lnTo>
                    <a:pt x="2096" y="859"/>
                  </a:lnTo>
                  <a:lnTo>
                    <a:pt x="2098" y="859"/>
                  </a:lnTo>
                  <a:lnTo>
                    <a:pt x="2100" y="859"/>
                  </a:lnTo>
                  <a:lnTo>
                    <a:pt x="2102" y="859"/>
                  </a:lnTo>
                  <a:lnTo>
                    <a:pt x="2102" y="861"/>
                  </a:lnTo>
                  <a:lnTo>
                    <a:pt x="2100" y="861"/>
                  </a:lnTo>
                  <a:lnTo>
                    <a:pt x="2102" y="862"/>
                  </a:lnTo>
                  <a:lnTo>
                    <a:pt x="2102" y="864"/>
                  </a:lnTo>
                  <a:lnTo>
                    <a:pt x="2102" y="866"/>
                  </a:lnTo>
                  <a:lnTo>
                    <a:pt x="2102" y="864"/>
                  </a:lnTo>
                  <a:lnTo>
                    <a:pt x="2102" y="866"/>
                  </a:lnTo>
                  <a:lnTo>
                    <a:pt x="2100" y="866"/>
                  </a:lnTo>
                  <a:lnTo>
                    <a:pt x="2102" y="866"/>
                  </a:lnTo>
                  <a:lnTo>
                    <a:pt x="2102" y="868"/>
                  </a:lnTo>
                  <a:lnTo>
                    <a:pt x="2102" y="870"/>
                  </a:lnTo>
                  <a:lnTo>
                    <a:pt x="2102" y="872"/>
                  </a:lnTo>
                  <a:lnTo>
                    <a:pt x="2102" y="874"/>
                  </a:lnTo>
                  <a:lnTo>
                    <a:pt x="2100" y="874"/>
                  </a:lnTo>
                  <a:lnTo>
                    <a:pt x="2100" y="876"/>
                  </a:lnTo>
                  <a:lnTo>
                    <a:pt x="2098" y="876"/>
                  </a:lnTo>
                  <a:lnTo>
                    <a:pt x="2098" y="878"/>
                  </a:lnTo>
                  <a:lnTo>
                    <a:pt x="2096" y="878"/>
                  </a:lnTo>
                  <a:lnTo>
                    <a:pt x="2096" y="876"/>
                  </a:lnTo>
                  <a:lnTo>
                    <a:pt x="2094" y="876"/>
                  </a:lnTo>
                  <a:lnTo>
                    <a:pt x="2094" y="874"/>
                  </a:lnTo>
                  <a:lnTo>
                    <a:pt x="2092" y="874"/>
                  </a:lnTo>
                  <a:lnTo>
                    <a:pt x="2092" y="872"/>
                  </a:lnTo>
                  <a:lnTo>
                    <a:pt x="2090" y="872"/>
                  </a:lnTo>
                  <a:lnTo>
                    <a:pt x="2088" y="872"/>
                  </a:lnTo>
                  <a:lnTo>
                    <a:pt x="2086" y="874"/>
                  </a:lnTo>
                  <a:lnTo>
                    <a:pt x="2084" y="874"/>
                  </a:lnTo>
                  <a:lnTo>
                    <a:pt x="2084" y="876"/>
                  </a:lnTo>
                  <a:lnTo>
                    <a:pt x="2082" y="876"/>
                  </a:lnTo>
                  <a:lnTo>
                    <a:pt x="2084" y="878"/>
                  </a:lnTo>
                  <a:lnTo>
                    <a:pt x="2082" y="878"/>
                  </a:lnTo>
                  <a:lnTo>
                    <a:pt x="2082" y="880"/>
                  </a:lnTo>
                  <a:lnTo>
                    <a:pt x="2082" y="882"/>
                  </a:lnTo>
                  <a:lnTo>
                    <a:pt x="2081" y="882"/>
                  </a:lnTo>
                  <a:lnTo>
                    <a:pt x="2081" y="884"/>
                  </a:lnTo>
                  <a:lnTo>
                    <a:pt x="2081" y="885"/>
                  </a:lnTo>
                  <a:lnTo>
                    <a:pt x="2079" y="885"/>
                  </a:lnTo>
                  <a:lnTo>
                    <a:pt x="2079" y="887"/>
                  </a:lnTo>
                  <a:lnTo>
                    <a:pt x="2079" y="889"/>
                  </a:lnTo>
                  <a:lnTo>
                    <a:pt x="2079" y="891"/>
                  </a:lnTo>
                  <a:lnTo>
                    <a:pt x="2079" y="893"/>
                  </a:lnTo>
                  <a:lnTo>
                    <a:pt x="2079" y="895"/>
                  </a:lnTo>
                  <a:lnTo>
                    <a:pt x="2079" y="897"/>
                  </a:lnTo>
                  <a:lnTo>
                    <a:pt x="2079" y="899"/>
                  </a:lnTo>
                  <a:lnTo>
                    <a:pt x="2081" y="899"/>
                  </a:lnTo>
                  <a:lnTo>
                    <a:pt x="2081" y="901"/>
                  </a:lnTo>
                  <a:lnTo>
                    <a:pt x="2081" y="903"/>
                  </a:lnTo>
                  <a:lnTo>
                    <a:pt x="2082" y="903"/>
                  </a:lnTo>
                  <a:lnTo>
                    <a:pt x="2082" y="905"/>
                  </a:lnTo>
                  <a:lnTo>
                    <a:pt x="2082" y="907"/>
                  </a:lnTo>
                  <a:lnTo>
                    <a:pt x="2084" y="907"/>
                  </a:lnTo>
                  <a:lnTo>
                    <a:pt x="2084" y="909"/>
                  </a:lnTo>
                  <a:lnTo>
                    <a:pt x="2084" y="907"/>
                  </a:lnTo>
                  <a:lnTo>
                    <a:pt x="2084" y="909"/>
                  </a:lnTo>
                  <a:lnTo>
                    <a:pt x="2084" y="910"/>
                  </a:lnTo>
                  <a:lnTo>
                    <a:pt x="2082" y="910"/>
                  </a:lnTo>
                  <a:lnTo>
                    <a:pt x="2082" y="912"/>
                  </a:lnTo>
                  <a:lnTo>
                    <a:pt x="2081" y="912"/>
                  </a:lnTo>
                  <a:lnTo>
                    <a:pt x="2081" y="914"/>
                  </a:lnTo>
                  <a:lnTo>
                    <a:pt x="2079" y="914"/>
                  </a:lnTo>
                  <a:lnTo>
                    <a:pt x="2079" y="916"/>
                  </a:lnTo>
                  <a:lnTo>
                    <a:pt x="2077" y="916"/>
                  </a:lnTo>
                  <a:lnTo>
                    <a:pt x="2075" y="916"/>
                  </a:lnTo>
                  <a:lnTo>
                    <a:pt x="2073" y="916"/>
                  </a:lnTo>
                  <a:lnTo>
                    <a:pt x="2071" y="916"/>
                  </a:lnTo>
                  <a:lnTo>
                    <a:pt x="2071" y="914"/>
                  </a:lnTo>
                  <a:lnTo>
                    <a:pt x="2069" y="914"/>
                  </a:lnTo>
                  <a:lnTo>
                    <a:pt x="2067" y="914"/>
                  </a:lnTo>
                  <a:lnTo>
                    <a:pt x="2065" y="914"/>
                  </a:lnTo>
                  <a:lnTo>
                    <a:pt x="2063" y="916"/>
                  </a:lnTo>
                  <a:lnTo>
                    <a:pt x="2061" y="916"/>
                  </a:lnTo>
                  <a:lnTo>
                    <a:pt x="2061" y="918"/>
                  </a:lnTo>
                  <a:lnTo>
                    <a:pt x="2059" y="918"/>
                  </a:lnTo>
                  <a:lnTo>
                    <a:pt x="2059" y="920"/>
                  </a:lnTo>
                  <a:lnTo>
                    <a:pt x="2058" y="920"/>
                  </a:lnTo>
                  <a:lnTo>
                    <a:pt x="2058" y="922"/>
                  </a:lnTo>
                  <a:lnTo>
                    <a:pt x="2056" y="922"/>
                  </a:lnTo>
                  <a:lnTo>
                    <a:pt x="2056" y="924"/>
                  </a:lnTo>
                  <a:lnTo>
                    <a:pt x="2054" y="924"/>
                  </a:lnTo>
                  <a:lnTo>
                    <a:pt x="2054" y="926"/>
                  </a:lnTo>
                  <a:lnTo>
                    <a:pt x="2054" y="928"/>
                  </a:lnTo>
                  <a:lnTo>
                    <a:pt x="2052" y="928"/>
                  </a:lnTo>
                  <a:lnTo>
                    <a:pt x="2052" y="930"/>
                  </a:lnTo>
                  <a:lnTo>
                    <a:pt x="2052" y="932"/>
                  </a:lnTo>
                  <a:lnTo>
                    <a:pt x="2052" y="933"/>
                  </a:lnTo>
                  <a:lnTo>
                    <a:pt x="2052" y="935"/>
                  </a:lnTo>
                  <a:lnTo>
                    <a:pt x="2052" y="937"/>
                  </a:lnTo>
                  <a:lnTo>
                    <a:pt x="2052" y="939"/>
                  </a:lnTo>
                  <a:lnTo>
                    <a:pt x="2052" y="941"/>
                  </a:lnTo>
                  <a:lnTo>
                    <a:pt x="2050" y="943"/>
                  </a:lnTo>
                  <a:lnTo>
                    <a:pt x="2052" y="943"/>
                  </a:lnTo>
                  <a:lnTo>
                    <a:pt x="2052" y="945"/>
                  </a:lnTo>
                  <a:lnTo>
                    <a:pt x="2054" y="945"/>
                  </a:lnTo>
                  <a:lnTo>
                    <a:pt x="2052" y="945"/>
                  </a:lnTo>
                  <a:lnTo>
                    <a:pt x="2052" y="947"/>
                  </a:lnTo>
                  <a:lnTo>
                    <a:pt x="2052" y="949"/>
                  </a:lnTo>
                  <a:lnTo>
                    <a:pt x="2052" y="947"/>
                  </a:lnTo>
                  <a:lnTo>
                    <a:pt x="2054" y="947"/>
                  </a:lnTo>
                  <a:lnTo>
                    <a:pt x="2054" y="949"/>
                  </a:lnTo>
                  <a:lnTo>
                    <a:pt x="2054" y="951"/>
                  </a:lnTo>
                  <a:lnTo>
                    <a:pt x="2052" y="951"/>
                  </a:lnTo>
                  <a:lnTo>
                    <a:pt x="2052" y="949"/>
                  </a:lnTo>
                  <a:lnTo>
                    <a:pt x="2050" y="949"/>
                  </a:lnTo>
                  <a:lnTo>
                    <a:pt x="2050" y="947"/>
                  </a:lnTo>
                  <a:lnTo>
                    <a:pt x="2052" y="947"/>
                  </a:lnTo>
                  <a:lnTo>
                    <a:pt x="2050" y="947"/>
                  </a:lnTo>
                  <a:lnTo>
                    <a:pt x="2050" y="949"/>
                  </a:lnTo>
                  <a:lnTo>
                    <a:pt x="2048" y="949"/>
                  </a:lnTo>
                  <a:lnTo>
                    <a:pt x="2048" y="947"/>
                  </a:lnTo>
                  <a:lnTo>
                    <a:pt x="2046" y="947"/>
                  </a:lnTo>
                  <a:lnTo>
                    <a:pt x="2046" y="949"/>
                  </a:lnTo>
                  <a:lnTo>
                    <a:pt x="2044" y="949"/>
                  </a:lnTo>
                  <a:lnTo>
                    <a:pt x="2042" y="949"/>
                  </a:lnTo>
                  <a:lnTo>
                    <a:pt x="2040" y="951"/>
                  </a:lnTo>
                  <a:lnTo>
                    <a:pt x="2038" y="951"/>
                  </a:lnTo>
                  <a:lnTo>
                    <a:pt x="2038" y="953"/>
                  </a:lnTo>
                  <a:lnTo>
                    <a:pt x="2036" y="953"/>
                  </a:lnTo>
                  <a:lnTo>
                    <a:pt x="2036" y="955"/>
                  </a:lnTo>
                  <a:lnTo>
                    <a:pt x="2035" y="955"/>
                  </a:lnTo>
                  <a:lnTo>
                    <a:pt x="2035" y="957"/>
                  </a:lnTo>
                  <a:lnTo>
                    <a:pt x="2035" y="955"/>
                  </a:lnTo>
                  <a:lnTo>
                    <a:pt x="2033" y="955"/>
                  </a:lnTo>
                  <a:lnTo>
                    <a:pt x="2035" y="955"/>
                  </a:lnTo>
                  <a:lnTo>
                    <a:pt x="2033" y="953"/>
                  </a:lnTo>
                  <a:lnTo>
                    <a:pt x="2031" y="953"/>
                  </a:lnTo>
                  <a:lnTo>
                    <a:pt x="2031" y="955"/>
                  </a:lnTo>
                  <a:lnTo>
                    <a:pt x="2031" y="957"/>
                  </a:lnTo>
                  <a:lnTo>
                    <a:pt x="2033" y="957"/>
                  </a:lnTo>
                  <a:lnTo>
                    <a:pt x="2031" y="955"/>
                  </a:lnTo>
                  <a:lnTo>
                    <a:pt x="2033" y="955"/>
                  </a:lnTo>
                  <a:lnTo>
                    <a:pt x="2033" y="957"/>
                  </a:lnTo>
                  <a:lnTo>
                    <a:pt x="2033" y="958"/>
                  </a:lnTo>
                  <a:lnTo>
                    <a:pt x="2031" y="958"/>
                  </a:lnTo>
                  <a:lnTo>
                    <a:pt x="2031" y="960"/>
                  </a:lnTo>
                  <a:lnTo>
                    <a:pt x="2033" y="960"/>
                  </a:lnTo>
                  <a:lnTo>
                    <a:pt x="2033" y="962"/>
                  </a:lnTo>
                  <a:lnTo>
                    <a:pt x="2031" y="962"/>
                  </a:lnTo>
                  <a:lnTo>
                    <a:pt x="2029" y="962"/>
                  </a:lnTo>
                  <a:lnTo>
                    <a:pt x="2031" y="962"/>
                  </a:lnTo>
                  <a:lnTo>
                    <a:pt x="2031" y="964"/>
                  </a:lnTo>
                  <a:lnTo>
                    <a:pt x="2031" y="966"/>
                  </a:lnTo>
                  <a:lnTo>
                    <a:pt x="2031" y="968"/>
                  </a:lnTo>
                  <a:lnTo>
                    <a:pt x="2031" y="966"/>
                  </a:lnTo>
                  <a:lnTo>
                    <a:pt x="2031" y="968"/>
                  </a:lnTo>
                  <a:lnTo>
                    <a:pt x="2033" y="968"/>
                  </a:lnTo>
                  <a:lnTo>
                    <a:pt x="2031" y="968"/>
                  </a:lnTo>
                  <a:lnTo>
                    <a:pt x="2031" y="970"/>
                  </a:lnTo>
                  <a:lnTo>
                    <a:pt x="2033" y="970"/>
                  </a:lnTo>
                  <a:lnTo>
                    <a:pt x="2031" y="970"/>
                  </a:lnTo>
                  <a:lnTo>
                    <a:pt x="2031" y="972"/>
                  </a:lnTo>
                  <a:lnTo>
                    <a:pt x="2029" y="972"/>
                  </a:lnTo>
                  <a:lnTo>
                    <a:pt x="2029" y="974"/>
                  </a:lnTo>
                  <a:lnTo>
                    <a:pt x="2031" y="974"/>
                  </a:lnTo>
                  <a:lnTo>
                    <a:pt x="2029" y="974"/>
                  </a:lnTo>
                  <a:lnTo>
                    <a:pt x="2029" y="976"/>
                  </a:lnTo>
                  <a:lnTo>
                    <a:pt x="2029" y="978"/>
                  </a:lnTo>
                  <a:lnTo>
                    <a:pt x="2027" y="978"/>
                  </a:lnTo>
                  <a:lnTo>
                    <a:pt x="2027" y="980"/>
                  </a:lnTo>
                  <a:lnTo>
                    <a:pt x="2027" y="982"/>
                  </a:lnTo>
                  <a:lnTo>
                    <a:pt x="2025" y="982"/>
                  </a:lnTo>
                  <a:lnTo>
                    <a:pt x="2025" y="983"/>
                  </a:lnTo>
                  <a:lnTo>
                    <a:pt x="2023" y="983"/>
                  </a:lnTo>
                  <a:lnTo>
                    <a:pt x="2023" y="985"/>
                  </a:lnTo>
                  <a:lnTo>
                    <a:pt x="2021" y="985"/>
                  </a:lnTo>
                  <a:lnTo>
                    <a:pt x="2021" y="987"/>
                  </a:lnTo>
                  <a:lnTo>
                    <a:pt x="2019" y="987"/>
                  </a:lnTo>
                  <a:lnTo>
                    <a:pt x="2019" y="989"/>
                  </a:lnTo>
                  <a:lnTo>
                    <a:pt x="2017" y="989"/>
                  </a:lnTo>
                  <a:lnTo>
                    <a:pt x="2017" y="991"/>
                  </a:lnTo>
                  <a:lnTo>
                    <a:pt x="2015" y="991"/>
                  </a:lnTo>
                  <a:lnTo>
                    <a:pt x="2015" y="993"/>
                  </a:lnTo>
                  <a:lnTo>
                    <a:pt x="2013" y="993"/>
                  </a:lnTo>
                  <a:lnTo>
                    <a:pt x="2013" y="995"/>
                  </a:lnTo>
                  <a:lnTo>
                    <a:pt x="2011" y="997"/>
                  </a:lnTo>
                  <a:lnTo>
                    <a:pt x="2010" y="999"/>
                  </a:lnTo>
                  <a:lnTo>
                    <a:pt x="2008" y="999"/>
                  </a:lnTo>
                  <a:lnTo>
                    <a:pt x="2008" y="1001"/>
                  </a:lnTo>
                  <a:lnTo>
                    <a:pt x="2006" y="1001"/>
                  </a:lnTo>
                  <a:lnTo>
                    <a:pt x="2006" y="1003"/>
                  </a:lnTo>
                  <a:lnTo>
                    <a:pt x="2004" y="1003"/>
                  </a:lnTo>
                  <a:lnTo>
                    <a:pt x="2004" y="1005"/>
                  </a:lnTo>
                  <a:lnTo>
                    <a:pt x="2004" y="1003"/>
                  </a:lnTo>
                  <a:lnTo>
                    <a:pt x="2006" y="1003"/>
                  </a:lnTo>
                  <a:lnTo>
                    <a:pt x="2006" y="1001"/>
                  </a:lnTo>
                  <a:lnTo>
                    <a:pt x="2006" y="999"/>
                  </a:lnTo>
                  <a:lnTo>
                    <a:pt x="2006" y="997"/>
                  </a:lnTo>
                  <a:lnTo>
                    <a:pt x="2004" y="997"/>
                  </a:lnTo>
                  <a:lnTo>
                    <a:pt x="2004" y="995"/>
                  </a:lnTo>
                  <a:lnTo>
                    <a:pt x="2002" y="995"/>
                  </a:lnTo>
                  <a:lnTo>
                    <a:pt x="2002" y="993"/>
                  </a:lnTo>
                  <a:lnTo>
                    <a:pt x="2002" y="991"/>
                  </a:lnTo>
                  <a:lnTo>
                    <a:pt x="2002" y="989"/>
                  </a:lnTo>
                  <a:lnTo>
                    <a:pt x="2002" y="987"/>
                  </a:lnTo>
                  <a:lnTo>
                    <a:pt x="2002" y="985"/>
                  </a:lnTo>
                  <a:lnTo>
                    <a:pt x="2002" y="983"/>
                  </a:lnTo>
                  <a:lnTo>
                    <a:pt x="2002" y="982"/>
                  </a:lnTo>
                  <a:lnTo>
                    <a:pt x="2002" y="980"/>
                  </a:lnTo>
                  <a:lnTo>
                    <a:pt x="2002" y="978"/>
                  </a:lnTo>
                  <a:lnTo>
                    <a:pt x="2002" y="976"/>
                  </a:lnTo>
                  <a:lnTo>
                    <a:pt x="2002" y="974"/>
                  </a:lnTo>
                  <a:lnTo>
                    <a:pt x="2002" y="972"/>
                  </a:lnTo>
                  <a:lnTo>
                    <a:pt x="2000" y="972"/>
                  </a:lnTo>
                  <a:lnTo>
                    <a:pt x="2000" y="970"/>
                  </a:lnTo>
                  <a:lnTo>
                    <a:pt x="2000" y="968"/>
                  </a:lnTo>
                  <a:lnTo>
                    <a:pt x="2000" y="966"/>
                  </a:lnTo>
                  <a:lnTo>
                    <a:pt x="1998" y="964"/>
                  </a:lnTo>
                  <a:lnTo>
                    <a:pt x="1998" y="962"/>
                  </a:lnTo>
                  <a:lnTo>
                    <a:pt x="1998" y="960"/>
                  </a:lnTo>
                  <a:lnTo>
                    <a:pt x="1998" y="958"/>
                  </a:lnTo>
                  <a:lnTo>
                    <a:pt x="1996" y="958"/>
                  </a:lnTo>
                  <a:lnTo>
                    <a:pt x="1996" y="957"/>
                  </a:lnTo>
                  <a:lnTo>
                    <a:pt x="1996" y="955"/>
                  </a:lnTo>
                  <a:lnTo>
                    <a:pt x="1996" y="953"/>
                  </a:lnTo>
                  <a:lnTo>
                    <a:pt x="1996" y="951"/>
                  </a:lnTo>
                  <a:lnTo>
                    <a:pt x="1996" y="947"/>
                  </a:lnTo>
                  <a:lnTo>
                    <a:pt x="1996" y="945"/>
                  </a:lnTo>
                  <a:lnTo>
                    <a:pt x="1994" y="943"/>
                  </a:lnTo>
                  <a:lnTo>
                    <a:pt x="1994" y="941"/>
                  </a:lnTo>
                  <a:lnTo>
                    <a:pt x="1994" y="939"/>
                  </a:lnTo>
                  <a:lnTo>
                    <a:pt x="1994" y="937"/>
                  </a:lnTo>
                  <a:lnTo>
                    <a:pt x="1994" y="935"/>
                  </a:lnTo>
                  <a:lnTo>
                    <a:pt x="1994" y="933"/>
                  </a:lnTo>
                  <a:lnTo>
                    <a:pt x="1994" y="932"/>
                  </a:lnTo>
                  <a:lnTo>
                    <a:pt x="1994" y="930"/>
                  </a:lnTo>
                  <a:lnTo>
                    <a:pt x="1992" y="930"/>
                  </a:lnTo>
                  <a:lnTo>
                    <a:pt x="1992" y="928"/>
                  </a:lnTo>
                  <a:lnTo>
                    <a:pt x="1992" y="926"/>
                  </a:lnTo>
                  <a:lnTo>
                    <a:pt x="1992" y="924"/>
                  </a:lnTo>
                  <a:lnTo>
                    <a:pt x="1992" y="922"/>
                  </a:lnTo>
                  <a:lnTo>
                    <a:pt x="1990" y="920"/>
                  </a:lnTo>
                  <a:lnTo>
                    <a:pt x="1990" y="918"/>
                  </a:lnTo>
                  <a:lnTo>
                    <a:pt x="1990" y="916"/>
                  </a:lnTo>
                  <a:lnTo>
                    <a:pt x="1990" y="914"/>
                  </a:lnTo>
                  <a:lnTo>
                    <a:pt x="1990" y="912"/>
                  </a:lnTo>
                  <a:lnTo>
                    <a:pt x="1988" y="910"/>
                  </a:lnTo>
                  <a:lnTo>
                    <a:pt x="1988" y="909"/>
                  </a:lnTo>
                  <a:lnTo>
                    <a:pt x="1988" y="907"/>
                  </a:lnTo>
                  <a:lnTo>
                    <a:pt x="1988" y="905"/>
                  </a:lnTo>
                  <a:lnTo>
                    <a:pt x="1988" y="903"/>
                  </a:lnTo>
                  <a:lnTo>
                    <a:pt x="1988" y="901"/>
                  </a:lnTo>
                  <a:lnTo>
                    <a:pt x="1988" y="899"/>
                  </a:lnTo>
                  <a:lnTo>
                    <a:pt x="1988" y="897"/>
                  </a:lnTo>
                  <a:lnTo>
                    <a:pt x="1988" y="895"/>
                  </a:lnTo>
                  <a:lnTo>
                    <a:pt x="1988" y="893"/>
                  </a:lnTo>
                  <a:lnTo>
                    <a:pt x="1988" y="891"/>
                  </a:lnTo>
                  <a:lnTo>
                    <a:pt x="1988" y="889"/>
                  </a:lnTo>
                  <a:lnTo>
                    <a:pt x="1988" y="887"/>
                  </a:lnTo>
                  <a:lnTo>
                    <a:pt x="1988" y="885"/>
                  </a:lnTo>
                  <a:lnTo>
                    <a:pt x="1988" y="884"/>
                  </a:lnTo>
                  <a:lnTo>
                    <a:pt x="1990" y="884"/>
                  </a:lnTo>
                  <a:lnTo>
                    <a:pt x="1990" y="882"/>
                  </a:lnTo>
                  <a:lnTo>
                    <a:pt x="1990" y="880"/>
                  </a:lnTo>
                  <a:lnTo>
                    <a:pt x="1990" y="882"/>
                  </a:lnTo>
                  <a:lnTo>
                    <a:pt x="1990" y="880"/>
                  </a:lnTo>
                  <a:lnTo>
                    <a:pt x="1990" y="878"/>
                  </a:lnTo>
                  <a:lnTo>
                    <a:pt x="1990" y="876"/>
                  </a:lnTo>
                  <a:lnTo>
                    <a:pt x="1990" y="874"/>
                  </a:lnTo>
                  <a:lnTo>
                    <a:pt x="1992" y="872"/>
                  </a:lnTo>
                  <a:lnTo>
                    <a:pt x="1992" y="870"/>
                  </a:lnTo>
                  <a:lnTo>
                    <a:pt x="1992" y="868"/>
                  </a:lnTo>
                  <a:lnTo>
                    <a:pt x="1992" y="866"/>
                  </a:lnTo>
                  <a:lnTo>
                    <a:pt x="1992" y="864"/>
                  </a:lnTo>
                  <a:lnTo>
                    <a:pt x="1994" y="864"/>
                  </a:lnTo>
                  <a:lnTo>
                    <a:pt x="1994" y="862"/>
                  </a:lnTo>
                  <a:lnTo>
                    <a:pt x="1994" y="859"/>
                  </a:lnTo>
                  <a:lnTo>
                    <a:pt x="1996" y="857"/>
                  </a:lnTo>
                  <a:lnTo>
                    <a:pt x="1996" y="855"/>
                  </a:lnTo>
                  <a:lnTo>
                    <a:pt x="1998" y="855"/>
                  </a:lnTo>
                  <a:lnTo>
                    <a:pt x="2000" y="853"/>
                  </a:lnTo>
                  <a:lnTo>
                    <a:pt x="2002" y="853"/>
                  </a:lnTo>
                  <a:lnTo>
                    <a:pt x="2002" y="851"/>
                  </a:lnTo>
                  <a:lnTo>
                    <a:pt x="2002" y="849"/>
                  </a:lnTo>
                  <a:lnTo>
                    <a:pt x="2004" y="849"/>
                  </a:lnTo>
                  <a:lnTo>
                    <a:pt x="2006" y="849"/>
                  </a:lnTo>
                  <a:lnTo>
                    <a:pt x="2004" y="849"/>
                  </a:lnTo>
                  <a:lnTo>
                    <a:pt x="2006" y="849"/>
                  </a:lnTo>
                  <a:lnTo>
                    <a:pt x="2006" y="847"/>
                  </a:lnTo>
                  <a:lnTo>
                    <a:pt x="2006" y="845"/>
                  </a:lnTo>
                  <a:lnTo>
                    <a:pt x="2008" y="845"/>
                  </a:lnTo>
                  <a:lnTo>
                    <a:pt x="2008" y="843"/>
                  </a:lnTo>
                  <a:lnTo>
                    <a:pt x="2008" y="841"/>
                  </a:lnTo>
                  <a:lnTo>
                    <a:pt x="2010" y="841"/>
                  </a:lnTo>
                  <a:lnTo>
                    <a:pt x="2010" y="839"/>
                  </a:lnTo>
                  <a:lnTo>
                    <a:pt x="2010" y="837"/>
                  </a:lnTo>
                  <a:lnTo>
                    <a:pt x="2010" y="836"/>
                  </a:lnTo>
                  <a:lnTo>
                    <a:pt x="2008" y="834"/>
                  </a:lnTo>
                  <a:lnTo>
                    <a:pt x="2008" y="832"/>
                  </a:lnTo>
                  <a:lnTo>
                    <a:pt x="2006" y="832"/>
                  </a:lnTo>
                  <a:lnTo>
                    <a:pt x="2006" y="830"/>
                  </a:lnTo>
                  <a:lnTo>
                    <a:pt x="2008" y="830"/>
                  </a:lnTo>
                  <a:lnTo>
                    <a:pt x="2008" y="828"/>
                  </a:lnTo>
                  <a:lnTo>
                    <a:pt x="2010" y="828"/>
                  </a:lnTo>
                  <a:lnTo>
                    <a:pt x="2010" y="830"/>
                  </a:lnTo>
                  <a:lnTo>
                    <a:pt x="2011" y="830"/>
                  </a:lnTo>
                  <a:lnTo>
                    <a:pt x="2013" y="830"/>
                  </a:lnTo>
                  <a:lnTo>
                    <a:pt x="2015" y="830"/>
                  </a:lnTo>
                  <a:lnTo>
                    <a:pt x="2017" y="830"/>
                  </a:lnTo>
                  <a:lnTo>
                    <a:pt x="2017" y="828"/>
                  </a:lnTo>
                  <a:lnTo>
                    <a:pt x="2017" y="826"/>
                  </a:lnTo>
                  <a:lnTo>
                    <a:pt x="2019" y="826"/>
                  </a:lnTo>
                  <a:lnTo>
                    <a:pt x="2019" y="824"/>
                  </a:lnTo>
                  <a:lnTo>
                    <a:pt x="2021" y="824"/>
                  </a:lnTo>
                  <a:lnTo>
                    <a:pt x="2023" y="824"/>
                  </a:lnTo>
                  <a:lnTo>
                    <a:pt x="2025" y="824"/>
                  </a:lnTo>
                  <a:lnTo>
                    <a:pt x="2027" y="824"/>
                  </a:lnTo>
                  <a:lnTo>
                    <a:pt x="2027" y="822"/>
                  </a:lnTo>
                  <a:lnTo>
                    <a:pt x="2029" y="822"/>
                  </a:lnTo>
                  <a:lnTo>
                    <a:pt x="2031" y="820"/>
                  </a:lnTo>
                  <a:lnTo>
                    <a:pt x="2031" y="818"/>
                  </a:lnTo>
                  <a:lnTo>
                    <a:pt x="2033" y="818"/>
                  </a:lnTo>
                  <a:lnTo>
                    <a:pt x="2033" y="816"/>
                  </a:lnTo>
                  <a:lnTo>
                    <a:pt x="2035" y="816"/>
                  </a:lnTo>
                  <a:lnTo>
                    <a:pt x="2035" y="814"/>
                  </a:lnTo>
                  <a:lnTo>
                    <a:pt x="2036" y="814"/>
                  </a:lnTo>
                  <a:lnTo>
                    <a:pt x="2038" y="812"/>
                  </a:lnTo>
                  <a:lnTo>
                    <a:pt x="2040" y="812"/>
                  </a:lnTo>
                  <a:lnTo>
                    <a:pt x="2040" y="811"/>
                  </a:lnTo>
                  <a:lnTo>
                    <a:pt x="2040" y="809"/>
                  </a:lnTo>
                  <a:lnTo>
                    <a:pt x="2042" y="809"/>
                  </a:lnTo>
                  <a:lnTo>
                    <a:pt x="2042" y="807"/>
                  </a:lnTo>
                  <a:lnTo>
                    <a:pt x="2044" y="807"/>
                  </a:lnTo>
                  <a:lnTo>
                    <a:pt x="2044" y="805"/>
                  </a:lnTo>
                  <a:lnTo>
                    <a:pt x="2046" y="805"/>
                  </a:lnTo>
                  <a:lnTo>
                    <a:pt x="2046" y="803"/>
                  </a:lnTo>
                  <a:lnTo>
                    <a:pt x="2048" y="803"/>
                  </a:lnTo>
                  <a:lnTo>
                    <a:pt x="2048" y="801"/>
                  </a:lnTo>
                  <a:lnTo>
                    <a:pt x="2050" y="799"/>
                  </a:lnTo>
                  <a:lnTo>
                    <a:pt x="2050" y="797"/>
                  </a:lnTo>
                  <a:lnTo>
                    <a:pt x="2050" y="795"/>
                  </a:lnTo>
                  <a:lnTo>
                    <a:pt x="2050" y="793"/>
                  </a:lnTo>
                  <a:lnTo>
                    <a:pt x="2052" y="793"/>
                  </a:lnTo>
                  <a:lnTo>
                    <a:pt x="2052" y="791"/>
                  </a:lnTo>
                  <a:lnTo>
                    <a:pt x="2052" y="793"/>
                  </a:lnTo>
                  <a:lnTo>
                    <a:pt x="2052" y="791"/>
                  </a:lnTo>
                  <a:lnTo>
                    <a:pt x="2054" y="791"/>
                  </a:lnTo>
                  <a:lnTo>
                    <a:pt x="2054" y="789"/>
                  </a:lnTo>
                  <a:lnTo>
                    <a:pt x="2056" y="788"/>
                  </a:lnTo>
                  <a:lnTo>
                    <a:pt x="2056" y="786"/>
                  </a:lnTo>
                  <a:lnTo>
                    <a:pt x="2058" y="786"/>
                  </a:lnTo>
                  <a:lnTo>
                    <a:pt x="2059" y="784"/>
                  </a:lnTo>
                  <a:lnTo>
                    <a:pt x="2059" y="782"/>
                  </a:lnTo>
                  <a:lnTo>
                    <a:pt x="2059" y="780"/>
                  </a:lnTo>
                  <a:lnTo>
                    <a:pt x="2061" y="780"/>
                  </a:lnTo>
                  <a:lnTo>
                    <a:pt x="2063" y="780"/>
                  </a:lnTo>
                  <a:lnTo>
                    <a:pt x="2063" y="778"/>
                  </a:lnTo>
                  <a:lnTo>
                    <a:pt x="2065" y="778"/>
                  </a:lnTo>
                  <a:lnTo>
                    <a:pt x="2067" y="778"/>
                  </a:lnTo>
                  <a:lnTo>
                    <a:pt x="2067" y="776"/>
                  </a:lnTo>
                  <a:lnTo>
                    <a:pt x="2067" y="774"/>
                  </a:lnTo>
                  <a:lnTo>
                    <a:pt x="2069" y="774"/>
                  </a:lnTo>
                  <a:lnTo>
                    <a:pt x="2071" y="774"/>
                  </a:lnTo>
                  <a:lnTo>
                    <a:pt x="2071" y="772"/>
                  </a:lnTo>
                  <a:lnTo>
                    <a:pt x="2073" y="770"/>
                  </a:lnTo>
                  <a:lnTo>
                    <a:pt x="2073" y="768"/>
                  </a:lnTo>
                  <a:lnTo>
                    <a:pt x="2075" y="768"/>
                  </a:lnTo>
                  <a:lnTo>
                    <a:pt x="2075" y="766"/>
                  </a:lnTo>
                  <a:lnTo>
                    <a:pt x="2077" y="766"/>
                  </a:lnTo>
                  <a:lnTo>
                    <a:pt x="2077" y="764"/>
                  </a:lnTo>
                  <a:lnTo>
                    <a:pt x="2079" y="764"/>
                  </a:lnTo>
                  <a:lnTo>
                    <a:pt x="2079" y="763"/>
                  </a:lnTo>
                  <a:lnTo>
                    <a:pt x="2081" y="763"/>
                  </a:lnTo>
                  <a:lnTo>
                    <a:pt x="2081" y="761"/>
                  </a:lnTo>
                  <a:lnTo>
                    <a:pt x="2082" y="761"/>
                  </a:lnTo>
                  <a:lnTo>
                    <a:pt x="2082" y="759"/>
                  </a:lnTo>
                  <a:lnTo>
                    <a:pt x="2081" y="759"/>
                  </a:lnTo>
                  <a:lnTo>
                    <a:pt x="2081" y="757"/>
                  </a:lnTo>
                  <a:lnTo>
                    <a:pt x="2082" y="757"/>
                  </a:lnTo>
                  <a:lnTo>
                    <a:pt x="2081" y="757"/>
                  </a:lnTo>
                  <a:lnTo>
                    <a:pt x="2081" y="755"/>
                  </a:lnTo>
                  <a:lnTo>
                    <a:pt x="2082" y="755"/>
                  </a:lnTo>
                  <a:lnTo>
                    <a:pt x="2084" y="753"/>
                  </a:lnTo>
                  <a:lnTo>
                    <a:pt x="2086" y="751"/>
                  </a:lnTo>
                  <a:lnTo>
                    <a:pt x="2088" y="751"/>
                  </a:lnTo>
                  <a:lnTo>
                    <a:pt x="2090" y="749"/>
                  </a:lnTo>
                  <a:lnTo>
                    <a:pt x="2092" y="749"/>
                  </a:lnTo>
                  <a:lnTo>
                    <a:pt x="2094" y="749"/>
                  </a:lnTo>
                  <a:lnTo>
                    <a:pt x="2094" y="747"/>
                  </a:lnTo>
                  <a:lnTo>
                    <a:pt x="2096" y="745"/>
                  </a:lnTo>
                  <a:lnTo>
                    <a:pt x="2096" y="743"/>
                  </a:lnTo>
                  <a:lnTo>
                    <a:pt x="2098" y="743"/>
                  </a:lnTo>
                  <a:lnTo>
                    <a:pt x="2098" y="745"/>
                  </a:lnTo>
                  <a:lnTo>
                    <a:pt x="2100" y="745"/>
                  </a:lnTo>
                  <a:lnTo>
                    <a:pt x="2100" y="743"/>
                  </a:lnTo>
                  <a:lnTo>
                    <a:pt x="2102" y="743"/>
                  </a:lnTo>
                  <a:lnTo>
                    <a:pt x="2102" y="745"/>
                  </a:lnTo>
                  <a:lnTo>
                    <a:pt x="2102" y="743"/>
                  </a:lnTo>
                  <a:lnTo>
                    <a:pt x="2104" y="743"/>
                  </a:lnTo>
                  <a:lnTo>
                    <a:pt x="2104" y="741"/>
                  </a:lnTo>
                  <a:lnTo>
                    <a:pt x="2106" y="741"/>
                  </a:lnTo>
                  <a:lnTo>
                    <a:pt x="2107" y="741"/>
                  </a:lnTo>
                  <a:lnTo>
                    <a:pt x="2109" y="741"/>
                  </a:lnTo>
                  <a:lnTo>
                    <a:pt x="2107" y="741"/>
                  </a:lnTo>
                  <a:lnTo>
                    <a:pt x="2107" y="739"/>
                  </a:lnTo>
                  <a:lnTo>
                    <a:pt x="2109" y="739"/>
                  </a:lnTo>
                  <a:lnTo>
                    <a:pt x="2107" y="739"/>
                  </a:lnTo>
                  <a:lnTo>
                    <a:pt x="2107" y="738"/>
                  </a:lnTo>
                  <a:lnTo>
                    <a:pt x="2106" y="738"/>
                  </a:lnTo>
                  <a:lnTo>
                    <a:pt x="2104" y="738"/>
                  </a:lnTo>
                  <a:lnTo>
                    <a:pt x="2106" y="736"/>
                  </a:lnTo>
                  <a:lnTo>
                    <a:pt x="2107" y="736"/>
                  </a:lnTo>
                  <a:lnTo>
                    <a:pt x="2106" y="734"/>
                  </a:lnTo>
                  <a:lnTo>
                    <a:pt x="2107" y="734"/>
                  </a:lnTo>
                  <a:lnTo>
                    <a:pt x="2107" y="732"/>
                  </a:lnTo>
                  <a:lnTo>
                    <a:pt x="2109" y="732"/>
                  </a:lnTo>
                  <a:lnTo>
                    <a:pt x="2111" y="730"/>
                  </a:lnTo>
                  <a:lnTo>
                    <a:pt x="2111" y="728"/>
                  </a:lnTo>
                  <a:lnTo>
                    <a:pt x="2111" y="726"/>
                  </a:lnTo>
                  <a:lnTo>
                    <a:pt x="2111" y="724"/>
                  </a:lnTo>
                  <a:lnTo>
                    <a:pt x="2109" y="724"/>
                  </a:lnTo>
                  <a:lnTo>
                    <a:pt x="2107" y="724"/>
                  </a:lnTo>
                  <a:lnTo>
                    <a:pt x="2107" y="722"/>
                  </a:lnTo>
                  <a:lnTo>
                    <a:pt x="2109" y="722"/>
                  </a:lnTo>
                  <a:lnTo>
                    <a:pt x="2109" y="720"/>
                  </a:lnTo>
                  <a:lnTo>
                    <a:pt x="2109" y="718"/>
                  </a:lnTo>
                  <a:lnTo>
                    <a:pt x="2109" y="716"/>
                  </a:lnTo>
                  <a:lnTo>
                    <a:pt x="2111" y="716"/>
                  </a:lnTo>
                  <a:lnTo>
                    <a:pt x="2113" y="716"/>
                  </a:lnTo>
                  <a:lnTo>
                    <a:pt x="2113" y="715"/>
                  </a:lnTo>
                  <a:lnTo>
                    <a:pt x="2113" y="713"/>
                  </a:lnTo>
                  <a:lnTo>
                    <a:pt x="2113" y="711"/>
                  </a:lnTo>
                  <a:lnTo>
                    <a:pt x="2113" y="709"/>
                  </a:lnTo>
                  <a:lnTo>
                    <a:pt x="2113" y="707"/>
                  </a:lnTo>
                  <a:lnTo>
                    <a:pt x="2113" y="705"/>
                  </a:lnTo>
                  <a:lnTo>
                    <a:pt x="2113" y="703"/>
                  </a:lnTo>
                  <a:lnTo>
                    <a:pt x="2113" y="701"/>
                  </a:lnTo>
                  <a:lnTo>
                    <a:pt x="2113" y="699"/>
                  </a:lnTo>
                  <a:lnTo>
                    <a:pt x="2113" y="697"/>
                  </a:lnTo>
                  <a:lnTo>
                    <a:pt x="2115" y="697"/>
                  </a:lnTo>
                  <a:lnTo>
                    <a:pt x="2117" y="697"/>
                  </a:lnTo>
                  <a:lnTo>
                    <a:pt x="2117" y="695"/>
                  </a:lnTo>
                  <a:lnTo>
                    <a:pt x="2119" y="695"/>
                  </a:lnTo>
                  <a:lnTo>
                    <a:pt x="2119" y="693"/>
                  </a:lnTo>
                  <a:lnTo>
                    <a:pt x="2121" y="693"/>
                  </a:lnTo>
                  <a:lnTo>
                    <a:pt x="2121" y="691"/>
                  </a:lnTo>
                  <a:lnTo>
                    <a:pt x="2123" y="691"/>
                  </a:lnTo>
                  <a:lnTo>
                    <a:pt x="2123" y="693"/>
                  </a:lnTo>
                  <a:lnTo>
                    <a:pt x="2125" y="693"/>
                  </a:lnTo>
                  <a:lnTo>
                    <a:pt x="2127" y="693"/>
                  </a:lnTo>
                  <a:lnTo>
                    <a:pt x="2129" y="693"/>
                  </a:lnTo>
                  <a:lnTo>
                    <a:pt x="2129" y="691"/>
                  </a:lnTo>
                  <a:lnTo>
                    <a:pt x="2130" y="691"/>
                  </a:lnTo>
                  <a:lnTo>
                    <a:pt x="2129" y="691"/>
                  </a:lnTo>
                  <a:lnTo>
                    <a:pt x="2127" y="691"/>
                  </a:lnTo>
                  <a:lnTo>
                    <a:pt x="2127" y="690"/>
                  </a:lnTo>
                  <a:lnTo>
                    <a:pt x="2125" y="690"/>
                  </a:lnTo>
                  <a:lnTo>
                    <a:pt x="2123" y="690"/>
                  </a:lnTo>
                  <a:lnTo>
                    <a:pt x="2123" y="688"/>
                  </a:lnTo>
                  <a:lnTo>
                    <a:pt x="2121" y="688"/>
                  </a:lnTo>
                  <a:lnTo>
                    <a:pt x="2121" y="686"/>
                  </a:lnTo>
                  <a:lnTo>
                    <a:pt x="2119" y="686"/>
                  </a:lnTo>
                  <a:lnTo>
                    <a:pt x="2117" y="686"/>
                  </a:lnTo>
                  <a:lnTo>
                    <a:pt x="2115" y="686"/>
                  </a:lnTo>
                  <a:lnTo>
                    <a:pt x="2113" y="686"/>
                  </a:lnTo>
                  <a:lnTo>
                    <a:pt x="2111" y="686"/>
                  </a:lnTo>
                  <a:lnTo>
                    <a:pt x="2111" y="688"/>
                  </a:lnTo>
                  <a:lnTo>
                    <a:pt x="2109" y="688"/>
                  </a:lnTo>
                  <a:lnTo>
                    <a:pt x="2107" y="688"/>
                  </a:lnTo>
                  <a:lnTo>
                    <a:pt x="2106" y="688"/>
                  </a:lnTo>
                  <a:lnTo>
                    <a:pt x="2106" y="690"/>
                  </a:lnTo>
                  <a:lnTo>
                    <a:pt x="2104" y="690"/>
                  </a:lnTo>
                  <a:lnTo>
                    <a:pt x="2102" y="690"/>
                  </a:lnTo>
                  <a:lnTo>
                    <a:pt x="2102" y="691"/>
                  </a:lnTo>
                  <a:lnTo>
                    <a:pt x="2102" y="693"/>
                  </a:lnTo>
                  <a:lnTo>
                    <a:pt x="2100" y="693"/>
                  </a:lnTo>
                  <a:lnTo>
                    <a:pt x="2100" y="695"/>
                  </a:lnTo>
                  <a:lnTo>
                    <a:pt x="2102" y="695"/>
                  </a:lnTo>
                  <a:lnTo>
                    <a:pt x="2104" y="695"/>
                  </a:lnTo>
                  <a:lnTo>
                    <a:pt x="2102" y="697"/>
                  </a:lnTo>
                  <a:lnTo>
                    <a:pt x="2100" y="697"/>
                  </a:lnTo>
                  <a:lnTo>
                    <a:pt x="2098" y="699"/>
                  </a:lnTo>
                  <a:lnTo>
                    <a:pt x="2098" y="701"/>
                  </a:lnTo>
                  <a:lnTo>
                    <a:pt x="2100" y="703"/>
                  </a:lnTo>
                  <a:lnTo>
                    <a:pt x="2098" y="703"/>
                  </a:lnTo>
                  <a:lnTo>
                    <a:pt x="2100" y="703"/>
                  </a:lnTo>
                  <a:lnTo>
                    <a:pt x="2098" y="703"/>
                  </a:lnTo>
                  <a:lnTo>
                    <a:pt x="2098" y="705"/>
                  </a:lnTo>
                  <a:lnTo>
                    <a:pt x="2100" y="705"/>
                  </a:lnTo>
                  <a:lnTo>
                    <a:pt x="2100" y="707"/>
                  </a:lnTo>
                  <a:lnTo>
                    <a:pt x="2098" y="707"/>
                  </a:lnTo>
                  <a:lnTo>
                    <a:pt x="2098" y="709"/>
                  </a:lnTo>
                  <a:lnTo>
                    <a:pt x="2098" y="711"/>
                  </a:lnTo>
                  <a:lnTo>
                    <a:pt x="2098" y="713"/>
                  </a:lnTo>
                  <a:lnTo>
                    <a:pt x="2096" y="713"/>
                  </a:lnTo>
                  <a:lnTo>
                    <a:pt x="2098" y="713"/>
                  </a:lnTo>
                  <a:lnTo>
                    <a:pt x="2098" y="715"/>
                  </a:lnTo>
                  <a:lnTo>
                    <a:pt x="2100" y="715"/>
                  </a:lnTo>
                  <a:lnTo>
                    <a:pt x="2102" y="715"/>
                  </a:lnTo>
                  <a:lnTo>
                    <a:pt x="2102" y="716"/>
                  </a:lnTo>
                  <a:lnTo>
                    <a:pt x="2102" y="718"/>
                  </a:lnTo>
                  <a:lnTo>
                    <a:pt x="2100" y="718"/>
                  </a:lnTo>
                  <a:lnTo>
                    <a:pt x="2098" y="718"/>
                  </a:lnTo>
                  <a:lnTo>
                    <a:pt x="2098" y="720"/>
                  </a:lnTo>
                  <a:lnTo>
                    <a:pt x="2100" y="720"/>
                  </a:lnTo>
                  <a:lnTo>
                    <a:pt x="2098" y="720"/>
                  </a:lnTo>
                  <a:lnTo>
                    <a:pt x="2098" y="722"/>
                  </a:lnTo>
                  <a:lnTo>
                    <a:pt x="2098" y="720"/>
                  </a:lnTo>
                  <a:lnTo>
                    <a:pt x="2096" y="720"/>
                  </a:lnTo>
                  <a:lnTo>
                    <a:pt x="2096" y="718"/>
                  </a:lnTo>
                  <a:lnTo>
                    <a:pt x="2094" y="718"/>
                  </a:lnTo>
                  <a:lnTo>
                    <a:pt x="2096" y="718"/>
                  </a:lnTo>
                  <a:lnTo>
                    <a:pt x="2096" y="716"/>
                  </a:lnTo>
                  <a:lnTo>
                    <a:pt x="2094" y="716"/>
                  </a:lnTo>
                  <a:lnTo>
                    <a:pt x="2092" y="716"/>
                  </a:lnTo>
                  <a:lnTo>
                    <a:pt x="2092" y="718"/>
                  </a:lnTo>
                  <a:lnTo>
                    <a:pt x="2094" y="718"/>
                  </a:lnTo>
                  <a:lnTo>
                    <a:pt x="2092" y="718"/>
                  </a:lnTo>
                  <a:lnTo>
                    <a:pt x="2090" y="718"/>
                  </a:lnTo>
                  <a:lnTo>
                    <a:pt x="2090" y="716"/>
                  </a:lnTo>
                  <a:lnTo>
                    <a:pt x="2088" y="716"/>
                  </a:lnTo>
                  <a:lnTo>
                    <a:pt x="2088" y="718"/>
                  </a:lnTo>
                  <a:lnTo>
                    <a:pt x="2086" y="718"/>
                  </a:lnTo>
                  <a:lnTo>
                    <a:pt x="2088" y="720"/>
                  </a:lnTo>
                  <a:lnTo>
                    <a:pt x="2086" y="720"/>
                  </a:lnTo>
                  <a:lnTo>
                    <a:pt x="2086" y="722"/>
                  </a:lnTo>
                  <a:lnTo>
                    <a:pt x="2084" y="722"/>
                  </a:lnTo>
                  <a:lnTo>
                    <a:pt x="2084" y="724"/>
                  </a:lnTo>
                  <a:lnTo>
                    <a:pt x="2082" y="724"/>
                  </a:lnTo>
                  <a:lnTo>
                    <a:pt x="2082" y="726"/>
                  </a:lnTo>
                  <a:lnTo>
                    <a:pt x="2081" y="726"/>
                  </a:lnTo>
                  <a:lnTo>
                    <a:pt x="2081" y="724"/>
                  </a:lnTo>
                  <a:lnTo>
                    <a:pt x="2081" y="726"/>
                  </a:lnTo>
                  <a:lnTo>
                    <a:pt x="2081" y="728"/>
                  </a:lnTo>
                  <a:lnTo>
                    <a:pt x="2081" y="726"/>
                  </a:lnTo>
                  <a:lnTo>
                    <a:pt x="2079" y="726"/>
                  </a:lnTo>
                  <a:lnTo>
                    <a:pt x="2081" y="726"/>
                  </a:lnTo>
                  <a:lnTo>
                    <a:pt x="2079" y="726"/>
                  </a:lnTo>
                  <a:lnTo>
                    <a:pt x="2079" y="728"/>
                  </a:lnTo>
                  <a:lnTo>
                    <a:pt x="2077" y="730"/>
                  </a:lnTo>
                  <a:lnTo>
                    <a:pt x="2077" y="732"/>
                  </a:lnTo>
                  <a:lnTo>
                    <a:pt x="2075" y="732"/>
                  </a:lnTo>
                  <a:lnTo>
                    <a:pt x="2077" y="732"/>
                  </a:lnTo>
                  <a:lnTo>
                    <a:pt x="2075" y="732"/>
                  </a:lnTo>
                  <a:lnTo>
                    <a:pt x="2073" y="732"/>
                  </a:lnTo>
                  <a:lnTo>
                    <a:pt x="2075" y="734"/>
                  </a:lnTo>
                  <a:lnTo>
                    <a:pt x="2073" y="734"/>
                  </a:lnTo>
                  <a:lnTo>
                    <a:pt x="2073" y="736"/>
                  </a:lnTo>
                  <a:lnTo>
                    <a:pt x="2071" y="736"/>
                  </a:lnTo>
                  <a:lnTo>
                    <a:pt x="2071" y="738"/>
                  </a:lnTo>
                  <a:lnTo>
                    <a:pt x="2069" y="738"/>
                  </a:lnTo>
                  <a:lnTo>
                    <a:pt x="2069" y="739"/>
                  </a:lnTo>
                  <a:lnTo>
                    <a:pt x="2067" y="739"/>
                  </a:lnTo>
                  <a:lnTo>
                    <a:pt x="2067" y="741"/>
                  </a:lnTo>
                  <a:lnTo>
                    <a:pt x="2065" y="741"/>
                  </a:lnTo>
                  <a:lnTo>
                    <a:pt x="2065" y="743"/>
                  </a:lnTo>
                  <a:lnTo>
                    <a:pt x="2065" y="745"/>
                  </a:lnTo>
                  <a:lnTo>
                    <a:pt x="2063" y="745"/>
                  </a:lnTo>
                  <a:lnTo>
                    <a:pt x="2063" y="743"/>
                  </a:lnTo>
                  <a:lnTo>
                    <a:pt x="2063" y="745"/>
                  </a:lnTo>
                  <a:lnTo>
                    <a:pt x="2061" y="745"/>
                  </a:lnTo>
                  <a:lnTo>
                    <a:pt x="2059" y="745"/>
                  </a:lnTo>
                  <a:lnTo>
                    <a:pt x="2059" y="747"/>
                  </a:lnTo>
                  <a:lnTo>
                    <a:pt x="2059" y="745"/>
                  </a:lnTo>
                  <a:lnTo>
                    <a:pt x="2059" y="747"/>
                  </a:lnTo>
                  <a:lnTo>
                    <a:pt x="2059" y="745"/>
                  </a:lnTo>
                  <a:lnTo>
                    <a:pt x="2058" y="745"/>
                  </a:lnTo>
                  <a:lnTo>
                    <a:pt x="2059" y="745"/>
                  </a:lnTo>
                  <a:lnTo>
                    <a:pt x="2059" y="747"/>
                  </a:lnTo>
                  <a:lnTo>
                    <a:pt x="2058" y="747"/>
                  </a:lnTo>
                  <a:lnTo>
                    <a:pt x="2058" y="749"/>
                  </a:lnTo>
                  <a:lnTo>
                    <a:pt x="2056" y="749"/>
                  </a:lnTo>
                  <a:lnTo>
                    <a:pt x="2056" y="751"/>
                  </a:lnTo>
                  <a:lnTo>
                    <a:pt x="2056" y="749"/>
                  </a:lnTo>
                  <a:lnTo>
                    <a:pt x="2056" y="747"/>
                  </a:lnTo>
                  <a:lnTo>
                    <a:pt x="2056" y="745"/>
                  </a:lnTo>
                  <a:lnTo>
                    <a:pt x="2058" y="745"/>
                  </a:lnTo>
                  <a:lnTo>
                    <a:pt x="2058" y="743"/>
                  </a:lnTo>
                  <a:lnTo>
                    <a:pt x="2056" y="743"/>
                  </a:lnTo>
                  <a:lnTo>
                    <a:pt x="2056" y="741"/>
                  </a:lnTo>
                  <a:lnTo>
                    <a:pt x="2058" y="743"/>
                  </a:lnTo>
                  <a:lnTo>
                    <a:pt x="2058" y="741"/>
                  </a:lnTo>
                  <a:lnTo>
                    <a:pt x="2058" y="739"/>
                  </a:lnTo>
                  <a:lnTo>
                    <a:pt x="2058" y="741"/>
                  </a:lnTo>
                  <a:lnTo>
                    <a:pt x="2058" y="739"/>
                  </a:lnTo>
                  <a:lnTo>
                    <a:pt x="2059" y="739"/>
                  </a:lnTo>
                  <a:lnTo>
                    <a:pt x="2058" y="739"/>
                  </a:lnTo>
                  <a:lnTo>
                    <a:pt x="2059" y="739"/>
                  </a:lnTo>
                  <a:lnTo>
                    <a:pt x="2059" y="738"/>
                  </a:lnTo>
                  <a:lnTo>
                    <a:pt x="2059" y="736"/>
                  </a:lnTo>
                  <a:lnTo>
                    <a:pt x="2058" y="736"/>
                  </a:lnTo>
                  <a:lnTo>
                    <a:pt x="2056" y="736"/>
                  </a:lnTo>
                  <a:lnTo>
                    <a:pt x="2056" y="738"/>
                  </a:lnTo>
                  <a:lnTo>
                    <a:pt x="2054" y="738"/>
                  </a:lnTo>
                  <a:lnTo>
                    <a:pt x="2052" y="738"/>
                  </a:lnTo>
                  <a:lnTo>
                    <a:pt x="2052" y="739"/>
                  </a:lnTo>
                  <a:lnTo>
                    <a:pt x="2050" y="739"/>
                  </a:lnTo>
                  <a:lnTo>
                    <a:pt x="2052" y="738"/>
                  </a:lnTo>
                  <a:lnTo>
                    <a:pt x="2050" y="738"/>
                  </a:lnTo>
                  <a:lnTo>
                    <a:pt x="2052" y="738"/>
                  </a:lnTo>
                  <a:lnTo>
                    <a:pt x="2052" y="736"/>
                  </a:lnTo>
                  <a:lnTo>
                    <a:pt x="2054" y="734"/>
                  </a:lnTo>
                  <a:lnTo>
                    <a:pt x="2054" y="732"/>
                  </a:lnTo>
                  <a:lnTo>
                    <a:pt x="2052" y="732"/>
                  </a:lnTo>
                  <a:lnTo>
                    <a:pt x="2052" y="730"/>
                  </a:lnTo>
                  <a:lnTo>
                    <a:pt x="2050" y="730"/>
                  </a:lnTo>
                  <a:lnTo>
                    <a:pt x="2050" y="728"/>
                  </a:lnTo>
                  <a:lnTo>
                    <a:pt x="2052" y="728"/>
                  </a:lnTo>
                  <a:lnTo>
                    <a:pt x="2052" y="730"/>
                  </a:lnTo>
                  <a:lnTo>
                    <a:pt x="2054" y="730"/>
                  </a:lnTo>
                  <a:lnTo>
                    <a:pt x="2052" y="730"/>
                  </a:lnTo>
                  <a:lnTo>
                    <a:pt x="2054" y="730"/>
                  </a:lnTo>
                  <a:lnTo>
                    <a:pt x="2054" y="728"/>
                  </a:lnTo>
                  <a:lnTo>
                    <a:pt x="2052" y="728"/>
                  </a:lnTo>
                  <a:lnTo>
                    <a:pt x="2054" y="726"/>
                  </a:lnTo>
                  <a:lnTo>
                    <a:pt x="2054" y="724"/>
                  </a:lnTo>
                  <a:lnTo>
                    <a:pt x="2056" y="724"/>
                  </a:lnTo>
                  <a:lnTo>
                    <a:pt x="2054" y="724"/>
                  </a:lnTo>
                  <a:lnTo>
                    <a:pt x="2054" y="722"/>
                  </a:lnTo>
                  <a:lnTo>
                    <a:pt x="2054" y="724"/>
                  </a:lnTo>
                  <a:lnTo>
                    <a:pt x="2054" y="722"/>
                  </a:lnTo>
                  <a:lnTo>
                    <a:pt x="2056" y="722"/>
                  </a:lnTo>
                  <a:lnTo>
                    <a:pt x="2056" y="720"/>
                  </a:lnTo>
                  <a:lnTo>
                    <a:pt x="2058" y="720"/>
                  </a:lnTo>
                  <a:lnTo>
                    <a:pt x="2058" y="718"/>
                  </a:lnTo>
                  <a:lnTo>
                    <a:pt x="2058" y="716"/>
                  </a:lnTo>
                  <a:lnTo>
                    <a:pt x="2058" y="715"/>
                  </a:lnTo>
                  <a:lnTo>
                    <a:pt x="2059" y="715"/>
                  </a:lnTo>
                  <a:lnTo>
                    <a:pt x="2059" y="713"/>
                  </a:lnTo>
                  <a:lnTo>
                    <a:pt x="2059" y="711"/>
                  </a:lnTo>
                  <a:lnTo>
                    <a:pt x="2059" y="709"/>
                  </a:lnTo>
                  <a:lnTo>
                    <a:pt x="2058" y="709"/>
                  </a:lnTo>
                  <a:lnTo>
                    <a:pt x="2059" y="709"/>
                  </a:lnTo>
                  <a:lnTo>
                    <a:pt x="2058" y="709"/>
                  </a:lnTo>
                  <a:lnTo>
                    <a:pt x="2056" y="709"/>
                  </a:lnTo>
                  <a:lnTo>
                    <a:pt x="2056" y="711"/>
                  </a:lnTo>
                  <a:lnTo>
                    <a:pt x="2054" y="711"/>
                  </a:lnTo>
                  <a:lnTo>
                    <a:pt x="2054" y="713"/>
                  </a:lnTo>
                  <a:lnTo>
                    <a:pt x="2054" y="715"/>
                  </a:lnTo>
                  <a:lnTo>
                    <a:pt x="2052" y="715"/>
                  </a:lnTo>
                  <a:lnTo>
                    <a:pt x="2052" y="716"/>
                  </a:lnTo>
                  <a:lnTo>
                    <a:pt x="2050" y="716"/>
                  </a:lnTo>
                  <a:lnTo>
                    <a:pt x="2050" y="715"/>
                  </a:lnTo>
                  <a:lnTo>
                    <a:pt x="2050" y="716"/>
                  </a:lnTo>
                  <a:lnTo>
                    <a:pt x="2050" y="715"/>
                  </a:lnTo>
                  <a:lnTo>
                    <a:pt x="2048" y="715"/>
                  </a:lnTo>
                  <a:lnTo>
                    <a:pt x="2050" y="716"/>
                  </a:lnTo>
                  <a:lnTo>
                    <a:pt x="2048" y="716"/>
                  </a:lnTo>
                  <a:lnTo>
                    <a:pt x="2046" y="716"/>
                  </a:lnTo>
                  <a:lnTo>
                    <a:pt x="2046" y="715"/>
                  </a:lnTo>
                  <a:lnTo>
                    <a:pt x="2046" y="713"/>
                  </a:lnTo>
                  <a:lnTo>
                    <a:pt x="2048" y="713"/>
                  </a:lnTo>
                  <a:lnTo>
                    <a:pt x="2046" y="713"/>
                  </a:lnTo>
                  <a:lnTo>
                    <a:pt x="2046" y="715"/>
                  </a:lnTo>
                  <a:lnTo>
                    <a:pt x="2046" y="713"/>
                  </a:lnTo>
                  <a:lnTo>
                    <a:pt x="2044" y="713"/>
                  </a:lnTo>
                  <a:lnTo>
                    <a:pt x="2044" y="711"/>
                  </a:lnTo>
                  <a:lnTo>
                    <a:pt x="2044" y="709"/>
                  </a:lnTo>
                  <a:lnTo>
                    <a:pt x="2042" y="709"/>
                  </a:lnTo>
                  <a:lnTo>
                    <a:pt x="2040" y="709"/>
                  </a:lnTo>
                  <a:lnTo>
                    <a:pt x="2038" y="709"/>
                  </a:lnTo>
                  <a:lnTo>
                    <a:pt x="2038" y="711"/>
                  </a:lnTo>
                  <a:lnTo>
                    <a:pt x="2036" y="711"/>
                  </a:lnTo>
                  <a:lnTo>
                    <a:pt x="2036" y="709"/>
                  </a:lnTo>
                  <a:lnTo>
                    <a:pt x="2036" y="711"/>
                  </a:lnTo>
                  <a:lnTo>
                    <a:pt x="2036" y="713"/>
                  </a:lnTo>
                  <a:lnTo>
                    <a:pt x="2035" y="713"/>
                  </a:lnTo>
                  <a:lnTo>
                    <a:pt x="2033" y="713"/>
                  </a:lnTo>
                  <a:lnTo>
                    <a:pt x="2031" y="713"/>
                  </a:lnTo>
                  <a:lnTo>
                    <a:pt x="2029" y="713"/>
                  </a:lnTo>
                  <a:lnTo>
                    <a:pt x="2027" y="713"/>
                  </a:lnTo>
                  <a:lnTo>
                    <a:pt x="2027" y="715"/>
                  </a:lnTo>
                  <a:lnTo>
                    <a:pt x="2025" y="715"/>
                  </a:lnTo>
                  <a:lnTo>
                    <a:pt x="2023" y="715"/>
                  </a:lnTo>
                  <a:lnTo>
                    <a:pt x="2021" y="715"/>
                  </a:lnTo>
                  <a:lnTo>
                    <a:pt x="2021" y="713"/>
                  </a:lnTo>
                  <a:lnTo>
                    <a:pt x="2019" y="713"/>
                  </a:lnTo>
                  <a:lnTo>
                    <a:pt x="2017" y="713"/>
                  </a:lnTo>
                  <a:lnTo>
                    <a:pt x="2015" y="713"/>
                  </a:lnTo>
                  <a:lnTo>
                    <a:pt x="2015" y="715"/>
                  </a:lnTo>
                  <a:lnTo>
                    <a:pt x="2015" y="716"/>
                  </a:lnTo>
                  <a:lnTo>
                    <a:pt x="2013" y="716"/>
                  </a:lnTo>
                  <a:lnTo>
                    <a:pt x="2011" y="716"/>
                  </a:lnTo>
                  <a:lnTo>
                    <a:pt x="2010" y="718"/>
                  </a:lnTo>
                  <a:lnTo>
                    <a:pt x="2010" y="720"/>
                  </a:lnTo>
                  <a:lnTo>
                    <a:pt x="2008" y="720"/>
                  </a:lnTo>
                  <a:lnTo>
                    <a:pt x="2008" y="722"/>
                  </a:lnTo>
                  <a:lnTo>
                    <a:pt x="2006" y="722"/>
                  </a:lnTo>
                  <a:lnTo>
                    <a:pt x="2004" y="722"/>
                  </a:lnTo>
                  <a:lnTo>
                    <a:pt x="2006" y="722"/>
                  </a:lnTo>
                  <a:lnTo>
                    <a:pt x="2004" y="722"/>
                  </a:lnTo>
                  <a:lnTo>
                    <a:pt x="2004" y="724"/>
                  </a:lnTo>
                  <a:lnTo>
                    <a:pt x="2004" y="726"/>
                  </a:lnTo>
                  <a:lnTo>
                    <a:pt x="2004" y="728"/>
                  </a:lnTo>
                  <a:lnTo>
                    <a:pt x="2004" y="730"/>
                  </a:lnTo>
                  <a:lnTo>
                    <a:pt x="2004" y="732"/>
                  </a:lnTo>
                  <a:lnTo>
                    <a:pt x="2002" y="732"/>
                  </a:lnTo>
                  <a:lnTo>
                    <a:pt x="2000" y="732"/>
                  </a:lnTo>
                  <a:lnTo>
                    <a:pt x="2000" y="734"/>
                  </a:lnTo>
                  <a:lnTo>
                    <a:pt x="1998" y="734"/>
                  </a:lnTo>
                  <a:lnTo>
                    <a:pt x="1998" y="736"/>
                  </a:lnTo>
                  <a:lnTo>
                    <a:pt x="1996" y="736"/>
                  </a:lnTo>
                  <a:lnTo>
                    <a:pt x="1996" y="738"/>
                  </a:lnTo>
                  <a:lnTo>
                    <a:pt x="1996" y="739"/>
                  </a:lnTo>
                  <a:lnTo>
                    <a:pt x="1994" y="739"/>
                  </a:lnTo>
                  <a:lnTo>
                    <a:pt x="1994" y="738"/>
                  </a:lnTo>
                  <a:lnTo>
                    <a:pt x="1994" y="739"/>
                  </a:lnTo>
                  <a:lnTo>
                    <a:pt x="1994" y="741"/>
                  </a:lnTo>
                  <a:lnTo>
                    <a:pt x="1994" y="743"/>
                  </a:lnTo>
                  <a:lnTo>
                    <a:pt x="1994" y="745"/>
                  </a:lnTo>
                  <a:lnTo>
                    <a:pt x="1992" y="745"/>
                  </a:lnTo>
                  <a:lnTo>
                    <a:pt x="1994" y="745"/>
                  </a:lnTo>
                  <a:lnTo>
                    <a:pt x="1992" y="745"/>
                  </a:lnTo>
                  <a:lnTo>
                    <a:pt x="1992" y="747"/>
                  </a:lnTo>
                  <a:lnTo>
                    <a:pt x="1990" y="747"/>
                  </a:lnTo>
                  <a:lnTo>
                    <a:pt x="1988" y="747"/>
                  </a:lnTo>
                  <a:lnTo>
                    <a:pt x="1988" y="749"/>
                  </a:lnTo>
                  <a:lnTo>
                    <a:pt x="1987" y="749"/>
                  </a:lnTo>
                  <a:lnTo>
                    <a:pt x="1987" y="751"/>
                  </a:lnTo>
                  <a:lnTo>
                    <a:pt x="1985" y="751"/>
                  </a:lnTo>
                  <a:lnTo>
                    <a:pt x="1985" y="753"/>
                  </a:lnTo>
                  <a:lnTo>
                    <a:pt x="1983" y="753"/>
                  </a:lnTo>
                  <a:lnTo>
                    <a:pt x="1983" y="755"/>
                  </a:lnTo>
                  <a:lnTo>
                    <a:pt x="1981" y="755"/>
                  </a:lnTo>
                  <a:lnTo>
                    <a:pt x="1981" y="757"/>
                  </a:lnTo>
                  <a:lnTo>
                    <a:pt x="1979" y="757"/>
                  </a:lnTo>
                  <a:lnTo>
                    <a:pt x="1977" y="759"/>
                  </a:lnTo>
                  <a:lnTo>
                    <a:pt x="1977" y="761"/>
                  </a:lnTo>
                  <a:lnTo>
                    <a:pt x="1975" y="761"/>
                  </a:lnTo>
                  <a:lnTo>
                    <a:pt x="1975" y="763"/>
                  </a:lnTo>
                  <a:lnTo>
                    <a:pt x="1975" y="764"/>
                  </a:lnTo>
                  <a:lnTo>
                    <a:pt x="1973" y="764"/>
                  </a:lnTo>
                  <a:lnTo>
                    <a:pt x="1973" y="766"/>
                  </a:lnTo>
                  <a:lnTo>
                    <a:pt x="1973" y="764"/>
                  </a:lnTo>
                  <a:lnTo>
                    <a:pt x="1971" y="764"/>
                  </a:lnTo>
                  <a:lnTo>
                    <a:pt x="1971" y="766"/>
                  </a:lnTo>
                  <a:lnTo>
                    <a:pt x="1971" y="768"/>
                  </a:lnTo>
                  <a:lnTo>
                    <a:pt x="1971" y="766"/>
                  </a:lnTo>
                  <a:lnTo>
                    <a:pt x="1971" y="768"/>
                  </a:lnTo>
                  <a:lnTo>
                    <a:pt x="1973" y="768"/>
                  </a:lnTo>
                  <a:lnTo>
                    <a:pt x="1973" y="770"/>
                  </a:lnTo>
                  <a:lnTo>
                    <a:pt x="1971" y="770"/>
                  </a:lnTo>
                  <a:lnTo>
                    <a:pt x="1971" y="772"/>
                  </a:lnTo>
                  <a:lnTo>
                    <a:pt x="1971" y="770"/>
                  </a:lnTo>
                  <a:lnTo>
                    <a:pt x="1973" y="770"/>
                  </a:lnTo>
                  <a:lnTo>
                    <a:pt x="1971" y="770"/>
                  </a:lnTo>
                  <a:lnTo>
                    <a:pt x="1969" y="770"/>
                  </a:lnTo>
                  <a:lnTo>
                    <a:pt x="1969" y="772"/>
                  </a:lnTo>
                  <a:lnTo>
                    <a:pt x="1969" y="774"/>
                  </a:lnTo>
                  <a:lnTo>
                    <a:pt x="1969" y="776"/>
                  </a:lnTo>
                  <a:lnTo>
                    <a:pt x="1969" y="778"/>
                  </a:lnTo>
                  <a:lnTo>
                    <a:pt x="1971" y="778"/>
                  </a:lnTo>
                  <a:lnTo>
                    <a:pt x="1971" y="780"/>
                  </a:lnTo>
                  <a:lnTo>
                    <a:pt x="1969" y="778"/>
                  </a:lnTo>
                  <a:lnTo>
                    <a:pt x="1969" y="776"/>
                  </a:lnTo>
                  <a:lnTo>
                    <a:pt x="1969" y="778"/>
                  </a:lnTo>
                  <a:lnTo>
                    <a:pt x="1967" y="778"/>
                  </a:lnTo>
                  <a:lnTo>
                    <a:pt x="1967" y="780"/>
                  </a:lnTo>
                  <a:lnTo>
                    <a:pt x="1967" y="782"/>
                  </a:lnTo>
                  <a:lnTo>
                    <a:pt x="1967" y="784"/>
                  </a:lnTo>
                  <a:lnTo>
                    <a:pt x="1965" y="784"/>
                  </a:lnTo>
                  <a:lnTo>
                    <a:pt x="1967" y="784"/>
                  </a:lnTo>
                  <a:lnTo>
                    <a:pt x="1967" y="782"/>
                  </a:lnTo>
                  <a:lnTo>
                    <a:pt x="1967" y="784"/>
                  </a:lnTo>
                  <a:lnTo>
                    <a:pt x="1969" y="784"/>
                  </a:lnTo>
                  <a:lnTo>
                    <a:pt x="1969" y="782"/>
                  </a:lnTo>
                  <a:lnTo>
                    <a:pt x="1971" y="782"/>
                  </a:lnTo>
                  <a:lnTo>
                    <a:pt x="1971" y="780"/>
                  </a:lnTo>
                  <a:lnTo>
                    <a:pt x="1971" y="782"/>
                  </a:lnTo>
                  <a:lnTo>
                    <a:pt x="1971" y="784"/>
                  </a:lnTo>
                  <a:lnTo>
                    <a:pt x="1973" y="784"/>
                  </a:lnTo>
                  <a:lnTo>
                    <a:pt x="1973" y="782"/>
                  </a:lnTo>
                  <a:lnTo>
                    <a:pt x="1971" y="782"/>
                  </a:lnTo>
                  <a:lnTo>
                    <a:pt x="1971" y="780"/>
                  </a:lnTo>
                  <a:lnTo>
                    <a:pt x="1973" y="780"/>
                  </a:lnTo>
                  <a:lnTo>
                    <a:pt x="1973" y="782"/>
                  </a:lnTo>
                  <a:lnTo>
                    <a:pt x="1975" y="780"/>
                  </a:lnTo>
                  <a:lnTo>
                    <a:pt x="1975" y="782"/>
                  </a:lnTo>
                  <a:lnTo>
                    <a:pt x="1977" y="782"/>
                  </a:lnTo>
                  <a:lnTo>
                    <a:pt x="1979" y="782"/>
                  </a:lnTo>
                  <a:lnTo>
                    <a:pt x="1981" y="782"/>
                  </a:lnTo>
                  <a:lnTo>
                    <a:pt x="1981" y="784"/>
                  </a:lnTo>
                  <a:lnTo>
                    <a:pt x="1981" y="786"/>
                  </a:lnTo>
                  <a:lnTo>
                    <a:pt x="1983" y="786"/>
                  </a:lnTo>
                  <a:lnTo>
                    <a:pt x="1983" y="788"/>
                  </a:lnTo>
                  <a:lnTo>
                    <a:pt x="1983" y="789"/>
                  </a:lnTo>
                  <a:lnTo>
                    <a:pt x="1983" y="791"/>
                  </a:lnTo>
                  <a:lnTo>
                    <a:pt x="1981" y="791"/>
                  </a:lnTo>
                  <a:lnTo>
                    <a:pt x="1979" y="791"/>
                  </a:lnTo>
                  <a:lnTo>
                    <a:pt x="1979" y="789"/>
                  </a:lnTo>
                  <a:lnTo>
                    <a:pt x="1979" y="791"/>
                  </a:lnTo>
                  <a:lnTo>
                    <a:pt x="1977" y="789"/>
                  </a:lnTo>
                  <a:lnTo>
                    <a:pt x="1977" y="791"/>
                  </a:lnTo>
                  <a:lnTo>
                    <a:pt x="1975" y="791"/>
                  </a:lnTo>
                  <a:lnTo>
                    <a:pt x="1973" y="791"/>
                  </a:lnTo>
                  <a:lnTo>
                    <a:pt x="1975" y="789"/>
                  </a:lnTo>
                  <a:lnTo>
                    <a:pt x="1973" y="789"/>
                  </a:lnTo>
                  <a:lnTo>
                    <a:pt x="1971" y="789"/>
                  </a:lnTo>
                  <a:lnTo>
                    <a:pt x="1969" y="789"/>
                  </a:lnTo>
                  <a:lnTo>
                    <a:pt x="1969" y="791"/>
                  </a:lnTo>
                  <a:lnTo>
                    <a:pt x="1971" y="791"/>
                  </a:lnTo>
                  <a:lnTo>
                    <a:pt x="1971" y="793"/>
                  </a:lnTo>
                  <a:lnTo>
                    <a:pt x="1969" y="793"/>
                  </a:lnTo>
                  <a:lnTo>
                    <a:pt x="1967" y="793"/>
                  </a:lnTo>
                  <a:lnTo>
                    <a:pt x="1965" y="795"/>
                  </a:lnTo>
                  <a:lnTo>
                    <a:pt x="1965" y="793"/>
                  </a:lnTo>
                  <a:lnTo>
                    <a:pt x="1963" y="793"/>
                  </a:lnTo>
                  <a:lnTo>
                    <a:pt x="1963" y="791"/>
                  </a:lnTo>
                  <a:lnTo>
                    <a:pt x="1962" y="791"/>
                  </a:lnTo>
                  <a:lnTo>
                    <a:pt x="1962" y="789"/>
                  </a:lnTo>
                  <a:lnTo>
                    <a:pt x="1960" y="791"/>
                  </a:lnTo>
                  <a:lnTo>
                    <a:pt x="1960" y="789"/>
                  </a:lnTo>
                  <a:lnTo>
                    <a:pt x="1958" y="789"/>
                  </a:lnTo>
                  <a:lnTo>
                    <a:pt x="1956" y="789"/>
                  </a:lnTo>
                  <a:lnTo>
                    <a:pt x="1958" y="789"/>
                  </a:lnTo>
                  <a:lnTo>
                    <a:pt x="1956" y="789"/>
                  </a:lnTo>
                  <a:lnTo>
                    <a:pt x="1956" y="791"/>
                  </a:lnTo>
                  <a:lnTo>
                    <a:pt x="1956" y="793"/>
                  </a:lnTo>
                  <a:lnTo>
                    <a:pt x="1956" y="791"/>
                  </a:lnTo>
                  <a:lnTo>
                    <a:pt x="1956" y="793"/>
                  </a:lnTo>
                  <a:lnTo>
                    <a:pt x="1954" y="793"/>
                  </a:lnTo>
                  <a:lnTo>
                    <a:pt x="1952" y="793"/>
                  </a:lnTo>
                  <a:lnTo>
                    <a:pt x="1950" y="793"/>
                  </a:lnTo>
                  <a:lnTo>
                    <a:pt x="1950" y="795"/>
                  </a:lnTo>
                  <a:lnTo>
                    <a:pt x="1950" y="797"/>
                  </a:lnTo>
                  <a:lnTo>
                    <a:pt x="1950" y="799"/>
                  </a:lnTo>
                  <a:lnTo>
                    <a:pt x="1948" y="799"/>
                  </a:lnTo>
                  <a:lnTo>
                    <a:pt x="1948" y="797"/>
                  </a:lnTo>
                  <a:lnTo>
                    <a:pt x="1948" y="799"/>
                  </a:lnTo>
                  <a:lnTo>
                    <a:pt x="1946" y="799"/>
                  </a:lnTo>
                  <a:lnTo>
                    <a:pt x="1946" y="797"/>
                  </a:lnTo>
                  <a:lnTo>
                    <a:pt x="1944" y="797"/>
                  </a:lnTo>
                  <a:lnTo>
                    <a:pt x="1942" y="795"/>
                  </a:lnTo>
                  <a:lnTo>
                    <a:pt x="1940" y="793"/>
                  </a:lnTo>
                  <a:lnTo>
                    <a:pt x="1940" y="795"/>
                  </a:lnTo>
                  <a:lnTo>
                    <a:pt x="1942" y="795"/>
                  </a:lnTo>
                  <a:lnTo>
                    <a:pt x="1940" y="795"/>
                  </a:lnTo>
                  <a:lnTo>
                    <a:pt x="1942" y="795"/>
                  </a:lnTo>
                  <a:lnTo>
                    <a:pt x="1940" y="795"/>
                  </a:lnTo>
                  <a:lnTo>
                    <a:pt x="1939" y="795"/>
                  </a:lnTo>
                  <a:lnTo>
                    <a:pt x="1939" y="797"/>
                  </a:lnTo>
                  <a:lnTo>
                    <a:pt x="1939" y="799"/>
                  </a:lnTo>
                  <a:lnTo>
                    <a:pt x="1937" y="799"/>
                  </a:lnTo>
                  <a:lnTo>
                    <a:pt x="1935" y="799"/>
                  </a:lnTo>
                  <a:lnTo>
                    <a:pt x="1933" y="799"/>
                  </a:lnTo>
                  <a:lnTo>
                    <a:pt x="1933" y="801"/>
                  </a:lnTo>
                  <a:lnTo>
                    <a:pt x="1931" y="801"/>
                  </a:lnTo>
                  <a:lnTo>
                    <a:pt x="1931" y="799"/>
                  </a:lnTo>
                  <a:lnTo>
                    <a:pt x="1929" y="799"/>
                  </a:lnTo>
                  <a:lnTo>
                    <a:pt x="1927" y="799"/>
                  </a:lnTo>
                  <a:lnTo>
                    <a:pt x="1927" y="801"/>
                  </a:lnTo>
                  <a:lnTo>
                    <a:pt x="1927" y="799"/>
                  </a:lnTo>
                  <a:lnTo>
                    <a:pt x="1925" y="799"/>
                  </a:lnTo>
                  <a:lnTo>
                    <a:pt x="1925" y="797"/>
                  </a:lnTo>
                  <a:lnTo>
                    <a:pt x="1925" y="795"/>
                  </a:lnTo>
                  <a:lnTo>
                    <a:pt x="1923" y="795"/>
                  </a:lnTo>
                  <a:lnTo>
                    <a:pt x="1923" y="793"/>
                  </a:lnTo>
                  <a:lnTo>
                    <a:pt x="1925" y="793"/>
                  </a:lnTo>
                  <a:lnTo>
                    <a:pt x="1927" y="793"/>
                  </a:lnTo>
                  <a:lnTo>
                    <a:pt x="1927" y="791"/>
                  </a:lnTo>
                  <a:lnTo>
                    <a:pt x="1929" y="791"/>
                  </a:lnTo>
                  <a:lnTo>
                    <a:pt x="1931" y="791"/>
                  </a:lnTo>
                  <a:lnTo>
                    <a:pt x="1933" y="791"/>
                  </a:lnTo>
                  <a:lnTo>
                    <a:pt x="1935" y="791"/>
                  </a:lnTo>
                  <a:lnTo>
                    <a:pt x="1937" y="791"/>
                  </a:lnTo>
                  <a:lnTo>
                    <a:pt x="1939" y="791"/>
                  </a:lnTo>
                  <a:lnTo>
                    <a:pt x="1939" y="789"/>
                  </a:lnTo>
                  <a:lnTo>
                    <a:pt x="1940" y="789"/>
                  </a:lnTo>
                  <a:lnTo>
                    <a:pt x="1940" y="788"/>
                  </a:lnTo>
                  <a:lnTo>
                    <a:pt x="1939" y="788"/>
                  </a:lnTo>
                  <a:lnTo>
                    <a:pt x="1937" y="788"/>
                  </a:lnTo>
                  <a:lnTo>
                    <a:pt x="1935" y="788"/>
                  </a:lnTo>
                  <a:lnTo>
                    <a:pt x="1933" y="788"/>
                  </a:lnTo>
                  <a:lnTo>
                    <a:pt x="1933" y="786"/>
                  </a:lnTo>
                  <a:lnTo>
                    <a:pt x="1931" y="784"/>
                  </a:lnTo>
                  <a:lnTo>
                    <a:pt x="1931" y="782"/>
                  </a:lnTo>
                  <a:lnTo>
                    <a:pt x="1929" y="782"/>
                  </a:lnTo>
                  <a:lnTo>
                    <a:pt x="1929" y="780"/>
                  </a:lnTo>
                  <a:lnTo>
                    <a:pt x="1927" y="780"/>
                  </a:lnTo>
                  <a:lnTo>
                    <a:pt x="1929" y="780"/>
                  </a:lnTo>
                  <a:lnTo>
                    <a:pt x="1927" y="780"/>
                  </a:lnTo>
                  <a:lnTo>
                    <a:pt x="1927" y="778"/>
                  </a:lnTo>
                  <a:lnTo>
                    <a:pt x="1927" y="780"/>
                  </a:lnTo>
                  <a:lnTo>
                    <a:pt x="1925" y="780"/>
                  </a:lnTo>
                  <a:lnTo>
                    <a:pt x="1923" y="780"/>
                  </a:lnTo>
                  <a:lnTo>
                    <a:pt x="1921" y="780"/>
                  </a:lnTo>
                  <a:lnTo>
                    <a:pt x="1919" y="780"/>
                  </a:lnTo>
                  <a:lnTo>
                    <a:pt x="1919" y="782"/>
                  </a:lnTo>
                  <a:lnTo>
                    <a:pt x="1921" y="782"/>
                  </a:lnTo>
                  <a:lnTo>
                    <a:pt x="1919" y="782"/>
                  </a:lnTo>
                  <a:lnTo>
                    <a:pt x="1921" y="782"/>
                  </a:lnTo>
                  <a:lnTo>
                    <a:pt x="1921" y="784"/>
                  </a:lnTo>
                  <a:lnTo>
                    <a:pt x="1919" y="784"/>
                  </a:lnTo>
                  <a:lnTo>
                    <a:pt x="1917" y="784"/>
                  </a:lnTo>
                  <a:lnTo>
                    <a:pt x="1917" y="782"/>
                  </a:lnTo>
                  <a:lnTo>
                    <a:pt x="1916" y="782"/>
                  </a:lnTo>
                  <a:lnTo>
                    <a:pt x="1914" y="782"/>
                  </a:lnTo>
                  <a:lnTo>
                    <a:pt x="1916" y="782"/>
                  </a:lnTo>
                  <a:lnTo>
                    <a:pt x="1917" y="780"/>
                  </a:lnTo>
                  <a:lnTo>
                    <a:pt x="1916" y="780"/>
                  </a:lnTo>
                  <a:lnTo>
                    <a:pt x="1914" y="780"/>
                  </a:lnTo>
                  <a:lnTo>
                    <a:pt x="1914" y="778"/>
                  </a:lnTo>
                  <a:lnTo>
                    <a:pt x="1912" y="778"/>
                  </a:lnTo>
                  <a:lnTo>
                    <a:pt x="1910" y="778"/>
                  </a:lnTo>
                  <a:lnTo>
                    <a:pt x="1908" y="776"/>
                  </a:lnTo>
                  <a:lnTo>
                    <a:pt x="1906" y="776"/>
                  </a:lnTo>
                  <a:lnTo>
                    <a:pt x="1904" y="774"/>
                  </a:lnTo>
                  <a:lnTo>
                    <a:pt x="1902" y="774"/>
                  </a:lnTo>
                  <a:lnTo>
                    <a:pt x="1900" y="774"/>
                  </a:lnTo>
                  <a:lnTo>
                    <a:pt x="1898" y="774"/>
                  </a:lnTo>
                  <a:lnTo>
                    <a:pt x="1896" y="776"/>
                  </a:lnTo>
                  <a:lnTo>
                    <a:pt x="1894" y="776"/>
                  </a:lnTo>
                  <a:lnTo>
                    <a:pt x="1894" y="778"/>
                  </a:lnTo>
                  <a:lnTo>
                    <a:pt x="1894" y="780"/>
                  </a:lnTo>
                  <a:lnTo>
                    <a:pt x="1896" y="782"/>
                  </a:lnTo>
                  <a:lnTo>
                    <a:pt x="1894" y="782"/>
                  </a:lnTo>
                  <a:lnTo>
                    <a:pt x="1892" y="782"/>
                  </a:lnTo>
                  <a:lnTo>
                    <a:pt x="1892" y="784"/>
                  </a:lnTo>
                  <a:lnTo>
                    <a:pt x="1891" y="784"/>
                  </a:lnTo>
                  <a:lnTo>
                    <a:pt x="1891" y="782"/>
                  </a:lnTo>
                  <a:lnTo>
                    <a:pt x="1891" y="780"/>
                  </a:lnTo>
                  <a:lnTo>
                    <a:pt x="1892" y="780"/>
                  </a:lnTo>
                  <a:lnTo>
                    <a:pt x="1891" y="780"/>
                  </a:lnTo>
                  <a:lnTo>
                    <a:pt x="1891" y="782"/>
                  </a:lnTo>
                  <a:lnTo>
                    <a:pt x="1889" y="782"/>
                  </a:lnTo>
                  <a:lnTo>
                    <a:pt x="1889" y="784"/>
                  </a:lnTo>
                  <a:lnTo>
                    <a:pt x="1889" y="786"/>
                  </a:lnTo>
                  <a:lnTo>
                    <a:pt x="1891" y="786"/>
                  </a:lnTo>
                  <a:lnTo>
                    <a:pt x="1892" y="786"/>
                  </a:lnTo>
                  <a:lnTo>
                    <a:pt x="1891" y="786"/>
                  </a:lnTo>
                  <a:lnTo>
                    <a:pt x="1891" y="788"/>
                  </a:lnTo>
                  <a:lnTo>
                    <a:pt x="1892" y="788"/>
                  </a:lnTo>
                  <a:lnTo>
                    <a:pt x="1892" y="789"/>
                  </a:lnTo>
                  <a:lnTo>
                    <a:pt x="1891" y="789"/>
                  </a:lnTo>
                  <a:lnTo>
                    <a:pt x="1891" y="788"/>
                  </a:lnTo>
                  <a:lnTo>
                    <a:pt x="1889" y="788"/>
                  </a:lnTo>
                  <a:lnTo>
                    <a:pt x="1889" y="789"/>
                  </a:lnTo>
                  <a:lnTo>
                    <a:pt x="1889" y="788"/>
                  </a:lnTo>
                  <a:lnTo>
                    <a:pt x="1887" y="788"/>
                  </a:lnTo>
                  <a:lnTo>
                    <a:pt x="1887" y="789"/>
                  </a:lnTo>
                  <a:lnTo>
                    <a:pt x="1885" y="789"/>
                  </a:lnTo>
                  <a:lnTo>
                    <a:pt x="1883" y="789"/>
                  </a:lnTo>
                  <a:lnTo>
                    <a:pt x="1885" y="788"/>
                  </a:lnTo>
                  <a:lnTo>
                    <a:pt x="1883" y="788"/>
                  </a:lnTo>
                  <a:lnTo>
                    <a:pt x="1885" y="788"/>
                  </a:lnTo>
                  <a:lnTo>
                    <a:pt x="1885" y="786"/>
                  </a:lnTo>
                  <a:lnTo>
                    <a:pt x="1883" y="786"/>
                  </a:lnTo>
                  <a:lnTo>
                    <a:pt x="1883" y="784"/>
                  </a:lnTo>
                  <a:lnTo>
                    <a:pt x="1881" y="784"/>
                  </a:lnTo>
                  <a:lnTo>
                    <a:pt x="1879" y="784"/>
                  </a:lnTo>
                  <a:lnTo>
                    <a:pt x="1877" y="786"/>
                  </a:lnTo>
                  <a:lnTo>
                    <a:pt x="1875" y="786"/>
                  </a:lnTo>
                  <a:lnTo>
                    <a:pt x="1875" y="788"/>
                  </a:lnTo>
                  <a:lnTo>
                    <a:pt x="1873" y="788"/>
                  </a:lnTo>
                  <a:lnTo>
                    <a:pt x="1871" y="788"/>
                  </a:lnTo>
                  <a:lnTo>
                    <a:pt x="1871" y="789"/>
                  </a:lnTo>
                  <a:lnTo>
                    <a:pt x="1869" y="789"/>
                  </a:lnTo>
                  <a:lnTo>
                    <a:pt x="1869" y="788"/>
                  </a:lnTo>
                  <a:lnTo>
                    <a:pt x="1868" y="788"/>
                  </a:lnTo>
                  <a:lnTo>
                    <a:pt x="1868" y="786"/>
                  </a:lnTo>
                  <a:lnTo>
                    <a:pt x="1866" y="786"/>
                  </a:lnTo>
                  <a:lnTo>
                    <a:pt x="1866" y="788"/>
                  </a:lnTo>
                  <a:lnTo>
                    <a:pt x="1864" y="786"/>
                  </a:lnTo>
                  <a:lnTo>
                    <a:pt x="1862" y="786"/>
                  </a:lnTo>
                  <a:lnTo>
                    <a:pt x="1860" y="786"/>
                  </a:lnTo>
                  <a:lnTo>
                    <a:pt x="1858" y="786"/>
                  </a:lnTo>
                  <a:lnTo>
                    <a:pt x="1858" y="784"/>
                  </a:lnTo>
                  <a:lnTo>
                    <a:pt x="1856" y="784"/>
                  </a:lnTo>
                  <a:lnTo>
                    <a:pt x="1856" y="782"/>
                  </a:lnTo>
                  <a:lnTo>
                    <a:pt x="1854" y="782"/>
                  </a:lnTo>
                  <a:lnTo>
                    <a:pt x="1854" y="784"/>
                  </a:lnTo>
                  <a:lnTo>
                    <a:pt x="1852" y="784"/>
                  </a:lnTo>
                  <a:lnTo>
                    <a:pt x="1852" y="786"/>
                  </a:lnTo>
                  <a:lnTo>
                    <a:pt x="1854" y="786"/>
                  </a:lnTo>
                  <a:lnTo>
                    <a:pt x="1854" y="788"/>
                  </a:lnTo>
                  <a:lnTo>
                    <a:pt x="1852" y="788"/>
                  </a:lnTo>
                  <a:lnTo>
                    <a:pt x="1854" y="788"/>
                  </a:lnTo>
                  <a:lnTo>
                    <a:pt x="1852" y="789"/>
                  </a:lnTo>
                  <a:lnTo>
                    <a:pt x="1854" y="789"/>
                  </a:lnTo>
                  <a:lnTo>
                    <a:pt x="1852" y="791"/>
                  </a:lnTo>
                  <a:lnTo>
                    <a:pt x="1852" y="789"/>
                  </a:lnTo>
                  <a:lnTo>
                    <a:pt x="1850" y="789"/>
                  </a:lnTo>
                  <a:lnTo>
                    <a:pt x="1850" y="791"/>
                  </a:lnTo>
                  <a:lnTo>
                    <a:pt x="1848" y="791"/>
                  </a:lnTo>
                  <a:lnTo>
                    <a:pt x="1846" y="789"/>
                  </a:lnTo>
                  <a:lnTo>
                    <a:pt x="1846" y="788"/>
                  </a:lnTo>
                  <a:lnTo>
                    <a:pt x="1846" y="786"/>
                  </a:lnTo>
                  <a:lnTo>
                    <a:pt x="1848" y="786"/>
                  </a:lnTo>
                  <a:lnTo>
                    <a:pt x="1848" y="784"/>
                  </a:lnTo>
                  <a:lnTo>
                    <a:pt x="1846" y="784"/>
                  </a:lnTo>
                  <a:lnTo>
                    <a:pt x="1846" y="786"/>
                  </a:lnTo>
                  <a:lnTo>
                    <a:pt x="1845" y="786"/>
                  </a:lnTo>
                  <a:lnTo>
                    <a:pt x="1845" y="784"/>
                  </a:lnTo>
                  <a:lnTo>
                    <a:pt x="1843" y="784"/>
                  </a:lnTo>
                  <a:lnTo>
                    <a:pt x="1841" y="784"/>
                  </a:lnTo>
                  <a:lnTo>
                    <a:pt x="1839" y="786"/>
                  </a:lnTo>
                  <a:lnTo>
                    <a:pt x="1839" y="784"/>
                  </a:lnTo>
                  <a:lnTo>
                    <a:pt x="1837" y="784"/>
                  </a:lnTo>
                  <a:lnTo>
                    <a:pt x="1835" y="786"/>
                  </a:lnTo>
                  <a:lnTo>
                    <a:pt x="1833" y="786"/>
                  </a:lnTo>
                  <a:lnTo>
                    <a:pt x="1831" y="786"/>
                  </a:lnTo>
                  <a:lnTo>
                    <a:pt x="1829" y="786"/>
                  </a:lnTo>
                  <a:lnTo>
                    <a:pt x="1827" y="786"/>
                  </a:lnTo>
                  <a:lnTo>
                    <a:pt x="1825" y="786"/>
                  </a:lnTo>
                  <a:lnTo>
                    <a:pt x="1823" y="786"/>
                  </a:lnTo>
                  <a:lnTo>
                    <a:pt x="1821" y="786"/>
                  </a:lnTo>
                  <a:lnTo>
                    <a:pt x="1820" y="784"/>
                  </a:lnTo>
                  <a:lnTo>
                    <a:pt x="1818" y="784"/>
                  </a:lnTo>
                  <a:lnTo>
                    <a:pt x="1816" y="784"/>
                  </a:lnTo>
                  <a:lnTo>
                    <a:pt x="1816" y="786"/>
                  </a:lnTo>
                  <a:lnTo>
                    <a:pt x="1814" y="786"/>
                  </a:lnTo>
                  <a:lnTo>
                    <a:pt x="1812" y="786"/>
                  </a:lnTo>
                  <a:lnTo>
                    <a:pt x="1812" y="788"/>
                  </a:lnTo>
                  <a:lnTo>
                    <a:pt x="1810" y="786"/>
                  </a:lnTo>
                  <a:lnTo>
                    <a:pt x="1808" y="786"/>
                  </a:lnTo>
                  <a:lnTo>
                    <a:pt x="1806" y="786"/>
                  </a:lnTo>
                  <a:lnTo>
                    <a:pt x="1808" y="786"/>
                  </a:lnTo>
                  <a:lnTo>
                    <a:pt x="1808" y="784"/>
                  </a:lnTo>
                  <a:lnTo>
                    <a:pt x="1808" y="786"/>
                  </a:lnTo>
                  <a:lnTo>
                    <a:pt x="1806" y="786"/>
                  </a:lnTo>
                  <a:lnTo>
                    <a:pt x="1804" y="786"/>
                  </a:lnTo>
                  <a:lnTo>
                    <a:pt x="1804" y="788"/>
                  </a:lnTo>
                  <a:lnTo>
                    <a:pt x="1802" y="788"/>
                  </a:lnTo>
                  <a:lnTo>
                    <a:pt x="1800" y="789"/>
                  </a:lnTo>
                  <a:lnTo>
                    <a:pt x="1798" y="789"/>
                  </a:lnTo>
                  <a:lnTo>
                    <a:pt x="1797" y="789"/>
                  </a:lnTo>
                  <a:lnTo>
                    <a:pt x="1795" y="791"/>
                  </a:lnTo>
                  <a:lnTo>
                    <a:pt x="1795" y="793"/>
                  </a:lnTo>
                  <a:lnTo>
                    <a:pt x="1793" y="793"/>
                  </a:lnTo>
                  <a:lnTo>
                    <a:pt x="1791" y="795"/>
                  </a:lnTo>
                  <a:lnTo>
                    <a:pt x="1791" y="797"/>
                  </a:lnTo>
                  <a:lnTo>
                    <a:pt x="1789" y="797"/>
                  </a:lnTo>
                  <a:lnTo>
                    <a:pt x="1789" y="799"/>
                  </a:lnTo>
                  <a:lnTo>
                    <a:pt x="1789" y="801"/>
                  </a:lnTo>
                  <a:lnTo>
                    <a:pt x="1787" y="799"/>
                  </a:lnTo>
                  <a:lnTo>
                    <a:pt x="1787" y="801"/>
                  </a:lnTo>
                  <a:lnTo>
                    <a:pt x="1787" y="803"/>
                  </a:lnTo>
                  <a:lnTo>
                    <a:pt x="1785" y="803"/>
                  </a:lnTo>
                  <a:lnTo>
                    <a:pt x="1785" y="805"/>
                  </a:lnTo>
                  <a:lnTo>
                    <a:pt x="1783" y="807"/>
                  </a:lnTo>
                  <a:lnTo>
                    <a:pt x="1781" y="809"/>
                  </a:lnTo>
                  <a:lnTo>
                    <a:pt x="1779" y="809"/>
                  </a:lnTo>
                  <a:lnTo>
                    <a:pt x="1779" y="811"/>
                  </a:lnTo>
                  <a:lnTo>
                    <a:pt x="1777" y="811"/>
                  </a:lnTo>
                  <a:lnTo>
                    <a:pt x="1775" y="811"/>
                  </a:lnTo>
                  <a:lnTo>
                    <a:pt x="1775" y="812"/>
                  </a:lnTo>
                  <a:lnTo>
                    <a:pt x="1773" y="812"/>
                  </a:lnTo>
                  <a:lnTo>
                    <a:pt x="1773" y="814"/>
                  </a:lnTo>
                  <a:lnTo>
                    <a:pt x="1772" y="816"/>
                  </a:lnTo>
                  <a:lnTo>
                    <a:pt x="1772" y="818"/>
                  </a:lnTo>
                  <a:lnTo>
                    <a:pt x="1770" y="820"/>
                  </a:lnTo>
                  <a:lnTo>
                    <a:pt x="1770" y="822"/>
                  </a:lnTo>
                  <a:lnTo>
                    <a:pt x="1768" y="824"/>
                  </a:lnTo>
                  <a:lnTo>
                    <a:pt x="1768" y="826"/>
                  </a:lnTo>
                  <a:lnTo>
                    <a:pt x="1768" y="828"/>
                  </a:lnTo>
                  <a:lnTo>
                    <a:pt x="1766" y="830"/>
                  </a:lnTo>
                  <a:lnTo>
                    <a:pt x="1766" y="832"/>
                  </a:lnTo>
                  <a:lnTo>
                    <a:pt x="1764" y="830"/>
                  </a:lnTo>
                  <a:lnTo>
                    <a:pt x="1764" y="832"/>
                  </a:lnTo>
                  <a:lnTo>
                    <a:pt x="1762" y="832"/>
                  </a:lnTo>
                  <a:lnTo>
                    <a:pt x="1760" y="832"/>
                  </a:lnTo>
                  <a:lnTo>
                    <a:pt x="1760" y="834"/>
                  </a:lnTo>
                  <a:lnTo>
                    <a:pt x="1758" y="836"/>
                  </a:lnTo>
                  <a:lnTo>
                    <a:pt x="1758" y="837"/>
                  </a:lnTo>
                  <a:lnTo>
                    <a:pt x="1756" y="837"/>
                  </a:lnTo>
                  <a:lnTo>
                    <a:pt x="1756" y="839"/>
                  </a:lnTo>
                  <a:lnTo>
                    <a:pt x="1754" y="839"/>
                  </a:lnTo>
                  <a:lnTo>
                    <a:pt x="1754" y="841"/>
                  </a:lnTo>
                  <a:lnTo>
                    <a:pt x="1752" y="841"/>
                  </a:lnTo>
                  <a:lnTo>
                    <a:pt x="1752" y="843"/>
                  </a:lnTo>
                  <a:lnTo>
                    <a:pt x="1750" y="843"/>
                  </a:lnTo>
                  <a:lnTo>
                    <a:pt x="1749" y="843"/>
                  </a:lnTo>
                  <a:lnTo>
                    <a:pt x="1749" y="845"/>
                  </a:lnTo>
                  <a:lnTo>
                    <a:pt x="1747" y="845"/>
                  </a:lnTo>
                  <a:lnTo>
                    <a:pt x="1747" y="847"/>
                  </a:lnTo>
                  <a:lnTo>
                    <a:pt x="1745" y="847"/>
                  </a:lnTo>
                  <a:lnTo>
                    <a:pt x="1745" y="849"/>
                  </a:lnTo>
                  <a:lnTo>
                    <a:pt x="1745" y="851"/>
                  </a:lnTo>
                  <a:lnTo>
                    <a:pt x="1743" y="851"/>
                  </a:lnTo>
                  <a:lnTo>
                    <a:pt x="1741" y="851"/>
                  </a:lnTo>
                  <a:lnTo>
                    <a:pt x="1741" y="853"/>
                  </a:lnTo>
                  <a:lnTo>
                    <a:pt x="1739" y="853"/>
                  </a:lnTo>
                  <a:lnTo>
                    <a:pt x="1739" y="855"/>
                  </a:lnTo>
                  <a:lnTo>
                    <a:pt x="1739" y="857"/>
                  </a:lnTo>
                  <a:lnTo>
                    <a:pt x="1739" y="855"/>
                  </a:lnTo>
                  <a:lnTo>
                    <a:pt x="1737" y="855"/>
                  </a:lnTo>
                  <a:lnTo>
                    <a:pt x="1737" y="857"/>
                  </a:lnTo>
                  <a:lnTo>
                    <a:pt x="1739" y="857"/>
                  </a:lnTo>
                  <a:lnTo>
                    <a:pt x="1737" y="857"/>
                  </a:lnTo>
                  <a:lnTo>
                    <a:pt x="1737" y="859"/>
                  </a:lnTo>
                  <a:lnTo>
                    <a:pt x="1735" y="859"/>
                  </a:lnTo>
                  <a:lnTo>
                    <a:pt x="1735" y="861"/>
                  </a:lnTo>
                  <a:lnTo>
                    <a:pt x="1735" y="862"/>
                  </a:lnTo>
                  <a:lnTo>
                    <a:pt x="1733" y="862"/>
                  </a:lnTo>
                  <a:lnTo>
                    <a:pt x="1733" y="864"/>
                  </a:lnTo>
                  <a:lnTo>
                    <a:pt x="1735" y="864"/>
                  </a:lnTo>
                  <a:lnTo>
                    <a:pt x="1735" y="866"/>
                  </a:lnTo>
                  <a:lnTo>
                    <a:pt x="1735" y="864"/>
                  </a:lnTo>
                  <a:lnTo>
                    <a:pt x="1735" y="866"/>
                  </a:lnTo>
                  <a:lnTo>
                    <a:pt x="1733" y="866"/>
                  </a:lnTo>
                  <a:lnTo>
                    <a:pt x="1731" y="866"/>
                  </a:lnTo>
                  <a:lnTo>
                    <a:pt x="1733" y="866"/>
                  </a:lnTo>
                  <a:lnTo>
                    <a:pt x="1731" y="866"/>
                  </a:lnTo>
                  <a:lnTo>
                    <a:pt x="1731" y="868"/>
                  </a:lnTo>
                  <a:lnTo>
                    <a:pt x="1729" y="868"/>
                  </a:lnTo>
                  <a:lnTo>
                    <a:pt x="1729" y="870"/>
                  </a:lnTo>
                  <a:lnTo>
                    <a:pt x="1729" y="872"/>
                  </a:lnTo>
                  <a:lnTo>
                    <a:pt x="1727" y="872"/>
                  </a:lnTo>
                  <a:lnTo>
                    <a:pt x="1727" y="874"/>
                  </a:lnTo>
                  <a:lnTo>
                    <a:pt x="1726" y="874"/>
                  </a:lnTo>
                  <a:lnTo>
                    <a:pt x="1724" y="876"/>
                  </a:lnTo>
                  <a:lnTo>
                    <a:pt x="1724" y="878"/>
                  </a:lnTo>
                  <a:lnTo>
                    <a:pt x="1722" y="878"/>
                  </a:lnTo>
                  <a:lnTo>
                    <a:pt x="1722" y="880"/>
                  </a:lnTo>
                  <a:lnTo>
                    <a:pt x="1722" y="878"/>
                  </a:lnTo>
                  <a:lnTo>
                    <a:pt x="1722" y="880"/>
                  </a:lnTo>
                  <a:lnTo>
                    <a:pt x="1720" y="880"/>
                  </a:lnTo>
                  <a:lnTo>
                    <a:pt x="1718" y="882"/>
                  </a:lnTo>
                  <a:lnTo>
                    <a:pt x="1718" y="884"/>
                  </a:lnTo>
                  <a:lnTo>
                    <a:pt x="1716" y="884"/>
                  </a:lnTo>
                  <a:lnTo>
                    <a:pt x="1714" y="884"/>
                  </a:lnTo>
                  <a:lnTo>
                    <a:pt x="1714" y="885"/>
                  </a:lnTo>
                  <a:lnTo>
                    <a:pt x="1714" y="887"/>
                  </a:lnTo>
                  <a:lnTo>
                    <a:pt x="1712" y="887"/>
                  </a:lnTo>
                  <a:lnTo>
                    <a:pt x="1710" y="887"/>
                  </a:lnTo>
                  <a:lnTo>
                    <a:pt x="1710" y="889"/>
                  </a:lnTo>
                  <a:lnTo>
                    <a:pt x="1708" y="889"/>
                  </a:lnTo>
                  <a:lnTo>
                    <a:pt x="1706" y="889"/>
                  </a:lnTo>
                  <a:lnTo>
                    <a:pt x="1706" y="891"/>
                  </a:lnTo>
                  <a:lnTo>
                    <a:pt x="1706" y="893"/>
                  </a:lnTo>
                  <a:lnTo>
                    <a:pt x="1704" y="895"/>
                  </a:lnTo>
                  <a:lnTo>
                    <a:pt x="1704" y="897"/>
                  </a:lnTo>
                  <a:lnTo>
                    <a:pt x="1702" y="897"/>
                  </a:lnTo>
                  <a:lnTo>
                    <a:pt x="1701" y="897"/>
                  </a:lnTo>
                  <a:lnTo>
                    <a:pt x="1701" y="899"/>
                  </a:lnTo>
                  <a:lnTo>
                    <a:pt x="1699" y="899"/>
                  </a:lnTo>
                  <a:lnTo>
                    <a:pt x="1699" y="901"/>
                  </a:lnTo>
                  <a:lnTo>
                    <a:pt x="1697" y="901"/>
                  </a:lnTo>
                  <a:lnTo>
                    <a:pt x="1695" y="901"/>
                  </a:lnTo>
                  <a:lnTo>
                    <a:pt x="1695" y="903"/>
                  </a:lnTo>
                  <a:lnTo>
                    <a:pt x="1693" y="903"/>
                  </a:lnTo>
                  <a:lnTo>
                    <a:pt x="1693" y="905"/>
                  </a:lnTo>
                  <a:lnTo>
                    <a:pt x="1691" y="905"/>
                  </a:lnTo>
                  <a:lnTo>
                    <a:pt x="1691" y="907"/>
                  </a:lnTo>
                  <a:lnTo>
                    <a:pt x="1691" y="909"/>
                  </a:lnTo>
                  <a:lnTo>
                    <a:pt x="1691" y="910"/>
                  </a:lnTo>
                  <a:lnTo>
                    <a:pt x="1693" y="910"/>
                  </a:lnTo>
                  <a:lnTo>
                    <a:pt x="1695" y="912"/>
                  </a:lnTo>
                  <a:lnTo>
                    <a:pt x="1697" y="912"/>
                  </a:lnTo>
                  <a:lnTo>
                    <a:pt x="1699" y="912"/>
                  </a:lnTo>
                  <a:lnTo>
                    <a:pt x="1697" y="912"/>
                  </a:lnTo>
                  <a:lnTo>
                    <a:pt x="1699" y="912"/>
                  </a:lnTo>
                  <a:lnTo>
                    <a:pt x="1697" y="912"/>
                  </a:lnTo>
                  <a:lnTo>
                    <a:pt x="1697" y="914"/>
                  </a:lnTo>
                  <a:lnTo>
                    <a:pt x="1699" y="914"/>
                  </a:lnTo>
                  <a:lnTo>
                    <a:pt x="1701" y="914"/>
                  </a:lnTo>
                  <a:lnTo>
                    <a:pt x="1702" y="914"/>
                  </a:lnTo>
                  <a:lnTo>
                    <a:pt x="1704" y="914"/>
                  </a:lnTo>
                  <a:lnTo>
                    <a:pt x="1706" y="914"/>
                  </a:lnTo>
                  <a:lnTo>
                    <a:pt x="1708" y="914"/>
                  </a:lnTo>
                  <a:lnTo>
                    <a:pt x="1710" y="914"/>
                  </a:lnTo>
                  <a:lnTo>
                    <a:pt x="1710" y="912"/>
                  </a:lnTo>
                  <a:lnTo>
                    <a:pt x="1712" y="912"/>
                  </a:lnTo>
                  <a:lnTo>
                    <a:pt x="1712" y="914"/>
                  </a:lnTo>
                  <a:lnTo>
                    <a:pt x="1714" y="914"/>
                  </a:lnTo>
                  <a:lnTo>
                    <a:pt x="1714" y="912"/>
                  </a:lnTo>
                  <a:lnTo>
                    <a:pt x="1714" y="914"/>
                  </a:lnTo>
                  <a:lnTo>
                    <a:pt x="1716" y="914"/>
                  </a:lnTo>
                  <a:lnTo>
                    <a:pt x="1714" y="914"/>
                  </a:lnTo>
                  <a:lnTo>
                    <a:pt x="1714" y="916"/>
                  </a:lnTo>
                  <a:lnTo>
                    <a:pt x="1714" y="918"/>
                  </a:lnTo>
                  <a:lnTo>
                    <a:pt x="1714" y="920"/>
                  </a:lnTo>
                  <a:lnTo>
                    <a:pt x="1714" y="922"/>
                  </a:lnTo>
                  <a:lnTo>
                    <a:pt x="1714" y="924"/>
                  </a:lnTo>
                  <a:lnTo>
                    <a:pt x="1714" y="926"/>
                  </a:lnTo>
                  <a:lnTo>
                    <a:pt x="1714" y="928"/>
                  </a:lnTo>
                  <a:lnTo>
                    <a:pt x="1712" y="928"/>
                  </a:lnTo>
                  <a:lnTo>
                    <a:pt x="1712" y="930"/>
                  </a:lnTo>
                  <a:lnTo>
                    <a:pt x="1712" y="932"/>
                  </a:lnTo>
                  <a:lnTo>
                    <a:pt x="1712" y="933"/>
                  </a:lnTo>
                  <a:lnTo>
                    <a:pt x="1714" y="933"/>
                  </a:lnTo>
                  <a:lnTo>
                    <a:pt x="1714" y="935"/>
                  </a:lnTo>
                  <a:lnTo>
                    <a:pt x="1714" y="933"/>
                  </a:lnTo>
                  <a:lnTo>
                    <a:pt x="1716" y="933"/>
                  </a:lnTo>
                  <a:lnTo>
                    <a:pt x="1716" y="932"/>
                  </a:lnTo>
                  <a:lnTo>
                    <a:pt x="1716" y="933"/>
                  </a:lnTo>
                  <a:lnTo>
                    <a:pt x="1718" y="933"/>
                  </a:lnTo>
                  <a:lnTo>
                    <a:pt x="1720" y="933"/>
                  </a:lnTo>
                  <a:lnTo>
                    <a:pt x="1720" y="932"/>
                  </a:lnTo>
                  <a:lnTo>
                    <a:pt x="1720" y="930"/>
                  </a:lnTo>
                  <a:lnTo>
                    <a:pt x="1722" y="928"/>
                  </a:lnTo>
                  <a:lnTo>
                    <a:pt x="1720" y="928"/>
                  </a:lnTo>
                  <a:lnTo>
                    <a:pt x="1718" y="926"/>
                  </a:lnTo>
                  <a:lnTo>
                    <a:pt x="1718" y="924"/>
                  </a:lnTo>
                  <a:lnTo>
                    <a:pt x="1720" y="924"/>
                  </a:lnTo>
                  <a:lnTo>
                    <a:pt x="1722" y="924"/>
                  </a:lnTo>
                  <a:lnTo>
                    <a:pt x="1722" y="922"/>
                  </a:lnTo>
                  <a:lnTo>
                    <a:pt x="1724" y="922"/>
                  </a:lnTo>
                  <a:lnTo>
                    <a:pt x="1724" y="920"/>
                  </a:lnTo>
                  <a:lnTo>
                    <a:pt x="1724" y="922"/>
                  </a:lnTo>
                  <a:lnTo>
                    <a:pt x="1724" y="920"/>
                  </a:lnTo>
                  <a:lnTo>
                    <a:pt x="1724" y="922"/>
                  </a:lnTo>
                  <a:lnTo>
                    <a:pt x="1726" y="922"/>
                  </a:lnTo>
                  <a:lnTo>
                    <a:pt x="1727" y="920"/>
                  </a:lnTo>
                  <a:lnTo>
                    <a:pt x="1727" y="922"/>
                  </a:lnTo>
                  <a:lnTo>
                    <a:pt x="1726" y="922"/>
                  </a:lnTo>
                  <a:lnTo>
                    <a:pt x="1726" y="924"/>
                  </a:lnTo>
                  <a:lnTo>
                    <a:pt x="1724" y="926"/>
                  </a:lnTo>
                  <a:lnTo>
                    <a:pt x="1724" y="928"/>
                  </a:lnTo>
                  <a:lnTo>
                    <a:pt x="1724" y="926"/>
                  </a:lnTo>
                  <a:lnTo>
                    <a:pt x="1722" y="926"/>
                  </a:lnTo>
                  <a:lnTo>
                    <a:pt x="1722" y="928"/>
                  </a:lnTo>
                  <a:lnTo>
                    <a:pt x="1724" y="928"/>
                  </a:lnTo>
                  <a:lnTo>
                    <a:pt x="1724" y="930"/>
                  </a:lnTo>
                  <a:lnTo>
                    <a:pt x="1726" y="930"/>
                  </a:lnTo>
                  <a:lnTo>
                    <a:pt x="1727" y="930"/>
                  </a:lnTo>
                  <a:lnTo>
                    <a:pt x="1729" y="930"/>
                  </a:lnTo>
                  <a:lnTo>
                    <a:pt x="1729" y="932"/>
                  </a:lnTo>
                  <a:lnTo>
                    <a:pt x="1727" y="932"/>
                  </a:lnTo>
                  <a:lnTo>
                    <a:pt x="1726" y="932"/>
                  </a:lnTo>
                  <a:lnTo>
                    <a:pt x="1726" y="933"/>
                  </a:lnTo>
                  <a:lnTo>
                    <a:pt x="1726" y="935"/>
                  </a:lnTo>
                  <a:lnTo>
                    <a:pt x="1724" y="935"/>
                  </a:lnTo>
                  <a:lnTo>
                    <a:pt x="1724" y="937"/>
                  </a:lnTo>
                  <a:lnTo>
                    <a:pt x="1722" y="937"/>
                  </a:lnTo>
                  <a:lnTo>
                    <a:pt x="1720" y="937"/>
                  </a:lnTo>
                  <a:lnTo>
                    <a:pt x="1720" y="939"/>
                  </a:lnTo>
                  <a:lnTo>
                    <a:pt x="1722" y="939"/>
                  </a:lnTo>
                  <a:lnTo>
                    <a:pt x="1722" y="941"/>
                  </a:lnTo>
                  <a:lnTo>
                    <a:pt x="1724" y="939"/>
                  </a:lnTo>
                  <a:lnTo>
                    <a:pt x="1726" y="939"/>
                  </a:lnTo>
                  <a:lnTo>
                    <a:pt x="1727" y="939"/>
                  </a:lnTo>
                  <a:lnTo>
                    <a:pt x="1729" y="939"/>
                  </a:lnTo>
                  <a:lnTo>
                    <a:pt x="1731" y="939"/>
                  </a:lnTo>
                  <a:lnTo>
                    <a:pt x="1731" y="937"/>
                  </a:lnTo>
                  <a:lnTo>
                    <a:pt x="1733" y="937"/>
                  </a:lnTo>
                  <a:lnTo>
                    <a:pt x="1735" y="937"/>
                  </a:lnTo>
                  <a:lnTo>
                    <a:pt x="1735" y="935"/>
                  </a:lnTo>
                  <a:lnTo>
                    <a:pt x="1737" y="933"/>
                  </a:lnTo>
                  <a:lnTo>
                    <a:pt x="1737" y="932"/>
                  </a:lnTo>
                  <a:lnTo>
                    <a:pt x="1737" y="930"/>
                  </a:lnTo>
                  <a:lnTo>
                    <a:pt x="1739" y="930"/>
                  </a:lnTo>
                  <a:lnTo>
                    <a:pt x="1741" y="930"/>
                  </a:lnTo>
                  <a:lnTo>
                    <a:pt x="1739" y="930"/>
                  </a:lnTo>
                  <a:lnTo>
                    <a:pt x="1739" y="932"/>
                  </a:lnTo>
                  <a:lnTo>
                    <a:pt x="1741" y="932"/>
                  </a:lnTo>
                  <a:lnTo>
                    <a:pt x="1739" y="932"/>
                  </a:lnTo>
                  <a:lnTo>
                    <a:pt x="1739" y="933"/>
                  </a:lnTo>
                  <a:lnTo>
                    <a:pt x="1739" y="935"/>
                  </a:lnTo>
                  <a:lnTo>
                    <a:pt x="1737" y="935"/>
                  </a:lnTo>
                  <a:lnTo>
                    <a:pt x="1737" y="937"/>
                  </a:lnTo>
                  <a:lnTo>
                    <a:pt x="1737" y="939"/>
                  </a:lnTo>
                  <a:lnTo>
                    <a:pt x="1735" y="939"/>
                  </a:lnTo>
                  <a:lnTo>
                    <a:pt x="1735" y="941"/>
                  </a:lnTo>
                  <a:lnTo>
                    <a:pt x="1737" y="941"/>
                  </a:lnTo>
                  <a:lnTo>
                    <a:pt x="1739" y="941"/>
                  </a:lnTo>
                  <a:lnTo>
                    <a:pt x="1739" y="939"/>
                  </a:lnTo>
                  <a:lnTo>
                    <a:pt x="1741" y="937"/>
                  </a:lnTo>
                  <a:lnTo>
                    <a:pt x="1741" y="935"/>
                  </a:lnTo>
                  <a:lnTo>
                    <a:pt x="1741" y="933"/>
                  </a:lnTo>
                  <a:lnTo>
                    <a:pt x="1741" y="932"/>
                  </a:lnTo>
                  <a:lnTo>
                    <a:pt x="1743" y="932"/>
                  </a:lnTo>
                  <a:lnTo>
                    <a:pt x="1741" y="932"/>
                  </a:lnTo>
                  <a:lnTo>
                    <a:pt x="1743" y="932"/>
                  </a:lnTo>
                  <a:lnTo>
                    <a:pt x="1743" y="930"/>
                  </a:lnTo>
                  <a:lnTo>
                    <a:pt x="1743" y="928"/>
                  </a:lnTo>
                  <a:lnTo>
                    <a:pt x="1743" y="926"/>
                  </a:lnTo>
                  <a:lnTo>
                    <a:pt x="1743" y="928"/>
                  </a:lnTo>
                  <a:lnTo>
                    <a:pt x="1741" y="928"/>
                  </a:lnTo>
                  <a:lnTo>
                    <a:pt x="1741" y="926"/>
                  </a:lnTo>
                  <a:lnTo>
                    <a:pt x="1743" y="926"/>
                  </a:lnTo>
                  <a:lnTo>
                    <a:pt x="1743" y="924"/>
                  </a:lnTo>
                  <a:lnTo>
                    <a:pt x="1743" y="922"/>
                  </a:lnTo>
                  <a:lnTo>
                    <a:pt x="1741" y="922"/>
                  </a:lnTo>
                  <a:lnTo>
                    <a:pt x="1743" y="920"/>
                  </a:lnTo>
                  <a:lnTo>
                    <a:pt x="1743" y="922"/>
                  </a:lnTo>
                  <a:lnTo>
                    <a:pt x="1745" y="922"/>
                  </a:lnTo>
                  <a:lnTo>
                    <a:pt x="1747" y="924"/>
                  </a:lnTo>
                  <a:lnTo>
                    <a:pt x="1749" y="924"/>
                  </a:lnTo>
                  <a:lnTo>
                    <a:pt x="1750" y="924"/>
                  </a:lnTo>
                  <a:lnTo>
                    <a:pt x="1752" y="924"/>
                  </a:lnTo>
                  <a:lnTo>
                    <a:pt x="1754" y="924"/>
                  </a:lnTo>
                  <a:lnTo>
                    <a:pt x="1754" y="922"/>
                  </a:lnTo>
                  <a:lnTo>
                    <a:pt x="1756" y="922"/>
                  </a:lnTo>
                  <a:lnTo>
                    <a:pt x="1758" y="922"/>
                  </a:lnTo>
                  <a:lnTo>
                    <a:pt x="1758" y="924"/>
                  </a:lnTo>
                  <a:lnTo>
                    <a:pt x="1760" y="924"/>
                  </a:lnTo>
                  <a:lnTo>
                    <a:pt x="1760" y="926"/>
                  </a:lnTo>
                  <a:lnTo>
                    <a:pt x="1762" y="926"/>
                  </a:lnTo>
                  <a:lnTo>
                    <a:pt x="1762" y="928"/>
                  </a:lnTo>
                  <a:lnTo>
                    <a:pt x="1764" y="928"/>
                  </a:lnTo>
                  <a:lnTo>
                    <a:pt x="1764" y="930"/>
                  </a:lnTo>
                  <a:lnTo>
                    <a:pt x="1766" y="930"/>
                  </a:lnTo>
                  <a:lnTo>
                    <a:pt x="1764" y="930"/>
                  </a:lnTo>
                  <a:lnTo>
                    <a:pt x="1764" y="932"/>
                  </a:lnTo>
                  <a:lnTo>
                    <a:pt x="1764" y="933"/>
                  </a:lnTo>
                  <a:lnTo>
                    <a:pt x="1766" y="933"/>
                  </a:lnTo>
                  <a:lnTo>
                    <a:pt x="1766" y="935"/>
                  </a:lnTo>
                  <a:lnTo>
                    <a:pt x="1768" y="935"/>
                  </a:lnTo>
                  <a:lnTo>
                    <a:pt x="1768" y="937"/>
                  </a:lnTo>
                  <a:lnTo>
                    <a:pt x="1770" y="937"/>
                  </a:lnTo>
                  <a:lnTo>
                    <a:pt x="1770" y="939"/>
                  </a:lnTo>
                  <a:lnTo>
                    <a:pt x="1772" y="939"/>
                  </a:lnTo>
                  <a:lnTo>
                    <a:pt x="1773" y="941"/>
                  </a:lnTo>
                  <a:lnTo>
                    <a:pt x="1775" y="941"/>
                  </a:lnTo>
                  <a:lnTo>
                    <a:pt x="1777" y="941"/>
                  </a:lnTo>
                  <a:lnTo>
                    <a:pt x="1777" y="943"/>
                  </a:lnTo>
                  <a:lnTo>
                    <a:pt x="1779" y="943"/>
                  </a:lnTo>
                  <a:lnTo>
                    <a:pt x="1779" y="945"/>
                  </a:lnTo>
                  <a:lnTo>
                    <a:pt x="1779" y="943"/>
                  </a:lnTo>
                  <a:lnTo>
                    <a:pt x="1779" y="945"/>
                  </a:lnTo>
                  <a:lnTo>
                    <a:pt x="1779" y="943"/>
                  </a:lnTo>
                  <a:lnTo>
                    <a:pt x="1777" y="943"/>
                  </a:lnTo>
                  <a:lnTo>
                    <a:pt x="1777" y="941"/>
                  </a:lnTo>
                  <a:lnTo>
                    <a:pt x="1775" y="941"/>
                  </a:lnTo>
                  <a:lnTo>
                    <a:pt x="1773" y="941"/>
                  </a:lnTo>
                  <a:lnTo>
                    <a:pt x="1773" y="943"/>
                  </a:lnTo>
                  <a:lnTo>
                    <a:pt x="1775" y="943"/>
                  </a:lnTo>
                  <a:lnTo>
                    <a:pt x="1777" y="943"/>
                  </a:lnTo>
                  <a:lnTo>
                    <a:pt x="1777" y="945"/>
                  </a:lnTo>
                  <a:lnTo>
                    <a:pt x="1775" y="945"/>
                  </a:lnTo>
                  <a:lnTo>
                    <a:pt x="1777" y="945"/>
                  </a:lnTo>
                  <a:lnTo>
                    <a:pt x="1779" y="945"/>
                  </a:lnTo>
                  <a:lnTo>
                    <a:pt x="1779" y="947"/>
                  </a:lnTo>
                  <a:lnTo>
                    <a:pt x="1781" y="945"/>
                  </a:lnTo>
                  <a:lnTo>
                    <a:pt x="1781" y="947"/>
                  </a:lnTo>
                  <a:lnTo>
                    <a:pt x="1781" y="945"/>
                  </a:lnTo>
                  <a:lnTo>
                    <a:pt x="1781" y="947"/>
                  </a:lnTo>
                  <a:lnTo>
                    <a:pt x="1779" y="947"/>
                  </a:lnTo>
                  <a:lnTo>
                    <a:pt x="1779" y="949"/>
                  </a:lnTo>
                  <a:lnTo>
                    <a:pt x="1781" y="949"/>
                  </a:lnTo>
                  <a:lnTo>
                    <a:pt x="1781" y="947"/>
                  </a:lnTo>
                  <a:lnTo>
                    <a:pt x="1781" y="949"/>
                  </a:lnTo>
                  <a:lnTo>
                    <a:pt x="1781" y="951"/>
                  </a:lnTo>
                  <a:lnTo>
                    <a:pt x="1779" y="951"/>
                  </a:lnTo>
                  <a:lnTo>
                    <a:pt x="1781" y="951"/>
                  </a:lnTo>
                  <a:lnTo>
                    <a:pt x="1779" y="951"/>
                  </a:lnTo>
                  <a:lnTo>
                    <a:pt x="1779" y="953"/>
                  </a:lnTo>
                  <a:lnTo>
                    <a:pt x="1777" y="953"/>
                  </a:lnTo>
                  <a:lnTo>
                    <a:pt x="1775" y="953"/>
                  </a:lnTo>
                  <a:lnTo>
                    <a:pt x="1775" y="951"/>
                  </a:lnTo>
                  <a:lnTo>
                    <a:pt x="1773" y="951"/>
                  </a:lnTo>
                  <a:lnTo>
                    <a:pt x="1772" y="951"/>
                  </a:lnTo>
                  <a:lnTo>
                    <a:pt x="1772" y="953"/>
                  </a:lnTo>
                  <a:lnTo>
                    <a:pt x="1773" y="953"/>
                  </a:lnTo>
                  <a:lnTo>
                    <a:pt x="1773" y="955"/>
                  </a:lnTo>
                  <a:lnTo>
                    <a:pt x="1775" y="955"/>
                  </a:lnTo>
                  <a:lnTo>
                    <a:pt x="1775" y="957"/>
                  </a:lnTo>
                  <a:lnTo>
                    <a:pt x="1777" y="957"/>
                  </a:lnTo>
                  <a:lnTo>
                    <a:pt x="1779" y="957"/>
                  </a:lnTo>
                  <a:lnTo>
                    <a:pt x="1777" y="957"/>
                  </a:lnTo>
                  <a:lnTo>
                    <a:pt x="1777" y="958"/>
                  </a:lnTo>
                  <a:lnTo>
                    <a:pt x="1779" y="960"/>
                  </a:lnTo>
                  <a:lnTo>
                    <a:pt x="1779" y="962"/>
                  </a:lnTo>
                  <a:lnTo>
                    <a:pt x="1779" y="964"/>
                  </a:lnTo>
                  <a:lnTo>
                    <a:pt x="1777" y="964"/>
                  </a:lnTo>
                  <a:lnTo>
                    <a:pt x="1777" y="966"/>
                  </a:lnTo>
                  <a:lnTo>
                    <a:pt x="1777" y="968"/>
                  </a:lnTo>
                  <a:lnTo>
                    <a:pt x="1777" y="970"/>
                  </a:lnTo>
                  <a:lnTo>
                    <a:pt x="1779" y="970"/>
                  </a:lnTo>
                  <a:lnTo>
                    <a:pt x="1779" y="972"/>
                  </a:lnTo>
                  <a:lnTo>
                    <a:pt x="1781" y="972"/>
                  </a:lnTo>
                  <a:lnTo>
                    <a:pt x="1783" y="972"/>
                  </a:lnTo>
                  <a:lnTo>
                    <a:pt x="1783" y="974"/>
                  </a:lnTo>
                  <a:lnTo>
                    <a:pt x="1781" y="974"/>
                  </a:lnTo>
                  <a:lnTo>
                    <a:pt x="1779" y="976"/>
                  </a:lnTo>
                  <a:lnTo>
                    <a:pt x="1781" y="976"/>
                  </a:lnTo>
                  <a:lnTo>
                    <a:pt x="1779" y="976"/>
                  </a:lnTo>
                  <a:lnTo>
                    <a:pt x="1779" y="978"/>
                  </a:lnTo>
                  <a:lnTo>
                    <a:pt x="1781" y="978"/>
                  </a:lnTo>
                  <a:lnTo>
                    <a:pt x="1781" y="980"/>
                  </a:lnTo>
                  <a:lnTo>
                    <a:pt x="1779" y="980"/>
                  </a:lnTo>
                  <a:lnTo>
                    <a:pt x="1779" y="982"/>
                  </a:lnTo>
                  <a:lnTo>
                    <a:pt x="1777" y="982"/>
                  </a:lnTo>
                  <a:lnTo>
                    <a:pt x="1777" y="983"/>
                  </a:lnTo>
                  <a:lnTo>
                    <a:pt x="1777" y="985"/>
                  </a:lnTo>
                  <a:lnTo>
                    <a:pt x="1775" y="985"/>
                  </a:lnTo>
                  <a:lnTo>
                    <a:pt x="1773" y="985"/>
                  </a:lnTo>
                  <a:lnTo>
                    <a:pt x="1773" y="987"/>
                  </a:lnTo>
                  <a:lnTo>
                    <a:pt x="1773" y="989"/>
                  </a:lnTo>
                  <a:lnTo>
                    <a:pt x="1772" y="989"/>
                  </a:lnTo>
                  <a:lnTo>
                    <a:pt x="1772" y="991"/>
                  </a:lnTo>
                  <a:lnTo>
                    <a:pt x="1773" y="991"/>
                  </a:lnTo>
                  <a:lnTo>
                    <a:pt x="1773" y="993"/>
                  </a:lnTo>
                  <a:lnTo>
                    <a:pt x="1772" y="993"/>
                  </a:lnTo>
                  <a:lnTo>
                    <a:pt x="1770" y="993"/>
                  </a:lnTo>
                  <a:lnTo>
                    <a:pt x="1770" y="995"/>
                  </a:lnTo>
                  <a:lnTo>
                    <a:pt x="1772" y="995"/>
                  </a:lnTo>
                  <a:lnTo>
                    <a:pt x="1770" y="995"/>
                  </a:lnTo>
                  <a:lnTo>
                    <a:pt x="1770" y="997"/>
                  </a:lnTo>
                  <a:lnTo>
                    <a:pt x="1770" y="999"/>
                  </a:lnTo>
                  <a:lnTo>
                    <a:pt x="1770" y="1001"/>
                  </a:lnTo>
                  <a:lnTo>
                    <a:pt x="1770" y="1003"/>
                  </a:lnTo>
                  <a:lnTo>
                    <a:pt x="1768" y="1003"/>
                  </a:lnTo>
                  <a:lnTo>
                    <a:pt x="1768" y="1005"/>
                  </a:lnTo>
                  <a:lnTo>
                    <a:pt x="1768" y="1006"/>
                  </a:lnTo>
                  <a:lnTo>
                    <a:pt x="1768" y="1008"/>
                  </a:lnTo>
                  <a:lnTo>
                    <a:pt x="1768" y="1010"/>
                  </a:lnTo>
                  <a:lnTo>
                    <a:pt x="1766" y="1012"/>
                  </a:lnTo>
                  <a:lnTo>
                    <a:pt x="1768" y="1012"/>
                  </a:lnTo>
                  <a:lnTo>
                    <a:pt x="1768" y="1014"/>
                  </a:lnTo>
                  <a:lnTo>
                    <a:pt x="1768" y="1016"/>
                  </a:lnTo>
                  <a:lnTo>
                    <a:pt x="1768" y="1018"/>
                  </a:lnTo>
                  <a:lnTo>
                    <a:pt x="1768" y="1020"/>
                  </a:lnTo>
                  <a:lnTo>
                    <a:pt x="1768" y="1022"/>
                  </a:lnTo>
                  <a:lnTo>
                    <a:pt x="1770" y="1022"/>
                  </a:lnTo>
                  <a:lnTo>
                    <a:pt x="1772" y="1022"/>
                  </a:lnTo>
                  <a:lnTo>
                    <a:pt x="1770" y="1022"/>
                  </a:lnTo>
                  <a:lnTo>
                    <a:pt x="1770" y="1024"/>
                  </a:lnTo>
                  <a:lnTo>
                    <a:pt x="1768" y="1024"/>
                  </a:lnTo>
                  <a:lnTo>
                    <a:pt x="1768" y="1026"/>
                  </a:lnTo>
                  <a:lnTo>
                    <a:pt x="1766" y="1026"/>
                  </a:lnTo>
                  <a:lnTo>
                    <a:pt x="1766" y="1028"/>
                  </a:lnTo>
                  <a:lnTo>
                    <a:pt x="1768" y="1028"/>
                  </a:lnTo>
                  <a:lnTo>
                    <a:pt x="1768" y="1030"/>
                  </a:lnTo>
                  <a:lnTo>
                    <a:pt x="1768" y="1031"/>
                  </a:lnTo>
                  <a:lnTo>
                    <a:pt x="1768" y="1033"/>
                  </a:lnTo>
                  <a:lnTo>
                    <a:pt x="1768" y="1035"/>
                  </a:lnTo>
                  <a:lnTo>
                    <a:pt x="1766" y="1037"/>
                  </a:lnTo>
                  <a:lnTo>
                    <a:pt x="1768" y="1037"/>
                  </a:lnTo>
                  <a:lnTo>
                    <a:pt x="1766" y="1039"/>
                  </a:lnTo>
                  <a:lnTo>
                    <a:pt x="1766" y="1041"/>
                  </a:lnTo>
                  <a:lnTo>
                    <a:pt x="1766" y="1043"/>
                  </a:lnTo>
                  <a:lnTo>
                    <a:pt x="1766" y="1045"/>
                  </a:lnTo>
                  <a:lnTo>
                    <a:pt x="1766" y="1043"/>
                  </a:lnTo>
                  <a:lnTo>
                    <a:pt x="1766" y="1045"/>
                  </a:lnTo>
                  <a:lnTo>
                    <a:pt x="1764" y="1045"/>
                  </a:lnTo>
                  <a:lnTo>
                    <a:pt x="1766" y="1045"/>
                  </a:lnTo>
                  <a:lnTo>
                    <a:pt x="1764" y="1045"/>
                  </a:lnTo>
                  <a:lnTo>
                    <a:pt x="1764" y="1047"/>
                  </a:lnTo>
                  <a:lnTo>
                    <a:pt x="1766" y="1047"/>
                  </a:lnTo>
                  <a:lnTo>
                    <a:pt x="1766" y="1045"/>
                  </a:lnTo>
                  <a:lnTo>
                    <a:pt x="1766" y="1047"/>
                  </a:lnTo>
                  <a:lnTo>
                    <a:pt x="1766" y="1049"/>
                  </a:lnTo>
                  <a:lnTo>
                    <a:pt x="1764" y="1049"/>
                  </a:lnTo>
                  <a:lnTo>
                    <a:pt x="1764" y="1051"/>
                  </a:lnTo>
                  <a:lnTo>
                    <a:pt x="1764" y="1053"/>
                  </a:lnTo>
                  <a:lnTo>
                    <a:pt x="1764" y="1055"/>
                  </a:lnTo>
                  <a:lnTo>
                    <a:pt x="1764" y="1056"/>
                  </a:lnTo>
                  <a:lnTo>
                    <a:pt x="1762" y="1056"/>
                  </a:lnTo>
                  <a:lnTo>
                    <a:pt x="1764" y="1056"/>
                  </a:lnTo>
                  <a:lnTo>
                    <a:pt x="1764" y="1058"/>
                  </a:lnTo>
                  <a:lnTo>
                    <a:pt x="1762" y="1058"/>
                  </a:lnTo>
                  <a:lnTo>
                    <a:pt x="1762" y="1060"/>
                  </a:lnTo>
                  <a:lnTo>
                    <a:pt x="1760" y="1060"/>
                  </a:lnTo>
                  <a:lnTo>
                    <a:pt x="1760" y="1062"/>
                  </a:lnTo>
                  <a:lnTo>
                    <a:pt x="1758" y="1062"/>
                  </a:lnTo>
                  <a:lnTo>
                    <a:pt x="1758" y="1064"/>
                  </a:lnTo>
                  <a:lnTo>
                    <a:pt x="1756" y="1064"/>
                  </a:lnTo>
                  <a:lnTo>
                    <a:pt x="1756" y="1066"/>
                  </a:lnTo>
                  <a:lnTo>
                    <a:pt x="1756" y="1068"/>
                  </a:lnTo>
                  <a:lnTo>
                    <a:pt x="1754" y="1068"/>
                  </a:lnTo>
                  <a:lnTo>
                    <a:pt x="1754" y="1070"/>
                  </a:lnTo>
                  <a:lnTo>
                    <a:pt x="1752" y="1070"/>
                  </a:lnTo>
                  <a:lnTo>
                    <a:pt x="1750" y="1072"/>
                  </a:lnTo>
                  <a:lnTo>
                    <a:pt x="1750" y="1074"/>
                  </a:lnTo>
                  <a:lnTo>
                    <a:pt x="1749" y="1074"/>
                  </a:lnTo>
                  <a:lnTo>
                    <a:pt x="1749" y="1076"/>
                  </a:lnTo>
                  <a:lnTo>
                    <a:pt x="1749" y="1078"/>
                  </a:lnTo>
                  <a:lnTo>
                    <a:pt x="1747" y="1079"/>
                  </a:lnTo>
                  <a:lnTo>
                    <a:pt x="1747" y="1081"/>
                  </a:lnTo>
                  <a:lnTo>
                    <a:pt x="1747" y="1083"/>
                  </a:lnTo>
                  <a:lnTo>
                    <a:pt x="1745" y="1083"/>
                  </a:lnTo>
                  <a:lnTo>
                    <a:pt x="1743" y="1085"/>
                  </a:lnTo>
                  <a:lnTo>
                    <a:pt x="1743" y="1087"/>
                  </a:lnTo>
                  <a:lnTo>
                    <a:pt x="1741" y="1087"/>
                  </a:lnTo>
                  <a:lnTo>
                    <a:pt x="1741" y="1089"/>
                  </a:lnTo>
                  <a:lnTo>
                    <a:pt x="1739" y="1089"/>
                  </a:lnTo>
                  <a:lnTo>
                    <a:pt x="1739" y="1091"/>
                  </a:lnTo>
                  <a:lnTo>
                    <a:pt x="1739" y="1093"/>
                  </a:lnTo>
                  <a:lnTo>
                    <a:pt x="1737" y="1095"/>
                  </a:lnTo>
                  <a:lnTo>
                    <a:pt x="1737" y="1097"/>
                  </a:lnTo>
                  <a:lnTo>
                    <a:pt x="1737" y="1099"/>
                  </a:lnTo>
                  <a:lnTo>
                    <a:pt x="1737" y="1101"/>
                  </a:lnTo>
                  <a:lnTo>
                    <a:pt x="1735" y="1101"/>
                  </a:lnTo>
                  <a:lnTo>
                    <a:pt x="1735" y="1103"/>
                  </a:lnTo>
                  <a:lnTo>
                    <a:pt x="1733" y="1103"/>
                  </a:lnTo>
                  <a:lnTo>
                    <a:pt x="1733" y="1104"/>
                  </a:lnTo>
                  <a:lnTo>
                    <a:pt x="1733" y="1106"/>
                  </a:lnTo>
                  <a:lnTo>
                    <a:pt x="1731" y="1108"/>
                  </a:lnTo>
                  <a:lnTo>
                    <a:pt x="1731" y="1110"/>
                  </a:lnTo>
                  <a:lnTo>
                    <a:pt x="1729" y="1110"/>
                  </a:lnTo>
                  <a:lnTo>
                    <a:pt x="1729" y="1112"/>
                  </a:lnTo>
                  <a:lnTo>
                    <a:pt x="1727" y="1112"/>
                  </a:lnTo>
                  <a:lnTo>
                    <a:pt x="1727" y="1114"/>
                  </a:lnTo>
                  <a:lnTo>
                    <a:pt x="1727" y="1116"/>
                  </a:lnTo>
                  <a:lnTo>
                    <a:pt x="1726" y="1116"/>
                  </a:lnTo>
                  <a:lnTo>
                    <a:pt x="1726" y="1118"/>
                  </a:lnTo>
                  <a:lnTo>
                    <a:pt x="1724" y="1118"/>
                  </a:lnTo>
                  <a:lnTo>
                    <a:pt x="1724" y="1120"/>
                  </a:lnTo>
                  <a:lnTo>
                    <a:pt x="1722" y="1120"/>
                  </a:lnTo>
                  <a:lnTo>
                    <a:pt x="1722" y="1122"/>
                  </a:lnTo>
                  <a:lnTo>
                    <a:pt x="1720" y="1122"/>
                  </a:lnTo>
                  <a:lnTo>
                    <a:pt x="1720" y="1124"/>
                  </a:lnTo>
                  <a:lnTo>
                    <a:pt x="1720" y="1126"/>
                  </a:lnTo>
                  <a:lnTo>
                    <a:pt x="1718" y="1126"/>
                  </a:lnTo>
                  <a:lnTo>
                    <a:pt x="1716" y="1126"/>
                  </a:lnTo>
                  <a:lnTo>
                    <a:pt x="1716" y="1128"/>
                  </a:lnTo>
                  <a:lnTo>
                    <a:pt x="1714" y="1128"/>
                  </a:lnTo>
                  <a:lnTo>
                    <a:pt x="1714" y="1129"/>
                  </a:lnTo>
                  <a:lnTo>
                    <a:pt x="1714" y="1131"/>
                  </a:lnTo>
                  <a:lnTo>
                    <a:pt x="1712" y="1131"/>
                  </a:lnTo>
                  <a:lnTo>
                    <a:pt x="1710" y="1133"/>
                  </a:lnTo>
                  <a:lnTo>
                    <a:pt x="1710" y="1135"/>
                  </a:lnTo>
                  <a:lnTo>
                    <a:pt x="1708" y="1135"/>
                  </a:lnTo>
                  <a:lnTo>
                    <a:pt x="1708" y="1137"/>
                  </a:lnTo>
                  <a:lnTo>
                    <a:pt x="1706" y="1137"/>
                  </a:lnTo>
                  <a:lnTo>
                    <a:pt x="1706" y="1139"/>
                  </a:lnTo>
                  <a:lnTo>
                    <a:pt x="1704" y="1139"/>
                  </a:lnTo>
                  <a:lnTo>
                    <a:pt x="1704" y="1141"/>
                  </a:lnTo>
                  <a:lnTo>
                    <a:pt x="1706" y="1141"/>
                  </a:lnTo>
                  <a:lnTo>
                    <a:pt x="1704" y="1141"/>
                  </a:lnTo>
                  <a:lnTo>
                    <a:pt x="1704" y="1143"/>
                  </a:lnTo>
                  <a:lnTo>
                    <a:pt x="1702" y="1143"/>
                  </a:lnTo>
                  <a:lnTo>
                    <a:pt x="1702" y="1145"/>
                  </a:lnTo>
                  <a:lnTo>
                    <a:pt x="1701" y="1145"/>
                  </a:lnTo>
                  <a:lnTo>
                    <a:pt x="1701" y="1147"/>
                  </a:lnTo>
                  <a:lnTo>
                    <a:pt x="1699" y="1147"/>
                  </a:lnTo>
                  <a:lnTo>
                    <a:pt x="1699" y="1149"/>
                  </a:lnTo>
                  <a:lnTo>
                    <a:pt x="1697" y="1149"/>
                  </a:lnTo>
                  <a:lnTo>
                    <a:pt x="1697" y="1151"/>
                  </a:lnTo>
                  <a:lnTo>
                    <a:pt x="1697" y="1152"/>
                  </a:lnTo>
                  <a:lnTo>
                    <a:pt x="1695" y="1152"/>
                  </a:lnTo>
                  <a:lnTo>
                    <a:pt x="1695" y="1154"/>
                  </a:lnTo>
                  <a:lnTo>
                    <a:pt x="1695" y="1156"/>
                  </a:lnTo>
                  <a:lnTo>
                    <a:pt x="1695" y="1154"/>
                  </a:lnTo>
                  <a:lnTo>
                    <a:pt x="1695" y="1156"/>
                  </a:lnTo>
                  <a:lnTo>
                    <a:pt x="1695" y="1158"/>
                  </a:lnTo>
                  <a:lnTo>
                    <a:pt x="1693" y="1158"/>
                  </a:lnTo>
                  <a:lnTo>
                    <a:pt x="1691" y="1158"/>
                  </a:lnTo>
                  <a:lnTo>
                    <a:pt x="1691" y="1160"/>
                  </a:lnTo>
                  <a:lnTo>
                    <a:pt x="1691" y="1158"/>
                  </a:lnTo>
                  <a:lnTo>
                    <a:pt x="1691" y="1160"/>
                  </a:lnTo>
                  <a:lnTo>
                    <a:pt x="1691" y="1162"/>
                  </a:lnTo>
                  <a:lnTo>
                    <a:pt x="1689" y="1162"/>
                  </a:lnTo>
                  <a:lnTo>
                    <a:pt x="1689" y="1164"/>
                  </a:lnTo>
                  <a:lnTo>
                    <a:pt x="1687" y="1164"/>
                  </a:lnTo>
                  <a:lnTo>
                    <a:pt x="1685" y="1164"/>
                  </a:lnTo>
                  <a:lnTo>
                    <a:pt x="1685" y="1166"/>
                  </a:lnTo>
                  <a:lnTo>
                    <a:pt x="1683" y="1168"/>
                  </a:lnTo>
                  <a:lnTo>
                    <a:pt x="1683" y="1166"/>
                  </a:lnTo>
                  <a:lnTo>
                    <a:pt x="1683" y="1168"/>
                  </a:lnTo>
                  <a:lnTo>
                    <a:pt x="1681" y="1168"/>
                  </a:lnTo>
                  <a:lnTo>
                    <a:pt x="1679" y="1170"/>
                  </a:lnTo>
                  <a:lnTo>
                    <a:pt x="1678" y="1170"/>
                  </a:lnTo>
                  <a:lnTo>
                    <a:pt x="1678" y="1172"/>
                  </a:lnTo>
                  <a:lnTo>
                    <a:pt x="1678" y="1170"/>
                  </a:lnTo>
                  <a:lnTo>
                    <a:pt x="1678" y="1172"/>
                  </a:lnTo>
                  <a:lnTo>
                    <a:pt x="1676" y="1172"/>
                  </a:lnTo>
                  <a:lnTo>
                    <a:pt x="1676" y="1174"/>
                  </a:lnTo>
                  <a:lnTo>
                    <a:pt x="1674" y="1174"/>
                  </a:lnTo>
                  <a:lnTo>
                    <a:pt x="1672" y="1174"/>
                  </a:lnTo>
                  <a:lnTo>
                    <a:pt x="1672" y="1176"/>
                  </a:lnTo>
                  <a:lnTo>
                    <a:pt x="1670" y="1176"/>
                  </a:lnTo>
                  <a:lnTo>
                    <a:pt x="1670" y="1177"/>
                  </a:lnTo>
                  <a:lnTo>
                    <a:pt x="1668" y="1177"/>
                  </a:lnTo>
                  <a:lnTo>
                    <a:pt x="1668" y="1176"/>
                  </a:lnTo>
                  <a:lnTo>
                    <a:pt x="1666" y="1176"/>
                  </a:lnTo>
                  <a:lnTo>
                    <a:pt x="1666" y="1177"/>
                  </a:lnTo>
                  <a:lnTo>
                    <a:pt x="1666" y="1176"/>
                  </a:lnTo>
                  <a:lnTo>
                    <a:pt x="1666" y="1177"/>
                  </a:lnTo>
                  <a:lnTo>
                    <a:pt x="1664" y="1177"/>
                  </a:lnTo>
                  <a:lnTo>
                    <a:pt x="1662" y="1177"/>
                  </a:lnTo>
                  <a:lnTo>
                    <a:pt x="1662" y="1179"/>
                  </a:lnTo>
                  <a:lnTo>
                    <a:pt x="1660" y="1179"/>
                  </a:lnTo>
                  <a:lnTo>
                    <a:pt x="1658" y="1179"/>
                  </a:lnTo>
                  <a:lnTo>
                    <a:pt x="1658" y="1177"/>
                  </a:lnTo>
                  <a:lnTo>
                    <a:pt x="1660" y="1177"/>
                  </a:lnTo>
                  <a:lnTo>
                    <a:pt x="1658" y="1177"/>
                  </a:lnTo>
                  <a:lnTo>
                    <a:pt x="1658" y="1176"/>
                  </a:lnTo>
                  <a:lnTo>
                    <a:pt x="1656" y="1176"/>
                  </a:lnTo>
                  <a:lnTo>
                    <a:pt x="1656" y="1177"/>
                  </a:lnTo>
                  <a:lnTo>
                    <a:pt x="1654" y="1177"/>
                  </a:lnTo>
                  <a:lnTo>
                    <a:pt x="1656" y="1177"/>
                  </a:lnTo>
                  <a:lnTo>
                    <a:pt x="1654" y="1177"/>
                  </a:lnTo>
                  <a:lnTo>
                    <a:pt x="1656" y="1177"/>
                  </a:lnTo>
                  <a:lnTo>
                    <a:pt x="1654" y="1177"/>
                  </a:lnTo>
                  <a:lnTo>
                    <a:pt x="1656" y="1177"/>
                  </a:lnTo>
                  <a:lnTo>
                    <a:pt x="1654" y="1177"/>
                  </a:lnTo>
                  <a:lnTo>
                    <a:pt x="1654" y="1176"/>
                  </a:lnTo>
                  <a:lnTo>
                    <a:pt x="1653" y="1176"/>
                  </a:lnTo>
                  <a:lnTo>
                    <a:pt x="1651" y="1176"/>
                  </a:lnTo>
                  <a:lnTo>
                    <a:pt x="1651" y="1174"/>
                  </a:lnTo>
                  <a:lnTo>
                    <a:pt x="1651" y="1176"/>
                  </a:lnTo>
                  <a:lnTo>
                    <a:pt x="1651" y="1174"/>
                  </a:lnTo>
                  <a:lnTo>
                    <a:pt x="1649" y="1174"/>
                  </a:lnTo>
                  <a:lnTo>
                    <a:pt x="1649" y="1176"/>
                  </a:lnTo>
                  <a:lnTo>
                    <a:pt x="1649" y="1174"/>
                  </a:lnTo>
                  <a:lnTo>
                    <a:pt x="1649" y="1172"/>
                  </a:lnTo>
                  <a:lnTo>
                    <a:pt x="1647" y="1172"/>
                  </a:lnTo>
                  <a:lnTo>
                    <a:pt x="1649" y="1172"/>
                  </a:lnTo>
                  <a:lnTo>
                    <a:pt x="1649" y="1170"/>
                  </a:lnTo>
                  <a:lnTo>
                    <a:pt x="1649" y="1168"/>
                  </a:lnTo>
                  <a:lnTo>
                    <a:pt x="1649" y="1166"/>
                  </a:lnTo>
                  <a:lnTo>
                    <a:pt x="1647" y="1166"/>
                  </a:lnTo>
                  <a:lnTo>
                    <a:pt x="1647" y="1168"/>
                  </a:lnTo>
                  <a:lnTo>
                    <a:pt x="1649" y="1168"/>
                  </a:lnTo>
                  <a:lnTo>
                    <a:pt x="1647" y="1168"/>
                  </a:lnTo>
                  <a:lnTo>
                    <a:pt x="1647" y="1170"/>
                  </a:lnTo>
                  <a:lnTo>
                    <a:pt x="1645" y="1170"/>
                  </a:lnTo>
                  <a:lnTo>
                    <a:pt x="1643" y="1170"/>
                  </a:lnTo>
                  <a:lnTo>
                    <a:pt x="1643" y="1172"/>
                  </a:lnTo>
                  <a:lnTo>
                    <a:pt x="1641" y="1172"/>
                  </a:lnTo>
                  <a:lnTo>
                    <a:pt x="1643" y="1172"/>
                  </a:lnTo>
                  <a:lnTo>
                    <a:pt x="1641" y="1172"/>
                  </a:lnTo>
                  <a:lnTo>
                    <a:pt x="1643" y="1172"/>
                  </a:lnTo>
                  <a:lnTo>
                    <a:pt x="1643" y="1170"/>
                  </a:lnTo>
                  <a:lnTo>
                    <a:pt x="1643" y="1172"/>
                  </a:lnTo>
                  <a:lnTo>
                    <a:pt x="1641" y="1172"/>
                  </a:lnTo>
                  <a:lnTo>
                    <a:pt x="1641" y="1170"/>
                  </a:lnTo>
                  <a:lnTo>
                    <a:pt x="1641" y="1172"/>
                  </a:lnTo>
                  <a:lnTo>
                    <a:pt x="1641" y="1170"/>
                  </a:lnTo>
                  <a:lnTo>
                    <a:pt x="1641" y="1172"/>
                  </a:lnTo>
                  <a:lnTo>
                    <a:pt x="1641" y="1170"/>
                  </a:lnTo>
                  <a:lnTo>
                    <a:pt x="1643" y="1170"/>
                  </a:lnTo>
                  <a:lnTo>
                    <a:pt x="1643" y="1168"/>
                  </a:lnTo>
                  <a:lnTo>
                    <a:pt x="1645" y="1168"/>
                  </a:lnTo>
                  <a:lnTo>
                    <a:pt x="1645" y="1166"/>
                  </a:lnTo>
                  <a:lnTo>
                    <a:pt x="1643" y="1166"/>
                  </a:lnTo>
                  <a:lnTo>
                    <a:pt x="1643" y="1168"/>
                  </a:lnTo>
                  <a:lnTo>
                    <a:pt x="1643" y="1166"/>
                  </a:lnTo>
                  <a:lnTo>
                    <a:pt x="1641" y="1166"/>
                  </a:lnTo>
                  <a:lnTo>
                    <a:pt x="1641" y="1168"/>
                  </a:lnTo>
                  <a:lnTo>
                    <a:pt x="1641" y="1166"/>
                  </a:lnTo>
                  <a:lnTo>
                    <a:pt x="1639" y="1166"/>
                  </a:lnTo>
                  <a:lnTo>
                    <a:pt x="1641" y="1168"/>
                  </a:lnTo>
                  <a:lnTo>
                    <a:pt x="1639" y="1168"/>
                  </a:lnTo>
                  <a:lnTo>
                    <a:pt x="1641" y="1168"/>
                  </a:lnTo>
                  <a:lnTo>
                    <a:pt x="1639" y="1168"/>
                  </a:lnTo>
                  <a:lnTo>
                    <a:pt x="1639" y="1170"/>
                  </a:lnTo>
                  <a:lnTo>
                    <a:pt x="1641" y="1170"/>
                  </a:lnTo>
                  <a:lnTo>
                    <a:pt x="1639" y="1170"/>
                  </a:lnTo>
                  <a:lnTo>
                    <a:pt x="1639" y="1172"/>
                  </a:lnTo>
                  <a:lnTo>
                    <a:pt x="1637" y="1172"/>
                  </a:lnTo>
                  <a:lnTo>
                    <a:pt x="1637" y="1174"/>
                  </a:lnTo>
                  <a:lnTo>
                    <a:pt x="1635" y="1174"/>
                  </a:lnTo>
                  <a:lnTo>
                    <a:pt x="1637" y="1174"/>
                  </a:lnTo>
                  <a:lnTo>
                    <a:pt x="1635" y="1174"/>
                  </a:lnTo>
                  <a:lnTo>
                    <a:pt x="1637" y="1174"/>
                  </a:lnTo>
                  <a:lnTo>
                    <a:pt x="1635" y="1174"/>
                  </a:lnTo>
                  <a:lnTo>
                    <a:pt x="1635" y="1176"/>
                  </a:lnTo>
                  <a:lnTo>
                    <a:pt x="1633" y="1176"/>
                  </a:lnTo>
                  <a:lnTo>
                    <a:pt x="1633" y="1177"/>
                  </a:lnTo>
                  <a:lnTo>
                    <a:pt x="1635" y="1177"/>
                  </a:lnTo>
                  <a:lnTo>
                    <a:pt x="1633" y="1177"/>
                  </a:lnTo>
                  <a:lnTo>
                    <a:pt x="1633" y="1179"/>
                  </a:lnTo>
                  <a:lnTo>
                    <a:pt x="1631" y="1179"/>
                  </a:lnTo>
                  <a:lnTo>
                    <a:pt x="1633" y="1179"/>
                  </a:lnTo>
                  <a:lnTo>
                    <a:pt x="1631" y="1179"/>
                  </a:lnTo>
                  <a:lnTo>
                    <a:pt x="1631" y="1181"/>
                  </a:lnTo>
                  <a:lnTo>
                    <a:pt x="1631" y="1179"/>
                  </a:lnTo>
                  <a:lnTo>
                    <a:pt x="1630" y="1179"/>
                  </a:lnTo>
                  <a:lnTo>
                    <a:pt x="1630" y="1181"/>
                  </a:lnTo>
                  <a:lnTo>
                    <a:pt x="1630" y="1179"/>
                  </a:lnTo>
                  <a:lnTo>
                    <a:pt x="1628" y="1179"/>
                  </a:lnTo>
                  <a:lnTo>
                    <a:pt x="1628" y="1181"/>
                  </a:lnTo>
                  <a:lnTo>
                    <a:pt x="1626" y="1181"/>
                  </a:lnTo>
                  <a:lnTo>
                    <a:pt x="1626" y="1179"/>
                  </a:lnTo>
                  <a:lnTo>
                    <a:pt x="1628" y="1179"/>
                  </a:lnTo>
                  <a:lnTo>
                    <a:pt x="1628" y="1181"/>
                  </a:lnTo>
                  <a:lnTo>
                    <a:pt x="1628" y="1179"/>
                  </a:lnTo>
                  <a:lnTo>
                    <a:pt x="1626" y="1179"/>
                  </a:lnTo>
                  <a:lnTo>
                    <a:pt x="1624" y="1179"/>
                  </a:lnTo>
                  <a:lnTo>
                    <a:pt x="1624" y="1181"/>
                  </a:lnTo>
                  <a:lnTo>
                    <a:pt x="1626" y="1181"/>
                  </a:lnTo>
                  <a:lnTo>
                    <a:pt x="1628" y="1181"/>
                  </a:lnTo>
                  <a:lnTo>
                    <a:pt x="1628" y="1183"/>
                  </a:lnTo>
                  <a:lnTo>
                    <a:pt x="1626" y="1183"/>
                  </a:lnTo>
                  <a:lnTo>
                    <a:pt x="1628" y="1183"/>
                  </a:lnTo>
                  <a:lnTo>
                    <a:pt x="1626" y="1183"/>
                  </a:lnTo>
                  <a:lnTo>
                    <a:pt x="1626" y="1185"/>
                  </a:lnTo>
                  <a:lnTo>
                    <a:pt x="1624" y="1187"/>
                  </a:lnTo>
                  <a:close/>
                  <a:moveTo>
                    <a:pt x="704" y="50"/>
                  </a:moveTo>
                  <a:lnTo>
                    <a:pt x="706" y="50"/>
                  </a:lnTo>
                  <a:lnTo>
                    <a:pt x="708" y="50"/>
                  </a:lnTo>
                  <a:lnTo>
                    <a:pt x="710" y="50"/>
                  </a:lnTo>
                  <a:lnTo>
                    <a:pt x="710" y="52"/>
                  </a:lnTo>
                  <a:lnTo>
                    <a:pt x="712" y="52"/>
                  </a:lnTo>
                  <a:lnTo>
                    <a:pt x="714" y="52"/>
                  </a:lnTo>
                  <a:lnTo>
                    <a:pt x="714" y="54"/>
                  </a:lnTo>
                  <a:lnTo>
                    <a:pt x="716" y="56"/>
                  </a:lnTo>
                  <a:lnTo>
                    <a:pt x="716" y="54"/>
                  </a:lnTo>
                  <a:lnTo>
                    <a:pt x="718" y="56"/>
                  </a:lnTo>
                  <a:lnTo>
                    <a:pt x="718" y="58"/>
                  </a:lnTo>
                  <a:lnTo>
                    <a:pt x="720" y="58"/>
                  </a:lnTo>
                  <a:lnTo>
                    <a:pt x="720" y="60"/>
                  </a:lnTo>
                  <a:lnTo>
                    <a:pt x="718" y="60"/>
                  </a:lnTo>
                  <a:lnTo>
                    <a:pt x="718" y="61"/>
                  </a:lnTo>
                  <a:lnTo>
                    <a:pt x="720" y="61"/>
                  </a:lnTo>
                  <a:lnTo>
                    <a:pt x="720" y="63"/>
                  </a:lnTo>
                  <a:lnTo>
                    <a:pt x="722" y="63"/>
                  </a:lnTo>
                  <a:lnTo>
                    <a:pt x="722" y="65"/>
                  </a:lnTo>
                  <a:lnTo>
                    <a:pt x="722" y="67"/>
                  </a:lnTo>
                  <a:lnTo>
                    <a:pt x="722" y="69"/>
                  </a:lnTo>
                  <a:lnTo>
                    <a:pt x="724" y="69"/>
                  </a:lnTo>
                  <a:lnTo>
                    <a:pt x="722" y="69"/>
                  </a:lnTo>
                  <a:lnTo>
                    <a:pt x="722" y="71"/>
                  </a:lnTo>
                  <a:lnTo>
                    <a:pt x="720" y="73"/>
                  </a:lnTo>
                  <a:lnTo>
                    <a:pt x="720" y="77"/>
                  </a:lnTo>
                  <a:lnTo>
                    <a:pt x="720" y="79"/>
                  </a:lnTo>
                  <a:lnTo>
                    <a:pt x="720" y="81"/>
                  </a:lnTo>
                  <a:lnTo>
                    <a:pt x="718" y="84"/>
                  </a:lnTo>
                  <a:lnTo>
                    <a:pt x="716" y="84"/>
                  </a:lnTo>
                  <a:lnTo>
                    <a:pt x="716" y="86"/>
                  </a:lnTo>
                  <a:lnTo>
                    <a:pt x="716" y="88"/>
                  </a:lnTo>
                  <a:lnTo>
                    <a:pt x="714" y="88"/>
                  </a:lnTo>
                  <a:lnTo>
                    <a:pt x="714" y="90"/>
                  </a:lnTo>
                  <a:lnTo>
                    <a:pt x="712" y="94"/>
                  </a:lnTo>
                  <a:lnTo>
                    <a:pt x="710" y="94"/>
                  </a:lnTo>
                  <a:lnTo>
                    <a:pt x="710" y="96"/>
                  </a:lnTo>
                  <a:lnTo>
                    <a:pt x="712" y="96"/>
                  </a:lnTo>
                  <a:lnTo>
                    <a:pt x="712" y="98"/>
                  </a:lnTo>
                  <a:lnTo>
                    <a:pt x="710" y="98"/>
                  </a:lnTo>
                  <a:lnTo>
                    <a:pt x="708" y="98"/>
                  </a:lnTo>
                  <a:lnTo>
                    <a:pt x="706" y="98"/>
                  </a:lnTo>
                  <a:lnTo>
                    <a:pt x="706" y="100"/>
                  </a:lnTo>
                  <a:lnTo>
                    <a:pt x="704" y="100"/>
                  </a:lnTo>
                  <a:lnTo>
                    <a:pt x="703" y="102"/>
                  </a:lnTo>
                  <a:lnTo>
                    <a:pt x="701" y="102"/>
                  </a:lnTo>
                  <a:lnTo>
                    <a:pt x="699" y="104"/>
                  </a:lnTo>
                  <a:lnTo>
                    <a:pt x="697" y="106"/>
                  </a:lnTo>
                  <a:lnTo>
                    <a:pt x="695" y="108"/>
                  </a:lnTo>
                  <a:lnTo>
                    <a:pt x="693" y="108"/>
                  </a:lnTo>
                  <a:lnTo>
                    <a:pt x="689" y="109"/>
                  </a:lnTo>
                  <a:lnTo>
                    <a:pt x="687" y="111"/>
                  </a:lnTo>
                  <a:lnTo>
                    <a:pt x="685" y="113"/>
                  </a:lnTo>
                  <a:lnTo>
                    <a:pt x="683" y="113"/>
                  </a:lnTo>
                  <a:lnTo>
                    <a:pt x="681" y="113"/>
                  </a:lnTo>
                  <a:lnTo>
                    <a:pt x="683" y="113"/>
                  </a:lnTo>
                  <a:lnTo>
                    <a:pt x="681" y="115"/>
                  </a:lnTo>
                  <a:lnTo>
                    <a:pt x="679" y="115"/>
                  </a:lnTo>
                  <a:lnTo>
                    <a:pt x="679" y="117"/>
                  </a:lnTo>
                  <a:lnTo>
                    <a:pt x="678" y="117"/>
                  </a:lnTo>
                  <a:lnTo>
                    <a:pt x="676" y="117"/>
                  </a:lnTo>
                  <a:lnTo>
                    <a:pt x="674" y="119"/>
                  </a:lnTo>
                  <a:lnTo>
                    <a:pt x="672" y="119"/>
                  </a:lnTo>
                  <a:lnTo>
                    <a:pt x="670" y="121"/>
                  </a:lnTo>
                  <a:lnTo>
                    <a:pt x="668" y="121"/>
                  </a:lnTo>
                  <a:lnTo>
                    <a:pt x="668" y="123"/>
                  </a:lnTo>
                  <a:lnTo>
                    <a:pt x="666" y="123"/>
                  </a:lnTo>
                  <a:lnTo>
                    <a:pt x="666" y="125"/>
                  </a:lnTo>
                  <a:lnTo>
                    <a:pt x="664" y="125"/>
                  </a:lnTo>
                  <a:lnTo>
                    <a:pt x="662" y="125"/>
                  </a:lnTo>
                  <a:lnTo>
                    <a:pt x="660" y="127"/>
                  </a:lnTo>
                  <a:lnTo>
                    <a:pt x="658" y="127"/>
                  </a:lnTo>
                  <a:lnTo>
                    <a:pt x="655" y="129"/>
                  </a:lnTo>
                  <a:lnTo>
                    <a:pt x="653" y="131"/>
                  </a:lnTo>
                  <a:lnTo>
                    <a:pt x="651" y="131"/>
                  </a:lnTo>
                  <a:lnTo>
                    <a:pt x="651" y="129"/>
                  </a:lnTo>
                  <a:lnTo>
                    <a:pt x="649" y="131"/>
                  </a:lnTo>
                  <a:lnTo>
                    <a:pt x="649" y="133"/>
                  </a:lnTo>
                  <a:lnTo>
                    <a:pt x="647" y="133"/>
                  </a:lnTo>
                  <a:lnTo>
                    <a:pt x="647" y="134"/>
                  </a:lnTo>
                  <a:lnTo>
                    <a:pt x="645" y="134"/>
                  </a:lnTo>
                  <a:lnTo>
                    <a:pt x="645" y="133"/>
                  </a:lnTo>
                  <a:lnTo>
                    <a:pt x="645" y="131"/>
                  </a:lnTo>
                  <a:lnTo>
                    <a:pt x="643" y="129"/>
                  </a:lnTo>
                  <a:lnTo>
                    <a:pt x="643" y="131"/>
                  </a:lnTo>
                  <a:lnTo>
                    <a:pt x="643" y="133"/>
                  </a:lnTo>
                  <a:lnTo>
                    <a:pt x="643" y="134"/>
                  </a:lnTo>
                  <a:lnTo>
                    <a:pt x="641" y="134"/>
                  </a:lnTo>
                  <a:lnTo>
                    <a:pt x="639" y="136"/>
                  </a:lnTo>
                  <a:lnTo>
                    <a:pt x="637" y="138"/>
                  </a:lnTo>
                  <a:lnTo>
                    <a:pt x="635" y="138"/>
                  </a:lnTo>
                  <a:lnTo>
                    <a:pt x="635" y="136"/>
                  </a:lnTo>
                  <a:lnTo>
                    <a:pt x="635" y="138"/>
                  </a:lnTo>
                  <a:lnTo>
                    <a:pt x="633" y="138"/>
                  </a:lnTo>
                  <a:lnTo>
                    <a:pt x="633" y="140"/>
                  </a:lnTo>
                  <a:lnTo>
                    <a:pt x="632" y="140"/>
                  </a:lnTo>
                  <a:lnTo>
                    <a:pt x="632" y="142"/>
                  </a:lnTo>
                  <a:lnTo>
                    <a:pt x="630" y="142"/>
                  </a:lnTo>
                  <a:lnTo>
                    <a:pt x="628" y="142"/>
                  </a:lnTo>
                  <a:lnTo>
                    <a:pt x="628" y="144"/>
                  </a:lnTo>
                  <a:lnTo>
                    <a:pt x="626" y="144"/>
                  </a:lnTo>
                  <a:lnTo>
                    <a:pt x="626" y="146"/>
                  </a:lnTo>
                  <a:lnTo>
                    <a:pt x="624" y="146"/>
                  </a:lnTo>
                  <a:lnTo>
                    <a:pt x="622" y="146"/>
                  </a:lnTo>
                  <a:lnTo>
                    <a:pt x="620" y="146"/>
                  </a:lnTo>
                  <a:lnTo>
                    <a:pt x="618" y="148"/>
                  </a:lnTo>
                  <a:lnTo>
                    <a:pt x="618" y="150"/>
                  </a:lnTo>
                  <a:lnTo>
                    <a:pt x="618" y="152"/>
                  </a:lnTo>
                  <a:lnTo>
                    <a:pt x="616" y="152"/>
                  </a:lnTo>
                  <a:lnTo>
                    <a:pt x="616" y="150"/>
                  </a:lnTo>
                  <a:lnTo>
                    <a:pt x="616" y="152"/>
                  </a:lnTo>
                  <a:lnTo>
                    <a:pt x="614" y="154"/>
                  </a:lnTo>
                  <a:lnTo>
                    <a:pt x="616" y="154"/>
                  </a:lnTo>
                  <a:lnTo>
                    <a:pt x="614" y="154"/>
                  </a:lnTo>
                  <a:lnTo>
                    <a:pt x="614" y="156"/>
                  </a:lnTo>
                  <a:lnTo>
                    <a:pt x="612" y="157"/>
                  </a:lnTo>
                  <a:lnTo>
                    <a:pt x="612" y="159"/>
                  </a:lnTo>
                  <a:lnTo>
                    <a:pt x="610" y="159"/>
                  </a:lnTo>
                  <a:lnTo>
                    <a:pt x="610" y="157"/>
                  </a:lnTo>
                  <a:lnTo>
                    <a:pt x="610" y="156"/>
                  </a:lnTo>
                  <a:lnTo>
                    <a:pt x="610" y="154"/>
                  </a:lnTo>
                  <a:lnTo>
                    <a:pt x="608" y="156"/>
                  </a:lnTo>
                  <a:lnTo>
                    <a:pt x="608" y="157"/>
                  </a:lnTo>
                  <a:lnTo>
                    <a:pt x="608" y="159"/>
                  </a:lnTo>
                  <a:lnTo>
                    <a:pt x="607" y="159"/>
                  </a:lnTo>
                  <a:lnTo>
                    <a:pt x="607" y="161"/>
                  </a:lnTo>
                  <a:lnTo>
                    <a:pt x="605" y="161"/>
                  </a:lnTo>
                  <a:lnTo>
                    <a:pt x="605" y="163"/>
                  </a:lnTo>
                  <a:lnTo>
                    <a:pt x="603" y="163"/>
                  </a:lnTo>
                  <a:lnTo>
                    <a:pt x="603" y="165"/>
                  </a:lnTo>
                  <a:lnTo>
                    <a:pt x="603" y="167"/>
                  </a:lnTo>
                  <a:lnTo>
                    <a:pt x="603" y="169"/>
                  </a:lnTo>
                  <a:lnTo>
                    <a:pt x="601" y="171"/>
                  </a:lnTo>
                  <a:lnTo>
                    <a:pt x="601" y="169"/>
                  </a:lnTo>
                  <a:lnTo>
                    <a:pt x="599" y="169"/>
                  </a:lnTo>
                  <a:lnTo>
                    <a:pt x="599" y="167"/>
                  </a:lnTo>
                  <a:lnTo>
                    <a:pt x="601" y="165"/>
                  </a:lnTo>
                  <a:lnTo>
                    <a:pt x="599" y="165"/>
                  </a:lnTo>
                  <a:lnTo>
                    <a:pt x="599" y="167"/>
                  </a:lnTo>
                  <a:lnTo>
                    <a:pt x="597" y="167"/>
                  </a:lnTo>
                  <a:lnTo>
                    <a:pt x="597" y="169"/>
                  </a:lnTo>
                  <a:lnTo>
                    <a:pt x="597" y="171"/>
                  </a:lnTo>
                  <a:lnTo>
                    <a:pt x="595" y="171"/>
                  </a:lnTo>
                  <a:lnTo>
                    <a:pt x="595" y="173"/>
                  </a:lnTo>
                  <a:lnTo>
                    <a:pt x="593" y="173"/>
                  </a:lnTo>
                  <a:lnTo>
                    <a:pt x="595" y="173"/>
                  </a:lnTo>
                  <a:lnTo>
                    <a:pt x="595" y="171"/>
                  </a:lnTo>
                  <a:lnTo>
                    <a:pt x="593" y="171"/>
                  </a:lnTo>
                  <a:lnTo>
                    <a:pt x="593" y="173"/>
                  </a:lnTo>
                  <a:lnTo>
                    <a:pt x="591" y="173"/>
                  </a:lnTo>
                  <a:lnTo>
                    <a:pt x="593" y="175"/>
                  </a:lnTo>
                  <a:lnTo>
                    <a:pt x="599" y="175"/>
                  </a:lnTo>
                  <a:lnTo>
                    <a:pt x="601" y="177"/>
                  </a:lnTo>
                  <a:lnTo>
                    <a:pt x="599" y="179"/>
                  </a:lnTo>
                  <a:lnTo>
                    <a:pt x="593" y="181"/>
                  </a:lnTo>
                  <a:lnTo>
                    <a:pt x="593" y="182"/>
                  </a:lnTo>
                  <a:lnTo>
                    <a:pt x="595" y="182"/>
                  </a:lnTo>
                  <a:lnTo>
                    <a:pt x="595" y="184"/>
                  </a:lnTo>
                  <a:lnTo>
                    <a:pt x="595" y="186"/>
                  </a:lnTo>
                  <a:lnTo>
                    <a:pt x="593" y="186"/>
                  </a:lnTo>
                  <a:lnTo>
                    <a:pt x="591" y="186"/>
                  </a:lnTo>
                  <a:lnTo>
                    <a:pt x="589" y="186"/>
                  </a:lnTo>
                  <a:lnTo>
                    <a:pt x="587" y="186"/>
                  </a:lnTo>
                  <a:lnTo>
                    <a:pt x="585" y="186"/>
                  </a:lnTo>
                  <a:lnTo>
                    <a:pt x="585" y="184"/>
                  </a:lnTo>
                  <a:lnTo>
                    <a:pt x="584" y="184"/>
                  </a:lnTo>
                  <a:lnTo>
                    <a:pt x="584" y="182"/>
                  </a:lnTo>
                  <a:lnTo>
                    <a:pt x="584" y="184"/>
                  </a:lnTo>
                  <a:lnTo>
                    <a:pt x="585" y="186"/>
                  </a:lnTo>
                  <a:lnTo>
                    <a:pt x="584" y="186"/>
                  </a:lnTo>
                  <a:lnTo>
                    <a:pt x="585" y="188"/>
                  </a:lnTo>
                  <a:lnTo>
                    <a:pt x="585" y="186"/>
                  </a:lnTo>
                  <a:lnTo>
                    <a:pt x="587" y="186"/>
                  </a:lnTo>
                  <a:lnTo>
                    <a:pt x="587" y="188"/>
                  </a:lnTo>
                  <a:lnTo>
                    <a:pt x="587" y="190"/>
                  </a:lnTo>
                  <a:lnTo>
                    <a:pt x="589" y="190"/>
                  </a:lnTo>
                  <a:lnTo>
                    <a:pt x="589" y="192"/>
                  </a:lnTo>
                  <a:lnTo>
                    <a:pt x="589" y="194"/>
                  </a:lnTo>
                  <a:lnTo>
                    <a:pt x="587" y="194"/>
                  </a:lnTo>
                  <a:lnTo>
                    <a:pt x="587" y="196"/>
                  </a:lnTo>
                  <a:lnTo>
                    <a:pt x="585" y="196"/>
                  </a:lnTo>
                  <a:lnTo>
                    <a:pt x="585" y="194"/>
                  </a:lnTo>
                  <a:lnTo>
                    <a:pt x="584" y="194"/>
                  </a:lnTo>
                  <a:lnTo>
                    <a:pt x="584" y="192"/>
                  </a:lnTo>
                  <a:lnTo>
                    <a:pt x="582" y="190"/>
                  </a:lnTo>
                  <a:lnTo>
                    <a:pt x="582" y="188"/>
                  </a:lnTo>
                  <a:lnTo>
                    <a:pt x="580" y="188"/>
                  </a:lnTo>
                  <a:lnTo>
                    <a:pt x="578" y="188"/>
                  </a:lnTo>
                  <a:lnTo>
                    <a:pt x="578" y="186"/>
                  </a:lnTo>
                  <a:lnTo>
                    <a:pt x="578" y="188"/>
                  </a:lnTo>
                  <a:lnTo>
                    <a:pt x="578" y="190"/>
                  </a:lnTo>
                  <a:lnTo>
                    <a:pt x="580" y="190"/>
                  </a:lnTo>
                  <a:lnTo>
                    <a:pt x="580" y="192"/>
                  </a:lnTo>
                  <a:lnTo>
                    <a:pt x="578" y="192"/>
                  </a:lnTo>
                  <a:lnTo>
                    <a:pt x="578" y="194"/>
                  </a:lnTo>
                  <a:lnTo>
                    <a:pt x="578" y="196"/>
                  </a:lnTo>
                  <a:lnTo>
                    <a:pt x="578" y="198"/>
                  </a:lnTo>
                  <a:lnTo>
                    <a:pt x="578" y="200"/>
                  </a:lnTo>
                  <a:lnTo>
                    <a:pt x="578" y="202"/>
                  </a:lnTo>
                  <a:lnTo>
                    <a:pt x="578" y="204"/>
                  </a:lnTo>
                  <a:lnTo>
                    <a:pt x="576" y="202"/>
                  </a:lnTo>
                  <a:lnTo>
                    <a:pt x="574" y="202"/>
                  </a:lnTo>
                  <a:lnTo>
                    <a:pt x="572" y="202"/>
                  </a:lnTo>
                  <a:lnTo>
                    <a:pt x="572" y="200"/>
                  </a:lnTo>
                  <a:lnTo>
                    <a:pt x="570" y="200"/>
                  </a:lnTo>
                  <a:lnTo>
                    <a:pt x="570" y="198"/>
                  </a:lnTo>
                  <a:lnTo>
                    <a:pt x="568" y="198"/>
                  </a:lnTo>
                  <a:lnTo>
                    <a:pt x="566" y="196"/>
                  </a:lnTo>
                  <a:lnTo>
                    <a:pt x="564" y="196"/>
                  </a:lnTo>
                  <a:lnTo>
                    <a:pt x="564" y="198"/>
                  </a:lnTo>
                  <a:lnTo>
                    <a:pt x="566" y="198"/>
                  </a:lnTo>
                  <a:lnTo>
                    <a:pt x="566" y="200"/>
                  </a:lnTo>
                  <a:lnTo>
                    <a:pt x="568" y="198"/>
                  </a:lnTo>
                  <a:lnTo>
                    <a:pt x="568" y="200"/>
                  </a:lnTo>
                  <a:lnTo>
                    <a:pt x="570" y="202"/>
                  </a:lnTo>
                  <a:lnTo>
                    <a:pt x="570" y="204"/>
                  </a:lnTo>
                  <a:lnTo>
                    <a:pt x="570" y="206"/>
                  </a:lnTo>
                  <a:lnTo>
                    <a:pt x="570" y="207"/>
                  </a:lnTo>
                  <a:lnTo>
                    <a:pt x="572" y="207"/>
                  </a:lnTo>
                  <a:lnTo>
                    <a:pt x="572" y="209"/>
                  </a:lnTo>
                  <a:lnTo>
                    <a:pt x="570" y="209"/>
                  </a:lnTo>
                  <a:lnTo>
                    <a:pt x="570" y="211"/>
                  </a:lnTo>
                  <a:lnTo>
                    <a:pt x="572" y="211"/>
                  </a:lnTo>
                  <a:lnTo>
                    <a:pt x="570" y="211"/>
                  </a:lnTo>
                  <a:lnTo>
                    <a:pt x="572" y="211"/>
                  </a:lnTo>
                  <a:lnTo>
                    <a:pt x="572" y="213"/>
                  </a:lnTo>
                  <a:lnTo>
                    <a:pt x="570" y="213"/>
                  </a:lnTo>
                  <a:lnTo>
                    <a:pt x="572" y="213"/>
                  </a:lnTo>
                  <a:lnTo>
                    <a:pt x="570" y="213"/>
                  </a:lnTo>
                  <a:lnTo>
                    <a:pt x="570" y="215"/>
                  </a:lnTo>
                  <a:lnTo>
                    <a:pt x="570" y="213"/>
                  </a:lnTo>
                  <a:lnTo>
                    <a:pt x="568" y="215"/>
                  </a:lnTo>
                  <a:lnTo>
                    <a:pt x="570" y="215"/>
                  </a:lnTo>
                  <a:lnTo>
                    <a:pt x="568" y="215"/>
                  </a:lnTo>
                  <a:lnTo>
                    <a:pt x="568" y="217"/>
                  </a:lnTo>
                  <a:lnTo>
                    <a:pt x="568" y="215"/>
                  </a:lnTo>
                  <a:lnTo>
                    <a:pt x="568" y="217"/>
                  </a:lnTo>
                  <a:lnTo>
                    <a:pt x="570" y="217"/>
                  </a:lnTo>
                  <a:lnTo>
                    <a:pt x="568" y="217"/>
                  </a:lnTo>
                  <a:lnTo>
                    <a:pt x="568" y="219"/>
                  </a:lnTo>
                  <a:lnTo>
                    <a:pt x="568" y="217"/>
                  </a:lnTo>
                  <a:lnTo>
                    <a:pt x="566" y="217"/>
                  </a:lnTo>
                  <a:lnTo>
                    <a:pt x="566" y="215"/>
                  </a:lnTo>
                  <a:lnTo>
                    <a:pt x="566" y="217"/>
                  </a:lnTo>
                  <a:lnTo>
                    <a:pt x="564" y="217"/>
                  </a:lnTo>
                  <a:lnTo>
                    <a:pt x="566" y="217"/>
                  </a:lnTo>
                  <a:lnTo>
                    <a:pt x="566" y="219"/>
                  </a:lnTo>
                  <a:lnTo>
                    <a:pt x="568" y="219"/>
                  </a:lnTo>
                  <a:lnTo>
                    <a:pt x="568" y="221"/>
                  </a:lnTo>
                  <a:lnTo>
                    <a:pt x="568" y="219"/>
                  </a:lnTo>
                  <a:lnTo>
                    <a:pt x="566" y="219"/>
                  </a:lnTo>
                  <a:lnTo>
                    <a:pt x="566" y="221"/>
                  </a:lnTo>
                  <a:lnTo>
                    <a:pt x="566" y="223"/>
                  </a:lnTo>
                  <a:lnTo>
                    <a:pt x="566" y="221"/>
                  </a:lnTo>
                  <a:lnTo>
                    <a:pt x="566" y="219"/>
                  </a:lnTo>
                  <a:lnTo>
                    <a:pt x="564" y="219"/>
                  </a:lnTo>
                  <a:lnTo>
                    <a:pt x="562" y="219"/>
                  </a:lnTo>
                  <a:lnTo>
                    <a:pt x="562" y="217"/>
                  </a:lnTo>
                  <a:lnTo>
                    <a:pt x="562" y="219"/>
                  </a:lnTo>
                  <a:lnTo>
                    <a:pt x="564" y="221"/>
                  </a:lnTo>
                  <a:lnTo>
                    <a:pt x="564" y="219"/>
                  </a:lnTo>
                  <a:lnTo>
                    <a:pt x="562" y="219"/>
                  </a:lnTo>
                  <a:lnTo>
                    <a:pt x="564" y="219"/>
                  </a:lnTo>
                  <a:lnTo>
                    <a:pt x="564" y="221"/>
                  </a:lnTo>
                  <a:lnTo>
                    <a:pt x="564" y="223"/>
                  </a:lnTo>
                  <a:lnTo>
                    <a:pt x="564" y="225"/>
                  </a:lnTo>
                  <a:lnTo>
                    <a:pt x="564" y="227"/>
                  </a:lnTo>
                  <a:lnTo>
                    <a:pt x="566" y="227"/>
                  </a:lnTo>
                  <a:lnTo>
                    <a:pt x="564" y="227"/>
                  </a:lnTo>
                  <a:lnTo>
                    <a:pt x="562" y="227"/>
                  </a:lnTo>
                  <a:lnTo>
                    <a:pt x="560" y="227"/>
                  </a:lnTo>
                  <a:lnTo>
                    <a:pt x="560" y="225"/>
                  </a:lnTo>
                  <a:lnTo>
                    <a:pt x="559" y="225"/>
                  </a:lnTo>
                  <a:lnTo>
                    <a:pt x="559" y="223"/>
                  </a:lnTo>
                  <a:lnTo>
                    <a:pt x="557" y="223"/>
                  </a:lnTo>
                  <a:lnTo>
                    <a:pt x="557" y="221"/>
                  </a:lnTo>
                  <a:lnTo>
                    <a:pt x="557" y="219"/>
                  </a:lnTo>
                  <a:lnTo>
                    <a:pt x="555" y="219"/>
                  </a:lnTo>
                  <a:lnTo>
                    <a:pt x="555" y="217"/>
                  </a:lnTo>
                  <a:lnTo>
                    <a:pt x="553" y="215"/>
                  </a:lnTo>
                  <a:lnTo>
                    <a:pt x="555" y="221"/>
                  </a:lnTo>
                  <a:lnTo>
                    <a:pt x="553" y="223"/>
                  </a:lnTo>
                  <a:lnTo>
                    <a:pt x="553" y="221"/>
                  </a:lnTo>
                  <a:lnTo>
                    <a:pt x="551" y="221"/>
                  </a:lnTo>
                  <a:lnTo>
                    <a:pt x="549" y="221"/>
                  </a:lnTo>
                  <a:lnTo>
                    <a:pt x="549" y="223"/>
                  </a:lnTo>
                  <a:lnTo>
                    <a:pt x="551" y="223"/>
                  </a:lnTo>
                  <a:lnTo>
                    <a:pt x="553" y="223"/>
                  </a:lnTo>
                  <a:lnTo>
                    <a:pt x="555" y="223"/>
                  </a:lnTo>
                  <a:lnTo>
                    <a:pt x="555" y="225"/>
                  </a:lnTo>
                  <a:lnTo>
                    <a:pt x="557" y="225"/>
                  </a:lnTo>
                  <a:lnTo>
                    <a:pt x="557" y="227"/>
                  </a:lnTo>
                  <a:lnTo>
                    <a:pt x="559" y="229"/>
                  </a:lnTo>
                  <a:lnTo>
                    <a:pt x="560" y="230"/>
                  </a:lnTo>
                  <a:lnTo>
                    <a:pt x="559" y="232"/>
                  </a:lnTo>
                  <a:lnTo>
                    <a:pt x="559" y="230"/>
                  </a:lnTo>
                  <a:lnTo>
                    <a:pt x="559" y="232"/>
                  </a:lnTo>
                  <a:lnTo>
                    <a:pt x="557" y="232"/>
                  </a:lnTo>
                  <a:lnTo>
                    <a:pt x="559" y="232"/>
                  </a:lnTo>
                  <a:lnTo>
                    <a:pt x="559" y="234"/>
                  </a:lnTo>
                  <a:lnTo>
                    <a:pt x="560" y="238"/>
                  </a:lnTo>
                  <a:lnTo>
                    <a:pt x="559" y="238"/>
                  </a:lnTo>
                  <a:lnTo>
                    <a:pt x="559" y="240"/>
                  </a:lnTo>
                  <a:lnTo>
                    <a:pt x="557" y="240"/>
                  </a:lnTo>
                  <a:lnTo>
                    <a:pt x="555" y="240"/>
                  </a:lnTo>
                  <a:lnTo>
                    <a:pt x="557" y="238"/>
                  </a:lnTo>
                  <a:lnTo>
                    <a:pt x="555" y="238"/>
                  </a:lnTo>
                  <a:lnTo>
                    <a:pt x="555" y="236"/>
                  </a:lnTo>
                  <a:lnTo>
                    <a:pt x="553" y="234"/>
                  </a:lnTo>
                  <a:lnTo>
                    <a:pt x="551" y="234"/>
                  </a:lnTo>
                  <a:lnTo>
                    <a:pt x="551" y="236"/>
                  </a:lnTo>
                  <a:lnTo>
                    <a:pt x="553" y="238"/>
                  </a:lnTo>
                  <a:lnTo>
                    <a:pt x="555" y="238"/>
                  </a:lnTo>
                  <a:lnTo>
                    <a:pt x="555" y="240"/>
                  </a:lnTo>
                  <a:lnTo>
                    <a:pt x="555" y="242"/>
                  </a:lnTo>
                  <a:lnTo>
                    <a:pt x="555" y="246"/>
                  </a:lnTo>
                  <a:lnTo>
                    <a:pt x="555" y="248"/>
                  </a:lnTo>
                  <a:lnTo>
                    <a:pt x="553" y="248"/>
                  </a:lnTo>
                  <a:lnTo>
                    <a:pt x="551" y="248"/>
                  </a:lnTo>
                  <a:lnTo>
                    <a:pt x="553" y="250"/>
                  </a:lnTo>
                  <a:lnTo>
                    <a:pt x="551" y="250"/>
                  </a:lnTo>
                  <a:lnTo>
                    <a:pt x="549" y="250"/>
                  </a:lnTo>
                  <a:lnTo>
                    <a:pt x="547" y="248"/>
                  </a:lnTo>
                  <a:lnTo>
                    <a:pt x="545" y="248"/>
                  </a:lnTo>
                  <a:lnTo>
                    <a:pt x="545" y="250"/>
                  </a:lnTo>
                  <a:lnTo>
                    <a:pt x="547" y="250"/>
                  </a:lnTo>
                  <a:lnTo>
                    <a:pt x="549" y="250"/>
                  </a:lnTo>
                  <a:lnTo>
                    <a:pt x="549" y="252"/>
                  </a:lnTo>
                  <a:lnTo>
                    <a:pt x="551" y="254"/>
                  </a:lnTo>
                  <a:lnTo>
                    <a:pt x="551" y="255"/>
                  </a:lnTo>
                  <a:lnTo>
                    <a:pt x="549" y="255"/>
                  </a:lnTo>
                  <a:lnTo>
                    <a:pt x="549" y="257"/>
                  </a:lnTo>
                  <a:lnTo>
                    <a:pt x="547" y="259"/>
                  </a:lnTo>
                  <a:lnTo>
                    <a:pt x="547" y="261"/>
                  </a:lnTo>
                  <a:lnTo>
                    <a:pt x="545" y="261"/>
                  </a:lnTo>
                  <a:lnTo>
                    <a:pt x="545" y="263"/>
                  </a:lnTo>
                  <a:lnTo>
                    <a:pt x="543" y="261"/>
                  </a:lnTo>
                  <a:lnTo>
                    <a:pt x="543" y="263"/>
                  </a:lnTo>
                  <a:lnTo>
                    <a:pt x="543" y="265"/>
                  </a:lnTo>
                  <a:lnTo>
                    <a:pt x="541" y="265"/>
                  </a:lnTo>
                  <a:lnTo>
                    <a:pt x="539" y="265"/>
                  </a:lnTo>
                  <a:lnTo>
                    <a:pt x="537" y="265"/>
                  </a:lnTo>
                  <a:lnTo>
                    <a:pt x="536" y="265"/>
                  </a:lnTo>
                  <a:lnTo>
                    <a:pt x="534" y="265"/>
                  </a:lnTo>
                  <a:lnTo>
                    <a:pt x="534" y="263"/>
                  </a:lnTo>
                  <a:lnTo>
                    <a:pt x="532" y="261"/>
                  </a:lnTo>
                  <a:lnTo>
                    <a:pt x="532" y="263"/>
                  </a:lnTo>
                  <a:lnTo>
                    <a:pt x="532" y="265"/>
                  </a:lnTo>
                  <a:lnTo>
                    <a:pt x="534" y="265"/>
                  </a:lnTo>
                  <a:lnTo>
                    <a:pt x="536" y="265"/>
                  </a:lnTo>
                  <a:lnTo>
                    <a:pt x="537" y="265"/>
                  </a:lnTo>
                  <a:lnTo>
                    <a:pt x="537" y="267"/>
                  </a:lnTo>
                  <a:lnTo>
                    <a:pt x="539" y="267"/>
                  </a:lnTo>
                  <a:lnTo>
                    <a:pt x="539" y="269"/>
                  </a:lnTo>
                  <a:lnTo>
                    <a:pt x="539" y="271"/>
                  </a:lnTo>
                  <a:lnTo>
                    <a:pt x="539" y="273"/>
                  </a:lnTo>
                  <a:lnTo>
                    <a:pt x="537" y="273"/>
                  </a:lnTo>
                  <a:lnTo>
                    <a:pt x="536" y="273"/>
                  </a:lnTo>
                  <a:lnTo>
                    <a:pt x="536" y="275"/>
                  </a:lnTo>
                  <a:lnTo>
                    <a:pt x="534" y="275"/>
                  </a:lnTo>
                  <a:lnTo>
                    <a:pt x="532" y="275"/>
                  </a:lnTo>
                  <a:lnTo>
                    <a:pt x="534" y="275"/>
                  </a:lnTo>
                  <a:lnTo>
                    <a:pt x="536" y="275"/>
                  </a:lnTo>
                  <a:lnTo>
                    <a:pt x="537" y="275"/>
                  </a:lnTo>
                  <a:lnTo>
                    <a:pt x="537" y="277"/>
                  </a:lnTo>
                  <a:lnTo>
                    <a:pt x="537" y="278"/>
                  </a:lnTo>
                  <a:lnTo>
                    <a:pt x="536" y="278"/>
                  </a:lnTo>
                  <a:lnTo>
                    <a:pt x="534" y="278"/>
                  </a:lnTo>
                  <a:lnTo>
                    <a:pt x="532" y="278"/>
                  </a:lnTo>
                  <a:lnTo>
                    <a:pt x="530" y="278"/>
                  </a:lnTo>
                  <a:lnTo>
                    <a:pt x="530" y="280"/>
                  </a:lnTo>
                  <a:lnTo>
                    <a:pt x="530" y="278"/>
                  </a:lnTo>
                  <a:lnTo>
                    <a:pt x="530" y="280"/>
                  </a:lnTo>
                  <a:lnTo>
                    <a:pt x="528" y="280"/>
                  </a:lnTo>
                  <a:lnTo>
                    <a:pt x="526" y="280"/>
                  </a:lnTo>
                  <a:lnTo>
                    <a:pt x="524" y="280"/>
                  </a:lnTo>
                  <a:lnTo>
                    <a:pt x="526" y="280"/>
                  </a:lnTo>
                  <a:lnTo>
                    <a:pt x="528" y="280"/>
                  </a:lnTo>
                  <a:lnTo>
                    <a:pt x="530" y="280"/>
                  </a:lnTo>
                  <a:lnTo>
                    <a:pt x="532" y="280"/>
                  </a:lnTo>
                  <a:lnTo>
                    <a:pt x="534" y="280"/>
                  </a:lnTo>
                  <a:lnTo>
                    <a:pt x="536" y="278"/>
                  </a:lnTo>
                  <a:lnTo>
                    <a:pt x="536" y="280"/>
                  </a:lnTo>
                  <a:lnTo>
                    <a:pt x="536" y="282"/>
                  </a:lnTo>
                  <a:lnTo>
                    <a:pt x="536" y="284"/>
                  </a:lnTo>
                  <a:lnTo>
                    <a:pt x="534" y="286"/>
                  </a:lnTo>
                  <a:lnTo>
                    <a:pt x="534" y="288"/>
                  </a:lnTo>
                  <a:lnTo>
                    <a:pt x="532" y="288"/>
                  </a:lnTo>
                  <a:lnTo>
                    <a:pt x="530" y="288"/>
                  </a:lnTo>
                  <a:lnTo>
                    <a:pt x="528" y="288"/>
                  </a:lnTo>
                  <a:lnTo>
                    <a:pt x="528" y="290"/>
                  </a:lnTo>
                  <a:lnTo>
                    <a:pt x="530" y="290"/>
                  </a:lnTo>
                  <a:lnTo>
                    <a:pt x="530" y="292"/>
                  </a:lnTo>
                  <a:lnTo>
                    <a:pt x="530" y="294"/>
                  </a:lnTo>
                  <a:lnTo>
                    <a:pt x="528" y="294"/>
                  </a:lnTo>
                  <a:lnTo>
                    <a:pt x="526" y="296"/>
                  </a:lnTo>
                  <a:lnTo>
                    <a:pt x="528" y="296"/>
                  </a:lnTo>
                  <a:lnTo>
                    <a:pt x="528" y="298"/>
                  </a:lnTo>
                  <a:lnTo>
                    <a:pt x="526" y="298"/>
                  </a:lnTo>
                  <a:lnTo>
                    <a:pt x="526" y="300"/>
                  </a:lnTo>
                  <a:lnTo>
                    <a:pt x="526" y="302"/>
                  </a:lnTo>
                  <a:lnTo>
                    <a:pt x="526" y="300"/>
                  </a:lnTo>
                  <a:lnTo>
                    <a:pt x="524" y="300"/>
                  </a:lnTo>
                  <a:lnTo>
                    <a:pt x="524" y="302"/>
                  </a:lnTo>
                  <a:lnTo>
                    <a:pt x="526" y="302"/>
                  </a:lnTo>
                  <a:lnTo>
                    <a:pt x="524" y="303"/>
                  </a:lnTo>
                  <a:lnTo>
                    <a:pt x="526" y="303"/>
                  </a:lnTo>
                  <a:lnTo>
                    <a:pt x="524" y="303"/>
                  </a:lnTo>
                  <a:lnTo>
                    <a:pt x="524" y="305"/>
                  </a:lnTo>
                  <a:lnTo>
                    <a:pt x="524" y="307"/>
                  </a:lnTo>
                  <a:lnTo>
                    <a:pt x="524" y="309"/>
                  </a:lnTo>
                  <a:lnTo>
                    <a:pt x="522" y="311"/>
                  </a:lnTo>
                  <a:lnTo>
                    <a:pt x="522" y="313"/>
                  </a:lnTo>
                  <a:lnTo>
                    <a:pt x="524" y="313"/>
                  </a:lnTo>
                  <a:lnTo>
                    <a:pt x="524" y="315"/>
                  </a:lnTo>
                  <a:lnTo>
                    <a:pt x="524" y="317"/>
                  </a:lnTo>
                  <a:lnTo>
                    <a:pt x="526" y="317"/>
                  </a:lnTo>
                  <a:lnTo>
                    <a:pt x="526" y="319"/>
                  </a:lnTo>
                  <a:lnTo>
                    <a:pt x="524" y="319"/>
                  </a:lnTo>
                  <a:lnTo>
                    <a:pt x="524" y="321"/>
                  </a:lnTo>
                  <a:lnTo>
                    <a:pt x="522" y="323"/>
                  </a:lnTo>
                  <a:lnTo>
                    <a:pt x="524" y="323"/>
                  </a:lnTo>
                  <a:lnTo>
                    <a:pt x="524" y="325"/>
                  </a:lnTo>
                  <a:lnTo>
                    <a:pt x="522" y="325"/>
                  </a:lnTo>
                  <a:lnTo>
                    <a:pt x="522" y="327"/>
                  </a:lnTo>
                  <a:lnTo>
                    <a:pt x="522" y="328"/>
                  </a:lnTo>
                  <a:lnTo>
                    <a:pt x="524" y="328"/>
                  </a:lnTo>
                  <a:lnTo>
                    <a:pt x="524" y="330"/>
                  </a:lnTo>
                  <a:lnTo>
                    <a:pt x="524" y="332"/>
                  </a:lnTo>
                  <a:lnTo>
                    <a:pt x="526" y="332"/>
                  </a:lnTo>
                  <a:lnTo>
                    <a:pt x="526" y="334"/>
                  </a:lnTo>
                  <a:lnTo>
                    <a:pt x="526" y="336"/>
                  </a:lnTo>
                  <a:lnTo>
                    <a:pt x="526" y="340"/>
                  </a:lnTo>
                  <a:lnTo>
                    <a:pt x="526" y="342"/>
                  </a:lnTo>
                  <a:lnTo>
                    <a:pt x="526" y="344"/>
                  </a:lnTo>
                  <a:lnTo>
                    <a:pt x="528" y="346"/>
                  </a:lnTo>
                  <a:lnTo>
                    <a:pt x="528" y="348"/>
                  </a:lnTo>
                  <a:lnTo>
                    <a:pt x="530" y="348"/>
                  </a:lnTo>
                  <a:lnTo>
                    <a:pt x="530" y="350"/>
                  </a:lnTo>
                  <a:lnTo>
                    <a:pt x="530" y="351"/>
                  </a:lnTo>
                  <a:lnTo>
                    <a:pt x="530" y="353"/>
                  </a:lnTo>
                  <a:lnTo>
                    <a:pt x="532" y="353"/>
                  </a:lnTo>
                  <a:lnTo>
                    <a:pt x="532" y="357"/>
                  </a:lnTo>
                  <a:lnTo>
                    <a:pt x="534" y="359"/>
                  </a:lnTo>
                  <a:lnTo>
                    <a:pt x="534" y="361"/>
                  </a:lnTo>
                  <a:lnTo>
                    <a:pt x="534" y="363"/>
                  </a:lnTo>
                  <a:lnTo>
                    <a:pt x="536" y="363"/>
                  </a:lnTo>
                  <a:lnTo>
                    <a:pt x="536" y="365"/>
                  </a:lnTo>
                  <a:lnTo>
                    <a:pt x="537" y="367"/>
                  </a:lnTo>
                  <a:lnTo>
                    <a:pt x="539" y="369"/>
                  </a:lnTo>
                  <a:lnTo>
                    <a:pt x="541" y="371"/>
                  </a:lnTo>
                  <a:lnTo>
                    <a:pt x="541" y="373"/>
                  </a:lnTo>
                  <a:lnTo>
                    <a:pt x="543" y="373"/>
                  </a:lnTo>
                  <a:lnTo>
                    <a:pt x="543" y="375"/>
                  </a:lnTo>
                  <a:lnTo>
                    <a:pt x="545" y="375"/>
                  </a:lnTo>
                  <a:lnTo>
                    <a:pt x="545" y="376"/>
                  </a:lnTo>
                  <a:lnTo>
                    <a:pt x="547" y="378"/>
                  </a:lnTo>
                  <a:lnTo>
                    <a:pt x="549" y="380"/>
                  </a:lnTo>
                  <a:lnTo>
                    <a:pt x="551" y="380"/>
                  </a:lnTo>
                  <a:lnTo>
                    <a:pt x="553" y="380"/>
                  </a:lnTo>
                  <a:lnTo>
                    <a:pt x="553" y="382"/>
                  </a:lnTo>
                  <a:lnTo>
                    <a:pt x="555" y="382"/>
                  </a:lnTo>
                  <a:lnTo>
                    <a:pt x="555" y="384"/>
                  </a:lnTo>
                  <a:lnTo>
                    <a:pt x="555" y="386"/>
                  </a:lnTo>
                  <a:lnTo>
                    <a:pt x="555" y="384"/>
                  </a:lnTo>
                  <a:lnTo>
                    <a:pt x="555" y="386"/>
                  </a:lnTo>
                  <a:lnTo>
                    <a:pt x="553" y="386"/>
                  </a:lnTo>
                  <a:lnTo>
                    <a:pt x="553" y="388"/>
                  </a:lnTo>
                  <a:lnTo>
                    <a:pt x="553" y="390"/>
                  </a:lnTo>
                  <a:lnTo>
                    <a:pt x="551" y="390"/>
                  </a:lnTo>
                  <a:lnTo>
                    <a:pt x="549" y="388"/>
                  </a:lnTo>
                  <a:lnTo>
                    <a:pt x="547" y="388"/>
                  </a:lnTo>
                  <a:lnTo>
                    <a:pt x="545" y="388"/>
                  </a:lnTo>
                  <a:lnTo>
                    <a:pt x="547" y="388"/>
                  </a:lnTo>
                  <a:lnTo>
                    <a:pt x="545" y="388"/>
                  </a:lnTo>
                  <a:lnTo>
                    <a:pt x="543" y="388"/>
                  </a:lnTo>
                  <a:lnTo>
                    <a:pt x="543" y="386"/>
                  </a:lnTo>
                  <a:lnTo>
                    <a:pt x="543" y="388"/>
                  </a:lnTo>
                  <a:lnTo>
                    <a:pt x="545" y="388"/>
                  </a:lnTo>
                  <a:lnTo>
                    <a:pt x="545" y="390"/>
                  </a:lnTo>
                  <a:lnTo>
                    <a:pt x="547" y="390"/>
                  </a:lnTo>
                  <a:lnTo>
                    <a:pt x="549" y="390"/>
                  </a:lnTo>
                  <a:lnTo>
                    <a:pt x="549" y="392"/>
                  </a:lnTo>
                  <a:lnTo>
                    <a:pt x="551" y="392"/>
                  </a:lnTo>
                  <a:lnTo>
                    <a:pt x="549" y="392"/>
                  </a:lnTo>
                  <a:lnTo>
                    <a:pt x="547" y="392"/>
                  </a:lnTo>
                  <a:lnTo>
                    <a:pt x="545" y="390"/>
                  </a:lnTo>
                  <a:lnTo>
                    <a:pt x="545" y="392"/>
                  </a:lnTo>
                  <a:lnTo>
                    <a:pt x="545" y="390"/>
                  </a:lnTo>
                  <a:lnTo>
                    <a:pt x="545" y="392"/>
                  </a:lnTo>
                  <a:lnTo>
                    <a:pt x="547" y="392"/>
                  </a:lnTo>
                  <a:lnTo>
                    <a:pt x="547" y="394"/>
                  </a:lnTo>
                  <a:lnTo>
                    <a:pt x="547" y="392"/>
                  </a:lnTo>
                  <a:lnTo>
                    <a:pt x="549" y="394"/>
                  </a:lnTo>
                  <a:lnTo>
                    <a:pt x="547" y="394"/>
                  </a:lnTo>
                  <a:lnTo>
                    <a:pt x="547" y="396"/>
                  </a:lnTo>
                  <a:lnTo>
                    <a:pt x="549" y="396"/>
                  </a:lnTo>
                  <a:lnTo>
                    <a:pt x="547" y="396"/>
                  </a:lnTo>
                  <a:lnTo>
                    <a:pt x="547" y="394"/>
                  </a:lnTo>
                  <a:lnTo>
                    <a:pt x="545" y="394"/>
                  </a:lnTo>
                  <a:lnTo>
                    <a:pt x="545" y="392"/>
                  </a:lnTo>
                  <a:lnTo>
                    <a:pt x="543" y="392"/>
                  </a:lnTo>
                  <a:lnTo>
                    <a:pt x="543" y="390"/>
                  </a:lnTo>
                  <a:lnTo>
                    <a:pt x="545" y="390"/>
                  </a:lnTo>
                  <a:lnTo>
                    <a:pt x="543" y="390"/>
                  </a:lnTo>
                  <a:lnTo>
                    <a:pt x="541" y="388"/>
                  </a:lnTo>
                  <a:lnTo>
                    <a:pt x="539" y="388"/>
                  </a:lnTo>
                  <a:lnTo>
                    <a:pt x="541" y="388"/>
                  </a:lnTo>
                  <a:lnTo>
                    <a:pt x="541" y="390"/>
                  </a:lnTo>
                  <a:lnTo>
                    <a:pt x="541" y="388"/>
                  </a:lnTo>
                  <a:lnTo>
                    <a:pt x="541" y="390"/>
                  </a:lnTo>
                  <a:lnTo>
                    <a:pt x="541" y="388"/>
                  </a:lnTo>
                  <a:lnTo>
                    <a:pt x="539" y="388"/>
                  </a:lnTo>
                  <a:lnTo>
                    <a:pt x="539" y="386"/>
                  </a:lnTo>
                  <a:lnTo>
                    <a:pt x="539" y="384"/>
                  </a:lnTo>
                  <a:lnTo>
                    <a:pt x="541" y="384"/>
                  </a:lnTo>
                  <a:lnTo>
                    <a:pt x="539" y="384"/>
                  </a:lnTo>
                  <a:lnTo>
                    <a:pt x="537" y="386"/>
                  </a:lnTo>
                  <a:lnTo>
                    <a:pt x="537" y="384"/>
                  </a:lnTo>
                  <a:lnTo>
                    <a:pt x="536" y="384"/>
                  </a:lnTo>
                  <a:lnTo>
                    <a:pt x="534" y="384"/>
                  </a:lnTo>
                  <a:lnTo>
                    <a:pt x="536" y="384"/>
                  </a:lnTo>
                  <a:lnTo>
                    <a:pt x="536" y="386"/>
                  </a:lnTo>
                  <a:lnTo>
                    <a:pt x="534" y="386"/>
                  </a:lnTo>
                  <a:lnTo>
                    <a:pt x="536" y="388"/>
                  </a:lnTo>
                  <a:lnTo>
                    <a:pt x="537" y="390"/>
                  </a:lnTo>
                  <a:lnTo>
                    <a:pt x="537" y="388"/>
                  </a:lnTo>
                  <a:lnTo>
                    <a:pt x="539" y="388"/>
                  </a:lnTo>
                  <a:lnTo>
                    <a:pt x="539" y="390"/>
                  </a:lnTo>
                  <a:lnTo>
                    <a:pt x="541" y="390"/>
                  </a:lnTo>
                  <a:lnTo>
                    <a:pt x="541" y="392"/>
                  </a:lnTo>
                  <a:lnTo>
                    <a:pt x="539" y="392"/>
                  </a:lnTo>
                  <a:lnTo>
                    <a:pt x="539" y="390"/>
                  </a:lnTo>
                  <a:lnTo>
                    <a:pt x="539" y="392"/>
                  </a:lnTo>
                  <a:lnTo>
                    <a:pt x="537" y="392"/>
                  </a:lnTo>
                  <a:lnTo>
                    <a:pt x="539" y="392"/>
                  </a:lnTo>
                  <a:lnTo>
                    <a:pt x="541" y="392"/>
                  </a:lnTo>
                  <a:lnTo>
                    <a:pt x="539" y="392"/>
                  </a:lnTo>
                  <a:lnTo>
                    <a:pt x="539" y="394"/>
                  </a:lnTo>
                  <a:lnTo>
                    <a:pt x="537" y="392"/>
                  </a:lnTo>
                  <a:lnTo>
                    <a:pt x="537" y="390"/>
                  </a:lnTo>
                  <a:lnTo>
                    <a:pt x="536" y="390"/>
                  </a:lnTo>
                  <a:lnTo>
                    <a:pt x="534" y="388"/>
                  </a:lnTo>
                  <a:lnTo>
                    <a:pt x="532" y="388"/>
                  </a:lnTo>
                  <a:lnTo>
                    <a:pt x="534" y="388"/>
                  </a:lnTo>
                  <a:lnTo>
                    <a:pt x="532" y="388"/>
                  </a:lnTo>
                  <a:lnTo>
                    <a:pt x="530" y="388"/>
                  </a:lnTo>
                  <a:lnTo>
                    <a:pt x="530" y="386"/>
                  </a:lnTo>
                  <a:lnTo>
                    <a:pt x="530" y="388"/>
                  </a:lnTo>
                  <a:lnTo>
                    <a:pt x="530" y="390"/>
                  </a:lnTo>
                  <a:lnTo>
                    <a:pt x="532" y="390"/>
                  </a:lnTo>
                  <a:lnTo>
                    <a:pt x="532" y="392"/>
                  </a:lnTo>
                  <a:lnTo>
                    <a:pt x="532" y="390"/>
                  </a:lnTo>
                  <a:lnTo>
                    <a:pt x="530" y="390"/>
                  </a:lnTo>
                  <a:lnTo>
                    <a:pt x="530" y="392"/>
                  </a:lnTo>
                  <a:lnTo>
                    <a:pt x="530" y="390"/>
                  </a:lnTo>
                  <a:lnTo>
                    <a:pt x="528" y="390"/>
                  </a:lnTo>
                  <a:lnTo>
                    <a:pt x="530" y="390"/>
                  </a:lnTo>
                  <a:lnTo>
                    <a:pt x="528" y="390"/>
                  </a:lnTo>
                  <a:lnTo>
                    <a:pt x="526" y="388"/>
                  </a:lnTo>
                  <a:lnTo>
                    <a:pt x="528" y="390"/>
                  </a:lnTo>
                  <a:lnTo>
                    <a:pt x="528" y="388"/>
                  </a:lnTo>
                  <a:lnTo>
                    <a:pt x="526" y="388"/>
                  </a:lnTo>
                  <a:lnTo>
                    <a:pt x="526" y="386"/>
                  </a:lnTo>
                  <a:lnTo>
                    <a:pt x="526" y="388"/>
                  </a:lnTo>
                  <a:lnTo>
                    <a:pt x="528" y="388"/>
                  </a:lnTo>
                  <a:lnTo>
                    <a:pt x="528" y="390"/>
                  </a:lnTo>
                  <a:lnTo>
                    <a:pt x="530" y="390"/>
                  </a:lnTo>
                  <a:lnTo>
                    <a:pt x="530" y="388"/>
                  </a:lnTo>
                  <a:lnTo>
                    <a:pt x="528" y="388"/>
                  </a:lnTo>
                  <a:lnTo>
                    <a:pt x="528" y="386"/>
                  </a:lnTo>
                  <a:lnTo>
                    <a:pt x="526" y="384"/>
                  </a:lnTo>
                  <a:lnTo>
                    <a:pt x="526" y="386"/>
                  </a:lnTo>
                  <a:lnTo>
                    <a:pt x="528" y="386"/>
                  </a:lnTo>
                  <a:lnTo>
                    <a:pt x="528" y="388"/>
                  </a:lnTo>
                  <a:lnTo>
                    <a:pt x="530" y="388"/>
                  </a:lnTo>
                  <a:lnTo>
                    <a:pt x="530" y="390"/>
                  </a:lnTo>
                  <a:lnTo>
                    <a:pt x="528" y="390"/>
                  </a:lnTo>
                  <a:lnTo>
                    <a:pt x="528" y="388"/>
                  </a:lnTo>
                  <a:lnTo>
                    <a:pt x="526" y="386"/>
                  </a:lnTo>
                  <a:lnTo>
                    <a:pt x="524" y="386"/>
                  </a:lnTo>
                  <a:lnTo>
                    <a:pt x="524" y="384"/>
                  </a:lnTo>
                  <a:lnTo>
                    <a:pt x="522" y="384"/>
                  </a:lnTo>
                  <a:lnTo>
                    <a:pt x="522" y="386"/>
                  </a:lnTo>
                  <a:lnTo>
                    <a:pt x="524" y="386"/>
                  </a:lnTo>
                  <a:lnTo>
                    <a:pt x="524" y="388"/>
                  </a:lnTo>
                  <a:lnTo>
                    <a:pt x="524" y="390"/>
                  </a:lnTo>
                  <a:lnTo>
                    <a:pt x="524" y="388"/>
                  </a:lnTo>
                  <a:lnTo>
                    <a:pt x="522" y="388"/>
                  </a:lnTo>
                  <a:lnTo>
                    <a:pt x="522" y="386"/>
                  </a:lnTo>
                  <a:lnTo>
                    <a:pt x="520" y="386"/>
                  </a:lnTo>
                  <a:lnTo>
                    <a:pt x="522" y="388"/>
                  </a:lnTo>
                  <a:lnTo>
                    <a:pt x="520" y="388"/>
                  </a:lnTo>
                  <a:lnTo>
                    <a:pt x="522" y="390"/>
                  </a:lnTo>
                  <a:lnTo>
                    <a:pt x="522" y="392"/>
                  </a:lnTo>
                  <a:lnTo>
                    <a:pt x="520" y="392"/>
                  </a:lnTo>
                  <a:lnTo>
                    <a:pt x="518" y="392"/>
                  </a:lnTo>
                  <a:lnTo>
                    <a:pt x="518" y="390"/>
                  </a:lnTo>
                  <a:lnTo>
                    <a:pt x="516" y="390"/>
                  </a:lnTo>
                  <a:lnTo>
                    <a:pt x="516" y="388"/>
                  </a:lnTo>
                  <a:lnTo>
                    <a:pt x="516" y="390"/>
                  </a:lnTo>
                  <a:lnTo>
                    <a:pt x="516" y="388"/>
                  </a:lnTo>
                  <a:lnTo>
                    <a:pt x="514" y="388"/>
                  </a:lnTo>
                  <a:lnTo>
                    <a:pt x="513" y="386"/>
                  </a:lnTo>
                  <a:lnTo>
                    <a:pt x="513" y="384"/>
                  </a:lnTo>
                  <a:lnTo>
                    <a:pt x="511" y="382"/>
                  </a:lnTo>
                  <a:lnTo>
                    <a:pt x="511" y="384"/>
                  </a:lnTo>
                  <a:lnTo>
                    <a:pt x="509" y="384"/>
                  </a:lnTo>
                  <a:lnTo>
                    <a:pt x="511" y="384"/>
                  </a:lnTo>
                  <a:lnTo>
                    <a:pt x="511" y="386"/>
                  </a:lnTo>
                  <a:lnTo>
                    <a:pt x="513" y="386"/>
                  </a:lnTo>
                  <a:lnTo>
                    <a:pt x="513" y="388"/>
                  </a:lnTo>
                  <a:lnTo>
                    <a:pt x="514" y="388"/>
                  </a:lnTo>
                  <a:lnTo>
                    <a:pt x="513" y="388"/>
                  </a:lnTo>
                  <a:lnTo>
                    <a:pt x="511" y="388"/>
                  </a:lnTo>
                  <a:lnTo>
                    <a:pt x="511" y="386"/>
                  </a:lnTo>
                  <a:lnTo>
                    <a:pt x="509" y="386"/>
                  </a:lnTo>
                  <a:lnTo>
                    <a:pt x="509" y="384"/>
                  </a:lnTo>
                  <a:lnTo>
                    <a:pt x="507" y="384"/>
                  </a:lnTo>
                  <a:lnTo>
                    <a:pt x="507" y="382"/>
                  </a:lnTo>
                  <a:lnTo>
                    <a:pt x="507" y="384"/>
                  </a:lnTo>
                  <a:lnTo>
                    <a:pt x="505" y="384"/>
                  </a:lnTo>
                  <a:lnTo>
                    <a:pt x="503" y="384"/>
                  </a:lnTo>
                  <a:lnTo>
                    <a:pt x="505" y="384"/>
                  </a:lnTo>
                  <a:lnTo>
                    <a:pt x="503" y="384"/>
                  </a:lnTo>
                  <a:lnTo>
                    <a:pt x="501" y="382"/>
                  </a:lnTo>
                  <a:lnTo>
                    <a:pt x="499" y="382"/>
                  </a:lnTo>
                  <a:lnTo>
                    <a:pt x="497" y="380"/>
                  </a:lnTo>
                  <a:lnTo>
                    <a:pt x="495" y="380"/>
                  </a:lnTo>
                  <a:lnTo>
                    <a:pt x="497" y="380"/>
                  </a:lnTo>
                  <a:lnTo>
                    <a:pt x="497" y="382"/>
                  </a:lnTo>
                  <a:lnTo>
                    <a:pt x="495" y="382"/>
                  </a:lnTo>
                  <a:lnTo>
                    <a:pt x="495" y="380"/>
                  </a:lnTo>
                  <a:lnTo>
                    <a:pt x="493" y="380"/>
                  </a:lnTo>
                  <a:lnTo>
                    <a:pt x="493" y="378"/>
                  </a:lnTo>
                  <a:lnTo>
                    <a:pt x="495" y="378"/>
                  </a:lnTo>
                  <a:lnTo>
                    <a:pt x="497" y="378"/>
                  </a:lnTo>
                  <a:lnTo>
                    <a:pt x="497" y="376"/>
                  </a:lnTo>
                  <a:lnTo>
                    <a:pt x="497" y="378"/>
                  </a:lnTo>
                  <a:lnTo>
                    <a:pt x="497" y="380"/>
                  </a:lnTo>
                  <a:lnTo>
                    <a:pt x="499" y="380"/>
                  </a:lnTo>
                  <a:lnTo>
                    <a:pt x="499" y="378"/>
                  </a:lnTo>
                  <a:lnTo>
                    <a:pt x="497" y="378"/>
                  </a:lnTo>
                  <a:lnTo>
                    <a:pt x="499" y="376"/>
                  </a:lnTo>
                  <a:lnTo>
                    <a:pt x="499" y="375"/>
                  </a:lnTo>
                  <a:lnTo>
                    <a:pt x="497" y="373"/>
                  </a:lnTo>
                  <a:lnTo>
                    <a:pt x="497" y="371"/>
                  </a:lnTo>
                  <a:lnTo>
                    <a:pt x="495" y="371"/>
                  </a:lnTo>
                  <a:lnTo>
                    <a:pt x="495" y="369"/>
                  </a:lnTo>
                  <a:lnTo>
                    <a:pt x="497" y="371"/>
                  </a:lnTo>
                  <a:lnTo>
                    <a:pt x="497" y="369"/>
                  </a:lnTo>
                  <a:lnTo>
                    <a:pt x="495" y="369"/>
                  </a:lnTo>
                  <a:lnTo>
                    <a:pt x="495" y="367"/>
                  </a:lnTo>
                  <a:lnTo>
                    <a:pt x="495" y="369"/>
                  </a:lnTo>
                  <a:lnTo>
                    <a:pt x="495" y="367"/>
                  </a:lnTo>
                  <a:lnTo>
                    <a:pt x="497" y="367"/>
                  </a:lnTo>
                  <a:lnTo>
                    <a:pt x="495" y="365"/>
                  </a:lnTo>
                  <a:lnTo>
                    <a:pt x="497" y="365"/>
                  </a:lnTo>
                  <a:lnTo>
                    <a:pt x="497" y="367"/>
                  </a:lnTo>
                  <a:lnTo>
                    <a:pt x="497" y="369"/>
                  </a:lnTo>
                  <a:lnTo>
                    <a:pt x="497" y="371"/>
                  </a:lnTo>
                  <a:lnTo>
                    <a:pt x="497" y="369"/>
                  </a:lnTo>
                  <a:lnTo>
                    <a:pt x="499" y="369"/>
                  </a:lnTo>
                  <a:lnTo>
                    <a:pt x="501" y="369"/>
                  </a:lnTo>
                  <a:lnTo>
                    <a:pt x="501" y="371"/>
                  </a:lnTo>
                  <a:lnTo>
                    <a:pt x="503" y="371"/>
                  </a:lnTo>
                  <a:lnTo>
                    <a:pt x="501" y="369"/>
                  </a:lnTo>
                  <a:lnTo>
                    <a:pt x="501" y="367"/>
                  </a:lnTo>
                  <a:lnTo>
                    <a:pt x="499" y="367"/>
                  </a:lnTo>
                  <a:lnTo>
                    <a:pt x="501" y="367"/>
                  </a:lnTo>
                  <a:lnTo>
                    <a:pt x="503" y="367"/>
                  </a:lnTo>
                  <a:lnTo>
                    <a:pt x="505" y="367"/>
                  </a:lnTo>
                  <a:lnTo>
                    <a:pt x="503" y="367"/>
                  </a:lnTo>
                  <a:lnTo>
                    <a:pt x="503" y="365"/>
                  </a:lnTo>
                  <a:lnTo>
                    <a:pt x="503" y="363"/>
                  </a:lnTo>
                  <a:lnTo>
                    <a:pt x="503" y="365"/>
                  </a:lnTo>
                  <a:lnTo>
                    <a:pt x="503" y="363"/>
                  </a:lnTo>
                  <a:lnTo>
                    <a:pt x="503" y="365"/>
                  </a:lnTo>
                  <a:lnTo>
                    <a:pt x="501" y="365"/>
                  </a:lnTo>
                  <a:lnTo>
                    <a:pt x="499" y="363"/>
                  </a:lnTo>
                  <a:lnTo>
                    <a:pt x="501" y="365"/>
                  </a:lnTo>
                  <a:lnTo>
                    <a:pt x="501" y="367"/>
                  </a:lnTo>
                  <a:lnTo>
                    <a:pt x="499" y="367"/>
                  </a:lnTo>
                  <a:lnTo>
                    <a:pt x="499" y="365"/>
                  </a:lnTo>
                  <a:lnTo>
                    <a:pt x="497" y="365"/>
                  </a:lnTo>
                  <a:lnTo>
                    <a:pt x="497" y="363"/>
                  </a:lnTo>
                  <a:lnTo>
                    <a:pt x="495" y="363"/>
                  </a:lnTo>
                  <a:lnTo>
                    <a:pt x="495" y="361"/>
                  </a:lnTo>
                  <a:lnTo>
                    <a:pt x="495" y="359"/>
                  </a:lnTo>
                  <a:lnTo>
                    <a:pt x="493" y="359"/>
                  </a:lnTo>
                  <a:lnTo>
                    <a:pt x="491" y="359"/>
                  </a:lnTo>
                  <a:lnTo>
                    <a:pt x="491" y="357"/>
                  </a:lnTo>
                  <a:lnTo>
                    <a:pt x="491" y="355"/>
                  </a:lnTo>
                  <a:lnTo>
                    <a:pt x="489" y="355"/>
                  </a:lnTo>
                  <a:lnTo>
                    <a:pt x="491" y="355"/>
                  </a:lnTo>
                  <a:lnTo>
                    <a:pt x="489" y="353"/>
                  </a:lnTo>
                  <a:lnTo>
                    <a:pt x="491" y="353"/>
                  </a:lnTo>
                  <a:lnTo>
                    <a:pt x="491" y="355"/>
                  </a:lnTo>
                  <a:lnTo>
                    <a:pt x="493" y="355"/>
                  </a:lnTo>
                  <a:lnTo>
                    <a:pt x="493" y="357"/>
                  </a:lnTo>
                  <a:lnTo>
                    <a:pt x="491" y="357"/>
                  </a:lnTo>
                  <a:lnTo>
                    <a:pt x="493" y="359"/>
                  </a:lnTo>
                  <a:lnTo>
                    <a:pt x="493" y="357"/>
                  </a:lnTo>
                  <a:lnTo>
                    <a:pt x="493" y="355"/>
                  </a:lnTo>
                  <a:lnTo>
                    <a:pt x="493" y="353"/>
                  </a:lnTo>
                  <a:lnTo>
                    <a:pt x="491" y="353"/>
                  </a:lnTo>
                  <a:lnTo>
                    <a:pt x="493" y="351"/>
                  </a:lnTo>
                  <a:lnTo>
                    <a:pt x="491" y="351"/>
                  </a:lnTo>
                  <a:lnTo>
                    <a:pt x="493" y="351"/>
                  </a:lnTo>
                  <a:lnTo>
                    <a:pt x="493" y="350"/>
                  </a:lnTo>
                  <a:lnTo>
                    <a:pt x="495" y="350"/>
                  </a:lnTo>
                  <a:lnTo>
                    <a:pt x="495" y="348"/>
                  </a:lnTo>
                  <a:lnTo>
                    <a:pt x="493" y="348"/>
                  </a:lnTo>
                  <a:lnTo>
                    <a:pt x="491" y="350"/>
                  </a:lnTo>
                  <a:lnTo>
                    <a:pt x="491" y="351"/>
                  </a:lnTo>
                  <a:lnTo>
                    <a:pt x="489" y="351"/>
                  </a:lnTo>
                  <a:lnTo>
                    <a:pt x="489" y="353"/>
                  </a:lnTo>
                  <a:lnTo>
                    <a:pt x="491" y="353"/>
                  </a:lnTo>
                  <a:lnTo>
                    <a:pt x="489" y="353"/>
                  </a:lnTo>
                  <a:lnTo>
                    <a:pt x="491" y="353"/>
                  </a:lnTo>
                  <a:lnTo>
                    <a:pt x="489" y="353"/>
                  </a:lnTo>
                  <a:lnTo>
                    <a:pt x="489" y="351"/>
                  </a:lnTo>
                  <a:lnTo>
                    <a:pt x="489" y="350"/>
                  </a:lnTo>
                  <a:lnTo>
                    <a:pt x="488" y="350"/>
                  </a:lnTo>
                  <a:lnTo>
                    <a:pt x="489" y="351"/>
                  </a:lnTo>
                  <a:lnTo>
                    <a:pt x="488" y="351"/>
                  </a:lnTo>
                  <a:lnTo>
                    <a:pt x="489" y="351"/>
                  </a:lnTo>
                  <a:lnTo>
                    <a:pt x="489" y="353"/>
                  </a:lnTo>
                  <a:lnTo>
                    <a:pt x="488" y="353"/>
                  </a:lnTo>
                  <a:lnTo>
                    <a:pt x="488" y="351"/>
                  </a:lnTo>
                  <a:lnTo>
                    <a:pt x="488" y="353"/>
                  </a:lnTo>
                  <a:lnTo>
                    <a:pt x="488" y="355"/>
                  </a:lnTo>
                  <a:lnTo>
                    <a:pt x="488" y="357"/>
                  </a:lnTo>
                  <a:lnTo>
                    <a:pt x="488" y="359"/>
                  </a:lnTo>
                  <a:lnTo>
                    <a:pt x="489" y="359"/>
                  </a:lnTo>
                  <a:lnTo>
                    <a:pt x="489" y="361"/>
                  </a:lnTo>
                  <a:lnTo>
                    <a:pt x="488" y="359"/>
                  </a:lnTo>
                  <a:lnTo>
                    <a:pt x="488" y="357"/>
                  </a:lnTo>
                  <a:lnTo>
                    <a:pt x="486" y="357"/>
                  </a:lnTo>
                  <a:lnTo>
                    <a:pt x="486" y="355"/>
                  </a:lnTo>
                  <a:lnTo>
                    <a:pt x="486" y="357"/>
                  </a:lnTo>
                  <a:lnTo>
                    <a:pt x="488" y="357"/>
                  </a:lnTo>
                  <a:lnTo>
                    <a:pt x="486" y="357"/>
                  </a:lnTo>
                  <a:lnTo>
                    <a:pt x="488" y="357"/>
                  </a:lnTo>
                  <a:lnTo>
                    <a:pt x="486" y="359"/>
                  </a:lnTo>
                  <a:lnTo>
                    <a:pt x="488" y="359"/>
                  </a:lnTo>
                  <a:lnTo>
                    <a:pt x="488" y="361"/>
                  </a:lnTo>
                  <a:lnTo>
                    <a:pt x="489" y="361"/>
                  </a:lnTo>
                  <a:lnTo>
                    <a:pt x="489" y="363"/>
                  </a:lnTo>
                  <a:lnTo>
                    <a:pt x="489" y="361"/>
                  </a:lnTo>
                  <a:lnTo>
                    <a:pt x="491" y="361"/>
                  </a:lnTo>
                  <a:lnTo>
                    <a:pt x="489" y="361"/>
                  </a:lnTo>
                  <a:lnTo>
                    <a:pt x="491" y="361"/>
                  </a:lnTo>
                  <a:lnTo>
                    <a:pt x="491" y="363"/>
                  </a:lnTo>
                  <a:lnTo>
                    <a:pt x="491" y="365"/>
                  </a:lnTo>
                  <a:lnTo>
                    <a:pt x="491" y="367"/>
                  </a:lnTo>
                  <a:lnTo>
                    <a:pt x="489" y="367"/>
                  </a:lnTo>
                  <a:lnTo>
                    <a:pt x="491" y="369"/>
                  </a:lnTo>
                  <a:lnTo>
                    <a:pt x="489" y="369"/>
                  </a:lnTo>
                  <a:lnTo>
                    <a:pt x="489" y="371"/>
                  </a:lnTo>
                  <a:lnTo>
                    <a:pt x="489" y="373"/>
                  </a:lnTo>
                  <a:lnTo>
                    <a:pt x="489" y="375"/>
                  </a:lnTo>
                  <a:lnTo>
                    <a:pt x="491" y="375"/>
                  </a:lnTo>
                  <a:lnTo>
                    <a:pt x="489" y="375"/>
                  </a:lnTo>
                  <a:lnTo>
                    <a:pt x="489" y="373"/>
                  </a:lnTo>
                  <a:lnTo>
                    <a:pt x="488" y="373"/>
                  </a:lnTo>
                  <a:lnTo>
                    <a:pt x="488" y="371"/>
                  </a:lnTo>
                  <a:lnTo>
                    <a:pt x="486" y="371"/>
                  </a:lnTo>
                  <a:lnTo>
                    <a:pt x="486" y="369"/>
                  </a:lnTo>
                  <a:lnTo>
                    <a:pt x="486" y="367"/>
                  </a:lnTo>
                  <a:lnTo>
                    <a:pt x="484" y="365"/>
                  </a:lnTo>
                  <a:lnTo>
                    <a:pt x="484" y="363"/>
                  </a:lnTo>
                  <a:lnTo>
                    <a:pt x="482" y="361"/>
                  </a:lnTo>
                  <a:lnTo>
                    <a:pt x="482" y="363"/>
                  </a:lnTo>
                  <a:lnTo>
                    <a:pt x="480" y="363"/>
                  </a:lnTo>
                  <a:lnTo>
                    <a:pt x="480" y="361"/>
                  </a:lnTo>
                  <a:lnTo>
                    <a:pt x="480" y="363"/>
                  </a:lnTo>
                  <a:lnTo>
                    <a:pt x="478" y="361"/>
                  </a:lnTo>
                  <a:lnTo>
                    <a:pt x="478" y="359"/>
                  </a:lnTo>
                  <a:lnTo>
                    <a:pt x="476" y="359"/>
                  </a:lnTo>
                  <a:lnTo>
                    <a:pt x="478" y="359"/>
                  </a:lnTo>
                  <a:lnTo>
                    <a:pt x="478" y="357"/>
                  </a:lnTo>
                  <a:lnTo>
                    <a:pt x="480" y="357"/>
                  </a:lnTo>
                  <a:lnTo>
                    <a:pt x="480" y="355"/>
                  </a:lnTo>
                  <a:lnTo>
                    <a:pt x="482" y="355"/>
                  </a:lnTo>
                  <a:lnTo>
                    <a:pt x="484" y="355"/>
                  </a:lnTo>
                  <a:lnTo>
                    <a:pt x="484" y="357"/>
                  </a:lnTo>
                  <a:lnTo>
                    <a:pt x="486" y="357"/>
                  </a:lnTo>
                  <a:lnTo>
                    <a:pt x="484" y="355"/>
                  </a:lnTo>
                  <a:lnTo>
                    <a:pt x="484" y="353"/>
                  </a:lnTo>
                  <a:lnTo>
                    <a:pt x="484" y="355"/>
                  </a:lnTo>
                  <a:lnTo>
                    <a:pt x="486" y="355"/>
                  </a:lnTo>
                  <a:lnTo>
                    <a:pt x="488" y="355"/>
                  </a:lnTo>
                  <a:lnTo>
                    <a:pt x="488" y="353"/>
                  </a:lnTo>
                  <a:lnTo>
                    <a:pt x="486" y="353"/>
                  </a:lnTo>
                  <a:lnTo>
                    <a:pt x="486" y="351"/>
                  </a:lnTo>
                  <a:lnTo>
                    <a:pt x="488" y="353"/>
                  </a:lnTo>
                  <a:lnTo>
                    <a:pt x="488" y="351"/>
                  </a:lnTo>
                  <a:lnTo>
                    <a:pt x="486" y="351"/>
                  </a:lnTo>
                  <a:lnTo>
                    <a:pt x="486" y="353"/>
                  </a:lnTo>
                  <a:lnTo>
                    <a:pt x="484" y="353"/>
                  </a:lnTo>
                  <a:lnTo>
                    <a:pt x="484" y="351"/>
                  </a:lnTo>
                  <a:lnTo>
                    <a:pt x="484" y="350"/>
                  </a:lnTo>
                  <a:lnTo>
                    <a:pt x="484" y="348"/>
                  </a:lnTo>
                  <a:lnTo>
                    <a:pt x="482" y="348"/>
                  </a:lnTo>
                  <a:lnTo>
                    <a:pt x="482" y="346"/>
                  </a:lnTo>
                  <a:lnTo>
                    <a:pt x="482" y="348"/>
                  </a:lnTo>
                  <a:lnTo>
                    <a:pt x="480" y="348"/>
                  </a:lnTo>
                  <a:lnTo>
                    <a:pt x="480" y="350"/>
                  </a:lnTo>
                  <a:lnTo>
                    <a:pt x="480" y="351"/>
                  </a:lnTo>
                  <a:lnTo>
                    <a:pt x="480" y="350"/>
                  </a:lnTo>
                  <a:lnTo>
                    <a:pt x="478" y="350"/>
                  </a:lnTo>
                  <a:lnTo>
                    <a:pt x="478" y="348"/>
                  </a:lnTo>
                  <a:lnTo>
                    <a:pt x="478" y="346"/>
                  </a:lnTo>
                  <a:lnTo>
                    <a:pt x="476" y="348"/>
                  </a:lnTo>
                  <a:lnTo>
                    <a:pt x="476" y="350"/>
                  </a:lnTo>
                  <a:lnTo>
                    <a:pt x="478" y="350"/>
                  </a:lnTo>
                  <a:lnTo>
                    <a:pt x="478" y="351"/>
                  </a:lnTo>
                  <a:lnTo>
                    <a:pt x="476" y="350"/>
                  </a:lnTo>
                  <a:lnTo>
                    <a:pt x="476" y="351"/>
                  </a:lnTo>
                  <a:lnTo>
                    <a:pt x="474" y="351"/>
                  </a:lnTo>
                  <a:lnTo>
                    <a:pt x="472" y="351"/>
                  </a:lnTo>
                  <a:lnTo>
                    <a:pt x="470" y="350"/>
                  </a:lnTo>
                  <a:lnTo>
                    <a:pt x="468" y="348"/>
                  </a:lnTo>
                  <a:lnTo>
                    <a:pt x="468" y="346"/>
                  </a:lnTo>
                  <a:lnTo>
                    <a:pt x="466" y="346"/>
                  </a:lnTo>
                  <a:lnTo>
                    <a:pt x="468" y="346"/>
                  </a:lnTo>
                  <a:lnTo>
                    <a:pt x="466" y="344"/>
                  </a:lnTo>
                  <a:lnTo>
                    <a:pt x="466" y="342"/>
                  </a:lnTo>
                  <a:lnTo>
                    <a:pt x="466" y="340"/>
                  </a:lnTo>
                  <a:lnTo>
                    <a:pt x="466" y="338"/>
                  </a:lnTo>
                  <a:lnTo>
                    <a:pt x="466" y="336"/>
                  </a:lnTo>
                  <a:lnTo>
                    <a:pt x="465" y="336"/>
                  </a:lnTo>
                  <a:lnTo>
                    <a:pt x="465" y="334"/>
                  </a:lnTo>
                  <a:lnTo>
                    <a:pt x="466" y="332"/>
                  </a:lnTo>
                  <a:lnTo>
                    <a:pt x="466" y="330"/>
                  </a:lnTo>
                  <a:lnTo>
                    <a:pt x="466" y="328"/>
                  </a:lnTo>
                  <a:lnTo>
                    <a:pt x="466" y="327"/>
                  </a:lnTo>
                  <a:lnTo>
                    <a:pt x="466" y="323"/>
                  </a:lnTo>
                  <a:lnTo>
                    <a:pt x="468" y="323"/>
                  </a:lnTo>
                  <a:lnTo>
                    <a:pt x="468" y="321"/>
                  </a:lnTo>
                  <a:lnTo>
                    <a:pt x="470" y="321"/>
                  </a:lnTo>
                  <a:lnTo>
                    <a:pt x="470" y="319"/>
                  </a:lnTo>
                  <a:lnTo>
                    <a:pt x="472" y="319"/>
                  </a:lnTo>
                  <a:lnTo>
                    <a:pt x="472" y="321"/>
                  </a:lnTo>
                  <a:lnTo>
                    <a:pt x="474" y="321"/>
                  </a:lnTo>
                  <a:lnTo>
                    <a:pt x="476" y="321"/>
                  </a:lnTo>
                  <a:lnTo>
                    <a:pt x="478" y="321"/>
                  </a:lnTo>
                  <a:lnTo>
                    <a:pt x="478" y="323"/>
                  </a:lnTo>
                  <a:lnTo>
                    <a:pt x="476" y="323"/>
                  </a:lnTo>
                  <a:lnTo>
                    <a:pt x="476" y="321"/>
                  </a:lnTo>
                  <a:lnTo>
                    <a:pt x="476" y="323"/>
                  </a:lnTo>
                  <a:lnTo>
                    <a:pt x="478" y="323"/>
                  </a:lnTo>
                  <a:lnTo>
                    <a:pt x="478" y="325"/>
                  </a:lnTo>
                  <a:lnTo>
                    <a:pt x="480" y="325"/>
                  </a:lnTo>
                  <a:lnTo>
                    <a:pt x="480" y="323"/>
                  </a:lnTo>
                  <a:lnTo>
                    <a:pt x="480" y="325"/>
                  </a:lnTo>
                  <a:lnTo>
                    <a:pt x="478" y="323"/>
                  </a:lnTo>
                  <a:lnTo>
                    <a:pt x="480" y="323"/>
                  </a:lnTo>
                  <a:lnTo>
                    <a:pt x="480" y="325"/>
                  </a:lnTo>
                  <a:lnTo>
                    <a:pt x="480" y="323"/>
                  </a:lnTo>
                  <a:lnTo>
                    <a:pt x="480" y="321"/>
                  </a:lnTo>
                  <a:lnTo>
                    <a:pt x="480" y="319"/>
                  </a:lnTo>
                  <a:lnTo>
                    <a:pt x="480" y="321"/>
                  </a:lnTo>
                  <a:lnTo>
                    <a:pt x="482" y="321"/>
                  </a:lnTo>
                  <a:lnTo>
                    <a:pt x="482" y="319"/>
                  </a:lnTo>
                  <a:lnTo>
                    <a:pt x="482" y="317"/>
                  </a:lnTo>
                  <a:lnTo>
                    <a:pt x="482" y="319"/>
                  </a:lnTo>
                  <a:lnTo>
                    <a:pt x="480" y="317"/>
                  </a:lnTo>
                  <a:lnTo>
                    <a:pt x="480" y="315"/>
                  </a:lnTo>
                  <a:lnTo>
                    <a:pt x="480" y="317"/>
                  </a:lnTo>
                  <a:lnTo>
                    <a:pt x="482" y="317"/>
                  </a:lnTo>
                  <a:lnTo>
                    <a:pt x="480" y="317"/>
                  </a:lnTo>
                  <a:lnTo>
                    <a:pt x="480" y="315"/>
                  </a:lnTo>
                  <a:lnTo>
                    <a:pt x="482" y="315"/>
                  </a:lnTo>
                  <a:lnTo>
                    <a:pt x="480" y="315"/>
                  </a:lnTo>
                  <a:lnTo>
                    <a:pt x="482" y="315"/>
                  </a:lnTo>
                  <a:lnTo>
                    <a:pt x="482" y="313"/>
                  </a:lnTo>
                  <a:lnTo>
                    <a:pt x="482" y="315"/>
                  </a:lnTo>
                  <a:lnTo>
                    <a:pt x="482" y="313"/>
                  </a:lnTo>
                  <a:lnTo>
                    <a:pt x="480" y="313"/>
                  </a:lnTo>
                  <a:lnTo>
                    <a:pt x="480" y="315"/>
                  </a:lnTo>
                  <a:lnTo>
                    <a:pt x="480" y="313"/>
                  </a:lnTo>
                  <a:lnTo>
                    <a:pt x="482" y="313"/>
                  </a:lnTo>
                  <a:lnTo>
                    <a:pt x="482" y="315"/>
                  </a:lnTo>
                  <a:lnTo>
                    <a:pt x="484" y="315"/>
                  </a:lnTo>
                  <a:lnTo>
                    <a:pt x="482" y="313"/>
                  </a:lnTo>
                  <a:lnTo>
                    <a:pt x="484" y="313"/>
                  </a:lnTo>
                  <a:lnTo>
                    <a:pt x="484" y="311"/>
                  </a:lnTo>
                  <a:lnTo>
                    <a:pt x="484" y="309"/>
                  </a:lnTo>
                  <a:lnTo>
                    <a:pt x="482" y="309"/>
                  </a:lnTo>
                  <a:lnTo>
                    <a:pt x="484" y="309"/>
                  </a:lnTo>
                  <a:lnTo>
                    <a:pt x="482" y="309"/>
                  </a:lnTo>
                  <a:lnTo>
                    <a:pt x="484" y="309"/>
                  </a:lnTo>
                  <a:lnTo>
                    <a:pt x="484" y="311"/>
                  </a:lnTo>
                  <a:lnTo>
                    <a:pt x="484" y="309"/>
                  </a:lnTo>
                  <a:lnTo>
                    <a:pt x="484" y="307"/>
                  </a:lnTo>
                  <a:lnTo>
                    <a:pt x="484" y="305"/>
                  </a:lnTo>
                  <a:lnTo>
                    <a:pt x="486" y="305"/>
                  </a:lnTo>
                  <a:lnTo>
                    <a:pt x="484" y="305"/>
                  </a:lnTo>
                  <a:lnTo>
                    <a:pt x="486" y="305"/>
                  </a:lnTo>
                  <a:lnTo>
                    <a:pt x="486" y="303"/>
                  </a:lnTo>
                  <a:lnTo>
                    <a:pt x="484" y="303"/>
                  </a:lnTo>
                  <a:lnTo>
                    <a:pt x="484" y="305"/>
                  </a:lnTo>
                  <a:lnTo>
                    <a:pt x="484" y="303"/>
                  </a:lnTo>
                  <a:lnTo>
                    <a:pt x="484" y="305"/>
                  </a:lnTo>
                  <a:lnTo>
                    <a:pt x="484" y="303"/>
                  </a:lnTo>
                  <a:lnTo>
                    <a:pt x="486" y="303"/>
                  </a:lnTo>
                  <a:lnTo>
                    <a:pt x="486" y="302"/>
                  </a:lnTo>
                  <a:lnTo>
                    <a:pt x="488" y="302"/>
                  </a:lnTo>
                  <a:lnTo>
                    <a:pt x="488" y="300"/>
                  </a:lnTo>
                  <a:lnTo>
                    <a:pt x="486" y="300"/>
                  </a:lnTo>
                  <a:lnTo>
                    <a:pt x="484" y="300"/>
                  </a:lnTo>
                  <a:lnTo>
                    <a:pt x="484" y="298"/>
                  </a:lnTo>
                  <a:lnTo>
                    <a:pt x="486" y="298"/>
                  </a:lnTo>
                  <a:lnTo>
                    <a:pt x="486" y="296"/>
                  </a:lnTo>
                  <a:lnTo>
                    <a:pt x="484" y="298"/>
                  </a:lnTo>
                  <a:lnTo>
                    <a:pt x="484" y="296"/>
                  </a:lnTo>
                  <a:lnTo>
                    <a:pt x="486" y="296"/>
                  </a:lnTo>
                  <a:lnTo>
                    <a:pt x="486" y="294"/>
                  </a:lnTo>
                  <a:lnTo>
                    <a:pt x="484" y="294"/>
                  </a:lnTo>
                  <a:lnTo>
                    <a:pt x="482" y="294"/>
                  </a:lnTo>
                  <a:lnTo>
                    <a:pt x="480" y="292"/>
                  </a:lnTo>
                  <a:lnTo>
                    <a:pt x="480" y="290"/>
                  </a:lnTo>
                  <a:lnTo>
                    <a:pt x="480" y="288"/>
                  </a:lnTo>
                  <a:lnTo>
                    <a:pt x="482" y="288"/>
                  </a:lnTo>
                  <a:lnTo>
                    <a:pt x="482" y="284"/>
                  </a:lnTo>
                  <a:lnTo>
                    <a:pt x="484" y="284"/>
                  </a:lnTo>
                  <a:lnTo>
                    <a:pt x="486" y="282"/>
                  </a:lnTo>
                  <a:lnTo>
                    <a:pt x="488" y="282"/>
                  </a:lnTo>
                  <a:lnTo>
                    <a:pt x="489" y="282"/>
                  </a:lnTo>
                  <a:lnTo>
                    <a:pt x="491" y="282"/>
                  </a:lnTo>
                  <a:lnTo>
                    <a:pt x="489" y="280"/>
                  </a:lnTo>
                  <a:lnTo>
                    <a:pt x="489" y="278"/>
                  </a:lnTo>
                  <a:lnTo>
                    <a:pt x="489" y="277"/>
                  </a:lnTo>
                  <a:lnTo>
                    <a:pt x="491" y="277"/>
                  </a:lnTo>
                  <a:lnTo>
                    <a:pt x="491" y="278"/>
                  </a:lnTo>
                  <a:lnTo>
                    <a:pt x="493" y="278"/>
                  </a:lnTo>
                  <a:lnTo>
                    <a:pt x="493" y="277"/>
                  </a:lnTo>
                  <a:lnTo>
                    <a:pt x="491" y="277"/>
                  </a:lnTo>
                  <a:lnTo>
                    <a:pt x="491" y="275"/>
                  </a:lnTo>
                  <a:lnTo>
                    <a:pt x="491" y="273"/>
                  </a:lnTo>
                  <a:lnTo>
                    <a:pt x="489" y="273"/>
                  </a:lnTo>
                  <a:lnTo>
                    <a:pt x="491" y="273"/>
                  </a:lnTo>
                  <a:lnTo>
                    <a:pt x="491" y="271"/>
                  </a:lnTo>
                  <a:lnTo>
                    <a:pt x="491" y="269"/>
                  </a:lnTo>
                  <a:lnTo>
                    <a:pt x="493" y="269"/>
                  </a:lnTo>
                  <a:lnTo>
                    <a:pt x="493" y="267"/>
                  </a:lnTo>
                  <a:lnTo>
                    <a:pt x="493" y="265"/>
                  </a:lnTo>
                  <a:lnTo>
                    <a:pt x="495" y="265"/>
                  </a:lnTo>
                  <a:lnTo>
                    <a:pt x="495" y="267"/>
                  </a:lnTo>
                  <a:lnTo>
                    <a:pt x="497" y="265"/>
                  </a:lnTo>
                  <a:lnTo>
                    <a:pt x="497" y="263"/>
                  </a:lnTo>
                  <a:lnTo>
                    <a:pt x="499" y="263"/>
                  </a:lnTo>
                  <a:lnTo>
                    <a:pt x="501" y="263"/>
                  </a:lnTo>
                  <a:lnTo>
                    <a:pt x="503" y="263"/>
                  </a:lnTo>
                  <a:lnTo>
                    <a:pt x="503" y="265"/>
                  </a:lnTo>
                  <a:lnTo>
                    <a:pt x="505" y="265"/>
                  </a:lnTo>
                  <a:lnTo>
                    <a:pt x="507" y="265"/>
                  </a:lnTo>
                  <a:lnTo>
                    <a:pt x="507" y="263"/>
                  </a:lnTo>
                  <a:lnTo>
                    <a:pt x="509" y="263"/>
                  </a:lnTo>
                  <a:lnTo>
                    <a:pt x="511" y="263"/>
                  </a:lnTo>
                  <a:lnTo>
                    <a:pt x="509" y="263"/>
                  </a:lnTo>
                  <a:lnTo>
                    <a:pt x="509" y="261"/>
                  </a:lnTo>
                  <a:lnTo>
                    <a:pt x="509" y="259"/>
                  </a:lnTo>
                  <a:lnTo>
                    <a:pt x="511" y="259"/>
                  </a:lnTo>
                  <a:lnTo>
                    <a:pt x="511" y="257"/>
                  </a:lnTo>
                  <a:lnTo>
                    <a:pt x="509" y="257"/>
                  </a:lnTo>
                  <a:lnTo>
                    <a:pt x="509" y="259"/>
                  </a:lnTo>
                  <a:lnTo>
                    <a:pt x="507" y="261"/>
                  </a:lnTo>
                  <a:lnTo>
                    <a:pt x="505" y="261"/>
                  </a:lnTo>
                  <a:lnTo>
                    <a:pt x="505" y="259"/>
                  </a:lnTo>
                  <a:lnTo>
                    <a:pt x="503" y="259"/>
                  </a:lnTo>
                  <a:lnTo>
                    <a:pt x="503" y="257"/>
                  </a:lnTo>
                  <a:lnTo>
                    <a:pt x="505" y="257"/>
                  </a:lnTo>
                  <a:lnTo>
                    <a:pt x="507" y="257"/>
                  </a:lnTo>
                  <a:lnTo>
                    <a:pt x="507" y="255"/>
                  </a:lnTo>
                  <a:lnTo>
                    <a:pt x="509" y="255"/>
                  </a:lnTo>
                  <a:lnTo>
                    <a:pt x="509" y="254"/>
                  </a:lnTo>
                  <a:lnTo>
                    <a:pt x="511" y="254"/>
                  </a:lnTo>
                  <a:lnTo>
                    <a:pt x="511" y="252"/>
                  </a:lnTo>
                  <a:lnTo>
                    <a:pt x="509" y="254"/>
                  </a:lnTo>
                  <a:lnTo>
                    <a:pt x="507" y="254"/>
                  </a:lnTo>
                  <a:lnTo>
                    <a:pt x="505" y="254"/>
                  </a:lnTo>
                  <a:lnTo>
                    <a:pt x="507" y="252"/>
                  </a:lnTo>
                  <a:lnTo>
                    <a:pt x="507" y="250"/>
                  </a:lnTo>
                  <a:lnTo>
                    <a:pt x="509" y="250"/>
                  </a:lnTo>
                  <a:lnTo>
                    <a:pt x="509" y="248"/>
                  </a:lnTo>
                  <a:lnTo>
                    <a:pt x="511" y="248"/>
                  </a:lnTo>
                  <a:lnTo>
                    <a:pt x="511" y="246"/>
                  </a:lnTo>
                  <a:lnTo>
                    <a:pt x="513" y="246"/>
                  </a:lnTo>
                  <a:lnTo>
                    <a:pt x="513" y="244"/>
                  </a:lnTo>
                  <a:lnTo>
                    <a:pt x="514" y="244"/>
                  </a:lnTo>
                  <a:lnTo>
                    <a:pt x="516" y="244"/>
                  </a:lnTo>
                  <a:lnTo>
                    <a:pt x="518" y="244"/>
                  </a:lnTo>
                  <a:lnTo>
                    <a:pt x="518" y="242"/>
                  </a:lnTo>
                  <a:lnTo>
                    <a:pt x="516" y="242"/>
                  </a:lnTo>
                  <a:lnTo>
                    <a:pt x="516" y="244"/>
                  </a:lnTo>
                  <a:lnTo>
                    <a:pt x="514" y="244"/>
                  </a:lnTo>
                  <a:lnTo>
                    <a:pt x="514" y="242"/>
                  </a:lnTo>
                  <a:lnTo>
                    <a:pt x="516" y="242"/>
                  </a:lnTo>
                  <a:lnTo>
                    <a:pt x="516" y="240"/>
                  </a:lnTo>
                  <a:lnTo>
                    <a:pt x="514" y="240"/>
                  </a:lnTo>
                  <a:lnTo>
                    <a:pt x="514" y="242"/>
                  </a:lnTo>
                  <a:lnTo>
                    <a:pt x="513" y="242"/>
                  </a:lnTo>
                  <a:lnTo>
                    <a:pt x="511" y="242"/>
                  </a:lnTo>
                  <a:lnTo>
                    <a:pt x="509" y="244"/>
                  </a:lnTo>
                  <a:lnTo>
                    <a:pt x="509" y="246"/>
                  </a:lnTo>
                  <a:lnTo>
                    <a:pt x="507" y="246"/>
                  </a:lnTo>
                  <a:lnTo>
                    <a:pt x="507" y="248"/>
                  </a:lnTo>
                  <a:lnTo>
                    <a:pt x="505" y="248"/>
                  </a:lnTo>
                  <a:lnTo>
                    <a:pt x="505" y="246"/>
                  </a:lnTo>
                  <a:lnTo>
                    <a:pt x="503" y="246"/>
                  </a:lnTo>
                  <a:lnTo>
                    <a:pt x="503" y="244"/>
                  </a:lnTo>
                  <a:lnTo>
                    <a:pt x="501" y="244"/>
                  </a:lnTo>
                  <a:lnTo>
                    <a:pt x="501" y="242"/>
                  </a:lnTo>
                  <a:lnTo>
                    <a:pt x="499" y="242"/>
                  </a:lnTo>
                  <a:lnTo>
                    <a:pt x="499" y="240"/>
                  </a:lnTo>
                  <a:lnTo>
                    <a:pt x="497" y="240"/>
                  </a:lnTo>
                  <a:lnTo>
                    <a:pt x="497" y="238"/>
                  </a:lnTo>
                  <a:lnTo>
                    <a:pt x="497" y="236"/>
                  </a:lnTo>
                  <a:lnTo>
                    <a:pt x="499" y="236"/>
                  </a:lnTo>
                  <a:lnTo>
                    <a:pt x="499" y="238"/>
                  </a:lnTo>
                  <a:lnTo>
                    <a:pt x="501" y="238"/>
                  </a:lnTo>
                  <a:lnTo>
                    <a:pt x="503" y="236"/>
                  </a:lnTo>
                  <a:lnTo>
                    <a:pt x="503" y="234"/>
                  </a:lnTo>
                  <a:lnTo>
                    <a:pt x="505" y="234"/>
                  </a:lnTo>
                  <a:lnTo>
                    <a:pt x="505" y="232"/>
                  </a:lnTo>
                  <a:lnTo>
                    <a:pt x="507" y="232"/>
                  </a:lnTo>
                  <a:lnTo>
                    <a:pt x="507" y="230"/>
                  </a:lnTo>
                  <a:lnTo>
                    <a:pt x="509" y="230"/>
                  </a:lnTo>
                  <a:lnTo>
                    <a:pt x="509" y="229"/>
                  </a:lnTo>
                  <a:lnTo>
                    <a:pt x="511" y="229"/>
                  </a:lnTo>
                  <a:lnTo>
                    <a:pt x="513" y="229"/>
                  </a:lnTo>
                  <a:lnTo>
                    <a:pt x="514" y="229"/>
                  </a:lnTo>
                  <a:lnTo>
                    <a:pt x="516" y="229"/>
                  </a:lnTo>
                  <a:lnTo>
                    <a:pt x="514" y="227"/>
                  </a:lnTo>
                  <a:lnTo>
                    <a:pt x="516" y="227"/>
                  </a:lnTo>
                  <a:lnTo>
                    <a:pt x="514" y="227"/>
                  </a:lnTo>
                  <a:lnTo>
                    <a:pt x="513" y="227"/>
                  </a:lnTo>
                  <a:lnTo>
                    <a:pt x="511" y="227"/>
                  </a:lnTo>
                  <a:lnTo>
                    <a:pt x="511" y="225"/>
                  </a:lnTo>
                  <a:lnTo>
                    <a:pt x="513" y="225"/>
                  </a:lnTo>
                  <a:lnTo>
                    <a:pt x="513" y="223"/>
                  </a:lnTo>
                  <a:lnTo>
                    <a:pt x="514" y="221"/>
                  </a:lnTo>
                  <a:lnTo>
                    <a:pt x="516" y="219"/>
                  </a:lnTo>
                  <a:lnTo>
                    <a:pt x="518" y="217"/>
                  </a:lnTo>
                  <a:lnTo>
                    <a:pt x="518" y="219"/>
                  </a:lnTo>
                  <a:lnTo>
                    <a:pt x="518" y="217"/>
                  </a:lnTo>
                  <a:lnTo>
                    <a:pt x="520" y="217"/>
                  </a:lnTo>
                  <a:lnTo>
                    <a:pt x="522" y="219"/>
                  </a:lnTo>
                  <a:lnTo>
                    <a:pt x="524" y="219"/>
                  </a:lnTo>
                  <a:lnTo>
                    <a:pt x="526" y="219"/>
                  </a:lnTo>
                  <a:lnTo>
                    <a:pt x="526" y="221"/>
                  </a:lnTo>
                  <a:lnTo>
                    <a:pt x="528" y="221"/>
                  </a:lnTo>
                  <a:lnTo>
                    <a:pt x="530" y="221"/>
                  </a:lnTo>
                  <a:lnTo>
                    <a:pt x="530" y="219"/>
                  </a:lnTo>
                  <a:lnTo>
                    <a:pt x="528" y="219"/>
                  </a:lnTo>
                  <a:lnTo>
                    <a:pt x="526" y="219"/>
                  </a:lnTo>
                  <a:lnTo>
                    <a:pt x="528" y="219"/>
                  </a:lnTo>
                  <a:lnTo>
                    <a:pt x="528" y="217"/>
                  </a:lnTo>
                  <a:lnTo>
                    <a:pt x="526" y="217"/>
                  </a:lnTo>
                  <a:lnTo>
                    <a:pt x="526" y="215"/>
                  </a:lnTo>
                  <a:lnTo>
                    <a:pt x="524" y="215"/>
                  </a:lnTo>
                  <a:lnTo>
                    <a:pt x="522" y="215"/>
                  </a:lnTo>
                  <a:lnTo>
                    <a:pt x="522" y="213"/>
                  </a:lnTo>
                  <a:lnTo>
                    <a:pt x="520" y="213"/>
                  </a:lnTo>
                  <a:lnTo>
                    <a:pt x="520" y="215"/>
                  </a:lnTo>
                  <a:lnTo>
                    <a:pt x="520" y="213"/>
                  </a:lnTo>
                  <a:lnTo>
                    <a:pt x="518" y="213"/>
                  </a:lnTo>
                  <a:lnTo>
                    <a:pt x="520" y="213"/>
                  </a:lnTo>
                  <a:lnTo>
                    <a:pt x="518" y="213"/>
                  </a:lnTo>
                  <a:lnTo>
                    <a:pt x="518" y="211"/>
                  </a:lnTo>
                  <a:lnTo>
                    <a:pt x="520" y="211"/>
                  </a:lnTo>
                  <a:lnTo>
                    <a:pt x="520" y="209"/>
                  </a:lnTo>
                  <a:lnTo>
                    <a:pt x="522" y="209"/>
                  </a:lnTo>
                  <a:lnTo>
                    <a:pt x="522" y="211"/>
                  </a:lnTo>
                  <a:lnTo>
                    <a:pt x="520" y="211"/>
                  </a:lnTo>
                  <a:lnTo>
                    <a:pt x="522" y="213"/>
                  </a:lnTo>
                  <a:lnTo>
                    <a:pt x="522" y="211"/>
                  </a:lnTo>
                  <a:lnTo>
                    <a:pt x="524" y="211"/>
                  </a:lnTo>
                  <a:lnTo>
                    <a:pt x="526" y="211"/>
                  </a:lnTo>
                  <a:lnTo>
                    <a:pt x="528" y="211"/>
                  </a:lnTo>
                  <a:lnTo>
                    <a:pt x="528" y="213"/>
                  </a:lnTo>
                  <a:lnTo>
                    <a:pt x="528" y="211"/>
                  </a:lnTo>
                  <a:lnTo>
                    <a:pt x="528" y="209"/>
                  </a:lnTo>
                  <a:lnTo>
                    <a:pt x="526" y="209"/>
                  </a:lnTo>
                  <a:lnTo>
                    <a:pt x="526" y="207"/>
                  </a:lnTo>
                  <a:lnTo>
                    <a:pt x="524" y="207"/>
                  </a:lnTo>
                  <a:lnTo>
                    <a:pt x="522" y="207"/>
                  </a:lnTo>
                  <a:lnTo>
                    <a:pt x="522" y="204"/>
                  </a:lnTo>
                  <a:lnTo>
                    <a:pt x="524" y="204"/>
                  </a:lnTo>
                  <a:lnTo>
                    <a:pt x="526" y="204"/>
                  </a:lnTo>
                  <a:lnTo>
                    <a:pt x="526" y="202"/>
                  </a:lnTo>
                  <a:lnTo>
                    <a:pt x="528" y="204"/>
                  </a:lnTo>
                  <a:lnTo>
                    <a:pt x="528" y="202"/>
                  </a:lnTo>
                  <a:lnTo>
                    <a:pt x="530" y="202"/>
                  </a:lnTo>
                  <a:lnTo>
                    <a:pt x="532" y="202"/>
                  </a:lnTo>
                  <a:lnTo>
                    <a:pt x="534" y="202"/>
                  </a:lnTo>
                  <a:lnTo>
                    <a:pt x="534" y="200"/>
                  </a:lnTo>
                  <a:lnTo>
                    <a:pt x="534" y="202"/>
                  </a:lnTo>
                  <a:lnTo>
                    <a:pt x="536" y="200"/>
                  </a:lnTo>
                  <a:lnTo>
                    <a:pt x="534" y="200"/>
                  </a:lnTo>
                  <a:lnTo>
                    <a:pt x="532" y="200"/>
                  </a:lnTo>
                  <a:lnTo>
                    <a:pt x="532" y="198"/>
                  </a:lnTo>
                  <a:lnTo>
                    <a:pt x="530" y="198"/>
                  </a:lnTo>
                  <a:lnTo>
                    <a:pt x="528" y="198"/>
                  </a:lnTo>
                  <a:lnTo>
                    <a:pt x="528" y="196"/>
                  </a:lnTo>
                  <a:lnTo>
                    <a:pt x="526" y="196"/>
                  </a:lnTo>
                  <a:lnTo>
                    <a:pt x="526" y="194"/>
                  </a:lnTo>
                  <a:lnTo>
                    <a:pt x="526" y="192"/>
                  </a:lnTo>
                  <a:lnTo>
                    <a:pt x="526" y="190"/>
                  </a:lnTo>
                  <a:lnTo>
                    <a:pt x="528" y="190"/>
                  </a:lnTo>
                  <a:lnTo>
                    <a:pt x="530" y="188"/>
                  </a:lnTo>
                  <a:lnTo>
                    <a:pt x="530" y="190"/>
                  </a:lnTo>
                  <a:lnTo>
                    <a:pt x="530" y="188"/>
                  </a:lnTo>
                  <a:lnTo>
                    <a:pt x="532" y="188"/>
                  </a:lnTo>
                  <a:lnTo>
                    <a:pt x="532" y="190"/>
                  </a:lnTo>
                  <a:lnTo>
                    <a:pt x="530" y="190"/>
                  </a:lnTo>
                  <a:lnTo>
                    <a:pt x="532" y="190"/>
                  </a:lnTo>
                  <a:lnTo>
                    <a:pt x="534" y="190"/>
                  </a:lnTo>
                  <a:lnTo>
                    <a:pt x="534" y="188"/>
                  </a:lnTo>
                  <a:lnTo>
                    <a:pt x="536" y="188"/>
                  </a:lnTo>
                  <a:lnTo>
                    <a:pt x="537" y="188"/>
                  </a:lnTo>
                  <a:lnTo>
                    <a:pt x="537" y="186"/>
                  </a:lnTo>
                  <a:lnTo>
                    <a:pt x="537" y="188"/>
                  </a:lnTo>
                  <a:lnTo>
                    <a:pt x="539" y="188"/>
                  </a:lnTo>
                  <a:lnTo>
                    <a:pt x="539" y="190"/>
                  </a:lnTo>
                  <a:lnTo>
                    <a:pt x="541" y="190"/>
                  </a:lnTo>
                  <a:lnTo>
                    <a:pt x="541" y="188"/>
                  </a:lnTo>
                  <a:lnTo>
                    <a:pt x="541" y="186"/>
                  </a:lnTo>
                  <a:lnTo>
                    <a:pt x="539" y="186"/>
                  </a:lnTo>
                  <a:lnTo>
                    <a:pt x="539" y="184"/>
                  </a:lnTo>
                  <a:lnTo>
                    <a:pt x="539" y="182"/>
                  </a:lnTo>
                  <a:lnTo>
                    <a:pt x="537" y="184"/>
                  </a:lnTo>
                  <a:lnTo>
                    <a:pt x="537" y="182"/>
                  </a:lnTo>
                  <a:lnTo>
                    <a:pt x="536" y="182"/>
                  </a:lnTo>
                  <a:lnTo>
                    <a:pt x="536" y="184"/>
                  </a:lnTo>
                  <a:lnTo>
                    <a:pt x="534" y="184"/>
                  </a:lnTo>
                  <a:lnTo>
                    <a:pt x="532" y="184"/>
                  </a:lnTo>
                  <a:lnTo>
                    <a:pt x="530" y="182"/>
                  </a:lnTo>
                  <a:lnTo>
                    <a:pt x="530" y="181"/>
                  </a:lnTo>
                  <a:lnTo>
                    <a:pt x="532" y="181"/>
                  </a:lnTo>
                  <a:lnTo>
                    <a:pt x="534" y="179"/>
                  </a:lnTo>
                  <a:lnTo>
                    <a:pt x="536" y="179"/>
                  </a:lnTo>
                  <a:lnTo>
                    <a:pt x="536" y="177"/>
                  </a:lnTo>
                  <a:lnTo>
                    <a:pt x="537" y="177"/>
                  </a:lnTo>
                  <a:lnTo>
                    <a:pt x="539" y="177"/>
                  </a:lnTo>
                  <a:lnTo>
                    <a:pt x="539" y="175"/>
                  </a:lnTo>
                  <a:lnTo>
                    <a:pt x="541" y="175"/>
                  </a:lnTo>
                  <a:lnTo>
                    <a:pt x="543" y="175"/>
                  </a:lnTo>
                  <a:lnTo>
                    <a:pt x="541" y="175"/>
                  </a:lnTo>
                  <a:lnTo>
                    <a:pt x="541" y="173"/>
                  </a:lnTo>
                  <a:lnTo>
                    <a:pt x="539" y="173"/>
                  </a:lnTo>
                  <a:lnTo>
                    <a:pt x="539" y="175"/>
                  </a:lnTo>
                  <a:lnTo>
                    <a:pt x="537" y="175"/>
                  </a:lnTo>
                  <a:lnTo>
                    <a:pt x="537" y="173"/>
                  </a:lnTo>
                  <a:lnTo>
                    <a:pt x="539" y="173"/>
                  </a:lnTo>
                  <a:lnTo>
                    <a:pt x="537" y="171"/>
                  </a:lnTo>
                  <a:lnTo>
                    <a:pt x="539" y="171"/>
                  </a:lnTo>
                  <a:lnTo>
                    <a:pt x="537" y="171"/>
                  </a:lnTo>
                  <a:lnTo>
                    <a:pt x="537" y="169"/>
                  </a:lnTo>
                  <a:lnTo>
                    <a:pt x="537" y="171"/>
                  </a:lnTo>
                  <a:lnTo>
                    <a:pt x="536" y="171"/>
                  </a:lnTo>
                  <a:lnTo>
                    <a:pt x="534" y="171"/>
                  </a:lnTo>
                  <a:lnTo>
                    <a:pt x="532" y="171"/>
                  </a:lnTo>
                  <a:lnTo>
                    <a:pt x="532" y="169"/>
                  </a:lnTo>
                  <a:lnTo>
                    <a:pt x="532" y="167"/>
                  </a:lnTo>
                  <a:lnTo>
                    <a:pt x="530" y="167"/>
                  </a:lnTo>
                  <a:lnTo>
                    <a:pt x="530" y="165"/>
                  </a:lnTo>
                  <a:lnTo>
                    <a:pt x="530" y="163"/>
                  </a:lnTo>
                  <a:lnTo>
                    <a:pt x="532" y="161"/>
                  </a:lnTo>
                  <a:lnTo>
                    <a:pt x="532" y="159"/>
                  </a:lnTo>
                  <a:lnTo>
                    <a:pt x="534" y="159"/>
                  </a:lnTo>
                  <a:lnTo>
                    <a:pt x="534" y="161"/>
                  </a:lnTo>
                  <a:lnTo>
                    <a:pt x="536" y="161"/>
                  </a:lnTo>
                  <a:lnTo>
                    <a:pt x="534" y="161"/>
                  </a:lnTo>
                  <a:lnTo>
                    <a:pt x="536" y="161"/>
                  </a:lnTo>
                  <a:lnTo>
                    <a:pt x="536" y="163"/>
                  </a:lnTo>
                  <a:lnTo>
                    <a:pt x="536" y="161"/>
                  </a:lnTo>
                  <a:lnTo>
                    <a:pt x="537" y="161"/>
                  </a:lnTo>
                  <a:lnTo>
                    <a:pt x="537" y="163"/>
                  </a:lnTo>
                  <a:lnTo>
                    <a:pt x="537" y="165"/>
                  </a:lnTo>
                  <a:lnTo>
                    <a:pt x="539" y="167"/>
                  </a:lnTo>
                  <a:lnTo>
                    <a:pt x="539" y="169"/>
                  </a:lnTo>
                  <a:lnTo>
                    <a:pt x="539" y="167"/>
                  </a:lnTo>
                  <a:lnTo>
                    <a:pt x="541" y="167"/>
                  </a:lnTo>
                  <a:lnTo>
                    <a:pt x="541" y="165"/>
                  </a:lnTo>
                  <a:lnTo>
                    <a:pt x="541" y="163"/>
                  </a:lnTo>
                  <a:lnTo>
                    <a:pt x="543" y="163"/>
                  </a:lnTo>
                  <a:lnTo>
                    <a:pt x="543" y="161"/>
                  </a:lnTo>
                  <a:lnTo>
                    <a:pt x="543" y="163"/>
                  </a:lnTo>
                  <a:lnTo>
                    <a:pt x="543" y="161"/>
                  </a:lnTo>
                  <a:lnTo>
                    <a:pt x="543" y="159"/>
                  </a:lnTo>
                  <a:lnTo>
                    <a:pt x="545" y="159"/>
                  </a:lnTo>
                  <a:lnTo>
                    <a:pt x="545" y="157"/>
                  </a:lnTo>
                  <a:lnTo>
                    <a:pt x="547" y="156"/>
                  </a:lnTo>
                  <a:lnTo>
                    <a:pt x="545" y="156"/>
                  </a:lnTo>
                  <a:lnTo>
                    <a:pt x="543" y="156"/>
                  </a:lnTo>
                  <a:lnTo>
                    <a:pt x="543" y="154"/>
                  </a:lnTo>
                  <a:lnTo>
                    <a:pt x="545" y="152"/>
                  </a:lnTo>
                  <a:lnTo>
                    <a:pt x="547" y="150"/>
                  </a:lnTo>
                  <a:lnTo>
                    <a:pt x="549" y="150"/>
                  </a:lnTo>
                  <a:lnTo>
                    <a:pt x="551" y="150"/>
                  </a:lnTo>
                  <a:lnTo>
                    <a:pt x="553" y="150"/>
                  </a:lnTo>
                  <a:lnTo>
                    <a:pt x="553" y="152"/>
                  </a:lnTo>
                  <a:lnTo>
                    <a:pt x="555" y="154"/>
                  </a:lnTo>
                  <a:lnTo>
                    <a:pt x="557" y="154"/>
                  </a:lnTo>
                  <a:lnTo>
                    <a:pt x="559" y="154"/>
                  </a:lnTo>
                  <a:lnTo>
                    <a:pt x="560" y="154"/>
                  </a:lnTo>
                  <a:lnTo>
                    <a:pt x="559" y="152"/>
                  </a:lnTo>
                  <a:lnTo>
                    <a:pt x="557" y="152"/>
                  </a:lnTo>
                  <a:lnTo>
                    <a:pt x="557" y="150"/>
                  </a:lnTo>
                  <a:lnTo>
                    <a:pt x="557" y="148"/>
                  </a:lnTo>
                  <a:lnTo>
                    <a:pt x="557" y="146"/>
                  </a:lnTo>
                  <a:lnTo>
                    <a:pt x="555" y="146"/>
                  </a:lnTo>
                  <a:lnTo>
                    <a:pt x="555" y="144"/>
                  </a:lnTo>
                  <a:lnTo>
                    <a:pt x="555" y="142"/>
                  </a:lnTo>
                  <a:lnTo>
                    <a:pt x="557" y="142"/>
                  </a:lnTo>
                  <a:lnTo>
                    <a:pt x="557" y="140"/>
                  </a:lnTo>
                  <a:lnTo>
                    <a:pt x="559" y="140"/>
                  </a:lnTo>
                  <a:lnTo>
                    <a:pt x="560" y="140"/>
                  </a:lnTo>
                  <a:lnTo>
                    <a:pt x="560" y="138"/>
                  </a:lnTo>
                  <a:lnTo>
                    <a:pt x="562" y="138"/>
                  </a:lnTo>
                  <a:lnTo>
                    <a:pt x="564" y="136"/>
                  </a:lnTo>
                  <a:lnTo>
                    <a:pt x="564" y="134"/>
                  </a:lnTo>
                  <a:lnTo>
                    <a:pt x="562" y="136"/>
                  </a:lnTo>
                  <a:lnTo>
                    <a:pt x="560" y="134"/>
                  </a:lnTo>
                  <a:lnTo>
                    <a:pt x="562" y="133"/>
                  </a:lnTo>
                  <a:lnTo>
                    <a:pt x="564" y="133"/>
                  </a:lnTo>
                  <a:lnTo>
                    <a:pt x="566" y="131"/>
                  </a:lnTo>
                  <a:lnTo>
                    <a:pt x="568" y="131"/>
                  </a:lnTo>
                  <a:lnTo>
                    <a:pt x="570" y="131"/>
                  </a:lnTo>
                  <a:lnTo>
                    <a:pt x="570" y="129"/>
                  </a:lnTo>
                  <a:lnTo>
                    <a:pt x="572" y="129"/>
                  </a:lnTo>
                  <a:lnTo>
                    <a:pt x="570" y="127"/>
                  </a:lnTo>
                  <a:lnTo>
                    <a:pt x="570" y="125"/>
                  </a:lnTo>
                  <a:lnTo>
                    <a:pt x="572" y="125"/>
                  </a:lnTo>
                  <a:lnTo>
                    <a:pt x="572" y="123"/>
                  </a:lnTo>
                  <a:lnTo>
                    <a:pt x="574" y="123"/>
                  </a:lnTo>
                  <a:lnTo>
                    <a:pt x="574" y="121"/>
                  </a:lnTo>
                  <a:lnTo>
                    <a:pt x="576" y="121"/>
                  </a:lnTo>
                  <a:lnTo>
                    <a:pt x="578" y="121"/>
                  </a:lnTo>
                  <a:lnTo>
                    <a:pt x="578" y="123"/>
                  </a:lnTo>
                  <a:lnTo>
                    <a:pt x="578" y="121"/>
                  </a:lnTo>
                  <a:lnTo>
                    <a:pt x="578" y="119"/>
                  </a:lnTo>
                  <a:lnTo>
                    <a:pt x="576" y="119"/>
                  </a:lnTo>
                  <a:lnTo>
                    <a:pt x="578" y="119"/>
                  </a:lnTo>
                  <a:lnTo>
                    <a:pt x="578" y="117"/>
                  </a:lnTo>
                  <a:lnTo>
                    <a:pt x="580" y="119"/>
                  </a:lnTo>
                  <a:lnTo>
                    <a:pt x="580" y="121"/>
                  </a:lnTo>
                  <a:lnTo>
                    <a:pt x="580" y="119"/>
                  </a:lnTo>
                  <a:lnTo>
                    <a:pt x="582" y="119"/>
                  </a:lnTo>
                  <a:lnTo>
                    <a:pt x="582" y="117"/>
                  </a:lnTo>
                  <a:lnTo>
                    <a:pt x="584" y="117"/>
                  </a:lnTo>
                  <a:lnTo>
                    <a:pt x="585" y="117"/>
                  </a:lnTo>
                  <a:lnTo>
                    <a:pt x="587" y="119"/>
                  </a:lnTo>
                  <a:lnTo>
                    <a:pt x="587" y="117"/>
                  </a:lnTo>
                  <a:lnTo>
                    <a:pt x="589" y="117"/>
                  </a:lnTo>
                  <a:lnTo>
                    <a:pt x="591" y="115"/>
                  </a:lnTo>
                  <a:lnTo>
                    <a:pt x="589" y="115"/>
                  </a:lnTo>
                  <a:lnTo>
                    <a:pt x="591" y="115"/>
                  </a:lnTo>
                  <a:lnTo>
                    <a:pt x="593" y="115"/>
                  </a:lnTo>
                  <a:lnTo>
                    <a:pt x="595" y="113"/>
                  </a:lnTo>
                  <a:lnTo>
                    <a:pt x="593" y="111"/>
                  </a:lnTo>
                  <a:lnTo>
                    <a:pt x="591" y="111"/>
                  </a:lnTo>
                  <a:lnTo>
                    <a:pt x="591" y="109"/>
                  </a:lnTo>
                  <a:lnTo>
                    <a:pt x="593" y="109"/>
                  </a:lnTo>
                  <a:lnTo>
                    <a:pt x="593" y="108"/>
                  </a:lnTo>
                  <a:lnTo>
                    <a:pt x="591" y="108"/>
                  </a:lnTo>
                  <a:lnTo>
                    <a:pt x="591" y="106"/>
                  </a:lnTo>
                  <a:lnTo>
                    <a:pt x="589" y="108"/>
                  </a:lnTo>
                  <a:lnTo>
                    <a:pt x="589" y="106"/>
                  </a:lnTo>
                  <a:lnTo>
                    <a:pt x="591" y="106"/>
                  </a:lnTo>
                  <a:lnTo>
                    <a:pt x="591" y="104"/>
                  </a:lnTo>
                  <a:lnTo>
                    <a:pt x="593" y="104"/>
                  </a:lnTo>
                  <a:lnTo>
                    <a:pt x="595" y="104"/>
                  </a:lnTo>
                  <a:lnTo>
                    <a:pt x="595" y="102"/>
                  </a:lnTo>
                  <a:lnTo>
                    <a:pt x="597" y="102"/>
                  </a:lnTo>
                  <a:lnTo>
                    <a:pt x="597" y="104"/>
                  </a:lnTo>
                  <a:lnTo>
                    <a:pt x="595" y="104"/>
                  </a:lnTo>
                  <a:lnTo>
                    <a:pt x="595" y="106"/>
                  </a:lnTo>
                  <a:lnTo>
                    <a:pt x="595" y="108"/>
                  </a:lnTo>
                  <a:lnTo>
                    <a:pt x="595" y="106"/>
                  </a:lnTo>
                  <a:lnTo>
                    <a:pt x="597" y="106"/>
                  </a:lnTo>
                  <a:lnTo>
                    <a:pt x="599" y="106"/>
                  </a:lnTo>
                  <a:lnTo>
                    <a:pt x="601" y="106"/>
                  </a:lnTo>
                  <a:lnTo>
                    <a:pt x="603" y="106"/>
                  </a:lnTo>
                  <a:lnTo>
                    <a:pt x="601" y="108"/>
                  </a:lnTo>
                  <a:lnTo>
                    <a:pt x="599" y="109"/>
                  </a:lnTo>
                  <a:lnTo>
                    <a:pt x="599" y="111"/>
                  </a:lnTo>
                  <a:lnTo>
                    <a:pt x="597" y="111"/>
                  </a:lnTo>
                  <a:lnTo>
                    <a:pt x="597" y="113"/>
                  </a:lnTo>
                  <a:lnTo>
                    <a:pt x="599" y="113"/>
                  </a:lnTo>
                  <a:lnTo>
                    <a:pt x="601" y="113"/>
                  </a:lnTo>
                  <a:lnTo>
                    <a:pt x="603" y="113"/>
                  </a:lnTo>
                  <a:lnTo>
                    <a:pt x="603" y="111"/>
                  </a:lnTo>
                  <a:lnTo>
                    <a:pt x="603" y="109"/>
                  </a:lnTo>
                  <a:lnTo>
                    <a:pt x="605" y="109"/>
                  </a:lnTo>
                  <a:lnTo>
                    <a:pt x="607" y="109"/>
                  </a:lnTo>
                  <a:lnTo>
                    <a:pt x="607" y="108"/>
                  </a:lnTo>
                  <a:lnTo>
                    <a:pt x="608" y="106"/>
                  </a:lnTo>
                  <a:lnTo>
                    <a:pt x="607" y="104"/>
                  </a:lnTo>
                  <a:lnTo>
                    <a:pt x="605" y="104"/>
                  </a:lnTo>
                  <a:lnTo>
                    <a:pt x="605" y="106"/>
                  </a:lnTo>
                  <a:lnTo>
                    <a:pt x="605" y="104"/>
                  </a:lnTo>
                  <a:lnTo>
                    <a:pt x="605" y="102"/>
                  </a:lnTo>
                  <a:lnTo>
                    <a:pt x="605" y="100"/>
                  </a:lnTo>
                  <a:lnTo>
                    <a:pt x="605" y="98"/>
                  </a:lnTo>
                  <a:lnTo>
                    <a:pt x="607" y="96"/>
                  </a:lnTo>
                  <a:lnTo>
                    <a:pt x="608" y="96"/>
                  </a:lnTo>
                  <a:lnTo>
                    <a:pt x="607" y="96"/>
                  </a:lnTo>
                  <a:lnTo>
                    <a:pt x="608" y="98"/>
                  </a:lnTo>
                  <a:lnTo>
                    <a:pt x="608" y="96"/>
                  </a:lnTo>
                  <a:lnTo>
                    <a:pt x="610" y="96"/>
                  </a:lnTo>
                  <a:lnTo>
                    <a:pt x="612" y="96"/>
                  </a:lnTo>
                  <a:lnTo>
                    <a:pt x="614" y="96"/>
                  </a:lnTo>
                  <a:lnTo>
                    <a:pt x="614" y="94"/>
                  </a:lnTo>
                  <a:lnTo>
                    <a:pt x="616" y="94"/>
                  </a:lnTo>
                  <a:lnTo>
                    <a:pt x="616" y="96"/>
                  </a:lnTo>
                  <a:lnTo>
                    <a:pt x="618" y="96"/>
                  </a:lnTo>
                  <a:lnTo>
                    <a:pt x="618" y="94"/>
                  </a:lnTo>
                  <a:lnTo>
                    <a:pt x="618" y="96"/>
                  </a:lnTo>
                  <a:lnTo>
                    <a:pt x="620" y="96"/>
                  </a:lnTo>
                  <a:lnTo>
                    <a:pt x="620" y="98"/>
                  </a:lnTo>
                  <a:lnTo>
                    <a:pt x="622" y="98"/>
                  </a:lnTo>
                  <a:lnTo>
                    <a:pt x="622" y="96"/>
                  </a:lnTo>
                  <a:lnTo>
                    <a:pt x="624" y="98"/>
                  </a:lnTo>
                  <a:lnTo>
                    <a:pt x="624" y="96"/>
                  </a:lnTo>
                  <a:lnTo>
                    <a:pt x="626" y="96"/>
                  </a:lnTo>
                  <a:lnTo>
                    <a:pt x="626" y="98"/>
                  </a:lnTo>
                  <a:lnTo>
                    <a:pt x="626" y="100"/>
                  </a:lnTo>
                  <a:lnTo>
                    <a:pt x="626" y="102"/>
                  </a:lnTo>
                  <a:lnTo>
                    <a:pt x="628" y="102"/>
                  </a:lnTo>
                  <a:lnTo>
                    <a:pt x="628" y="100"/>
                  </a:lnTo>
                  <a:lnTo>
                    <a:pt x="630" y="100"/>
                  </a:lnTo>
                  <a:lnTo>
                    <a:pt x="630" y="98"/>
                  </a:lnTo>
                  <a:lnTo>
                    <a:pt x="632" y="98"/>
                  </a:lnTo>
                  <a:lnTo>
                    <a:pt x="630" y="98"/>
                  </a:lnTo>
                  <a:lnTo>
                    <a:pt x="632" y="98"/>
                  </a:lnTo>
                  <a:lnTo>
                    <a:pt x="632" y="96"/>
                  </a:lnTo>
                  <a:lnTo>
                    <a:pt x="632" y="98"/>
                  </a:lnTo>
                  <a:lnTo>
                    <a:pt x="632" y="100"/>
                  </a:lnTo>
                  <a:lnTo>
                    <a:pt x="633" y="98"/>
                  </a:lnTo>
                  <a:lnTo>
                    <a:pt x="633" y="100"/>
                  </a:lnTo>
                  <a:lnTo>
                    <a:pt x="635" y="100"/>
                  </a:lnTo>
                  <a:lnTo>
                    <a:pt x="637" y="100"/>
                  </a:lnTo>
                  <a:lnTo>
                    <a:pt x="637" y="98"/>
                  </a:lnTo>
                  <a:lnTo>
                    <a:pt x="639" y="98"/>
                  </a:lnTo>
                  <a:lnTo>
                    <a:pt x="639" y="96"/>
                  </a:lnTo>
                  <a:lnTo>
                    <a:pt x="641" y="96"/>
                  </a:lnTo>
                  <a:lnTo>
                    <a:pt x="643" y="96"/>
                  </a:lnTo>
                  <a:lnTo>
                    <a:pt x="643" y="94"/>
                  </a:lnTo>
                  <a:lnTo>
                    <a:pt x="641" y="94"/>
                  </a:lnTo>
                  <a:lnTo>
                    <a:pt x="643" y="94"/>
                  </a:lnTo>
                  <a:lnTo>
                    <a:pt x="645" y="92"/>
                  </a:lnTo>
                  <a:lnTo>
                    <a:pt x="647" y="92"/>
                  </a:lnTo>
                  <a:lnTo>
                    <a:pt x="649" y="94"/>
                  </a:lnTo>
                  <a:lnTo>
                    <a:pt x="651" y="94"/>
                  </a:lnTo>
                  <a:lnTo>
                    <a:pt x="653" y="92"/>
                  </a:lnTo>
                  <a:lnTo>
                    <a:pt x="655" y="90"/>
                  </a:lnTo>
                  <a:lnTo>
                    <a:pt x="655" y="92"/>
                  </a:lnTo>
                  <a:lnTo>
                    <a:pt x="656" y="90"/>
                  </a:lnTo>
                  <a:lnTo>
                    <a:pt x="656" y="88"/>
                  </a:lnTo>
                  <a:lnTo>
                    <a:pt x="656" y="90"/>
                  </a:lnTo>
                  <a:lnTo>
                    <a:pt x="658" y="90"/>
                  </a:lnTo>
                  <a:lnTo>
                    <a:pt x="660" y="92"/>
                  </a:lnTo>
                  <a:lnTo>
                    <a:pt x="660" y="90"/>
                  </a:lnTo>
                  <a:lnTo>
                    <a:pt x="658" y="90"/>
                  </a:lnTo>
                  <a:lnTo>
                    <a:pt x="658" y="88"/>
                  </a:lnTo>
                  <a:lnTo>
                    <a:pt x="658" y="86"/>
                  </a:lnTo>
                  <a:lnTo>
                    <a:pt x="660" y="86"/>
                  </a:lnTo>
                  <a:lnTo>
                    <a:pt x="660" y="84"/>
                  </a:lnTo>
                  <a:lnTo>
                    <a:pt x="660" y="83"/>
                  </a:lnTo>
                  <a:lnTo>
                    <a:pt x="662" y="83"/>
                  </a:lnTo>
                  <a:lnTo>
                    <a:pt x="664" y="83"/>
                  </a:lnTo>
                  <a:lnTo>
                    <a:pt x="664" y="84"/>
                  </a:lnTo>
                  <a:lnTo>
                    <a:pt x="666" y="84"/>
                  </a:lnTo>
                  <a:lnTo>
                    <a:pt x="668" y="84"/>
                  </a:lnTo>
                  <a:lnTo>
                    <a:pt x="666" y="83"/>
                  </a:lnTo>
                  <a:lnTo>
                    <a:pt x="668" y="83"/>
                  </a:lnTo>
                  <a:lnTo>
                    <a:pt x="670" y="81"/>
                  </a:lnTo>
                  <a:lnTo>
                    <a:pt x="670" y="79"/>
                  </a:lnTo>
                  <a:lnTo>
                    <a:pt x="670" y="77"/>
                  </a:lnTo>
                  <a:lnTo>
                    <a:pt x="672" y="77"/>
                  </a:lnTo>
                  <a:lnTo>
                    <a:pt x="672" y="79"/>
                  </a:lnTo>
                  <a:lnTo>
                    <a:pt x="676" y="81"/>
                  </a:lnTo>
                  <a:lnTo>
                    <a:pt x="678" y="81"/>
                  </a:lnTo>
                  <a:lnTo>
                    <a:pt x="679" y="81"/>
                  </a:lnTo>
                  <a:lnTo>
                    <a:pt x="678" y="79"/>
                  </a:lnTo>
                  <a:lnTo>
                    <a:pt x="678" y="77"/>
                  </a:lnTo>
                  <a:lnTo>
                    <a:pt x="678" y="75"/>
                  </a:lnTo>
                  <a:lnTo>
                    <a:pt x="678" y="73"/>
                  </a:lnTo>
                  <a:lnTo>
                    <a:pt x="676" y="73"/>
                  </a:lnTo>
                  <a:lnTo>
                    <a:pt x="676" y="71"/>
                  </a:lnTo>
                  <a:lnTo>
                    <a:pt x="676" y="69"/>
                  </a:lnTo>
                  <a:lnTo>
                    <a:pt x="678" y="67"/>
                  </a:lnTo>
                  <a:lnTo>
                    <a:pt x="679" y="65"/>
                  </a:lnTo>
                  <a:lnTo>
                    <a:pt x="679" y="67"/>
                  </a:lnTo>
                  <a:lnTo>
                    <a:pt x="681" y="65"/>
                  </a:lnTo>
                  <a:lnTo>
                    <a:pt x="681" y="63"/>
                  </a:lnTo>
                  <a:lnTo>
                    <a:pt x="683" y="63"/>
                  </a:lnTo>
                  <a:lnTo>
                    <a:pt x="683" y="61"/>
                  </a:lnTo>
                  <a:lnTo>
                    <a:pt x="685" y="61"/>
                  </a:lnTo>
                  <a:lnTo>
                    <a:pt x="685" y="60"/>
                  </a:lnTo>
                  <a:lnTo>
                    <a:pt x="687" y="60"/>
                  </a:lnTo>
                  <a:lnTo>
                    <a:pt x="689" y="60"/>
                  </a:lnTo>
                  <a:lnTo>
                    <a:pt x="689" y="58"/>
                  </a:lnTo>
                  <a:lnTo>
                    <a:pt x="691" y="58"/>
                  </a:lnTo>
                  <a:lnTo>
                    <a:pt x="691" y="56"/>
                  </a:lnTo>
                  <a:lnTo>
                    <a:pt x="693" y="56"/>
                  </a:lnTo>
                  <a:lnTo>
                    <a:pt x="693" y="54"/>
                  </a:lnTo>
                  <a:lnTo>
                    <a:pt x="695" y="54"/>
                  </a:lnTo>
                  <a:lnTo>
                    <a:pt x="697" y="54"/>
                  </a:lnTo>
                  <a:lnTo>
                    <a:pt x="699" y="52"/>
                  </a:lnTo>
                  <a:lnTo>
                    <a:pt x="701" y="50"/>
                  </a:lnTo>
                  <a:lnTo>
                    <a:pt x="703" y="50"/>
                  </a:lnTo>
                  <a:lnTo>
                    <a:pt x="704" y="50"/>
                  </a:lnTo>
                  <a:close/>
                  <a:moveTo>
                    <a:pt x="2351" y="463"/>
                  </a:moveTo>
                  <a:lnTo>
                    <a:pt x="2351" y="461"/>
                  </a:lnTo>
                  <a:lnTo>
                    <a:pt x="2353" y="461"/>
                  </a:lnTo>
                  <a:lnTo>
                    <a:pt x="2353" y="463"/>
                  </a:lnTo>
                  <a:lnTo>
                    <a:pt x="2355" y="463"/>
                  </a:lnTo>
                  <a:lnTo>
                    <a:pt x="2357" y="465"/>
                  </a:lnTo>
                  <a:lnTo>
                    <a:pt x="2359" y="465"/>
                  </a:lnTo>
                  <a:lnTo>
                    <a:pt x="2359" y="467"/>
                  </a:lnTo>
                  <a:lnTo>
                    <a:pt x="2361" y="467"/>
                  </a:lnTo>
                  <a:lnTo>
                    <a:pt x="2363" y="467"/>
                  </a:lnTo>
                  <a:lnTo>
                    <a:pt x="2363" y="469"/>
                  </a:lnTo>
                  <a:lnTo>
                    <a:pt x="2365" y="469"/>
                  </a:lnTo>
                  <a:lnTo>
                    <a:pt x="2365" y="471"/>
                  </a:lnTo>
                  <a:lnTo>
                    <a:pt x="2367" y="474"/>
                  </a:lnTo>
                  <a:lnTo>
                    <a:pt x="2368" y="474"/>
                  </a:lnTo>
                  <a:lnTo>
                    <a:pt x="2368" y="476"/>
                  </a:lnTo>
                  <a:lnTo>
                    <a:pt x="2370" y="476"/>
                  </a:lnTo>
                  <a:lnTo>
                    <a:pt x="2372" y="478"/>
                  </a:lnTo>
                  <a:lnTo>
                    <a:pt x="2374" y="480"/>
                  </a:lnTo>
                  <a:lnTo>
                    <a:pt x="2376" y="480"/>
                  </a:lnTo>
                  <a:lnTo>
                    <a:pt x="2376" y="482"/>
                  </a:lnTo>
                  <a:lnTo>
                    <a:pt x="2378" y="484"/>
                  </a:lnTo>
                  <a:lnTo>
                    <a:pt x="2380" y="486"/>
                  </a:lnTo>
                  <a:lnTo>
                    <a:pt x="2382" y="486"/>
                  </a:lnTo>
                  <a:lnTo>
                    <a:pt x="2382" y="488"/>
                  </a:lnTo>
                  <a:lnTo>
                    <a:pt x="2384" y="488"/>
                  </a:lnTo>
                  <a:lnTo>
                    <a:pt x="2386" y="490"/>
                  </a:lnTo>
                  <a:lnTo>
                    <a:pt x="2388" y="490"/>
                  </a:lnTo>
                  <a:lnTo>
                    <a:pt x="2388" y="492"/>
                  </a:lnTo>
                  <a:lnTo>
                    <a:pt x="2390" y="494"/>
                  </a:lnTo>
                  <a:lnTo>
                    <a:pt x="2392" y="494"/>
                  </a:lnTo>
                  <a:lnTo>
                    <a:pt x="2393" y="494"/>
                  </a:lnTo>
                  <a:lnTo>
                    <a:pt x="2393" y="496"/>
                  </a:lnTo>
                  <a:lnTo>
                    <a:pt x="2395" y="496"/>
                  </a:lnTo>
                  <a:lnTo>
                    <a:pt x="2395" y="497"/>
                  </a:lnTo>
                  <a:lnTo>
                    <a:pt x="2397" y="497"/>
                  </a:lnTo>
                  <a:lnTo>
                    <a:pt x="2397" y="499"/>
                  </a:lnTo>
                  <a:lnTo>
                    <a:pt x="2399" y="499"/>
                  </a:lnTo>
                  <a:lnTo>
                    <a:pt x="2401" y="501"/>
                  </a:lnTo>
                  <a:lnTo>
                    <a:pt x="2403" y="503"/>
                  </a:lnTo>
                  <a:lnTo>
                    <a:pt x="2405" y="503"/>
                  </a:lnTo>
                  <a:lnTo>
                    <a:pt x="2407" y="503"/>
                  </a:lnTo>
                  <a:lnTo>
                    <a:pt x="2407" y="505"/>
                  </a:lnTo>
                  <a:lnTo>
                    <a:pt x="2409" y="507"/>
                  </a:lnTo>
                  <a:lnTo>
                    <a:pt x="2411" y="509"/>
                  </a:lnTo>
                  <a:lnTo>
                    <a:pt x="2413" y="509"/>
                  </a:lnTo>
                  <a:lnTo>
                    <a:pt x="2415" y="511"/>
                  </a:lnTo>
                  <a:lnTo>
                    <a:pt x="2415" y="513"/>
                  </a:lnTo>
                  <a:lnTo>
                    <a:pt x="2415" y="515"/>
                  </a:lnTo>
                  <a:lnTo>
                    <a:pt x="2416" y="517"/>
                  </a:lnTo>
                  <a:lnTo>
                    <a:pt x="2416" y="519"/>
                  </a:lnTo>
                  <a:lnTo>
                    <a:pt x="2418" y="519"/>
                  </a:lnTo>
                  <a:lnTo>
                    <a:pt x="2420" y="521"/>
                  </a:lnTo>
                  <a:lnTo>
                    <a:pt x="2422" y="522"/>
                  </a:lnTo>
                  <a:lnTo>
                    <a:pt x="2422" y="524"/>
                  </a:lnTo>
                  <a:lnTo>
                    <a:pt x="2422" y="526"/>
                  </a:lnTo>
                  <a:lnTo>
                    <a:pt x="2422" y="524"/>
                  </a:lnTo>
                  <a:lnTo>
                    <a:pt x="2420" y="524"/>
                  </a:lnTo>
                  <a:lnTo>
                    <a:pt x="2420" y="526"/>
                  </a:lnTo>
                  <a:lnTo>
                    <a:pt x="2420" y="528"/>
                  </a:lnTo>
                  <a:lnTo>
                    <a:pt x="2420" y="530"/>
                  </a:lnTo>
                  <a:lnTo>
                    <a:pt x="2420" y="532"/>
                  </a:lnTo>
                  <a:lnTo>
                    <a:pt x="2420" y="534"/>
                  </a:lnTo>
                  <a:lnTo>
                    <a:pt x="2420" y="536"/>
                  </a:lnTo>
                  <a:lnTo>
                    <a:pt x="2422" y="538"/>
                  </a:lnTo>
                  <a:lnTo>
                    <a:pt x="2422" y="540"/>
                  </a:lnTo>
                  <a:lnTo>
                    <a:pt x="2424" y="540"/>
                  </a:lnTo>
                  <a:lnTo>
                    <a:pt x="2422" y="540"/>
                  </a:lnTo>
                  <a:lnTo>
                    <a:pt x="2422" y="542"/>
                  </a:lnTo>
                  <a:lnTo>
                    <a:pt x="2422" y="544"/>
                  </a:lnTo>
                  <a:lnTo>
                    <a:pt x="2422" y="545"/>
                  </a:lnTo>
                  <a:lnTo>
                    <a:pt x="2422" y="547"/>
                  </a:lnTo>
                  <a:lnTo>
                    <a:pt x="2422" y="545"/>
                  </a:lnTo>
                  <a:lnTo>
                    <a:pt x="2420" y="545"/>
                  </a:lnTo>
                  <a:lnTo>
                    <a:pt x="2420" y="547"/>
                  </a:lnTo>
                  <a:lnTo>
                    <a:pt x="2420" y="549"/>
                  </a:lnTo>
                  <a:lnTo>
                    <a:pt x="2420" y="551"/>
                  </a:lnTo>
                  <a:lnTo>
                    <a:pt x="2422" y="551"/>
                  </a:lnTo>
                  <a:lnTo>
                    <a:pt x="2424" y="551"/>
                  </a:lnTo>
                  <a:lnTo>
                    <a:pt x="2426" y="553"/>
                  </a:lnTo>
                  <a:lnTo>
                    <a:pt x="2428" y="553"/>
                  </a:lnTo>
                  <a:lnTo>
                    <a:pt x="2428" y="555"/>
                  </a:lnTo>
                  <a:lnTo>
                    <a:pt x="2426" y="555"/>
                  </a:lnTo>
                  <a:lnTo>
                    <a:pt x="2426" y="557"/>
                  </a:lnTo>
                  <a:lnTo>
                    <a:pt x="2426" y="559"/>
                  </a:lnTo>
                  <a:lnTo>
                    <a:pt x="2428" y="559"/>
                  </a:lnTo>
                  <a:lnTo>
                    <a:pt x="2428" y="561"/>
                  </a:lnTo>
                  <a:lnTo>
                    <a:pt x="2430" y="561"/>
                  </a:lnTo>
                  <a:lnTo>
                    <a:pt x="2430" y="559"/>
                  </a:lnTo>
                  <a:lnTo>
                    <a:pt x="2432" y="559"/>
                  </a:lnTo>
                  <a:lnTo>
                    <a:pt x="2432" y="557"/>
                  </a:lnTo>
                  <a:lnTo>
                    <a:pt x="2430" y="557"/>
                  </a:lnTo>
                  <a:lnTo>
                    <a:pt x="2430" y="555"/>
                  </a:lnTo>
                  <a:lnTo>
                    <a:pt x="2432" y="557"/>
                  </a:lnTo>
                  <a:lnTo>
                    <a:pt x="2432" y="555"/>
                  </a:lnTo>
                  <a:lnTo>
                    <a:pt x="2434" y="555"/>
                  </a:lnTo>
                  <a:lnTo>
                    <a:pt x="2434" y="557"/>
                  </a:lnTo>
                  <a:lnTo>
                    <a:pt x="2434" y="559"/>
                  </a:lnTo>
                  <a:lnTo>
                    <a:pt x="2434" y="561"/>
                  </a:lnTo>
                  <a:lnTo>
                    <a:pt x="2434" y="563"/>
                  </a:lnTo>
                  <a:lnTo>
                    <a:pt x="2436" y="563"/>
                  </a:lnTo>
                  <a:lnTo>
                    <a:pt x="2434" y="563"/>
                  </a:lnTo>
                  <a:lnTo>
                    <a:pt x="2436" y="563"/>
                  </a:lnTo>
                  <a:lnTo>
                    <a:pt x="2436" y="561"/>
                  </a:lnTo>
                  <a:lnTo>
                    <a:pt x="2438" y="561"/>
                  </a:lnTo>
                  <a:lnTo>
                    <a:pt x="2438" y="559"/>
                  </a:lnTo>
                  <a:lnTo>
                    <a:pt x="2438" y="557"/>
                  </a:lnTo>
                  <a:lnTo>
                    <a:pt x="2438" y="555"/>
                  </a:lnTo>
                  <a:lnTo>
                    <a:pt x="2436" y="555"/>
                  </a:lnTo>
                  <a:lnTo>
                    <a:pt x="2436" y="553"/>
                  </a:lnTo>
                  <a:lnTo>
                    <a:pt x="2434" y="553"/>
                  </a:lnTo>
                  <a:lnTo>
                    <a:pt x="2432" y="553"/>
                  </a:lnTo>
                  <a:lnTo>
                    <a:pt x="2430" y="553"/>
                  </a:lnTo>
                  <a:lnTo>
                    <a:pt x="2430" y="551"/>
                  </a:lnTo>
                  <a:lnTo>
                    <a:pt x="2430" y="553"/>
                  </a:lnTo>
                  <a:lnTo>
                    <a:pt x="2430" y="555"/>
                  </a:lnTo>
                  <a:lnTo>
                    <a:pt x="2430" y="553"/>
                  </a:lnTo>
                  <a:lnTo>
                    <a:pt x="2430" y="551"/>
                  </a:lnTo>
                  <a:lnTo>
                    <a:pt x="2432" y="551"/>
                  </a:lnTo>
                  <a:lnTo>
                    <a:pt x="2432" y="549"/>
                  </a:lnTo>
                  <a:lnTo>
                    <a:pt x="2434" y="549"/>
                  </a:lnTo>
                  <a:lnTo>
                    <a:pt x="2434" y="547"/>
                  </a:lnTo>
                  <a:lnTo>
                    <a:pt x="2434" y="545"/>
                  </a:lnTo>
                  <a:lnTo>
                    <a:pt x="2434" y="544"/>
                  </a:lnTo>
                  <a:lnTo>
                    <a:pt x="2434" y="542"/>
                  </a:lnTo>
                  <a:lnTo>
                    <a:pt x="2434" y="540"/>
                  </a:lnTo>
                  <a:lnTo>
                    <a:pt x="2434" y="538"/>
                  </a:lnTo>
                  <a:lnTo>
                    <a:pt x="2434" y="536"/>
                  </a:lnTo>
                  <a:lnTo>
                    <a:pt x="2434" y="538"/>
                  </a:lnTo>
                  <a:lnTo>
                    <a:pt x="2432" y="538"/>
                  </a:lnTo>
                  <a:lnTo>
                    <a:pt x="2432" y="536"/>
                  </a:lnTo>
                  <a:lnTo>
                    <a:pt x="2430" y="538"/>
                  </a:lnTo>
                  <a:lnTo>
                    <a:pt x="2430" y="536"/>
                  </a:lnTo>
                  <a:lnTo>
                    <a:pt x="2430" y="538"/>
                  </a:lnTo>
                  <a:lnTo>
                    <a:pt x="2430" y="536"/>
                  </a:lnTo>
                  <a:lnTo>
                    <a:pt x="2430" y="534"/>
                  </a:lnTo>
                  <a:lnTo>
                    <a:pt x="2428" y="534"/>
                  </a:lnTo>
                  <a:lnTo>
                    <a:pt x="2426" y="536"/>
                  </a:lnTo>
                  <a:lnTo>
                    <a:pt x="2426" y="534"/>
                  </a:lnTo>
                  <a:lnTo>
                    <a:pt x="2426" y="536"/>
                  </a:lnTo>
                  <a:lnTo>
                    <a:pt x="2426" y="534"/>
                  </a:lnTo>
                  <a:lnTo>
                    <a:pt x="2428" y="534"/>
                  </a:lnTo>
                  <a:lnTo>
                    <a:pt x="2430" y="534"/>
                  </a:lnTo>
                  <a:lnTo>
                    <a:pt x="2432" y="534"/>
                  </a:lnTo>
                  <a:lnTo>
                    <a:pt x="2430" y="534"/>
                  </a:lnTo>
                  <a:lnTo>
                    <a:pt x="2428" y="534"/>
                  </a:lnTo>
                  <a:lnTo>
                    <a:pt x="2426" y="534"/>
                  </a:lnTo>
                  <a:lnTo>
                    <a:pt x="2424" y="534"/>
                  </a:lnTo>
                  <a:lnTo>
                    <a:pt x="2426" y="534"/>
                  </a:lnTo>
                  <a:lnTo>
                    <a:pt x="2428" y="532"/>
                  </a:lnTo>
                  <a:lnTo>
                    <a:pt x="2432" y="532"/>
                  </a:lnTo>
                  <a:lnTo>
                    <a:pt x="2434" y="532"/>
                  </a:lnTo>
                  <a:lnTo>
                    <a:pt x="2436" y="532"/>
                  </a:lnTo>
                  <a:lnTo>
                    <a:pt x="2436" y="534"/>
                  </a:lnTo>
                  <a:lnTo>
                    <a:pt x="2438" y="534"/>
                  </a:lnTo>
                  <a:lnTo>
                    <a:pt x="2438" y="532"/>
                  </a:lnTo>
                  <a:lnTo>
                    <a:pt x="2439" y="532"/>
                  </a:lnTo>
                  <a:lnTo>
                    <a:pt x="2441" y="532"/>
                  </a:lnTo>
                  <a:lnTo>
                    <a:pt x="2441" y="534"/>
                  </a:lnTo>
                  <a:lnTo>
                    <a:pt x="2443" y="534"/>
                  </a:lnTo>
                  <a:lnTo>
                    <a:pt x="2445" y="534"/>
                  </a:lnTo>
                  <a:lnTo>
                    <a:pt x="2447" y="534"/>
                  </a:lnTo>
                  <a:lnTo>
                    <a:pt x="2449" y="534"/>
                  </a:lnTo>
                  <a:lnTo>
                    <a:pt x="2451" y="534"/>
                  </a:lnTo>
                  <a:lnTo>
                    <a:pt x="2453" y="536"/>
                  </a:lnTo>
                  <a:lnTo>
                    <a:pt x="2457" y="536"/>
                  </a:lnTo>
                  <a:lnTo>
                    <a:pt x="2455" y="536"/>
                  </a:lnTo>
                  <a:lnTo>
                    <a:pt x="2453" y="536"/>
                  </a:lnTo>
                  <a:lnTo>
                    <a:pt x="2451" y="534"/>
                  </a:lnTo>
                  <a:lnTo>
                    <a:pt x="2449" y="534"/>
                  </a:lnTo>
                  <a:lnTo>
                    <a:pt x="2451" y="536"/>
                  </a:lnTo>
                  <a:lnTo>
                    <a:pt x="2453" y="536"/>
                  </a:lnTo>
                  <a:lnTo>
                    <a:pt x="2455" y="536"/>
                  </a:lnTo>
                  <a:lnTo>
                    <a:pt x="2457" y="536"/>
                  </a:lnTo>
                  <a:lnTo>
                    <a:pt x="2461" y="538"/>
                  </a:lnTo>
                  <a:lnTo>
                    <a:pt x="2463" y="538"/>
                  </a:lnTo>
                  <a:lnTo>
                    <a:pt x="2461" y="538"/>
                  </a:lnTo>
                  <a:lnTo>
                    <a:pt x="2463" y="538"/>
                  </a:lnTo>
                  <a:lnTo>
                    <a:pt x="2459" y="538"/>
                  </a:lnTo>
                  <a:lnTo>
                    <a:pt x="2459" y="536"/>
                  </a:lnTo>
                  <a:lnTo>
                    <a:pt x="2457" y="536"/>
                  </a:lnTo>
                  <a:lnTo>
                    <a:pt x="2459" y="538"/>
                  </a:lnTo>
                  <a:lnTo>
                    <a:pt x="2461" y="538"/>
                  </a:lnTo>
                  <a:lnTo>
                    <a:pt x="2463" y="538"/>
                  </a:lnTo>
                  <a:lnTo>
                    <a:pt x="2464" y="538"/>
                  </a:lnTo>
                  <a:lnTo>
                    <a:pt x="2464" y="536"/>
                  </a:lnTo>
                  <a:lnTo>
                    <a:pt x="2464" y="538"/>
                  </a:lnTo>
                  <a:lnTo>
                    <a:pt x="2466" y="538"/>
                  </a:lnTo>
                  <a:lnTo>
                    <a:pt x="2468" y="538"/>
                  </a:lnTo>
                  <a:lnTo>
                    <a:pt x="2468" y="540"/>
                  </a:lnTo>
                  <a:lnTo>
                    <a:pt x="2466" y="540"/>
                  </a:lnTo>
                  <a:lnTo>
                    <a:pt x="2466" y="542"/>
                  </a:lnTo>
                  <a:lnTo>
                    <a:pt x="2468" y="542"/>
                  </a:lnTo>
                  <a:lnTo>
                    <a:pt x="2468" y="544"/>
                  </a:lnTo>
                  <a:lnTo>
                    <a:pt x="2470" y="544"/>
                  </a:lnTo>
                  <a:lnTo>
                    <a:pt x="2472" y="545"/>
                  </a:lnTo>
                  <a:lnTo>
                    <a:pt x="2472" y="547"/>
                  </a:lnTo>
                  <a:lnTo>
                    <a:pt x="2472" y="549"/>
                  </a:lnTo>
                  <a:lnTo>
                    <a:pt x="2474" y="549"/>
                  </a:lnTo>
                  <a:lnTo>
                    <a:pt x="2474" y="551"/>
                  </a:lnTo>
                  <a:lnTo>
                    <a:pt x="2476" y="551"/>
                  </a:lnTo>
                  <a:lnTo>
                    <a:pt x="2476" y="553"/>
                  </a:lnTo>
                  <a:lnTo>
                    <a:pt x="2478" y="553"/>
                  </a:lnTo>
                  <a:lnTo>
                    <a:pt x="2480" y="555"/>
                  </a:lnTo>
                  <a:lnTo>
                    <a:pt x="2480" y="557"/>
                  </a:lnTo>
                  <a:lnTo>
                    <a:pt x="2482" y="557"/>
                  </a:lnTo>
                  <a:lnTo>
                    <a:pt x="2482" y="559"/>
                  </a:lnTo>
                  <a:lnTo>
                    <a:pt x="2484" y="559"/>
                  </a:lnTo>
                  <a:lnTo>
                    <a:pt x="2484" y="561"/>
                  </a:lnTo>
                  <a:lnTo>
                    <a:pt x="2486" y="561"/>
                  </a:lnTo>
                  <a:lnTo>
                    <a:pt x="2487" y="561"/>
                  </a:lnTo>
                  <a:lnTo>
                    <a:pt x="2487" y="563"/>
                  </a:lnTo>
                  <a:lnTo>
                    <a:pt x="2489" y="563"/>
                  </a:lnTo>
                  <a:lnTo>
                    <a:pt x="2489" y="565"/>
                  </a:lnTo>
                  <a:lnTo>
                    <a:pt x="2491" y="565"/>
                  </a:lnTo>
                  <a:lnTo>
                    <a:pt x="2491" y="567"/>
                  </a:lnTo>
                  <a:lnTo>
                    <a:pt x="2491" y="565"/>
                  </a:lnTo>
                  <a:lnTo>
                    <a:pt x="2489" y="565"/>
                  </a:lnTo>
                  <a:lnTo>
                    <a:pt x="2489" y="567"/>
                  </a:lnTo>
                  <a:lnTo>
                    <a:pt x="2491" y="567"/>
                  </a:lnTo>
                  <a:lnTo>
                    <a:pt x="2489" y="567"/>
                  </a:lnTo>
                  <a:lnTo>
                    <a:pt x="2491" y="567"/>
                  </a:lnTo>
                  <a:lnTo>
                    <a:pt x="2493" y="567"/>
                  </a:lnTo>
                  <a:lnTo>
                    <a:pt x="2493" y="569"/>
                  </a:lnTo>
                  <a:lnTo>
                    <a:pt x="2495" y="569"/>
                  </a:lnTo>
                  <a:lnTo>
                    <a:pt x="2495" y="567"/>
                  </a:lnTo>
                  <a:lnTo>
                    <a:pt x="2491" y="567"/>
                  </a:lnTo>
                  <a:lnTo>
                    <a:pt x="2493" y="567"/>
                  </a:lnTo>
                  <a:lnTo>
                    <a:pt x="2495" y="567"/>
                  </a:lnTo>
                  <a:lnTo>
                    <a:pt x="2497" y="567"/>
                  </a:lnTo>
                  <a:lnTo>
                    <a:pt x="2497" y="569"/>
                  </a:lnTo>
                  <a:lnTo>
                    <a:pt x="2497" y="570"/>
                  </a:lnTo>
                  <a:lnTo>
                    <a:pt x="2497" y="572"/>
                  </a:lnTo>
                  <a:lnTo>
                    <a:pt x="2495" y="572"/>
                  </a:lnTo>
                  <a:lnTo>
                    <a:pt x="2493" y="572"/>
                  </a:lnTo>
                  <a:lnTo>
                    <a:pt x="2493" y="570"/>
                  </a:lnTo>
                  <a:lnTo>
                    <a:pt x="2491" y="570"/>
                  </a:lnTo>
                  <a:lnTo>
                    <a:pt x="2489" y="572"/>
                  </a:lnTo>
                  <a:lnTo>
                    <a:pt x="2487" y="574"/>
                  </a:lnTo>
                  <a:lnTo>
                    <a:pt x="2486" y="574"/>
                  </a:lnTo>
                  <a:lnTo>
                    <a:pt x="2486" y="576"/>
                  </a:lnTo>
                  <a:lnTo>
                    <a:pt x="2484" y="578"/>
                  </a:lnTo>
                  <a:lnTo>
                    <a:pt x="2486" y="578"/>
                  </a:lnTo>
                  <a:lnTo>
                    <a:pt x="2486" y="580"/>
                  </a:lnTo>
                  <a:lnTo>
                    <a:pt x="2484" y="580"/>
                  </a:lnTo>
                  <a:lnTo>
                    <a:pt x="2484" y="582"/>
                  </a:lnTo>
                  <a:lnTo>
                    <a:pt x="2486" y="582"/>
                  </a:lnTo>
                  <a:lnTo>
                    <a:pt x="2484" y="584"/>
                  </a:lnTo>
                  <a:lnTo>
                    <a:pt x="2486" y="584"/>
                  </a:lnTo>
                  <a:lnTo>
                    <a:pt x="2484" y="584"/>
                  </a:lnTo>
                  <a:lnTo>
                    <a:pt x="2486" y="584"/>
                  </a:lnTo>
                  <a:lnTo>
                    <a:pt x="2484" y="584"/>
                  </a:lnTo>
                  <a:lnTo>
                    <a:pt x="2484" y="586"/>
                  </a:lnTo>
                  <a:lnTo>
                    <a:pt x="2484" y="588"/>
                  </a:lnTo>
                  <a:lnTo>
                    <a:pt x="2482" y="588"/>
                  </a:lnTo>
                  <a:lnTo>
                    <a:pt x="2482" y="586"/>
                  </a:lnTo>
                  <a:lnTo>
                    <a:pt x="2482" y="588"/>
                  </a:lnTo>
                  <a:lnTo>
                    <a:pt x="2482" y="586"/>
                  </a:lnTo>
                  <a:lnTo>
                    <a:pt x="2480" y="586"/>
                  </a:lnTo>
                  <a:lnTo>
                    <a:pt x="2478" y="584"/>
                  </a:lnTo>
                  <a:lnTo>
                    <a:pt x="2476" y="584"/>
                  </a:lnTo>
                  <a:lnTo>
                    <a:pt x="2474" y="584"/>
                  </a:lnTo>
                  <a:lnTo>
                    <a:pt x="2474" y="582"/>
                  </a:lnTo>
                  <a:lnTo>
                    <a:pt x="2474" y="580"/>
                  </a:lnTo>
                  <a:lnTo>
                    <a:pt x="2472" y="580"/>
                  </a:lnTo>
                  <a:lnTo>
                    <a:pt x="2472" y="578"/>
                  </a:lnTo>
                  <a:lnTo>
                    <a:pt x="2470" y="578"/>
                  </a:lnTo>
                  <a:lnTo>
                    <a:pt x="2470" y="580"/>
                  </a:lnTo>
                  <a:lnTo>
                    <a:pt x="2472" y="580"/>
                  </a:lnTo>
                  <a:lnTo>
                    <a:pt x="2470" y="580"/>
                  </a:lnTo>
                  <a:lnTo>
                    <a:pt x="2472" y="580"/>
                  </a:lnTo>
                  <a:lnTo>
                    <a:pt x="2472" y="582"/>
                  </a:lnTo>
                  <a:lnTo>
                    <a:pt x="2474" y="582"/>
                  </a:lnTo>
                  <a:lnTo>
                    <a:pt x="2472" y="582"/>
                  </a:lnTo>
                  <a:lnTo>
                    <a:pt x="2472" y="584"/>
                  </a:lnTo>
                  <a:lnTo>
                    <a:pt x="2474" y="584"/>
                  </a:lnTo>
                  <a:lnTo>
                    <a:pt x="2474" y="586"/>
                  </a:lnTo>
                  <a:lnTo>
                    <a:pt x="2476" y="586"/>
                  </a:lnTo>
                  <a:lnTo>
                    <a:pt x="2476" y="588"/>
                  </a:lnTo>
                  <a:lnTo>
                    <a:pt x="2478" y="588"/>
                  </a:lnTo>
                  <a:lnTo>
                    <a:pt x="2478" y="590"/>
                  </a:lnTo>
                  <a:lnTo>
                    <a:pt x="2478" y="592"/>
                  </a:lnTo>
                  <a:lnTo>
                    <a:pt x="2476" y="592"/>
                  </a:lnTo>
                  <a:lnTo>
                    <a:pt x="2474" y="592"/>
                  </a:lnTo>
                  <a:lnTo>
                    <a:pt x="2474" y="590"/>
                  </a:lnTo>
                  <a:lnTo>
                    <a:pt x="2472" y="590"/>
                  </a:lnTo>
                  <a:lnTo>
                    <a:pt x="2470" y="590"/>
                  </a:lnTo>
                  <a:lnTo>
                    <a:pt x="2468" y="590"/>
                  </a:lnTo>
                  <a:lnTo>
                    <a:pt x="2466" y="592"/>
                  </a:lnTo>
                  <a:lnTo>
                    <a:pt x="2464" y="592"/>
                  </a:lnTo>
                  <a:lnTo>
                    <a:pt x="2463" y="592"/>
                  </a:lnTo>
                  <a:lnTo>
                    <a:pt x="2464" y="592"/>
                  </a:lnTo>
                  <a:lnTo>
                    <a:pt x="2466" y="592"/>
                  </a:lnTo>
                  <a:lnTo>
                    <a:pt x="2466" y="590"/>
                  </a:lnTo>
                  <a:lnTo>
                    <a:pt x="2464" y="590"/>
                  </a:lnTo>
                  <a:lnTo>
                    <a:pt x="2463" y="590"/>
                  </a:lnTo>
                  <a:lnTo>
                    <a:pt x="2463" y="588"/>
                  </a:lnTo>
                  <a:lnTo>
                    <a:pt x="2461" y="588"/>
                  </a:lnTo>
                  <a:lnTo>
                    <a:pt x="2461" y="590"/>
                  </a:lnTo>
                  <a:lnTo>
                    <a:pt x="2459" y="590"/>
                  </a:lnTo>
                  <a:lnTo>
                    <a:pt x="2459" y="588"/>
                  </a:lnTo>
                  <a:lnTo>
                    <a:pt x="2459" y="586"/>
                  </a:lnTo>
                  <a:lnTo>
                    <a:pt x="2459" y="588"/>
                  </a:lnTo>
                  <a:lnTo>
                    <a:pt x="2459" y="586"/>
                  </a:lnTo>
                  <a:lnTo>
                    <a:pt x="2459" y="584"/>
                  </a:lnTo>
                  <a:lnTo>
                    <a:pt x="2459" y="586"/>
                  </a:lnTo>
                  <a:lnTo>
                    <a:pt x="2457" y="584"/>
                  </a:lnTo>
                  <a:lnTo>
                    <a:pt x="2455" y="584"/>
                  </a:lnTo>
                  <a:lnTo>
                    <a:pt x="2453" y="584"/>
                  </a:lnTo>
                  <a:lnTo>
                    <a:pt x="2451" y="584"/>
                  </a:lnTo>
                  <a:lnTo>
                    <a:pt x="2449" y="584"/>
                  </a:lnTo>
                  <a:lnTo>
                    <a:pt x="2451" y="584"/>
                  </a:lnTo>
                  <a:lnTo>
                    <a:pt x="2449" y="584"/>
                  </a:lnTo>
                  <a:lnTo>
                    <a:pt x="2451" y="584"/>
                  </a:lnTo>
                  <a:lnTo>
                    <a:pt x="2453" y="586"/>
                  </a:lnTo>
                  <a:lnTo>
                    <a:pt x="2453" y="584"/>
                  </a:lnTo>
                  <a:lnTo>
                    <a:pt x="2453" y="586"/>
                  </a:lnTo>
                  <a:lnTo>
                    <a:pt x="2455" y="586"/>
                  </a:lnTo>
                  <a:lnTo>
                    <a:pt x="2457" y="588"/>
                  </a:lnTo>
                  <a:lnTo>
                    <a:pt x="2457" y="590"/>
                  </a:lnTo>
                  <a:lnTo>
                    <a:pt x="2459" y="592"/>
                  </a:lnTo>
                  <a:lnTo>
                    <a:pt x="2457" y="592"/>
                  </a:lnTo>
                  <a:lnTo>
                    <a:pt x="2457" y="594"/>
                  </a:lnTo>
                  <a:lnTo>
                    <a:pt x="2459" y="594"/>
                  </a:lnTo>
                  <a:lnTo>
                    <a:pt x="2461" y="594"/>
                  </a:lnTo>
                  <a:lnTo>
                    <a:pt x="2461" y="592"/>
                  </a:lnTo>
                  <a:lnTo>
                    <a:pt x="2461" y="594"/>
                  </a:lnTo>
                  <a:lnTo>
                    <a:pt x="2461" y="595"/>
                  </a:lnTo>
                  <a:lnTo>
                    <a:pt x="2459" y="597"/>
                  </a:lnTo>
                  <a:lnTo>
                    <a:pt x="2461" y="597"/>
                  </a:lnTo>
                  <a:lnTo>
                    <a:pt x="2461" y="599"/>
                  </a:lnTo>
                  <a:lnTo>
                    <a:pt x="2461" y="601"/>
                  </a:lnTo>
                  <a:lnTo>
                    <a:pt x="2461" y="603"/>
                  </a:lnTo>
                  <a:lnTo>
                    <a:pt x="2461" y="605"/>
                  </a:lnTo>
                  <a:lnTo>
                    <a:pt x="2461" y="603"/>
                  </a:lnTo>
                  <a:lnTo>
                    <a:pt x="2461" y="605"/>
                  </a:lnTo>
                  <a:lnTo>
                    <a:pt x="2463" y="605"/>
                  </a:lnTo>
                  <a:lnTo>
                    <a:pt x="2461" y="605"/>
                  </a:lnTo>
                  <a:lnTo>
                    <a:pt x="2461" y="607"/>
                  </a:lnTo>
                  <a:lnTo>
                    <a:pt x="2459" y="609"/>
                  </a:lnTo>
                  <a:lnTo>
                    <a:pt x="2459" y="611"/>
                  </a:lnTo>
                  <a:lnTo>
                    <a:pt x="2457" y="611"/>
                  </a:lnTo>
                  <a:lnTo>
                    <a:pt x="2455" y="611"/>
                  </a:lnTo>
                  <a:lnTo>
                    <a:pt x="2457" y="611"/>
                  </a:lnTo>
                  <a:lnTo>
                    <a:pt x="2455" y="611"/>
                  </a:lnTo>
                  <a:lnTo>
                    <a:pt x="2455" y="613"/>
                  </a:lnTo>
                  <a:lnTo>
                    <a:pt x="2453" y="613"/>
                  </a:lnTo>
                  <a:lnTo>
                    <a:pt x="2451" y="613"/>
                  </a:lnTo>
                  <a:lnTo>
                    <a:pt x="2449" y="613"/>
                  </a:lnTo>
                  <a:lnTo>
                    <a:pt x="2447" y="613"/>
                  </a:lnTo>
                  <a:lnTo>
                    <a:pt x="2447" y="615"/>
                  </a:lnTo>
                  <a:lnTo>
                    <a:pt x="2447" y="613"/>
                  </a:lnTo>
                  <a:lnTo>
                    <a:pt x="2447" y="615"/>
                  </a:lnTo>
                  <a:lnTo>
                    <a:pt x="2445" y="615"/>
                  </a:lnTo>
                  <a:lnTo>
                    <a:pt x="2445" y="617"/>
                  </a:lnTo>
                  <a:lnTo>
                    <a:pt x="2447" y="617"/>
                  </a:lnTo>
                  <a:lnTo>
                    <a:pt x="2447" y="615"/>
                  </a:lnTo>
                  <a:lnTo>
                    <a:pt x="2449" y="615"/>
                  </a:lnTo>
                  <a:lnTo>
                    <a:pt x="2449" y="613"/>
                  </a:lnTo>
                  <a:lnTo>
                    <a:pt x="2449" y="615"/>
                  </a:lnTo>
                  <a:lnTo>
                    <a:pt x="2451" y="615"/>
                  </a:lnTo>
                  <a:lnTo>
                    <a:pt x="2451" y="617"/>
                  </a:lnTo>
                  <a:lnTo>
                    <a:pt x="2451" y="618"/>
                  </a:lnTo>
                  <a:lnTo>
                    <a:pt x="2449" y="618"/>
                  </a:lnTo>
                  <a:lnTo>
                    <a:pt x="2447" y="618"/>
                  </a:lnTo>
                  <a:lnTo>
                    <a:pt x="2447" y="620"/>
                  </a:lnTo>
                  <a:lnTo>
                    <a:pt x="2449" y="620"/>
                  </a:lnTo>
                  <a:lnTo>
                    <a:pt x="2449" y="618"/>
                  </a:lnTo>
                  <a:lnTo>
                    <a:pt x="2449" y="620"/>
                  </a:lnTo>
                  <a:lnTo>
                    <a:pt x="2451" y="620"/>
                  </a:lnTo>
                  <a:lnTo>
                    <a:pt x="2449" y="620"/>
                  </a:lnTo>
                  <a:lnTo>
                    <a:pt x="2449" y="622"/>
                  </a:lnTo>
                  <a:lnTo>
                    <a:pt x="2451" y="622"/>
                  </a:lnTo>
                  <a:lnTo>
                    <a:pt x="2451" y="620"/>
                  </a:lnTo>
                  <a:lnTo>
                    <a:pt x="2451" y="622"/>
                  </a:lnTo>
                  <a:lnTo>
                    <a:pt x="2453" y="622"/>
                  </a:lnTo>
                  <a:lnTo>
                    <a:pt x="2455" y="622"/>
                  </a:lnTo>
                  <a:lnTo>
                    <a:pt x="2453" y="622"/>
                  </a:lnTo>
                  <a:lnTo>
                    <a:pt x="2455" y="622"/>
                  </a:lnTo>
                  <a:lnTo>
                    <a:pt x="2455" y="624"/>
                  </a:lnTo>
                  <a:lnTo>
                    <a:pt x="2457" y="624"/>
                  </a:lnTo>
                  <a:lnTo>
                    <a:pt x="2457" y="626"/>
                  </a:lnTo>
                  <a:lnTo>
                    <a:pt x="2459" y="628"/>
                  </a:lnTo>
                  <a:lnTo>
                    <a:pt x="2457" y="628"/>
                  </a:lnTo>
                  <a:lnTo>
                    <a:pt x="2455" y="628"/>
                  </a:lnTo>
                  <a:lnTo>
                    <a:pt x="2455" y="630"/>
                  </a:lnTo>
                  <a:lnTo>
                    <a:pt x="2455" y="628"/>
                  </a:lnTo>
                  <a:lnTo>
                    <a:pt x="2455" y="630"/>
                  </a:lnTo>
                  <a:lnTo>
                    <a:pt x="2453" y="630"/>
                  </a:lnTo>
                  <a:lnTo>
                    <a:pt x="2453" y="628"/>
                  </a:lnTo>
                  <a:lnTo>
                    <a:pt x="2453" y="626"/>
                  </a:lnTo>
                  <a:lnTo>
                    <a:pt x="2451" y="626"/>
                  </a:lnTo>
                  <a:lnTo>
                    <a:pt x="2451" y="624"/>
                  </a:lnTo>
                  <a:lnTo>
                    <a:pt x="2449" y="624"/>
                  </a:lnTo>
                  <a:lnTo>
                    <a:pt x="2449" y="626"/>
                  </a:lnTo>
                  <a:lnTo>
                    <a:pt x="2447" y="626"/>
                  </a:lnTo>
                  <a:lnTo>
                    <a:pt x="2447" y="628"/>
                  </a:lnTo>
                  <a:lnTo>
                    <a:pt x="2447" y="626"/>
                  </a:lnTo>
                  <a:lnTo>
                    <a:pt x="2449" y="626"/>
                  </a:lnTo>
                  <a:lnTo>
                    <a:pt x="2451" y="626"/>
                  </a:lnTo>
                  <a:lnTo>
                    <a:pt x="2451" y="628"/>
                  </a:lnTo>
                  <a:lnTo>
                    <a:pt x="2451" y="630"/>
                  </a:lnTo>
                  <a:lnTo>
                    <a:pt x="2451" y="632"/>
                  </a:lnTo>
                  <a:lnTo>
                    <a:pt x="2449" y="632"/>
                  </a:lnTo>
                  <a:lnTo>
                    <a:pt x="2449" y="634"/>
                  </a:lnTo>
                  <a:lnTo>
                    <a:pt x="2447" y="634"/>
                  </a:lnTo>
                  <a:lnTo>
                    <a:pt x="2445" y="634"/>
                  </a:lnTo>
                  <a:lnTo>
                    <a:pt x="2443" y="632"/>
                  </a:lnTo>
                  <a:lnTo>
                    <a:pt x="2443" y="630"/>
                  </a:lnTo>
                  <a:lnTo>
                    <a:pt x="2443" y="628"/>
                  </a:lnTo>
                  <a:lnTo>
                    <a:pt x="2445" y="628"/>
                  </a:lnTo>
                  <a:lnTo>
                    <a:pt x="2445" y="626"/>
                  </a:lnTo>
                  <a:lnTo>
                    <a:pt x="2445" y="628"/>
                  </a:lnTo>
                  <a:lnTo>
                    <a:pt x="2445" y="626"/>
                  </a:lnTo>
                  <a:lnTo>
                    <a:pt x="2445" y="624"/>
                  </a:lnTo>
                  <a:lnTo>
                    <a:pt x="2443" y="624"/>
                  </a:lnTo>
                  <a:lnTo>
                    <a:pt x="2443" y="622"/>
                  </a:lnTo>
                  <a:lnTo>
                    <a:pt x="2443" y="624"/>
                  </a:lnTo>
                  <a:lnTo>
                    <a:pt x="2443" y="626"/>
                  </a:lnTo>
                  <a:lnTo>
                    <a:pt x="2443" y="628"/>
                  </a:lnTo>
                  <a:lnTo>
                    <a:pt x="2441" y="630"/>
                  </a:lnTo>
                  <a:lnTo>
                    <a:pt x="2439" y="630"/>
                  </a:lnTo>
                  <a:lnTo>
                    <a:pt x="2439" y="632"/>
                  </a:lnTo>
                  <a:lnTo>
                    <a:pt x="2439" y="630"/>
                  </a:lnTo>
                  <a:lnTo>
                    <a:pt x="2438" y="630"/>
                  </a:lnTo>
                  <a:lnTo>
                    <a:pt x="2436" y="630"/>
                  </a:lnTo>
                  <a:lnTo>
                    <a:pt x="2436" y="628"/>
                  </a:lnTo>
                  <a:lnTo>
                    <a:pt x="2434" y="628"/>
                  </a:lnTo>
                  <a:lnTo>
                    <a:pt x="2434" y="626"/>
                  </a:lnTo>
                  <a:lnTo>
                    <a:pt x="2434" y="624"/>
                  </a:lnTo>
                  <a:lnTo>
                    <a:pt x="2432" y="624"/>
                  </a:lnTo>
                  <a:lnTo>
                    <a:pt x="2432" y="622"/>
                  </a:lnTo>
                  <a:lnTo>
                    <a:pt x="2430" y="622"/>
                  </a:lnTo>
                  <a:lnTo>
                    <a:pt x="2430" y="620"/>
                  </a:lnTo>
                  <a:lnTo>
                    <a:pt x="2428" y="620"/>
                  </a:lnTo>
                  <a:lnTo>
                    <a:pt x="2426" y="618"/>
                  </a:lnTo>
                  <a:lnTo>
                    <a:pt x="2424" y="618"/>
                  </a:lnTo>
                  <a:lnTo>
                    <a:pt x="2424" y="617"/>
                  </a:lnTo>
                  <a:lnTo>
                    <a:pt x="2422" y="617"/>
                  </a:lnTo>
                  <a:lnTo>
                    <a:pt x="2420" y="615"/>
                  </a:lnTo>
                  <a:lnTo>
                    <a:pt x="2418" y="615"/>
                  </a:lnTo>
                  <a:lnTo>
                    <a:pt x="2418" y="617"/>
                  </a:lnTo>
                  <a:lnTo>
                    <a:pt x="2416" y="615"/>
                  </a:lnTo>
                  <a:lnTo>
                    <a:pt x="2416" y="617"/>
                  </a:lnTo>
                  <a:lnTo>
                    <a:pt x="2416" y="615"/>
                  </a:lnTo>
                  <a:lnTo>
                    <a:pt x="2416" y="617"/>
                  </a:lnTo>
                  <a:lnTo>
                    <a:pt x="2416" y="615"/>
                  </a:lnTo>
                  <a:lnTo>
                    <a:pt x="2415" y="615"/>
                  </a:lnTo>
                  <a:lnTo>
                    <a:pt x="2413" y="615"/>
                  </a:lnTo>
                  <a:lnTo>
                    <a:pt x="2415" y="613"/>
                  </a:lnTo>
                  <a:lnTo>
                    <a:pt x="2413" y="613"/>
                  </a:lnTo>
                  <a:lnTo>
                    <a:pt x="2411" y="613"/>
                  </a:lnTo>
                  <a:lnTo>
                    <a:pt x="2411" y="611"/>
                  </a:lnTo>
                  <a:lnTo>
                    <a:pt x="2409" y="611"/>
                  </a:lnTo>
                  <a:lnTo>
                    <a:pt x="2407" y="609"/>
                  </a:lnTo>
                  <a:lnTo>
                    <a:pt x="2407" y="607"/>
                  </a:lnTo>
                  <a:lnTo>
                    <a:pt x="2407" y="605"/>
                  </a:lnTo>
                  <a:lnTo>
                    <a:pt x="2409" y="603"/>
                  </a:lnTo>
                  <a:lnTo>
                    <a:pt x="2407" y="601"/>
                  </a:lnTo>
                  <a:lnTo>
                    <a:pt x="2407" y="599"/>
                  </a:lnTo>
                  <a:lnTo>
                    <a:pt x="2405" y="597"/>
                  </a:lnTo>
                  <a:lnTo>
                    <a:pt x="2405" y="595"/>
                  </a:lnTo>
                  <a:lnTo>
                    <a:pt x="2403" y="594"/>
                  </a:lnTo>
                  <a:lnTo>
                    <a:pt x="2405" y="594"/>
                  </a:lnTo>
                  <a:lnTo>
                    <a:pt x="2405" y="595"/>
                  </a:lnTo>
                  <a:lnTo>
                    <a:pt x="2405" y="597"/>
                  </a:lnTo>
                  <a:lnTo>
                    <a:pt x="2407" y="599"/>
                  </a:lnTo>
                  <a:lnTo>
                    <a:pt x="2407" y="597"/>
                  </a:lnTo>
                  <a:lnTo>
                    <a:pt x="2405" y="597"/>
                  </a:lnTo>
                  <a:lnTo>
                    <a:pt x="2405" y="595"/>
                  </a:lnTo>
                  <a:lnTo>
                    <a:pt x="2407" y="595"/>
                  </a:lnTo>
                  <a:lnTo>
                    <a:pt x="2405" y="595"/>
                  </a:lnTo>
                  <a:lnTo>
                    <a:pt x="2405" y="594"/>
                  </a:lnTo>
                  <a:lnTo>
                    <a:pt x="2403" y="594"/>
                  </a:lnTo>
                  <a:lnTo>
                    <a:pt x="2403" y="592"/>
                  </a:lnTo>
                  <a:lnTo>
                    <a:pt x="2401" y="592"/>
                  </a:lnTo>
                  <a:lnTo>
                    <a:pt x="2403" y="592"/>
                  </a:lnTo>
                  <a:lnTo>
                    <a:pt x="2403" y="594"/>
                  </a:lnTo>
                  <a:lnTo>
                    <a:pt x="2403" y="592"/>
                  </a:lnTo>
                  <a:lnTo>
                    <a:pt x="2401" y="592"/>
                  </a:lnTo>
                  <a:lnTo>
                    <a:pt x="2399" y="592"/>
                  </a:lnTo>
                  <a:lnTo>
                    <a:pt x="2397" y="590"/>
                  </a:lnTo>
                  <a:lnTo>
                    <a:pt x="2395" y="590"/>
                  </a:lnTo>
                  <a:lnTo>
                    <a:pt x="2397" y="590"/>
                  </a:lnTo>
                  <a:lnTo>
                    <a:pt x="2399" y="590"/>
                  </a:lnTo>
                  <a:lnTo>
                    <a:pt x="2397" y="590"/>
                  </a:lnTo>
                  <a:lnTo>
                    <a:pt x="2395" y="590"/>
                  </a:lnTo>
                  <a:lnTo>
                    <a:pt x="2393" y="588"/>
                  </a:lnTo>
                  <a:lnTo>
                    <a:pt x="2392" y="588"/>
                  </a:lnTo>
                  <a:lnTo>
                    <a:pt x="2390" y="588"/>
                  </a:lnTo>
                  <a:lnTo>
                    <a:pt x="2388" y="588"/>
                  </a:lnTo>
                  <a:lnTo>
                    <a:pt x="2386" y="590"/>
                  </a:lnTo>
                  <a:lnTo>
                    <a:pt x="2386" y="592"/>
                  </a:lnTo>
                  <a:lnTo>
                    <a:pt x="2384" y="592"/>
                  </a:lnTo>
                  <a:lnTo>
                    <a:pt x="2382" y="592"/>
                  </a:lnTo>
                  <a:lnTo>
                    <a:pt x="2380" y="592"/>
                  </a:lnTo>
                  <a:lnTo>
                    <a:pt x="2378" y="592"/>
                  </a:lnTo>
                  <a:lnTo>
                    <a:pt x="2376" y="592"/>
                  </a:lnTo>
                  <a:lnTo>
                    <a:pt x="2374" y="592"/>
                  </a:lnTo>
                  <a:lnTo>
                    <a:pt x="2372" y="592"/>
                  </a:lnTo>
                  <a:lnTo>
                    <a:pt x="2370" y="592"/>
                  </a:lnTo>
                  <a:lnTo>
                    <a:pt x="2368" y="592"/>
                  </a:lnTo>
                  <a:lnTo>
                    <a:pt x="2367" y="592"/>
                  </a:lnTo>
                  <a:lnTo>
                    <a:pt x="2367" y="590"/>
                  </a:lnTo>
                  <a:lnTo>
                    <a:pt x="2368" y="590"/>
                  </a:lnTo>
                  <a:lnTo>
                    <a:pt x="2368" y="588"/>
                  </a:lnTo>
                  <a:lnTo>
                    <a:pt x="2368" y="586"/>
                  </a:lnTo>
                  <a:lnTo>
                    <a:pt x="2368" y="584"/>
                  </a:lnTo>
                  <a:lnTo>
                    <a:pt x="2368" y="582"/>
                  </a:lnTo>
                  <a:lnTo>
                    <a:pt x="2367" y="582"/>
                  </a:lnTo>
                  <a:lnTo>
                    <a:pt x="2365" y="580"/>
                  </a:lnTo>
                  <a:lnTo>
                    <a:pt x="2365" y="578"/>
                  </a:lnTo>
                  <a:lnTo>
                    <a:pt x="2363" y="578"/>
                  </a:lnTo>
                  <a:lnTo>
                    <a:pt x="2363" y="576"/>
                  </a:lnTo>
                  <a:lnTo>
                    <a:pt x="2363" y="574"/>
                  </a:lnTo>
                  <a:lnTo>
                    <a:pt x="2363" y="572"/>
                  </a:lnTo>
                  <a:lnTo>
                    <a:pt x="2361" y="572"/>
                  </a:lnTo>
                  <a:lnTo>
                    <a:pt x="2361" y="570"/>
                  </a:lnTo>
                  <a:lnTo>
                    <a:pt x="2363" y="570"/>
                  </a:lnTo>
                  <a:lnTo>
                    <a:pt x="2363" y="572"/>
                  </a:lnTo>
                  <a:lnTo>
                    <a:pt x="2363" y="574"/>
                  </a:lnTo>
                  <a:lnTo>
                    <a:pt x="2365" y="574"/>
                  </a:lnTo>
                  <a:lnTo>
                    <a:pt x="2365" y="572"/>
                  </a:lnTo>
                  <a:lnTo>
                    <a:pt x="2365" y="570"/>
                  </a:lnTo>
                  <a:lnTo>
                    <a:pt x="2367" y="569"/>
                  </a:lnTo>
                  <a:lnTo>
                    <a:pt x="2368" y="569"/>
                  </a:lnTo>
                  <a:lnTo>
                    <a:pt x="2368" y="567"/>
                  </a:lnTo>
                  <a:lnTo>
                    <a:pt x="2367" y="567"/>
                  </a:lnTo>
                  <a:lnTo>
                    <a:pt x="2368" y="567"/>
                  </a:lnTo>
                  <a:lnTo>
                    <a:pt x="2368" y="565"/>
                  </a:lnTo>
                  <a:lnTo>
                    <a:pt x="2368" y="563"/>
                  </a:lnTo>
                  <a:lnTo>
                    <a:pt x="2368" y="561"/>
                  </a:lnTo>
                  <a:lnTo>
                    <a:pt x="2368" y="559"/>
                  </a:lnTo>
                  <a:lnTo>
                    <a:pt x="2367" y="559"/>
                  </a:lnTo>
                  <a:lnTo>
                    <a:pt x="2367" y="561"/>
                  </a:lnTo>
                  <a:lnTo>
                    <a:pt x="2367" y="563"/>
                  </a:lnTo>
                  <a:lnTo>
                    <a:pt x="2365" y="563"/>
                  </a:lnTo>
                  <a:lnTo>
                    <a:pt x="2365" y="565"/>
                  </a:lnTo>
                  <a:lnTo>
                    <a:pt x="2365" y="567"/>
                  </a:lnTo>
                  <a:lnTo>
                    <a:pt x="2363" y="567"/>
                  </a:lnTo>
                  <a:lnTo>
                    <a:pt x="2361" y="567"/>
                  </a:lnTo>
                  <a:lnTo>
                    <a:pt x="2361" y="565"/>
                  </a:lnTo>
                  <a:lnTo>
                    <a:pt x="2359" y="565"/>
                  </a:lnTo>
                  <a:lnTo>
                    <a:pt x="2359" y="563"/>
                  </a:lnTo>
                  <a:lnTo>
                    <a:pt x="2359" y="565"/>
                  </a:lnTo>
                  <a:lnTo>
                    <a:pt x="2359" y="563"/>
                  </a:lnTo>
                  <a:lnTo>
                    <a:pt x="2361" y="563"/>
                  </a:lnTo>
                  <a:lnTo>
                    <a:pt x="2359" y="563"/>
                  </a:lnTo>
                  <a:lnTo>
                    <a:pt x="2359" y="561"/>
                  </a:lnTo>
                  <a:lnTo>
                    <a:pt x="2359" y="559"/>
                  </a:lnTo>
                  <a:lnTo>
                    <a:pt x="2359" y="561"/>
                  </a:lnTo>
                  <a:lnTo>
                    <a:pt x="2359" y="563"/>
                  </a:lnTo>
                  <a:lnTo>
                    <a:pt x="2357" y="563"/>
                  </a:lnTo>
                  <a:lnTo>
                    <a:pt x="2355" y="563"/>
                  </a:lnTo>
                  <a:lnTo>
                    <a:pt x="2355" y="561"/>
                  </a:lnTo>
                  <a:lnTo>
                    <a:pt x="2355" y="563"/>
                  </a:lnTo>
                  <a:lnTo>
                    <a:pt x="2357" y="563"/>
                  </a:lnTo>
                  <a:lnTo>
                    <a:pt x="2357" y="565"/>
                  </a:lnTo>
                  <a:lnTo>
                    <a:pt x="2357" y="567"/>
                  </a:lnTo>
                  <a:lnTo>
                    <a:pt x="2357" y="569"/>
                  </a:lnTo>
                  <a:lnTo>
                    <a:pt x="2355" y="569"/>
                  </a:lnTo>
                  <a:lnTo>
                    <a:pt x="2353" y="569"/>
                  </a:lnTo>
                  <a:lnTo>
                    <a:pt x="2351" y="569"/>
                  </a:lnTo>
                  <a:lnTo>
                    <a:pt x="2353" y="569"/>
                  </a:lnTo>
                  <a:lnTo>
                    <a:pt x="2351" y="569"/>
                  </a:lnTo>
                  <a:lnTo>
                    <a:pt x="2353" y="567"/>
                  </a:lnTo>
                  <a:lnTo>
                    <a:pt x="2351" y="567"/>
                  </a:lnTo>
                  <a:lnTo>
                    <a:pt x="2351" y="569"/>
                  </a:lnTo>
                  <a:lnTo>
                    <a:pt x="2351" y="567"/>
                  </a:lnTo>
                  <a:lnTo>
                    <a:pt x="2351" y="569"/>
                  </a:lnTo>
                  <a:lnTo>
                    <a:pt x="2349" y="569"/>
                  </a:lnTo>
                  <a:lnTo>
                    <a:pt x="2349" y="570"/>
                  </a:lnTo>
                  <a:lnTo>
                    <a:pt x="2349" y="572"/>
                  </a:lnTo>
                  <a:lnTo>
                    <a:pt x="2349" y="574"/>
                  </a:lnTo>
                  <a:lnTo>
                    <a:pt x="2349" y="576"/>
                  </a:lnTo>
                  <a:lnTo>
                    <a:pt x="2349" y="578"/>
                  </a:lnTo>
                  <a:lnTo>
                    <a:pt x="2349" y="580"/>
                  </a:lnTo>
                  <a:lnTo>
                    <a:pt x="2351" y="580"/>
                  </a:lnTo>
                  <a:lnTo>
                    <a:pt x="2351" y="582"/>
                  </a:lnTo>
                  <a:lnTo>
                    <a:pt x="2353" y="584"/>
                  </a:lnTo>
                  <a:lnTo>
                    <a:pt x="2355" y="584"/>
                  </a:lnTo>
                  <a:lnTo>
                    <a:pt x="2353" y="584"/>
                  </a:lnTo>
                  <a:lnTo>
                    <a:pt x="2353" y="586"/>
                  </a:lnTo>
                  <a:lnTo>
                    <a:pt x="2355" y="586"/>
                  </a:lnTo>
                  <a:lnTo>
                    <a:pt x="2357" y="586"/>
                  </a:lnTo>
                  <a:lnTo>
                    <a:pt x="2355" y="588"/>
                  </a:lnTo>
                  <a:lnTo>
                    <a:pt x="2355" y="590"/>
                  </a:lnTo>
                  <a:lnTo>
                    <a:pt x="2357" y="590"/>
                  </a:lnTo>
                  <a:lnTo>
                    <a:pt x="2355" y="592"/>
                  </a:lnTo>
                  <a:lnTo>
                    <a:pt x="2355" y="594"/>
                  </a:lnTo>
                  <a:lnTo>
                    <a:pt x="2353" y="594"/>
                  </a:lnTo>
                  <a:lnTo>
                    <a:pt x="2353" y="595"/>
                  </a:lnTo>
                  <a:lnTo>
                    <a:pt x="2353" y="597"/>
                  </a:lnTo>
                  <a:lnTo>
                    <a:pt x="2353" y="599"/>
                  </a:lnTo>
                  <a:lnTo>
                    <a:pt x="2353" y="601"/>
                  </a:lnTo>
                  <a:lnTo>
                    <a:pt x="2351" y="601"/>
                  </a:lnTo>
                  <a:lnTo>
                    <a:pt x="2351" y="603"/>
                  </a:lnTo>
                  <a:lnTo>
                    <a:pt x="2349" y="603"/>
                  </a:lnTo>
                  <a:lnTo>
                    <a:pt x="2349" y="605"/>
                  </a:lnTo>
                  <a:lnTo>
                    <a:pt x="2347" y="605"/>
                  </a:lnTo>
                  <a:lnTo>
                    <a:pt x="2347" y="607"/>
                  </a:lnTo>
                  <a:lnTo>
                    <a:pt x="2345" y="607"/>
                  </a:lnTo>
                  <a:lnTo>
                    <a:pt x="2345" y="509"/>
                  </a:lnTo>
                  <a:lnTo>
                    <a:pt x="2345" y="459"/>
                  </a:lnTo>
                  <a:lnTo>
                    <a:pt x="2347" y="459"/>
                  </a:lnTo>
                  <a:lnTo>
                    <a:pt x="2349" y="461"/>
                  </a:lnTo>
                  <a:lnTo>
                    <a:pt x="2351" y="463"/>
                  </a:lnTo>
                  <a:close/>
                  <a:moveTo>
                    <a:pt x="1800" y="920"/>
                  </a:moveTo>
                  <a:lnTo>
                    <a:pt x="1800" y="922"/>
                  </a:lnTo>
                  <a:lnTo>
                    <a:pt x="1802" y="922"/>
                  </a:lnTo>
                  <a:lnTo>
                    <a:pt x="1802" y="924"/>
                  </a:lnTo>
                  <a:lnTo>
                    <a:pt x="1804" y="924"/>
                  </a:lnTo>
                  <a:lnTo>
                    <a:pt x="1804" y="926"/>
                  </a:lnTo>
                  <a:lnTo>
                    <a:pt x="1804" y="928"/>
                  </a:lnTo>
                  <a:lnTo>
                    <a:pt x="1802" y="930"/>
                  </a:lnTo>
                  <a:lnTo>
                    <a:pt x="1802" y="932"/>
                  </a:lnTo>
                  <a:lnTo>
                    <a:pt x="1802" y="933"/>
                  </a:lnTo>
                  <a:lnTo>
                    <a:pt x="1804" y="933"/>
                  </a:lnTo>
                  <a:lnTo>
                    <a:pt x="1804" y="935"/>
                  </a:lnTo>
                  <a:lnTo>
                    <a:pt x="1804" y="937"/>
                  </a:lnTo>
                  <a:lnTo>
                    <a:pt x="1806" y="939"/>
                  </a:lnTo>
                  <a:lnTo>
                    <a:pt x="1804" y="939"/>
                  </a:lnTo>
                  <a:lnTo>
                    <a:pt x="1804" y="941"/>
                  </a:lnTo>
                  <a:lnTo>
                    <a:pt x="1806" y="941"/>
                  </a:lnTo>
                  <a:lnTo>
                    <a:pt x="1806" y="939"/>
                  </a:lnTo>
                  <a:lnTo>
                    <a:pt x="1806" y="941"/>
                  </a:lnTo>
                  <a:lnTo>
                    <a:pt x="1804" y="943"/>
                  </a:lnTo>
                  <a:lnTo>
                    <a:pt x="1806" y="943"/>
                  </a:lnTo>
                  <a:lnTo>
                    <a:pt x="1806" y="945"/>
                  </a:lnTo>
                  <a:lnTo>
                    <a:pt x="1806" y="943"/>
                  </a:lnTo>
                  <a:lnTo>
                    <a:pt x="1806" y="945"/>
                  </a:lnTo>
                  <a:lnTo>
                    <a:pt x="1808" y="945"/>
                  </a:lnTo>
                  <a:lnTo>
                    <a:pt x="1808" y="947"/>
                  </a:lnTo>
                  <a:lnTo>
                    <a:pt x="1808" y="949"/>
                  </a:lnTo>
                  <a:lnTo>
                    <a:pt x="1808" y="951"/>
                  </a:lnTo>
                  <a:lnTo>
                    <a:pt x="1808" y="953"/>
                  </a:lnTo>
                  <a:lnTo>
                    <a:pt x="1808" y="955"/>
                  </a:lnTo>
                  <a:lnTo>
                    <a:pt x="1810" y="955"/>
                  </a:lnTo>
                  <a:lnTo>
                    <a:pt x="1810" y="957"/>
                  </a:lnTo>
                  <a:lnTo>
                    <a:pt x="1808" y="957"/>
                  </a:lnTo>
                  <a:lnTo>
                    <a:pt x="1808" y="955"/>
                  </a:lnTo>
                  <a:lnTo>
                    <a:pt x="1808" y="953"/>
                  </a:lnTo>
                  <a:lnTo>
                    <a:pt x="1808" y="951"/>
                  </a:lnTo>
                  <a:lnTo>
                    <a:pt x="1808" y="949"/>
                  </a:lnTo>
                  <a:lnTo>
                    <a:pt x="1806" y="949"/>
                  </a:lnTo>
                  <a:lnTo>
                    <a:pt x="1806" y="947"/>
                  </a:lnTo>
                  <a:lnTo>
                    <a:pt x="1806" y="945"/>
                  </a:lnTo>
                  <a:lnTo>
                    <a:pt x="1806" y="947"/>
                  </a:lnTo>
                  <a:lnTo>
                    <a:pt x="1804" y="947"/>
                  </a:lnTo>
                  <a:lnTo>
                    <a:pt x="1806" y="947"/>
                  </a:lnTo>
                  <a:lnTo>
                    <a:pt x="1806" y="949"/>
                  </a:lnTo>
                  <a:lnTo>
                    <a:pt x="1806" y="951"/>
                  </a:lnTo>
                  <a:lnTo>
                    <a:pt x="1806" y="953"/>
                  </a:lnTo>
                  <a:lnTo>
                    <a:pt x="1806" y="955"/>
                  </a:lnTo>
                  <a:lnTo>
                    <a:pt x="1808" y="955"/>
                  </a:lnTo>
                  <a:lnTo>
                    <a:pt x="1808" y="957"/>
                  </a:lnTo>
                  <a:lnTo>
                    <a:pt x="1808" y="955"/>
                  </a:lnTo>
                  <a:lnTo>
                    <a:pt x="1808" y="957"/>
                  </a:lnTo>
                  <a:lnTo>
                    <a:pt x="1808" y="955"/>
                  </a:lnTo>
                  <a:lnTo>
                    <a:pt x="1808" y="957"/>
                  </a:lnTo>
                  <a:lnTo>
                    <a:pt x="1810" y="957"/>
                  </a:lnTo>
                  <a:lnTo>
                    <a:pt x="1810" y="958"/>
                  </a:lnTo>
                  <a:lnTo>
                    <a:pt x="1810" y="960"/>
                  </a:lnTo>
                  <a:lnTo>
                    <a:pt x="1810" y="962"/>
                  </a:lnTo>
                  <a:lnTo>
                    <a:pt x="1810" y="964"/>
                  </a:lnTo>
                  <a:lnTo>
                    <a:pt x="1808" y="964"/>
                  </a:lnTo>
                  <a:lnTo>
                    <a:pt x="1808" y="966"/>
                  </a:lnTo>
                  <a:lnTo>
                    <a:pt x="1808" y="968"/>
                  </a:lnTo>
                  <a:lnTo>
                    <a:pt x="1808" y="970"/>
                  </a:lnTo>
                  <a:lnTo>
                    <a:pt x="1806" y="970"/>
                  </a:lnTo>
                  <a:lnTo>
                    <a:pt x="1808" y="968"/>
                  </a:lnTo>
                  <a:lnTo>
                    <a:pt x="1806" y="968"/>
                  </a:lnTo>
                  <a:lnTo>
                    <a:pt x="1808" y="968"/>
                  </a:lnTo>
                  <a:lnTo>
                    <a:pt x="1808" y="966"/>
                  </a:lnTo>
                  <a:lnTo>
                    <a:pt x="1808" y="964"/>
                  </a:lnTo>
                  <a:lnTo>
                    <a:pt x="1808" y="962"/>
                  </a:lnTo>
                  <a:lnTo>
                    <a:pt x="1808" y="964"/>
                  </a:lnTo>
                  <a:lnTo>
                    <a:pt x="1808" y="966"/>
                  </a:lnTo>
                  <a:lnTo>
                    <a:pt x="1806" y="966"/>
                  </a:lnTo>
                  <a:lnTo>
                    <a:pt x="1808" y="966"/>
                  </a:lnTo>
                  <a:lnTo>
                    <a:pt x="1806" y="966"/>
                  </a:lnTo>
                  <a:lnTo>
                    <a:pt x="1808" y="966"/>
                  </a:lnTo>
                  <a:lnTo>
                    <a:pt x="1806" y="966"/>
                  </a:lnTo>
                  <a:lnTo>
                    <a:pt x="1806" y="968"/>
                  </a:lnTo>
                  <a:lnTo>
                    <a:pt x="1806" y="970"/>
                  </a:lnTo>
                  <a:lnTo>
                    <a:pt x="1806" y="968"/>
                  </a:lnTo>
                  <a:lnTo>
                    <a:pt x="1806" y="970"/>
                  </a:lnTo>
                  <a:lnTo>
                    <a:pt x="1808" y="970"/>
                  </a:lnTo>
                  <a:lnTo>
                    <a:pt x="1806" y="970"/>
                  </a:lnTo>
                  <a:lnTo>
                    <a:pt x="1806" y="972"/>
                  </a:lnTo>
                  <a:lnTo>
                    <a:pt x="1806" y="974"/>
                  </a:lnTo>
                  <a:lnTo>
                    <a:pt x="1806" y="976"/>
                  </a:lnTo>
                  <a:lnTo>
                    <a:pt x="1806" y="978"/>
                  </a:lnTo>
                  <a:lnTo>
                    <a:pt x="1808" y="978"/>
                  </a:lnTo>
                  <a:lnTo>
                    <a:pt x="1806" y="978"/>
                  </a:lnTo>
                  <a:lnTo>
                    <a:pt x="1806" y="976"/>
                  </a:lnTo>
                  <a:lnTo>
                    <a:pt x="1806" y="974"/>
                  </a:lnTo>
                  <a:lnTo>
                    <a:pt x="1806" y="976"/>
                  </a:lnTo>
                  <a:lnTo>
                    <a:pt x="1806" y="978"/>
                  </a:lnTo>
                  <a:lnTo>
                    <a:pt x="1806" y="980"/>
                  </a:lnTo>
                  <a:lnTo>
                    <a:pt x="1808" y="980"/>
                  </a:lnTo>
                  <a:lnTo>
                    <a:pt x="1808" y="982"/>
                  </a:lnTo>
                  <a:lnTo>
                    <a:pt x="1808" y="980"/>
                  </a:lnTo>
                  <a:lnTo>
                    <a:pt x="1808" y="978"/>
                  </a:lnTo>
                  <a:lnTo>
                    <a:pt x="1806" y="978"/>
                  </a:lnTo>
                  <a:lnTo>
                    <a:pt x="1808" y="978"/>
                  </a:lnTo>
                  <a:lnTo>
                    <a:pt x="1808" y="980"/>
                  </a:lnTo>
                  <a:lnTo>
                    <a:pt x="1808" y="982"/>
                  </a:lnTo>
                  <a:lnTo>
                    <a:pt x="1808" y="983"/>
                  </a:lnTo>
                  <a:lnTo>
                    <a:pt x="1810" y="983"/>
                  </a:lnTo>
                  <a:lnTo>
                    <a:pt x="1810" y="985"/>
                  </a:lnTo>
                  <a:lnTo>
                    <a:pt x="1810" y="983"/>
                  </a:lnTo>
                  <a:lnTo>
                    <a:pt x="1808" y="983"/>
                  </a:lnTo>
                  <a:lnTo>
                    <a:pt x="1808" y="985"/>
                  </a:lnTo>
                  <a:lnTo>
                    <a:pt x="1808" y="987"/>
                  </a:lnTo>
                  <a:lnTo>
                    <a:pt x="1808" y="989"/>
                  </a:lnTo>
                  <a:lnTo>
                    <a:pt x="1810" y="989"/>
                  </a:lnTo>
                  <a:lnTo>
                    <a:pt x="1810" y="987"/>
                  </a:lnTo>
                  <a:lnTo>
                    <a:pt x="1810" y="985"/>
                  </a:lnTo>
                  <a:lnTo>
                    <a:pt x="1810" y="987"/>
                  </a:lnTo>
                  <a:lnTo>
                    <a:pt x="1810" y="989"/>
                  </a:lnTo>
                  <a:lnTo>
                    <a:pt x="1810" y="987"/>
                  </a:lnTo>
                  <a:lnTo>
                    <a:pt x="1810" y="985"/>
                  </a:lnTo>
                  <a:lnTo>
                    <a:pt x="1810" y="983"/>
                  </a:lnTo>
                  <a:lnTo>
                    <a:pt x="1808" y="983"/>
                  </a:lnTo>
                  <a:lnTo>
                    <a:pt x="1810" y="983"/>
                  </a:lnTo>
                  <a:lnTo>
                    <a:pt x="1810" y="985"/>
                  </a:lnTo>
                  <a:lnTo>
                    <a:pt x="1810" y="987"/>
                  </a:lnTo>
                  <a:lnTo>
                    <a:pt x="1810" y="989"/>
                  </a:lnTo>
                  <a:lnTo>
                    <a:pt x="1812" y="989"/>
                  </a:lnTo>
                  <a:lnTo>
                    <a:pt x="1812" y="991"/>
                  </a:lnTo>
                  <a:lnTo>
                    <a:pt x="1812" y="993"/>
                  </a:lnTo>
                  <a:lnTo>
                    <a:pt x="1810" y="993"/>
                  </a:lnTo>
                  <a:lnTo>
                    <a:pt x="1812" y="993"/>
                  </a:lnTo>
                  <a:lnTo>
                    <a:pt x="1812" y="995"/>
                  </a:lnTo>
                  <a:lnTo>
                    <a:pt x="1812" y="993"/>
                  </a:lnTo>
                  <a:lnTo>
                    <a:pt x="1812" y="995"/>
                  </a:lnTo>
                  <a:lnTo>
                    <a:pt x="1812" y="997"/>
                  </a:lnTo>
                  <a:lnTo>
                    <a:pt x="1812" y="999"/>
                  </a:lnTo>
                  <a:lnTo>
                    <a:pt x="1814" y="999"/>
                  </a:lnTo>
                  <a:lnTo>
                    <a:pt x="1814" y="1001"/>
                  </a:lnTo>
                  <a:lnTo>
                    <a:pt x="1814" y="1003"/>
                  </a:lnTo>
                  <a:lnTo>
                    <a:pt x="1814" y="1005"/>
                  </a:lnTo>
                  <a:lnTo>
                    <a:pt x="1814" y="1006"/>
                  </a:lnTo>
                  <a:lnTo>
                    <a:pt x="1814" y="1008"/>
                  </a:lnTo>
                  <a:lnTo>
                    <a:pt x="1814" y="1010"/>
                  </a:lnTo>
                  <a:lnTo>
                    <a:pt x="1816" y="1012"/>
                  </a:lnTo>
                  <a:lnTo>
                    <a:pt x="1816" y="1016"/>
                  </a:lnTo>
                  <a:lnTo>
                    <a:pt x="1816" y="1018"/>
                  </a:lnTo>
                  <a:lnTo>
                    <a:pt x="1818" y="1020"/>
                  </a:lnTo>
                  <a:lnTo>
                    <a:pt x="1818" y="1022"/>
                  </a:lnTo>
                  <a:lnTo>
                    <a:pt x="1820" y="1024"/>
                  </a:lnTo>
                  <a:lnTo>
                    <a:pt x="1820" y="1026"/>
                  </a:lnTo>
                  <a:lnTo>
                    <a:pt x="1820" y="1028"/>
                  </a:lnTo>
                  <a:lnTo>
                    <a:pt x="1821" y="1030"/>
                  </a:lnTo>
                  <a:lnTo>
                    <a:pt x="1821" y="1031"/>
                  </a:lnTo>
                  <a:lnTo>
                    <a:pt x="1821" y="1033"/>
                  </a:lnTo>
                  <a:lnTo>
                    <a:pt x="1821" y="1035"/>
                  </a:lnTo>
                  <a:lnTo>
                    <a:pt x="1823" y="1035"/>
                  </a:lnTo>
                  <a:lnTo>
                    <a:pt x="1821" y="1035"/>
                  </a:lnTo>
                  <a:lnTo>
                    <a:pt x="1821" y="1037"/>
                  </a:lnTo>
                  <a:lnTo>
                    <a:pt x="1823" y="1037"/>
                  </a:lnTo>
                  <a:lnTo>
                    <a:pt x="1823" y="1039"/>
                  </a:lnTo>
                  <a:lnTo>
                    <a:pt x="1823" y="1041"/>
                  </a:lnTo>
                  <a:lnTo>
                    <a:pt x="1823" y="1043"/>
                  </a:lnTo>
                  <a:lnTo>
                    <a:pt x="1825" y="1045"/>
                  </a:lnTo>
                  <a:lnTo>
                    <a:pt x="1825" y="1047"/>
                  </a:lnTo>
                  <a:lnTo>
                    <a:pt x="1827" y="1047"/>
                  </a:lnTo>
                  <a:lnTo>
                    <a:pt x="1827" y="1049"/>
                  </a:lnTo>
                  <a:lnTo>
                    <a:pt x="1829" y="1049"/>
                  </a:lnTo>
                  <a:lnTo>
                    <a:pt x="1829" y="1051"/>
                  </a:lnTo>
                  <a:lnTo>
                    <a:pt x="1829" y="1053"/>
                  </a:lnTo>
                  <a:lnTo>
                    <a:pt x="1829" y="1055"/>
                  </a:lnTo>
                  <a:lnTo>
                    <a:pt x="1829" y="1053"/>
                  </a:lnTo>
                  <a:lnTo>
                    <a:pt x="1829" y="1051"/>
                  </a:lnTo>
                  <a:lnTo>
                    <a:pt x="1827" y="1051"/>
                  </a:lnTo>
                  <a:lnTo>
                    <a:pt x="1827" y="1049"/>
                  </a:lnTo>
                  <a:lnTo>
                    <a:pt x="1825" y="1047"/>
                  </a:lnTo>
                  <a:lnTo>
                    <a:pt x="1825" y="1045"/>
                  </a:lnTo>
                  <a:lnTo>
                    <a:pt x="1823" y="1045"/>
                  </a:lnTo>
                  <a:lnTo>
                    <a:pt x="1823" y="1043"/>
                  </a:lnTo>
                  <a:lnTo>
                    <a:pt x="1821" y="1043"/>
                  </a:lnTo>
                  <a:lnTo>
                    <a:pt x="1821" y="1041"/>
                  </a:lnTo>
                  <a:lnTo>
                    <a:pt x="1820" y="1041"/>
                  </a:lnTo>
                  <a:lnTo>
                    <a:pt x="1818" y="1041"/>
                  </a:lnTo>
                  <a:lnTo>
                    <a:pt x="1818" y="1039"/>
                  </a:lnTo>
                  <a:lnTo>
                    <a:pt x="1816" y="1039"/>
                  </a:lnTo>
                  <a:lnTo>
                    <a:pt x="1814" y="1039"/>
                  </a:lnTo>
                  <a:lnTo>
                    <a:pt x="1812" y="1039"/>
                  </a:lnTo>
                  <a:lnTo>
                    <a:pt x="1810" y="1039"/>
                  </a:lnTo>
                  <a:lnTo>
                    <a:pt x="1808" y="1039"/>
                  </a:lnTo>
                  <a:lnTo>
                    <a:pt x="1808" y="1041"/>
                  </a:lnTo>
                  <a:lnTo>
                    <a:pt x="1806" y="1041"/>
                  </a:lnTo>
                  <a:lnTo>
                    <a:pt x="1806" y="1043"/>
                  </a:lnTo>
                  <a:lnTo>
                    <a:pt x="1804" y="1043"/>
                  </a:lnTo>
                  <a:lnTo>
                    <a:pt x="1804" y="1045"/>
                  </a:lnTo>
                  <a:lnTo>
                    <a:pt x="1804" y="1047"/>
                  </a:lnTo>
                  <a:lnTo>
                    <a:pt x="1804" y="1049"/>
                  </a:lnTo>
                  <a:lnTo>
                    <a:pt x="1804" y="1051"/>
                  </a:lnTo>
                  <a:lnTo>
                    <a:pt x="1802" y="1051"/>
                  </a:lnTo>
                  <a:lnTo>
                    <a:pt x="1802" y="1053"/>
                  </a:lnTo>
                  <a:lnTo>
                    <a:pt x="1802" y="1055"/>
                  </a:lnTo>
                  <a:lnTo>
                    <a:pt x="1800" y="1055"/>
                  </a:lnTo>
                  <a:lnTo>
                    <a:pt x="1800" y="1056"/>
                  </a:lnTo>
                  <a:lnTo>
                    <a:pt x="1800" y="1058"/>
                  </a:lnTo>
                  <a:lnTo>
                    <a:pt x="1800" y="1060"/>
                  </a:lnTo>
                  <a:lnTo>
                    <a:pt x="1800" y="1062"/>
                  </a:lnTo>
                  <a:lnTo>
                    <a:pt x="1798" y="1062"/>
                  </a:lnTo>
                  <a:lnTo>
                    <a:pt x="1798" y="1064"/>
                  </a:lnTo>
                  <a:lnTo>
                    <a:pt x="1798" y="1066"/>
                  </a:lnTo>
                  <a:lnTo>
                    <a:pt x="1798" y="1068"/>
                  </a:lnTo>
                  <a:lnTo>
                    <a:pt x="1797" y="1068"/>
                  </a:lnTo>
                  <a:lnTo>
                    <a:pt x="1798" y="1068"/>
                  </a:lnTo>
                  <a:lnTo>
                    <a:pt x="1798" y="1070"/>
                  </a:lnTo>
                  <a:lnTo>
                    <a:pt x="1798" y="1072"/>
                  </a:lnTo>
                  <a:lnTo>
                    <a:pt x="1798" y="1074"/>
                  </a:lnTo>
                  <a:lnTo>
                    <a:pt x="1798" y="1076"/>
                  </a:lnTo>
                  <a:lnTo>
                    <a:pt x="1798" y="1078"/>
                  </a:lnTo>
                  <a:lnTo>
                    <a:pt x="1800" y="1079"/>
                  </a:lnTo>
                  <a:lnTo>
                    <a:pt x="1800" y="1081"/>
                  </a:lnTo>
                  <a:lnTo>
                    <a:pt x="1802" y="1081"/>
                  </a:lnTo>
                  <a:lnTo>
                    <a:pt x="1804" y="1081"/>
                  </a:lnTo>
                  <a:lnTo>
                    <a:pt x="1804" y="1083"/>
                  </a:lnTo>
                  <a:lnTo>
                    <a:pt x="1804" y="1085"/>
                  </a:lnTo>
                  <a:lnTo>
                    <a:pt x="1804" y="1087"/>
                  </a:lnTo>
                  <a:lnTo>
                    <a:pt x="1806" y="1087"/>
                  </a:lnTo>
                  <a:lnTo>
                    <a:pt x="1804" y="1087"/>
                  </a:lnTo>
                  <a:lnTo>
                    <a:pt x="1804" y="1089"/>
                  </a:lnTo>
                  <a:lnTo>
                    <a:pt x="1806" y="1089"/>
                  </a:lnTo>
                  <a:lnTo>
                    <a:pt x="1806" y="1091"/>
                  </a:lnTo>
                  <a:lnTo>
                    <a:pt x="1806" y="1093"/>
                  </a:lnTo>
                  <a:lnTo>
                    <a:pt x="1808" y="1093"/>
                  </a:lnTo>
                  <a:lnTo>
                    <a:pt x="1808" y="1095"/>
                  </a:lnTo>
                  <a:lnTo>
                    <a:pt x="1810" y="1095"/>
                  </a:lnTo>
                  <a:lnTo>
                    <a:pt x="1810" y="1093"/>
                  </a:lnTo>
                  <a:lnTo>
                    <a:pt x="1812" y="1093"/>
                  </a:lnTo>
                  <a:lnTo>
                    <a:pt x="1812" y="1095"/>
                  </a:lnTo>
                  <a:lnTo>
                    <a:pt x="1812" y="1097"/>
                  </a:lnTo>
                  <a:lnTo>
                    <a:pt x="1812" y="1099"/>
                  </a:lnTo>
                  <a:lnTo>
                    <a:pt x="1812" y="1101"/>
                  </a:lnTo>
                  <a:lnTo>
                    <a:pt x="1812" y="1103"/>
                  </a:lnTo>
                  <a:lnTo>
                    <a:pt x="1814" y="1103"/>
                  </a:lnTo>
                  <a:lnTo>
                    <a:pt x="1812" y="1103"/>
                  </a:lnTo>
                  <a:lnTo>
                    <a:pt x="1814" y="1103"/>
                  </a:lnTo>
                  <a:lnTo>
                    <a:pt x="1814" y="1104"/>
                  </a:lnTo>
                  <a:lnTo>
                    <a:pt x="1812" y="1104"/>
                  </a:lnTo>
                  <a:lnTo>
                    <a:pt x="1812" y="1106"/>
                  </a:lnTo>
                  <a:lnTo>
                    <a:pt x="1812" y="1108"/>
                  </a:lnTo>
                  <a:lnTo>
                    <a:pt x="1812" y="1110"/>
                  </a:lnTo>
                  <a:lnTo>
                    <a:pt x="1810" y="1110"/>
                  </a:lnTo>
                  <a:lnTo>
                    <a:pt x="1810" y="1108"/>
                  </a:lnTo>
                  <a:lnTo>
                    <a:pt x="1810" y="1106"/>
                  </a:lnTo>
                  <a:lnTo>
                    <a:pt x="1810" y="1104"/>
                  </a:lnTo>
                  <a:lnTo>
                    <a:pt x="1810" y="1103"/>
                  </a:lnTo>
                  <a:lnTo>
                    <a:pt x="1810" y="1101"/>
                  </a:lnTo>
                  <a:lnTo>
                    <a:pt x="1808" y="1101"/>
                  </a:lnTo>
                  <a:lnTo>
                    <a:pt x="1808" y="1099"/>
                  </a:lnTo>
                  <a:lnTo>
                    <a:pt x="1806" y="1099"/>
                  </a:lnTo>
                  <a:lnTo>
                    <a:pt x="1804" y="1099"/>
                  </a:lnTo>
                  <a:lnTo>
                    <a:pt x="1802" y="1099"/>
                  </a:lnTo>
                  <a:lnTo>
                    <a:pt x="1800" y="1099"/>
                  </a:lnTo>
                  <a:lnTo>
                    <a:pt x="1800" y="1097"/>
                  </a:lnTo>
                  <a:lnTo>
                    <a:pt x="1800" y="1095"/>
                  </a:lnTo>
                  <a:lnTo>
                    <a:pt x="1800" y="1097"/>
                  </a:lnTo>
                  <a:lnTo>
                    <a:pt x="1798" y="1097"/>
                  </a:lnTo>
                  <a:lnTo>
                    <a:pt x="1797" y="1097"/>
                  </a:lnTo>
                  <a:lnTo>
                    <a:pt x="1798" y="1097"/>
                  </a:lnTo>
                  <a:lnTo>
                    <a:pt x="1797" y="1097"/>
                  </a:lnTo>
                  <a:lnTo>
                    <a:pt x="1797" y="1099"/>
                  </a:lnTo>
                  <a:lnTo>
                    <a:pt x="1797" y="1101"/>
                  </a:lnTo>
                  <a:lnTo>
                    <a:pt x="1795" y="1101"/>
                  </a:lnTo>
                  <a:lnTo>
                    <a:pt x="1795" y="1103"/>
                  </a:lnTo>
                  <a:lnTo>
                    <a:pt x="1795" y="1104"/>
                  </a:lnTo>
                  <a:lnTo>
                    <a:pt x="1793" y="1106"/>
                  </a:lnTo>
                  <a:lnTo>
                    <a:pt x="1793" y="1108"/>
                  </a:lnTo>
                  <a:lnTo>
                    <a:pt x="1793" y="1110"/>
                  </a:lnTo>
                  <a:lnTo>
                    <a:pt x="1793" y="1112"/>
                  </a:lnTo>
                  <a:lnTo>
                    <a:pt x="1791" y="1112"/>
                  </a:lnTo>
                  <a:lnTo>
                    <a:pt x="1791" y="1114"/>
                  </a:lnTo>
                  <a:lnTo>
                    <a:pt x="1791" y="1112"/>
                  </a:lnTo>
                  <a:lnTo>
                    <a:pt x="1789" y="1112"/>
                  </a:lnTo>
                  <a:lnTo>
                    <a:pt x="1789" y="1110"/>
                  </a:lnTo>
                  <a:lnTo>
                    <a:pt x="1789" y="1108"/>
                  </a:lnTo>
                  <a:lnTo>
                    <a:pt x="1789" y="1106"/>
                  </a:lnTo>
                  <a:lnTo>
                    <a:pt x="1789" y="1104"/>
                  </a:lnTo>
                  <a:lnTo>
                    <a:pt x="1789" y="1103"/>
                  </a:lnTo>
                  <a:lnTo>
                    <a:pt x="1787" y="1103"/>
                  </a:lnTo>
                  <a:lnTo>
                    <a:pt x="1787" y="1101"/>
                  </a:lnTo>
                  <a:lnTo>
                    <a:pt x="1787" y="1099"/>
                  </a:lnTo>
                  <a:lnTo>
                    <a:pt x="1787" y="1097"/>
                  </a:lnTo>
                  <a:lnTo>
                    <a:pt x="1789" y="1097"/>
                  </a:lnTo>
                  <a:lnTo>
                    <a:pt x="1789" y="1095"/>
                  </a:lnTo>
                  <a:lnTo>
                    <a:pt x="1789" y="1093"/>
                  </a:lnTo>
                  <a:lnTo>
                    <a:pt x="1791" y="1091"/>
                  </a:lnTo>
                  <a:lnTo>
                    <a:pt x="1791" y="1089"/>
                  </a:lnTo>
                  <a:lnTo>
                    <a:pt x="1791" y="1087"/>
                  </a:lnTo>
                  <a:lnTo>
                    <a:pt x="1791" y="1085"/>
                  </a:lnTo>
                  <a:lnTo>
                    <a:pt x="1789" y="1083"/>
                  </a:lnTo>
                  <a:lnTo>
                    <a:pt x="1791" y="1081"/>
                  </a:lnTo>
                  <a:lnTo>
                    <a:pt x="1789" y="1081"/>
                  </a:lnTo>
                  <a:lnTo>
                    <a:pt x="1789" y="1079"/>
                  </a:lnTo>
                  <a:lnTo>
                    <a:pt x="1789" y="1078"/>
                  </a:lnTo>
                  <a:lnTo>
                    <a:pt x="1789" y="1076"/>
                  </a:lnTo>
                  <a:lnTo>
                    <a:pt x="1791" y="1076"/>
                  </a:lnTo>
                  <a:lnTo>
                    <a:pt x="1791" y="1074"/>
                  </a:lnTo>
                  <a:lnTo>
                    <a:pt x="1791" y="1072"/>
                  </a:lnTo>
                  <a:lnTo>
                    <a:pt x="1793" y="1070"/>
                  </a:lnTo>
                  <a:lnTo>
                    <a:pt x="1793" y="1068"/>
                  </a:lnTo>
                  <a:lnTo>
                    <a:pt x="1793" y="1066"/>
                  </a:lnTo>
                  <a:lnTo>
                    <a:pt x="1793" y="1064"/>
                  </a:lnTo>
                  <a:lnTo>
                    <a:pt x="1793" y="1062"/>
                  </a:lnTo>
                  <a:lnTo>
                    <a:pt x="1791" y="1060"/>
                  </a:lnTo>
                  <a:lnTo>
                    <a:pt x="1791" y="1058"/>
                  </a:lnTo>
                  <a:lnTo>
                    <a:pt x="1791" y="1056"/>
                  </a:lnTo>
                  <a:lnTo>
                    <a:pt x="1789" y="1056"/>
                  </a:lnTo>
                  <a:lnTo>
                    <a:pt x="1789" y="1055"/>
                  </a:lnTo>
                  <a:lnTo>
                    <a:pt x="1789" y="1053"/>
                  </a:lnTo>
                  <a:lnTo>
                    <a:pt x="1787" y="1053"/>
                  </a:lnTo>
                  <a:lnTo>
                    <a:pt x="1787" y="1051"/>
                  </a:lnTo>
                  <a:lnTo>
                    <a:pt x="1789" y="1051"/>
                  </a:lnTo>
                  <a:lnTo>
                    <a:pt x="1789" y="1049"/>
                  </a:lnTo>
                  <a:lnTo>
                    <a:pt x="1789" y="1047"/>
                  </a:lnTo>
                  <a:lnTo>
                    <a:pt x="1791" y="1047"/>
                  </a:lnTo>
                  <a:lnTo>
                    <a:pt x="1791" y="1045"/>
                  </a:lnTo>
                  <a:lnTo>
                    <a:pt x="1791" y="1043"/>
                  </a:lnTo>
                  <a:lnTo>
                    <a:pt x="1791" y="1041"/>
                  </a:lnTo>
                  <a:lnTo>
                    <a:pt x="1791" y="1039"/>
                  </a:lnTo>
                  <a:lnTo>
                    <a:pt x="1791" y="1037"/>
                  </a:lnTo>
                  <a:lnTo>
                    <a:pt x="1791" y="1035"/>
                  </a:lnTo>
                  <a:lnTo>
                    <a:pt x="1793" y="1035"/>
                  </a:lnTo>
                  <a:lnTo>
                    <a:pt x="1793" y="1033"/>
                  </a:lnTo>
                  <a:lnTo>
                    <a:pt x="1793" y="1031"/>
                  </a:lnTo>
                  <a:lnTo>
                    <a:pt x="1793" y="1030"/>
                  </a:lnTo>
                  <a:lnTo>
                    <a:pt x="1793" y="1028"/>
                  </a:lnTo>
                  <a:lnTo>
                    <a:pt x="1791" y="1028"/>
                  </a:lnTo>
                  <a:lnTo>
                    <a:pt x="1791" y="1026"/>
                  </a:lnTo>
                  <a:lnTo>
                    <a:pt x="1793" y="1026"/>
                  </a:lnTo>
                  <a:lnTo>
                    <a:pt x="1791" y="1026"/>
                  </a:lnTo>
                  <a:lnTo>
                    <a:pt x="1793" y="1026"/>
                  </a:lnTo>
                  <a:lnTo>
                    <a:pt x="1793" y="1024"/>
                  </a:lnTo>
                  <a:lnTo>
                    <a:pt x="1793" y="1022"/>
                  </a:lnTo>
                  <a:lnTo>
                    <a:pt x="1793" y="1020"/>
                  </a:lnTo>
                  <a:lnTo>
                    <a:pt x="1793" y="1018"/>
                  </a:lnTo>
                  <a:lnTo>
                    <a:pt x="1791" y="1018"/>
                  </a:lnTo>
                  <a:lnTo>
                    <a:pt x="1791" y="1016"/>
                  </a:lnTo>
                  <a:lnTo>
                    <a:pt x="1793" y="1016"/>
                  </a:lnTo>
                  <a:lnTo>
                    <a:pt x="1793" y="1014"/>
                  </a:lnTo>
                  <a:lnTo>
                    <a:pt x="1791" y="1014"/>
                  </a:lnTo>
                  <a:lnTo>
                    <a:pt x="1791" y="1012"/>
                  </a:lnTo>
                  <a:lnTo>
                    <a:pt x="1791" y="1010"/>
                  </a:lnTo>
                  <a:lnTo>
                    <a:pt x="1791" y="1008"/>
                  </a:lnTo>
                  <a:lnTo>
                    <a:pt x="1791" y="1006"/>
                  </a:lnTo>
                  <a:lnTo>
                    <a:pt x="1791" y="1005"/>
                  </a:lnTo>
                  <a:lnTo>
                    <a:pt x="1791" y="1003"/>
                  </a:lnTo>
                  <a:lnTo>
                    <a:pt x="1793" y="1003"/>
                  </a:lnTo>
                  <a:lnTo>
                    <a:pt x="1793" y="1001"/>
                  </a:lnTo>
                  <a:lnTo>
                    <a:pt x="1793" y="999"/>
                  </a:lnTo>
                  <a:lnTo>
                    <a:pt x="1793" y="997"/>
                  </a:lnTo>
                  <a:lnTo>
                    <a:pt x="1793" y="995"/>
                  </a:lnTo>
                  <a:lnTo>
                    <a:pt x="1793" y="993"/>
                  </a:lnTo>
                  <a:lnTo>
                    <a:pt x="1791" y="993"/>
                  </a:lnTo>
                  <a:lnTo>
                    <a:pt x="1791" y="991"/>
                  </a:lnTo>
                  <a:lnTo>
                    <a:pt x="1791" y="989"/>
                  </a:lnTo>
                  <a:lnTo>
                    <a:pt x="1789" y="989"/>
                  </a:lnTo>
                  <a:lnTo>
                    <a:pt x="1789" y="987"/>
                  </a:lnTo>
                  <a:lnTo>
                    <a:pt x="1789" y="985"/>
                  </a:lnTo>
                  <a:lnTo>
                    <a:pt x="1789" y="987"/>
                  </a:lnTo>
                  <a:lnTo>
                    <a:pt x="1787" y="985"/>
                  </a:lnTo>
                  <a:lnTo>
                    <a:pt x="1787" y="983"/>
                  </a:lnTo>
                  <a:lnTo>
                    <a:pt x="1785" y="983"/>
                  </a:lnTo>
                  <a:lnTo>
                    <a:pt x="1787" y="983"/>
                  </a:lnTo>
                  <a:lnTo>
                    <a:pt x="1787" y="982"/>
                  </a:lnTo>
                  <a:lnTo>
                    <a:pt x="1785" y="982"/>
                  </a:lnTo>
                  <a:lnTo>
                    <a:pt x="1785" y="980"/>
                  </a:lnTo>
                  <a:lnTo>
                    <a:pt x="1785" y="978"/>
                  </a:lnTo>
                  <a:lnTo>
                    <a:pt x="1785" y="976"/>
                  </a:lnTo>
                  <a:lnTo>
                    <a:pt x="1785" y="974"/>
                  </a:lnTo>
                  <a:lnTo>
                    <a:pt x="1785" y="972"/>
                  </a:lnTo>
                  <a:lnTo>
                    <a:pt x="1785" y="970"/>
                  </a:lnTo>
                  <a:lnTo>
                    <a:pt x="1785" y="968"/>
                  </a:lnTo>
                  <a:lnTo>
                    <a:pt x="1787" y="966"/>
                  </a:lnTo>
                  <a:lnTo>
                    <a:pt x="1787" y="964"/>
                  </a:lnTo>
                  <a:lnTo>
                    <a:pt x="1787" y="962"/>
                  </a:lnTo>
                  <a:lnTo>
                    <a:pt x="1787" y="960"/>
                  </a:lnTo>
                  <a:lnTo>
                    <a:pt x="1787" y="958"/>
                  </a:lnTo>
                  <a:lnTo>
                    <a:pt x="1787" y="957"/>
                  </a:lnTo>
                  <a:lnTo>
                    <a:pt x="1789" y="955"/>
                  </a:lnTo>
                  <a:lnTo>
                    <a:pt x="1789" y="953"/>
                  </a:lnTo>
                  <a:lnTo>
                    <a:pt x="1789" y="951"/>
                  </a:lnTo>
                  <a:lnTo>
                    <a:pt x="1787" y="951"/>
                  </a:lnTo>
                  <a:lnTo>
                    <a:pt x="1787" y="949"/>
                  </a:lnTo>
                  <a:lnTo>
                    <a:pt x="1787" y="947"/>
                  </a:lnTo>
                  <a:lnTo>
                    <a:pt x="1787" y="945"/>
                  </a:lnTo>
                  <a:lnTo>
                    <a:pt x="1787" y="943"/>
                  </a:lnTo>
                  <a:lnTo>
                    <a:pt x="1789" y="943"/>
                  </a:lnTo>
                  <a:lnTo>
                    <a:pt x="1789" y="941"/>
                  </a:lnTo>
                  <a:lnTo>
                    <a:pt x="1791" y="941"/>
                  </a:lnTo>
                  <a:lnTo>
                    <a:pt x="1793" y="941"/>
                  </a:lnTo>
                  <a:lnTo>
                    <a:pt x="1793" y="939"/>
                  </a:lnTo>
                  <a:lnTo>
                    <a:pt x="1793" y="941"/>
                  </a:lnTo>
                  <a:lnTo>
                    <a:pt x="1795" y="941"/>
                  </a:lnTo>
                  <a:lnTo>
                    <a:pt x="1793" y="941"/>
                  </a:lnTo>
                  <a:lnTo>
                    <a:pt x="1793" y="943"/>
                  </a:lnTo>
                  <a:lnTo>
                    <a:pt x="1793" y="945"/>
                  </a:lnTo>
                  <a:lnTo>
                    <a:pt x="1793" y="943"/>
                  </a:lnTo>
                  <a:lnTo>
                    <a:pt x="1793" y="945"/>
                  </a:lnTo>
                  <a:lnTo>
                    <a:pt x="1795" y="945"/>
                  </a:lnTo>
                  <a:lnTo>
                    <a:pt x="1795" y="943"/>
                  </a:lnTo>
                  <a:lnTo>
                    <a:pt x="1795" y="945"/>
                  </a:lnTo>
                  <a:lnTo>
                    <a:pt x="1797" y="945"/>
                  </a:lnTo>
                  <a:lnTo>
                    <a:pt x="1797" y="943"/>
                  </a:lnTo>
                  <a:lnTo>
                    <a:pt x="1798" y="941"/>
                  </a:lnTo>
                  <a:lnTo>
                    <a:pt x="1800" y="941"/>
                  </a:lnTo>
                  <a:lnTo>
                    <a:pt x="1800" y="939"/>
                  </a:lnTo>
                  <a:lnTo>
                    <a:pt x="1798" y="939"/>
                  </a:lnTo>
                  <a:lnTo>
                    <a:pt x="1797" y="939"/>
                  </a:lnTo>
                  <a:lnTo>
                    <a:pt x="1797" y="937"/>
                  </a:lnTo>
                  <a:lnTo>
                    <a:pt x="1798" y="937"/>
                  </a:lnTo>
                  <a:lnTo>
                    <a:pt x="1800" y="937"/>
                  </a:lnTo>
                  <a:lnTo>
                    <a:pt x="1798" y="937"/>
                  </a:lnTo>
                  <a:lnTo>
                    <a:pt x="1800" y="937"/>
                  </a:lnTo>
                  <a:lnTo>
                    <a:pt x="1800" y="939"/>
                  </a:lnTo>
                  <a:lnTo>
                    <a:pt x="1800" y="937"/>
                  </a:lnTo>
                  <a:lnTo>
                    <a:pt x="1802" y="935"/>
                  </a:lnTo>
                  <a:lnTo>
                    <a:pt x="1800" y="935"/>
                  </a:lnTo>
                  <a:lnTo>
                    <a:pt x="1800" y="933"/>
                  </a:lnTo>
                  <a:lnTo>
                    <a:pt x="1800" y="932"/>
                  </a:lnTo>
                  <a:lnTo>
                    <a:pt x="1800" y="933"/>
                  </a:lnTo>
                  <a:lnTo>
                    <a:pt x="1800" y="935"/>
                  </a:lnTo>
                  <a:lnTo>
                    <a:pt x="1798" y="935"/>
                  </a:lnTo>
                  <a:lnTo>
                    <a:pt x="1798" y="937"/>
                  </a:lnTo>
                  <a:lnTo>
                    <a:pt x="1798" y="935"/>
                  </a:lnTo>
                  <a:lnTo>
                    <a:pt x="1798" y="933"/>
                  </a:lnTo>
                  <a:lnTo>
                    <a:pt x="1800" y="933"/>
                  </a:lnTo>
                  <a:lnTo>
                    <a:pt x="1800" y="932"/>
                  </a:lnTo>
                  <a:lnTo>
                    <a:pt x="1800" y="930"/>
                  </a:lnTo>
                  <a:lnTo>
                    <a:pt x="1798" y="930"/>
                  </a:lnTo>
                  <a:lnTo>
                    <a:pt x="1798" y="928"/>
                  </a:lnTo>
                  <a:lnTo>
                    <a:pt x="1797" y="928"/>
                  </a:lnTo>
                  <a:lnTo>
                    <a:pt x="1797" y="926"/>
                  </a:lnTo>
                  <a:lnTo>
                    <a:pt x="1797" y="924"/>
                  </a:lnTo>
                  <a:lnTo>
                    <a:pt x="1795" y="922"/>
                  </a:lnTo>
                  <a:lnTo>
                    <a:pt x="1793" y="922"/>
                  </a:lnTo>
                  <a:lnTo>
                    <a:pt x="1795" y="922"/>
                  </a:lnTo>
                  <a:lnTo>
                    <a:pt x="1797" y="922"/>
                  </a:lnTo>
                  <a:lnTo>
                    <a:pt x="1798" y="924"/>
                  </a:lnTo>
                  <a:lnTo>
                    <a:pt x="1798" y="922"/>
                  </a:lnTo>
                  <a:lnTo>
                    <a:pt x="1798" y="924"/>
                  </a:lnTo>
                  <a:lnTo>
                    <a:pt x="1798" y="922"/>
                  </a:lnTo>
                  <a:lnTo>
                    <a:pt x="1800" y="922"/>
                  </a:lnTo>
                  <a:lnTo>
                    <a:pt x="1798" y="922"/>
                  </a:lnTo>
                  <a:lnTo>
                    <a:pt x="1798" y="920"/>
                  </a:lnTo>
                  <a:lnTo>
                    <a:pt x="1800" y="920"/>
                  </a:lnTo>
                  <a:lnTo>
                    <a:pt x="1800" y="918"/>
                  </a:lnTo>
                  <a:lnTo>
                    <a:pt x="1800" y="920"/>
                  </a:lnTo>
                  <a:close/>
                  <a:moveTo>
                    <a:pt x="1749" y="100"/>
                  </a:moveTo>
                  <a:lnTo>
                    <a:pt x="1747" y="100"/>
                  </a:lnTo>
                  <a:lnTo>
                    <a:pt x="1747" y="102"/>
                  </a:lnTo>
                  <a:lnTo>
                    <a:pt x="1747" y="104"/>
                  </a:lnTo>
                  <a:lnTo>
                    <a:pt x="1747" y="106"/>
                  </a:lnTo>
                  <a:lnTo>
                    <a:pt x="1749" y="106"/>
                  </a:lnTo>
                  <a:lnTo>
                    <a:pt x="1747" y="106"/>
                  </a:lnTo>
                  <a:lnTo>
                    <a:pt x="1747" y="108"/>
                  </a:lnTo>
                  <a:lnTo>
                    <a:pt x="1747" y="106"/>
                  </a:lnTo>
                  <a:lnTo>
                    <a:pt x="1749" y="106"/>
                  </a:lnTo>
                  <a:lnTo>
                    <a:pt x="1749" y="108"/>
                  </a:lnTo>
                  <a:lnTo>
                    <a:pt x="1750" y="108"/>
                  </a:lnTo>
                  <a:lnTo>
                    <a:pt x="1750" y="109"/>
                  </a:lnTo>
                  <a:lnTo>
                    <a:pt x="1752" y="109"/>
                  </a:lnTo>
                  <a:lnTo>
                    <a:pt x="1754" y="111"/>
                  </a:lnTo>
                  <a:lnTo>
                    <a:pt x="1754" y="113"/>
                  </a:lnTo>
                  <a:lnTo>
                    <a:pt x="1756" y="113"/>
                  </a:lnTo>
                  <a:lnTo>
                    <a:pt x="1758" y="113"/>
                  </a:lnTo>
                  <a:lnTo>
                    <a:pt x="1758" y="115"/>
                  </a:lnTo>
                  <a:lnTo>
                    <a:pt x="1760" y="115"/>
                  </a:lnTo>
                  <a:lnTo>
                    <a:pt x="1760" y="117"/>
                  </a:lnTo>
                  <a:lnTo>
                    <a:pt x="1760" y="119"/>
                  </a:lnTo>
                  <a:lnTo>
                    <a:pt x="1760" y="117"/>
                  </a:lnTo>
                  <a:lnTo>
                    <a:pt x="1758" y="117"/>
                  </a:lnTo>
                  <a:lnTo>
                    <a:pt x="1758" y="119"/>
                  </a:lnTo>
                  <a:lnTo>
                    <a:pt x="1758" y="121"/>
                  </a:lnTo>
                  <a:lnTo>
                    <a:pt x="1760" y="121"/>
                  </a:lnTo>
                  <a:lnTo>
                    <a:pt x="1760" y="123"/>
                  </a:lnTo>
                  <a:lnTo>
                    <a:pt x="1762" y="123"/>
                  </a:lnTo>
                  <a:lnTo>
                    <a:pt x="1762" y="125"/>
                  </a:lnTo>
                  <a:lnTo>
                    <a:pt x="1764" y="125"/>
                  </a:lnTo>
                  <a:lnTo>
                    <a:pt x="1766" y="125"/>
                  </a:lnTo>
                  <a:lnTo>
                    <a:pt x="1768" y="125"/>
                  </a:lnTo>
                  <a:lnTo>
                    <a:pt x="1768" y="127"/>
                  </a:lnTo>
                  <a:lnTo>
                    <a:pt x="1770" y="127"/>
                  </a:lnTo>
                  <a:lnTo>
                    <a:pt x="1770" y="129"/>
                  </a:lnTo>
                  <a:lnTo>
                    <a:pt x="1768" y="129"/>
                  </a:lnTo>
                  <a:lnTo>
                    <a:pt x="1768" y="131"/>
                  </a:lnTo>
                  <a:lnTo>
                    <a:pt x="1768" y="133"/>
                  </a:lnTo>
                  <a:lnTo>
                    <a:pt x="1770" y="133"/>
                  </a:lnTo>
                  <a:lnTo>
                    <a:pt x="1770" y="131"/>
                  </a:lnTo>
                  <a:lnTo>
                    <a:pt x="1772" y="131"/>
                  </a:lnTo>
                  <a:lnTo>
                    <a:pt x="1773" y="133"/>
                  </a:lnTo>
                  <a:lnTo>
                    <a:pt x="1773" y="134"/>
                  </a:lnTo>
                  <a:lnTo>
                    <a:pt x="1775" y="134"/>
                  </a:lnTo>
                  <a:lnTo>
                    <a:pt x="1775" y="133"/>
                  </a:lnTo>
                  <a:lnTo>
                    <a:pt x="1773" y="131"/>
                  </a:lnTo>
                  <a:lnTo>
                    <a:pt x="1773" y="129"/>
                  </a:lnTo>
                  <a:lnTo>
                    <a:pt x="1773" y="127"/>
                  </a:lnTo>
                  <a:lnTo>
                    <a:pt x="1773" y="125"/>
                  </a:lnTo>
                  <a:lnTo>
                    <a:pt x="1773" y="123"/>
                  </a:lnTo>
                  <a:lnTo>
                    <a:pt x="1775" y="123"/>
                  </a:lnTo>
                  <a:lnTo>
                    <a:pt x="1775" y="121"/>
                  </a:lnTo>
                  <a:lnTo>
                    <a:pt x="1775" y="119"/>
                  </a:lnTo>
                  <a:lnTo>
                    <a:pt x="1773" y="119"/>
                  </a:lnTo>
                  <a:lnTo>
                    <a:pt x="1773" y="115"/>
                  </a:lnTo>
                  <a:lnTo>
                    <a:pt x="1775" y="113"/>
                  </a:lnTo>
                  <a:lnTo>
                    <a:pt x="1775" y="111"/>
                  </a:lnTo>
                  <a:lnTo>
                    <a:pt x="1775" y="109"/>
                  </a:lnTo>
                  <a:lnTo>
                    <a:pt x="1777" y="109"/>
                  </a:lnTo>
                  <a:lnTo>
                    <a:pt x="1779" y="109"/>
                  </a:lnTo>
                  <a:lnTo>
                    <a:pt x="1781" y="109"/>
                  </a:lnTo>
                  <a:lnTo>
                    <a:pt x="1781" y="111"/>
                  </a:lnTo>
                  <a:lnTo>
                    <a:pt x="1783" y="111"/>
                  </a:lnTo>
                  <a:lnTo>
                    <a:pt x="1785" y="111"/>
                  </a:lnTo>
                  <a:lnTo>
                    <a:pt x="1785" y="113"/>
                  </a:lnTo>
                  <a:lnTo>
                    <a:pt x="1785" y="111"/>
                  </a:lnTo>
                  <a:lnTo>
                    <a:pt x="1785" y="109"/>
                  </a:lnTo>
                  <a:lnTo>
                    <a:pt x="1783" y="109"/>
                  </a:lnTo>
                  <a:lnTo>
                    <a:pt x="1783" y="108"/>
                  </a:lnTo>
                  <a:lnTo>
                    <a:pt x="1783" y="106"/>
                  </a:lnTo>
                  <a:lnTo>
                    <a:pt x="1781" y="106"/>
                  </a:lnTo>
                  <a:lnTo>
                    <a:pt x="1781" y="104"/>
                  </a:lnTo>
                  <a:lnTo>
                    <a:pt x="1781" y="102"/>
                  </a:lnTo>
                  <a:lnTo>
                    <a:pt x="1781" y="104"/>
                  </a:lnTo>
                  <a:lnTo>
                    <a:pt x="1781" y="102"/>
                  </a:lnTo>
                  <a:lnTo>
                    <a:pt x="1783" y="104"/>
                  </a:lnTo>
                  <a:lnTo>
                    <a:pt x="1785" y="106"/>
                  </a:lnTo>
                  <a:lnTo>
                    <a:pt x="1787" y="106"/>
                  </a:lnTo>
                  <a:lnTo>
                    <a:pt x="1789" y="108"/>
                  </a:lnTo>
                  <a:lnTo>
                    <a:pt x="1789" y="109"/>
                  </a:lnTo>
                  <a:lnTo>
                    <a:pt x="1791" y="109"/>
                  </a:lnTo>
                  <a:lnTo>
                    <a:pt x="1791" y="111"/>
                  </a:lnTo>
                  <a:lnTo>
                    <a:pt x="1793" y="113"/>
                  </a:lnTo>
                  <a:lnTo>
                    <a:pt x="1795" y="115"/>
                  </a:lnTo>
                  <a:lnTo>
                    <a:pt x="1797" y="115"/>
                  </a:lnTo>
                  <a:lnTo>
                    <a:pt x="1797" y="117"/>
                  </a:lnTo>
                  <a:lnTo>
                    <a:pt x="1797" y="119"/>
                  </a:lnTo>
                  <a:lnTo>
                    <a:pt x="1798" y="119"/>
                  </a:lnTo>
                  <a:lnTo>
                    <a:pt x="1798" y="121"/>
                  </a:lnTo>
                  <a:lnTo>
                    <a:pt x="1800" y="121"/>
                  </a:lnTo>
                  <a:lnTo>
                    <a:pt x="1802" y="123"/>
                  </a:lnTo>
                  <a:lnTo>
                    <a:pt x="1804" y="125"/>
                  </a:lnTo>
                  <a:lnTo>
                    <a:pt x="1806" y="125"/>
                  </a:lnTo>
                  <a:lnTo>
                    <a:pt x="1808" y="125"/>
                  </a:lnTo>
                  <a:lnTo>
                    <a:pt x="1808" y="123"/>
                  </a:lnTo>
                  <a:lnTo>
                    <a:pt x="1810" y="123"/>
                  </a:lnTo>
                  <a:lnTo>
                    <a:pt x="1812" y="121"/>
                  </a:lnTo>
                  <a:lnTo>
                    <a:pt x="1814" y="121"/>
                  </a:lnTo>
                  <a:lnTo>
                    <a:pt x="1816" y="121"/>
                  </a:lnTo>
                  <a:lnTo>
                    <a:pt x="1818" y="123"/>
                  </a:lnTo>
                  <a:lnTo>
                    <a:pt x="1820" y="123"/>
                  </a:lnTo>
                  <a:lnTo>
                    <a:pt x="1820" y="125"/>
                  </a:lnTo>
                  <a:lnTo>
                    <a:pt x="1821" y="125"/>
                  </a:lnTo>
                  <a:lnTo>
                    <a:pt x="1821" y="127"/>
                  </a:lnTo>
                  <a:lnTo>
                    <a:pt x="1823" y="129"/>
                  </a:lnTo>
                  <a:lnTo>
                    <a:pt x="1825" y="131"/>
                  </a:lnTo>
                  <a:lnTo>
                    <a:pt x="1827" y="131"/>
                  </a:lnTo>
                  <a:lnTo>
                    <a:pt x="1829" y="131"/>
                  </a:lnTo>
                  <a:lnTo>
                    <a:pt x="1831" y="133"/>
                  </a:lnTo>
                  <a:lnTo>
                    <a:pt x="1831" y="134"/>
                  </a:lnTo>
                  <a:lnTo>
                    <a:pt x="1833" y="134"/>
                  </a:lnTo>
                  <a:lnTo>
                    <a:pt x="1835" y="136"/>
                  </a:lnTo>
                  <a:lnTo>
                    <a:pt x="1837" y="136"/>
                  </a:lnTo>
                  <a:lnTo>
                    <a:pt x="1837" y="138"/>
                  </a:lnTo>
                  <a:lnTo>
                    <a:pt x="1839" y="138"/>
                  </a:lnTo>
                  <a:lnTo>
                    <a:pt x="1839" y="140"/>
                  </a:lnTo>
                  <a:lnTo>
                    <a:pt x="1839" y="142"/>
                  </a:lnTo>
                  <a:lnTo>
                    <a:pt x="1841" y="142"/>
                  </a:lnTo>
                  <a:lnTo>
                    <a:pt x="1839" y="142"/>
                  </a:lnTo>
                  <a:lnTo>
                    <a:pt x="1837" y="142"/>
                  </a:lnTo>
                  <a:lnTo>
                    <a:pt x="1835" y="142"/>
                  </a:lnTo>
                  <a:lnTo>
                    <a:pt x="1835" y="144"/>
                  </a:lnTo>
                  <a:lnTo>
                    <a:pt x="1833" y="144"/>
                  </a:lnTo>
                  <a:lnTo>
                    <a:pt x="1833" y="146"/>
                  </a:lnTo>
                  <a:lnTo>
                    <a:pt x="1831" y="146"/>
                  </a:lnTo>
                  <a:lnTo>
                    <a:pt x="1831" y="148"/>
                  </a:lnTo>
                  <a:lnTo>
                    <a:pt x="1831" y="150"/>
                  </a:lnTo>
                  <a:lnTo>
                    <a:pt x="1831" y="152"/>
                  </a:lnTo>
                  <a:lnTo>
                    <a:pt x="1831" y="154"/>
                  </a:lnTo>
                  <a:lnTo>
                    <a:pt x="1833" y="156"/>
                  </a:lnTo>
                  <a:lnTo>
                    <a:pt x="1831" y="157"/>
                  </a:lnTo>
                  <a:lnTo>
                    <a:pt x="1831" y="159"/>
                  </a:lnTo>
                  <a:lnTo>
                    <a:pt x="1831" y="161"/>
                  </a:lnTo>
                  <a:lnTo>
                    <a:pt x="1829" y="163"/>
                  </a:lnTo>
                  <a:lnTo>
                    <a:pt x="1827" y="165"/>
                  </a:lnTo>
                  <a:lnTo>
                    <a:pt x="1827" y="167"/>
                  </a:lnTo>
                  <a:lnTo>
                    <a:pt x="1825" y="167"/>
                  </a:lnTo>
                  <a:lnTo>
                    <a:pt x="1823" y="167"/>
                  </a:lnTo>
                  <a:lnTo>
                    <a:pt x="1823" y="169"/>
                  </a:lnTo>
                  <a:lnTo>
                    <a:pt x="1821" y="169"/>
                  </a:lnTo>
                  <a:lnTo>
                    <a:pt x="1821" y="171"/>
                  </a:lnTo>
                  <a:lnTo>
                    <a:pt x="1820" y="171"/>
                  </a:lnTo>
                  <a:lnTo>
                    <a:pt x="1818" y="171"/>
                  </a:lnTo>
                  <a:lnTo>
                    <a:pt x="1818" y="169"/>
                  </a:lnTo>
                  <a:lnTo>
                    <a:pt x="1818" y="167"/>
                  </a:lnTo>
                  <a:lnTo>
                    <a:pt x="1816" y="167"/>
                  </a:lnTo>
                  <a:lnTo>
                    <a:pt x="1814" y="167"/>
                  </a:lnTo>
                  <a:lnTo>
                    <a:pt x="1812" y="167"/>
                  </a:lnTo>
                  <a:lnTo>
                    <a:pt x="1812" y="171"/>
                  </a:lnTo>
                  <a:lnTo>
                    <a:pt x="1814" y="171"/>
                  </a:lnTo>
                  <a:lnTo>
                    <a:pt x="1814" y="173"/>
                  </a:lnTo>
                  <a:lnTo>
                    <a:pt x="1816" y="173"/>
                  </a:lnTo>
                  <a:lnTo>
                    <a:pt x="1816" y="175"/>
                  </a:lnTo>
                  <a:lnTo>
                    <a:pt x="1814" y="175"/>
                  </a:lnTo>
                  <a:lnTo>
                    <a:pt x="1814" y="177"/>
                  </a:lnTo>
                  <a:lnTo>
                    <a:pt x="1812" y="177"/>
                  </a:lnTo>
                  <a:lnTo>
                    <a:pt x="1810" y="177"/>
                  </a:lnTo>
                  <a:lnTo>
                    <a:pt x="1808" y="177"/>
                  </a:lnTo>
                  <a:lnTo>
                    <a:pt x="1806" y="177"/>
                  </a:lnTo>
                  <a:lnTo>
                    <a:pt x="1806" y="179"/>
                  </a:lnTo>
                  <a:lnTo>
                    <a:pt x="1806" y="177"/>
                  </a:lnTo>
                  <a:lnTo>
                    <a:pt x="1804" y="177"/>
                  </a:lnTo>
                  <a:lnTo>
                    <a:pt x="1804" y="179"/>
                  </a:lnTo>
                  <a:lnTo>
                    <a:pt x="1802" y="179"/>
                  </a:lnTo>
                  <a:lnTo>
                    <a:pt x="1804" y="179"/>
                  </a:lnTo>
                  <a:lnTo>
                    <a:pt x="1802" y="179"/>
                  </a:lnTo>
                  <a:lnTo>
                    <a:pt x="1802" y="177"/>
                  </a:lnTo>
                  <a:lnTo>
                    <a:pt x="1800" y="177"/>
                  </a:lnTo>
                  <a:lnTo>
                    <a:pt x="1800" y="179"/>
                  </a:lnTo>
                  <a:lnTo>
                    <a:pt x="1800" y="181"/>
                  </a:lnTo>
                  <a:lnTo>
                    <a:pt x="1798" y="181"/>
                  </a:lnTo>
                  <a:lnTo>
                    <a:pt x="1800" y="181"/>
                  </a:lnTo>
                  <a:lnTo>
                    <a:pt x="1800" y="179"/>
                  </a:lnTo>
                  <a:lnTo>
                    <a:pt x="1800" y="181"/>
                  </a:lnTo>
                  <a:lnTo>
                    <a:pt x="1798" y="181"/>
                  </a:lnTo>
                  <a:lnTo>
                    <a:pt x="1798" y="182"/>
                  </a:lnTo>
                  <a:lnTo>
                    <a:pt x="1797" y="182"/>
                  </a:lnTo>
                  <a:lnTo>
                    <a:pt x="1795" y="181"/>
                  </a:lnTo>
                  <a:lnTo>
                    <a:pt x="1793" y="179"/>
                  </a:lnTo>
                  <a:lnTo>
                    <a:pt x="1791" y="177"/>
                  </a:lnTo>
                  <a:lnTo>
                    <a:pt x="1791" y="175"/>
                  </a:lnTo>
                  <a:lnTo>
                    <a:pt x="1789" y="175"/>
                  </a:lnTo>
                  <a:lnTo>
                    <a:pt x="1791" y="175"/>
                  </a:lnTo>
                  <a:lnTo>
                    <a:pt x="1791" y="173"/>
                  </a:lnTo>
                  <a:lnTo>
                    <a:pt x="1793" y="173"/>
                  </a:lnTo>
                  <a:lnTo>
                    <a:pt x="1795" y="173"/>
                  </a:lnTo>
                  <a:lnTo>
                    <a:pt x="1795" y="175"/>
                  </a:lnTo>
                  <a:lnTo>
                    <a:pt x="1795" y="173"/>
                  </a:lnTo>
                  <a:lnTo>
                    <a:pt x="1793" y="173"/>
                  </a:lnTo>
                  <a:lnTo>
                    <a:pt x="1795" y="171"/>
                  </a:lnTo>
                  <a:lnTo>
                    <a:pt x="1793" y="169"/>
                  </a:lnTo>
                  <a:lnTo>
                    <a:pt x="1793" y="171"/>
                  </a:lnTo>
                  <a:lnTo>
                    <a:pt x="1791" y="171"/>
                  </a:lnTo>
                  <a:lnTo>
                    <a:pt x="1789" y="171"/>
                  </a:lnTo>
                  <a:lnTo>
                    <a:pt x="1787" y="171"/>
                  </a:lnTo>
                  <a:lnTo>
                    <a:pt x="1787" y="173"/>
                  </a:lnTo>
                  <a:lnTo>
                    <a:pt x="1785" y="173"/>
                  </a:lnTo>
                  <a:lnTo>
                    <a:pt x="1785" y="175"/>
                  </a:lnTo>
                  <a:lnTo>
                    <a:pt x="1783" y="175"/>
                  </a:lnTo>
                  <a:lnTo>
                    <a:pt x="1781" y="175"/>
                  </a:lnTo>
                  <a:lnTo>
                    <a:pt x="1779" y="175"/>
                  </a:lnTo>
                  <a:lnTo>
                    <a:pt x="1779" y="177"/>
                  </a:lnTo>
                  <a:lnTo>
                    <a:pt x="1777" y="177"/>
                  </a:lnTo>
                  <a:lnTo>
                    <a:pt x="1775" y="177"/>
                  </a:lnTo>
                  <a:lnTo>
                    <a:pt x="1773" y="177"/>
                  </a:lnTo>
                  <a:lnTo>
                    <a:pt x="1772" y="179"/>
                  </a:lnTo>
                  <a:lnTo>
                    <a:pt x="1770" y="179"/>
                  </a:lnTo>
                  <a:lnTo>
                    <a:pt x="1768" y="181"/>
                  </a:lnTo>
                  <a:lnTo>
                    <a:pt x="1766" y="181"/>
                  </a:lnTo>
                  <a:lnTo>
                    <a:pt x="1764" y="181"/>
                  </a:lnTo>
                  <a:lnTo>
                    <a:pt x="1762" y="182"/>
                  </a:lnTo>
                  <a:lnTo>
                    <a:pt x="1760" y="182"/>
                  </a:lnTo>
                  <a:lnTo>
                    <a:pt x="1762" y="182"/>
                  </a:lnTo>
                  <a:lnTo>
                    <a:pt x="1762" y="181"/>
                  </a:lnTo>
                  <a:lnTo>
                    <a:pt x="1762" y="179"/>
                  </a:lnTo>
                  <a:lnTo>
                    <a:pt x="1762" y="177"/>
                  </a:lnTo>
                  <a:lnTo>
                    <a:pt x="1760" y="177"/>
                  </a:lnTo>
                  <a:lnTo>
                    <a:pt x="1760" y="175"/>
                  </a:lnTo>
                  <a:lnTo>
                    <a:pt x="1758" y="175"/>
                  </a:lnTo>
                  <a:lnTo>
                    <a:pt x="1760" y="175"/>
                  </a:lnTo>
                  <a:lnTo>
                    <a:pt x="1758" y="175"/>
                  </a:lnTo>
                  <a:lnTo>
                    <a:pt x="1758" y="173"/>
                  </a:lnTo>
                  <a:lnTo>
                    <a:pt x="1756" y="173"/>
                  </a:lnTo>
                  <a:lnTo>
                    <a:pt x="1754" y="173"/>
                  </a:lnTo>
                  <a:lnTo>
                    <a:pt x="1756" y="175"/>
                  </a:lnTo>
                  <a:lnTo>
                    <a:pt x="1754" y="175"/>
                  </a:lnTo>
                  <a:lnTo>
                    <a:pt x="1754" y="177"/>
                  </a:lnTo>
                  <a:lnTo>
                    <a:pt x="1754" y="179"/>
                  </a:lnTo>
                  <a:lnTo>
                    <a:pt x="1754" y="181"/>
                  </a:lnTo>
                  <a:lnTo>
                    <a:pt x="1756" y="181"/>
                  </a:lnTo>
                  <a:lnTo>
                    <a:pt x="1756" y="179"/>
                  </a:lnTo>
                  <a:lnTo>
                    <a:pt x="1756" y="181"/>
                  </a:lnTo>
                  <a:lnTo>
                    <a:pt x="1754" y="181"/>
                  </a:lnTo>
                  <a:lnTo>
                    <a:pt x="1754" y="182"/>
                  </a:lnTo>
                  <a:lnTo>
                    <a:pt x="1754" y="184"/>
                  </a:lnTo>
                  <a:lnTo>
                    <a:pt x="1754" y="186"/>
                  </a:lnTo>
                  <a:lnTo>
                    <a:pt x="1752" y="188"/>
                  </a:lnTo>
                  <a:lnTo>
                    <a:pt x="1750" y="190"/>
                  </a:lnTo>
                  <a:lnTo>
                    <a:pt x="1749" y="190"/>
                  </a:lnTo>
                  <a:lnTo>
                    <a:pt x="1749" y="192"/>
                  </a:lnTo>
                  <a:lnTo>
                    <a:pt x="1747" y="190"/>
                  </a:lnTo>
                  <a:lnTo>
                    <a:pt x="1745" y="190"/>
                  </a:lnTo>
                  <a:lnTo>
                    <a:pt x="1745" y="188"/>
                  </a:lnTo>
                  <a:lnTo>
                    <a:pt x="1743" y="188"/>
                  </a:lnTo>
                  <a:lnTo>
                    <a:pt x="1743" y="186"/>
                  </a:lnTo>
                  <a:lnTo>
                    <a:pt x="1741" y="186"/>
                  </a:lnTo>
                  <a:lnTo>
                    <a:pt x="1739" y="186"/>
                  </a:lnTo>
                  <a:lnTo>
                    <a:pt x="1737" y="184"/>
                  </a:lnTo>
                  <a:lnTo>
                    <a:pt x="1735" y="184"/>
                  </a:lnTo>
                  <a:lnTo>
                    <a:pt x="1733" y="182"/>
                  </a:lnTo>
                  <a:lnTo>
                    <a:pt x="1731" y="181"/>
                  </a:lnTo>
                  <a:lnTo>
                    <a:pt x="1731" y="179"/>
                  </a:lnTo>
                  <a:lnTo>
                    <a:pt x="1729" y="177"/>
                  </a:lnTo>
                  <a:lnTo>
                    <a:pt x="1729" y="175"/>
                  </a:lnTo>
                  <a:lnTo>
                    <a:pt x="1731" y="175"/>
                  </a:lnTo>
                  <a:lnTo>
                    <a:pt x="1729" y="175"/>
                  </a:lnTo>
                  <a:lnTo>
                    <a:pt x="1729" y="173"/>
                  </a:lnTo>
                  <a:lnTo>
                    <a:pt x="1727" y="173"/>
                  </a:lnTo>
                  <a:lnTo>
                    <a:pt x="1727" y="171"/>
                  </a:lnTo>
                  <a:lnTo>
                    <a:pt x="1727" y="169"/>
                  </a:lnTo>
                  <a:lnTo>
                    <a:pt x="1727" y="171"/>
                  </a:lnTo>
                  <a:lnTo>
                    <a:pt x="1726" y="171"/>
                  </a:lnTo>
                  <a:lnTo>
                    <a:pt x="1726" y="169"/>
                  </a:lnTo>
                  <a:lnTo>
                    <a:pt x="1724" y="169"/>
                  </a:lnTo>
                  <a:lnTo>
                    <a:pt x="1724" y="167"/>
                  </a:lnTo>
                  <a:lnTo>
                    <a:pt x="1722" y="167"/>
                  </a:lnTo>
                  <a:lnTo>
                    <a:pt x="1722" y="165"/>
                  </a:lnTo>
                  <a:lnTo>
                    <a:pt x="1720" y="163"/>
                  </a:lnTo>
                  <a:lnTo>
                    <a:pt x="1720" y="161"/>
                  </a:lnTo>
                  <a:lnTo>
                    <a:pt x="1718" y="159"/>
                  </a:lnTo>
                  <a:lnTo>
                    <a:pt x="1718" y="157"/>
                  </a:lnTo>
                  <a:lnTo>
                    <a:pt x="1720" y="159"/>
                  </a:lnTo>
                  <a:lnTo>
                    <a:pt x="1718" y="157"/>
                  </a:lnTo>
                  <a:lnTo>
                    <a:pt x="1716" y="157"/>
                  </a:lnTo>
                  <a:lnTo>
                    <a:pt x="1716" y="156"/>
                  </a:lnTo>
                  <a:lnTo>
                    <a:pt x="1716" y="154"/>
                  </a:lnTo>
                  <a:lnTo>
                    <a:pt x="1716" y="152"/>
                  </a:lnTo>
                  <a:lnTo>
                    <a:pt x="1718" y="150"/>
                  </a:lnTo>
                  <a:lnTo>
                    <a:pt x="1720" y="150"/>
                  </a:lnTo>
                  <a:lnTo>
                    <a:pt x="1720" y="148"/>
                  </a:lnTo>
                  <a:lnTo>
                    <a:pt x="1720" y="146"/>
                  </a:lnTo>
                  <a:lnTo>
                    <a:pt x="1722" y="146"/>
                  </a:lnTo>
                  <a:lnTo>
                    <a:pt x="1722" y="144"/>
                  </a:lnTo>
                  <a:lnTo>
                    <a:pt x="1722" y="142"/>
                  </a:lnTo>
                  <a:lnTo>
                    <a:pt x="1720" y="140"/>
                  </a:lnTo>
                  <a:lnTo>
                    <a:pt x="1722" y="140"/>
                  </a:lnTo>
                  <a:lnTo>
                    <a:pt x="1720" y="140"/>
                  </a:lnTo>
                  <a:lnTo>
                    <a:pt x="1720" y="138"/>
                  </a:lnTo>
                  <a:lnTo>
                    <a:pt x="1722" y="138"/>
                  </a:lnTo>
                  <a:lnTo>
                    <a:pt x="1720" y="136"/>
                  </a:lnTo>
                  <a:lnTo>
                    <a:pt x="1722" y="136"/>
                  </a:lnTo>
                  <a:lnTo>
                    <a:pt x="1722" y="134"/>
                  </a:lnTo>
                  <a:lnTo>
                    <a:pt x="1720" y="134"/>
                  </a:lnTo>
                  <a:lnTo>
                    <a:pt x="1720" y="136"/>
                  </a:lnTo>
                  <a:lnTo>
                    <a:pt x="1718" y="136"/>
                  </a:lnTo>
                  <a:lnTo>
                    <a:pt x="1718" y="138"/>
                  </a:lnTo>
                  <a:lnTo>
                    <a:pt x="1720" y="138"/>
                  </a:lnTo>
                  <a:lnTo>
                    <a:pt x="1720" y="140"/>
                  </a:lnTo>
                  <a:lnTo>
                    <a:pt x="1718" y="138"/>
                  </a:lnTo>
                  <a:lnTo>
                    <a:pt x="1716" y="136"/>
                  </a:lnTo>
                  <a:lnTo>
                    <a:pt x="1718" y="136"/>
                  </a:lnTo>
                  <a:lnTo>
                    <a:pt x="1720" y="134"/>
                  </a:lnTo>
                  <a:lnTo>
                    <a:pt x="1720" y="133"/>
                  </a:lnTo>
                  <a:lnTo>
                    <a:pt x="1720" y="131"/>
                  </a:lnTo>
                  <a:lnTo>
                    <a:pt x="1720" y="129"/>
                  </a:lnTo>
                  <a:lnTo>
                    <a:pt x="1720" y="127"/>
                  </a:lnTo>
                  <a:lnTo>
                    <a:pt x="1722" y="127"/>
                  </a:lnTo>
                  <a:lnTo>
                    <a:pt x="1724" y="127"/>
                  </a:lnTo>
                  <a:lnTo>
                    <a:pt x="1726" y="127"/>
                  </a:lnTo>
                  <a:lnTo>
                    <a:pt x="1726" y="125"/>
                  </a:lnTo>
                  <a:lnTo>
                    <a:pt x="1726" y="123"/>
                  </a:lnTo>
                  <a:lnTo>
                    <a:pt x="1724" y="121"/>
                  </a:lnTo>
                  <a:lnTo>
                    <a:pt x="1724" y="123"/>
                  </a:lnTo>
                  <a:lnTo>
                    <a:pt x="1724" y="121"/>
                  </a:lnTo>
                  <a:lnTo>
                    <a:pt x="1724" y="119"/>
                  </a:lnTo>
                  <a:lnTo>
                    <a:pt x="1724" y="117"/>
                  </a:lnTo>
                  <a:lnTo>
                    <a:pt x="1724" y="115"/>
                  </a:lnTo>
                  <a:lnTo>
                    <a:pt x="1726" y="115"/>
                  </a:lnTo>
                  <a:lnTo>
                    <a:pt x="1726" y="113"/>
                  </a:lnTo>
                  <a:lnTo>
                    <a:pt x="1727" y="113"/>
                  </a:lnTo>
                  <a:lnTo>
                    <a:pt x="1729" y="113"/>
                  </a:lnTo>
                  <a:lnTo>
                    <a:pt x="1731" y="111"/>
                  </a:lnTo>
                  <a:lnTo>
                    <a:pt x="1731" y="113"/>
                  </a:lnTo>
                  <a:lnTo>
                    <a:pt x="1733" y="113"/>
                  </a:lnTo>
                  <a:lnTo>
                    <a:pt x="1733" y="111"/>
                  </a:lnTo>
                  <a:lnTo>
                    <a:pt x="1733" y="109"/>
                  </a:lnTo>
                  <a:lnTo>
                    <a:pt x="1735" y="109"/>
                  </a:lnTo>
                  <a:lnTo>
                    <a:pt x="1735" y="108"/>
                  </a:lnTo>
                  <a:lnTo>
                    <a:pt x="1735" y="106"/>
                  </a:lnTo>
                  <a:lnTo>
                    <a:pt x="1737" y="106"/>
                  </a:lnTo>
                  <a:lnTo>
                    <a:pt x="1737" y="108"/>
                  </a:lnTo>
                  <a:lnTo>
                    <a:pt x="1739" y="108"/>
                  </a:lnTo>
                  <a:lnTo>
                    <a:pt x="1739" y="106"/>
                  </a:lnTo>
                  <a:lnTo>
                    <a:pt x="1739" y="104"/>
                  </a:lnTo>
                  <a:lnTo>
                    <a:pt x="1741" y="102"/>
                  </a:lnTo>
                  <a:lnTo>
                    <a:pt x="1743" y="102"/>
                  </a:lnTo>
                  <a:lnTo>
                    <a:pt x="1743" y="100"/>
                  </a:lnTo>
                  <a:lnTo>
                    <a:pt x="1745" y="100"/>
                  </a:lnTo>
                  <a:lnTo>
                    <a:pt x="1745" y="102"/>
                  </a:lnTo>
                  <a:lnTo>
                    <a:pt x="1745" y="100"/>
                  </a:lnTo>
                  <a:lnTo>
                    <a:pt x="1747" y="100"/>
                  </a:lnTo>
                  <a:lnTo>
                    <a:pt x="1749" y="100"/>
                  </a:lnTo>
                  <a:close/>
                  <a:moveTo>
                    <a:pt x="46" y="920"/>
                  </a:moveTo>
                  <a:lnTo>
                    <a:pt x="44" y="920"/>
                  </a:lnTo>
                  <a:lnTo>
                    <a:pt x="42" y="920"/>
                  </a:lnTo>
                  <a:lnTo>
                    <a:pt x="40" y="920"/>
                  </a:lnTo>
                  <a:lnTo>
                    <a:pt x="38" y="920"/>
                  </a:lnTo>
                  <a:lnTo>
                    <a:pt x="37" y="920"/>
                  </a:lnTo>
                  <a:lnTo>
                    <a:pt x="35" y="920"/>
                  </a:lnTo>
                  <a:lnTo>
                    <a:pt x="33" y="920"/>
                  </a:lnTo>
                  <a:lnTo>
                    <a:pt x="31" y="920"/>
                  </a:lnTo>
                  <a:lnTo>
                    <a:pt x="29" y="920"/>
                  </a:lnTo>
                  <a:lnTo>
                    <a:pt x="27" y="920"/>
                  </a:lnTo>
                  <a:lnTo>
                    <a:pt x="25" y="920"/>
                  </a:lnTo>
                  <a:lnTo>
                    <a:pt x="23" y="920"/>
                  </a:lnTo>
                  <a:lnTo>
                    <a:pt x="21" y="920"/>
                  </a:lnTo>
                  <a:lnTo>
                    <a:pt x="19" y="920"/>
                  </a:lnTo>
                  <a:lnTo>
                    <a:pt x="17" y="920"/>
                  </a:lnTo>
                  <a:lnTo>
                    <a:pt x="15" y="920"/>
                  </a:lnTo>
                  <a:lnTo>
                    <a:pt x="13" y="920"/>
                  </a:lnTo>
                  <a:lnTo>
                    <a:pt x="13" y="918"/>
                  </a:lnTo>
                  <a:lnTo>
                    <a:pt x="12" y="918"/>
                  </a:lnTo>
                  <a:lnTo>
                    <a:pt x="10" y="918"/>
                  </a:lnTo>
                  <a:lnTo>
                    <a:pt x="8" y="918"/>
                  </a:lnTo>
                  <a:lnTo>
                    <a:pt x="6" y="918"/>
                  </a:lnTo>
                  <a:lnTo>
                    <a:pt x="4" y="918"/>
                  </a:lnTo>
                  <a:lnTo>
                    <a:pt x="2" y="918"/>
                  </a:lnTo>
                  <a:lnTo>
                    <a:pt x="2" y="916"/>
                  </a:lnTo>
                  <a:lnTo>
                    <a:pt x="4" y="916"/>
                  </a:lnTo>
                  <a:lnTo>
                    <a:pt x="6" y="916"/>
                  </a:lnTo>
                  <a:lnTo>
                    <a:pt x="6" y="914"/>
                  </a:lnTo>
                  <a:lnTo>
                    <a:pt x="8" y="914"/>
                  </a:lnTo>
                  <a:lnTo>
                    <a:pt x="8" y="912"/>
                  </a:lnTo>
                  <a:lnTo>
                    <a:pt x="10" y="912"/>
                  </a:lnTo>
                  <a:lnTo>
                    <a:pt x="12" y="912"/>
                  </a:lnTo>
                  <a:lnTo>
                    <a:pt x="12" y="910"/>
                  </a:lnTo>
                  <a:lnTo>
                    <a:pt x="13" y="910"/>
                  </a:lnTo>
                  <a:lnTo>
                    <a:pt x="12" y="910"/>
                  </a:lnTo>
                  <a:lnTo>
                    <a:pt x="10" y="910"/>
                  </a:lnTo>
                  <a:lnTo>
                    <a:pt x="10" y="912"/>
                  </a:lnTo>
                  <a:lnTo>
                    <a:pt x="10" y="910"/>
                  </a:lnTo>
                  <a:lnTo>
                    <a:pt x="8" y="910"/>
                  </a:lnTo>
                  <a:lnTo>
                    <a:pt x="8" y="912"/>
                  </a:lnTo>
                  <a:lnTo>
                    <a:pt x="6" y="912"/>
                  </a:lnTo>
                  <a:lnTo>
                    <a:pt x="6" y="910"/>
                  </a:lnTo>
                  <a:lnTo>
                    <a:pt x="4" y="910"/>
                  </a:lnTo>
                  <a:lnTo>
                    <a:pt x="4" y="912"/>
                  </a:lnTo>
                  <a:lnTo>
                    <a:pt x="6" y="912"/>
                  </a:lnTo>
                  <a:lnTo>
                    <a:pt x="4" y="912"/>
                  </a:lnTo>
                  <a:lnTo>
                    <a:pt x="4" y="910"/>
                  </a:lnTo>
                  <a:lnTo>
                    <a:pt x="6" y="909"/>
                  </a:lnTo>
                  <a:lnTo>
                    <a:pt x="4" y="909"/>
                  </a:lnTo>
                  <a:lnTo>
                    <a:pt x="4" y="907"/>
                  </a:lnTo>
                  <a:lnTo>
                    <a:pt x="4" y="905"/>
                  </a:lnTo>
                  <a:lnTo>
                    <a:pt x="6" y="905"/>
                  </a:lnTo>
                  <a:lnTo>
                    <a:pt x="8" y="905"/>
                  </a:lnTo>
                  <a:lnTo>
                    <a:pt x="10" y="905"/>
                  </a:lnTo>
                  <a:lnTo>
                    <a:pt x="12" y="905"/>
                  </a:lnTo>
                  <a:lnTo>
                    <a:pt x="13" y="905"/>
                  </a:lnTo>
                  <a:lnTo>
                    <a:pt x="13" y="903"/>
                  </a:lnTo>
                  <a:lnTo>
                    <a:pt x="15" y="903"/>
                  </a:lnTo>
                  <a:lnTo>
                    <a:pt x="15" y="901"/>
                  </a:lnTo>
                  <a:lnTo>
                    <a:pt x="17" y="901"/>
                  </a:lnTo>
                  <a:lnTo>
                    <a:pt x="17" y="899"/>
                  </a:lnTo>
                  <a:lnTo>
                    <a:pt x="17" y="897"/>
                  </a:lnTo>
                  <a:lnTo>
                    <a:pt x="19" y="897"/>
                  </a:lnTo>
                  <a:lnTo>
                    <a:pt x="19" y="899"/>
                  </a:lnTo>
                  <a:lnTo>
                    <a:pt x="17" y="899"/>
                  </a:lnTo>
                  <a:lnTo>
                    <a:pt x="17" y="901"/>
                  </a:lnTo>
                  <a:lnTo>
                    <a:pt x="15" y="901"/>
                  </a:lnTo>
                  <a:lnTo>
                    <a:pt x="15" y="903"/>
                  </a:lnTo>
                  <a:lnTo>
                    <a:pt x="13" y="903"/>
                  </a:lnTo>
                  <a:lnTo>
                    <a:pt x="13" y="905"/>
                  </a:lnTo>
                  <a:lnTo>
                    <a:pt x="15" y="905"/>
                  </a:lnTo>
                  <a:lnTo>
                    <a:pt x="17" y="905"/>
                  </a:lnTo>
                  <a:lnTo>
                    <a:pt x="17" y="907"/>
                  </a:lnTo>
                  <a:lnTo>
                    <a:pt x="19" y="907"/>
                  </a:lnTo>
                  <a:lnTo>
                    <a:pt x="21" y="907"/>
                  </a:lnTo>
                  <a:lnTo>
                    <a:pt x="23" y="907"/>
                  </a:lnTo>
                  <a:lnTo>
                    <a:pt x="23" y="905"/>
                  </a:lnTo>
                  <a:lnTo>
                    <a:pt x="23" y="903"/>
                  </a:lnTo>
                  <a:lnTo>
                    <a:pt x="23" y="901"/>
                  </a:lnTo>
                  <a:lnTo>
                    <a:pt x="23" y="899"/>
                  </a:lnTo>
                  <a:lnTo>
                    <a:pt x="25" y="899"/>
                  </a:lnTo>
                  <a:lnTo>
                    <a:pt x="25" y="897"/>
                  </a:lnTo>
                  <a:lnTo>
                    <a:pt x="23" y="897"/>
                  </a:lnTo>
                  <a:lnTo>
                    <a:pt x="25" y="897"/>
                  </a:lnTo>
                  <a:lnTo>
                    <a:pt x="25" y="895"/>
                  </a:lnTo>
                  <a:lnTo>
                    <a:pt x="25" y="897"/>
                  </a:lnTo>
                  <a:lnTo>
                    <a:pt x="27" y="897"/>
                  </a:lnTo>
                  <a:lnTo>
                    <a:pt x="27" y="899"/>
                  </a:lnTo>
                  <a:lnTo>
                    <a:pt x="29" y="899"/>
                  </a:lnTo>
                  <a:lnTo>
                    <a:pt x="31" y="899"/>
                  </a:lnTo>
                  <a:lnTo>
                    <a:pt x="31" y="901"/>
                  </a:lnTo>
                  <a:lnTo>
                    <a:pt x="33" y="901"/>
                  </a:lnTo>
                  <a:lnTo>
                    <a:pt x="35" y="901"/>
                  </a:lnTo>
                  <a:lnTo>
                    <a:pt x="35" y="903"/>
                  </a:lnTo>
                  <a:lnTo>
                    <a:pt x="37" y="903"/>
                  </a:lnTo>
                  <a:lnTo>
                    <a:pt x="38" y="903"/>
                  </a:lnTo>
                  <a:lnTo>
                    <a:pt x="38" y="901"/>
                  </a:lnTo>
                  <a:lnTo>
                    <a:pt x="38" y="903"/>
                  </a:lnTo>
                  <a:lnTo>
                    <a:pt x="40" y="903"/>
                  </a:lnTo>
                  <a:lnTo>
                    <a:pt x="42" y="903"/>
                  </a:lnTo>
                  <a:lnTo>
                    <a:pt x="42" y="901"/>
                  </a:lnTo>
                  <a:lnTo>
                    <a:pt x="44" y="901"/>
                  </a:lnTo>
                  <a:lnTo>
                    <a:pt x="44" y="903"/>
                  </a:lnTo>
                  <a:lnTo>
                    <a:pt x="44" y="905"/>
                  </a:lnTo>
                  <a:lnTo>
                    <a:pt x="44" y="903"/>
                  </a:lnTo>
                  <a:lnTo>
                    <a:pt x="44" y="905"/>
                  </a:lnTo>
                  <a:lnTo>
                    <a:pt x="46" y="905"/>
                  </a:lnTo>
                  <a:lnTo>
                    <a:pt x="46" y="907"/>
                  </a:lnTo>
                  <a:lnTo>
                    <a:pt x="48" y="907"/>
                  </a:lnTo>
                  <a:lnTo>
                    <a:pt x="46" y="907"/>
                  </a:lnTo>
                  <a:lnTo>
                    <a:pt x="48" y="907"/>
                  </a:lnTo>
                  <a:lnTo>
                    <a:pt x="48" y="909"/>
                  </a:lnTo>
                  <a:lnTo>
                    <a:pt x="46" y="909"/>
                  </a:lnTo>
                  <a:lnTo>
                    <a:pt x="46" y="910"/>
                  </a:lnTo>
                  <a:lnTo>
                    <a:pt x="46" y="912"/>
                  </a:lnTo>
                  <a:lnTo>
                    <a:pt x="46" y="914"/>
                  </a:lnTo>
                  <a:lnTo>
                    <a:pt x="44" y="914"/>
                  </a:lnTo>
                  <a:lnTo>
                    <a:pt x="44" y="916"/>
                  </a:lnTo>
                  <a:lnTo>
                    <a:pt x="44" y="918"/>
                  </a:lnTo>
                  <a:lnTo>
                    <a:pt x="46" y="918"/>
                  </a:lnTo>
                  <a:lnTo>
                    <a:pt x="46" y="920"/>
                  </a:lnTo>
                  <a:close/>
                  <a:moveTo>
                    <a:pt x="1864" y="152"/>
                  </a:moveTo>
                  <a:lnTo>
                    <a:pt x="1866" y="152"/>
                  </a:lnTo>
                  <a:lnTo>
                    <a:pt x="1868" y="150"/>
                  </a:lnTo>
                  <a:lnTo>
                    <a:pt x="1866" y="152"/>
                  </a:lnTo>
                  <a:lnTo>
                    <a:pt x="1866" y="150"/>
                  </a:lnTo>
                  <a:lnTo>
                    <a:pt x="1868" y="150"/>
                  </a:lnTo>
                  <a:lnTo>
                    <a:pt x="1868" y="148"/>
                  </a:lnTo>
                  <a:lnTo>
                    <a:pt x="1868" y="146"/>
                  </a:lnTo>
                  <a:lnTo>
                    <a:pt x="1869" y="146"/>
                  </a:lnTo>
                  <a:lnTo>
                    <a:pt x="1871" y="146"/>
                  </a:lnTo>
                  <a:lnTo>
                    <a:pt x="1873" y="146"/>
                  </a:lnTo>
                  <a:lnTo>
                    <a:pt x="1875" y="146"/>
                  </a:lnTo>
                  <a:lnTo>
                    <a:pt x="1875" y="148"/>
                  </a:lnTo>
                  <a:lnTo>
                    <a:pt x="1877" y="148"/>
                  </a:lnTo>
                  <a:lnTo>
                    <a:pt x="1879" y="148"/>
                  </a:lnTo>
                  <a:lnTo>
                    <a:pt x="1881" y="148"/>
                  </a:lnTo>
                  <a:lnTo>
                    <a:pt x="1883" y="148"/>
                  </a:lnTo>
                  <a:lnTo>
                    <a:pt x="1885" y="148"/>
                  </a:lnTo>
                  <a:lnTo>
                    <a:pt x="1885" y="150"/>
                  </a:lnTo>
                  <a:lnTo>
                    <a:pt x="1887" y="150"/>
                  </a:lnTo>
                  <a:lnTo>
                    <a:pt x="1887" y="152"/>
                  </a:lnTo>
                  <a:lnTo>
                    <a:pt x="1885" y="152"/>
                  </a:lnTo>
                  <a:lnTo>
                    <a:pt x="1885" y="154"/>
                  </a:lnTo>
                  <a:lnTo>
                    <a:pt x="1885" y="156"/>
                  </a:lnTo>
                  <a:lnTo>
                    <a:pt x="1887" y="156"/>
                  </a:lnTo>
                  <a:lnTo>
                    <a:pt x="1885" y="156"/>
                  </a:lnTo>
                  <a:lnTo>
                    <a:pt x="1885" y="157"/>
                  </a:lnTo>
                  <a:lnTo>
                    <a:pt x="1887" y="157"/>
                  </a:lnTo>
                  <a:lnTo>
                    <a:pt x="1887" y="159"/>
                  </a:lnTo>
                  <a:lnTo>
                    <a:pt x="1889" y="159"/>
                  </a:lnTo>
                  <a:lnTo>
                    <a:pt x="1891" y="159"/>
                  </a:lnTo>
                  <a:lnTo>
                    <a:pt x="1892" y="157"/>
                  </a:lnTo>
                  <a:lnTo>
                    <a:pt x="1894" y="157"/>
                  </a:lnTo>
                  <a:lnTo>
                    <a:pt x="1896" y="156"/>
                  </a:lnTo>
                  <a:lnTo>
                    <a:pt x="1898" y="156"/>
                  </a:lnTo>
                  <a:lnTo>
                    <a:pt x="1900" y="156"/>
                  </a:lnTo>
                  <a:lnTo>
                    <a:pt x="1900" y="157"/>
                  </a:lnTo>
                  <a:lnTo>
                    <a:pt x="1902" y="157"/>
                  </a:lnTo>
                  <a:lnTo>
                    <a:pt x="1904" y="157"/>
                  </a:lnTo>
                  <a:lnTo>
                    <a:pt x="1902" y="159"/>
                  </a:lnTo>
                  <a:lnTo>
                    <a:pt x="1904" y="159"/>
                  </a:lnTo>
                  <a:lnTo>
                    <a:pt x="1904" y="157"/>
                  </a:lnTo>
                  <a:lnTo>
                    <a:pt x="1906" y="159"/>
                  </a:lnTo>
                  <a:lnTo>
                    <a:pt x="1908" y="159"/>
                  </a:lnTo>
                  <a:lnTo>
                    <a:pt x="1910" y="159"/>
                  </a:lnTo>
                  <a:lnTo>
                    <a:pt x="1912" y="161"/>
                  </a:lnTo>
                  <a:lnTo>
                    <a:pt x="1912" y="163"/>
                  </a:lnTo>
                  <a:lnTo>
                    <a:pt x="1910" y="163"/>
                  </a:lnTo>
                  <a:lnTo>
                    <a:pt x="1912" y="163"/>
                  </a:lnTo>
                  <a:lnTo>
                    <a:pt x="1914" y="165"/>
                  </a:lnTo>
                  <a:lnTo>
                    <a:pt x="1916" y="165"/>
                  </a:lnTo>
                  <a:lnTo>
                    <a:pt x="1917" y="165"/>
                  </a:lnTo>
                  <a:lnTo>
                    <a:pt x="1917" y="163"/>
                  </a:lnTo>
                  <a:lnTo>
                    <a:pt x="1919" y="163"/>
                  </a:lnTo>
                  <a:lnTo>
                    <a:pt x="1921" y="163"/>
                  </a:lnTo>
                  <a:lnTo>
                    <a:pt x="1921" y="165"/>
                  </a:lnTo>
                  <a:lnTo>
                    <a:pt x="1919" y="165"/>
                  </a:lnTo>
                  <a:lnTo>
                    <a:pt x="1919" y="167"/>
                  </a:lnTo>
                  <a:lnTo>
                    <a:pt x="1919" y="169"/>
                  </a:lnTo>
                  <a:lnTo>
                    <a:pt x="1917" y="171"/>
                  </a:lnTo>
                  <a:lnTo>
                    <a:pt x="1906" y="171"/>
                  </a:lnTo>
                  <a:lnTo>
                    <a:pt x="1906" y="182"/>
                  </a:lnTo>
                  <a:lnTo>
                    <a:pt x="1904" y="182"/>
                  </a:lnTo>
                  <a:lnTo>
                    <a:pt x="1902" y="184"/>
                  </a:lnTo>
                  <a:lnTo>
                    <a:pt x="1900" y="184"/>
                  </a:lnTo>
                  <a:lnTo>
                    <a:pt x="1898" y="184"/>
                  </a:lnTo>
                  <a:lnTo>
                    <a:pt x="1896" y="186"/>
                  </a:lnTo>
                  <a:lnTo>
                    <a:pt x="1892" y="186"/>
                  </a:lnTo>
                  <a:lnTo>
                    <a:pt x="1891" y="186"/>
                  </a:lnTo>
                  <a:lnTo>
                    <a:pt x="1889" y="186"/>
                  </a:lnTo>
                  <a:lnTo>
                    <a:pt x="1889" y="184"/>
                  </a:lnTo>
                  <a:lnTo>
                    <a:pt x="1889" y="186"/>
                  </a:lnTo>
                  <a:lnTo>
                    <a:pt x="1887" y="186"/>
                  </a:lnTo>
                  <a:lnTo>
                    <a:pt x="1887" y="184"/>
                  </a:lnTo>
                  <a:lnTo>
                    <a:pt x="1885" y="184"/>
                  </a:lnTo>
                  <a:lnTo>
                    <a:pt x="1883" y="184"/>
                  </a:lnTo>
                  <a:lnTo>
                    <a:pt x="1881" y="184"/>
                  </a:lnTo>
                  <a:lnTo>
                    <a:pt x="1879" y="182"/>
                  </a:lnTo>
                  <a:lnTo>
                    <a:pt x="1879" y="181"/>
                  </a:lnTo>
                  <a:lnTo>
                    <a:pt x="1877" y="181"/>
                  </a:lnTo>
                  <a:lnTo>
                    <a:pt x="1877" y="179"/>
                  </a:lnTo>
                  <a:lnTo>
                    <a:pt x="1875" y="177"/>
                  </a:lnTo>
                  <a:lnTo>
                    <a:pt x="1875" y="175"/>
                  </a:lnTo>
                  <a:lnTo>
                    <a:pt x="1873" y="175"/>
                  </a:lnTo>
                  <a:lnTo>
                    <a:pt x="1873" y="173"/>
                  </a:lnTo>
                  <a:lnTo>
                    <a:pt x="1871" y="173"/>
                  </a:lnTo>
                  <a:lnTo>
                    <a:pt x="1869" y="173"/>
                  </a:lnTo>
                  <a:lnTo>
                    <a:pt x="1868" y="173"/>
                  </a:lnTo>
                  <a:lnTo>
                    <a:pt x="1868" y="171"/>
                  </a:lnTo>
                  <a:lnTo>
                    <a:pt x="1866" y="171"/>
                  </a:lnTo>
                  <a:lnTo>
                    <a:pt x="1864" y="171"/>
                  </a:lnTo>
                  <a:lnTo>
                    <a:pt x="1864" y="169"/>
                  </a:lnTo>
                  <a:lnTo>
                    <a:pt x="1862" y="167"/>
                  </a:lnTo>
                  <a:lnTo>
                    <a:pt x="1860" y="165"/>
                  </a:lnTo>
                  <a:lnTo>
                    <a:pt x="1858" y="165"/>
                  </a:lnTo>
                  <a:lnTo>
                    <a:pt x="1858" y="163"/>
                  </a:lnTo>
                  <a:lnTo>
                    <a:pt x="1856" y="163"/>
                  </a:lnTo>
                  <a:lnTo>
                    <a:pt x="1854" y="161"/>
                  </a:lnTo>
                  <a:lnTo>
                    <a:pt x="1852" y="161"/>
                  </a:lnTo>
                  <a:lnTo>
                    <a:pt x="1850" y="159"/>
                  </a:lnTo>
                  <a:lnTo>
                    <a:pt x="1850" y="157"/>
                  </a:lnTo>
                  <a:lnTo>
                    <a:pt x="1852" y="157"/>
                  </a:lnTo>
                  <a:lnTo>
                    <a:pt x="1852" y="156"/>
                  </a:lnTo>
                  <a:lnTo>
                    <a:pt x="1852" y="154"/>
                  </a:lnTo>
                  <a:lnTo>
                    <a:pt x="1852" y="152"/>
                  </a:lnTo>
                  <a:lnTo>
                    <a:pt x="1852" y="150"/>
                  </a:lnTo>
                  <a:lnTo>
                    <a:pt x="1852" y="148"/>
                  </a:lnTo>
                  <a:lnTo>
                    <a:pt x="1854" y="146"/>
                  </a:lnTo>
                  <a:lnTo>
                    <a:pt x="1854" y="144"/>
                  </a:lnTo>
                  <a:lnTo>
                    <a:pt x="1854" y="142"/>
                  </a:lnTo>
                  <a:lnTo>
                    <a:pt x="1854" y="140"/>
                  </a:lnTo>
                  <a:lnTo>
                    <a:pt x="1854" y="138"/>
                  </a:lnTo>
                  <a:lnTo>
                    <a:pt x="1856" y="136"/>
                  </a:lnTo>
                  <a:lnTo>
                    <a:pt x="1858" y="138"/>
                  </a:lnTo>
                  <a:lnTo>
                    <a:pt x="1858" y="140"/>
                  </a:lnTo>
                  <a:lnTo>
                    <a:pt x="1860" y="140"/>
                  </a:lnTo>
                  <a:lnTo>
                    <a:pt x="1860" y="142"/>
                  </a:lnTo>
                  <a:lnTo>
                    <a:pt x="1860" y="144"/>
                  </a:lnTo>
                  <a:lnTo>
                    <a:pt x="1858" y="144"/>
                  </a:lnTo>
                  <a:lnTo>
                    <a:pt x="1858" y="146"/>
                  </a:lnTo>
                  <a:lnTo>
                    <a:pt x="1858" y="148"/>
                  </a:lnTo>
                  <a:lnTo>
                    <a:pt x="1860" y="148"/>
                  </a:lnTo>
                  <a:lnTo>
                    <a:pt x="1860" y="150"/>
                  </a:lnTo>
                  <a:lnTo>
                    <a:pt x="1860" y="152"/>
                  </a:lnTo>
                  <a:lnTo>
                    <a:pt x="1862" y="152"/>
                  </a:lnTo>
                  <a:lnTo>
                    <a:pt x="1864" y="152"/>
                  </a:lnTo>
                  <a:close/>
                  <a:moveTo>
                    <a:pt x="1795" y="232"/>
                  </a:moveTo>
                  <a:lnTo>
                    <a:pt x="1795" y="234"/>
                  </a:lnTo>
                  <a:lnTo>
                    <a:pt x="1795" y="232"/>
                  </a:lnTo>
                  <a:lnTo>
                    <a:pt x="1797" y="234"/>
                  </a:lnTo>
                  <a:lnTo>
                    <a:pt x="1798" y="234"/>
                  </a:lnTo>
                  <a:lnTo>
                    <a:pt x="1800" y="236"/>
                  </a:lnTo>
                  <a:lnTo>
                    <a:pt x="1800" y="238"/>
                  </a:lnTo>
                  <a:lnTo>
                    <a:pt x="1802" y="238"/>
                  </a:lnTo>
                  <a:lnTo>
                    <a:pt x="1802" y="240"/>
                  </a:lnTo>
                  <a:lnTo>
                    <a:pt x="1804" y="240"/>
                  </a:lnTo>
                  <a:lnTo>
                    <a:pt x="1806" y="242"/>
                  </a:lnTo>
                  <a:lnTo>
                    <a:pt x="1808" y="244"/>
                  </a:lnTo>
                  <a:lnTo>
                    <a:pt x="1808" y="246"/>
                  </a:lnTo>
                  <a:lnTo>
                    <a:pt x="1810" y="248"/>
                  </a:lnTo>
                  <a:lnTo>
                    <a:pt x="1810" y="250"/>
                  </a:lnTo>
                  <a:lnTo>
                    <a:pt x="1812" y="250"/>
                  </a:lnTo>
                  <a:lnTo>
                    <a:pt x="1812" y="252"/>
                  </a:lnTo>
                  <a:lnTo>
                    <a:pt x="1814" y="254"/>
                  </a:lnTo>
                  <a:lnTo>
                    <a:pt x="1814" y="255"/>
                  </a:lnTo>
                  <a:lnTo>
                    <a:pt x="1812" y="255"/>
                  </a:lnTo>
                  <a:lnTo>
                    <a:pt x="1812" y="257"/>
                  </a:lnTo>
                  <a:lnTo>
                    <a:pt x="1812" y="259"/>
                  </a:lnTo>
                  <a:lnTo>
                    <a:pt x="1812" y="261"/>
                  </a:lnTo>
                  <a:lnTo>
                    <a:pt x="1812" y="263"/>
                  </a:lnTo>
                  <a:lnTo>
                    <a:pt x="1812" y="265"/>
                  </a:lnTo>
                  <a:lnTo>
                    <a:pt x="1814" y="267"/>
                  </a:lnTo>
                  <a:lnTo>
                    <a:pt x="1812" y="267"/>
                  </a:lnTo>
                  <a:lnTo>
                    <a:pt x="1810" y="267"/>
                  </a:lnTo>
                  <a:lnTo>
                    <a:pt x="1808" y="269"/>
                  </a:lnTo>
                  <a:lnTo>
                    <a:pt x="1808" y="267"/>
                  </a:lnTo>
                  <a:lnTo>
                    <a:pt x="1806" y="267"/>
                  </a:lnTo>
                  <a:lnTo>
                    <a:pt x="1804" y="267"/>
                  </a:lnTo>
                  <a:lnTo>
                    <a:pt x="1802" y="267"/>
                  </a:lnTo>
                  <a:lnTo>
                    <a:pt x="1802" y="265"/>
                  </a:lnTo>
                  <a:lnTo>
                    <a:pt x="1800" y="265"/>
                  </a:lnTo>
                  <a:lnTo>
                    <a:pt x="1798" y="265"/>
                  </a:lnTo>
                  <a:lnTo>
                    <a:pt x="1797" y="265"/>
                  </a:lnTo>
                  <a:lnTo>
                    <a:pt x="1795" y="265"/>
                  </a:lnTo>
                  <a:lnTo>
                    <a:pt x="1793" y="265"/>
                  </a:lnTo>
                  <a:lnTo>
                    <a:pt x="1791" y="265"/>
                  </a:lnTo>
                  <a:lnTo>
                    <a:pt x="1791" y="263"/>
                  </a:lnTo>
                  <a:lnTo>
                    <a:pt x="1789" y="263"/>
                  </a:lnTo>
                  <a:lnTo>
                    <a:pt x="1787" y="263"/>
                  </a:lnTo>
                  <a:lnTo>
                    <a:pt x="1785" y="263"/>
                  </a:lnTo>
                  <a:lnTo>
                    <a:pt x="1783" y="261"/>
                  </a:lnTo>
                  <a:lnTo>
                    <a:pt x="1781" y="261"/>
                  </a:lnTo>
                  <a:lnTo>
                    <a:pt x="1779" y="259"/>
                  </a:lnTo>
                  <a:lnTo>
                    <a:pt x="1777" y="259"/>
                  </a:lnTo>
                  <a:lnTo>
                    <a:pt x="1777" y="257"/>
                  </a:lnTo>
                  <a:lnTo>
                    <a:pt x="1775" y="257"/>
                  </a:lnTo>
                  <a:lnTo>
                    <a:pt x="1773" y="257"/>
                  </a:lnTo>
                  <a:lnTo>
                    <a:pt x="1773" y="255"/>
                  </a:lnTo>
                  <a:lnTo>
                    <a:pt x="1772" y="255"/>
                  </a:lnTo>
                  <a:lnTo>
                    <a:pt x="1770" y="255"/>
                  </a:lnTo>
                  <a:lnTo>
                    <a:pt x="1768" y="255"/>
                  </a:lnTo>
                  <a:lnTo>
                    <a:pt x="1766" y="257"/>
                  </a:lnTo>
                  <a:lnTo>
                    <a:pt x="1764" y="257"/>
                  </a:lnTo>
                  <a:lnTo>
                    <a:pt x="1764" y="259"/>
                  </a:lnTo>
                  <a:lnTo>
                    <a:pt x="1762" y="259"/>
                  </a:lnTo>
                  <a:lnTo>
                    <a:pt x="1760" y="259"/>
                  </a:lnTo>
                  <a:lnTo>
                    <a:pt x="1758" y="259"/>
                  </a:lnTo>
                  <a:lnTo>
                    <a:pt x="1758" y="257"/>
                  </a:lnTo>
                  <a:lnTo>
                    <a:pt x="1758" y="255"/>
                  </a:lnTo>
                  <a:lnTo>
                    <a:pt x="1760" y="255"/>
                  </a:lnTo>
                  <a:lnTo>
                    <a:pt x="1762" y="255"/>
                  </a:lnTo>
                  <a:lnTo>
                    <a:pt x="1764" y="255"/>
                  </a:lnTo>
                  <a:lnTo>
                    <a:pt x="1766" y="255"/>
                  </a:lnTo>
                  <a:lnTo>
                    <a:pt x="1766" y="254"/>
                  </a:lnTo>
                  <a:lnTo>
                    <a:pt x="1770" y="252"/>
                  </a:lnTo>
                  <a:lnTo>
                    <a:pt x="1770" y="250"/>
                  </a:lnTo>
                  <a:lnTo>
                    <a:pt x="1772" y="250"/>
                  </a:lnTo>
                  <a:lnTo>
                    <a:pt x="1772" y="248"/>
                  </a:lnTo>
                  <a:lnTo>
                    <a:pt x="1772" y="246"/>
                  </a:lnTo>
                  <a:lnTo>
                    <a:pt x="1773" y="246"/>
                  </a:lnTo>
                  <a:lnTo>
                    <a:pt x="1773" y="244"/>
                  </a:lnTo>
                  <a:lnTo>
                    <a:pt x="1773" y="242"/>
                  </a:lnTo>
                  <a:lnTo>
                    <a:pt x="1773" y="240"/>
                  </a:lnTo>
                  <a:lnTo>
                    <a:pt x="1773" y="238"/>
                  </a:lnTo>
                  <a:lnTo>
                    <a:pt x="1775" y="238"/>
                  </a:lnTo>
                  <a:lnTo>
                    <a:pt x="1775" y="236"/>
                  </a:lnTo>
                  <a:lnTo>
                    <a:pt x="1775" y="234"/>
                  </a:lnTo>
                  <a:lnTo>
                    <a:pt x="1777" y="234"/>
                  </a:lnTo>
                  <a:lnTo>
                    <a:pt x="1777" y="232"/>
                  </a:lnTo>
                  <a:lnTo>
                    <a:pt x="1779" y="234"/>
                  </a:lnTo>
                  <a:lnTo>
                    <a:pt x="1781" y="234"/>
                  </a:lnTo>
                  <a:lnTo>
                    <a:pt x="1783" y="232"/>
                  </a:lnTo>
                  <a:lnTo>
                    <a:pt x="1785" y="232"/>
                  </a:lnTo>
                  <a:lnTo>
                    <a:pt x="1787" y="230"/>
                  </a:lnTo>
                  <a:lnTo>
                    <a:pt x="1789" y="230"/>
                  </a:lnTo>
                  <a:lnTo>
                    <a:pt x="1791" y="230"/>
                  </a:lnTo>
                  <a:lnTo>
                    <a:pt x="1793" y="232"/>
                  </a:lnTo>
                  <a:lnTo>
                    <a:pt x="1795" y="232"/>
                  </a:lnTo>
                  <a:close/>
                  <a:moveTo>
                    <a:pt x="2359" y="346"/>
                  </a:moveTo>
                  <a:lnTo>
                    <a:pt x="2361" y="346"/>
                  </a:lnTo>
                  <a:lnTo>
                    <a:pt x="2363" y="346"/>
                  </a:lnTo>
                  <a:lnTo>
                    <a:pt x="2365" y="346"/>
                  </a:lnTo>
                  <a:lnTo>
                    <a:pt x="2365" y="348"/>
                  </a:lnTo>
                  <a:lnTo>
                    <a:pt x="2367" y="346"/>
                  </a:lnTo>
                  <a:lnTo>
                    <a:pt x="2367" y="348"/>
                  </a:lnTo>
                  <a:lnTo>
                    <a:pt x="2368" y="348"/>
                  </a:lnTo>
                  <a:lnTo>
                    <a:pt x="2370" y="348"/>
                  </a:lnTo>
                  <a:lnTo>
                    <a:pt x="2370" y="350"/>
                  </a:lnTo>
                  <a:lnTo>
                    <a:pt x="2372" y="350"/>
                  </a:lnTo>
                  <a:lnTo>
                    <a:pt x="2370" y="351"/>
                  </a:lnTo>
                  <a:lnTo>
                    <a:pt x="2372" y="351"/>
                  </a:lnTo>
                  <a:lnTo>
                    <a:pt x="2372" y="350"/>
                  </a:lnTo>
                  <a:lnTo>
                    <a:pt x="2374" y="351"/>
                  </a:lnTo>
                  <a:lnTo>
                    <a:pt x="2374" y="353"/>
                  </a:lnTo>
                  <a:lnTo>
                    <a:pt x="2374" y="355"/>
                  </a:lnTo>
                  <a:lnTo>
                    <a:pt x="2374" y="353"/>
                  </a:lnTo>
                  <a:lnTo>
                    <a:pt x="2376" y="353"/>
                  </a:lnTo>
                  <a:lnTo>
                    <a:pt x="2376" y="355"/>
                  </a:lnTo>
                  <a:lnTo>
                    <a:pt x="2378" y="355"/>
                  </a:lnTo>
                  <a:lnTo>
                    <a:pt x="2378" y="357"/>
                  </a:lnTo>
                  <a:lnTo>
                    <a:pt x="2376" y="357"/>
                  </a:lnTo>
                  <a:lnTo>
                    <a:pt x="2378" y="357"/>
                  </a:lnTo>
                  <a:lnTo>
                    <a:pt x="2378" y="359"/>
                  </a:lnTo>
                  <a:lnTo>
                    <a:pt x="2378" y="357"/>
                  </a:lnTo>
                  <a:lnTo>
                    <a:pt x="2378" y="355"/>
                  </a:lnTo>
                  <a:lnTo>
                    <a:pt x="2376" y="355"/>
                  </a:lnTo>
                  <a:lnTo>
                    <a:pt x="2376" y="353"/>
                  </a:lnTo>
                  <a:lnTo>
                    <a:pt x="2374" y="351"/>
                  </a:lnTo>
                  <a:lnTo>
                    <a:pt x="2372" y="350"/>
                  </a:lnTo>
                  <a:lnTo>
                    <a:pt x="2374" y="350"/>
                  </a:lnTo>
                  <a:lnTo>
                    <a:pt x="2374" y="351"/>
                  </a:lnTo>
                  <a:lnTo>
                    <a:pt x="2376" y="351"/>
                  </a:lnTo>
                  <a:lnTo>
                    <a:pt x="2376" y="353"/>
                  </a:lnTo>
                  <a:lnTo>
                    <a:pt x="2376" y="355"/>
                  </a:lnTo>
                  <a:lnTo>
                    <a:pt x="2378" y="357"/>
                  </a:lnTo>
                  <a:lnTo>
                    <a:pt x="2378" y="359"/>
                  </a:lnTo>
                  <a:lnTo>
                    <a:pt x="2380" y="359"/>
                  </a:lnTo>
                  <a:lnTo>
                    <a:pt x="2382" y="359"/>
                  </a:lnTo>
                  <a:lnTo>
                    <a:pt x="2382" y="361"/>
                  </a:lnTo>
                  <a:lnTo>
                    <a:pt x="2382" y="363"/>
                  </a:lnTo>
                  <a:lnTo>
                    <a:pt x="2382" y="365"/>
                  </a:lnTo>
                  <a:lnTo>
                    <a:pt x="2382" y="367"/>
                  </a:lnTo>
                  <a:lnTo>
                    <a:pt x="2380" y="367"/>
                  </a:lnTo>
                  <a:lnTo>
                    <a:pt x="2380" y="369"/>
                  </a:lnTo>
                  <a:lnTo>
                    <a:pt x="2378" y="369"/>
                  </a:lnTo>
                  <a:lnTo>
                    <a:pt x="2376" y="371"/>
                  </a:lnTo>
                  <a:lnTo>
                    <a:pt x="2374" y="371"/>
                  </a:lnTo>
                  <a:lnTo>
                    <a:pt x="2372" y="371"/>
                  </a:lnTo>
                  <a:lnTo>
                    <a:pt x="2372" y="373"/>
                  </a:lnTo>
                  <a:lnTo>
                    <a:pt x="2370" y="373"/>
                  </a:lnTo>
                  <a:lnTo>
                    <a:pt x="2368" y="373"/>
                  </a:lnTo>
                  <a:lnTo>
                    <a:pt x="2370" y="373"/>
                  </a:lnTo>
                  <a:lnTo>
                    <a:pt x="2368" y="373"/>
                  </a:lnTo>
                  <a:lnTo>
                    <a:pt x="2367" y="373"/>
                  </a:lnTo>
                  <a:lnTo>
                    <a:pt x="2367" y="375"/>
                  </a:lnTo>
                  <a:lnTo>
                    <a:pt x="2365" y="375"/>
                  </a:lnTo>
                  <a:lnTo>
                    <a:pt x="2363" y="375"/>
                  </a:lnTo>
                  <a:lnTo>
                    <a:pt x="2361" y="375"/>
                  </a:lnTo>
                  <a:lnTo>
                    <a:pt x="2361" y="376"/>
                  </a:lnTo>
                  <a:lnTo>
                    <a:pt x="2359" y="376"/>
                  </a:lnTo>
                  <a:lnTo>
                    <a:pt x="2357" y="376"/>
                  </a:lnTo>
                  <a:lnTo>
                    <a:pt x="2355" y="376"/>
                  </a:lnTo>
                  <a:lnTo>
                    <a:pt x="2355" y="378"/>
                  </a:lnTo>
                  <a:lnTo>
                    <a:pt x="2353" y="378"/>
                  </a:lnTo>
                  <a:lnTo>
                    <a:pt x="2355" y="378"/>
                  </a:lnTo>
                  <a:lnTo>
                    <a:pt x="2355" y="376"/>
                  </a:lnTo>
                  <a:lnTo>
                    <a:pt x="2357" y="376"/>
                  </a:lnTo>
                  <a:lnTo>
                    <a:pt x="2355" y="376"/>
                  </a:lnTo>
                  <a:lnTo>
                    <a:pt x="2353" y="376"/>
                  </a:lnTo>
                  <a:lnTo>
                    <a:pt x="2355" y="376"/>
                  </a:lnTo>
                  <a:lnTo>
                    <a:pt x="2353" y="376"/>
                  </a:lnTo>
                  <a:lnTo>
                    <a:pt x="2355" y="376"/>
                  </a:lnTo>
                  <a:lnTo>
                    <a:pt x="2353" y="378"/>
                  </a:lnTo>
                  <a:lnTo>
                    <a:pt x="2351" y="378"/>
                  </a:lnTo>
                  <a:lnTo>
                    <a:pt x="2353" y="378"/>
                  </a:lnTo>
                  <a:lnTo>
                    <a:pt x="2353" y="376"/>
                  </a:lnTo>
                  <a:lnTo>
                    <a:pt x="2351" y="376"/>
                  </a:lnTo>
                  <a:lnTo>
                    <a:pt x="2353" y="376"/>
                  </a:lnTo>
                  <a:lnTo>
                    <a:pt x="2353" y="375"/>
                  </a:lnTo>
                  <a:lnTo>
                    <a:pt x="2353" y="376"/>
                  </a:lnTo>
                  <a:lnTo>
                    <a:pt x="2351" y="376"/>
                  </a:lnTo>
                  <a:lnTo>
                    <a:pt x="2351" y="375"/>
                  </a:lnTo>
                  <a:lnTo>
                    <a:pt x="2351" y="376"/>
                  </a:lnTo>
                  <a:lnTo>
                    <a:pt x="2351" y="375"/>
                  </a:lnTo>
                  <a:lnTo>
                    <a:pt x="2349" y="375"/>
                  </a:lnTo>
                  <a:lnTo>
                    <a:pt x="2347" y="373"/>
                  </a:lnTo>
                  <a:lnTo>
                    <a:pt x="2345" y="373"/>
                  </a:lnTo>
                  <a:lnTo>
                    <a:pt x="2345" y="348"/>
                  </a:lnTo>
                  <a:lnTo>
                    <a:pt x="2347" y="348"/>
                  </a:lnTo>
                  <a:lnTo>
                    <a:pt x="2349" y="348"/>
                  </a:lnTo>
                  <a:lnTo>
                    <a:pt x="2347" y="348"/>
                  </a:lnTo>
                  <a:lnTo>
                    <a:pt x="2349" y="348"/>
                  </a:lnTo>
                  <a:lnTo>
                    <a:pt x="2349" y="346"/>
                  </a:lnTo>
                  <a:lnTo>
                    <a:pt x="2349" y="348"/>
                  </a:lnTo>
                  <a:lnTo>
                    <a:pt x="2351" y="348"/>
                  </a:lnTo>
                  <a:lnTo>
                    <a:pt x="2351" y="346"/>
                  </a:lnTo>
                  <a:lnTo>
                    <a:pt x="2351" y="348"/>
                  </a:lnTo>
                  <a:lnTo>
                    <a:pt x="2353" y="346"/>
                  </a:lnTo>
                  <a:lnTo>
                    <a:pt x="2353" y="348"/>
                  </a:lnTo>
                  <a:lnTo>
                    <a:pt x="2355" y="348"/>
                  </a:lnTo>
                  <a:lnTo>
                    <a:pt x="2357" y="348"/>
                  </a:lnTo>
                  <a:lnTo>
                    <a:pt x="2357" y="346"/>
                  </a:lnTo>
                  <a:lnTo>
                    <a:pt x="2359" y="346"/>
                  </a:lnTo>
                  <a:close/>
                  <a:moveTo>
                    <a:pt x="449" y="453"/>
                  </a:moveTo>
                  <a:lnTo>
                    <a:pt x="447" y="455"/>
                  </a:lnTo>
                  <a:lnTo>
                    <a:pt x="447" y="457"/>
                  </a:lnTo>
                  <a:lnTo>
                    <a:pt x="445" y="459"/>
                  </a:lnTo>
                  <a:lnTo>
                    <a:pt x="445" y="457"/>
                  </a:lnTo>
                  <a:lnTo>
                    <a:pt x="447" y="457"/>
                  </a:lnTo>
                  <a:lnTo>
                    <a:pt x="447" y="455"/>
                  </a:lnTo>
                  <a:lnTo>
                    <a:pt x="447" y="453"/>
                  </a:lnTo>
                  <a:lnTo>
                    <a:pt x="445" y="453"/>
                  </a:lnTo>
                  <a:lnTo>
                    <a:pt x="445" y="455"/>
                  </a:lnTo>
                  <a:lnTo>
                    <a:pt x="443" y="455"/>
                  </a:lnTo>
                  <a:lnTo>
                    <a:pt x="443" y="457"/>
                  </a:lnTo>
                  <a:lnTo>
                    <a:pt x="441" y="457"/>
                  </a:lnTo>
                  <a:lnTo>
                    <a:pt x="441" y="459"/>
                  </a:lnTo>
                  <a:lnTo>
                    <a:pt x="443" y="457"/>
                  </a:lnTo>
                  <a:lnTo>
                    <a:pt x="443" y="459"/>
                  </a:lnTo>
                  <a:lnTo>
                    <a:pt x="441" y="459"/>
                  </a:lnTo>
                  <a:lnTo>
                    <a:pt x="441" y="461"/>
                  </a:lnTo>
                  <a:lnTo>
                    <a:pt x="440" y="461"/>
                  </a:lnTo>
                  <a:lnTo>
                    <a:pt x="440" y="463"/>
                  </a:lnTo>
                  <a:lnTo>
                    <a:pt x="438" y="465"/>
                  </a:lnTo>
                  <a:lnTo>
                    <a:pt x="436" y="465"/>
                  </a:lnTo>
                  <a:lnTo>
                    <a:pt x="436" y="467"/>
                  </a:lnTo>
                  <a:lnTo>
                    <a:pt x="434" y="467"/>
                  </a:lnTo>
                  <a:lnTo>
                    <a:pt x="432" y="467"/>
                  </a:lnTo>
                  <a:lnTo>
                    <a:pt x="430" y="469"/>
                  </a:lnTo>
                  <a:lnTo>
                    <a:pt x="428" y="469"/>
                  </a:lnTo>
                  <a:lnTo>
                    <a:pt x="426" y="469"/>
                  </a:lnTo>
                  <a:lnTo>
                    <a:pt x="424" y="471"/>
                  </a:lnTo>
                  <a:lnTo>
                    <a:pt x="424" y="469"/>
                  </a:lnTo>
                  <a:lnTo>
                    <a:pt x="422" y="469"/>
                  </a:lnTo>
                  <a:lnTo>
                    <a:pt x="420" y="469"/>
                  </a:lnTo>
                  <a:lnTo>
                    <a:pt x="418" y="469"/>
                  </a:lnTo>
                  <a:lnTo>
                    <a:pt x="418" y="467"/>
                  </a:lnTo>
                  <a:lnTo>
                    <a:pt x="418" y="465"/>
                  </a:lnTo>
                  <a:lnTo>
                    <a:pt x="418" y="461"/>
                  </a:lnTo>
                  <a:lnTo>
                    <a:pt x="418" y="459"/>
                  </a:lnTo>
                  <a:lnTo>
                    <a:pt x="418" y="457"/>
                  </a:lnTo>
                  <a:lnTo>
                    <a:pt x="418" y="455"/>
                  </a:lnTo>
                  <a:lnTo>
                    <a:pt x="418" y="453"/>
                  </a:lnTo>
                  <a:lnTo>
                    <a:pt x="418" y="451"/>
                  </a:lnTo>
                  <a:lnTo>
                    <a:pt x="420" y="448"/>
                  </a:lnTo>
                  <a:lnTo>
                    <a:pt x="420" y="446"/>
                  </a:lnTo>
                  <a:lnTo>
                    <a:pt x="420" y="444"/>
                  </a:lnTo>
                  <a:lnTo>
                    <a:pt x="422" y="442"/>
                  </a:lnTo>
                  <a:lnTo>
                    <a:pt x="424" y="440"/>
                  </a:lnTo>
                  <a:lnTo>
                    <a:pt x="426" y="438"/>
                  </a:lnTo>
                  <a:lnTo>
                    <a:pt x="428" y="438"/>
                  </a:lnTo>
                  <a:lnTo>
                    <a:pt x="430" y="436"/>
                  </a:lnTo>
                  <a:lnTo>
                    <a:pt x="432" y="436"/>
                  </a:lnTo>
                  <a:lnTo>
                    <a:pt x="434" y="436"/>
                  </a:lnTo>
                  <a:lnTo>
                    <a:pt x="434" y="438"/>
                  </a:lnTo>
                  <a:lnTo>
                    <a:pt x="436" y="438"/>
                  </a:lnTo>
                  <a:lnTo>
                    <a:pt x="436" y="440"/>
                  </a:lnTo>
                  <a:lnTo>
                    <a:pt x="438" y="440"/>
                  </a:lnTo>
                  <a:lnTo>
                    <a:pt x="441" y="442"/>
                  </a:lnTo>
                  <a:lnTo>
                    <a:pt x="443" y="446"/>
                  </a:lnTo>
                  <a:lnTo>
                    <a:pt x="445" y="446"/>
                  </a:lnTo>
                  <a:lnTo>
                    <a:pt x="447" y="448"/>
                  </a:lnTo>
                  <a:lnTo>
                    <a:pt x="447" y="449"/>
                  </a:lnTo>
                  <a:lnTo>
                    <a:pt x="449" y="451"/>
                  </a:lnTo>
                  <a:lnTo>
                    <a:pt x="449" y="453"/>
                  </a:lnTo>
                  <a:close/>
                  <a:moveTo>
                    <a:pt x="578" y="396"/>
                  </a:moveTo>
                  <a:lnTo>
                    <a:pt x="576" y="396"/>
                  </a:lnTo>
                  <a:lnTo>
                    <a:pt x="578" y="396"/>
                  </a:lnTo>
                  <a:lnTo>
                    <a:pt x="576" y="396"/>
                  </a:lnTo>
                  <a:lnTo>
                    <a:pt x="578" y="398"/>
                  </a:lnTo>
                  <a:lnTo>
                    <a:pt x="580" y="400"/>
                  </a:lnTo>
                  <a:lnTo>
                    <a:pt x="582" y="401"/>
                  </a:lnTo>
                  <a:lnTo>
                    <a:pt x="582" y="403"/>
                  </a:lnTo>
                  <a:lnTo>
                    <a:pt x="584" y="403"/>
                  </a:lnTo>
                  <a:lnTo>
                    <a:pt x="584" y="405"/>
                  </a:lnTo>
                  <a:lnTo>
                    <a:pt x="585" y="407"/>
                  </a:lnTo>
                  <a:lnTo>
                    <a:pt x="587" y="409"/>
                  </a:lnTo>
                  <a:lnTo>
                    <a:pt x="587" y="411"/>
                  </a:lnTo>
                  <a:lnTo>
                    <a:pt x="589" y="411"/>
                  </a:lnTo>
                  <a:lnTo>
                    <a:pt x="589" y="413"/>
                  </a:lnTo>
                  <a:lnTo>
                    <a:pt x="591" y="413"/>
                  </a:lnTo>
                  <a:lnTo>
                    <a:pt x="591" y="411"/>
                  </a:lnTo>
                  <a:lnTo>
                    <a:pt x="591" y="413"/>
                  </a:lnTo>
                  <a:lnTo>
                    <a:pt x="591" y="415"/>
                  </a:lnTo>
                  <a:lnTo>
                    <a:pt x="593" y="415"/>
                  </a:lnTo>
                  <a:lnTo>
                    <a:pt x="593" y="417"/>
                  </a:lnTo>
                  <a:lnTo>
                    <a:pt x="595" y="417"/>
                  </a:lnTo>
                  <a:lnTo>
                    <a:pt x="595" y="419"/>
                  </a:lnTo>
                  <a:lnTo>
                    <a:pt x="597" y="419"/>
                  </a:lnTo>
                  <a:lnTo>
                    <a:pt x="597" y="421"/>
                  </a:lnTo>
                  <a:lnTo>
                    <a:pt x="599" y="424"/>
                  </a:lnTo>
                  <a:lnTo>
                    <a:pt x="597" y="424"/>
                  </a:lnTo>
                  <a:lnTo>
                    <a:pt x="597" y="426"/>
                  </a:lnTo>
                  <a:lnTo>
                    <a:pt x="597" y="428"/>
                  </a:lnTo>
                  <a:lnTo>
                    <a:pt x="597" y="426"/>
                  </a:lnTo>
                  <a:lnTo>
                    <a:pt x="597" y="428"/>
                  </a:lnTo>
                  <a:lnTo>
                    <a:pt x="595" y="428"/>
                  </a:lnTo>
                  <a:lnTo>
                    <a:pt x="595" y="430"/>
                  </a:lnTo>
                  <a:lnTo>
                    <a:pt x="595" y="428"/>
                  </a:lnTo>
                  <a:lnTo>
                    <a:pt x="593" y="428"/>
                  </a:lnTo>
                  <a:lnTo>
                    <a:pt x="595" y="428"/>
                  </a:lnTo>
                  <a:lnTo>
                    <a:pt x="595" y="430"/>
                  </a:lnTo>
                  <a:lnTo>
                    <a:pt x="593" y="430"/>
                  </a:lnTo>
                  <a:lnTo>
                    <a:pt x="593" y="428"/>
                  </a:lnTo>
                  <a:lnTo>
                    <a:pt x="593" y="430"/>
                  </a:lnTo>
                  <a:lnTo>
                    <a:pt x="593" y="428"/>
                  </a:lnTo>
                  <a:lnTo>
                    <a:pt x="591" y="428"/>
                  </a:lnTo>
                  <a:lnTo>
                    <a:pt x="591" y="430"/>
                  </a:lnTo>
                  <a:lnTo>
                    <a:pt x="591" y="428"/>
                  </a:lnTo>
                  <a:lnTo>
                    <a:pt x="589" y="428"/>
                  </a:lnTo>
                  <a:lnTo>
                    <a:pt x="591" y="430"/>
                  </a:lnTo>
                  <a:lnTo>
                    <a:pt x="589" y="430"/>
                  </a:lnTo>
                  <a:lnTo>
                    <a:pt x="589" y="428"/>
                  </a:lnTo>
                  <a:lnTo>
                    <a:pt x="589" y="430"/>
                  </a:lnTo>
                  <a:lnTo>
                    <a:pt x="587" y="428"/>
                  </a:lnTo>
                  <a:lnTo>
                    <a:pt x="587" y="430"/>
                  </a:lnTo>
                  <a:lnTo>
                    <a:pt x="587" y="428"/>
                  </a:lnTo>
                  <a:lnTo>
                    <a:pt x="585" y="428"/>
                  </a:lnTo>
                  <a:lnTo>
                    <a:pt x="584" y="428"/>
                  </a:lnTo>
                  <a:lnTo>
                    <a:pt x="585" y="428"/>
                  </a:lnTo>
                  <a:lnTo>
                    <a:pt x="584" y="428"/>
                  </a:lnTo>
                  <a:lnTo>
                    <a:pt x="585" y="426"/>
                  </a:lnTo>
                  <a:lnTo>
                    <a:pt x="584" y="426"/>
                  </a:lnTo>
                  <a:lnTo>
                    <a:pt x="584" y="424"/>
                  </a:lnTo>
                  <a:lnTo>
                    <a:pt x="585" y="424"/>
                  </a:lnTo>
                  <a:lnTo>
                    <a:pt x="585" y="426"/>
                  </a:lnTo>
                  <a:lnTo>
                    <a:pt x="585" y="424"/>
                  </a:lnTo>
                  <a:lnTo>
                    <a:pt x="585" y="426"/>
                  </a:lnTo>
                  <a:lnTo>
                    <a:pt x="585" y="424"/>
                  </a:lnTo>
                  <a:lnTo>
                    <a:pt x="585" y="423"/>
                  </a:lnTo>
                  <a:lnTo>
                    <a:pt x="584" y="423"/>
                  </a:lnTo>
                  <a:lnTo>
                    <a:pt x="582" y="421"/>
                  </a:lnTo>
                  <a:lnTo>
                    <a:pt x="580" y="421"/>
                  </a:lnTo>
                  <a:lnTo>
                    <a:pt x="578" y="421"/>
                  </a:lnTo>
                  <a:lnTo>
                    <a:pt x="578" y="419"/>
                  </a:lnTo>
                  <a:lnTo>
                    <a:pt x="576" y="419"/>
                  </a:lnTo>
                  <a:lnTo>
                    <a:pt x="576" y="421"/>
                  </a:lnTo>
                  <a:lnTo>
                    <a:pt x="578" y="421"/>
                  </a:lnTo>
                  <a:lnTo>
                    <a:pt x="578" y="423"/>
                  </a:lnTo>
                  <a:lnTo>
                    <a:pt x="576" y="423"/>
                  </a:lnTo>
                  <a:lnTo>
                    <a:pt x="576" y="421"/>
                  </a:lnTo>
                  <a:lnTo>
                    <a:pt x="576" y="419"/>
                  </a:lnTo>
                  <a:lnTo>
                    <a:pt x="574" y="417"/>
                  </a:lnTo>
                  <a:lnTo>
                    <a:pt x="572" y="417"/>
                  </a:lnTo>
                  <a:lnTo>
                    <a:pt x="572" y="415"/>
                  </a:lnTo>
                  <a:lnTo>
                    <a:pt x="570" y="413"/>
                  </a:lnTo>
                  <a:lnTo>
                    <a:pt x="570" y="411"/>
                  </a:lnTo>
                  <a:lnTo>
                    <a:pt x="570" y="409"/>
                  </a:lnTo>
                  <a:lnTo>
                    <a:pt x="568" y="409"/>
                  </a:lnTo>
                  <a:lnTo>
                    <a:pt x="570" y="407"/>
                  </a:lnTo>
                  <a:lnTo>
                    <a:pt x="568" y="407"/>
                  </a:lnTo>
                  <a:lnTo>
                    <a:pt x="568" y="409"/>
                  </a:lnTo>
                  <a:lnTo>
                    <a:pt x="568" y="407"/>
                  </a:lnTo>
                  <a:lnTo>
                    <a:pt x="570" y="407"/>
                  </a:lnTo>
                  <a:lnTo>
                    <a:pt x="568" y="407"/>
                  </a:lnTo>
                  <a:lnTo>
                    <a:pt x="568" y="405"/>
                  </a:lnTo>
                  <a:lnTo>
                    <a:pt x="568" y="407"/>
                  </a:lnTo>
                  <a:lnTo>
                    <a:pt x="568" y="405"/>
                  </a:lnTo>
                  <a:lnTo>
                    <a:pt x="566" y="405"/>
                  </a:lnTo>
                  <a:lnTo>
                    <a:pt x="568" y="405"/>
                  </a:lnTo>
                  <a:lnTo>
                    <a:pt x="570" y="405"/>
                  </a:lnTo>
                  <a:lnTo>
                    <a:pt x="572" y="405"/>
                  </a:lnTo>
                  <a:lnTo>
                    <a:pt x="572" y="407"/>
                  </a:lnTo>
                  <a:lnTo>
                    <a:pt x="574" y="407"/>
                  </a:lnTo>
                  <a:lnTo>
                    <a:pt x="574" y="405"/>
                  </a:lnTo>
                  <a:lnTo>
                    <a:pt x="572" y="405"/>
                  </a:lnTo>
                  <a:lnTo>
                    <a:pt x="572" y="403"/>
                  </a:lnTo>
                  <a:lnTo>
                    <a:pt x="570" y="403"/>
                  </a:lnTo>
                  <a:lnTo>
                    <a:pt x="568" y="401"/>
                  </a:lnTo>
                  <a:lnTo>
                    <a:pt x="570" y="401"/>
                  </a:lnTo>
                  <a:lnTo>
                    <a:pt x="570" y="403"/>
                  </a:lnTo>
                  <a:lnTo>
                    <a:pt x="570" y="401"/>
                  </a:lnTo>
                  <a:lnTo>
                    <a:pt x="572" y="401"/>
                  </a:lnTo>
                  <a:lnTo>
                    <a:pt x="570" y="401"/>
                  </a:lnTo>
                  <a:lnTo>
                    <a:pt x="572" y="401"/>
                  </a:lnTo>
                  <a:lnTo>
                    <a:pt x="572" y="400"/>
                  </a:lnTo>
                  <a:lnTo>
                    <a:pt x="572" y="398"/>
                  </a:lnTo>
                  <a:lnTo>
                    <a:pt x="574" y="398"/>
                  </a:lnTo>
                  <a:lnTo>
                    <a:pt x="572" y="398"/>
                  </a:lnTo>
                  <a:lnTo>
                    <a:pt x="574" y="398"/>
                  </a:lnTo>
                  <a:lnTo>
                    <a:pt x="576" y="398"/>
                  </a:lnTo>
                  <a:lnTo>
                    <a:pt x="576" y="396"/>
                  </a:lnTo>
                  <a:lnTo>
                    <a:pt x="578" y="396"/>
                  </a:lnTo>
                  <a:close/>
                  <a:moveTo>
                    <a:pt x="2345" y="348"/>
                  </a:moveTo>
                  <a:lnTo>
                    <a:pt x="2345" y="373"/>
                  </a:lnTo>
                  <a:lnTo>
                    <a:pt x="2344" y="375"/>
                  </a:lnTo>
                  <a:lnTo>
                    <a:pt x="2344" y="376"/>
                  </a:lnTo>
                  <a:lnTo>
                    <a:pt x="2342" y="376"/>
                  </a:lnTo>
                  <a:lnTo>
                    <a:pt x="2340" y="378"/>
                  </a:lnTo>
                  <a:lnTo>
                    <a:pt x="2338" y="378"/>
                  </a:lnTo>
                  <a:lnTo>
                    <a:pt x="2336" y="378"/>
                  </a:lnTo>
                  <a:lnTo>
                    <a:pt x="2334" y="378"/>
                  </a:lnTo>
                  <a:lnTo>
                    <a:pt x="2332" y="378"/>
                  </a:lnTo>
                  <a:lnTo>
                    <a:pt x="2332" y="380"/>
                  </a:lnTo>
                  <a:lnTo>
                    <a:pt x="2330" y="380"/>
                  </a:lnTo>
                  <a:lnTo>
                    <a:pt x="2328" y="382"/>
                  </a:lnTo>
                  <a:lnTo>
                    <a:pt x="2328" y="380"/>
                  </a:lnTo>
                  <a:lnTo>
                    <a:pt x="2328" y="378"/>
                  </a:lnTo>
                  <a:lnTo>
                    <a:pt x="2326" y="378"/>
                  </a:lnTo>
                  <a:lnTo>
                    <a:pt x="2326" y="376"/>
                  </a:lnTo>
                  <a:lnTo>
                    <a:pt x="2326" y="375"/>
                  </a:lnTo>
                  <a:lnTo>
                    <a:pt x="2326" y="373"/>
                  </a:lnTo>
                  <a:lnTo>
                    <a:pt x="2326" y="371"/>
                  </a:lnTo>
                  <a:lnTo>
                    <a:pt x="2326" y="369"/>
                  </a:lnTo>
                  <a:lnTo>
                    <a:pt x="2324" y="369"/>
                  </a:lnTo>
                  <a:lnTo>
                    <a:pt x="2326" y="369"/>
                  </a:lnTo>
                  <a:lnTo>
                    <a:pt x="2326" y="367"/>
                  </a:lnTo>
                  <a:lnTo>
                    <a:pt x="2328" y="365"/>
                  </a:lnTo>
                  <a:lnTo>
                    <a:pt x="2330" y="363"/>
                  </a:lnTo>
                  <a:lnTo>
                    <a:pt x="2330" y="361"/>
                  </a:lnTo>
                  <a:lnTo>
                    <a:pt x="2332" y="361"/>
                  </a:lnTo>
                  <a:lnTo>
                    <a:pt x="2334" y="359"/>
                  </a:lnTo>
                  <a:lnTo>
                    <a:pt x="2334" y="357"/>
                  </a:lnTo>
                  <a:lnTo>
                    <a:pt x="2336" y="357"/>
                  </a:lnTo>
                  <a:lnTo>
                    <a:pt x="2336" y="355"/>
                  </a:lnTo>
                  <a:lnTo>
                    <a:pt x="2338" y="355"/>
                  </a:lnTo>
                  <a:lnTo>
                    <a:pt x="2338" y="353"/>
                  </a:lnTo>
                  <a:lnTo>
                    <a:pt x="2340" y="353"/>
                  </a:lnTo>
                  <a:lnTo>
                    <a:pt x="2340" y="351"/>
                  </a:lnTo>
                  <a:lnTo>
                    <a:pt x="2342" y="351"/>
                  </a:lnTo>
                  <a:lnTo>
                    <a:pt x="2340" y="351"/>
                  </a:lnTo>
                  <a:lnTo>
                    <a:pt x="2342" y="351"/>
                  </a:lnTo>
                  <a:lnTo>
                    <a:pt x="2344" y="350"/>
                  </a:lnTo>
                  <a:lnTo>
                    <a:pt x="2344" y="348"/>
                  </a:lnTo>
                  <a:lnTo>
                    <a:pt x="2345" y="348"/>
                  </a:lnTo>
                  <a:close/>
                  <a:moveTo>
                    <a:pt x="1359" y="198"/>
                  </a:moveTo>
                  <a:lnTo>
                    <a:pt x="1361" y="198"/>
                  </a:lnTo>
                  <a:lnTo>
                    <a:pt x="1363" y="198"/>
                  </a:lnTo>
                  <a:lnTo>
                    <a:pt x="1365" y="198"/>
                  </a:lnTo>
                  <a:lnTo>
                    <a:pt x="1367" y="198"/>
                  </a:lnTo>
                  <a:lnTo>
                    <a:pt x="1369" y="198"/>
                  </a:lnTo>
                  <a:lnTo>
                    <a:pt x="1369" y="200"/>
                  </a:lnTo>
                  <a:lnTo>
                    <a:pt x="1370" y="200"/>
                  </a:lnTo>
                  <a:lnTo>
                    <a:pt x="1370" y="202"/>
                  </a:lnTo>
                  <a:lnTo>
                    <a:pt x="1372" y="202"/>
                  </a:lnTo>
                  <a:lnTo>
                    <a:pt x="1372" y="204"/>
                  </a:lnTo>
                  <a:lnTo>
                    <a:pt x="1372" y="206"/>
                  </a:lnTo>
                  <a:lnTo>
                    <a:pt x="1372" y="207"/>
                  </a:lnTo>
                  <a:lnTo>
                    <a:pt x="1370" y="209"/>
                  </a:lnTo>
                  <a:lnTo>
                    <a:pt x="1370" y="211"/>
                  </a:lnTo>
                  <a:lnTo>
                    <a:pt x="1369" y="211"/>
                  </a:lnTo>
                  <a:lnTo>
                    <a:pt x="1369" y="213"/>
                  </a:lnTo>
                  <a:lnTo>
                    <a:pt x="1369" y="215"/>
                  </a:lnTo>
                  <a:lnTo>
                    <a:pt x="1367" y="215"/>
                  </a:lnTo>
                  <a:lnTo>
                    <a:pt x="1365" y="215"/>
                  </a:lnTo>
                  <a:lnTo>
                    <a:pt x="1365" y="217"/>
                  </a:lnTo>
                  <a:lnTo>
                    <a:pt x="1365" y="219"/>
                  </a:lnTo>
                  <a:lnTo>
                    <a:pt x="1365" y="221"/>
                  </a:lnTo>
                  <a:lnTo>
                    <a:pt x="1363" y="221"/>
                  </a:lnTo>
                  <a:lnTo>
                    <a:pt x="1361" y="221"/>
                  </a:lnTo>
                  <a:lnTo>
                    <a:pt x="1359" y="221"/>
                  </a:lnTo>
                  <a:lnTo>
                    <a:pt x="1359" y="219"/>
                  </a:lnTo>
                  <a:lnTo>
                    <a:pt x="1357" y="219"/>
                  </a:lnTo>
                  <a:lnTo>
                    <a:pt x="1355" y="219"/>
                  </a:lnTo>
                  <a:lnTo>
                    <a:pt x="1353" y="219"/>
                  </a:lnTo>
                  <a:lnTo>
                    <a:pt x="1353" y="217"/>
                  </a:lnTo>
                  <a:lnTo>
                    <a:pt x="1351" y="217"/>
                  </a:lnTo>
                  <a:lnTo>
                    <a:pt x="1351" y="215"/>
                  </a:lnTo>
                  <a:lnTo>
                    <a:pt x="1349" y="213"/>
                  </a:lnTo>
                  <a:lnTo>
                    <a:pt x="1347" y="213"/>
                  </a:lnTo>
                  <a:lnTo>
                    <a:pt x="1345" y="213"/>
                  </a:lnTo>
                  <a:lnTo>
                    <a:pt x="1345" y="211"/>
                  </a:lnTo>
                  <a:lnTo>
                    <a:pt x="1344" y="211"/>
                  </a:lnTo>
                  <a:lnTo>
                    <a:pt x="1344" y="209"/>
                  </a:lnTo>
                  <a:lnTo>
                    <a:pt x="1344" y="207"/>
                  </a:lnTo>
                  <a:lnTo>
                    <a:pt x="1345" y="207"/>
                  </a:lnTo>
                  <a:lnTo>
                    <a:pt x="1345" y="206"/>
                  </a:lnTo>
                  <a:lnTo>
                    <a:pt x="1347" y="206"/>
                  </a:lnTo>
                  <a:lnTo>
                    <a:pt x="1347" y="207"/>
                  </a:lnTo>
                  <a:lnTo>
                    <a:pt x="1349" y="207"/>
                  </a:lnTo>
                  <a:lnTo>
                    <a:pt x="1351" y="207"/>
                  </a:lnTo>
                  <a:lnTo>
                    <a:pt x="1351" y="206"/>
                  </a:lnTo>
                  <a:lnTo>
                    <a:pt x="1351" y="204"/>
                  </a:lnTo>
                  <a:lnTo>
                    <a:pt x="1351" y="202"/>
                  </a:lnTo>
                  <a:lnTo>
                    <a:pt x="1351" y="200"/>
                  </a:lnTo>
                  <a:lnTo>
                    <a:pt x="1351" y="198"/>
                  </a:lnTo>
                  <a:lnTo>
                    <a:pt x="1351" y="196"/>
                  </a:lnTo>
                  <a:lnTo>
                    <a:pt x="1353" y="196"/>
                  </a:lnTo>
                  <a:lnTo>
                    <a:pt x="1355" y="196"/>
                  </a:lnTo>
                  <a:lnTo>
                    <a:pt x="1357" y="198"/>
                  </a:lnTo>
                  <a:lnTo>
                    <a:pt x="1359" y="198"/>
                  </a:lnTo>
                  <a:close/>
                  <a:moveTo>
                    <a:pt x="756" y="259"/>
                  </a:moveTo>
                  <a:lnTo>
                    <a:pt x="756" y="261"/>
                  </a:lnTo>
                  <a:lnTo>
                    <a:pt x="758" y="261"/>
                  </a:lnTo>
                  <a:lnTo>
                    <a:pt x="758" y="259"/>
                  </a:lnTo>
                  <a:lnTo>
                    <a:pt x="758" y="261"/>
                  </a:lnTo>
                  <a:lnTo>
                    <a:pt x="758" y="263"/>
                  </a:lnTo>
                  <a:lnTo>
                    <a:pt x="760" y="263"/>
                  </a:lnTo>
                  <a:lnTo>
                    <a:pt x="760" y="267"/>
                  </a:lnTo>
                  <a:lnTo>
                    <a:pt x="760" y="269"/>
                  </a:lnTo>
                  <a:lnTo>
                    <a:pt x="758" y="269"/>
                  </a:lnTo>
                  <a:lnTo>
                    <a:pt x="756" y="269"/>
                  </a:lnTo>
                  <a:lnTo>
                    <a:pt x="756" y="271"/>
                  </a:lnTo>
                  <a:lnTo>
                    <a:pt x="754" y="271"/>
                  </a:lnTo>
                  <a:lnTo>
                    <a:pt x="754" y="273"/>
                  </a:lnTo>
                  <a:lnTo>
                    <a:pt x="752" y="273"/>
                  </a:lnTo>
                  <a:lnTo>
                    <a:pt x="751" y="271"/>
                  </a:lnTo>
                  <a:lnTo>
                    <a:pt x="749" y="273"/>
                  </a:lnTo>
                  <a:lnTo>
                    <a:pt x="747" y="273"/>
                  </a:lnTo>
                  <a:lnTo>
                    <a:pt x="745" y="275"/>
                  </a:lnTo>
                  <a:lnTo>
                    <a:pt x="743" y="277"/>
                  </a:lnTo>
                  <a:lnTo>
                    <a:pt x="741" y="277"/>
                  </a:lnTo>
                  <a:lnTo>
                    <a:pt x="739" y="277"/>
                  </a:lnTo>
                  <a:lnTo>
                    <a:pt x="739" y="275"/>
                  </a:lnTo>
                  <a:lnTo>
                    <a:pt x="739" y="273"/>
                  </a:lnTo>
                  <a:lnTo>
                    <a:pt x="737" y="273"/>
                  </a:lnTo>
                  <a:lnTo>
                    <a:pt x="737" y="275"/>
                  </a:lnTo>
                  <a:lnTo>
                    <a:pt x="739" y="275"/>
                  </a:lnTo>
                  <a:lnTo>
                    <a:pt x="737" y="275"/>
                  </a:lnTo>
                  <a:lnTo>
                    <a:pt x="737" y="277"/>
                  </a:lnTo>
                  <a:lnTo>
                    <a:pt x="739" y="277"/>
                  </a:lnTo>
                  <a:lnTo>
                    <a:pt x="737" y="277"/>
                  </a:lnTo>
                  <a:lnTo>
                    <a:pt x="735" y="277"/>
                  </a:lnTo>
                  <a:lnTo>
                    <a:pt x="735" y="275"/>
                  </a:lnTo>
                  <a:lnTo>
                    <a:pt x="735" y="273"/>
                  </a:lnTo>
                  <a:lnTo>
                    <a:pt x="737" y="271"/>
                  </a:lnTo>
                  <a:lnTo>
                    <a:pt x="737" y="269"/>
                  </a:lnTo>
                  <a:lnTo>
                    <a:pt x="737" y="267"/>
                  </a:lnTo>
                  <a:lnTo>
                    <a:pt x="737" y="265"/>
                  </a:lnTo>
                  <a:lnTo>
                    <a:pt x="737" y="263"/>
                  </a:lnTo>
                  <a:lnTo>
                    <a:pt x="737" y="261"/>
                  </a:lnTo>
                  <a:lnTo>
                    <a:pt x="737" y="259"/>
                  </a:lnTo>
                  <a:lnTo>
                    <a:pt x="737" y="257"/>
                  </a:lnTo>
                  <a:lnTo>
                    <a:pt x="739" y="255"/>
                  </a:lnTo>
                  <a:lnTo>
                    <a:pt x="741" y="254"/>
                  </a:lnTo>
                  <a:lnTo>
                    <a:pt x="743" y="254"/>
                  </a:lnTo>
                  <a:lnTo>
                    <a:pt x="745" y="254"/>
                  </a:lnTo>
                  <a:lnTo>
                    <a:pt x="747" y="254"/>
                  </a:lnTo>
                  <a:lnTo>
                    <a:pt x="749" y="254"/>
                  </a:lnTo>
                  <a:lnTo>
                    <a:pt x="749" y="252"/>
                  </a:lnTo>
                  <a:lnTo>
                    <a:pt x="751" y="252"/>
                  </a:lnTo>
                  <a:lnTo>
                    <a:pt x="751" y="254"/>
                  </a:lnTo>
                  <a:lnTo>
                    <a:pt x="752" y="254"/>
                  </a:lnTo>
                  <a:lnTo>
                    <a:pt x="754" y="254"/>
                  </a:lnTo>
                  <a:lnTo>
                    <a:pt x="754" y="255"/>
                  </a:lnTo>
                  <a:lnTo>
                    <a:pt x="756" y="255"/>
                  </a:lnTo>
                  <a:lnTo>
                    <a:pt x="754" y="255"/>
                  </a:lnTo>
                  <a:lnTo>
                    <a:pt x="754" y="257"/>
                  </a:lnTo>
                  <a:lnTo>
                    <a:pt x="756" y="257"/>
                  </a:lnTo>
                  <a:lnTo>
                    <a:pt x="756" y="259"/>
                  </a:lnTo>
                  <a:close/>
                  <a:moveTo>
                    <a:pt x="2177" y="415"/>
                  </a:moveTo>
                  <a:lnTo>
                    <a:pt x="2175" y="415"/>
                  </a:lnTo>
                  <a:lnTo>
                    <a:pt x="2177" y="415"/>
                  </a:lnTo>
                  <a:lnTo>
                    <a:pt x="2178" y="417"/>
                  </a:lnTo>
                  <a:lnTo>
                    <a:pt x="2178" y="419"/>
                  </a:lnTo>
                  <a:lnTo>
                    <a:pt x="2178" y="417"/>
                  </a:lnTo>
                  <a:lnTo>
                    <a:pt x="2180" y="417"/>
                  </a:lnTo>
                  <a:lnTo>
                    <a:pt x="2180" y="419"/>
                  </a:lnTo>
                  <a:lnTo>
                    <a:pt x="2182" y="419"/>
                  </a:lnTo>
                  <a:lnTo>
                    <a:pt x="2180" y="419"/>
                  </a:lnTo>
                  <a:lnTo>
                    <a:pt x="2182" y="419"/>
                  </a:lnTo>
                  <a:lnTo>
                    <a:pt x="2182" y="417"/>
                  </a:lnTo>
                  <a:lnTo>
                    <a:pt x="2182" y="419"/>
                  </a:lnTo>
                  <a:lnTo>
                    <a:pt x="2184" y="419"/>
                  </a:lnTo>
                  <a:lnTo>
                    <a:pt x="2184" y="421"/>
                  </a:lnTo>
                  <a:lnTo>
                    <a:pt x="2186" y="421"/>
                  </a:lnTo>
                  <a:lnTo>
                    <a:pt x="2188" y="421"/>
                  </a:lnTo>
                  <a:lnTo>
                    <a:pt x="2190" y="421"/>
                  </a:lnTo>
                  <a:lnTo>
                    <a:pt x="2190" y="423"/>
                  </a:lnTo>
                  <a:lnTo>
                    <a:pt x="2192" y="423"/>
                  </a:lnTo>
                  <a:lnTo>
                    <a:pt x="2190" y="423"/>
                  </a:lnTo>
                  <a:lnTo>
                    <a:pt x="2192" y="423"/>
                  </a:lnTo>
                  <a:lnTo>
                    <a:pt x="2192" y="424"/>
                  </a:lnTo>
                  <a:lnTo>
                    <a:pt x="2190" y="426"/>
                  </a:lnTo>
                  <a:lnTo>
                    <a:pt x="2188" y="426"/>
                  </a:lnTo>
                  <a:lnTo>
                    <a:pt x="2190" y="428"/>
                  </a:lnTo>
                  <a:lnTo>
                    <a:pt x="2188" y="428"/>
                  </a:lnTo>
                  <a:lnTo>
                    <a:pt x="2190" y="428"/>
                  </a:lnTo>
                  <a:lnTo>
                    <a:pt x="2190" y="430"/>
                  </a:lnTo>
                  <a:lnTo>
                    <a:pt x="2190" y="432"/>
                  </a:lnTo>
                  <a:lnTo>
                    <a:pt x="2188" y="434"/>
                  </a:lnTo>
                  <a:lnTo>
                    <a:pt x="2186" y="434"/>
                  </a:lnTo>
                  <a:lnTo>
                    <a:pt x="2184" y="434"/>
                  </a:lnTo>
                  <a:lnTo>
                    <a:pt x="2182" y="434"/>
                  </a:lnTo>
                  <a:lnTo>
                    <a:pt x="2180" y="434"/>
                  </a:lnTo>
                  <a:lnTo>
                    <a:pt x="2178" y="434"/>
                  </a:lnTo>
                  <a:lnTo>
                    <a:pt x="2178" y="432"/>
                  </a:lnTo>
                  <a:lnTo>
                    <a:pt x="2177" y="432"/>
                  </a:lnTo>
                  <a:lnTo>
                    <a:pt x="2175" y="430"/>
                  </a:lnTo>
                  <a:lnTo>
                    <a:pt x="2173" y="430"/>
                  </a:lnTo>
                  <a:lnTo>
                    <a:pt x="2173" y="428"/>
                  </a:lnTo>
                  <a:lnTo>
                    <a:pt x="2173" y="426"/>
                  </a:lnTo>
                  <a:lnTo>
                    <a:pt x="2171" y="426"/>
                  </a:lnTo>
                  <a:lnTo>
                    <a:pt x="2169" y="426"/>
                  </a:lnTo>
                  <a:lnTo>
                    <a:pt x="2169" y="424"/>
                  </a:lnTo>
                  <a:lnTo>
                    <a:pt x="2167" y="424"/>
                  </a:lnTo>
                  <a:lnTo>
                    <a:pt x="2167" y="423"/>
                  </a:lnTo>
                  <a:lnTo>
                    <a:pt x="2169" y="421"/>
                  </a:lnTo>
                  <a:lnTo>
                    <a:pt x="2171" y="419"/>
                  </a:lnTo>
                  <a:lnTo>
                    <a:pt x="2173" y="419"/>
                  </a:lnTo>
                  <a:lnTo>
                    <a:pt x="2173" y="417"/>
                  </a:lnTo>
                  <a:lnTo>
                    <a:pt x="2171" y="417"/>
                  </a:lnTo>
                  <a:lnTo>
                    <a:pt x="2173" y="417"/>
                  </a:lnTo>
                  <a:lnTo>
                    <a:pt x="2173" y="415"/>
                  </a:lnTo>
                  <a:lnTo>
                    <a:pt x="2175" y="415"/>
                  </a:lnTo>
                  <a:lnTo>
                    <a:pt x="2177" y="415"/>
                  </a:lnTo>
                  <a:close/>
                  <a:moveTo>
                    <a:pt x="1889" y="1122"/>
                  </a:moveTo>
                  <a:lnTo>
                    <a:pt x="1891" y="1122"/>
                  </a:lnTo>
                  <a:lnTo>
                    <a:pt x="1891" y="1124"/>
                  </a:lnTo>
                  <a:lnTo>
                    <a:pt x="1891" y="1126"/>
                  </a:lnTo>
                  <a:lnTo>
                    <a:pt x="1889" y="1126"/>
                  </a:lnTo>
                  <a:lnTo>
                    <a:pt x="1887" y="1126"/>
                  </a:lnTo>
                  <a:lnTo>
                    <a:pt x="1885" y="1126"/>
                  </a:lnTo>
                  <a:lnTo>
                    <a:pt x="1885" y="1128"/>
                  </a:lnTo>
                  <a:lnTo>
                    <a:pt x="1883" y="1128"/>
                  </a:lnTo>
                  <a:lnTo>
                    <a:pt x="1881" y="1128"/>
                  </a:lnTo>
                  <a:lnTo>
                    <a:pt x="1881" y="1129"/>
                  </a:lnTo>
                  <a:lnTo>
                    <a:pt x="1881" y="1128"/>
                  </a:lnTo>
                  <a:lnTo>
                    <a:pt x="1881" y="1129"/>
                  </a:lnTo>
                  <a:lnTo>
                    <a:pt x="1879" y="1129"/>
                  </a:lnTo>
                  <a:lnTo>
                    <a:pt x="1879" y="1131"/>
                  </a:lnTo>
                  <a:lnTo>
                    <a:pt x="1877" y="1131"/>
                  </a:lnTo>
                  <a:lnTo>
                    <a:pt x="1877" y="1133"/>
                  </a:lnTo>
                  <a:lnTo>
                    <a:pt x="1875" y="1133"/>
                  </a:lnTo>
                  <a:lnTo>
                    <a:pt x="1873" y="1133"/>
                  </a:lnTo>
                  <a:lnTo>
                    <a:pt x="1873" y="1131"/>
                  </a:lnTo>
                  <a:lnTo>
                    <a:pt x="1873" y="1133"/>
                  </a:lnTo>
                  <a:lnTo>
                    <a:pt x="1871" y="1133"/>
                  </a:lnTo>
                  <a:lnTo>
                    <a:pt x="1873" y="1133"/>
                  </a:lnTo>
                  <a:lnTo>
                    <a:pt x="1871" y="1133"/>
                  </a:lnTo>
                  <a:lnTo>
                    <a:pt x="1871" y="1135"/>
                  </a:lnTo>
                  <a:lnTo>
                    <a:pt x="1871" y="1137"/>
                  </a:lnTo>
                  <a:lnTo>
                    <a:pt x="1869" y="1137"/>
                  </a:lnTo>
                  <a:lnTo>
                    <a:pt x="1868" y="1137"/>
                  </a:lnTo>
                  <a:lnTo>
                    <a:pt x="1869" y="1137"/>
                  </a:lnTo>
                  <a:lnTo>
                    <a:pt x="1868" y="1139"/>
                  </a:lnTo>
                  <a:lnTo>
                    <a:pt x="1868" y="1141"/>
                  </a:lnTo>
                  <a:lnTo>
                    <a:pt x="1866" y="1141"/>
                  </a:lnTo>
                  <a:lnTo>
                    <a:pt x="1864" y="1141"/>
                  </a:lnTo>
                  <a:lnTo>
                    <a:pt x="1864" y="1143"/>
                  </a:lnTo>
                  <a:lnTo>
                    <a:pt x="1862" y="1145"/>
                  </a:lnTo>
                  <a:lnTo>
                    <a:pt x="1862" y="1143"/>
                  </a:lnTo>
                  <a:lnTo>
                    <a:pt x="1862" y="1141"/>
                  </a:lnTo>
                  <a:lnTo>
                    <a:pt x="1862" y="1139"/>
                  </a:lnTo>
                  <a:lnTo>
                    <a:pt x="1862" y="1141"/>
                  </a:lnTo>
                  <a:lnTo>
                    <a:pt x="1864" y="1141"/>
                  </a:lnTo>
                  <a:lnTo>
                    <a:pt x="1864" y="1139"/>
                  </a:lnTo>
                  <a:lnTo>
                    <a:pt x="1866" y="1139"/>
                  </a:lnTo>
                  <a:lnTo>
                    <a:pt x="1866" y="1137"/>
                  </a:lnTo>
                  <a:lnTo>
                    <a:pt x="1864" y="1137"/>
                  </a:lnTo>
                  <a:lnTo>
                    <a:pt x="1864" y="1135"/>
                  </a:lnTo>
                  <a:lnTo>
                    <a:pt x="1866" y="1135"/>
                  </a:lnTo>
                  <a:lnTo>
                    <a:pt x="1866" y="1137"/>
                  </a:lnTo>
                  <a:lnTo>
                    <a:pt x="1868" y="1135"/>
                  </a:lnTo>
                  <a:lnTo>
                    <a:pt x="1869" y="1133"/>
                  </a:lnTo>
                  <a:lnTo>
                    <a:pt x="1871" y="1133"/>
                  </a:lnTo>
                  <a:lnTo>
                    <a:pt x="1871" y="1131"/>
                  </a:lnTo>
                  <a:lnTo>
                    <a:pt x="1871" y="1129"/>
                  </a:lnTo>
                  <a:lnTo>
                    <a:pt x="1869" y="1129"/>
                  </a:lnTo>
                  <a:lnTo>
                    <a:pt x="1871" y="1129"/>
                  </a:lnTo>
                  <a:lnTo>
                    <a:pt x="1871" y="1131"/>
                  </a:lnTo>
                  <a:lnTo>
                    <a:pt x="1873" y="1131"/>
                  </a:lnTo>
                  <a:lnTo>
                    <a:pt x="1873" y="1129"/>
                  </a:lnTo>
                  <a:lnTo>
                    <a:pt x="1873" y="1128"/>
                  </a:lnTo>
                  <a:lnTo>
                    <a:pt x="1875" y="1128"/>
                  </a:lnTo>
                  <a:lnTo>
                    <a:pt x="1875" y="1126"/>
                  </a:lnTo>
                  <a:lnTo>
                    <a:pt x="1875" y="1124"/>
                  </a:lnTo>
                  <a:lnTo>
                    <a:pt x="1877" y="1124"/>
                  </a:lnTo>
                  <a:lnTo>
                    <a:pt x="1877" y="1126"/>
                  </a:lnTo>
                  <a:lnTo>
                    <a:pt x="1877" y="1128"/>
                  </a:lnTo>
                  <a:lnTo>
                    <a:pt x="1879" y="1128"/>
                  </a:lnTo>
                  <a:lnTo>
                    <a:pt x="1881" y="1128"/>
                  </a:lnTo>
                  <a:lnTo>
                    <a:pt x="1883" y="1128"/>
                  </a:lnTo>
                  <a:lnTo>
                    <a:pt x="1883" y="1126"/>
                  </a:lnTo>
                  <a:lnTo>
                    <a:pt x="1885" y="1126"/>
                  </a:lnTo>
                  <a:lnTo>
                    <a:pt x="1883" y="1126"/>
                  </a:lnTo>
                  <a:lnTo>
                    <a:pt x="1885" y="1126"/>
                  </a:lnTo>
                  <a:lnTo>
                    <a:pt x="1885" y="1124"/>
                  </a:lnTo>
                  <a:lnTo>
                    <a:pt x="1887" y="1124"/>
                  </a:lnTo>
                  <a:lnTo>
                    <a:pt x="1887" y="1122"/>
                  </a:lnTo>
                  <a:lnTo>
                    <a:pt x="1889" y="1122"/>
                  </a:lnTo>
                  <a:close/>
                  <a:moveTo>
                    <a:pt x="2121" y="789"/>
                  </a:moveTo>
                  <a:lnTo>
                    <a:pt x="2121" y="791"/>
                  </a:lnTo>
                  <a:lnTo>
                    <a:pt x="2121" y="793"/>
                  </a:lnTo>
                  <a:lnTo>
                    <a:pt x="2123" y="793"/>
                  </a:lnTo>
                  <a:lnTo>
                    <a:pt x="2123" y="795"/>
                  </a:lnTo>
                  <a:lnTo>
                    <a:pt x="2123" y="797"/>
                  </a:lnTo>
                  <a:lnTo>
                    <a:pt x="2123" y="799"/>
                  </a:lnTo>
                  <a:lnTo>
                    <a:pt x="2121" y="799"/>
                  </a:lnTo>
                  <a:lnTo>
                    <a:pt x="2119" y="799"/>
                  </a:lnTo>
                  <a:lnTo>
                    <a:pt x="2117" y="799"/>
                  </a:lnTo>
                  <a:lnTo>
                    <a:pt x="2117" y="801"/>
                  </a:lnTo>
                  <a:lnTo>
                    <a:pt x="2115" y="801"/>
                  </a:lnTo>
                  <a:lnTo>
                    <a:pt x="2113" y="801"/>
                  </a:lnTo>
                  <a:lnTo>
                    <a:pt x="2111" y="803"/>
                  </a:lnTo>
                  <a:lnTo>
                    <a:pt x="2111" y="805"/>
                  </a:lnTo>
                  <a:lnTo>
                    <a:pt x="2109" y="805"/>
                  </a:lnTo>
                  <a:lnTo>
                    <a:pt x="2109" y="807"/>
                  </a:lnTo>
                  <a:lnTo>
                    <a:pt x="2107" y="807"/>
                  </a:lnTo>
                  <a:lnTo>
                    <a:pt x="2106" y="807"/>
                  </a:lnTo>
                  <a:lnTo>
                    <a:pt x="2106" y="809"/>
                  </a:lnTo>
                  <a:lnTo>
                    <a:pt x="2106" y="811"/>
                  </a:lnTo>
                  <a:lnTo>
                    <a:pt x="2104" y="811"/>
                  </a:lnTo>
                  <a:lnTo>
                    <a:pt x="2104" y="809"/>
                  </a:lnTo>
                  <a:lnTo>
                    <a:pt x="2106" y="809"/>
                  </a:lnTo>
                  <a:lnTo>
                    <a:pt x="2106" y="807"/>
                  </a:lnTo>
                  <a:lnTo>
                    <a:pt x="2106" y="805"/>
                  </a:lnTo>
                  <a:lnTo>
                    <a:pt x="2107" y="805"/>
                  </a:lnTo>
                  <a:lnTo>
                    <a:pt x="2107" y="803"/>
                  </a:lnTo>
                  <a:lnTo>
                    <a:pt x="2109" y="801"/>
                  </a:lnTo>
                  <a:lnTo>
                    <a:pt x="2109" y="799"/>
                  </a:lnTo>
                  <a:lnTo>
                    <a:pt x="2107" y="799"/>
                  </a:lnTo>
                  <a:lnTo>
                    <a:pt x="2109" y="799"/>
                  </a:lnTo>
                  <a:lnTo>
                    <a:pt x="2109" y="797"/>
                  </a:lnTo>
                  <a:lnTo>
                    <a:pt x="2111" y="797"/>
                  </a:lnTo>
                  <a:lnTo>
                    <a:pt x="2111" y="795"/>
                  </a:lnTo>
                  <a:lnTo>
                    <a:pt x="2109" y="795"/>
                  </a:lnTo>
                  <a:lnTo>
                    <a:pt x="2107" y="795"/>
                  </a:lnTo>
                  <a:lnTo>
                    <a:pt x="2109" y="795"/>
                  </a:lnTo>
                  <a:lnTo>
                    <a:pt x="2111" y="795"/>
                  </a:lnTo>
                  <a:lnTo>
                    <a:pt x="2113" y="795"/>
                  </a:lnTo>
                  <a:lnTo>
                    <a:pt x="2113" y="793"/>
                  </a:lnTo>
                  <a:lnTo>
                    <a:pt x="2115" y="793"/>
                  </a:lnTo>
                  <a:lnTo>
                    <a:pt x="2117" y="793"/>
                  </a:lnTo>
                  <a:lnTo>
                    <a:pt x="2117" y="791"/>
                  </a:lnTo>
                  <a:lnTo>
                    <a:pt x="2119" y="791"/>
                  </a:lnTo>
                  <a:lnTo>
                    <a:pt x="2119" y="789"/>
                  </a:lnTo>
                  <a:lnTo>
                    <a:pt x="2121" y="789"/>
                  </a:lnTo>
                  <a:close/>
                  <a:moveTo>
                    <a:pt x="858" y="303"/>
                  </a:moveTo>
                  <a:lnTo>
                    <a:pt x="858" y="305"/>
                  </a:lnTo>
                  <a:lnTo>
                    <a:pt x="858" y="307"/>
                  </a:lnTo>
                  <a:lnTo>
                    <a:pt x="858" y="305"/>
                  </a:lnTo>
                  <a:lnTo>
                    <a:pt x="858" y="303"/>
                  </a:lnTo>
                  <a:lnTo>
                    <a:pt x="858" y="305"/>
                  </a:lnTo>
                  <a:lnTo>
                    <a:pt x="856" y="305"/>
                  </a:lnTo>
                  <a:lnTo>
                    <a:pt x="856" y="307"/>
                  </a:lnTo>
                  <a:lnTo>
                    <a:pt x="854" y="307"/>
                  </a:lnTo>
                  <a:lnTo>
                    <a:pt x="852" y="309"/>
                  </a:lnTo>
                  <a:lnTo>
                    <a:pt x="852" y="311"/>
                  </a:lnTo>
                  <a:lnTo>
                    <a:pt x="850" y="311"/>
                  </a:lnTo>
                  <a:lnTo>
                    <a:pt x="850" y="313"/>
                  </a:lnTo>
                  <a:lnTo>
                    <a:pt x="850" y="311"/>
                  </a:lnTo>
                  <a:lnTo>
                    <a:pt x="848" y="311"/>
                  </a:lnTo>
                  <a:lnTo>
                    <a:pt x="848" y="313"/>
                  </a:lnTo>
                  <a:lnTo>
                    <a:pt x="848" y="311"/>
                  </a:lnTo>
                  <a:lnTo>
                    <a:pt x="848" y="313"/>
                  </a:lnTo>
                  <a:lnTo>
                    <a:pt x="846" y="313"/>
                  </a:lnTo>
                  <a:lnTo>
                    <a:pt x="845" y="313"/>
                  </a:lnTo>
                  <a:lnTo>
                    <a:pt x="843" y="313"/>
                  </a:lnTo>
                  <a:lnTo>
                    <a:pt x="841" y="313"/>
                  </a:lnTo>
                  <a:lnTo>
                    <a:pt x="839" y="313"/>
                  </a:lnTo>
                  <a:lnTo>
                    <a:pt x="837" y="311"/>
                  </a:lnTo>
                  <a:lnTo>
                    <a:pt x="839" y="309"/>
                  </a:lnTo>
                  <a:lnTo>
                    <a:pt x="839" y="307"/>
                  </a:lnTo>
                  <a:lnTo>
                    <a:pt x="841" y="307"/>
                  </a:lnTo>
                  <a:lnTo>
                    <a:pt x="841" y="305"/>
                  </a:lnTo>
                  <a:lnTo>
                    <a:pt x="843" y="305"/>
                  </a:lnTo>
                  <a:lnTo>
                    <a:pt x="843" y="303"/>
                  </a:lnTo>
                  <a:lnTo>
                    <a:pt x="845" y="302"/>
                  </a:lnTo>
                  <a:lnTo>
                    <a:pt x="845" y="300"/>
                  </a:lnTo>
                  <a:lnTo>
                    <a:pt x="846" y="300"/>
                  </a:lnTo>
                  <a:lnTo>
                    <a:pt x="846" y="298"/>
                  </a:lnTo>
                  <a:lnTo>
                    <a:pt x="848" y="298"/>
                  </a:lnTo>
                  <a:lnTo>
                    <a:pt x="850" y="298"/>
                  </a:lnTo>
                  <a:lnTo>
                    <a:pt x="852" y="298"/>
                  </a:lnTo>
                  <a:lnTo>
                    <a:pt x="854" y="298"/>
                  </a:lnTo>
                  <a:lnTo>
                    <a:pt x="856" y="300"/>
                  </a:lnTo>
                  <a:lnTo>
                    <a:pt x="858" y="302"/>
                  </a:lnTo>
                  <a:lnTo>
                    <a:pt x="858" y="303"/>
                  </a:lnTo>
                  <a:close/>
                  <a:moveTo>
                    <a:pt x="2232" y="761"/>
                  </a:moveTo>
                  <a:lnTo>
                    <a:pt x="2228" y="761"/>
                  </a:lnTo>
                  <a:lnTo>
                    <a:pt x="2226" y="759"/>
                  </a:lnTo>
                  <a:lnTo>
                    <a:pt x="2230" y="753"/>
                  </a:lnTo>
                  <a:lnTo>
                    <a:pt x="2232" y="749"/>
                  </a:lnTo>
                  <a:lnTo>
                    <a:pt x="2234" y="747"/>
                  </a:lnTo>
                  <a:lnTo>
                    <a:pt x="2238" y="745"/>
                  </a:lnTo>
                  <a:lnTo>
                    <a:pt x="2240" y="745"/>
                  </a:lnTo>
                  <a:lnTo>
                    <a:pt x="2242" y="745"/>
                  </a:lnTo>
                  <a:lnTo>
                    <a:pt x="2242" y="747"/>
                  </a:lnTo>
                  <a:lnTo>
                    <a:pt x="2242" y="749"/>
                  </a:lnTo>
                  <a:lnTo>
                    <a:pt x="2242" y="751"/>
                  </a:lnTo>
                  <a:lnTo>
                    <a:pt x="2240" y="755"/>
                  </a:lnTo>
                  <a:lnTo>
                    <a:pt x="2238" y="755"/>
                  </a:lnTo>
                  <a:lnTo>
                    <a:pt x="2238" y="757"/>
                  </a:lnTo>
                  <a:lnTo>
                    <a:pt x="2236" y="757"/>
                  </a:lnTo>
                  <a:lnTo>
                    <a:pt x="2234" y="759"/>
                  </a:lnTo>
                  <a:lnTo>
                    <a:pt x="2232" y="761"/>
                  </a:lnTo>
                  <a:close/>
                  <a:moveTo>
                    <a:pt x="1727" y="899"/>
                  </a:moveTo>
                  <a:lnTo>
                    <a:pt x="1727" y="901"/>
                  </a:lnTo>
                  <a:lnTo>
                    <a:pt x="1727" y="899"/>
                  </a:lnTo>
                  <a:lnTo>
                    <a:pt x="1729" y="899"/>
                  </a:lnTo>
                  <a:lnTo>
                    <a:pt x="1729" y="901"/>
                  </a:lnTo>
                  <a:lnTo>
                    <a:pt x="1729" y="899"/>
                  </a:lnTo>
                  <a:lnTo>
                    <a:pt x="1731" y="899"/>
                  </a:lnTo>
                  <a:lnTo>
                    <a:pt x="1731" y="901"/>
                  </a:lnTo>
                  <a:lnTo>
                    <a:pt x="1731" y="903"/>
                  </a:lnTo>
                  <a:lnTo>
                    <a:pt x="1733" y="903"/>
                  </a:lnTo>
                  <a:lnTo>
                    <a:pt x="1735" y="903"/>
                  </a:lnTo>
                  <a:lnTo>
                    <a:pt x="1733" y="903"/>
                  </a:lnTo>
                  <a:lnTo>
                    <a:pt x="1733" y="905"/>
                  </a:lnTo>
                  <a:lnTo>
                    <a:pt x="1731" y="905"/>
                  </a:lnTo>
                  <a:lnTo>
                    <a:pt x="1731" y="907"/>
                  </a:lnTo>
                  <a:lnTo>
                    <a:pt x="1731" y="909"/>
                  </a:lnTo>
                  <a:lnTo>
                    <a:pt x="1731" y="910"/>
                  </a:lnTo>
                  <a:lnTo>
                    <a:pt x="1729" y="910"/>
                  </a:lnTo>
                  <a:lnTo>
                    <a:pt x="1729" y="912"/>
                  </a:lnTo>
                  <a:lnTo>
                    <a:pt x="1727" y="912"/>
                  </a:lnTo>
                  <a:lnTo>
                    <a:pt x="1727" y="914"/>
                  </a:lnTo>
                  <a:lnTo>
                    <a:pt x="1727" y="912"/>
                  </a:lnTo>
                  <a:lnTo>
                    <a:pt x="1726" y="912"/>
                  </a:lnTo>
                  <a:lnTo>
                    <a:pt x="1726" y="910"/>
                  </a:lnTo>
                  <a:lnTo>
                    <a:pt x="1726" y="909"/>
                  </a:lnTo>
                  <a:lnTo>
                    <a:pt x="1724" y="909"/>
                  </a:lnTo>
                  <a:lnTo>
                    <a:pt x="1724" y="907"/>
                  </a:lnTo>
                  <a:lnTo>
                    <a:pt x="1722" y="909"/>
                  </a:lnTo>
                  <a:lnTo>
                    <a:pt x="1722" y="910"/>
                  </a:lnTo>
                  <a:lnTo>
                    <a:pt x="1720" y="910"/>
                  </a:lnTo>
                  <a:lnTo>
                    <a:pt x="1720" y="909"/>
                  </a:lnTo>
                  <a:lnTo>
                    <a:pt x="1722" y="907"/>
                  </a:lnTo>
                  <a:lnTo>
                    <a:pt x="1722" y="905"/>
                  </a:lnTo>
                  <a:lnTo>
                    <a:pt x="1724" y="903"/>
                  </a:lnTo>
                  <a:lnTo>
                    <a:pt x="1724" y="901"/>
                  </a:lnTo>
                  <a:lnTo>
                    <a:pt x="1726" y="899"/>
                  </a:lnTo>
                  <a:lnTo>
                    <a:pt x="1727" y="899"/>
                  </a:lnTo>
                  <a:close/>
                  <a:moveTo>
                    <a:pt x="1772" y="229"/>
                  </a:moveTo>
                  <a:lnTo>
                    <a:pt x="1770" y="229"/>
                  </a:lnTo>
                  <a:lnTo>
                    <a:pt x="1770" y="230"/>
                  </a:lnTo>
                  <a:lnTo>
                    <a:pt x="1772" y="230"/>
                  </a:lnTo>
                  <a:lnTo>
                    <a:pt x="1770" y="230"/>
                  </a:lnTo>
                  <a:lnTo>
                    <a:pt x="1768" y="230"/>
                  </a:lnTo>
                  <a:lnTo>
                    <a:pt x="1766" y="229"/>
                  </a:lnTo>
                  <a:lnTo>
                    <a:pt x="1766" y="227"/>
                  </a:lnTo>
                  <a:lnTo>
                    <a:pt x="1764" y="225"/>
                  </a:lnTo>
                  <a:lnTo>
                    <a:pt x="1764" y="223"/>
                  </a:lnTo>
                  <a:lnTo>
                    <a:pt x="1764" y="221"/>
                  </a:lnTo>
                  <a:lnTo>
                    <a:pt x="1764" y="219"/>
                  </a:lnTo>
                  <a:lnTo>
                    <a:pt x="1764" y="217"/>
                  </a:lnTo>
                  <a:lnTo>
                    <a:pt x="1764" y="215"/>
                  </a:lnTo>
                  <a:lnTo>
                    <a:pt x="1764" y="213"/>
                  </a:lnTo>
                  <a:lnTo>
                    <a:pt x="1766" y="213"/>
                  </a:lnTo>
                  <a:lnTo>
                    <a:pt x="1766" y="211"/>
                  </a:lnTo>
                  <a:lnTo>
                    <a:pt x="1768" y="211"/>
                  </a:lnTo>
                  <a:lnTo>
                    <a:pt x="1770" y="211"/>
                  </a:lnTo>
                  <a:lnTo>
                    <a:pt x="1773" y="211"/>
                  </a:lnTo>
                  <a:lnTo>
                    <a:pt x="1775" y="211"/>
                  </a:lnTo>
                  <a:lnTo>
                    <a:pt x="1775" y="213"/>
                  </a:lnTo>
                  <a:lnTo>
                    <a:pt x="1777" y="215"/>
                  </a:lnTo>
                  <a:lnTo>
                    <a:pt x="1777" y="217"/>
                  </a:lnTo>
                  <a:lnTo>
                    <a:pt x="1777" y="219"/>
                  </a:lnTo>
                  <a:lnTo>
                    <a:pt x="1775" y="219"/>
                  </a:lnTo>
                  <a:lnTo>
                    <a:pt x="1775" y="221"/>
                  </a:lnTo>
                  <a:lnTo>
                    <a:pt x="1777" y="221"/>
                  </a:lnTo>
                  <a:lnTo>
                    <a:pt x="1777" y="223"/>
                  </a:lnTo>
                  <a:lnTo>
                    <a:pt x="1775" y="223"/>
                  </a:lnTo>
                  <a:lnTo>
                    <a:pt x="1775" y="225"/>
                  </a:lnTo>
                  <a:lnTo>
                    <a:pt x="1775" y="227"/>
                  </a:lnTo>
                  <a:lnTo>
                    <a:pt x="1773" y="227"/>
                  </a:lnTo>
                  <a:lnTo>
                    <a:pt x="1773" y="229"/>
                  </a:lnTo>
                  <a:lnTo>
                    <a:pt x="1772" y="229"/>
                  </a:lnTo>
                  <a:close/>
                  <a:moveTo>
                    <a:pt x="1996" y="1006"/>
                  </a:moveTo>
                  <a:lnTo>
                    <a:pt x="1996" y="1008"/>
                  </a:lnTo>
                  <a:lnTo>
                    <a:pt x="1996" y="1010"/>
                  </a:lnTo>
                  <a:lnTo>
                    <a:pt x="1998" y="1010"/>
                  </a:lnTo>
                  <a:lnTo>
                    <a:pt x="1996" y="1010"/>
                  </a:lnTo>
                  <a:lnTo>
                    <a:pt x="1996" y="1012"/>
                  </a:lnTo>
                  <a:lnTo>
                    <a:pt x="1994" y="1014"/>
                  </a:lnTo>
                  <a:lnTo>
                    <a:pt x="1994" y="1016"/>
                  </a:lnTo>
                  <a:lnTo>
                    <a:pt x="1994" y="1018"/>
                  </a:lnTo>
                  <a:lnTo>
                    <a:pt x="1992" y="1018"/>
                  </a:lnTo>
                  <a:lnTo>
                    <a:pt x="1992" y="1020"/>
                  </a:lnTo>
                  <a:lnTo>
                    <a:pt x="1990" y="1020"/>
                  </a:lnTo>
                  <a:lnTo>
                    <a:pt x="1988" y="1020"/>
                  </a:lnTo>
                  <a:lnTo>
                    <a:pt x="1987" y="1022"/>
                  </a:lnTo>
                  <a:lnTo>
                    <a:pt x="1987" y="1024"/>
                  </a:lnTo>
                  <a:lnTo>
                    <a:pt x="1985" y="1022"/>
                  </a:lnTo>
                  <a:lnTo>
                    <a:pt x="1983" y="1022"/>
                  </a:lnTo>
                  <a:lnTo>
                    <a:pt x="1985" y="1020"/>
                  </a:lnTo>
                  <a:lnTo>
                    <a:pt x="1985" y="1018"/>
                  </a:lnTo>
                  <a:lnTo>
                    <a:pt x="1983" y="1018"/>
                  </a:lnTo>
                  <a:lnTo>
                    <a:pt x="1983" y="1016"/>
                  </a:lnTo>
                  <a:lnTo>
                    <a:pt x="1985" y="1016"/>
                  </a:lnTo>
                  <a:lnTo>
                    <a:pt x="1985" y="1018"/>
                  </a:lnTo>
                  <a:lnTo>
                    <a:pt x="1985" y="1016"/>
                  </a:lnTo>
                  <a:lnTo>
                    <a:pt x="1987" y="1016"/>
                  </a:lnTo>
                  <a:lnTo>
                    <a:pt x="1988" y="1016"/>
                  </a:lnTo>
                  <a:lnTo>
                    <a:pt x="1988" y="1014"/>
                  </a:lnTo>
                  <a:lnTo>
                    <a:pt x="1988" y="1016"/>
                  </a:lnTo>
                  <a:lnTo>
                    <a:pt x="1990" y="1014"/>
                  </a:lnTo>
                  <a:lnTo>
                    <a:pt x="1990" y="1012"/>
                  </a:lnTo>
                  <a:lnTo>
                    <a:pt x="1992" y="1012"/>
                  </a:lnTo>
                  <a:lnTo>
                    <a:pt x="1990" y="1012"/>
                  </a:lnTo>
                  <a:lnTo>
                    <a:pt x="1992" y="1012"/>
                  </a:lnTo>
                  <a:lnTo>
                    <a:pt x="1992" y="1010"/>
                  </a:lnTo>
                  <a:lnTo>
                    <a:pt x="1992" y="1008"/>
                  </a:lnTo>
                  <a:lnTo>
                    <a:pt x="1994" y="1008"/>
                  </a:lnTo>
                  <a:lnTo>
                    <a:pt x="1994" y="1006"/>
                  </a:lnTo>
                  <a:lnTo>
                    <a:pt x="1996" y="1006"/>
                  </a:lnTo>
                  <a:close/>
                  <a:moveTo>
                    <a:pt x="873" y="273"/>
                  </a:moveTo>
                  <a:lnTo>
                    <a:pt x="871" y="273"/>
                  </a:lnTo>
                  <a:lnTo>
                    <a:pt x="871" y="275"/>
                  </a:lnTo>
                  <a:lnTo>
                    <a:pt x="873" y="277"/>
                  </a:lnTo>
                  <a:lnTo>
                    <a:pt x="873" y="278"/>
                  </a:lnTo>
                  <a:lnTo>
                    <a:pt x="875" y="278"/>
                  </a:lnTo>
                  <a:lnTo>
                    <a:pt x="875" y="280"/>
                  </a:lnTo>
                  <a:lnTo>
                    <a:pt x="875" y="282"/>
                  </a:lnTo>
                  <a:lnTo>
                    <a:pt x="875" y="284"/>
                  </a:lnTo>
                  <a:lnTo>
                    <a:pt x="875" y="286"/>
                  </a:lnTo>
                  <a:lnTo>
                    <a:pt x="875" y="288"/>
                  </a:lnTo>
                  <a:lnTo>
                    <a:pt x="875" y="290"/>
                  </a:lnTo>
                  <a:lnTo>
                    <a:pt x="877" y="290"/>
                  </a:lnTo>
                  <a:lnTo>
                    <a:pt x="875" y="290"/>
                  </a:lnTo>
                  <a:lnTo>
                    <a:pt x="875" y="292"/>
                  </a:lnTo>
                  <a:lnTo>
                    <a:pt x="873" y="292"/>
                  </a:lnTo>
                  <a:lnTo>
                    <a:pt x="871" y="292"/>
                  </a:lnTo>
                  <a:lnTo>
                    <a:pt x="869" y="292"/>
                  </a:lnTo>
                  <a:lnTo>
                    <a:pt x="868" y="290"/>
                  </a:lnTo>
                  <a:lnTo>
                    <a:pt x="866" y="290"/>
                  </a:lnTo>
                  <a:lnTo>
                    <a:pt x="866" y="288"/>
                  </a:lnTo>
                  <a:lnTo>
                    <a:pt x="864" y="288"/>
                  </a:lnTo>
                  <a:lnTo>
                    <a:pt x="864" y="286"/>
                  </a:lnTo>
                  <a:lnTo>
                    <a:pt x="862" y="286"/>
                  </a:lnTo>
                  <a:lnTo>
                    <a:pt x="864" y="284"/>
                  </a:lnTo>
                  <a:lnTo>
                    <a:pt x="864" y="282"/>
                  </a:lnTo>
                  <a:lnTo>
                    <a:pt x="866" y="280"/>
                  </a:lnTo>
                  <a:lnTo>
                    <a:pt x="868" y="278"/>
                  </a:lnTo>
                  <a:lnTo>
                    <a:pt x="868" y="277"/>
                  </a:lnTo>
                  <a:lnTo>
                    <a:pt x="869" y="277"/>
                  </a:lnTo>
                  <a:lnTo>
                    <a:pt x="869" y="275"/>
                  </a:lnTo>
                  <a:lnTo>
                    <a:pt x="869" y="273"/>
                  </a:lnTo>
                  <a:lnTo>
                    <a:pt x="871" y="273"/>
                  </a:lnTo>
                  <a:lnTo>
                    <a:pt x="873" y="273"/>
                  </a:lnTo>
                  <a:close/>
                  <a:moveTo>
                    <a:pt x="2140" y="893"/>
                  </a:moveTo>
                  <a:lnTo>
                    <a:pt x="2142" y="895"/>
                  </a:lnTo>
                  <a:lnTo>
                    <a:pt x="2144" y="895"/>
                  </a:lnTo>
                  <a:lnTo>
                    <a:pt x="2144" y="897"/>
                  </a:lnTo>
                  <a:lnTo>
                    <a:pt x="2144" y="899"/>
                  </a:lnTo>
                  <a:lnTo>
                    <a:pt x="2144" y="901"/>
                  </a:lnTo>
                  <a:lnTo>
                    <a:pt x="2146" y="901"/>
                  </a:lnTo>
                  <a:lnTo>
                    <a:pt x="2146" y="903"/>
                  </a:lnTo>
                  <a:lnTo>
                    <a:pt x="2146" y="905"/>
                  </a:lnTo>
                  <a:lnTo>
                    <a:pt x="2148" y="905"/>
                  </a:lnTo>
                  <a:lnTo>
                    <a:pt x="2146" y="905"/>
                  </a:lnTo>
                  <a:lnTo>
                    <a:pt x="2148" y="905"/>
                  </a:lnTo>
                  <a:lnTo>
                    <a:pt x="2148" y="907"/>
                  </a:lnTo>
                  <a:lnTo>
                    <a:pt x="2150" y="907"/>
                  </a:lnTo>
                  <a:lnTo>
                    <a:pt x="2150" y="909"/>
                  </a:lnTo>
                  <a:lnTo>
                    <a:pt x="2152" y="910"/>
                  </a:lnTo>
                  <a:lnTo>
                    <a:pt x="2152" y="912"/>
                  </a:lnTo>
                  <a:lnTo>
                    <a:pt x="2150" y="912"/>
                  </a:lnTo>
                  <a:lnTo>
                    <a:pt x="2150" y="910"/>
                  </a:lnTo>
                  <a:lnTo>
                    <a:pt x="2148" y="909"/>
                  </a:lnTo>
                  <a:lnTo>
                    <a:pt x="2146" y="909"/>
                  </a:lnTo>
                  <a:lnTo>
                    <a:pt x="2146" y="907"/>
                  </a:lnTo>
                  <a:lnTo>
                    <a:pt x="2144" y="907"/>
                  </a:lnTo>
                  <a:lnTo>
                    <a:pt x="2144" y="905"/>
                  </a:lnTo>
                  <a:lnTo>
                    <a:pt x="2144" y="903"/>
                  </a:lnTo>
                  <a:lnTo>
                    <a:pt x="2142" y="903"/>
                  </a:lnTo>
                  <a:lnTo>
                    <a:pt x="2144" y="903"/>
                  </a:lnTo>
                  <a:lnTo>
                    <a:pt x="2142" y="903"/>
                  </a:lnTo>
                  <a:lnTo>
                    <a:pt x="2142" y="901"/>
                  </a:lnTo>
                  <a:lnTo>
                    <a:pt x="2142" y="899"/>
                  </a:lnTo>
                  <a:lnTo>
                    <a:pt x="2140" y="899"/>
                  </a:lnTo>
                  <a:lnTo>
                    <a:pt x="2140" y="897"/>
                  </a:lnTo>
                  <a:lnTo>
                    <a:pt x="2138" y="897"/>
                  </a:lnTo>
                  <a:lnTo>
                    <a:pt x="2136" y="897"/>
                  </a:lnTo>
                  <a:lnTo>
                    <a:pt x="2136" y="895"/>
                  </a:lnTo>
                  <a:lnTo>
                    <a:pt x="2138" y="895"/>
                  </a:lnTo>
                  <a:lnTo>
                    <a:pt x="2140" y="893"/>
                  </a:lnTo>
                  <a:close/>
                  <a:moveTo>
                    <a:pt x="1852" y="1145"/>
                  </a:moveTo>
                  <a:lnTo>
                    <a:pt x="1854" y="1145"/>
                  </a:lnTo>
                  <a:lnTo>
                    <a:pt x="1856" y="1145"/>
                  </a:lnTo>
                  <a:lnTo>
                    <a:pt x="1856" y="1143"/>
                  </a:lnTo>
                  <a:lnTo>
                    <a:pt x="1856" y="1145"/>
                  </a:lnTo>
                  <a:lnTo>
                    <a:pt x="1854" y="1145"/>
                  </a:lnTo>
                  <a:lnTo>
                    <a:pt x="1854" y="1147"/>
                  </a:lnTo>
                  <a:lnTo>
                    <a:pt x="1852" y="1147"/>
                  </a:lnTo>
                  <a:lnTo>
                    <a:pt x="1850" y="1147"/>
                  </a:lnTo>
                  <a:lnTo>
                    <a:pt x="1850" y="1149"/>
                  </a:lnTo>
                  <a:lnTo>
                    <a:pt x="1848" y="1149"/>
                  </a:lnTo>
                  <a:lnTo>
                    <a:pt x="1848" y="1151"/>
                  </a:lnTo>
                  <a:lnTo>
                    <a:pt x="1846" y="1151"/>
                  </a:lnTo>
                  <a:lnTo>
                    <a:pt x="1846" y="1152"/>
                  </a:lnTo>
                  <a:lnTo>
                    <a:pt x="1845" y="1152"/>
                  </a:lnTo>
                  <a:lnTo>
                    <a:pt x="1845" y="1154"/>
                  </a:lnTo>
                  <a:lnTo>
                    <a:pt x="1843" y="1154"/>
                  </a:lnTo>
                  <a:lnTo>
                    <a:pt x="1843" y="1156"/>
                  </a:lnTo>
                  <a:lnTo>
                    <a:pt x="1843" y="1158"/>
                  </a:lnTo>
                  <a:lnTo>
                    <a:pt x="1843" y="1160"/>
                  </a:lnTo>
                  <a:lnTo>
                    <a:pt x="1841" y="1160"/>
                  </a:lnTo>
                  <a:lnTo>
                    <a:pt x="1843" y="1158"/>
                  </a:lnTo>
                  <a:lnTo>
                    <a:pt x="1841" y="1158"/>
                  </a:lnTo>
                  <a:lnTo>
                    <a:pt x="1841" y="1156"/>
                  </a:lnTo>
                  <a:lnTo>
                    <a:pt x="1839" y="1156"/>
                  </a:lnTo>
                  <a:lnTo>
                    <a:pt x="1841" y="1156"/>
                  </a:lnTo>
                  <a:lnTo>
                    <a:pt x="1841" y="1154"/>
                  </a:lnTo>
                  <a:lnTo>
                    <a:pt x="1843" y="1154"/>
                  </a:lnTo>
                  <a:lnTo>
                    <a:pt x="1843" y="1152"/>
                  </a:lnTo>
                  <a:lnTo>
                    <a:pt x="1845" y="1152"/>
                  </a:lnTo>
                  <a:lnTo>
                    <a:pt x="1845" y="1151"/>
                  </a:lnTo>
                  <a:lnTo>
                    <a:pt x="1846" y="1149"/>
                  </a:lnTo>
                  <a:lnTo>
                    <a:pt x="1846" y="1147"/>
                  </a:lnTo>
                  <a:lnTo>
                    <a:pt x="1848" y="1147"/>
                  </a:lnTo>
                  <a:lnTo>
                    <a:pt x="1848" y="1145"/>
                  </a:lnTo>
                  <a:lnTo>
                    <a:pt x="1850" y="1143"/>
                  </a:lnTo>
                  <a:lnTo>
                    <a:pt x="1852" y="1143"/>
                  </a:lnTo>
                  <a:lnTo>
                    <a:pt x="1852" y="1145"/>
                  </a:lnTo>
                  <a:close/>
                  <a:moveTo>
                    <a:pt x="1702" y="146"/>
                  </a:moveTo>
                  <a:lnTo>
                    <a:pt x="1702" y="148"/>
                  </a:lnTo>
                  <a:lnTo>
                    <a:pt x="1701" y="148"/>
                  </a:lnTo>
                  <a:lnTo>
                    <a:pt x="1701" y="150"/>
                  </a:lnTo>
                  <a:lnTo>
                    <a:pt x="1699" y="150"/>
                  </a:lnTo>
                  <a:lnTo>
                    <a:pt x="1697" y="150"/>
                  </a:lnTo>
                  <a:lnTo>
                    <a:pt x="1695" y="150"/>
                  </a:lnTo>
                  <a:lnTo>
                    <a:pt x="1695" y="148"/>
                  </a:lnTo>
                  <a:lnTo>
                    <a:pt x="1695" y="146"/>
                  </a:lnTo>
                  <a:lnTo>
                    <a:pt x="1695" y="144"/>
                  </a:lnTo>
                  <a:lnTo>
                    <a:pt x="1695" y="146"/>
                  </a:lnTo>
                  <a:lnTo>
                    <a:pt x="1695" y="144"/>
                  </a:lnTo>
                  <a:lnTo>
                    <a:pt x="1697" y="144"/>
                  </a:lnTo>
                  <a:lnTo>
                    <a:pt x="1697" y="142"/>
                  </a:lnTo>
                  <a:lnTo>
                    <a:pt x="1697" y="140"/>
                  </a:lnTo>
                  <a:lnTo>
                    <a:pt x="1697" y="138"/>
                  </a:lnTo>
                  <a:lnTo>
                    <a:pt x="1697" y="136"/>
                  </a:lnTo>
                  <a:lnTo>
                    <a:pt x="1697" y="134"/>
                  </a:lnTo>
                  <a:lnTo>
                    <a:pt x="1697" y="133"/>
                  </a:lnTo>
                  <a:lnTo>
                    <a:pt x="1697" y="131"/>
                  </a:lnTo>
                  <a:lnTo>
                    <a:pt x="1697" y="127"/>
                  </a:lnTo>
                  <a:lnTo>
                    <a:pt x="1699" y="127"/>
                  </a:lnTo>
                  <a:lnTo>
                    <a:pt x="1699" y="125"/>
                  </a:lnTo>
                  <a:lnTo>
                    <a:pt x="1699" y="123"/>
                  </a:lnTo>
                  <a:lnTo>
                    <a:pt x="1697" y="123"/>
                  </a:lnTo>
                  <a:lnTo>
                    <a:pt x="1699" y="121"/>
                  </a:lnTo>
                  <a:lnTo>
                    <a:pt x="1699" y="123"/>
                  </a:lnTo>
                  <a:lnTo>
                    <a:pt x="1699" y="125"/>
                  </a:lnTo>
                  <a:lnTo>
                    <a:pt x="1701" y="127"/>
                  </a:lnTo>
                  <a:lnTo>
                    <a:pt x="1701" y="129"/>
                  </a:lnTo>
                  <a:lnTo>
                    <a:pt x="1701" y="131"/>
                  </a:lnTo>
                  <a:lnTo>
                    <a:pt x="1702" y="133"/>
                  </a:lnTo>
                  <a:lnTo>
                    <a:pt x="1704" y="134"/>
                  </a:lnTo>
                  <a:lnTo>
                    <a:pt x="1706" y="134"/>
                  </a:lnTo>
                  <a:lnTo>
                    <a:pt x="1704" y="136"/>
                  </a:lnTo>
                  <a:lnTo>
                    <a:pt x="1704" y="138"/>
                  </a:lnTo>
                  <a:lnTo>
                    <a:pt x="1702" y="138"/>
                  </a:lnTo>
                  <a:lnTo>
                    <a:pt x="1702" y="140"/>
                  </a:lnTo>
                  <a:lnTo>
                    <a:pt x="1702" y="142"/>
                  </a:lnTo>
                  <a:lnTo>
                    <a:pt x="1702" y="144"/>
                  </a:lnTo>
                  <a:lnTo>
                    <a:pt x="1702" y="146"/>
                  </a:lnTo>
                  <a:close/>
                  <a:moveTo>
                    <a:pt x="1916" y="1106"/>
                  </a:moveTo>
                  <a:lnTo>
                    <a:pt x="1914" y="1106"/>
                  </a:lnTo>
                  <a:lnTo>
                    <a:pt x="1914" y="1108"/>
                  </a:lnTo>
                  <a:lnTo>
                    <a:pt x="1912" y="1108"/>
                  </a:lnTo>
                  <a:lnTo>
                    <a:pt x="1912" y="1110"/>
                  </a:lnTo>
                  <a:lnTo>
                    <a:pt x="1910" y="1110"/>
                  </a:lnTo>
                  <a:lnTo>
                    <a:pt x="1910" y="1112"/>
                  </a:lnTo>
                  <a:lnTo>
                    <a:pt x="1910" y="1114"/>
                  </a:lnTo>
                  <a:lnTo>
                    <a:pt x="1908" y="1114"/>
                  </a:lnTo>
                  <a:lnTo>
                    <a:pt x="1908" y="1116"/>
                  </a:lnTo>
                  <a:lnTo>
                    <a:pt x="1906" y="1116"/>
                  </a:lnTo>
                  <a:lnTo>
                    <a:pt x="1904" y="1116"/>
                  </a:lnTo>
                  <a:lnTo>
                    <a:pt x="1904" y="1118"/>
                  </a:lnTo>
                  <a:lnTo>
                    <a:pt x="1902" y="1118"/>
                  </a:lnTo>
                  <a:lnTo>
                    <a:pt x="1902" y="1120"/>
                  </a:lnTo>
                  <a:lnTo>
                    <a:pt x="1900" y="1120"/>
                  </a:lnTo>
                  <a:lnTo>
                    <a:pt x="1898" y="1120"/>
                  </a:lnTo>
                  <a:lnTo>
                    <a:pt x="1900" y="1120"/>
                  </a:lnTo>
                  <a:lnTo>
                    <a:pt x="1900" y="1118"/>
                  </a:lnTo>
                  <a:lnTo>
                    <a:pt x="1900" y="1116"/>
                  </a:lnTo>
                  <a:lnTo>
                    <a:pt x="1902" y="1116"/>
                  </a:lnTo>
                  <a:lnTo>
                    <a:pt x="1902" y="1114"/>
                  </a:lnTo>
                  <a:lnTo>
                    <a:pt x="1904" y="1114"/>
                  </a:lnTo>
                  <a:lnTo>
                    <a:pt x="1904" y="1112"/>
                  </a:lnTo>
                  <a:lnTo>
                    <a:pt x="1906" y="1112"/>
                  </a:lnTo>
                  <a:lnTo>
                    <a:pt x="1906" y="1110"/>
                  </a:lnTo>
                  <a:lnTo>
                    <a:pt x="1908" y="1110"/>
                  </a:lnTo>
                  <a:lnTo>
                    <a:pt x="1910" y="1110"/>
                  </a:lnTo>
                  <a:lnTo>
                    <a:pt x="1910" y="1108"/>
                  </a:lnTo>
                  <a:lnTo>
                    <a:pt x="1912" y="1106"/>
                  </a:lnTo>
                  <a:lnTo>
                    <a:pt x="1914" y="1106"/>
                  </a:lnTo>
                  <a:lnTo>
                    <a:pt x="1916" y="1106"/>
                  </a:lnTo>
                  <a:close/>
                  <a:moveTo>
                    <a:pt x="726" y="542"/>
                  </a:moveTo>
                  <a:lnTo>
                    <a:pt x="727" y="542"/>
                  </a:lnTo>
                  <a:lnTo>
                    <a:pt x="729" y="542"/>
                  </a:lnTo>
                  <a:lnTo>
                    <a:pt x="731" y="544"/>
                  </a:lnTo>
                  <a:lnTo>
                    <a:pt x="729" y="544"/>
                  </a:lnTo>
                  <a:lnTo>
                    <a:pt x="727" y="544"/>
                  </a:lnTo>
                  <a:lnTo>
                    <a:pt x="729" y="544"/>
                  </a:lnTo>
                  <a:lnTo>
                    <a:pt x="729" y="545"/>
                  </a:lnTo>
                  <a:lnTo>
                    <a:pt x="731" y="547"/>
                  </a:lnTo>
                  <a:lnTo>
                    <a:pt x="731" y="545"/>
                  </a:lnTo>
                  <a:lnTo>
                    <a:pt x="733" y="545"/>
                  </a:lnTo>
                  <a:lnTo>
                    <a:pt x="735" y="545"/>
                  </a:lnTo>
                  <a:lnTo>
                    <a:pt x="735" y="547"/>
                  </a:lnTo>
                  <a:lnTo>
                    <a:pt x="735" y="545"/>
                  </a:lnTo>
                  <a:lnTo>
                    <a:pt x="733" y="545"/>
                  </a:lnTo>
                  <a:lnTo>
                    <a:pt x="733" y="544"/>
                  </a:lnTo>
                  <a:lnTo>
                    <a:pt x="735" y="544"/>
                  </a:lnTo>
                  <a:lnTo>
                    <a:pt x="735" y="545"/>
                  </a:lnTo>
                  <a:lnTo>
                    <a:pt x="737" y="545"/>
                  </a:lnTo>
                  <a:lnTo>
                    <a:pt x="739" y="547"/>
                  </a:lnTo>
                  <a:lnTo>
                    <a:pt x="737" y="547"/>
                  </a:lnTo>
                  <a:lnTo>
                    <a:pt x="735" y="545"/>
                  </a:lnTo>
                  <a:lnTo>
                    <a:pt x="735" y="547"/>
                  </a:lnTo>
                  <a:lnTo>
                    <a:pt x="737" y="547"/>
                  </a:lnTo>
                  <a:lnTo>
                    <a:pt x="739" y="547"/>
                  </a:lnTo>
                  <a:lnTo>
                    <a:pt x="739" y="549"/>
                  </a:lnTo>
                  <a:lnTo>
                    <a:pt x="739" y="547"/>
                  </a:lnTo>
                  <a:lnTo>
                    <a:pt x="739" y="549"/>
                  </a:lnTo>
                  <a:lnTo>
                    <a:pt x="737" y="549"/>
                  </a:lnTo>
                  <a:lnTo>
                    <a:pt x="739" y="549"/>
                  </a:lnTo>
                  <a:lnTo>
                    <a:pt x="739" y="551"/>
                  </a:lnTo>
                  <a:lnTo>
                    <a:pt x="737" y="551"/>
                  </a:lnTo>
                  <a:lnTo>
                    <a:pt x="739" y="553"/>
                  </a:lnTo>
                  <a:lnTo>
                    <a:pt x="737" y="553"/>
                  </a:lnTo>
                  <a:lnTo>
                    <a:pt x="739" y="553"/>
                  </a:lnTo>
                  <a:lnTo>
                    <a:pt x="739" y="555"/>
                  </a:lnTo>
                  <a:lnTo>
                    <a:pt x="737" y="555"/>
                  </a:lnTo>
                  <a:lnTo>
                    <a:pt x="735" y="555"/>
                  </a:lnTo>
                  <a:lnTo>
                    <a:pt x="733" y="555"/>
                  </a:lnTo>
                  <a:lnTo>
                    <a:pt x="733" y="553"/>
                  </a:lnTo>
                  <a:lnTo>
                    <a:pt x="731" y="553"/>
                  </a:lnTo>
                  <a:lnTo>
                    <a:pt x="731" y="551"/>
                  </a:lnTo>
                  <a:lnTo>
                    <a:pt x="731" y="549"/>
                  </a:lnTo>
                  <a:lnTo>
                    <a:pt x="729" y="549"/>
                  </a:lnTo>
                  <a:lnTo>
                    <a:pt x="729" y="547"/>
                  </a:lnTo>
                  <a:lnTo>
                    <a:pt x="731" y="547"/>
                  </a:lnTo>
                  <a:lnTo>
                    <a:pt x="729" y="547"/>
                  </a:lnTo>
                  <a:lnTo>
                    <a:pt x="729" y="545"/>
                  </a:lnTo>
                  <a:lnTo>
                    <a:pt x="727" y="545"/>
                  </a:lnTo>
                  <a:lnTo>
                    <a:pt x="726" y="545"/>
                  </a:lnTo>
                  <a:lnTo>
                    <a:pt x="726" y="544"/>
                  </a:lnTo>
                  <a:lnTo>
                    <a:pt x="724" y="544"/>
                  </a:lnTo>
                  <a:lnTo>
                    <a:pt x="726" y="544"/>
                  </a:lnTo>
                  <a:lnTo>
                    <a:pt x="724" y="544"/>
                  </a:lnTo>
                  <a:lnTo>
                    <a:pt x="724" y="542"/>
                  </a:lnTo>
                  <a:lnTo>
                    <a:pt x="726" y="542"/>
                  </a:lnTo>
                  <a:close/>
                  <a:moveTo>
                    <a:pt x="804" y="273"/>
                  </a:moveTo>
                  <a:lnTo>
                    <a:pt x="806" y="273"/>
                  </a:lnTo>
                  <a:lnTo>
                    <a:pt x="808" y="275"/>
                  </a:lnTo>
                  <a:lnTo>
                    <a:pt x="806" y="275"/>
                  </a:lnTo>
                  <a:lnTo>
                    <a:pt x="806" y="273"/>
                  </a:lnTo>
                  <a:lnTo>
                    <a:pt x="806" y="275"/>
                  </a:lnTo>
                  <a:lnTo>
                    <a:pt x="804" y="275"/>
                  </a:lnTo>
                  <a:lnTo>
                    <a:pt x="804" y="277"/>
                  </a:lnTo>
                  <a:lnTo>
                    <a:pt x="804" y="278"/>
                  </a:lnTo>
                  <a:lnTo>
                    <a:pt x="804" y="280"/>
                  </a:lnTo>
                  <a:lnTo>
                    <a:pt x="804" y="282"/>
                  </a:lnTo>
                  <a:lnTo>
                    <a:pt x="804" y="284"/>
                  </a:lnTo>
                  <a:lnTo>
                    <a:pt x="802" y="284"/>
                  </a:lnTo>
                  <a:lnTo>
                    <a:pt x="804" y="284"/>
                  </a:lnTo>
                  <a:lnTo>
                    <a:pt x="802" y="284"/>
                  </a:lnTo>
                  <a:lnTo>
                    <a:pt x="800" y="282"/>
                  </a:lnTo>
                  <a:lnTo>
                    <a:pt x="800" y="280"/>
                  </a:lnTo>
                  <a:lnTo>
                    <a:pt x="800" y="282"/>
                  </a:lnTo>
                  <a:lnTo>
                    <a:pt x="798" y="282"/>
                  </a:lnTo>
                  <a:lnTo>
                    <a:pt x="798" y="280"/>
                  </a:lnTo>
                  <a:lnTo>
                    <a:pt x="797" y="280"/>
                  </a:lnTo>
                  <a:lnTo>
                    <a:pt x="797" y="278"/>
                  </a:lnTo>
                  <a:lnTo>
                    <a:pt x="797" y="277"/>
                  </a:lnTo>
                  <a:lnTo>
                    <a:pt x="797" y="275"/>
                  </a:lnTo>
                  <a:lnTo>
                    <a:pt x="798" y="273"/>
                  </a:lnTo>
                  <a:lnTo>
                    <a:pt x="800" y="273"/>
                  </a:lnTo>
                  <a:lnTo>
                    <a:pt x="800" y="271"/>
                  </a:lnTo>
                  <a:lnTo>
                    <a:pt x="802" y="271"/>
                  </a:lnTo>
                  <a:lnTo>
                    <a:pt x="802" y="273"/>
                  </a:lnTo>
                  <a:lnTo>
                    <a:pt x="804" y="273"/>
                  </a:lnTo>
                  <a:close/>
                  <a:moveTo>
                    <a:pt x="917" y="150"/>
                  </a:moveTo>
                  <a:lnTo>
                    <a:pt x="917" y="152"/>
                  </a:lnTo>
                  <a:lnTo>
                    <a:pt x="917" y="154"/>
                  </a:lnTo>
                  <a:lnTo>
                    <a:pt x="916" y="154"/>
                  </a:lnTo>
                  <a:lnTo>
                    <a:pt x="917" y="154"/>
                  </a:lnTo>
                  <a:lnTo>
                    <a:pt x="916" y="152"/>
                  </a:lnTo>
                  <a:lnTo>
                    <a:pt x="914" y="152"/>
                  </a:lnTo>
                  <a:lnTo>
                    <a:pt x="914" y="154"/>
                  </a:lnTo>
                  <a:lnTo>
                    <a:pt x="914" y="156"/>
                  </a:lnTo>
                  <a:lnTo>
                    <a:pt x="914" y="157"/>
                  </a:lnTo>
                  <a:lnTo>
                    <a:pt x="912" y="157"/>
                  </a:lnTo>
                  <a:lnTo>
                    <a:pt x="912" y="159"/>
                  </a:lnTo>
                  <a:lnTo>
                    <a:pt x="914" y="159"/>
                  </a:lnTo>
                  <a:lnTo>
                    <a:pt x="914" y="161"/>
                  </a:lnTo>
                  <a:lnTo>
                    <a:pt x="912" y="161"/>
                  </a:lnTo>
                  <a:lnTo>
                    <a:pt x="912" y="159"/>
                  </a:lnTo>
                  <a:lnTo>
                    <a:pt x="912" y="157"/>
                  </a:lnTo>
                  <a:lnTo>
                    <a:pt x="912" y="156"/>
                  </a:lnTo>
                  <a:lnTo>
                    <a:pt x="912" y="154"/>
                  </a:lnTo>
                  <a:lnTo>
                    <a:pt x="910" y="154"/>
                  </a:lnTo>
                  <a:lnTo>
                    <a:pt x="910" y="156"/>
                  </a:lnTo>
                  <a:lnTo>
                    <a:pt x="908" y="156"/>
                  </a:lnTo>
                  <a:lnTo>
                    <a:pt x="910" y="156"/>
                  </a:lnTo>
                  <a:lnTo>
                    <a:pt x="908" y="156"/>
                  </a:lnTo>
                  <a:lnTo>
                    <a:pt x="908" y="154"/>
                  </a:lnTo>
                  <a:lnTo>
                    <a:pt x="908" y="152"/>
                  </a:lnTo>
                  <a:lnTo>
                    <a:pt x="906" y="150"/>
                  </a:lnTo>
                  <a:lnTo>
                    <a:pt x="908" y="150"/>
                  </a:lnTo>
                  <a:lnTo>
                    <a:pt x="908" y="148"/>
                  </a:lnTo>
                  <a:lnTo>
                    <a:pt x="910" y="146"/>
                  </a:lnTo>
                  <a:lnTo>
                    <a:pt x="910" y="144"/>
                  </a:lnTo>
                  <a:lnTo>
                    <a:pt x="912" y="144"/>
                  </a:lnTo>
                  <a:lnTo>
                    <a:pt x="912" y="142"/>
                  </a:lnTo>
                  <a:lnTo>
                    <a:pt x="914" y="142"/>
                  </a:lnTo>
                  <a:lnTo>
                    <a:pt x="916" y="142"/>
                  </a:lnTo>
                  <a:lnTo>
                    <a:pt x="916" y="144"/>
                  </a:lnTo>
                  <a:lnTo>
                    <a:pt x="916" y="146"/>
                  </a:lnTo>
                  <a:lnTo>
                    <a:pt x="916" y="148"/>
                  </a:lnTo>
                  <a:lnTo>
                    <a:pt x="917" y="150"/>
                  </a:lnTo>
                  <a:close/>
                  <a:moveTo>
                    <a:pt x="1695" y="213"/>
                  </a:moveTo>
                  <a:lnTo>
                    <a:pt x="1697" y="213"/>
                  </a:lnTo>
                  <a:lnTo>
                    <a:pt x="1697" y="215"/>
                  </a:lnTo>
                  <a:lnTo>
                    <a:pt x="1699" y="215"/>
                  </a:lnTo>
                  <a:lnTo>
                    <a:pt x="1699" y="217"/>
                  </a:lnTo>
                  <a:lnTo>
                    <a:pt x="1701" y="217"/>
                  </a:lnTo>
                  <a:lnTo>
                    <a:pt x="1701" y="219"/>
                  </a:lnTo>
                  <a:lnTo>
                    <a:pt x="1702" y="221"/>
                  </a:lnTo>
                  <a:lnTo>
                    <a:pt x="1704" y="223"/>
                  </a:lnTo>
                  <a:lnTo>
                    <a:pt x="1704" y="225"/>
                  </a:lnTo>
                  <a:lnTo>
                    <a:pt x="1706" y="227"/>
                  </a:lnTo>
                  <a:lnTo>
                    <a:pt x="1706" y="229"/>
                  </a:lnTo>
                  <a:lnTo>
                    <a:pt x="1706" y="230"/>
                  </a:lnTo>
                  <a:lnTo>
                    <a:pt x="1706" y="232"/>
                  </a:lnTo>
                  <a:lnTo>
                    <a:pt x="1704" y="232"/>
                  </a:lnTo>
                  <a:lnTo>
                    <a:pt x="1704" y="230"/>
                  </a:lnTo>
                  <a:lnTo>
                    <a:pt x="1704" y="229"/>
                  </a:lnTo>
                  <a:lnTo>
                    <a:pt x="1702" y="229"/>
                  </a:lnTo>
                  <a:lnTo>
                    <a:pt x="1702" y="227"/>
                  </a:lnTo>
                  <a:lnTo>
                    <a:pt x="1701" y="227"/>
                  </a:lnTo>
                  <a:lnTo>
                    <a:pt x="1701" y="225"/>
                  </a:lnTo>
                  <a:lnTo>
                    <a:pt x="1699" y="225"/>
                  </a:lnTo>
                  <a:lnTo>
                    <a:pt x="1699" y="223"/>
                  </a:lnTo>
                  <a:lnTo>
                    <a:pt x="1699" y="221"/>
                  </a:lnTo>
                  <a:lnTo>
                    <a:pt x="1699" y="219"/>
                  </a:lnTo>
                  <a:lnTo>
                    <a:pt x="1697" y="219"/>
                  </a:lnTo>
                  <a:lnTo>
                    <a:pt x="1697" y="217"/>
                  </a:lnTo>
                  <a:lnTo>
                    <a:pt x="1697" y="219"/>
                  </a:lnTo>
                  <a:lnTo>
                    <a:pt x="1695" y="219"/>
                  </a:lnTo>
                  <a:lnTo>
                    <a:pt x="1695" y="217"/>
                  </a:lnTo>
                  <a:lnTo>
                    <a:pt x="1695" y="215"/>
                  </a:lnTo>
                  <a:lnTo>
                    <a:pt x="1695" y="213"/>
                  </a:lnTo>
                  <a:close/>
                  <a:moveTo>
                    <a:pt x="987" y="173"/>
                  </a:moveTo>
                  <a:lnTo>
                    <a:pt x="987" y="175"/>
                  </a:lnTo>
                  <a:lnTo>
                    <a:pt x="987" y="173"/>
                  </a:lnTo>
                  <a:lnTo>
                    <a:pt x="987" y="175"/>
                  </a:lnTo>
                  <a:lnTo>
                    <a:pt x="988" y="175"/>
                  </a:lnTo>
                  <a:lnTo>
                    <a:pt x="988" y="177"/>
                  </a:lnTo>
                  <a:lnTo>
                    <a:pt x="987" y="177"/>
                  </a:lnTo>
                  <a:lnTo>
                    <a:pt x="987" y="179"/>
                  </a:lnTo>
                  <a:lnTo>
                    <a:pt x="987" y="177"/>
                  </a:lnTo>
                  <a:lnTo>
                    <a:pt x="985" y="177"/>
                  </a:lnTo>
                  <a:lnTo>
                    <a:pt x="985" y="179"/>
                  </a:lnTo>
                  <a:lnTo>
                    <a:pt x="985" y="177"/>
                  </a:lnTo>
                  <a:lnTo>
                    <a:pt x="983" y="177"/>
                  </a:lnTo>
                  <a:lnTo>
                    <a:pt x="981" y="177"/>
                  </a:lnTo>
                  <a:lnTo>
                    <a:pt x="981" y="179"/>
                  </a:lnTo>
                  <a:lnTo>
                    <a:pt x="983" y="179"/>
                  </a:lnTo>
                  <a:lnTo>
                    <a:pt x="983" y="181"/>
                  </a:lnTo>
                  <a:lnTo>
                    <a:pt x="985" y="181"/>
                  </a:lnTo>
                  <a:lnTo>
                    <a:pt x="985" y="179"/>
                  </a:lnTo>
                  <a:lnTo>
                    <a:pt x="985" y="181"/>
                  </a:lnTo>
                  <a:lnTo>
                    <a:pt x="985" y="182"/>
                  </a:lnTo>
                  <a:lnTo>
                    <a:pt x="985" y="181"/>
                  </a:lnTo>
                  <a:lnTo>
                    <a:pt x="985" y="182"/>
                  </a:lnTo>
                  <a:lnTo>
                    <a:pt x="983" y="182"/>
                  </a:lnTo>
                  <a:lnTo>
                    <a:pt x="983" y="181"/>
                  </a:lnTo>
                  <a:lnTo>
                    <a:pt x="981" y="181"/>
                  </a:lnTo>
                  <a:lnTo>
                    <a:pt x="979" y="181"/>
                  </a:lnTo>
                  <a:lnTo>
                    <a:pt x="979" y="179"/>
                  </a:lnTo>
                  <a:lnTo>
                    <a:pt x="979" y="181"/>
                  </a:lnTo>
                  <a:lnTo>
                    <a:pt x="977" y="181"/>
                  </a:lnTo>
                  <a:lnTo>
                    <a:pt x="977" y="179"/>
                  </a:lnTo>
                  <a:lnTo>
                    <a:pt x="977" y="181"/>
                  </a:lnTo>
                  <a:lnTo>
                    <a:pt x="975" y="181"/>
                  </a:lnTo>
                  <a:lnTo>
                    <a:pt x="975" y="179"/>
                  </a:lnTo>
                  <a:lnTo>
                    <a:pt x="975" y="177"/>
                  </a:lnTo>
                  <a:lnTo>
                    <a:pt x="973" y="177"/>
                  </a:lnTo>
                  <a:lnTo>
                    <a:pt x="975" y="177"/>
                  </a:lnTo>
                  <a:lnTo>
                    <a:pt x="975" y="175"/>
                  </a:lnTo>
                  <a:lnTo>
                    <a:pt x="975" y="177"/>
                  </a:lnTo>
                  <a:lnTo>
                    <a:pt x="977" y="177"/>
                  </a:lnTo>
                  <a:lnTo>
                    <a:pt x="979" y="177"/>
                  </a:lnTo>
                  <a:lnTo>
                    <a:pt x="981" y="177"/>
                  </a:lnTo>
                  <a:lnTo>
                    <a:pt x="979" y="177"/>
                  </a:lnTo>
                  <a:lnTo>
                    <a:pt x="979" y="175"/>
                  </a:lnTo>
                  <a:lnTo>
                    <a:pt x="979" y="173"/>
                  </a:lnTo>
                  <a:lnTo>
                    <a:pt x="981" y="173"/>
                  </a:lnTo>
                  <a:lnTo>
                    <a:pt x="981" y="175"/>
                  </a:lnTo>
                  <a:lnTo>
                    <a:pt x="981" y="173"/>
                  </a:lnTo>
                  <a:lnTo>
                    <a:pt x="983" y="173"/>
                  </a:lnTo>
                  <a:lnTo>
                    <a:pt x="985" y="173"/>
                  </a:lnTo>
                  <a:lnTo>
                    <a:pt x="985" y="171"/>
                  </a:lnTo>
                  <a:lnTo>
                    <a:pt x="987" y="171"/>
                  </a:lnTo>
                  <a:lnTo>
                    <a:pt x="987" y="173"/>
                  </a:lnTo>
                  <a:close/>
                  <a:moveTo>
                    <a:pt x="1979" y="1033"/>
                  </a:moveTo>
                  <a:lnTo>
                    <a:pt x="1979" y="1035"/>
                  </a:lnTo>
                  <a:lnTo>
                    <a:pt x="1977" y="1035"/>
                  </a:lnTo>
                  <a:lnTo>
                    <a:pt x="1977" y="1037"/>
                  </a:lnTo>
                  <a:lnTo>
                    <a:pt x="1977" y="1039"/>
                  </a:lnTo>
                  <a:lnTo>
                    <a:pt x="1977" y="1041"/>
                  </a:lnTo>
                  <a:lnTo>
                    <a:pt x="1977" y="1039"/>
                  </a:lnTo>
                  <a:lnTo>
                    <a:pt x="1977" y="1041"/>
                  </a:lnTo>
                  <a:lnTo>
                    <a:pt x="1975" y="1041"/>
                  </a:lnTo>
                  <a:lnTo>
                    <a:pt x="1975" y="1039"/>
                  </a:lnTo>
                  <a:lnTo>
                    <a:pt x="1975" y="1037"/>
                  </a:lnTo>
                  <a:lnTo>
                    <a:pt x="1975" y="1035"/>
                  </a:lnTo>
                  <a:lnTo>
                    <a:pt x="1977" y="1035"/>
                  </a:lnTo>
                  <a:lnTo>
                    <a:pt x="1977" y="1033"/>
                  </a:lnTo>
                  <a:lnTo>
                    <a:pt x="1977" y="1031"/>
                  </a:lnTo>
                  <a:lnTo>
                    <a:pt x="1979" y="1031"/>
                  </a:lnTo>
                  <a:lnTo>
                    <a:pt x="1979" y="1033"/>
                  </a:lnTo>
                  <a:close/>
                  <a:moveTo>
                    <a:pt x="1720" y="901"/>
                  </a:moveTo>
                  <a:lnTo>
                    <a:pt x="1720" y="903"/>
                  </a:lnTo>
                  <a:lnTo>
                    <a:pt x="1718" y="903"/>
                  </a:lnTo>
                  <a:lnTo>
                    <a:pt x="1718" y="905"/>
                  </a:lnTo>
                  <a:lnTo>
                    <a:pt x="1718" y="907"/>
                  </a:lnTo>
                  <a:lnTo>
                    <a:pt x="1716" y="907"/>
                  </a:lnTo>
                  <a:lnTo>
                    <a:pt x="1716" y="905"/>
                  </a:lnTo>
                  <a:lnTo>
                    <a:pt x="1714" y="905"/>
                  </a:lnTo>
                  <a:lnTo>
                    <a:pt x="1716" y="905"/>
                  </a:lnTo>
                  <a:lnTo>
                    <a:pt x="1714" y="905"/>
                  </a:lnTo>
                  <a:lnTo>
                    <a:pt x="1714" y="907"/>
                  </a:lnTo>
                  <a:lnTo>
                    <a:pt x="1712" y="907"/>
                  </a:lnTo>
                  <a:lnTo>
                    <a:pt x="1712" y="905"/>
                  </a:lnTo>
                  <a:lnTo>
                    <a:pt x="1714" y="905"/>
                  </a:lnTo>
                  <a:lnTo>
                    <a:pt x="1714" y="903"/>
                  </a:lnTo>
                  <a:lnTo>
                    <a:pt x="1716" y="903"/>
                  </a:lnTo>
                  <a:lnTo>
                    <a:pt x="1718" y="901"/>
                  </a:lnTo>
                  <a:lnTo>
                    <a:pt x="1720" y="901"/>
                  </a:lnTo>
                  <a:close/>
                  <a:moveTo>
                    <a:pt x="2002" y="1006"/>
                  </a:moveTo>
                  <a:lnTo>
                    <a:pt x="2002" y="1008"/>
                  </a:lnTo>
                  <a:lnTo>
                    <a:pt x="2000" y="1008"/>
                  </a:lnTo>
                  <a:lnTo>
                    <a:pt x="1998" y="1008"/>
                  </a:lnTo>
                  <a:lnTo>
                    <a:pt x="1998" y="1006"/>
                  </a:lnTo>
                  <a:lnTo>
                    <a:pt x="1998" y="1005"/>
                  </a:lnTo>
                  <a:lnTo>
                    <a:pt x="2000" y="1005"/>
                  </a:lnTo>
                  <a:lnTo>
                    <a:pt x="2002" y="1005"/>
                  </a:lnTo>
                  <a:lnTo>
                    <a:pt x="2002" y="1006"/>
                  </a:lnTo>
                  <a:close/>
                  <a:moveTo>
                    <a:pt x="236" y="603"/>
                  </a:moveTo>
                  <a:lnTo>
                    <a:pt x="238" y="605"/>
                  </a:lnTo>
                  <a:lnTo>
                    <a:pt x="236" y="605"/>
                  </a:lnTo>
                  <a:lnTo>
                    <a:pt x="238" y="605"/>
                  </a:lnTo>
                  <a:lnTo>
                    <a:pt x="238" y="607"/>
                  </a:lnTo>
                  <a:lnTo>
                    <a:pt x="236" y="607"/>
                  </a:lnTo>
                  <a:lnTo>
                    <a:pt x="236" y="605"/>
                  </a:lnTo>
                  <a:lnTo>
                    <a:pt x="236" y="607"/>
                  </a:lnTo>
                  <a:lnTo>
                    <a:pt x="238" y="607"/>
                  </a:lnTo>
                  <a:lnTo>
                    <a:pt x="238" y="609"/>
                  </a:lnTo>
                  <a:lnTo>
                    <a:pt x="236" y="609"/>
                  </a:lnTo>
                  <a:lnTo>
                    <a:pt x="234" y="609"/>
                  </a:lnTo>
                  <a:lnTo>
                    <a:pt x="236" y="609"/>
                  </a:lnTo>
                  <a:lnTo>
                    <a:pt x="236" y="607"/>
                  </a:lnTo>
                  <a:lnTo>
                    <a:pt x="234" y="607"/>
                  </a:lnTo>
                  <a:lnTo>
                    <a:pt x="232" y="607"/>
                  </a:lnTo>
                  <a:lnTo>
                    <a:pt x="232" y="605"/>
                  </a:lnTo>
                  <a:lnTo>
                    <a:pt x="232" y="603"/>
                  </a:lnTo>
                  <a:lnTo>
                    <a:pt x="234" y="603"/>
                  </a:lnTo>
                  <a:lnTo>
                    <a:pt x="232" y="603"/>
                  </a:lnTo>
                  <a:lnTo>
                    <a:pt x="234" y="603"/>
                  </a:lnTo>
                  <a:lnTo>
                    <a:pt x="232" y="603"/>
                  </a:lnTo>
                  <a:lnTo>
                    <a:pt x="234" y="603"/>
                  </a:lnTo>
                  <a:lnTo>
                    <a:pt x="236" y="603"/>
                  </a:lnTo>
                  <a:lnTo>
                    <a:pt x="236" y="601"/>
                  </a:lnTo>
                  <a:lnTo>
                    <a:pt x="236" y="603"/>
                  </a:lnTo>
                  <a:close/>
                  <a:moveTo>
                    <a:pt x="1939" y="1087"/>
                  </a:moveTo>
                  <a:lnTo>
                    <a:pt x="1940" y="1087"/>
                  </a:lnTo>
                  <a:lnTo>
                    <a:pt x="1939" y="1087"/>
                  </a:lnTo>
                  <a:lnTo>
                    <a:pt x="1940" y="1087"/>
                  </a:lnTo>
                  <a:lnTo>
                    <a:pt x="1939" y="1089"/>
                  </a:lnTo>
                  <a:lnTo>
                    <a:pt x="1939" y="1091"/>
                  </a:lnTo>
                  <a:lnTo>
                    <a:pt x="1937" y="1091"/>
                  </a:lnTo>
                  <a:lnTo>
                    <a:pt x="1937" y="1093"/>
                  </a:lnTo>
                  <a:lnTo>
                    <a:pt x="1935" y="1093"/>
                  </a:lnTo>
                  <a:lnTo>
                    <a:pt x="1935" y="1095"/>
                  </a:lnTo>
                  <a:lnTo>
                    <a:pt x="1933" y="1095"/>
                  </a:lnTo>
                  <a:lnTo>
                    <a:pt x="1933" y="1093"/>
                  </a:lnTo>
                  <a:lnTo>
                    <a:pt x="1935" y="1093"/>
                  </a:lnTo>
                  <a:lnTo>
                    <a:pt x="1935" y="1091"/>
                  </a:lnTo>
                  <a:lnTo>
                    <a:pt x="1937" y="1091"/>
                  </a:lnTo>
                  <a:lnTo>
                    <a:pt x="1937" y="1089"/>
                  </a:lnTo>
                  <a:lnTo>
                    <a:pt x="1939" y="1089"/>
                  </a:lnTo>
                  <a:lnTo>
                    <a:pt x="1939" y="1087"/>
                  </a:lnTo>
                  <a:lnTo>
                    <a:pt x="1940" y="1087"/>
                  </a:lnTo>
                  <a:lnTo>
                    <a:pt x="1939" y="1087"/>
                  </a:lnTo>
                  <a:close/>
                  <a:moveTo>
                    <a:pt x="823" y="250"/>
                  </a:moveTo>
                  <a:lnTo>
                    <a:pt x="823" y="252"/>
                  </a:lnTo>
                  <a:lnTo>
                    <a:pt x="825" y="250"/>
                  </a:lnTo>
                  <a:lnTo>
                    <a:pt x="825" y="252"/>
                  </a:lnTo>
                  <a:lnTo>
                    <a:pt x="823" y="252"/>
                  </a:lnTo>
                  <a:lnTo>
                    <a:pt x="823" y="254"/>
                  </a:lnTo>
                  <a:lnTo>
                    <a:pt x="822" y="254"/>
                  </a:lnTo>
                  <a:lnTo>
                    <a:pt x="823" y="254"/>
                  </a:lnTo>
                  <a:lnTo>
                    <a:pt x="823" y="255"/>
                  </a:lnTo>
                  <a:lnTo>
                    <a:pt x="822" y="255"/>
                  </a:lnTo>
                  <a:lnTo>
                    <a:pt x="818" y="255"/>
                  </a:lnTo>
                  <a:lnTo>
                    <a:pt x="818" y="254"/>
                  </a:lnTo>
                  <a:lnTo>
                    <a:pt x="816" y="255"/>
                  </a:lnTo>
                  <a:lnTo>
                    <a:pt x="816" y="257"/>
                  </a:lnTo>
                  <a:lnTo>
                    <a:pt x="816" y="259"/>
                  </a:lnTo>
                  <a:lnTo>
                    <a:pt x="816" y="257"/>
                  </a:lnTo>
                  <a:lnTo>
                    <a:pt x="816" y="255"/>
                  </a:lnTo>
                  <a:lnTo>
                    <a:pt x="816" y="254"/>
                  </a:lnTo>
                  <a:lnTo>
                    <a:pt x="818" y="254"/>
                  </a:lnTo>
                  <a:lnTo>
                    <a:pt x="818" y="252"/>
                  </a:lnTo>
                  <a:lnTo>
                    <a:pt x="820" y="252"/>
                  </a:lnTo>
                  <a:lnTo>
                    <a:pt x="822" y="252"/>
                  </a:lnTo>
                  <a:lnTo>
                    <a:pt x="822" y="250"/>
                  </a:lnTo>
                  <a:lnTo>
                    <a:pt x="823" y="250"/>
                  </a:lnTo>
                  <a:close/>
                  <a:moveTo>
                    <a:pt x="971" y="194"/>
                  </a:moveTo>
                  <a:lnTo>
                    <a:pt x="971" y="196"/>
                  </a:lnTo>
                  <a:lnTo>
                    <a:pt x="973" y="196"/>
                  </a:lnTo>
                  <a:lnTo>
                    <a:pt x="975" y="196"/>
                  </a:lnTo>
                  <a:lnTo>
                    <a:pt x="975" y="198"/>
                  </a:lnTo>
                  <a:lnTo>
                    <a:pt x="973" y="198"/>
                  </a:lnTo>
                  <a:lnTo>
                    <a:pt x="973" y="200"/>
                  </a:lnTo>
                  <a:lnTo>
                    <a:pt x="973" y="198"/>
                  </a:lnTo>
                  <a:lnTo>
                    <a:pt x="971" y="198"/>
                  </a:lnTo>
                  <a:lnTo>
                    <a:pt x="971" y="196"/>
                  </a:lnTo>
                  <a:lnTo>
                    <a:pt x="971" y="198"/>
                  </a:lnTo>
                  <a:lnTo>
                    <a:pt x="969" y="198"/>
                  </a:lnTo>
                  <a:lnTo>
                    <a:pt x="971" y="198"/>
                  </a:lnTo>
                  <a:lnTo>
                    <a:pt x="971" y="200"/>
                  </a:lnTo>
                  <a:lnTo>
                    <a:pt x="969" y="200"/>
                  </a:lnTo>
                  <a:lnTo>
                    <a:pt x="967" y="200"/>
                  </a:lnTo>
                  <a:lnTo>
                    <a:pt x="967" y="202"/>
                  </a:lnTo>
                  <a:lnTo>
                    <a:pt x="969" y="202"/>
                  </a:lnTo>
                  <a:lnTo>
                    <a:pt x="967" y="202"/>
                  </a:lnTo>
                  <a:lnTo>
                    <a:pt x="967" y="200"/>
                  </a:lnTo>
                  <a:lnTo>
                    <a:pt x="965" y="200"/>
                  </a:lnTo>
                  <a:lnTo>
                    <a:pt x="967" y="200"/>
                  </a:lnTo>
                  <a:lnTo>
                    <a:pt x="967" y="198"/>
                  </a:lnTo>
                  <a:lnTo>
                    <a:pt x="967" y="196"/>
                  </a:lnTo>
                  <a:lnTo>
                    <a:pt x="967" y="194"/>
                  </a:lnTo>
                  <a:lnTo>
                    <a:pt x="969" y="194"/>
                  </a:lnTo>
                  <a:lnTo>
                    <a:pt x="971" y="194"/>
                  </a:lnTo>
                  <a:close/>
                  <a:moveTo>
                    <a:pt x="960" y="194"/>
                  </a:moveTo>
                  <a:lnTo>
                    <a:pt x="962" y="194"/>
                  </a:lnTo>
                  <a:lnTo>
                    <a:pt x="962" y="196"/>
                  </a:lnTo>
                  <a:lnTo>
                    <a:pt x="962" y="194"/>
                  </a:lnTo>
                  <a:lnTo>
                    <a:pt x="962" y="196"/>
                  </a:lnTo>
                  <a:lnTo>
                    <a:pt x="962" y="194"/>
                  </a:lnTo>
                  <a:lnTo>
                    <a:pt x="962" y="196"/>
                  </a:lnTo>
                  <a:lnTo>
                    <a:pt x="964" y="196"/>
                  </a:lnTo>
                  <a:lnTo>
                    <a:pt x="964" y="194"/>
                  </a:lnTo>
                  <a:lnTo>
                    <a:pt x="964" y="196"/>
                  </a:lnTo>
                  <a:lnTo>
                    <a:pt x="965" y="196"/>
                  </a:lnTo>
                  <a:lnTo>
                    <a:pt x="965" y="198"/>
                  </a:lnTo>
                  <a:lnTo>
                    <a:pt x="964" y="198"/>
                  </a:lnTo>
                  <a:lnTo>
                    <a:pt x="964" y="200"/>
                  </a:lnTo>
                  <a:lnTo>
                    <a:pt x="964" y="198"/>
                  </a:lnTo>
                  <a:lnTo>
                    <a:pt x="964" y="200"/>
                  </a:lnTo>
                  <a:lnTo>
                    <a:pt x="964" y="202"/>
                  </a:lnTo>
                  <a:lnTo>
                    <a:pt x="962" y="202"/>
                  </a:lnTo>
                  <a:lnTo>
                    <a:pt x="960" y="202"/>
                  </a:lnTo>
                  <a:lnTo>
                    <a:pt x="960" y="200"/>
                  </a:lnTo>
                  <a:lnTo>
                    <a:pt x="958" y="200"/>
                  </a:lnTo>
                  <a:lnTo>
                    <a:pt x="958" y="198"/>
                  </a:lnTo>
                  <a:lnTo>
                    <a:pt x="958" y="200"/>
                  </a:lnTo>
                  <a:lnTo>
                    <a:pt x="960" y="200"/>
                  </a:lnTo>
                  <a:lnTo>
                    <a:pt x="960" y="198"/>
                  </a:lnTo>
                  <a:lnTo>
                    <a:pt x="958" y="198"/>
                  </a:lnTo>
                  <a:lnTo>
                    <a:pt x="958" y="196"/>
                  </a:lnTo>
                  <a:lnTo>
                    <a:pt x="960" y="196"/>
                  </a:lnTo>
                  <a:lnTo>
                    <a:pt x="960" y="194"/>
                  </a:lnTo>
                  <a:close/>
                  <a:moveTo>
                    <a:pt x="2163" y="907"/>
                  </a:moveTo>
                  <a:lnTo>
                    <a:pt x="2163" y="909"/>
                  </a:lnTo>
                  <a:lnTo>
                    <a:pt x="2165" y="909"/>
                  </a:lnTo>
                  <a:lnTo>
                    <a:pt x="2165" y="910"/>
                  </a:lnTo>
                  <a:lnTo>
                    <a:pt x="2167" y="910"/>
                  </a:lnTo>
                  <a:lnTo>
                    <a:pt x="2167" y="912"/>
                  </a:lnTo>
                  <a:lnTo>
                    <a:pt x="2169" y="912"/>
                  </a:lnTo>
                  <a:lnTo>
                    <a:pt x="2169" y="914"/>
                  </a:lnTo>
                  <a:lnTo>
                    <a:pt x="2171" y="914"/>
                  </a:lnTo>
                  <a:lnTo>
                    <a:pt x="2171" y="916"/>
                  </a:lnTo>
                  <a:lnTo>
                    <a:pt x="2173" y="916"/>
                  </a:lnTo>
                  <a:lnTo>
                    <a:pt x="2171" y="916"/>
                  </a:lnTo>
                  <a:lnTo>
                    <a:pt x="2171" y="914"/>
                  </a:lnTo>
                  <a:lnTo>
                    <a:pt x="2169" y="914"/>
                  </a:lnTo>
                  <a:lnTo>
                    <a:pt x="2169" y="912"/>
                  </a:lnTo>
                  <a:lnTo>
                    <a:pt x="2167" y="912"/>
                  </a:lnTo>
                  <a:lnTo>
                    <a:pt x="2165" y="912"/>
                  </a:lnTo>
                  <a:lnTo>
                    <a:pt x="2165" y="910"/>
                  </a:lnTo>
                  <a:lnTo>
                    <a:pt x="2163" y="910"/>
                  </a:lnTo>
                  <a:lnTo>
                    <a:pt x="2163" y="909"/>
                  </a:lnTo>
                  <a:lnTo>
                    <a:pt x="2161" y="909"/>
                  </a:lnTo>
                  <a:lnTo>
                    <a:pt x="2163" y="909"/>
                  </a:lnTo>
                  <a:lnTo>
                    <a:pt x="2161" y="909"/>
                  </a:lnTo>
                  <a:lnTo>
                    <a:pt x="2161" y="907"/>
                  </a:lnTo>
                  <a:lnTo>
                    <a:pt x="2163" y="907"/>
                  </a:lnTo>
                  <a:close/>
                  <a:moveTo>
                    <a:pt x="925" y="115"/>
                  </a:moveTo>
                  <a:lnTo>
                    <a:pt x="927" y="115"/>
                  </a:lnTo>
                  <a:lnTo>
                    <a:pt x="929" y="115"/>
                  </a:lnTo>
                  <a:lnTo>
                    <a:pt x="931" y="115"/>
                  </a:lnTo>
                  <a:lnTo>
                    <a:pt x="931" y="117"/>
                  </a:lnTo>
                  <a:lnTo>
                    <a:pt x="929" y="117"/>
                  </a:lnTo>
                  <a:lnTo>
                    <a:pt x="927" y="117"/>
                  </a:lnTo>
                  <a:lnTo>
                    <a:pt x="925" y="117"/>
                  </a:lnTo>
                  <a:lnTo>
                    <a:pt x="927" y="117"/>
                  </a:lnTo>
                  <a:lnTo>
                    <a:pt x="927" y="115"/>
                  </a:lnTo>
                  <a:lnTo>
                    <a:pt x="925" y="115"/>
                  </a:lnTo>
                  <a:lnTo>
                    <a:pt x="925" y="117"/>
                  </a:lnTo>
                  <a:lnTo>
                    <a:pt x="923" y="117"/>
                  </a:lnTo>
                  <a:lnTo>
                    <a:pt x="921" y="117"/>
                  </a:lnTo>
                  <a:lnTo>
                    <a:pt x="921" y="115"/>
                  </a:lnTo>
                  <a:lnTo>
                    <a:pt x="921" y="117"/>
                  </a:lnTo>
                  <a:lnTo>
                    <a:pt x="919" y="117"/>
                  </a:lnTo>
                  <a:lnTo>
                    <a:pt x="917" y="117"/>
                  </a:lnTo>
                  <a:lnTo>
                    <a:pt x="917" y="115"/>
                  </a:lnTo>
                  <a:lnTo>
                    <a:pt x="919" y="115"/>
                  </a:lnTo>
                  <a:lnTo>
                    <a:pt x="921" y="115"/>
                  </a:lnTo>
                  <a:lnTo>
                    <a:pt x="921" y="113"/>
                  </a:lnTo>
                  <a:lnTo>
                    <a:pt x="923" y="113"/>
                  </a:lnTo>
                  <a:lnTo>
                    <a:pt x="925" y="115"/>
                  </a:lnTo>
                  <a:close/>
                  <a:moveTo>
                    <a:pt x="835" y="271"/>
                  </a:moveTo>
                  <a:lnTo>
                    <a:pt x="833" y="271"/>
                  </a:lnTo>
                  <a:lnTo>
                    <a:pt x="831" y="271"/>
                  </a:lnTo>
                  <a:lnTo>
                    <a:pt x="829" y="271"/>
                  </a:lnTo>
                  <a:lnTo>
                    <a:pt x="827" y="271"/>
                  </a:lnTo>
                  <a:lnTo>
                    <a:pt x="827" y="269"/>
                  </a:lnTo>
                  <a:lnTo>
                    <a:pt x="825" y="269"/>
                  </a:lnTo>
                  <a:lnTo>
                    <a:pt x="825" y="267"/>
                  </a:lnTo>
                  <a:lnTo>
                    <a:pt x="827" y="267"/>
                  </a:lnTo>
                  <a:lnTo>
                    <a:pt x="829" y="267"/>
                  </a:lnTo>
                  <a:lnTo>
                    <a:pt x="831" y="269"/>
                  </a:lnTo>
                  <a:lnTo>
                    <a:pt x="833" y="269"/>
                  </a:lnTo>
                  <a:lnTo>
                    <a:pt x="835" y="269"/>
                  </a:lnTo>
                  <a:lnTo>
                    <a:pt x="835" y="271"/>
                  </a:lnTo>
                  <a:close/>
                  <a:moveTo>
                    <a:pt x="1860" y="1154"/>
                  </a:moveTo>
                  <a:lnTo>
                    <a:pt x="1862" y="1154"/>
                  </a:lnTo>
                  <a:lnTo>
                    <a:pt x="1862" y="1156"/>
                  </a:lnTo>
                  <a:lnTo>
                    <a:pt x="1860" y="1156"/>
                  </a:lnTo>
                  <a:lnTo>
                    <a:pt x="1862" y="1156"/>
                  </a:lnTo>
                  <a:lnTo>
                    <a:pt x="1860" y="1156"/>
                  </a:lnTo>
                  <a:lnTo>
                    <a:pt x="1860" y="1158"/>
                  </a:lnTo>
                  <a:lnTo>
                    <a:pt x="1858" y="1158"/>
                  </a:lnTo>
                  <a:lnTo>
                    <a:pt x="1856" y="1158"/>
                  </a:lnTo>
                  <a:lnTo>
                    <a:pt x="1858" y="1158"/>
                  </a:lnTo>
                  <a:lnTo>
                    <a:pt x="1858" y="1156"/>
                  </a:lnTo>
                  <a:lnTo>
                    <a:pt x="1856" y="1156"/>
                  </a:lnTo>
                  <a:lnTo>
                    <a:pt x="1858" y="1156"/>
                  </a:lnTo>
                  <a:lnTo>
                    <a:pt x="1860" y="1156"/>
                  </a:lnTo>
                  <a:lnTo>
                    <a:pt x="1860" y="1154"/>
                  </a:lnTo>
                  <a:lnTo>
                    <a:pt x="1860" y="1156"/>
                  </a:lnTo>
                  <a:lnTo>
                    <a:pt x="1860" y="1154"/>
                  </a:lnTo>
                  <a:lnTo>
                    <a:pt x="1860" y="1156"/>
                  </a:lnTo>
                  <a:lnTo>
                    <a:pt x="1860" y="1154"/>
                  </a:lnTo>
                  <a:close/>
                  <a:moveTo>
                    <a:pt x="931" y="219"/>
                  </a:moveTo>
                  <a:lnTo>
                    <a:pt x="933" y="219"/>
                  </a:lnTo>
                  <a:lnTo>
                    <a:pt x="935" y="219"/>
                  </a:lnTo>
                  <a:lnTo>
                    <a:pt x="935" y="221"/>
                  </a:lnTo>
                  <a:lnTo>
                    <a:pt x="933" y="221"/>
                  </a:lnTo>
                  <a:lnTo>
                    <a:pt x="933" y="223"/>
                  </a:lnTo>
                  <a:lnTo>
                    <a:pt x="931" y="223"/>
                  </a:lnTo>
                  <a:lnTo>
                    <a:pt x="929" y="223"/>
                  </a:lnTo>
                  <a:lnTo>
                    <a:pt x="929" y="221"/>
                  </a:lnTo>
                  <a:lnTo>
                    <a:pt x="927" y="221"/>
                  </a:lnTo>
                  <a:lnTo>
                    <a:pt x="925" y="221"/>
                  </a:lnTo>
                  <a:lnTo>
                    <a:pt x="927" y="221"/>
                  </a:lnTo>
                  <a:lnTo>
                    <a:pt x="927" y="219"/>
                  </a:lnTo>
                  <a:lnTo>
                    <a:pt x="929" y="219"/>
                  </a:lnTo>
                  <a:lnTo>
                    <a:pt x="931" y="219"/>
                  </a:lnTo>
                  <a:close/>
                  <a:moveTo>
                    <a:pt x="574" y="444"/>
                  </a:moveTo>
                  <a:lnTo>
                    <a:pt x="576" y="446"/>
                  </a:lnTo>
                  <a:lnTo>
                    <a:pt x="578" y="446"/>
                  </a:lnTo>
                  <a:lnTo>
                    <a:pt x="578" y="448"/>
                  </a:lnTo>
                  <a:lnTo>
                    <a:pt x="580" y="448"/>
                  </a:lnTo>
                  <a:lnTo>
                    <a:pt x="580" y="449"/>
                  </a:lnTo>
                  <a:lnTo>
                    <a:pt x="580" y="451"/>
                  </a:lnTo>
                  <a:lnTo>
                    <a:pt x="580" y="453"/>
                  </a:lnTo>
                  <a:lnTo>
                    <a:pt x="582" y="453"/>
                  </a:lnTo>
                  <a:lnTo>
                    <a:pt x="580" y="453"/>
                  </a:lnTo>
                  <a:lnTo>
                    <a:pt x="580" y="451"/>
                  </a:lnTo>
                  <a:lnTo>
                    <a:pt x="580" y="449"/>
                  </a:lnTo>
                  <a:lnTo>
                    <a:pt x="578" y="448"/>
                  </a:lnTo>
                  <a:lnTo>
                    <a:pt x="576" y="448"/>
                  </a:lnTo>
                  <a:lnTo>
                    <a:pt x="576" y="446"/>
                  </a:lnTo>
                  <a:lnTo>
                    <a:pt x="574" y="446"/>
                  </a:lnTo>
                  <a:lnTo>
                    <a:pt x="572" y="444"/>
                  </a:lnTo>
                  <a:lnTo>
                    <a:pt x="572" y="442"/>
                  </a:lnTo>
                  <a:lnTo>
                    <a:pt x="572" y="444"/>
                  </a:lnTo>
                  <a:lnTo>
                    <a:pt x="574" y="444"/>
                  </a:lnTo>
                  <a:close/>
                  <a:moveTo>
                    <a:pt x="964" y="182"/>
                  </a:moveTo>
                  <a:lnTo>
                    <a:pt x="965" y="182"/>
                  </a:lnTo>
                  <a:lnTo>
                    <a:pt x="965" y="184"/>
                  </a:lnTo>
                  <a:lnTo>
                    <a:pt x="965" y="186"/>
                  </a:lnTo>
                  <a:lnTo>
                    <a:pt x="967" y="186"/>
                  </a:lnTo>
                  <a:lnTo>
                    <a:pt x="965" y="186"/>
                  </a:lnTo>
                  <a:lnTo>
                    <a:pt x="965" y="188"/>
                  </a:lnTo>
                  <a:lnTo>
                    <a:pt x="965" y="186"/>
                  </a:lnTo>
                  <a:lnTo>
                    <a:pt x="965" y="184"/>
                  </a:lnTo>
                  <a:lnTo>
                    <a:pt x="965" y="186"/>
                  </a:lnTo>
                  <a:lnTo>
                    <a:pt x="964" y="186"/>
                  </a:lnTo>
                  <a:lnTo>
                    <a:pt x="962" y="186"/>
                  </a:lnTo>
                  <a:lnTo>
                    <a:pt x="964" y="186"/>
                  </a:lnTo>
                  <a:lnTo>
                    <a:pt x="962" y="186"/>
                  </a:lnTo>
                  <a:lnTo>
                    <a:pt x="962" y="184"/>
                  </a:lnTo>
                  <a:lnTo>
                    <a:pt x="960" y="184"/>
                  </a:lnTo>
                  <a:lnTo>
                    <a:pt x="960" y="186"/>
                  </a:lnTo>
                  <a:lnTo>
                    <a:pt x="958" y="186"/>
                  </a:lnTo>
                  <a:lnTo>
                    <a:pt x="958" y="184"/>
                  </a:lnTo>
                  <a:lnTo>
                    <a:pt x="960" y="184"/>
                  </a:lnTo>
                  <a:lnTo>
                    <a:pt x="962" y="184"/>
                  </a:lnTo>
                  <a:lnTo>
                    <a:pt x="962" y="182"/>
                  </a:lnTo>
                  <a:lnTo>
                    <a:pt x="964" y="182"/>
                  </a:lnTo>
                  <a:close/>
                  <a:moveTo>
                    <a:pt x="873" y="190"/>
                  </a:moveTo>
                  <a:lnTo>
                    <a:pt x="873" y="192"/>
                  </a:lnTo>
                  <a:lnTo>
                    <a:pt x="875" y="192"/>
                  </a:lnTo>
                  <a:lnTo>
                    <a:pt x="875" y="194"/>
                  </a:lnTo>
                  <a:lnTo>
                    <a:pt x="877" y="194"/>
                  </a:lnTo>
                  <a:lnTo>
                    <a:pt x="877" y="196"/>
                  </a:lnTo>
                  <a:lnTo>
                    <a:pt x="875" y="196"/>
                  </a:lnTo>
                  <a:lnTo>
                    <a:pt x="877" y="198"/>
                  </a:lnTo>
                  <a:lnTo>
                    <a:pt x="875" y="198"/>
                  </a:lnTo>
                  <a:lnTo>
                    <a:pt x="873" y="198"/>
                  </a:lnTo>
                  <a:lnTo>
                    <a:pt x="873" y="196"/>
                  </a:lnTo>
                  <a:lnTo>
                    <a:pt x="871" y="196"/>
                  </a:lnTo>
                  <a:lnTo>
                    <a:pt x="871" y="194"/>
                  </a:lnTo>
                  <a:lnTo>
                    <a:pt x="871" y="196"/>
                  </a:lnTo>
                  <a:lnTo>
                    <a:pt x="873" y="196"/>
                  </a:lnTo>
                  <a:lnTo>
                    <a:pt x="873" y="194"/>
                  </a:lnTo>
                  <a:lnTo>
                    <a:pt x="875" y="194"/>
                  </a:lnTo>
                  <a:lnTo>
                    <a:pt x="873" y="194"/>
                  </a:lnTo>
                  <a:lnTo>
                    <a:pt x="873" y="192"/>
                  </a:lnTo>
                  <a:lnTo>
                    <a:pt x="871" y="192"/>
                  </a:lnTo>
                  <a:lnTo>
                    <a:pt x="871" y="194"/>
                  </a:lnTo>
                  <a:lnTo>
                    <a:pt x="871" y="192"/>
                  </a:lnTo>
                  <a:lnTo>
                    <a:pt x="873" y="192"/>
                  </a:lnTo>
                  <a:lnTo>
                    <a:pt x="873" y="190"/>
                  </a:lnTo>
                  <a:close/>
                  <a:moveTo>
                    <a:pt x="923" y="221"/>
                  </a:moveTo>
                  <a:lnTo>
                    <a:pt x="923" y="223"/>
                  </a:lnTo>
                  <a:lnTo>
                    <a:pt x="921" y="223"/>
                  </a:lnTo>
                  <a:lnTo>
                    <a:pt x="919" y="223"/>
                  </a:lnTo>
                  <a:lnTo>
                    <a:pt x="919" y="221"/>
                  </a:lnTo>
                  <a:lnTo>
                    <a:pt x="919" y="219"/>
                  </a:lnTo>
                  <a:lnTo>
                    <a:pt x="921" y="219"/>
                  </a:lnTo>
                  <a:lnTo>
                    <a:pt x="923" y="219"/>
                  </a:lnTo>
                  <a:lnTo>
                    <a:pt x="923" y="221"/>
                  </a:lnTo>
                  <a:close/>
                  <a:moveTo>
                    <a:pt x="211" y="442"/>
                  </a:moveTo>
                  <a:lnTo>
                    <a:pt x="213" y="442"/>
                  </a:lnTo>
                  <a:lnTo>
                    <a:pt x="215" y="442"/>
                  </a:lnTo>
                  <a:lnTo>
                    <a:pt x="215" y="444"/>
                  </a:lnTo>
                  <a:lnTo>
                    <a:pt x="217" y="444"/>
                  </a:lnTo>
                  <a:lnTo>
                    <a:pt x="215" y="444"/>
                  </a:lnTo>
                  <a:lnTo>
                    <a:pt x="215" y="446"/>
                  </a:lnTo>
                  <a:lnTo>
                    <a:pt x="215" y="444"/>
                  </a:lnTo>
                  <a:lnTo>
                    <a:pt x="213" y="444"/>
                  </a:lnTo>
                  <a:lnTo>
                    <a:pt x="213" y="446"/>
                  </a:lnTo>
                  <a:lnTo>
                    <a:pt x="211" y="444"/>
                  </a:lnTo>
                  <a:lnTo>
                    <a:pt x="209" y="444"/>
                  </a:lnTo>
                  <a:lnTo>
                    <a:pt x="209" y="442"/>
                  </a:lnTo>
                  <a:lnTo>
                    <a:pt x="211" y="442"/>
                  </a:lnTo>
                  <a:close/>
                  <a:moveTo>
                    <a:pt x="1987" y="1003"/>
                  </a:moveTo>
                  <a:lnTo>
                    <a:pt x="1990" y="1003"/>
                  </a:lnTo>
                  <a:lnTo>
                    <a:pt x="1990" y="1005"/>
                  </a:lnTo>
                  <a:lnTo>
                    <a:pt x="1987" y="1005"/>
                  </a:lnTo>
                  <a:lnTo>
                    <a:pt x="1987" y="1003"/>
                  </a:lnTo>
                  <a:close/>
                  <a:moveTo>
                    <a:pt x="303" y="617"/>
                  </a:moveTo>
                  <a:lnTo>
                    <a:pt x="303" y="618"/>
                  </a:lnTo>
                  <a:lnTo>
                    <a:pt x="303" y="620"/>
                  </a:lnTo>
                  <a:lnTo>
                    <a:pt x="301" y="620"/>
                  </a:lnTo>
                  <a:lnTo>
                    <a:pt x="303" y="620"/>
                  </a:lnTo>
                  <a:lnTo>
                    <a:pt x="301" y="620"/>
                  </a:lnTo>
                  <a:lnTo>
                    <a:pt x="301" y="618"/>
                  </a:lnTo>
                  <a:lnTo>
                    <a:pt x="301" y="617"/>
                  </a:lnTo>
                  <a:lnTo>
                    <a:pt x="299" y="617"/>
                  </a:lnTo>
                  <a:lnTo>
                    <a:pt x="301" y="617"/>
                  </a:lnTo>
                  <a:lnTo>
                    <a:pt x="303" y="617"/>
                  </a:lnTo>
                  <a:close/>
                  <a:moveTo>
                    <a:pt x="910" y="115"/>
                  </a:moveTo>
                  <a:lnTo>
                    <a:pt x="912" y="115"/>
                  </a:lnTo>
                  <a:lnTo>
                    <a:pt x="912" y="117"/>
                  </a:lnTo>
                  <a:lnTo>
                    <a:pt x="912" y="119"/>
                  </a:lnTo>
                  <a:lnTo>
                    <a:pt x="914" y="119"/>
                  </a:lnTo>
                  <a:lnTo>
                    <a:pt x="916" y="119"/>
                  </a:lnTo>
                  <a:lnTo>
                    <a:pt x="917" y="121"/>
                  </a:lnTo>
                  <a:lnTo>
                    <a:pt x="916" y="121"/>
                  </a:lnTo>
                  <a:lnTo>
                    <a:pt x="914" y="121"/>
                  </a:lnTo>
                  <a:lnTo>
                    <a:pt x="912" y="121"/>
                  </a:lnTo>
                  <a:lnTo>
                    <a:pt x="910" y="119"/>
                  </a:lnTo>
                  <a:lnTo>
                    <a:pt x="908" y="117"/>
                  </a:lnTo>
                  <a:lnTo>
                    <a:pt x="910" y="117"/>
                  </a:lnTo>
                  <a:lnTo>
                    <a:pt x="910" y="115"/>
                  </a:lnTo>
                  <a:close/>
                  <a:moveTo>
                    <a:pt x="1917" y="793"/>
                  </a:moveTo>
                  <a:lnTo>
                    <a:pt x="1917" y="795"/>
                  </a:lnTo>
                  <a:lnTo>
                    <a:pt x="1916" y="795"/>
                  </a:lnTo>
                  <a:lnTo>
                    <a:pt x="1914" y="795"/>
                  </a:lnTo>
                  <a:lnTo>
                    <a:pt x="1916" y="793"/>
                  </a:lnTo>
                  <a:lnTo>
                    <a:pt x="1917" y="793"/>
                  </a:lnTo>
                  <a:lnTo>
                    <a:pt x="1917" y="791"/>
                  </a:lnTo>
                  <a:lnTo>
                    <a:pt x="1917" y="793"/>
                  </a:lnTo>
                  <a:close/>
                  <a:moveTo>
                    <a:pt x="1102" y="96"/>
                  </a:moveTo>
                  <a:lnTo>
                    <a:pt x="1102" y="98"/>
                  </a:lnTo>
                  <a:lnTo>
                    <a:pt x="1100" y="98"/>
                  </a:lnTo>
                  <a:lnTo>
                    <a:pt x="1102" y="100"/>
                  </a:lnTo>
                  <a:lnTo>
                    <a:pt x="1100" y="100"/>
                  </a:lnTo>
                  <a:lnTo>
                    <a:pt x="1100" y="102"/>
                  </a:lnTo>
                  <a:lnTo>
                    <a:pt x="1102" y="102"/>
                  </a:lnTo>
                  <a:lnTo>
                    <a:pt x="1100" y="102"/>
                  </a:lnTo>
                  <a:lnTo>
                    <a:pt x="1098" y="100"/>
                  </a:lnTo>
                  <a:lnTo>
                    <a:pt x="1098" y="102"/>
                  </a:lnTo>
                  <a:lnTo>
                    <a:pt x="1096" y="100"/>
                  </a:lnTo>
                  <a:lnTo>
                    <a:pt x="1096" y="102"/>
                  </a:lnTo>
                  <a:lnTo>
                    <a:pt x="1094" y="102"/>
                  </a:lnTo>
                  <a:lnTo>
                    <a:pt x="1094" y="100"/>
                  </a:lnTo>
                  <a:lnTo>
                    <a:pt x="1096" y="100"/>
                  </a:lnTo>
                  <a:lnTo>
                    <a:pt x="1096" y="98"/>
                  </a:lnTo>
                  <a:lnTo>
                    <a:pt x="1098" y="100"/>
                  </a:lnTo>
                  <a:lnTo>
                    <a:pt x="1100" y="100"/>
                  </a:lnTo>
                  <a:lnTo>
                    <a:pt x="1100" y="98"/>
                  </a:lnTo>
                  <a:lnTo>
                    <a:pt x="1102" y="96"/>
                  </a:lnTo>
                  <a:close/>
                  <a:moveTo>
                    <a:pt x="979" y="181"/>
                  </a:moveTo>
                  <a:lnTo>
                    <a:pt x="981" y="181"/>
                  </a:lnTo>
                  <a:lnTo>
                    <a:pt x="981" y="182"/>
                  </a:lnTo>
                  <a:lnTo>
                    <a:pt x="983" y="182"/>
                  </a:lnTo>
                  <a:lnTo>
                    <a:pt x="983" y="184"/>
                  </a:lnTo>
                  <a:lnTo>
                    <a:pt x="981" y="184"/>
                  </a:lnTo>
                  <a:lnTo>
                    <a:pt x="981" y="182"/>
                  </a:lnTo>
                  <a:lnTo>
                    <a:pt x="979" y="182"/>
                  </a:lnTo>
                  <a:lnTo>
                    <a:pt x="981" y="182"/>
                  </a:lnTo>
                  <a:lnTo>
                    <a:pt x="981" y="184"/>
                  </a:lnTo>
                  <a:lnTo>
                    <a:pt x="979" y="184"/>
                  </a:lnTo>
                  <a:lnTo>
                    <a:pt x="981" y="184"/>
                  </a:lnTo>
                  <a:lnTo>
                    <a:pt x="981" y="186"/>
                  </a:lnTo>
                  <a:lnTo>
                    <a:pt x="979" y="186"/>
                  </a:lnTo>
                  <a:lnTo>
                    <a:pt x="979" y="184"/>
                  </a:lnTo>
                  <a:lnTo>
                    <a:pt x="979" y="186"/>
                  </a:lnTo>
                  <a:lnTo>
                    <a:pt x="979" y="184"/>
                  </a:lnTo>
                  <a:lnTo>
                    <a:pt x="979" y="182"/>
                  </a:lnTo>
                  <a:lnTo>
                    <a:pt x="977" y="182"/>
                  </a:lnTo>
                  <a:lnTo>
                    <a:pt x="979" y="182"/>
                  </a:lnTo>
                  <a:lnTo>
                    <a:pt x="979" y="181"/>
                  </a:lnTo>
                  <a:lnTo>
                    <a:pt x="977" y="181"/>
                  </a:lnTo>
                  <a:lnTo>
                    <a:pt x="979" y="181"/>
                  </a:lnTo>
                  <a:close/>
                  <a:moveTo>
                    <a:pt x="1372" y="90"/>
                  </a:moveTo>
                  <a:lnTo>
                    <a:pt x="1372" y="88"/>
                  </a:lnTo>
                  <a:lnTo>
                    <a:pt x="1372" y="90"/>
                  </a:lnTo>
                  <a:lnTo>
                    <a:pt x="1372" y="92"/>
                  </a:lnTo>
                  <a:lnTo>
                    <a:pt x="1372" y="90"/>
                  </a:lnTo>
                  <a:lnTo>
                    <a:pt x="1372" y="92"/>
                  </a:lnTo>
                  <a:lnTo>
                    <a:pt x="1372" y="90"/>
                  </a:lnTo>
                  <a:lnTo>
                    <a:pt x="1369" y="90"/>
                  </a:lnTo>
                  <a:lnTo>
                    <a:pt x="1369" y="88"/>
                  </a:lnTo>
                  <a:lnTo>
                    <a:pt x="1369" y="86"/>
                  </a:lnTo>
                  <a:lnTo>
                    <a:pt x="1370" y="86"/>
                  </a:lnTo>
                  <a:lnTo>
                    <a:pt x="1370" y="88"/>
                  </a:lnTo>
                  <a:lnTo>
                    <a:pt x="1372" y="88"/>
                  </a:lnTo>
                  <a:lnTo>
                    <a:pt x="1372" y="90"/>
                  </a:lnTo>
                  <a:close/>
                  <a:moveTo>
                    <a:pt x="941" y="225"/>
                  </a:moveTo>
                  <a:lnTo>
                    <a:pt x="942" y="225"/>
                  </a:lnTo>
                  <a:lnTo>
                    <a:pt x="944" y="225"/>
                  </a:lnTo>
                  <a:lnTo>
                    <a:pt x="946" y="225"/>
                  </a:lnTo>
                  <a:lnTo>
                    <a:pt x="946" y="227"/>
                  </a:lnTo>
                  <a:lnTo>
                    <a:pt x="946" y="229"/>
                  </a:lnTo>
                  <a:lnTo>
                    <a:pt x="944" y="229"/>
                  </a:lnTo>
                  <a:lnTo>
                    <a:pt x="944" y="227"/>
                  </a:lnTo>
                  <a:lnTo>
                    <a:pt x="942" y="227"/>
                  </a:lnTo>
                  <a:lnTo>
                    <a:pt x="941" y="227"/>
                  </a:lnTo>
                  <a:lnTo>
                    <a:pt x="941" y="225"/>
                  </a:lnTo>
                  <a:close/>
                  <a:moveTo>
                    <a:pt x="1965" y="1049"/>
                  </a:moveTo>
                  <a:lnTo>
                    <a:pt x="1969" y="1049"/>
                  </a:lnTo>
                  <a:lnTo>
                    <a:pt x="1969" y="1053"/>
                  </a:lnTo>
                  <a:lnTo>
                    <a:pt x="1965" y="1053"/>
                  </a:lnTo>
                  <a:lnTo>
                    <a:pt x="1965" y="1049"/>
                  </a:lnTo>
                  <a:close/>
                  <a:moveTo>
                    <a:pt x="829" y="252"/>
                  </a:moveTo>
                  <a:lnTo>
                    <a:pt x="831" y="254"/>
                  </a:lnTo>
                  <a:lnTo>
                    <a:pt x="833" y="254"/>
                  </a:lnTo>
                  <a:lnTo>
                    <a:pt x="833" y="255"/>
                  </a:lnTo>
                  <a:lnTo>
                    <a:pt x="835" y="255"/>
                  </a:lnTo>
                  <a:lnTo>
                    <a:pt x="835" y="257"/>
                  </a:lnTo>
                  <a:lnTo>
                    <a:pt x="835" y="255"/>
                  </a:lnTo>
                  <a:lnTo>
                    <a:pt x="833" y="255"/>
                  </a:lnTo>
                  <a:lnTo>
                    <a:pt x="831" y="254"/>
                  </a:lnTo>
                  <a:lnTo>
                    <a:pt x="829" y="254"/>
                  </a:lnTo>
                  <a:lnTo>
                    <a:pt x="829" y="252"/>
                  </a:lnTo>
                  <a:lnTo>
                    <a:pt x="827" y="252"/>
                  </a:lnTo>
                  <a:lnTo>
                    <a:pt x="827" y="254"/>
                  </a:lnTo>
                  <a:lnTo>
                    <a:pt x="825" y="254"/>
                  </a:lnTo>
                  <a:lnTo>
                    <a:pt x="825" y="252"/>
                  </a:lnTo>
                  <a:lnTo>
                    <a:pt x="827" y="252"/>
                  </a:lnTo>
                  <a:lnTo>
                    <a:pt x="829" y="252"/>
                  </a:lnTo>
                  <a:close/>
                  <a:moveTo>
                    <a:pt x="415" y="1124"/>
                  </a:moveTo>
                  <a:lnTo>
                    <a:pt x="415" y="1122"/>
                  </a:lnTo>
                  <a:lnTo>
                    <a:pt x="415" y="1120"/>
                  </a:lnTo>
                  <a:lnTo>
                    <a:pt x="413" y="1120"/>
                  </a:lnTo>
                  <a:lnTo>
                    <a:pt x="415" y="1120"/>
                  </a:lnTo>
                  <a:lnTo>
                    <a:pt x="415" y="1118"/>
                  </a:lnTo>
                  <a:lnTo>
                    <a:pt x="415" y="1120"/>
                  </a:lnTo>
                  <a:lnTo>
                    <a:pt x="415" y="1122"/>
                  </a:lnTo>
                  <a:lnTo>
                    <a:pt x="415" y="1124"/>
                  </a:lnTo>
                  <a:close/>
                  <a:moveTo>
                    <a:pt x="409" y="1152"/>
                  </a:moveTo>
                  <a:lnTo>
                    <a:pt x="413" y="1152"/>
                  </a:lnTo>
                  <a:lnTo>
                    <a:pt x="413" y="1154"/>
                  </a:lnTo>
                  <a:lnTo>
                    <a:pt x="409" y="1154"/>
                  </a:lnTo>
                  <a:lnTo>
                    <a:pt x="409" y="1152"/>
                  </a:lnTo>
                  <a:close/>
                  <a:moveTo>
                    <a:pt x="1639" y="1172"/>
                  </a:moveTo>
                  <a:lnTo>
                    <a:pt x="1643" y="1172"/>
                  </a:lnTo>
                  <a:lnTo>
                    <a:pt x="1643" y="1174"/>
                  </a:lnTo>
                  <a:lnTo>
                    <a:pt x="1639" y="1174"/>
                  </a:lnTo>
                  <a:lnTo>
                    <a:pt x="1639" y="1172"/>
                  </a:lnTo>
                  <a:close/>
                  <a:moveTo>
                    <a:pt x="950" y="200"/>
                  </a:moveTo>
                  <a:lnTo>
                    <a:pt x="950" y="202"/>
                  </a:lnTo>
                  <a:lnTo>
                    <a:pt x="952" y="202"/>
                  </a:lnTo>
                  <a:lnTo>
                    <a:pt x="952" y="204"/>
                  </a:lnTo>
                  <a:lnTo>
                    <a:pt x="954" y="204"/>
                  </a:lnTo>
                  <a:lnTo>
                    <a:pt x="952" y="204"/>
                  </a:lnTo>
                  <a:lnTo>
                    <a:pt x="950" y="204"/>
                  </a:lnTo>
                  <a:lnTo>
                    <a:pt x="950" y="202"/>
                  </a:lnTo>
                  <a:lnTo>
                    <a:pt x="948" y="202"/>
                  </a:lnTo>
                  <a:lnTo>
                    <a:pt x="948" y="200"/>
                  </a:lnTo>
                  <a:lnTo>
                    <a:pt x="950" y="200"/>
                  </a:lnTo>
                  <a:close/>
                  <a:moveTo>
                    <a:pt x="954" y="198"/>
                  </a:moveTo>
                  <a:lnTo>
                    <a:pt x="956" y="198"/>
                  </a:lnTo>
                  <a:lnTo>
                    <a:pt x="956" y="200"/>
                  </a:lnTo>
                  <a:lnTo>
                    <a:pt x="954" y="200"/>
                  </a:lnTo>
                  <a:lnTo>
                    <a:pt x="952" y="200"/>
                  </a:lnTo>
                  <a:lnTo>
                    <a:pt x="954" y="200"/>
                  </a:lnTo>
                  <a:lnTo>
                    <a:pt x="952" y="200"/>
                  </a:lnTo>
                  <a:lnTo>
                    <a:pt x="950" y="200"/>
                  </a:lnTo>
                  <a:lnTo>
                    <a:pt x="952" y="200"/>
                  </a:lnTo>
                  <a:lnTo>
                    <a:pt x="952" y="198"/>
                  </a:lnTo>
                  <a:lnTo>
                    <a:pt x="952" y="200"/>
                  </a:lnTo>
                  <a:lnTo>
                    <a:pt x="952" y="198"/>
                  </a:lnTo>
                  <a:lnTo>
                    <a:pt x="954" y="198"/>
                  </a:lnTo>
                  <a:lnTo>
                    <a:pt x="954" y="200"/>
                  </a:lnTo>
                  <a:lnTo>
                    <a:pt x="954" y="198"/>
                  </a:lnTo>
                  <a:lnTo>
                    <a:pt x="956" y="198"/>
                  </a:lnTo>
                  <a:lnTo>
                    <a:pt x="954" y="198"/>
                  </a:lnTo>
                  <a:close/>
                  <a:moveTo>
                    <a:pt x="1726" y="914"/>
                  </a:moveTo>
                  <a:lnTo>
                    <a:pt x="1726" y="920"/>
                  </a:lnTo>
                  <a:lnTo>
                    <a:pt x="1726" y="914"/>
                  </a:lnTo>
                  <a:close/>
                  <a:moveTo>
                    <a:pt x="962" y="215"/>
                  </a:moveTo>
                  <a:lnTo>
                    <a:pt x="964" y="215"/>
                  </a:lnTo>
                  <a:lnTo>
                    <a:pt x="965" y="215"/>
                  </a:lnTo>
                  <a:lnTo>
                    <a:pt x="965" y="217"/>
                  </a:lnTo>
                  <a:lnTo>
                    <a:pt x="967" y="217"/>
                  </a:lnTo>
                  <a:lnTo>
                    <a:pt x="967" y="219"/>
                  </a:lnTo>
                  <a:lnTo>
                    <a:pt x="965" y="219"/>
                  </a:lnTo>
                  <a:lnTo>
                    <a:pt x="964" y="219"/>
                  </a:lnTo>
                  <a:lnTo>
                    <a:pt x="964" y="217"/>
                  </a:lnTo>
                  <a:lnTo>
                    <a:pt x="965" y="217"/>
                  </a:lnTo>
                  <a:lnTo>
                    <a:pt x="964" y="217"/>
                  </a:lnTo>
                  <a:lnTo>
                    <a:pt x="964" y="215"/>
                  </a:lnTo>
                  <a:lnTo>
                    <a:pt x="964" y="217"/>
                  </a:lnTo>
                  <a:lnTo>
                    <a:pt x="962" y="217"/>
                  </a:lnTo>
                  <a:lnTo>
                    <a:pt x="962" y="215"/>
                  </a:lnTo>
                  <a:lnTo>
                    <a:pt x="962" y="217"/>
                  </a:lnTo>
                  <a:lnTo>
                    <a:pt x="962" y="215"/>
                  </a:lnTo>
                  <a:close/>
                  <a:moveTo>
                    <a:pt x="1727" y="916"/>
                  </a:moveTo>
                  <a:lnTo>
                    <a:pt x="1731" y="916"/>
                  </a:lnTo>
                  <a:lnTo>
                    <a:pt x="1731" y="920"/>
                  </a:lnTo>
                  <a:lnTo>
                    <a:pt x="1727" y="920"/>
                  </a:lnTo>
                  <a:lnTo>
                    <a:pt x="1727" y="916"/>
                  </a:lnTo>
                  <a:close/>
                  <a:moveTo>
                    <a:pt x="238" y="601"/>
                  </a:moveTo>
                  <a:lnTo>
                    <a:pt x="238" y="603"/>
                  </a:lnTo>
                  <a:lnTo>
                    <a:pt x="240" y="601"/>
                  </a:lnTo>
                  <a:lnTo>
                    <a:pt x="240" y="603"/>
                  </a:lnTo>
                  <a:lnTo>
                    <a:pt x="242" y="603"/>
                  </a:lnTo>
                  <a:lnTo>
                    <a:pt x="244" y="603"/>
                  </a:lnTo>
                  <a:lnTo>
                    <a:pt x="242" y="603"/>
                  </a:lnTo>
                  <a:lnTo>
                    <a:pt x="240" y="603"/>
                  </a:lnTo>
                  <a:lnTo>
                    <a:pt x="238" y="603"/>
                  </a:lnTo>
                  <a:lnTo>
                    <a:pt x="238" y="601"/>
                  </a:lnTo>
                  <a:lnTo>
                    <a:pt x="240" y="601"/>
                  </a:lnTo>
                  <a:lnTo>
                    <a:pt x="238" y="601"/>
                  </a:lnTo>
                  <a:close/>
                  <a:moveTo>
                    <a:pt x="1971" y="1043"/>
                  </a:moveTo>
                  <a:lnTo>
                    <a:pt x="1975" y="1043"/>
                  </a:lnTo>
                  <a:lnTo>
                    <a:pt x="1975" y="1045"/>
                  </a:lnTo>
                  <a:lnTo>
                    <a:pt x="1971" y="1045"/>
                  </a:lnTo>
                  <a:lnTo>
                    <a:pt x="1971" y="1043"/>
                  </a:lnTo>
                  <a:close/>
                  <a:moveTo>
                    <a:pt x="1942" y="1081"/>
                  </a:moveTo>
                  <a:lnTo>
                    <a:pt x="1944" y="1081"/>
                  </a:lnTo>
                  <a:lnTo>
                    <a:pt x="1944" y="1083"/>
                  </a:lnTo>
                  <a:lnTo>
                    <a:pt x="1942" y="1083"/>
                  </a:lnTo>
                  <a:lnTo>
                    <a:pt x="1942" y="1081"/>
                  </a:lnTo>
                  <a:close/>
                  <a:moveTo>
                    <a:pt x="501" y="484"/>
                  </a:moveTo>
                  <a:lnTo>
                    <a:pt x="503" y="484"/>
                  </a:lnTo>
                  <a:lnTo>
                    <a:pt x="503" y="486"/>
                  </a:lnTo>
                  <a:lnTo>
                    <a:pt x="501" y="486"/>
                  </a:lnTo>
                  <a:lnTo>
                    <a:pt x="501" y="484"/>
                  </a:lnTo>
                  <a:close/>
                  <a:moveTo>
                    <a:pt x="962" y="202"/>
                  </a:moveTo>
                  <a:lnTo>
                    <a:pt x="964" y="202"/>
                  </a:lnTo>
                  <a:lnTo>
                    <a:pt x="964" y="204"/>
                  </a:lnTo>
                  <a:lnTo>
                    <a:pt x="964" y="202"/>
                  </a:lnTo>
                  <a:lnTo>
                    <a:pt x="964" y="204"/>
                  </a:lnTo>
                  <a:lnTo>
                    <a:pt x="964" y="202"/>
                  </a:lnTo>
                  <a:lnTo>
                    <a:pt x="964" y="204"/>
                  </a:lnTo>
                  <a:lnTo>
                    <a:pt x="965" y="204"/>
                  </a:lnTo>
                  <a:lnTo>
                    <a:pt x="964" y="204"/>
                  </a:lnTo>
                  <a:lnTo>
                    <a:pt x="962" y="204"/>
                  </a:lnTo>
                  <a:lnTo>
                    <a:pt x="960" y="204"/>
                  </a:lnTo>
                  <a:lnTo>
                    <a:pt x="960" y="202"/>
                  </a:lnTo>
                  <a:lnTo>
                    <a:pt x="962" y="202"/>
                  </a:lnTo>
                  <a:close/>
                  <a:moveTo>
                    <a:pt x="1102" y="100"/>
                  </a:moveTo>
                  <a:lnTo>
                    <a:pt x="1106" y="100"/>
                  </a:lnTo>
                  <a:lnTo>
                    <a:pt x="1106" y="104"/>
                  </a:lnTo>
                  <a:lnTo>
                    <a:pt x="1102" y="104"/>
                  </a:lnTo>
                  <a:lnTo>
                    <a:pt x="1102" y="100"/>
                  </a:lnTo>
                  <a:close/>
                  <a:moveTo>
                    <a:pt x="726" y="547"/>
                  </a:moveTo>
                  <a:lnTo>
                    <a:pt x="729" y="547"/>
                  </a:lnTo>
                  <a:lnTo>
                    <a:pt x="729" y="549"/>
                  </a:lnTo>
                  <a:lnTo>
                    <a:pt x="726" y="549"/>
                  </a:lnTo>
                  <a:lnTo>
                    <a:pt x="726" y="547"/>
                  </a:lnTo>
                  <a:close/>
                  <a:moveTo>
                    <a:pt x="967" y="179"/>
                  </a:moveTo>
                  <a:lnTo>
                    <a:pt x="969" y="179"/>
                  </a:lnTo>
                  <a:lnTo>
                    <a:pt x="969" y="182"/>
                  </a:lnTo>
                  <a:lnTo>
                    <a:pt x="967" y="182"/>
                  </a:lnTo>
                  <a:lnTo>
                    <a:pt x="967" y="179"/>
                  </a:lnTo>
                  <a:close/>
                  <a:moveTo>
                    <a:pt x="131" y="757"/>
                  </a:moveTo>
                  <a:lnTo>
                    <a:pt x="132" y="757"/>
                  </a:lnTo>
                  <a:lnTo>
                    <a:pt x="132" y="759"/>
                  </a:lnTo>
                  <a:lnTo>
                    <a:pt x="131" y="759"/>
                  </a:lnTo>
                  <a:lnTo>
                    <a:pt x="131" y="757"/>
                  </a:lnTo>
                  <a:close/>
                  <a:moveTo>
                    <a:pt x="2203" y="426"/>
                  </a:moveTo>
                  <a:lnTo>
                    <a:pt x="2201" y="428"/>
                  </a:lnTo>
                  <a:lnTo>
                    <a:pt x="2201" y="426"/>
                  </a:lnTo>
                  <a:lnTo>
                    <a:pt x="2200" y="426"/>
                  </a:lnTo>
                  <a:lnTo>
                    <a:pt x="2201" y="426"/>
                  </a:lnTo>
                  <a:lnTo>
                    <a:pt x="2203" y="426"/>
                  </a:lnTo>
                  <a:close/>
                  <a:moveTo>
                    <a:pt x="1950" y="1074"/>
                  </a:moveTo>
                  <a:lnTo>
                    <a:pt x="1952" y="1074"/>
                  </a:lnTo>
                  <a:lnTo>
                    <a:pt x="1952" y="1076"/>
                  </a:lnTo>
                  <a:lnTo>
                    <a:pt x="1950" y="1076"/>
                  </a:lnTo>
                  <a:lnTo>
                    <a:pt x="1950" y="1074"/>
                  </a:lnTo>
                  <a:close/>
                  <a:moveTo>
                    <a:pt x="507" y="484"/>
                  </a:moveTo>
                  <a:lnTo>
                    <a:pt x="509" y="484"/>
                  </a:lnTo>
                  <a:lnTo>
                    <a:pt x="509" y="488"/>
                  </a:lnTo>
                  <a:lnTo>
                    <a:pt x="507" y="488"/>
                  </a:lnTo>
                  <a:lnTo>
                    <a:pt x="507" y="484"/>
                  </a:lnTo>
                  <a:close/>
                  <a:moveTo>
                    <a:pt x="1848" y="1162"/>
                  </a:moveTo>
                  <a:lnTo>
                    <a:pt x="1852" y="1162"/>
                  </a:lnTo>
                  <a:lnTo>
                    <a:pt x="1852" y="1164"/>
                  </a:lnTo>
                  <a:lnTo>
                    <a:pt x="1848" y="1164"/>
                  </a:lnTo>
                  <a:lnTo>
                    <a:pt x="1848" y="1162"/>
                  </a:lnTo>
                  <a:close/>
                  <a:moveTo>
                    <a:pt x="1971" y="1028"/>
                  </a:moveTo>
                  <a:lnTo>
                    <a:pt x="1973" y="1028"/>
                  </a:lnTo>
                  <a:lnTo>
                    <a:pt x="1973" y="1030"/>
                  </a:lnTo>
                  <a:lnTo>
                    <a:pt x="1971" y="1030"/>
                  </a:lnTo>
                  <a:lnTo>
                    <a:pt x="1971" y="1028"/>
                  </a:lnTo>
                  <a:close/>
                  <a:moveTo>
                    <a:pt x="1954" y="1066"/>
                  </a:moveTo>
                  <a:lnTo>
                    <a:pt x="1954" y="1068"/>
                  </a:lnTo>
                  <a:lnTo>
                    <a:pt x="1954" y="1066"/>
                  </a:lnTo>
                  <a:close/>
                  <a:moveTo>
                    <a:pt x="301" y="609"/>
                  </a:moveTo>
                  <a:lnTo>
                    <a:pt x="303" y="609"/>
                  </a:lnTo>
                  <a:lnTo>
                    <a:pt x="303" y="613"/>
                  </a:lnTo>
                  <a:lnTo>
                    <a:pt x="301" y="613"/>
                  </a:lnTo>
                  <a:lnTo>
                    <a:pt x="301" y="609"/>
                  </a:lnTo>
                  <a:close/>
                  <a:moveTo>
                    <a:pt x="1892" y="789"/>
                  </a:moveTo>
                  <a:lnTo>
                    <a:pt x="1894" y="789"/>
                  </a:lnTo>
                  <a:lnTo>
                    <a:pt x="1894" y="793"/>
                  </a:lnTo>
                  <a:lnTo>
                    <a:pt x="1892" y="793"/>
                  </a:lnTo>
                  <a:lnTo>
                    <a:pt x="1892" y="789"/>
                  </a:lnTo>
                  <a:close/>
                  <a:moveTo>
                    <a:pt x="956" y="194"/>
                  </a:moveTo>
                  <a:lnTo>
                    <a:pt x="958" y="194"/>
                  </a:lnTo>
                  <a:lnTo>
                    <a:pt x="956" y="194"/>
                  </a:lnTo>
                  <a:lnTo>
                    <a:pt x="956" y="196"/>
                  </a:lnTo>
                  <a:lnTo>
                    <a:pt x="954" y="196"/>
                  </a:lnTo>
                  <a:lnTo>
                    <a:pt x="954" y="198"/>
                  </a:lnTo>
                  <a:lnTo>
                    <a:pt x="954" y="196"/>
                  </a:lnTo>
                  <a:lnTo>
                    <a:pt x="954" y="194"/>
                  </a:lnTo>
                  <a:lnTo>
                    <a:pt x="956" y="194"/>
                  </a:lnTo>
                  <a:close/>
                  <a:moveTo>
                    <a:pt x="1071" y="121"/>
                  </a:moveTo>
                  <a:lnTo>
                    <a:pt x="1073" y="121"/>
                  </a:lnTo>
                  <a:lnTo>
                    <a:pt x="1073" y="123"/>
                  </a:lnTo>
                  <a:lnTo>
                    <a:pt x="1071" y="123"/>
                  </a:lnTo>
                  <a:lnTo>
                    <a:pt x="1069" y="123"/>
                  </a:lnTo>
                  <a:lnTo>
                    <a:pt x="1067" y="123"/>
                  </a:lnTo>
                  <a:lnTo>
                    <a:pt x="1069" y="123"/>
                  </a:lnTo>
                  <a:lnTo>
                    <a:pt x="1069" y="121"/>
                  </a:lnTo>
                  <a:lnTo>
                    <a:pt x="1071" y="121"/>
                  </a:lnTo>
                  <a:close/>
                  <a:moveTo>
                    <a:pt x="196" y="440"/>
                  </a:moveTo>
                  <a:lnTo>
                    <a:pt x="200" y="440"/>
                  </a:lnTo>
                  <a:lnTo>
                    <a:pt x="200" y="442"/>
                  </a:lnTo>
                  <a:lnTo>
                    <a:pt x="196" y="442"/>
                  </a:lnTo>
                  <a:lnTo>
                    <a:pt x="196" y="440"/>
                  </a:lnTo>
                  <a:close/>
                  <a:moveTo>
                    <a:pt x="1795" y="939"/>
                  </a:moveTo>
                  <a:lnTo>
                    <a:pt x="1797" y="939"/>
                  </a:lnTo>
                  <a:lnTo>
                    <a:pt x="1797" y="941"/>
                  </a:lnTo>
                  <a:lnTo>
                    <a:pt x="1795" y="941"/>
                  </a:lnTo>
                  <a:lnTo>
                    <a:pt x="1795" y="939"/>
                  </a:lnTo>
                  <a:close/>
                  <a:moveTo>
                    <a:pt x="1706" y="910"/>
                  </a:moveTo>
                  <a:lnTo>
                    <a:pt x="1708" y="910"/>
                  </a:lnTo>
                  <a:lnTo>
                    <a:pt x="1708" y="912"/>
                  </a:lnTo>
                  <a:lnTo>
                    <a:pt x="1706" y="912"/>
                  </a:lnTo>
                  <a:lnTo>
                    <a:pt x="1706" y="910"/>
                  </a:lnTo>
                  <a:close/>
                  <a:moveTo>
                    <a:pt x="1963" y="1047"/>
                  </a:moveTo>
                  <a:lnTo>
                    <a:pt x="1965" y="1047"/>
                  </a:lnTo>
                  <a:lnTo>
                    <a:pt x="1965" y="1049"/>
                  </a:lnTo>
                  <a:lnTo>
                    <a:pt x="1963" y="1049"/>
                  </a:lnTo>
                  <a:lnTo>
                    <a:pt x="1963" y="1047"/>
                  </a:lnTo>
                  <a:close/>
                  <a:moveTo>
                    <a:pt x="0" y="912"/>
                  </a:moveTo>
                  <a:lnTo>
                    <a:pt x="4" y="912"/>
                  </a:lnTo>
                  <a:lnTo>
                    <a:pt x="4" y="918"/>
                  </a:lnTo>
                  <a:lnTo>
                    <a:pt x="0" y="918"/>
                  </a:lnTo>
                  <a:lnTo>
                    <a:pt x="0" y="912"/>
                  </a:lnTo>
                  <a:close/>
                  <a:moveTo>
                    <a:pt x="108" y="764"/>
                  </a:moveTo>
                  <a:lnTo>
                    <a:pt x="108" y="766"/>
                  </a:lnTo>
                  <a:lnTo>
                    <a:pt x="108" y="764"/>
                  </a:lnTo>
                  <a:close/>
                  <a:moveTo>
                    <a:pt x="1737" y="901"/>
                  </a:moveTo>
                  <a:lnTo>
                    <a:pt x="1737" y="903"/>
                  </a:lnTo>
                  <a:lnTo>
                    <a:pt x="1737" y="901"/>
                  </a:lnTo>
                  <a:close/>
                  <a:moveTo>
                    <a:pt x="420" y="1116"/>
                  </a:moveTo>
                  <a:lnTo>
                    <a:pt x="422" y="1116"/>
                  </a:lnTo>
                  <a:lnTo>
                    <a:pt x="422" y="1118"/>
                  </a:lnTo>
                  <a:lnTo>
                    <a:pt x="420" y="1118"/>
                  </a:lnTo>
                  <a:lnTo>
                    <a:pt x="420" y="1116"/>
                  </a:lnTo>
                  <a:close/>
                  <a:moveTo>
                    <a:pt x="129" y="757"/>
                  </a:moveTo>
                  <a:lnTo>
                    <a:pt x="131" y="757"/>
                  </a:lnTo>
                  <a:lnTo>
                    <a:pt x="131" y="759"/>
                  </a:lnTo>
                  <a:lnTo>
                    <a:pt x="129" y="759"/>
                  </a:lnTo>
                  <a:lnTo>
                    <a:pt x="129" y="757"/>
                  </a:lnTo>
                  <a:close/>
                  <a:moveTo>
                    <a:pt x="1649" y="1176"/>
                  </a:moveTo>
                  <a:lnTo>
                    <a:pt x="1651" y="1176"/>
                  </a:lnTo>
                  <a:lnTo>
                    <a:pt x="1651" y="1177"/>
                  </a:lnTo>
                  <a:lnTo>
                    <a:pt x="1649" y="1177"/>
                  </a:lnTo>
                  <a:lnTo>
                    <a:pt x="1649" y="1176"/>
                  </a:lnTo>
                  <a:close/>
                  <a:moveTo>
                    <a:pt x="131" y="747"/>
                  </a:moveTo>
                  <a:lnTo>
                    <a:pt x="132" y="747"/>
                  </a:lnTo>
                  <a:lnTo>
                    <a:pt x="132" y="751"/>
                  </a:lnTo>
                  <a:lnTo>
                    <a:pt x="131" y="751"/>
                  </a:lnTo>
                  <a:lnTo>
                    <a:pt x="131" y="747"/>
                  </a:lnTo>
                  <a:close/>
                  <a:moveTo>
                    <a:pt x="238" y="607"/>
                  </a:moveTo>
                  <a:lnTo>
                    <a:pt x="240" y="607"/>
                  </a:lnTo>
                  <a:lnTo>
                    <a:pt x="238" y="607"/>
                  </a:lnTo>
                  <a:close/>
                  <a:moveTo>
                    <a:pt x="146" y="766"/>
                  </a:moveTo>
                  <a:lnTo>
                    <a:pt x="150" y="766"/>
                  </a:lnTo>
                  <a:lnTo>
                    <a:pt x="150" y="768"/>
                  </a:lnTo>
                  <a:lnTo>
                    <a:pt x="146" y="768"/>
                  </a:lnTo>
                  <a:lnTo>
                    <a:pt x="146" y="766"/>
                  </a:lnTo>
                  <a:close/>
                  <a:moveTo>
                    <a:pt x="129" y="753"/>
                  </a:moveTo>
                  <a:lnTo>
                    <a:pt x="131" y="753"/>
                  </a:lnTo>
                  <a:lnTo>
                    <a:pt x="131" y="757"/>
                  </a:lnTo>
                  <a:lnTo>
                    <a:pt x="129" y="757"/>
                  </a:lnTo>
                  <a:lnTo>
                    <a:pt x="129" y="753"/>
                  </a:lnTo>
                  <a:close/>
                  <a:moveTo>
                    <a:pt x="131" y="751"/>
                  </a:moveTo>
                  <a:lnTo>
                    <a:pt x="132" y="751"/>
                  </a:lnTo>
                  <a:lnTo>
                    <a:pt x="132" y="753"/>
                  </a:lnTo>
                  <a:lnTo>
                    <a:pt x="131" y="753"/>
                  </a:lnTo>
                  <a:lnTo>
                    <a:pt x="131" y="751"/>
                  </a:lnTo>
                  <a:close/>
                  <a:moveTo>
                    <a:pt x="1919" y="1101"/>
                  </a:moveTo>
                  <a:lnTo>
                    <a:pt x="1921" y="1101"/>
                  </a:lnTo>
                  <a:lnTo>
                    <a:pt x="1919" y="1101"/>
                  </a:lnTo>
                  <a:close/>
                  <a:moveTo>
                    <a:pt x="298" y="615"/>
                  </a:moveTo>
                  <a:lnTo>
                    <a:pt x="301" y="615"/>
                  </a:lnTo>
                  <a:lnTo>
                    <a:pt x="301" y="617"/>
                  </a:lnTo>
                  <a:lnTo>
                    <a:pt x="298" y="617"/>
                  </a:lnTo>
                  <a:lnTo>
                    <a:pt x="298" y="615"/>
                  </a:lnTo>
                  <a:close/>
                  <a:moveTo>
                    <a:pt x="119" y="766"/>
                  </a:moveTo>
                  <a:lnTo>
                    <a:pt x="121" y="766"/>
                  </a:lnTo>
                  <a:lnTo>
                    <a:pt x="121" y="768"/>
                  </a:lnTo>
                  <a:lnTo>
                    <a:pt x="119" y="768"/>
                  </a:lnTo>
                  <a:lnTo>
                    <a:pt x="119" y="766"/>
                  </a:lnTo>
                  <a:close/>
                  <a:moveTo>
                    <a:pt x="950" y="232"/>
                  </a:moveTo>
                  <a:lnTo>
                    <a:pt x="952" y="232"/>
                  </a:lnTo>
                  <a:lnTo>
                    <a:pt x="952" y="234"/>
                  </a:lnTo>
                  <a:lnTo>
                    <a:pt x="950" y="234"/>
                  </a:lnTo>
                  <a:lnTo>
                    <a:pt x="950" y="232"/>
                  </a:lnTo>
                  <a:close/>
                  <a:moveTo>
                    <a:pt x="2090" y="720"/>
                  </a:moveTo>
                  <a:lnTo>
                    <a:pt x="2092" y="720"/>
                  </a:lnTo>
                  <a:lnTo>
                    <a:pt x="2090" y="720"/>
                  </a:lnTo>
                  <a:close/>
                  <a:moveTo>
                    <a:pt x="1777" y="1104"/>
                  </a:moveTo>
                  <a:lnTo>
                    <a:pt x="1779" y="1104"/>
                  </a:lnTo>
                  <a:lnTo>
                    <a:pt x="1779" y="1106"/>
                  </a:lnTo>
                  <a:lnTo>
                    <a:pt x="1777" y="1106"/>
                  </a:lnTo>
                  <a:lnTo>
                    <a:pt x="1777" y="1104"/>
                  </a:lnTo>
                  <a:close/>
                  <a:moveTo>
                    <a:pt x="298" y="617"/>
                  </a:moveTo>
                  <a:lnTo>
                    <a:pt x="298" y="618"/>
                  </a:lnTo>
                  <a:lnTo>
                    <a:pt x="298" y="617"/>
                  </a:lnTo>
                  <a:close/>
                  <a:moveTo>
                    <a:pt x="422" y="1114"/>
                  </a:moveTo>
                  <a:lnTo>
                    <a:pt x="422" y="1116"/>
                  </a:lnTo>
                  <a:lnTo>
                    <a:pt x="422" y="1114"/>
                  </a:lnTo>
                  <a:close/>
                  <a:moveTo>
                    <a:pt x="958" y="209"/>
                  </a:moveTo>
                  <a:lnTo>
                    <a:pt x="960" y="209"/>
                  </a:lnTo>
                  <a:lnTo>
                    <a:pt x="958" y="209"/>
                  </a:lnTo>
                  <a:close/>
                  <a:moveTo>
                    <a:pt x="1846" y="1164"/>
                  </a:moveTo>
                  <a:lnTo>
                    <a:pt x="1848" y="1164"/>
                  </a:lnTo>
                  <a:lnTo>
                    <a:pt x="1846" y="1164"/>
                  </a:lnTo>
                  <a:close/>
                  <a:moveTo>
                    <a:pt x="219" y="448"/>
                  </a:moveTo>
                  <a:lnTo>
                    <a:pt x="223" y="448"/>
                  </a:lnTo>
                  <a:lnTo>
                    <a:pt x="219" y="448"/>
                  </a:lnTo>
                  <a:close/>
                  <a:moveTo>
                    <a:pt x="117" y="822"/>
                  </a:moveTo>
                  <a:lnTo>
                    <a:pt x="117" y="824"/>
                  </a:lnTo>
                  <a:lnTo>
                    <a:pt x="117" y="822"/>
                  </a:lnTo>
                  <a:close/>
                  <a:moveTo>
                    <a:pt x="983" y="179"/>
                  </a:moveTo>
                  <a:lnTo>
                    <a:pt x="985" y="179"/>
                  </a:lnTo>
                  <a:lnTo>
                    <a:pt x="983" y="179"/>
                  </a:lnTo>
                  <a:close/>
                  <a:moveTo>
                    <a:pt x="1919" y="1101"/>
                  </a:moveTo>
                  <a:lnTo>
                    <a:pt x="1919" y="1103"/>
                  </a:lnTo>
                  <a:lnTo>
                    <a:pt x="1919" y="1101"/>
                  </a:lnTo>
                  <a:close/>
                  <a:moveTo>
                    <a:pt x="1639" y="1174"/>
                  </a:moveTo>
                  <a:lnTo>
                    <a:pt x="1641" y="1174"/>
                  </a:lnTo>
                  <a:lnTo>
                    <a:pt x="1639" y="1174"/>
                  </a:lnTo>
                  <a:close/>
                  <a:moveTo>
                    <a:pt x="1848" y="1164"/>
                  </a:moveTo>
                  <a:lnTo>
                    <a:pt x="1850" y="1164"/>
                  </a:lnTo>
                  <a:lnTo>
                    <a:pt x="1848" y="1164"/>
                  </a:lnTo>
                  <a:close/>
                  <a:moveTo>
                    <a:pt x="964" y="177"/>
                  </a:moveTo>
                  <a:lnTo>
                    <a:pt x="965" y="177"/>
                  </a:lnTo>
                  <a:lnTo>
                    <a:pt x="965" y="179"/>
                  </a:lnTo>
                  <a:lnTo>
                    <a:pt x="964" y="179"/>
                  </a:lnTo>
                  <a:lnTo>
                    <a:pt x="964" y="177"/>
                  </a:lnTo>
                  <a:close/>
                  <a:moveTo>
                    <a:pt x="1852" y="1160"/>
                  </a:moveTo>
                  <a:lnTo>
                    <a:pt x="1854" y="1160"/>
                  </a:lnTo>
                  <a:lnTo>
                    <a:pt x="1852" y="1160"/>
                  </a:lnTo>
                  <a:close/>
                  <a:moveTo>
                    <a:pt x="109" y="770"/>
                  </a:moveTo>
                  <a:lnTo>
                    <a:pt x="111" y="770"/>
                  </a:lnTo>
                  <a:lnTo>
                    <a:pt x="111" y="772"/>
                  </a:lnTo>
                  <a:lnTo>
                    <a:pt x="109" y="772"/>
                  </a:lnTo>
                  <a:lnTo>
                    <a:pt x="109" y="770"/>
                  </a:lnTo>
                  <a:close/>
                  <a:moveTo>
                    <a:pt x="296" y="618"/>
                  </a:moveTo>
                  <a:lnTo>
                    <a:pt x="298" y="618"/>
                  </a:lnTo>
                  <a:lnTo>
                    <a:pt x="296" y="618"/>
                  </a:lnTo>
                  <a:close/>
                  <a:moveTo>
                    <a:pt x="958" y="206"/>
                  </a:moveTo>
                  <a:lnTo>
                    <a:pt x="960" y="206"/>
                  </a:lnTo>
                  <a:lnTo>
                    <a:pt x="958" y="206"/>
                  </a:lnTo>
                  <a:close/>
                  <a:moveTo>
                    <a:pt x="131" y="747"/>
                  </a:moveTo>
                  <a:lnTo>
                    <a:pt x="131" y="749"/>
                  </a:lnTo>
                  <a:lnTo>
                    <a:pt x="131" y="747"/>
                  </a:lnTo>
                  <a:close/>
                  <a:moveTo>
                    <a:pt x="958" y="207"/>
                  </a:moveTo>
                  <a:lnTo>
                    <a:pt x="960" y="207"/>
                  </a:lnTo>
                  <a:lnTo>
                    <a:pt x="958" y="207"/>
                  </a:lnTo>
                  <a:close/>
                  <a:moveTo>
                    <a:pt x="127" y="766"/>
                  </a:moveTo>
                  <a:lnTo>
                    <a:pt x="129" y="766"/>
                  </a:lnTo>
                  <a:lnTo>
                    <a:pt x="127" y="766"/>
                  </a:lnTo>
                  <a:close/>
                  <a:moveTo>
                    <a:pt x="975" y="173"/>
                  </a:moveTo>
                  <a:lnTo>
                    <a:pt x="977" y="173"/>
                  </a:lnTo>
                  <a:lnTo>
                    <a:pt x="977" y="175"/>
                  </a:lnTo>
                  <a:lnTo>
                    <a:pt x="975" y="175"/>
                  </a:lnTo>
                  <a:lnTo>
                    <a:pt x="975" y="173"/>
                  </a:lnTo>
                  <a:close/>
                  <a:moveTo>
                    <a:pt x="958" y="177"/>
                  </a:moveTo>
                  <a:lnTo>
                    <a:pt x="960" y="177"/>
                  </a:lnTo>
                  <a:lnTo>
                    <a:pt x="960" y="179"/>
                  </a:lnTo>
                  <a:lnTo>
                    <a:pt x="958" y="179"/>
                  </a:lnTo>
                  <a:lnTo>
                    <a:pt x="958" y="177"/>
                  </a:lnTo>
                  <a:close/>
                  <a:moveTo>
                    <a:pt x="1639" y="1174"/>
                  </a:moveTo>
                  <a:lnTo>
                    <a:pt x="1639" y="1176"/>
                  </a:lnTo>
                  <a:lnTo>
                    <a:pt x="1639" y="1174"/>
                  </a:lnTo>
                  <a:close/>
                  <a:moveTo>
                    <a:pt x="202" y="449"/>
                  </a:moveTo>
                  <a:lnTo>
                    <a:pt x="204" y="449"/>
                  </a:lnTo>
                  <a:lnTo>
                    <a:pt x="202" y="449"/>
                  </a:lnTo>
                  <a:close/>
                  <a:moveTo>
                    <a:pt x="960" y="182"/>
                  </a:moveTo>
                  <a:lnTo>
                    <a:pt x="962" y="182"/>
                  </a:lnTo>
                  <a:lnTo>
                    <a:pt x="960" y="182"/>
                  </a:lnTo>
                  <a:close/>
                  <a:moveTo>
                    <a:pt x="298" y="620"/>
                  </a:moveTo>
                  <a:lnTo>
                    <a:pt x="299" y="620"/>
                  </a:lnTo>
                  <a:lnTo>
                    <a:pt x="298" y="620"/>
                  </a:lnTo>
                  <a:close/>
                  <a:moveTo>
                    <a:pt x="960" y="215"/>
                  </a:moveTo>
                  <a:lnTo>
                    <a:pt x="962" y="215"/>
                  </a:lnTo>
                  <a:lnTo>
                    <a:pt x="960" y="215"/>
                  </a:lnTo>
                  <a:close/>
                  <a:moveTo>
                    <a:pt x="154" y="770"/>
                  </a:moveTo>
                  <a:lnTo>
                    <a:pt x="156" y="770"/>
                  </a:lnTo>
                  <a:lnTo>
                    <a:pt x="154" y="770"/>
                  </a:lnTo>
                  <a:close/>
                  <a:moveTo>
                    <a:pt x="119" y="753"/>
                  </a:moveTo>
                  <a:lnTo>
                    <a:pt x="119" y="755"/>
                  </a:lnTo>
                  <a:lnTo>
                    <a:pt x="119" y="753"/>
                  </a:lnTo>
                  <a:close/>
                  <a:moveTo>
                    <a:pt x="148" y="766"/>
                  </a:moveTo>
                  <a:lnTo>
                    <a:pt x="150" y="766"/>
                  </a:lnTo>
                  <a:lnTo>
                    <a:pt x="148" y="766"/>
                  </a:lnTo>
                  <a:close/>
                  <a:moveTo>
                    <a:pt x="129" y="749"/>
                  </a:moveTo>
                  <a:lnTo>
                    <a:pt x="129" y="751"/>
                  </a:lnTo>
                  <a:lnTo>
                    <a:pt x="129" y="749"/>
                  </a:lnTo>
                  <a:close/>
                  <a:moveTo>
                    <a:pt x="202" y="448"/>
                  </a:moveTo>
                  <a:lnTo>
                    <a:pt x="204" y="448"/>
                  </a:lnTo>
                  <a:lnTo>
                    <a:pt x="204" y="449"/>
                  </a:lnTo>
                  <a:lnTo>
                    <a:pt x="202" y="449"/>
                  </a:lnTo>
                  <a:lnTo>
                    <a:pt x="202" y="448"/>
                  </a:lnTo>
                  <a:close/>
                  <a:moveTo>
                    <a:pt x="131" y="747"/>
                  </a:moveTo>
                  <a:lnTo>
                    <a:pt x="131" y="749"/>
                  </a:lnTo>
                  <a:lnTo>
                    <a:pt x="131" y="747"/>
                  </a:lnTo>
                  <a:close/>
                  <a:moveTo>
                    <a:pt x="194" y="444"/>
                  </a:moveTo>
                  <a:lnTo>
                    <a:pt x="194" y="446"/>
                  </a:lnTo>
                  <a:lnTo>
                    <a:pt x="194" y="444"/>
                  </a:lnTo>
                  <a:close/>
                  <a:moveTo>
                    <a:pt x="186" y="440"/>
                  </a:moveTo>
                  <a:lnTo>
                    <a:pt x="188" y="440"/>
                  </a:lnTo>
                  <a:lnTo>
                    <a:pt x="186" y="440"/>
                  </a:lnTo>
                  <a:close/>
                  <a:moveTo>
                    <a:pt x="303" y="618"/>
                  </a:moveTo>
                  <a:lnTo>
                    <a:pt x="303" y="620"/>
                  </a:lnTo>
                  <a:lnTo>
                    <a:pt x="303" y="618"/>
                  </a:lnTo>
                  <a:close/>
                  <a:moveTo>
                    <a:pt x="194" y="438"/>
                  </a:moveTo>
                  <a:lnTo>
                    <a:pt x="194" y="440"/>
                  </a:lnTo>
                  <a:lnTo>
                    <a:pt x="194" y="438"/>
                  </a:lnTo>
                  <a:close/>
                  <a:moveTo>
                    <a:pt x="301" y="618"/>
                  </a:moveTo>
                  <a:lnTo>
                    <a:pt x="301" y="620"/>
                  </a:lnTo>
                  <a:lnTo>
                    <a:pt x="301" y="618"/>
                  </a:lnTo>
                  <a:close/>
                  <a:moveTo>
                    <a:pt x="303" y="620"/>
                  </a:moveTo>
                  <a:lnTo>
                    <a:pt x="305" y="620"/>
                  </a:lnTo>
                  <a:lnTo>
                    <a:pt x="303" y="620"/>
                  </a:lnTo>
                  <a:close/>
                  <a:moveTo>
                    <a:pt x="1637" y="1176"/>
                  </a:moveTo>
                  <a:lnTo>
                    <a:pt x="1637" y="1177"/>
                  </a:lnTo>
                  <a:lnTo>
                    <a:pt x="1637" y="1176"/>
                  </a:lnTo>
                  <a:close/>
                  <a:moveTo>
                    <a:pt x="129" y="755"/>
                  </a:moveTo>
                  <a:lnTo>
                    <a:pt x="129" y="757"/>
                  </a:lnTo>
                  <a:lnTo>
                    <a:pt x="129" y="755"/>
                  </a:lnTo>
                  <a:close/>
                  <a:moveTo>
                    <a:pt x="202" y="444"/>
                  </a:moveTo>
                  <a:lnTo>
                    <a:pt x="204" y="444"/>
                  </a:lnTo>
                  <a:lnTo>
                    <a:pt x="204" y="446"/>
                  </a:lnTo>
                  <a:lnTo>
                    <a:pt x="202" y="446"/>
                  </a:lnTo>
                  <a:lnTo>
                    <a:pt x="202" y="444"/>
                  </a:lnTo>
                  <a:close/>
                  <a:moveTo>
                    <a:pt x="1637" y="1176"/>
                  </a:moveTo>
                  <a:lnTo>
                    <a:pt x="1639" y="1176"/>
                  </a:lnTo>
                  <a:lnTo>
                    <a:pt x="1637" y="1176"/>
                  </a:lnTo>
                  <a:close/>
                  <a:moveTo>
                    <a:pt x="1639" y="1174"/>
                  </a:moveTo>
                  <a:lnTo>
                    <a:pt x="1639" y="1176"/>
                  </a:lnTo>
                  <a:lnTo>
                    <a:pt x="1639" y="1174"/>
                  </a:lnTo>
                  <a:close/>
                </a:path>
              </a:pathLst>
            </a:custGeom>
            <a:solidFill>
              <a:schemeClr val="accent1">
                <a:lumMod val="50000"/>
              </a:schemeClr>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404">
              <a:extLst>
                <a:ext uri="{FF2B5EF4-FFF2-40B4-BE49-F238E27FC236}">
                  <a16:creationId xmlns:a16="http://schemas.microsoft.com/office/drawing/2014/main" id="{CFE6CA7C-9211-47ED-B08A-735005EBCF7E}"/>
                </a:ext>
              </a:extLst>
            </p:cNvPr>
            <p:cNvSpPr>
              <a:spLocks noEditPoints="1"/>
            </p:cNvSpPr>
            <p:nvPr/>
          </p:nvSpPr>
          <p:spPr bwMode="gray">
            <a:xfrm>
              <a:off x="5437815" y="3511756"/>
              <a:ext cx="115279" cy="123864"/>
            </a:xfrm>
            <a:custGeom>
              <a:avLst/>
              <a:gdLst>
                <a:gd name="T0" fmla="*/ 88 w 94"/>
                <a:gd name="T1" fmla="*/ 17 h 101"/>
                <a:gd name="T2" fmla="*/ 82 w 94"/>
                <a:gd name="T3" fmla="*/ 21 h 101"/>
                <a:gd name="T4" fmla="*/ 78 w 94"/>
                <a:gd name="T5" fmla="*/ 26 h 101"/>
                <a:gd name="T6" fmla="*/ 80 w 94"/>
                <a:gd name="T7" fmla="*/ 34 h 101"/>
                <a:gd name="T8" fmla="*/ 73 w 94"/>
                <a:gd name="T9" fmla="*/ 44 h 101"/>
                <a:gd name="T10" fmla="*/ 69 w 94"/>
                <a:gd name="T11" fmla="*/ 50 h 101"/>
                <a:gd name="T12" fmla="*/ 59 w 94"/>
                <a:gd name="T13" fmla="*/ 57 h 101"/>
                <a:gd name="T14" fmla="*/ 50 w 94"/>
                <a:gd name="T15" fmla="*/ 61 h 101"/>
                <a:gd name="T16" fmla="*/ 48 w 94"/>
                <a:gd name="T17" fmla="*/ 65 h 101"/>
                <a:gd name="T18" fmla="*/ 46 w 94"/>
                <a:gd name="T19" fmla="*/ 69 h 101"/>
                <a:gd name="T20" fmla="*/ 46 w 94"/>
                <a:gd name="T21" fmla="*/ 71 h 101"/>
                <a:gd name="T22" fmla="*/ 48 w 94"/>
                <a:gd name="T23" fmla="*/ 75 h 101"/>
                <a:gd name="T24" fmla="*/ 53 w 94"/>
                <a:gd name="T25" fmla="*/ 78 h 101"/>
                <a:gd name="T26" fmla="*/ 59 w 94"/>
                <a:gd name="T27" fmla="*/ 82 h 101"/>
                <a:gd name="T28" fmla="*/ 57 w 94"/>
                <a:gd name="T29" fmla="*/ 90 h 101"/>
                <a:gd name="T30" fmla="*/ 52 w 94"/>
                <a:gd name="T31" fmla="*/ 90 h 101"/>
                <a:gd name="T32" fmla="*/ 42 w 94"/>
                <a:gd name="T33" fmla="*/ 90 h 101"/>
                <a:gd name="T34" fmla="*/ 38 w 94"/>
                <a:gd name="T35" fmla="*/ 96 h 101"/>
                <a:gd name="T36" fmla="*/ 36 w 94"/>
                <a:gd name="T37" fmla="*/ 96 h 101"/>
                <a:gd name="T38" fmla="*/ 27 w 94"/>
                <a:gd name="T39" fmla="*/ 99 h 101"/>
                <a:gd name="T40" fmla="*/ 23 w 94"/>
                <a:gd name="T41" fmla="*/ 98 h 101"/>
                <a:gd name="T42" fmla="*/ 21 w 94"/>
                <a:gd name="T43" fmla="*/ 94 h 101"/>
                <a:gd name="T44" fmla="*/ 23 w 94"/>
                <a:gd name="T45" fmla="*/ 98 h 101"/>
                <a:gd name="T46" fmla="*/ 15 w 94"/>
                <a:gd name="T47" fmla="*/ 99 h 101"/>
                <a:gd name="T48" fmla="*/ 19 w 94"/>
                <a:gd name="T49" fmla="*/ 98 h 101"/>
                <a:gd name="T50" fmla="*/ 15 w 94"/>
                <a:gd name="T51" fmla="*/ 96 h 101"/>
                <a:gd name="T52" fmla="*/ 15 w 94"/>
                <a:gd name="T53" fmla="*/ 94 h 101"/>
                <a:gd name="T54" fmla="*/ 5 w 94"/>
                <a:gd name="T55" fmla="*/ 94 h 101"/>
                <a:gd name="T56" fmla="*/ 9 w 94"/>
                <a:gd name="T57" fmla="*/ 92 h 101"/>
                <a:gd name="T58" fmla="*/ 11 w 94"/>
                <a:gd name="T59" fmla="*/ 84 h 101"/>
                <a:gd name="T60" fmla="*/ 15 w 94"/>
                <a:gd name="T61" fmla="*/ 82 h 101"/>
                <a:gd name="T62" fmla="*/ 17 w 94"/>
                <a:gd name="T63" fmla="*/ 73 h 101"/>
                <a:gd name="T64" fmla="*/ 17 w 94"/>
                <a:gd name="T65" fmla="*/ 67 h 101"/>
                <a:gd name="T66" fmla="*/ 11 w 94"/>
                <a:gd name="T67" fmla="*/ 65 h 101"/>
                <a:gd name="T68" fmla="*/ 5 w 94"/>
                <a:gd name="T69" fmla="*/ 65 h 101"/>
                <a:gd name="T70" fmla="*/ 2 w 94"/>
                <a:gd name="T71" fmla="*/ 59 h 101"/>
                <a:gd name="T72" fmla="*/ 9 w 94"/>
                <a:gd name="T73" fmla="*/ 50 h 101"/>
                <a:gd name="T74" fmla="*/ 17 w 94"/>
                <a:gd name="T75" fmla="*/ 44 h 101"/>
                <a:gd name="T76" fmla="*/ 23 w 94"/>
                <a:gd name="T77" fmla="*/ 42 h 101"/>
                <a:gd name="T78" fmla="*/ 29 w 94"/>
                <a:gd name="T79" fmla="*/ 38 h 101"/>
                <a:gd name="T80" fmla="*/ 32 w 94"/>
                <a:gd name="T81" fmla="*/ 32 h 101"/>
                <a:gd name="T82" fmla="*/ 36 w 94"/>
                <a:gd name="T83" fmla="*/ 26 h 101"/>
                <a:gd name="T84" fmla="*/ 42 w 94"/>
                <a:gd name="T85" fmla="*/ 26 h 101"/>
                <a:gd name="T86" fmla="*/ 48 w 94"/>
                <a:gd name="T87" fmla="*/ 30 h 101"/>
                <a:gd name="T88" fmla="*/ 57 w 94"/>
                <a:gd name="T89" fmla="*/ 30 h 101"/>
                <a:gd name="T90" fmla="*/ 57 w 94"/>
                <a:gd name="T91" fmla="*/ 21 h 101"/>
                <a:gd name="T92" fmla="*/ 67 w 94"/>
                <a:gd name="T93" fmla="*/ 19 h 101"/>
                <a:gd name="T94" fmla="*/ 73 w 94"/>
                <a:gd name="T95" fmla="*/ 11 h 101"/>
                <a:gd name="T96" fmla="*/ 78 w 94"/>
                <a:gd name="T97" fmla="*/ 11 h 101"/>
                <a:gd name="T98" fmla="*/ 80 w 94"/>
                <a:gd name="T99" fmla="*/ 3 h 101"/>
                <a:gd name="T100" fmla="*/ 88 w 94"/>
                <a:gd name="T101" fmla="*/ 2 h 101"/>
                <a:gd name="T102" fmla="*/ 92 w 94"/>
                <a:gd name="T103" fmla="*/ 11 h 101"/>
                <a:gd name="T104" fmla="*/ 7 w 94"/>
                <a:gd name="T105" fmla="*/ 84 h 101"/>
                <a:gd name="T106" fmla="*/ 5 w 94"/>
                <a:gd name="T107" fmla="*/ 67 h 101"/>
                <a:gd name="T108" fmla="*/ 11 w 94"/>
                <a:gd name="T109" fmla="*/ 99 h 101"/>
                <a:gd name="T110" fmla="*/ 17 w 94"/>
                <a:gd name="T111" fmla="*/ 98 h 101"/>
                <a:gd name="T112" fmla="*/ 13 w 94"/>
                <a:gd name="T113" fmla="*/ 67 h 101"/>
                <a:gd name="T114" fmla="*/ 48 w 94"/>
                <a:gd name="T115" fmla="*/ 63 h 101"/>
                <a:gd name="T116" fmla="*/ 11 w 94"/>
                <a:gd name="T117" fmla="*/ 84 h 101"/>
                <a:gd name="T118" fmla="*/ 50 w 94"/>
                <a:gd name="T119" fmla="*/ 73 h 101"/>
                <a:gd name="T120" fmla="*/ 7 w 94"/>
                <a:gd name="T121" fmla="*/ 84 h 101"/>
                <a:gd name="T122" fmla="*/ 13 w 94"/>
                <a:gd name="T123" fmla="*/ 9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 h="101">
                  <a:moveTo>
                    <a:pt x="94" y="11"/>
                  </a:moveTo>
                  <a:lnTo>
                    <a:pt x="94" y="13"/>
                  </a:lnTo>
                  <a:lnTo>
                    <a:pt x="92" y="13"/>
                  </a:lnTo>
                  <a:lnTo>
                    <a:pt x="90" y="13"/>
                  </a:lnTo>
                  <a:lnTo>
                    <a:pt x="92" y="13"/>
                  </a:lnTo>
                  <a:lnTo>
                    <a:pt x="90" y="13"/>
                  </a:lnTo>
                  <a:lnTo>
                    <a:pt x="90" y="15"/>
                  </a:lnTo>
                  <a:lnTo>
                    <a:pt x="88" y="15"/>
                  </a:lnTo>
                  <a:lnTo>
                    <a:pt x="88" y="17"/>
                  </a:lnTo>
                  <a:lnTo>
                    <a:pt x="88" y="15"/>
                  </a:lnTo>
                  <a:lnTo>
                    <a:pt x="88" y="17"/>
                  </a:lnTo>
                  <a:lnTo>
                    <a:pt x="86" y="17"/>
                  </a:lnTo>
                  <a:lnTo>
                    <a:pt x="86" y="19"/>
                  </a:lnTo>
                  <a:lnTo>
                    <a:pt x="86" y="17"/>
                  </a:lnTo>
                  <a:lnTo>
                    <a:pt x="84" y="17"/>
                  </a:lnTo>
                  <a:lnTo>
                    <a:pt x="84" y="19"/>
                  </a:lnTo>
                  <a:lnTo>
                    <a:pt x="84" y="21"/>
                  </a:lnTo>
                  <a:lnTo>
                    <a:pt x="82" y="21"/>
                  </a:lnTo>
                  <a:lnTo>
                    <a:pt x="82" y="23"/>
                  </a:lnTo>
                  <a:lnTo>
                    <a:pt x="80" y="23"/>
                  </a:lnTo>
                  <a:lnTo>
                    <a:pt x="80" y="25"/>
                  </a:lnTo>
                  <a:lnTo>
                    <a:pt x="80" y="23"/>
                  </a:lnTo>
                  <a:lnTo>
                    <a:pt x="80" y="25"/>
                  </a:lnTo>
                  <a:lnTo>
                    <a:pt x="80" y="26"/>
                  </a:lnTo>
                  <a:lnTo>
                    <a:pt x="78" y="26"/>
                  </a:lnTo>
                  <a:lnTo>
                    <a:pt x="80" y="26"/>
                  </a:lnTo>
                  <a:lnTo>
                    <a:pt x="78" y="26"/>
                  </a:lnTo>
                  <a:lnTo>
                    <a:pt x="78" y="28"/>
                  </a:lnTo>
                  <a:lnTo>
                    <a:pt x="80" y="28"/>
                  </a:lnTo>
                  <a:lnTo>
                    <a:pt x="80" y="30"/>
                  </a:lnTo>
                  <a:lnTo>
                    <a:pt x="82" y="30"/>
                  </a:lnTo>
                  <a:lnTo>
                    <a:pt x="82" y="32"/>
                  </a:lnTo>
                  <a:lnTo>
                    <a:pt x="80" y="32"/>
                  </a:lnTo>
                  <a:lnTo>
                    <a:pt x="80" y="34"/>
                  </a:lnTo>
                  <a:lnTo>
                    <a:pt x="80" y="32"/>
                  </a:lnTo>
                  <a:lnTo>
                    <a:pt x="80" y="34"/>
                  </a:lnTo>
                  <a:lnTo>
                    <a:pt x="80" y="36"/>
                  </a:lnTo>
                  <a:lnTo>
                    <a:pt x="80" y="38"/>
                  </a:lnTo>
                  <a:lnTo>
                    <a:pt x="80" y="40"/>
                  </a:lnTo>
                  <a:lnTo>
                    <a:pt x="80" y="42"/>
                  </a:lnTo>
                  <a:lnTo>
                    <a:pt x="78" y="42"/>
                  </a:lnTo>
                  <a:lnTo>
                    <a:pt x="77" y="42"/>
                  </a:lnTo>
                  <a:lnTo>
                    <a:pt x="77" y="44"/>
                  </a:lnTo>
                  <a:lnTo>
                    <a:pt x="75" y="44"/>
                  </a:lnTo>
                  <a:lnTo>
                    <a:pt x="73" y="44"/>
                  </a:lnTo>
                  <a:lnTo>
                    <a:pt x="73" y="46"/>
                  </a:lnTo>
                  <a:lnTo>
                    <a:pt x="73" y="44"/>
                  </a:lnTo>
                  <a:lnTo>
                    <a:pt x="73" y="46"/>
                  </a:lnTo>
                  <a:lnTo>
                    <a:pt x="73" y="48"/>
                  </a:lnTo>
                  <a:lnTo>
                    <a:pt x="71" y="48"/>
                  </a:lnTo>
                  <a:lnTo>
                    <a:pt x="71" y="50"/>
                  </a:lnTo>
                  <a:lnTo>
                    <a:pt x="71" y="48"/>
                  </a:lnTo>
                  <a:lnTo>
                    <a:pt x="71" y="50"/>
                  </a:lnTo>
                  <a:lnTo>
                    <a:pt x="69" y="50"/>
                  </a:lnTo>
                  <a:lnTo>
                    <a:pt x="67" y="50"/>
                  </a:lnTo>
                  <a:lnTo>
                    <a:pt x="67" y="51"/>
                  </a:lnTo>
                  <a:lnTo>
                    <a:pt x="65" y="51"/>
                  </a:lnTo>
                  <a:lnTo>
                    <a:pt x="65" y="53"/>
                  </a:lnTo>
                  <a:lnTo>
                    <a:pt x="63" y="53"/>
                  </a:lnTo>
                  <a:lnTo>
                    <a:pt x="63" y="55"/>
                  </a:lnTo>
                  <a:lnTo>
                    <a:pt x="61" y="55"/>
                  </a:lnTo>
                  <a:lnTo>
                    <a:pt x="59" y="55"/>
                  </a:lnTo>
                  <a:lnTo>
                    <a:pt x="59" y="57"/>
                  </a:lnTo>
                  <a:lnTo>
                    <a:pt x="59" y="55"/>
                  </a:lnTo>
                  <a:lnTo>
                    <a:pt x="59" y="57"/>
                  </a:lnTo>
                  <a:lnTo>
                    <a:pt x="57" y="57"/>
                  </a:lnTo>
                  <a:lnTo>
                    <a:pt x="55" y="57"/>
                  </a:lnTo>
                  <a:lnTo>
                    <a:pt x="53" y="57"/>
                  </a:lnTo>
                  <a:lnTo>
                    <a:pt x="53" y="59"/>
                  </a:lnTo>
                  <a:lnTo>
                    <a:pt x="52" y="59"/>
                  </a:lnTo>
                  <a:lnTo>
                    <a:pt x="52" y="61"/>
                  </a:lnTo>
                  <a:lnTo>
                    <a:pt x="50" y="61"/>
                  </a:lnTo>
                  <a:lnTo>
                    <a:pt x="48" y="61"/>
                  </a:lnTo>
                  <a:lnTo>
                    <a:pt x="48" y="63"/>
                  </a:lnTo>
                  <a:lnTo>
                    <a:pt x="48" y="65"/>
                  </a:lnTo>
                  <a:lnTo>
                    <a:pt x="50" y="65"/>
                  </a:lnTo>
                  <a:lnTo>
                    <a:pt x="48" y="65"/>
                  </a:lnTo>
                  <a:lnTo>
                    <a:pt x="50" y="65"/>
                  </a:lnTo>
                  <a:lnTo>
                    <a:pt x="48" y="65"/>
                  </a:lnTo>
                  <a:lnTo>
                    <a:pt x="50" y="65"/>
                  </a:lnTo>
                  <a:lnTo>
                    <a:pt x="48" y="65"/>
                  </a:lnTo>
                  <a:lnTo>
                    <a:pt x="48" y="67"/>
                  </a:lnTo>
                  <a:lnTo>
                    <a:pt x="48" y="69"/>
                  </a:lnTo>
                  <a:lnTo>
                    <a:pt x="48" y="71"/>
                  </a:lnTo>
                  <a:lnTo>
                    <a:pt x="50" y="71"/>
                  </a:lnTo>
                  <a:lnTo>
                    <a:pt x="48" y="71"/>
                  </a:lnTo>
                  <a:lnTo>
                    <a:pt x="50" y="71"/>
                  </a:lnTo>
                  <a:lnTo>
                    <a:pt x="48" y="71"/>
                  </a:lnTo>
                  <a:lnTo>
                    <a:pt x="48" y="69"/>
                  </a:lnTo>
                  <a:lnTo>
                    <a:pt x="46" y="69"/>
                  </a:lnTo>
                  <a:lnTo>
                    <a:pt x="48" y="69"/>
                  </a:lnTo>
                  <a:lnTo>
                    <a:pt x="46" y="69"/>
                  </a:lnTo>
                  <a:lnTo>
                    <a:pt x="48" y="69"/>
                  </a:lnTo>
                  <a:lnTo>
                    <a:pt x="46" y="69"/>
                  </a:lnTo>
                  <a:lnTo>
                    <a:pt x="46" y="71"/>
                  </a:lnTo>
                  <a:lnTo>
                    <a:pt x="46" y="69"/>
                  </a:lnTo>
                  <a:lnTo>
                    <a:pt x="46" y="71"/>
                  </a:lnTo>
                  <a:lnTo>
                    <a:pt x="46" y="69"/>
                  </a:lnTo>
                  <a:lnTo>
                    <a:pt x="46" y="71"/>
                  </a:lnTo>
                  <a:lnTo>
                    <a:pt x="48" y="71"/>
                  </a:lnTo>
                  <a:lnTo>
                    <a:pt x="48" y="69"/>
                  </a:lnTo>
                  <a:lnTo>
                    <a:pt x="48" y="71"/>
                  </a:lnTo>
                  <a:lnTo>
                    <a:pt x="46" y="71"/>
                  </a:lnTo>
                  <a:lnTo>
                    <a:pt x="48" y="71"/>
                  </a:lnTo>
                  <a:lnTo>
                    <a:pt x="46" y="71"/>
                  </a:lnTo>
                  <a:lnTo>
                    <a:pt x="46" y="73"/>
                  </a:lnTo>
                  <a:lnTo>
                    <a:pt x="48" y="73"/>
                  </a:lnTo>
                  <a:lnTo>
                    <a:pt x="48" y="75"/>
                  </a:lnTo>
                  <a:lnTo>
                    <a:pt x="48" y="73"/>
                  </a:lnTo>
                  <a:lnTo>
                    <a:pt x="48" y="75"/>
                  </a:lnTo>
                  <a:lnTo>
                    <a:pt x="50" y="75"/>
                  </a:lnTo>
                  <a:lnTo>
                    <a:pt x="52" y="75"/>
                  </a:lnTo>
                  <a:lnTo>
                    <a:pt x="52" y="76"/>
                  </a:lnTo>
                  <a:lnTo>
                    <a:pt x="53" y="76"/>
                  </a:lnTo>
                  <a:lnTo>
                    <a:pt x="53" y="78"/>
                  </a:lnTo>
                  <a:lnTo>
                    <a:pt x="53" y="76"/>
                  </a:lnTo>
                  <a:lnTo>
                    <a:pt x="53" y="78"/>
                  </a:lnTo>
                  <a:lnTo>
                    <a:pt x="55" y="78"/>
                  </a:lnTo>
                  <a:lnTo>
                    <a:pt x="53" y="78"/>
                  </a:lnTo>
                  <a:lnTo>
                    <a:pt x="55" y="78"/>
                  </a:lnTo>
                  <a:lnTo>
                    <a:pt x="55" y="80"/>
                  </a:lnTo>
                  <a:lnTo>
                    <a:pt x="55" y="78"/>
                  </a:lnTo>
                  <a:lnTo>
                    <a:pt x="55" y="80"/>
                  </a:lnTo>
                  <a:lnTo>
                    <a:pt x="57" y="80"/>
                  </a:lnTo>
                  <a:lnTo>
                    <a:pt x="57" y="82"/>
                  </a:lnTo>
                  <a:lnTo>
                    <a:pt x="59" y="82"/>
                  </a:lnTo>
                  <a:lnTo>
                    <a:pt x="59" y="80"/>
                  </a:lnTo>
                  <a:lnTo>
                    <a:pt x="59" y="82"/>
                  </a:lnTo>
                  <a:lnTo>
                    <a:pt x="61" y="82"/>
                  </a:lnTo>
                  <a:lnTo>
                    <a:pt x="61" y="84"/>
                  </a:lnTo>
                  <a:lnTo>
                    <a:pt x="59" y="84"/>
                  </a:lnTo>
                  <a:lnTo>
                    <a:pt x="59" y="86"/>
                  </a:lnTo>
                  <a:lnTo>
                    <a:pt x="59" y="88"/>
                  </a:lnTo>
                  <a:lnTo>
                    <a:pt x="57" y="88"/>
                  </a:lnTo>
                  <a:lnTo>
                    <a:pt x="57" y="90"/>
                  </a:lnTo>
                  <a:lnTo>
                    <a:pt x="57" y="88"/>
                  </a:lnTo>
                  <a:lnTo>
                    <a:pt x="57" y="90"/>
                  </a:lnTo>
                  <a:lnTo>
                    <a:pt x="57" y="88"/>
                  </a:lnTo>
                  <a:lnTo>
                    <a:pt x="57" y="90"/>
                  </a:lnTo>
                  <a:lnTo>
                    <a:pt x="55" y="90"/>
                  </a:lnTo>
                  <a:lnTo>
                    <a:pt x="53" y="90"/>
                  </a:lnTo>
                  <a:lnTo>
                    <a:pt x="52" y="90"/>
                  </a:lnTo>
                  <a:lnTo>
                    <a:pt x="52" y="88"/>
                  </a:lnTo>
                  <a:lnTo>
                    <a:pt x="52" y="90"/>
                  </a:lnTo>
                  <a:lnTo>
                    <a:pt x="52" y="88"/>
                  </a:lnTo>
                  <a:lnTo>
                    <a:pt x="52" y="90"/>
                  </a:lnTo>
                  <a:lnTo>
                    <a:pt x="50" y="90"/>
                  </a:lnTo>
                  <a:lnTo>
                    <a:pt x="48" y="90"/>
                  </a:lnTo>
                  <a:lnTo>
                    <a:pt x="46" y="90"/>
                  </a:lnTo>
                  <a:lnTo>
                    <a:pt x="44" y="90"/>
                  </a:lnTo>
                  <a:lnTo>
                    <a:pt x="42" y="90"/>
                  </a:lnTo>
                  <a:lnTo>
                    <a:pt x="40" y="90"/>
                  </a:lnTo>
                  <a:lnTo>
                    <a:pt x="42" y="90"/>
                  </a:lnTo>
                  <a:lnTo>
                    <a:pt x="40" y="90"/>
                  </a:lnTo>
                  <a:lnTo>
                    <a:pt x="42" y="90"/>
                  </a:lnTo>
                  <a:lnTo>
                    <a:pt x="40" y="90"/>
                  </a:lnTo>
                  <a:lnTo>
                    <a:pt x="40" y="92"/>
                  </a:lnTo>
                  <a:lnTo>
                    <a:pt x="40" y="94"/>
                  </a:lnTo>
                  <a:lnTo>
                    <a:pt x="38" y="94"/>
                  </a:lnTo>
                  <a:lnTo>
                    <a:pt x="40" y="94"/>
                  </a:lnTo>
                  <a:lnTo>
                    <a:pt x="38" y="94"/>
                  </a:lnTo>
                  <a:lnTo>
                    <a:pt x="38" y="96"/>
                  </a:lnTo>
                  <a:lnTo>
                    <a:pt x="38" y="94"/>
                  </a:lnTo>
                  <a:lnTo>
                    <a:pt x="38" y="96"/>
                  </a:lnTo>
                  <a:lnTo>
                    <a:pt x="38" y="94"/>
                  </a:lnTo>
                  <a:lnTo>
                    <a:pt x="38" y="96"/>
                  </a:lnTo>
                  <a:lnTo>
                    <a:pt x="36" y="96"/>
                  </a:lnTo>
                  <a:lnTo>
                    <a:pt x="38" y="96"/>
                  </a:lnTo>
                  <a:lnTo>
                    <a:pt x="36" y="96"/>
                  </a:lnTo>
                  <a:lnTo>
                    <a:pt x="38" y="96"/>
                  </a:lnTo>
                  <a:lnTo>
                    <a:pt x="36" y="96"/>
                  </a:lnTo>
                  <a:lnTo>
                    <a:pt x="36" y="98"/>
                  </a:lnTo>
                  <a:lnTo>
                    <a:pt x="36" y="99"/>
                  </a:lnTo>
                  <a:lnTo>
                    <a:pt x="34" y="99"/>
                  </a:lnTo>
                  <a:lnTo>
                    <a:pt x="32" y="99"/>
                  </a:lnTo>
                  <a:lnTo>
                    <a:pt x="32" y="98"/>
                  </a:lnTo>
                  <a:lnTo>
                    <a:pt x="30" y="98"/>
                  </a:lnTo>
                  <a:lnTo>
                    <a:pt x="29" y="98"/>
                  </a:lnTo>
                  <a:lnTo>
                    <a:pt x="29" y="99"/>
                  </a:lnTo>
                  <a:lnTo>
                    <a:pt x="27" y="99"/>
                  </a:lnTo>
                  <a:lnTo>
                    <a:pt x="27" y="98"/>
                  </a:lnTo>
                  <a:lnTo>
                    <a:pt x="27" y="99"/>
                  </a:lnTo>
                  <a:lnTo>
                    <a:pt x="27" y="98"/>
                  </a:lnTo>
                  <a:lnTo>
                    <a:pt x="25" y="98"/>
                  </a:lnTo>
                  <a:lnTo>
                    <a:pt x="25" y="99"/>
                  </a:lnTo>
                  <a:lnTo>
                    <a:pt x="25" y="98"/>
                  </a:lnTo>
                  <a:lnTo>
                    <a:pt x="23" y="98"/>
                  </a:lnTo>
                  <a:lnTo>
                    <a:pt x="25" y="98"/>
                  </a:lnTo>
                  <a:lnTo>
                    <a:pt x="23" y="98"/>
                  </a:lnTo>
                  <a:lnTo>
                    <a:pt x="23" y="96"/>
                  </a:lnTo>
                  <a:lnTo>
                    <a:pt x="21" y="96"/>
                  </a:lnTo>
                  <a:lnTo>
                    <a:pt x="21" y="94"/>
                  </a:lnTo>
                  <a:lnTo>
                    <a:pt x="21" y="96"/>
                  </a:lnTo>
                  <a:lnTo>
                    <a:pt x="21" y="94"/>
                  </a:lnTo>
                  <a:lnTo>
                    <a:pt x="21" y="96"/>
                  </a:lnTo>
                  <a:lnTo>
                    <a:pt x="21" y="94"/>
                  </a:lnTo>
                  <a:lnTo>
                    <a:pt x="19" y="94"/>
                  </a:lnTo>
                  <a:lnTo>
                    <a:pt x="21" y="94"/>
                  </a:lnTo>
                  <a:lnTo>
                    <a:pt x="19" y="94"/>
                  </a:lnTo>
                  <a:lnTo>
                    <a:pt x="19" y="96"/>
                  </a:lnTo>
                  <a:lnTo>
                    <a:pt x="21" y="96"/>
                  </a:lnTo>
                  <a:lnTo>
                    <a:pt x="21" y="98"/>
                  </a:lnTo>
                  <a:lnTo>
                    <a:pt x="21" y="96"/>
                  </a:lnTo>
                  <a:lnTo>
                    <a:pt x="21" y="98"/>
                  </a:lnTo>
                  <a:lnTo>
                    <a:pt x="23" y="98"/>
                  </a:lnTo>
                  <a:lnTo>
                    <a:pt x="23" y="96"/>
                  </a:lnTo>
                  <a:lnTo>
                    <a:pt x="23" y="98"/>
                  </a:lnTo>
                  <a:lnTo>
                    <a:pt x="21" y="98"/>
                  </a:lnTo>
                  <a:lnTo>
                    <a:pt x="21" y="99"/>
                  </a:lnTo>
                  <a:lnTo>
                    <a:pt x="21" y="98"/>
                  </a:lnTo>
                  <a:lnTo>
                    <a:pt x="21" y="99"/>
                  </a:lnTo>
                  <a:lnTo>
                    <a:pt x="19" y="99"/>
                  </a:lnTo>
                  <a:lnTo>
                    <a:pt x="17" y="99"/>
                  </a:lnTo>
                  <a:lnTo>
                    <a:pt x="17" y="101"/>
                  </a:lnTo>
                  <a:lnTo>
                    <a:pt x="15" y="101"/>
                  </a:lnTo>
                  <a:lnTo>
                    <a:pt x="15" y="99"/>
                  </a:lnTo>
                  <a:lnTo>
                    <a:pt x="17" y="99"/>
                  </a:lnTo>
                  <a:lnTo>
                    <a:pt x="17" y="98"/>
                  </a:lnTo>
                  <a:lnTo>
                    <a:pt x="19" y="98"/>
                  </a:lnTo>
                  <a:lnTo>
                    <a:pt x="19" y="99"/>
                  </a:lnTo>
                  <a:lnTo>
                    <a:pt x="19" y="98"/>
                  </a:lnTo>
                  <a:lnTo>
                    <a:pt x="19" y="99"/>
                  </a:lnTo>
                  <a:lnTo>
                    <a:pt x="19" y="98"/>
                  </a:lnTo>
                  <a:lnTo>
                    <a:pt x="17" y="98"/>
                  </a:lnTo>
                  <a:lnTo>
                    <a:pt x="19" y="98"/>
                  </a:lnTo>
                  <a:lnTo>
                    <a:pt x="17" y="98"/>
                  </a:lnTo>
                  <a:lnTo>
                    <a:pt x="17" y="99"/>
                  </a:lnTo>
                  <a:lnTo>
                    <a:pt x="17" y="98"/>
                  </a:lnTo>
                  <a:lnTo>
                    <a:pt x="15" y="98"/>
                  </a:lnTo>
                  <a:lnTo>
                    <a:pt x="15" y="99"/>
                  </a:lnTo>
                  <a:lnTo>
                    <a:pt x="15" y="98"/>
                  </a:lnTo>
                  <a:lnTo>
                    <a:pt x="15" y="99"/>
                  </a:lnTo>
                  <a:lnTo>
                    <a:pt x="15" y="98"/>
                  </a:lnTo>
                  <a:lnTo>
                    <a:pt x="15" y="96"/>
                  </a:lnTo>
                  <a:lnTo>
                    <a:pt x="15" y="98"/>
                  </a:lnTo>
                  <a:lnTo>
                    <a:pt x="13" y="98"/>
                  </a:lnTo>
                  <a:lnTo>
                    <a:pt x="11" y="98"/>
                  </a:lnTo>
                  <a:lnTo>
                    <a:pt x="11" y="96"/>
                  </a:lnTo>
                  <a:lnTo>
                    <a:pt x="11" y="98"/>
                  </a:lnTo>
                  <a:lnTo>
                    <a:pt x="11" y="96"/>
                  </a:lnTo>
                  <a:lnTo>
                    <a:pt x="13" y="96"/>
                  </a:lnTo>
                  <a:lnTo>
                    <a:pt x="13" y="94"/>
                  </a:lnTo>
                  <a:lnTo>
                    <a:pt x="15" y="94"/>
                  </a:lnTo>
                  <a:lnTo>
                    <a:pt x="13" y="94"/>
                  </a:lnTo>
                  <a:lnTo>
                    <a:pt x="15" y="94"/>
                  </a:lnTo>
                  <a:lnTo>
                    <a:pt x="15" y="96"/>
                  </a:lnTo>
                  <a:lnTo>
                    <a:pt x="15" y="94"/>
                  </a:lnTo>
                  <a:lnTo>
                    <a:pt x="13" y="94"/>
                  </a:lnTo>
                  <a:lnTo>
                    <a:pt x="11" y="94"/>
                  </a:lnTo>
                  <a:lnTo>
                    <a:pt x="9" y="94"/>
                  </a:lnTo>
                  <a:lnTo>
                    <a:pt x="7" y="94"/>
                  </a:lnTo>
                  <a:lnTo>
                    <a:pt x="5" y="94"/>
                  </a:lnTo>
                  <a:lnTo>
                    <a:pt x="5" y="92"/>
                  </a:lnTo>
                  <a:lnTo>
                    <a:pt x="7" y="92"/>
                  </a:lnTo>
                  <a:lnTo>
                    <a:pt x="9" y="92"/>
                  </a:lnTo>
                  <a:lnTo>
                    <a:pt x="7" y="92"/>
                  </a:lnTo>
                  <a:lnTo>
                    <a:pt x="9" y="92"/>
                  </a:lnTo>
                  <a:lnTo>
                    <a:pt x="9" y="90"/>
                  </a:lnTo>
                  <a:lnTo>
                    <a:pt x="9" y="92"/>
                  </a:lnTo>
                  <a:lnTo>
                    <a:pt x="11" y="92"/>
                  </a:lnTo>
                  <a:lnTo>
                    <a:pt x="9" y="92"/>
                  </a:lnTo>
                  <a:lnTo>
                    <a:pt x="11" y="92"/>
                  </a:lnTo>
                  <a:lnTo>
                    <a:pt x="9" y="92"/>
                  </a:lnTo>
                  <a:lnTo>
                    <a:pt x="9" y="90"/>
                  </a:lnTo>
                  <a:lnTo>
                    <a:pt x="9" y="88"/>
                  </a:lnTo>
                  <a:lnTo>
                    <a:pt x="11" y="88"/>
                  </a:lnTo>
                  <a:lnTo>
                    <a:pt x="11" y="86"/>
                  </a:lnTo>
                  <a:lnTo>
                    <a:pt x="11" y="88"/>
                  </a:lnTo>
                  <a:lnTo>
                    <a:pt x="11" y="86"/>
                  </a:lnTo>
                  <a:lnTo>
                    <a:pt x="11" y="84"/>
                  </a:lnTo>
                  <a:lnTo>
                    <a:pt x="13" y="84"/>
                  </a:lnTo>
                  <a:lnTo>
                    <a:pt x="11" y="84"/>
                  </a:lnTo>
                  <a:lnTo>
                    <a:pt x="13" y="84"/>
                  </a:lnTo>
                  <a:lnTo>
                    <a:pt x="13" y="82"/>
                  </a:lnTo>
                  <a:lnTo>
                    <a:pt x="13" y="84"/>
                  </a:lnTo>
                  <a:lnTo>
                    <a:pt x="13" y="82"/>
                  </a:lnTo>
                  <a:lnTo>
                    <a:pt x="15" y="82"/>
                  </a:lnTo>
                  <a:lnTo>
                    <a:pt x="15" y="80"/>
                  </a:lnTo>
                  <a:lnTo>
                    <a:pt x="15" y="82"/>
                  </a:lnTo>
                  <a:lnTo>
                    <a:pt x="13" y="82"/>
                  </a:lnTo>
                  <a:lnTo>
                    <a:pt x="13" y="80"/>
                  </a:lnTo>
                  <a:lnTo>
                    <a:pt x="13" y="78"/>
                  </a:lnTo>
                  <a:lnTo>
                    <a:pt x="15" y="76"/>
                  </a:lnTo>
                  <a:lnTo>
                    <a:pt x="13" y="76"/>
                  </a:lnTo>
                  <a:lnTo>
                    <a:pt x="15" y="76"/>
                  </a:lnTo>
                  <a:lnTo>
                    <a:pt x="15" y="75"/>
                  </a:lnTo>
                  <a:lnTo>
                    <a:pt x="15" y="73"/>
                  </a:lnTo>
                  <a:lnTo>
                    <a:pt x="17" y="73"/>
                  </a:lnTo>
                  <a:lnTo>
                    <a:pt x="15" y="73"/>
                  </a:lnTo>
                  <a:lnTo>
                    <a:pt x="17" y="73"/>
                  </a:lnTo>
                  <a:lnTo>
                    <a:pt x="17" y="71"/>
                  </a:lnTo>
                  <a:lnTo>
                    <a:pt x="17" y="69"/>
                  </a:lnTo>
                  <a:lnTo>
                    <a:pt x="19" y="69"/>
                  </a:lnTo>
                  <a:lnTo>
                    <a:pt x="17" y="69"/>
                  </a:lnTo>
                  <a:lnTo>
                    <a:pt x="17" y="67"/>
                  </a:lnTo>
                  <a:lnTo>
                    <a:pt x="17" y="65"/>
                  </a:lnTo>
                  <a:lnTo>
                    <a:pt x="17" y="67"/>
                  </a:lnTo>
                  <a:lnTo>
                    <a:pt x="15" y="67"/>
                  </a:lnTo>
                  <a:lnTo>
                    <a:pt x="15" y="65"/>
                  </a:lnTo>
                  <a:lnTo>
                    <a:pt x="13" y="65"/>
                  </a:lnTo>
                  <a:lnTo>
                    <a:pt x="13" y="67"/>
                  </a:lnTo>
                  <a:lnTo>
                    <a:pt x="13" y="65"/>
                  </a:lnTo>
                  <a:lnTo>
                    <a:pt x="13" y="67"/>
                  </a:lnTo>
                  <a:lnTo>
                    <a:pt x="11" y="65"/>
                  </a:lnTo>
                  <a:lnTo>
                    <a:pt x="11" y="63"/>
                  </a:lnTo>
                  <a:lnTo>
                    <a:pt x="11" y="65"/>
                  </a:lnTo>
                  <a:lnTo>
                    <a:pt x="9" y="65"/>
                  </a:lnTo>
                  <a:lnTo>
                    <a:pt x="9" y="63"/>
                  </a:lnTo>
                  <a:lnTo>
                    <a:pt x="7" y="63"/>
                  </a:lnTo>
                  <a:lnTo>
                    <a:pt x="7" y="61"/>
                  </a:lnTo>
                  <a:lnTo>
                    <a:pt x="7" y="63"/>
                  </a:lnTo>
                  <a:lnTo>
                    <a:pt x="7" y="61"/>
                  </a:lnTo>
                  <a:lnTo>
                    <a:pt x="7" y="63"/>
                  </a:lnTo>
                  <a:lnTo>
                    <a:pt x="7" y="65"/>
                  </a:lnTo>
                  <a:lnTo>
                    <a:pt x="5" y="65"/>
                  </a:lnTo>
                  <a:lnTo>
                    <a:pt x="5" y="63"/>
                  </a:lnTo>
                  <a:lnTo>
                    <a:pt x="4" y="63"/>
                  </a:lnTo>
                  <a:lnTo>
                    <a:pt x="4" y="61"/>
                  </a:lnTo>
                  <a:lnTo>
                    <a:pt x="2" y="61"/>
                  </a:lnTo>
                  <a:lnTo>
                    <a:pt x="2" y="59"/>
                  </a:lnTo>
                  <a:lnTo>
                    <a:pt x="0" y="59"/>
                  </a:lnTo>
                  <a:lnTo>
                    <a:pt x="0" y="61"/>
                  </a:lnTo>
                  <a:lnTo>
                    <a:pt x="0" y="59"/>
                  </a:lnTo>
                  <a:lnTo>
                    <a:pt x="2" y="59"/>
                  </a:lnTo>
                  <a:lnTo>
                    <a:pt x="2" y="57"/>
                  </a:lnTo>
                  <a:lnTo>
                    <a:pt x="2" y="55"/>
                  </a:lnTo>
                  <a:lnTo>
                    <a:pt x="4" y="55"/>
                  </a:lnTo>
                  <a:lnTo>
                    <a:pt x="4" y="53"/>
                  </a:lnTo>
                  <a:lnTo>
                    <a:pt x="5" y="53"/>
                  </a:lnTo>
                  <a:lnTo>
                    <a:pt x="5" y="51"/>
                  </a:lnTo>
                  <a:lnTo>
                    <a:pt x="7" y="51"/>
                  </a:lnTo>
                  <a:lnTo>
                    <a:pt x="7" y="50"/>
                  </a:lnTo>
                  <a:lnTo>
                    <a:pt x="9" y="50"/>
                  </a:lnTo>
                  <a:lnTo>
                    <a:pt x="9" y="48"/>
                  </a:lnTo>
                  <a:lnTo>
                    <a:pt x="9" y="50"/>
                  </a:lnTo>
                  <a:lnTo>
                    <a:pt x="11" y="50"/>
                  </a:lnTo>
                  <a:lnTo>
                    <a:pt x="11" y="48"/>
                  </a:lnTo>
                  <a:lnTo>
                    <a:pt x="13" y="48"/>
                  </a:lnTo>
                  <a:lnTo>
                    <a:pt x="13" y="46"/>
                  </a:lnTo>
                  <a:lnTo>
                    <a:pt x="15" y="46"/>
                  </a:lnTo>
                  <a:lnTo>
                    <a:pt x="17" y="46"/>
                  </a:lnTo>
                  <a:lnTo>
                    <a:pt x="17" y="44"/>
                  </a:lnTo>
                  <a:lnTo>
                    <a:pt x="17" y="46"/>
                  </a:lnTo>
                  <a:lnTo>
                    <a:pt x="17" y="44"/>
                  </a:lnTo>
                  <a:lnTo>
                    <a:pt x="19" y="44"/>
                  </a:lnTo>
                  <a:lnTo>
                    <a:pt x="19" y="42"/>
                  </a:lnTo>
                  <a:lnTo>
                    <a:pt x="19" y="44"/>
                  </a:lnTo>
                  <a:lnTo>
                    <a:pt x="21" y="44"/>
                  </a:lnTo>
                  <a:lnTo>
                    <a:pt x="21" y="42"/>
                  </a:lnTo>
                  <a:lnTo>
                    <a:pt x="21" y="40"/>
                  </a:lnTo>
                  <a:lnTo>
                    <a:pt x="23" y="42"/>
                  </a:lnTo>
                  <a:lnTo>
                    <a:pt x="23" y="40"/>
                  </a:lnTo>
                  <a:lnTo>
                    <a:pt x="23" y="42"/>
                  </a:lnTo>
                  <a:lnTo>
                    <a:pt x="23" y="40"/>
                  </a:lnTo>
                  <a:lnTo>
                    <a:pt x="25" y="40"/>
                  </a:lnTo>
                  <a:lnTo>
                    <a:pt x="27" y="40"/>
                  </a:lnTo>
                  <a:lnTo>
                    <a:pt x="25" y="40"/>
                  </a:lnTo>
                  <a:lnTo>
                    <a:pt x="27" y="40"/>
                  </a:lnTo>
                  <a:lnTo>
                    <a:pt x="27" y="38"/>
                  </a:lnTo>
                  <a:lnTo>
                    <a:pt x="29" y="38"/>
                  </a:lnTo>
                  <a:lnTo>
                    <a:pt x="27" y="38"/>
                  </a:lnTo>
                  <a:lnTo>
                    <a:pt x="27" y="36"/>
                  </a:lnTo>
                  <a:lnTo>
                    <a:pt x="29" y="36"/>
                  </a:lnTo>
                  <a:lnTo>
                    <a:pt x="30" y="36"/>
                  </a:lnTo>
                  <a:lnTo>
                    <a:pt x="30" y="34"/>
                  </a:lnTo>
                  <a:lnTo>
                    <a:pt x="30" y="32"/>
                  </a:lnTo>
                  <a:lnTo>
                    <a:pt x="32" y="32"/>
                  </a:lnTo>
                  <a:lnTo>
                    <a:pt x="32" y="30"/>
                  </a:lnTo>
                  <a:lnTo>
                    <a:pt x="32" y="32"/>
                  </a:lnTo>
                  <a:lnTo>
                    <a:pt x="34" y="32"/>
                  </a:lnTo>
                  <a:lnTo>
                    <a:pt x="34" y="30"/>
                  </a:lnTo>
                  <a:lnTo>
                    <a:pt x="32" y="30"/>
                  </a:lnTo>
                  <a:lnTo>
                    <a:pt x="34" y="30"/>
                  </a:lnTo>
                  <a:lnTo>
                    <a:pt x="34" y="28"/>
                  </a:lnTo>
                  <a:lnTo>
                    <a:pt x="34" y="26"/>
                  </a:lnTo>
                  <a:lnTo>
                    <a:pt x="34" y="25"/>
                  </a:lnTo>
                  <a:lnTo>
                    <a:pt x="34" y="26"/>
                  </a:lnTo>
                  <a:lnTo>
                    <a:pt x="36" y="26"/>
                  </a:lnTo>
                  <a:lnTo>
                    <a:pt x="36" y="25"/>
                  </a:lnTo>
                  <a:lnTo>
                    <a:pt x="38" y="25"/>
                  </a:lnTo>
                  <a:lnTo>
                    <a:pt x="38" y="23"/>
                  </a:lnTo>
                  <a:lnTo>
                    <a:pt x="40" y="23"/>
                  </a:lnTo>
                  <a:lnTo>
                    <a:pt x="40" y="25"/>
                  </a:lnTo>
                  <a:lnTo>
                    <a:pt x="42" y="25"/>
                  </a:lnTo>
                  <a:lnTo>
                    <a:pt x="40" y="25"/>
                  </a:lnTo>
                  <a:lnTo>
                    <a:pt x="42" y="25"/>
                  </a:lnTo>
                  <a:lnTo>
                    <a:pt x="42" y="26"/>
                  </a:lnTo>
                  <a:lnTo>
                    <a:pt x="44" y="26"/>
                  </a:lnTo>
                  <a:lnTo>
                    <a:pt x="42" y="26"/>
                  </a:lnTo>
                  <a:lnTo>
                    <a:pt x="42" y="28"/>
                  </a:lnTo>
                  <a:lnTo>
                    <a:pt x="44" y="28"/>
                  </a:lnTo>
                  <a:lnTo>
                    <a:pt x="46" y="28"/>
                  </a:lnTo>
                  <a:lnTo>
                    <a:pt x="46" y="30"/>
                  </a:lnTo>
                  <a:lnTo>
                    <a:pt x="46" y="28"/>
                  </a:lnTo>
                  <a:lnTo>
                    <a:pt x="46" y="30"/>
                  </a:lnTo>
                  <a:lnTo>
                    <a:pt x="48" y="30"/>
                  </a:lnTo>
                  <a:lnTo>
                    <a:pt x="48" y="28"/>
                  </a:lnTo>
                  <a:lnTo>
                    <a:pt x="48" y="30"/>
                  </a:lnTo>
                  <a:lnTo>
                    <a:pt x="50" y="30"/>
                  </a:lnTo>
                  <a:lnTo>
                    <a:pt x="52" y="30"/>
                  </a:lnTo>
                  <a:lnTo>
                    <a:pt x="53" y="30"/>
                  </a:lnTo>
                  <a:lnTo>
                    <a:pt x="55" y="30"/>
                  </a:lnTo>
                  <a:lnTo>
                    <a:pt x="57" y="30"/>
                  </a:lnTo>
                  <a:lnTo>
                    <a:pt x="55" y="30"/>
                  </a:lnTo>
                  <a:lnTo>
                    <a:pt x="57" y="30"/>
                  </a:lnTo>
                  <a:lnTo>
                    <a:pt x="57" y="32"/>
                  </a:lnTo>
                  <a:lnTo>
                    <a:pt x="57" y="30"/>
                  </a:lnTo>
                  <a:lnTo>
                    <a:pt x="59" y="30"/>
                  </a:lnTo>
                  <a:lnTo>
                    <a:pt x="59" y="28"/>
                  </a:lnTo>
                  <a:lnTo>
                    <a:pt x="59" y="26"/>
                  </a:lnTo>
                  <a:lnTo>
                    <a:pt x="59" y="25"/>
                  </a:lnTo>
                  <a:lnTo>
                    <a:pt x="57" y="25"/>
                  </a:lnTo>
                  <a:lnTo>
                    <a:pt x="57" y="23"/>
                  </a:lnTo>
                  <a:lnTo>
                    <a:pt x="57" y="21"/>
                  </a:lnTo>
                  <a:lnTo>
                    <a:pt x="57" y="19"/>
                  </a:lnTo>
                  <a:lnTo>
                    <a:pt x="55" y="19"/>
                  </a:lnTo>
                  <a:lnTo>
                    <a:pt x="57" y="19"/>
                  </a:lnTo>
                  <a:lnTo>
                    <a:pt x="59" y="19"/>
                  </a:lnTo>
                  <a:lnTo>
                    <a:pt x="61" y="19"/>
                  </a:lnTo>
                  <a:lnTo>
                    <a:pt x="63" y="19"/>
                  </a:lnTo>
                  <a:lnTo>
                    <a:pt x="65" y="19"/>
                  </a:lnTo>
                  <a:lnTo>
                    <a:pt x="67" y="17"/>
                  </a:lnTo>
                  <a:lnTo>
                    <a:pt x="67" y="19"/>
                  </a:lnTo>
                  <a:lnTo>
                    <a:pt x="69" y="19"/>
                  </a:lnTo>
                  <a:lnTo>
                    <a:pt x="69" y="17"/>
                  </a:lnTo>
                  <a:lnTo>
                    <a:pt x="71" y="17"/>
                  </a:lnTo>
                  <a:lnTo>
                    <a:pt x="71" y="15"/>
                  </a:lnTo>
                  <a:lnTo>
                    <a:pt x="71" y="17"/>
                  </a:lnTo>
                  <a:lnTo>
                    <a:pt x="71" y="15"/>
                  </a:lnTo>
                  <a:lnTo>
                    <a:pt x="73" y="15"/>
                  </a:lnTo>
                  <a:lnTo>
                    <a:pt x="73" y="13"/>
                  </a:lnTo>
                  <a:lnTo>
                    <a:pt x="73" y="11"/>
                  </a:lnTo>
                  <a:lnTo>
                    <a:pt x="75" y="11"/>
                  </a:lnTo>
                  <a:lnTo>
                    <a:pt x="75" y="9"/>
                  </a:lnTo>
                  <a:lnTo>
                    <a:pt x="75" y="11"/>
                  </a:lnTo>
                  <a:lnTo>
                    <a:pt x="75" y="9"/>
                  </a:lnTo>
                  <a:lnTo>
                    <a:pt x="77" y="9"/>
                  </a:lnTo>
                  <a:lnTo>
                    <a:pt x="77" y="11"/>
                  </a:lnTo>
                  <a:lnTo>
                    <a:pt x="77" y="9"/>
                  </a:lnTo>
                  <a:lnTo>
                    <a:pt x="77" y="11"/>
                  </a:lnTo>
                  <a:lnTo>
                    <a:pt x="78" y="11"/>
                  </a:lnTo>
                  <a:lnTo>
                    <a:pt x="78" y="9"/>
                  </a:lnTo>
                  <a:lnTo>
                    <a:pt x="78" y="11"/>
                  </a:lnTo>
                  <a:lnTo>
                    <a:pt x="80" y="11"/>
                  </a:lnTo>
                  <a:lnTo>
                    <a:pt x="80" y="9"/>
                  </a:lnTo>
                  <a:lnTo>
                    <a:pt x="80" y="7"/>
                  </a:lnTo>
                  <a:lnTo>
                    <a:pt x="80" y="5"/>
                  </a:lnTo>
                  <a:lnTo>
                    <a:pt x="82" y="5"/>
                  </a:lnTo>
                  <a:lnTo>
                    <a:pt x="80" y="5"/>
                  </a:lnTo>
                  <a:lnTo>
                    <a:pt x="80" y="3"/>
                  </a:lnTo>
                  <a:lnTo>
                    <a:pt x="82" y="3"/>
                  </a:lnTo>
                  <a:lnTo>
                    <a:pt x="82" y="2"/>
                  </a:lnTo>
                  <a:lnTo>
                    <a:pt x="82" y="0"/>
                  </a:lnTo>
                  <a:lnTo>
                    <a:pt x="82" y="2"/>
                  </a:lnTo>
                  <a:lnTo>
                    <a:pt x="82" y="0"/>
                  </a:lnTo>
                  <a:lnTo>
                    <a:pt x="84" y="0"/>
                  </a:lnTo>
                  <a:lnTo>
                    <a:pt x="86" y="0"/>
                  </a:lnTo>
                  <a:lnTo>
                    <a:pt x="86" y="2"/>
                  </a:lnTo>
                  <a:lnTo>
                    <a:pt x="88" y="2"/>
                  </a:lnTo>
                  <a:lnTo>
                    <a:pt x="88" y="3"/>
                  </a:lnTo>
                  <a:lnTo>
                    <a:pt x="88" y="5"/>
                  </a:lnTo>
                  <a:lnTo>
                    <a:pt x="90" y="5"/>
                  </a:lnTo>
                  <a:lnTo>
                    <a:pt x="90" y="7"/>
                  </a:lnTo>
                  <a:lnTo>
                    <a:pt x="92" y="7"/>
                  </a:lnTo>
                  <a:lnTo>
                    <a:pt x="92" y="9"/>
                  </a:lnTo>
                  <a:lnTo>
                    <a:pt x="94" y="9"/>
                  </a:lnTo>
                  <a:lnTo>
                    <a:pt x="92" y="9"/>
                  </a:lnTo>
                  <a:lnTo>
                    <a:pt x="92" y="11"/>
                  </a:lnTo>
                  <a:lnTo>
                    <a:pt x="94" y="11"/>
                  </a:lnTo>
                  <a:close/>
                  <a:moveTo>
                    <a:pt x="9" y="65"/>
                  </a:moveTo>
                  <a:lnTo>
                    <a:pt x="9" y="67"/>
                  </a:lnTo>
                  <a:lnTo>
                    <a:pt x="9" y="65"/>
                  </a:lnTo>
                  <a:close/>
                  <a:moveTo>
                    <a:pt x="7" y="84"/>
                  </a:moveTo>
                  <a:lnTo>
                    <a:pt x="9" y="84"/>
                  </a:lnTo>
                  <a:lnTo>
                    <a:pt x="9" y="86"/>
                  </a:lnTo>
                  <a:lnTo>
                    <a:pt x="7" y="86"/>
                  </a:lnTo>
                  <a:lnTo>
                    <a:pt x="7" y="84"/>
                  </a:lnTo>
                  <a:close/>
                  <a:moveTo>
                    <a:pt x="15" y="99"/>
                  </a:moveTo>
                  <a:lnTo>
                    <a:pt x="17" y="99"/>
                  </a:lnTo>
                  <a:lnTo>
                    <a:pt x="17" y="101"/>
                  </a:lnTo>
                  <a:lnTo>
                    <a:pt x="15" y="101"/>
                  </a:lnTo>
                  <a:lnTo>
                    <a:pt x="15" y="99"/>
                  </a:lnTo>
                  <a:close/>
                  <a:moveTo>
                    <a:pt x="5" y="65"/>
                  </a:moveTo>
                  <a:lnTo>
                    <a:pt x="7" y="65"/>
                  </a:lnTo>
                  <a:lnTo>
                    <a:pt x="7" y="67"/>
                  </a:lnTo>
                  <a:lnTo>
                    <a:pt x="5" y="67"/>
                  </a:lnTo>
                  <a:lnTo>
                    <a:pt x="5" y="65"/>
                  </a:lnTo>
                  <a:close/>
                  <a:moveTo>
                    <a:pt x="11" y="82"/>
                  </a:moveTo>
                  <a:lnTo>
                    <a:pt x="11" y="84"/>
                  </a:lnTo>
                  <a:lnTo>
                    <a:pt x="11" y="82"/>
                  </a:lnTo>
                  <a:close/>
                  <a:moveTo>
                    <a:pt x="57" y="57"/>
                  </a:moveTo>
                  <a:lnTo>
                    <a:pt x="59" y="57"/>
                  </a:lnTo>
                  <a:lnTo>
                    <a:pt x="57" y="57"/>
                  </a:lnTo>
                  <a:close/>
                  <a:moveTo>
                    <a:pt x="11" y="98"/>
                  </a:moveTo>
                  <a:lnTo>
                    <a:pt x="11" y="99"/>
                  </a:lnTo>
                  <a:lnTo>
                    <a:pt x="11" y="98"/>
                  </a:lnTo>
                  <a:close/>
                  <a:moveTo>
                    <a:pt x="13" y="99"/>
                  </a:moveTo>
                  <a:lnTo>
                    <a:pt x="15" y="99"/>
                  </a:lnTo>
                  <a:lnTo>
                    <a:pt x="13" y="99"/>
                  </a:lnTo>
                  <a:close/>
                  <a:moveTo>
                    <a:pt x="88" y="15"/>
                  </a:moveTo>
                  <a:lnTo>
                    <a:pt x="88" y="17"/>
                  </a:lnTo>
                  <a:lnTo>
                    <a:pt x="88" y="15"/>
                  </a:lnTo>
                  <a:close/>
                  <a:moveTo>
                    <a:pt x="15" y="98"/>
                  </a:moveTo>
                  <a:lnTo>
                    <a:pt x="17" y="98"/>
                  </a:lnTo>
                  <a:lnTo>
                    <a:pt x="17" y="99"/>
                  </a:lnTo>
                  <a:lnTo>
                    <a:pt x="15" y="99"/>
                  </a:lnTo>
                  <a:lnTo>
                    <a:pt x="15" y="98"/>
                  </a:lnTo>
                  <a:close/>
                  <a:moveTo>
                    <a:pt x="7" y="67"/>
                  </a:moveTo>
                  <a:lnTo>
                    <a:pt x="7" y="69"/>
                  </a:lnTo>
                  <a:lnTo>
                    <a:pt x="7" y="67"/>
                  </a:lnTo>
                  <a:close/>
                  <a:moveTo>
                    <a:pt x="13" y="67"/>
                  </a:moveTo>
                  <a:lnTo>
                    <a:pt x="15" y="67"/>
                  </a:lnTo>
                  <a:lnTo>
                    <a:pt x="13" y="67"/>
                  </a:lnTo>
                  <a:close/>
                  <a:moveTo>
                    <a:pt x="5" y="67"/>
                  </a:moveTo>
                  <a:lnTo>
                    <a:pt x="5" y="69"/>
                  </a:lnTo>
                  <a:lnTo>
                    <a:pt x="5" y="67"/>
                  </a:lnTo>
                  <a:close/>
                  <a:moveTo>
                    <a:pt x="11" y="96"/>
                  </a:moveTo>
                  <a:lnTo>
                    <a:pt x="11" y="98"/>
                  </a:lnTo>
                  <a:lnTo>
                    <a:pt x="11" y="96"/>
                  </a:lnTo>
                  <a:close/>
                  <a:moveTo>
                    <a:pt x="48" y="63"/>
                  </a:moveTo>
                  <a:lnTo>
                    <a:pt x="50" y="63"/>
                  </a:lnTo>
                  <a:lnTo>
                    <a:pt x="48" y="63"/>
                  </a:lnTo>
                  <a:close/>
                  <a:moveTo>
                    <a:pt x="7" y="67"/>
                  </a:moveTo>
                  <a:lnTo>
                    <a:pt x="9" y="67"/>
                  </a:lnTo>
                  <a:lnTo>
                    <a:pt x="7" y="67"/>
                  </a:lnTo>
                  <a:close/>
                  <a:moveTo>
                    <a:pt x="55" y="76"/>
                  </a:moveTo>
                  <a:lnTo>
                    <a:pt x="57" y="76"/>
                  </a:lnTo>
                  <a:lnTo>
                    <a:pt x="55" y="76"/>
                  </a:lnTo>
                  <a:close/>
                  <a:moveTo>
                    <a:pt x="11" y="84"/>
                  </a:moveTo>
                  <a:lnTo>
                    <a:pt x="13" y="84"/>
                  </a:lnTo>
                  <a:lnTo>
                    <a:pt x="11" y="84"/>
                  </a:lnTo>
                  <a:close/>
                  <a:moveTo>
                    <a:pt x="5" y="67"/>
                  </a:moveTo>
                  <a:lnTo>
                    <a:pt x="5" y="69"/>
                  </a:lnTo>
                  <a:lnTo>
                    <a:pt x="5" y="67"/>
                  </a:lnTo>
                  <a:close/>
                  <a:moveTo>
                    <a:pt x="4" y="65"/>
                  </a:moveTo>
                  <a:lnTo>
                    <a:pt x="5" y="65"/>
                  </a:lnTo>
                  <a:lnTo>
                    <a:pt x="4" y="65"/>
                  </a:lnTo>
                  <a:close/>
                  <a:moveTo>
                    <a:pt x="48" y="71"/>
                  </a:moveTo>
                  <a:lnTo>
                    <a:pt x="50" y="71"/>
                  </a:lnTo>
                  <a:lnTo>
                    <a:pt x="50" y="73"/>
                  </a:lnTo>
                  <a:lnTo>
                    <a:pt x="48" y="73"/>
                  </a:lnTo>
                  <a:lnTo>
                    <a:pt x="48" y="71"/>
                  </a:lnTo>
                  <a:close/>
                  <a:moveTo>
                    <a:pt x="77" y="44"/>
                  </a:moveTo>
                  <a:lnTo>
                    <a:pt x="78" y="44"/>
                  </a:lnTo>
                  <a:lnTo>
                    <a:pt x="77" y="44"/>
                  </a:lnTo>
                  <a:close/>
                  <a:moveTo>
                    <a:pt x="2" y="63"/>
                  </a:moveTo>
                  <a:lnTo>
                    <a:pt x="4" y="63"/>
                  </a:lnTo>
                  <a:lnTo>
                    <a:pt x="2" y="63"/>
                  </a:lnTo>
                  <a:close/>
                  <a:moveTo>
                    <a:pt x="7" y="84"/>
                  </a:moveTo>
                  <a:lnTo>
                    <a:pt x="9" y="84"/>
                  </a:lnTo>
                  <a:lnTo>
                    <a:pt x="7" y="84"/>
                  </a:lnTo>
                  <a:close/>
                  <a:moveTo>
                    <a:pt x="9" y="63"/>
                  </a:moveTo>
                  <a:lnTo>
                    <a:pt x="9" y="65"/>
                  </a:lnTo>
                  <a:lnTo>
                    <a:pt x="9" y="63"/>
                  </a:lnTo>
                  <a:close/>
                  <a:moveTo>
                    <a:pt x="13" y="67"/>
                  </a:moveTo>
                  <a:lnTo>
                    <a:pt x="13" y="69"/>
                  </a:lnTo>
                  <a:lnTo>
                    <a:pt x="13" y="67"/>
                  </a:lnTo>
                  <a:close/>
                  <a:moveTo>
                    <a:pt x="13" y="98"/>
                  </a:moveTo>
                  <a:lnTo>
                    <a:pt x="15" y="98"/>
                  </a:lnTo>
                  <a:lnTo>
                    <a:pt x="13" y="98"/>
                  </a:lnTo>
                  <a:close/>
                  <a:moveTo>
                    <a:pt x="52" y="59"/>
                  </a:moveTo>
                  <a:lnTo>
                    <a:pt x="53" y="59"/>
                  </a:lnTo>
                  <a:lnTo>
                    <a:pt x="52" y="59"/>
                  </a:lnTo>
                  <a:close/>
                  <a:moveTo>
                    <a:pt x="57" y="80"/>
                  </a:moveTo>
                  <a:lnTo>
                    <a:pt x="57" y="82"/>
                  </a:lnTo>
                  <a:lnTo>
                    <a:pt x="57" y="8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5" name="Freeform 405">
              <a:extLst>
                <a:ext uri="{FF2B5EF4-FFF2-40B4-BE49-F238E27FC236}">
                  <a16:creationId xmlns:a16="http://schemas.microsoft.com/office/drawing/2014/main" id="{E092FFDC-2B65-468F-AEAD-74BF9963487C}"/>
                </a:ext>
              </a:extLst>
            </p:cNvPr>
            <p:cNvSpPr>
              <a:spLocks noEditPoints="1"/>
            </p:cNvSpPr>
            <p:nvPr/>
          </p:nvSpPr>
          <p:spPr bwMode="gray">
            <a:xfrm>
              <a:off x="5414514" y="3447984"/>
              <a:ext cx="410837" cy="473381"/>
            </a:xfrm>
            <a:custGeom>
              <a:avLst/>
              <a:gdLst>
                <a:gd name="T0" fmla="*/ 247 w 335"/>
                <a:gd name="T1" fmla="*/ 198 h 386"/>
                <a:gd name="T2" fmla="*/ 245 w 335"/>
                <a:gd name="T3" fmla="*/ 194 h 386"/>
                <a:gd name="T4" fmla="*/ 236 w 335"/>
                <a:gd name="T5" fmla="*/ 201 h 386"/>
                <a:gd name="T6" fmla="*/ 220 w 335"/>
                <a:gd name="T7" fmla="*/ 207 h 386"/>
                <a:gd name="T8" fmla="*/ 203 w 335"/>
                <a:gd name="T9" fmla="*/ 200 h 386"/>
                <a:gd name="T10" fmla="*/ 201 w 335"/>
                <a:gd name="T11" fmla="*/ 215 h 386"/>
                <a:gd name="T12" fmla="*/ 180 w 335"/>
                <a:gd name="T13" fmla="*/ 223 h 386"/>
                <a:gd name="T14" fmla="*/ 182 w 335"/>
                <a:gd name="T15" fmla="*/ 207 h 386"/>
                <a:gd name="T16" fmla="*/ 165 w 335"/>
                <a:gd name="T17" fmla="*/ 209 h 386"/>
                <a:gd name="T18" fmla="*/ 142 w 335"/>
                <a:gd name="T19" fmla="*/ 215 h 386"/>
                <a:gd name="T20" fmla="*/ 128 w 335"/>
                <a:gd name="T21" fmla="*/ 219 h 386"/>
                <a:gd name="T22" fmla="*/ 130 w 335"/>
                <a:gd name="T23" fmla="*/ 207 h 386"/>
                <a:gd name="T24" fmla="*/ 157 w 335"/>
                <a:gd name="T25" fmla="*/ 194 h 386"/>
                <a:gd name="T26" fmla="*/ 190 w 335"/>
                <a:gd name="T27" fmla="*/ 190 h 386"/>
                <a:gd name="T28" fmla="*/ 201 w 335"/>
                <a:gd name="T29" fmla="*/ 165 h 386"/>
                <a:gd name="T30" fmla="*/ 207 w 335"/>
                <a:gd name="T31" fmla="*/ 169 h 386"/>
                <a:gd name="T32" fmla="*/ 239 w 335"/>
                <a:gd name="T33" fmla="*/ 146 h 386"/>
                <a:gd name="T34" fmla="*/ 247 w 335"/>
                <a:gd name="T35" fmla="*/ 98 h 386"/>
                <a:gd name="T36" fmla="*/ 262 w 335"/>
                <a:gd name="T37" fmla="*/ 84 h 386"/>
                <a:gd name="T38" fmla="*/ 278 w 335"/>
                <a:gd name="T39" fmla="*/ 121 h 386"/>
                <a:gd name="T40" fmla="*/ 274 w 335"/>
                <a:gd name="T41" fmla="*/ 130 h 386"/>
                <a:gd name="T42" fmla="*/ 264 w 335"/>
                <a:gd name="T43" fmla="*/ 142 h 386"/>
                <a:gd name="T44" fmla="*/ 262 w 335"/>
                <a:gd name="T45" fmla="*/ 48 h 386"/>
                <a:gd name="T46" fmla="*/ 280 w 335"/>
                <a:gd name="T47" fmla="*/ 4 h 386"/>
                <a:gd name="T48" fmla="*/ 324 w 335"/>
                <a:gd name="T49" fmla="*/ 38 h 386"/>
                <a:gd name="T50" fmla="*/ 312 w 335"/>
                <a:gd name="T51" fmla="*/ 52 h 386"/>
                <a:gd name="T52" fmla="*/ 262 w 335"/>
                <a:gd name="T53" fmla="*/ 63 h 386"/>
                <a:gd name="T54" fmla="*/ 251 w 335"/>
                <a:gd name="T55" fmla="*/ 77 h 386"/>
                <a:gd name="T56" fmla="*/ 132 w 335"/>
                <a:gd name="T57" fmla="*/ 236 h 386"/>
                <a:gd name="T58" fmla="*/ 124 w 335"/>
                <a:gd name="T59" fmla="*/ 257 h 386"/>
                <a:gd name="T60" fmla="*/ 111 w 335"/>
                <a:gd name="T61" fmla="*/ 265 h 386"/>
                <a:gd name="T62" fmla="*/ 109 w 335"/>
                <a:gd name="T63" fmla="*/ 249 h 386"/>
                <a:gd name="T64" fmla="*/ 105 w 335"/>
                <a:gd name="T65" fmla="*/ 244 h 386"/>
                <a:gd name="T66" fmla="*/ 99 w 335"/>
                <a:gd name="T67" fmla="*/ 236 h 386"/>
                <a:gd name="T68" fmla="*/ 99 w 335"/>
                <a:gd name="T69" fmla="*/ 236 h 386"/>
                <a:gd name="T70" fmla="*/ 115 w 335"/>
                <a:gd name="T71" fmla="*/ 221 h 386"/>
                <a:gd name="T72" fmla="*/ 128 w 335"/>
                <a:gd name="T73" fmla="*/ 224 h 386"/>
                <a:gd name="T74" fmla="*/ 167 w 335"/>
                <a:gd name="T75" fmla="*/ 228 h 386"/>
                <a:gd name="T76" fmla="*/ 138 w 335"/>
                <a:gd name="T77" fmla="*/ 236 h 386"/>
                <a:gd name="T78" fmla="*/ 142 w 335"/>
                <a:gd name="T79" fmla="*/ 226 h 386"/>
                <a:gd name="T80" fmla="*/ 165 w 335"/>
                <a:gd name="T81" fmla="*/ 213 h 386"/>
                <a:gd name="T82" fmla="*/ 226 w 335"/>
                <a:gd name="T83" fmla="*/ 150 h 386"/>
                <a:gd name="T84" fmla="*/ 103 w 335"/>
                <a:gd name="T85" fmla="*/ 249 h 386"/>
                <a:gd name="T86" fmla="*/ 172 w 335"/>
                <a:gd name="T87" fmla="*/ 213 h 386"/>
                <a:gd name="T88" fmla="*/ 119 w 335"/>
                <a:gd name="T89" fmla="*/ 282 h 386"/>
                <a:gd name="T90" fmla="*/ 11 w 335"/>
                <a:gd name="T91" fmla="*/ 384 h 386"/>
                <a:gd name="T92" fmla="*/ 90 w 335"/>
                <a:gd name="T93" fmla="*/ 238 h 386"/>
                <a:gd name="T94" fmla="*/ 140 w 335"/>
                <a:gd name="T95" fmla="*/ 217 h 386"/>
                <a:gd name="T96" fmla="*/ 149 w 335"/>
                <a:gd name="T97" fmla="*/ 219 h 386"/>
                <a:gd name="T98" fmla="*/ 92 w 335"/>
                <a:gd name="T99" fmla="*/ 232 h 386"/>
                <a:gd name="T100" fmla="*/ 96 w 335"/>
                <a:gd name="T101" fmla="*/ 228 h 386"/>
                <a:gd name="T102" fmla="*/ 140 w 335"/>
                <a:gd name="T103" fmla="*/ 242 h 386"/>
                <a:gd name="T104" fmla="*/ 101 w 335"/>
                <a:gd name="T105" fmla="*/ 257 h 386"/>
                <a:gd name="T106" fmla="*/ 128 w 335"/>
                <a:gd name="T107" fmla="*/ 219 h 386"/>
                <a:gd name="T108" fmla="*/ 142 w 335"/>
                <a:gd name="T109" fmla="*/ 219 h 386"/>
                <a:gd name="T110" fmla="*/ 168 w 335"/>
                <a:gd name="T111" fmla="*/ 207 h 386"/>
                <a:gd name="T112" fmla="*/ 205 w 335"/>
                <a:gd name="T113" fmla="*/ 207 h 386"/>
                <a:gd name="T114" fmla="*/ 163 w 335"/>
                <a:gd name="T115" fmla="*/ 211 h 386"/>
                <a:gd name="T116" fmla="*/ 272 w 335"/>
                <a:gd name="T117" fmla="*/ 140 h 386"/>
                <a:gd name="T118" fmla="*/ 128 w 335"/>
                <a:gd name="T119" fmla="*/ 246 h 386"/>
                <a:gd name="T120" fmla="*/ 151 w 335"/>
                <a:gd name="T121" fmla="*/ 213 h 386"/>
                <a:gd name="T122" fmla="*/ 94 w 335"/>
                <a:gd name="T123" fmla="*/ 321 h 386"/>
                <a:gd name="T124" fmla="*/ 96 w 335"/>
                <a:gd name="T125" fmla="*/ 211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5" h="386">
                  <a:moveTo>
                    <a:pt x="259" y="186"/>
                  </a:moveTo>
                  <a:lnTo>
                    <a:pt x="261" y="186"/>
                  </a:lnTo>
                  <a:lnTo>
                    <a:pt x="259" y="186"/>
                  </a:lnTo>
                  <a:lnTo>
                    <a:pt x="261" y="186"/>
                  </a:lnTo>
                  <a:lnTo>
                    <a:pt x="261" y="188"/>
                  </a:lnTo>
                  <a:lnTo>
                    <a:pt x="262" y="188"/>
                  </a:lnTo>
                  <a:lnTo>
                    <a:pt x="261" y="188"/>
                  </a:lnTo>
                  <a:lnTo>
                    <a:pt x="262" y="188"/>
                  </a:lnTo>
                  <a:lnTo>
                    <a:pt x="262" y="190"/>
                  </a:lnTo>
                  <a:lnTo>
                    <a:pt x="261" y="190"/>
                  </a:lnTo>
                  <a:lnTo>
                    <a:pt x="259" y="190"/>
                  </a:lnTo>
                  <a:lnTo>
                    <a:pt x="257" y="190"/>
                  </a:lnTo>
                  <a:lnTo>
                    <a:pt x="257" y="192"/>
                  </a:lnTo>
                  <a:lnTo>
                    <a:pt x="257" y="194"/>
                  </a:lnTo>
                  <a:lnTo>
                    <a:pt x="255" y="194"/>
                  </a:lnTo>
                  <a:lnTo>
                    <a:pt x="255" y="196"/>
                  </a:lnTo>
                  <a:lnTo>
                    <a:pt x="255" y="198"/>
                  </a:lnTo>
                  <a:lnTo>
                    <a:pt x="255" y="200"/>
                  </a:lnTo>
                  <a:lnTo>
                    <a:pt x="253" y="200"/>
                  </a:lnTo>
                  <a:lnTo>
                    <a:pt x="255" y="200"/>
                  </a:lnTo>
                  <a:lnTo>
                    <a:pt x="253" y="200"/>
                  </a:lnTo>
                  <a:lnTo>
                    <a:pt x="255" y="200"/>
                  </a:lnTo>
                  <a:lnTo>
                    <a:pt x="253" y="200"/>
                  </a:lnTo>
                  <a:lnTo>
                    <a:pt x="255" y="200"/>
                  </a:lnTo>
                  <a:lnTo>
                    <a:pt x="253" y="200"/>
                  </a:lnTo>
                  <a:lnTo>
                    <a:pt x="255" y="200"/>
                  </a:lnTo>
                  <a:lnTo>
                    <a:pt x="253" y="200"/>
                  </a:lnTo>
                  <a:lnTo>
                    <a:pt x="255" y="200"/>
                  </a:lnTo>
                  <a:lnTo>
                    <a:pt x="253" y="200"/>
                  </a:lnTo>
                  <a:lnTo>
                    <a:pt x="255" y="200"/>
                  </a:lnTo>
                  <a:lnTo>
                    <a:pt x="253" y="200"/>
                  </a:lnTo>
                  <a:lnTo>
                    <a:pt x="255" y="200"/>
                  </a:lnTo>
                  <a:lnTo>
                    <a:pt x="253" y="200"/>
                  </a:lnTo>
                  <a:lnTo>
                    <a:pt x="255" y="200"/>
                  </a:lnTo>
                  <a:lnTo>
                    <a:pt x="253" y="200"/>
                  </a:lnTo>
                  <a:lnTo>
                    <a:pt x="251" y="200"/>
                  </a:lnTo>
                  <a:lnTo>
                    <a:pt x="253" y="200"/>
                  </a:lnTo>
                  <a:lnTo>
                    <a:pt x="251" y="200"/>
                  </a:lnTo>
                  <a:lnTo>
                    <a:pt x="253" y="200"/>
                  </a:lnTo>
                  <a:lnTo>
                    <a:pt x="251" y="200"/>
                  </a:lnTo>
                  <a:lnTo>
                    <a:pt x="251" y="201"/>
                  </a:lnTo>
                  <a:lnTo>
                    <a:pt x="249" y="201"/>
                  </a:lnTo>
                  <a:lnTo>
                    <a:pt x="249" y="203"/>
                  </a:lnTo>
                  <a:lnTo>
                    <a:pt x="247" y="203"/>
                  </a:lnTo>
                  <a:lnTo>
                    <a:pt x="245" y="203"/>
                  </a:lnTo>
                  <a:lnTo>
                    <a:pt x="245" y="201"/>
                  </a:lnTo>
                  <a:lnTo>
                    <a:pt x="245" y="203"/>
                  </a:lnTo>
                  <a:lnTo>
                    <a:pt x="245" y="201"/>
                  </a:lnTo>
                  <a:lnTo>
                    <a:pt x="245" y="203"/>
                  </a:lnTo>
                  <a:lnTo>
                    <a:pt x="247" y="203"/>
                  </a:lnTo>
                  <a:lnTo>
                    <a:pt x="247" y="201"/>
                  </a:lnTo>
                  <a:lnTo>
                    <a:pt x="247" y="203"/>
                  </a:lnTo>
                  <a:lnTo>
                    <a:pt x="247" y="201"/>
                  </a:lnTo>
                  <a:lnTo>
                    <a:pt x="247" y="203"/>
                  </a:lnTo>
                  <a:lnTo>
                    <a:pt x="247" y="201"/>
                  </a:lnTo>
                  <a:lnTo>
                    <a:pt x="247" y="203"/>
                  </a:lnTo>
                  <a:lnTo>
                    <a:pt x="247" y="201"/>
                  </a:lnTo>
                  <a:lnTo>
                    <a:pt x="247" y="203"/>
                  </a:lnTo>
                  <a:lnTo>
                    <a:pt x="247" y="201"/>
                  </a:lnTo>
                  <a:lnTo>
                    <a:pt x="247" y="200"/>
                  </a:lnTo>
                  <a:lnTo>
                    <a:pt x="247" y="201"/>
                  </a:lnTo>
                  <a:lnTo>
                    <a:pt x="247" y="200"/>
                  </a:lnTo>
                  <a:lnTo>
                    <a:pt x="247" y="198"/>
                  </a:lnTo>
                  <a:lnTo>
                    <a:pt x="247" y="196"/>
                  </a:lnTo>
                  <a:lnTo>
                    <a:pt x="249" y="196"/>
                  </a:lnTo>
                  <a:lnTo>
                    <a:pt x="247" y="196"/>
                  </a:lnTo>
                  <a:lnTo>
                    <a:pt x="249" y="196"/>
                  </a:lnTo>
                  <a:lnTo>
                    <a:pt x="247" y="196"/>
                  </a:lnTo>
                  <a:lnTo>
                    <a:pt x="249" y="196"/>
                  </a:lnTo>
                  <a:lnTo>
                    <a:pt x="249" y="194"/>
                  </a:lnTo>
                  <a:lnTo>
                    <a:pt x="247" y="194"/>
                  </a:lnTo>
                  <a:lnTo>
                    <a:pt x="249" y="194"/>
                  </a:lnTo>
                  <a:lnTo>
                    <a:pt x="247" y="194"/>
                  </a:lnTo>
                  <a:lnTo>
                    <a:pt x="249" y="194"/>
                  </a:lnTo>
                  <a:lnTo>
                    <a:pt x="247" y="194"/>
                  </a:lnTo>
                  <a:lnTo>
                    <a:pt x="249" y="194"/>
                  </a:lnTo>
                  <a:lnTo>
                    <a:pt x="247" y="194"/>
                  </a:lnTo>
                  <a:lnTo>
                    <a:pt x="249" y="194"/>
                  </a:lnTo>
                  <a:lnTo>
                    <a:pt x="251" y="194"/>
                  </a:lnTo>
                  <a:lnTo>
                    <a:pt x="249" y="194"/>
                  </a:lnTo>
                  <a:lnTo>
                    <a:pt x="251" y="194"/>
                  </a:lnTo>
                  <a:lnTo>
                    <a:pt x="249" y="194"/>
                  </a:lnTo>
                  <a:lnTo>
                    <a:pt x="251" y="194"/>
                  </a:lnTo>
                  <a:lnTo>
                    <a:pt x="249" y="194"/>
                  </a:lnTo>
                  <a:lnTo>
                    <a:pt x="251" y="194"/>
                  </a:lnTo>
                  <a:lnTo>
                    <a:pt x="249" y="194"/>
                  </a:lnTo>
                  <a:lnTo>
                    <a:pt x="251" y="194"/>
                  </a:lnTo>
                  <a:lnTo>
                    <a:pt x="251" y="192"/>
                  </a:lnTo>
                  <a:lnTo>
                    <a:pt x="251" y="194"/>
                  </a:lnTo>
                  <a:lnTo>
                    <a:pt x="251" y="192"/>
                  </a:lnTo>
                  <a:lnTo>
                    <a:pt x="251" y="190"/>
                  </a:lnTo>
                  <a:lnTo>
                    <a:pt x="249" y="190"/>
                  </a:lnTo>
                  <a:lnTo>
                    <a:pt x="251" y="190"/>
                  </a:lnTo>
                  <a:lnTo>
                    <a:pt x="249" y="190"/>
                  </a:lnTo>
                  <a:lnTo>
                    <a:pt x="251" y="190"/>
                  </a:lnTo>
                  <a:lnTo>
                    <a:pt x="249" y="190"/>
                  </a:lnTo>
                  <a:lnTo>
                    <a:pt x="247" y="190"/>
                  </a:lnTo>
                  <a:lnTo>
                    <a:pt x="249" y="190"/>
                  </a:lnTo>
                  <a:lnTo>
                    <a:pt x="249" y="192"/>
                  </a:lnTo>
                  <a:lnTo>
                    <a:pt x="247" y="192"/>
                  </a:lnTo>
                  <a:lnTo>
                    <a:pt x="247" y="190"/>
                  </a:lnTo>
                  <a:lnTo>
                    <a:pt x="247" y="192"/>
                  </a:lnTo>
                  <a:lnTo>
                    <a:pt x="247" y="190"/>
                  </a:lnTo>
                  <a:lnTo>
                    <a:pt x="247" y="192"/>
                  </a:lnTo>
                  <a:lnTo>
                    <a:pt x="247" y="190"/>
                  </a:lnTo>
                  <a:lnTo>
                    <a:pt x="247" y="192"/>
                  </a:lnTo>
                  <a:lnTo>
                    <a:pt x="247" y="190"/>
                  </a:lnTo>
                  <a:lnTo>
                    <a:pt x="245" y="190"/>
                  </a:lnTo>
                  <a:lnTo>
                    <a:pt x="247" y="190"/>
                  </a:lnTo>
                  <a:lnTo>
                    <a:pt x="245" y="190"/>
                  </a:lnTo>
                  <a:lnTo>
                    <a:pt x="247" y="190"/>
                  </a:lnTo>
                  <a:lnTo>
                    <a:pt x="245" y="190"/>
                  </a:lnTo>
                  <a:lnTo>
                    <a:pt x="245" y="192"/>
                  </a:lnTo>
                  <a:lnTo>
                    <a:pt x="245" y="190"/>
                  </a:lnTo>
                  <a:lnTo>
                    <a:pt x="245" y="192"/>
                  </a:lnTo>
                  <a:lnTo>
                    <a:pt x="247" y="192"/>
                  </a:lnTo>
                  <a:lnTo>
                    <a:pt x="245" y="192"/>
                  </a:lnTo>
                  <a:lnTo>
                    <a:pt x="247" y="192"/>
                  </a:lnTo>
                  <a:lnTo>
                    <a:pt x="245" y="192"/>
                  </a:lnTo>
                  <a:lnTo>
                    <a:pt x="247" y="192"/>
                  </a:lnTo>
                  <a:lnTo>
                    <a:pt x="245" y="192"/>
                  </a:lnTo>
                  <a:lnTo>
                    <a:pt x="247" y="192"/>
                  </a:lnTo>
                  <a:lnTo>
                    <a:pt x="245" y="192"/>
                  </a:lnTo>
                  <a:lnTo>
                    <a:pt x="245" y="194"/>
                  </a:lnTo>
                  <a:lnTo>
                    <a:pt x="245" y="192"/>
                  </a:lnTo>
                  <a:lnTo>
                    <a:pt x="245" y="194"/>
                  </a:lnTo>
                  <a:lnTo>
                    <a:pt x="245" y="192"/>
                  </a:lnTo>
                  <a:lnTo>
                    <a:pt x="245" y="194"/>
                  </a:lnTo>
                  <a:lnTo>
                    <a:pt x="245" y="192"/>
                  </a:lnTo>
                  <a:lnTo>
                    <a:pt x="245" y="194"/>
                  </a:lnTo>
                  <a:lnTo>
                    <a:pt x="243" y="194"/>
                  </a:lnTo>
                  <a:lnTo>
                    <a:pt x="245" y="194"/>
                  </a:lnTo>
                  <a:lnTo>
                    <a:pt x="243" y="194"/>
                  </a:lnTo>
                  <a:lnTo>
                    <a:pt x="245" y="194"/>
                  </a:lnTo>
                  <a:lnTo>
                    <a:pt x="243" y="194"/>
                  </a:lnTo>
                  <a:lnTo>
                    <a:pt x="245" y="194"/>
                  </a:lnTo>
                  <a:lnTo>
                    <a:pt x="245" y="196"/>
                  </a:lnTo>
                  <a:lnTo>
                    <a:pt x="245" y="194"/>
                  </a:lnTo>
                  <a:lnTo>
                    <a:pt x="245" y="196"/>
                  </a:lnTo>
                  <a:lnTo>
                    <a:pt x="245" y="194"/>
                  </a:lnTo>
                  <a:lnTo>
                    <a:pt x="245" y="196"/>
                  </a:lnTo>
                  <a:lnTo>
                    <a:pt x="245" y="194"/>
                  </a:lnTo>
                  <a:lnTo>
                    <a:pt x="245" y="196"/>
                  </a:lnTo>
                  <a:lnTo>
                    <a:pt x="245" y="194"/>
                  </a:lnTo>
                  <a:lnTo>
                    <a:pt x="245" y="196"/>
                  </a:lnTo>
                  <a:lnTo>
                    <a:pt x="245" y="194"/>
                  </a:lnTo>
                  <a:lnTo>
                    <a:pt x="243" y="194"/>
                  </a:lnTo>
                  <a:lnTo>
                    <a:pt x="245" y="194"/>
                  </a:lnTo>
                  <a:lnTo>
                    <a:pt x="245" y="196"/>
                  </a:lnTo>
                  <a:lnTo>
                    <a:pt x="243" y="196"/>
                  </a:lnTo>
                  <a:lnTo>
                    <a:pt x="245" y="196"/>
                  </a:lnTo>
                  <a:lnTo>
                    <a:pt x="243" y="196"/>
                  </a:lnTo>
                  <a:lnTo>
                    <a:pt x="245" y="196"/>
                  </a:lnTo>
                  <a:lnTo>
                    <a:pt x="243" y="196"/>
                  </a:lnTo>
                  <a:lnTo>
                    <a:pt x="245" y="196"/>
                  </a:lnTo>
                  <a:lnTo>
                    <a:pt x="243" y="196"/>
                  </a:lnTo>
                  <a:lnTo>
                    <a:pt x="245" y="196"/>
                  </a:lnTo>
                  <a:lnTo>
                    <a:pt x="243" y="196"/>
                  </a:lnTo>
                  <a:lnTo>
                    <a:pt x="245" y="196"/>
                  </a:lnTo>
                  <a:lnTo>
                    <a:pt x="243" y="196"/>
                  </a:lnTo>
                  <a:lnTo>
                    <a:pt x="245" y="196"/>
                  </a:lnTo>
                  <a:lnTo>
                    <a:pt x="243" y="196"/>
                  </a:lnTo>
                  <a:lnTo>
                    <a:pt x="245" y="196"/>
                  </a:lnTo>
                  <a:lnTo>
                    <a:pt x="243" y="196"/>
                  </a:lnTo>
                  <a:lnTo>
                    <a:pt x="245" y="196"/>
                  </a:lnTo>
                  <a:lnTo>
                    <a:pt x="243" y="196"/>
                  </a:lnTo>
                  <a:lnTo>
                    <a:pt x="245" y="196"/>
                  </a:lnTo>
                  <a:lnTo>
                    <a:pt x="243" y="196"/>
                  </a:lnTo>
                  <a:lnTo>
                    <a:pt x="243" y="198"/>
                  </a:lnTo>
                  <a:lnTo>
                    <a:pt x="245" y="198"/>
                  </a:lnTo>
                  <a:lnTo>
                    <a:pt x="245" y="196"/>
                  </a:lnTo>
                  <a:lnTo>
                    <a:pt x="245" y="198"/>
                  </a:lnTo>
                  <a:lnTo>
                    <a:pt x="245" y="196"/>
                  </a:lnTo>
                  <a:lnTo>
                    <a:pt x="245" y="198"/>
                  </a:lnTo>
                  <a:lnTo>
                    <a:pt x="245" y="200"/>
                  </a:lnTo>
                  <a:lnTo>
                    <a:pt x="243" y="200"/>
                  </a:lnTo>
                  <a:lnTo>
                    <a:pt x="243" y="198"/>
                  </a:lnTo>
                  <a:lnTo>
                    <a:pt x="243" y="196"/>
                  </a:lnTo>
                  <a:lnTo>
                    <a:pt x="241" y="196"/>
                  </a:lnTo>
                  <a:lnTo>
                    <a:pt x="239" y="196"/>
                  </a:lnTo>
                  <a:lnTo>
                    <a:pt x="239" y="198"/>
                  </a:lnTo>
                  <a:lnTo>
                    <a:pt x="238" y="198"/>
                  </a:lnTo>
                  <a:lnTo>
                    <a:pt x="238" y="200"/>
                  </a:lnTo>
                  <a:lnTo>
                    <a:pt x="236" y="200"/>
                  </a:lnTo>
                  <a:lnTo>
                    <a:pt x="238" y="200"/>
                  </a:lnTo>
                  <a:lnTo>
                    <a:pt x="236" y="200"/>
                  </a:lnTo>
                  <a:lnTo>
                    <a:pt x="236" y="201"/>
                  </a:lnTo>
                  <a:lnTo>
                    <a:pt x="236" y="200"/>
                  </a:lnTo>
                  <a:lnTo>
                    <a:pt x="236" y="201"/>
                  </a:lnTo>
                  <a:lnTo>
                    <a:pt x="236" y="203"/>
                  </a:lnTo>
                  <a:lnTo>
                    <a:pt x="238" y="203"/>
                  </a:lnTo>
                  <a:lnTo>
                    <a:pt x="236" y="203"/>
                  </a:lnTo>
                  <a:lnTo>
                    <a:pt x="236" y="205"/>
                  </a:lnTo>
                  <a:lnTo>
                    <a:pt x="236" y="203"/>
                  </a:lnTo>
                  <a:lnTo>
                    <a:pt x="236" y="205"/>
                  </a:lnTo>
                  <a:lnTo>
                    <a:pt x="236" y="207"/>
                  </a:lnTo>
                  <a:lnTo>
                    <a:pt x="234" y="207"/>
                  </a:lnTo>
                  <a:lnTo>
                    <a:pt x="236" y="207"/>
                  </a:lnTo>
                  <a:lnTo>
                    <a:pt x="234" y="207"/>
                  </a:lnTo>
                  <a:lnTo>
                    <a:pt x="236" y="207"/>
                  </a:lnTo>
                  <a:lnTo>
                    <a:pt x="234" y="207"/>
                  </a:lnTo>
                  <a:lnTo>
                    <a:pt x="236" y="207"/>
                  </a:lnTo>
                  <a:lnTo>
                    <a:pt x="234" y="207"/>
                  </a:lnTo>
                  <a:lnTo>
                    <a:pt x="236" y="207"/>
                  </a:lnTo>
                  <a:lnTo>
                    <a:pt x="234" y="207"/>
                  </a:lnTo>
                  <a:lnTo>
                    <a:pt x="236" y="207"/>
                  </a:lnTo>
                  <a:lnTo>
                    <a:pt x="234" y="207"/>
                  </a:lnTo>
                  <a:lnTo>
                    <a:pt x="236" y="207"/>
                  </a:lnTo>
                  <a:lnTo>
                    <a:pt x="234" y="207"/>
                  </a:lnTo>
                  <a:lnTo>
                    <a:pt x="236" y="207"/>
                  </a:lnTo>
                  <a:lnTo>
                    <a:pt x="234" y="207"/>
                  </a:lnTo>
                  <a:lnTo>
                    <a:pt x="236" y="207"/>
                  </a:lnTo>
                  <a:lnTo>
                    <a:pt x="234" y="207"/>
                  </a:lnTo>
                  <a:lnTo>
                    <a:pt x="236" y="207"/>
                  </a:lnTo>
                  <a:lnTo>
                    <a:pt x="234" y="207"/>
                  </a:lnTo>
                  <a:lnTo>
                    <a:pt x="234" y="209"/>
                  </a:lnTo>
                  <a:lnTo>
                    <a:pt x="232" y="209"/>
                  </a:lnTo>
                  <a:lnTo>
                    <a:pt x="232" y="207"/>
                  </a:lnTo>
                  <a:lnTo>
                    <a:pt x="232" y="205"/>
                  </a:lnTo>
                  <a:lnTo>
                    <a:pt x="232" y="207"/>
                  </a:lnTo>
                  <a:lnTo>
                    <a:pt x="232" y="205"/>
                  </a:lnTo>
                  <a:lnTo>
                    <a:pt x="232" y="203"/>
                  </a:lnTo>
                  <a:lnTo>
                    <a:pt x="232" y="205"/>
                  </a:lnTo>
                  <a:lnTo>
                    <a:pt x="232" y="203"/>
                  </a:lnTo>
                  <a:lnTo>
                    <a:pt x="232" y="201"/>
                  </a:lnTo>
                  <a:lnTo>
                    <a:pt x="232" y="203"/>
                  </a:lnTo>
                  <a:lnTo>
                    <a:pt x="232" y="201"/>
                  </a:lnTo>
                  <a:lnTo>
                    <a:pt x="232" y="203"/>
                  </a:lnTo>
                  <a:lnTo>
                    <a:pt x="232" y="201"/>
                  </a:lnTo>
                  <a:lnTo>
                    <a:pt x="234" y="201"/>
                  </a:lnTo>
                  <a:lnTo>
                    <a:pt x="234" y="200"/>
                  </a:lnTo>
                  <a:lnTo>
                    <a:pt x="234" y="201"/>
                  </a:lnTo>
                  <a:lnTo>
                    <a:pt x="234" y="200"/>
                  </a:lnTo>
                  <a:lnTo>
                    <a:pt x="234" y="201"/>
                  </a:lnTo>
                  <a:lnTo>
                    <a:pt x="234" y="200"/>
                  </a:lnTo>
                  <a:lnTo>
                    <a:pt x="234" y="201"/>
                  </a:lnTo>
                  <a:lnTo>
                    <a:pt x="234" y="200"/>
                  </a:lnTo>
                  <a:lnTo>
                    <a:pt x="232" y="200"/>
                  </a:lnTo>
                  <a:lnTo>
                    <a:pt x="230" y="200"/>
                  </a:lnTo>
                  <a:lnTo>
                    <a:pt x="228" y="200"/>
                  </a:lnTo>
                  <a:lnTo>
                    <a:pt x="228" y="201"/>
                  </a:lnTo>
                  <a:lnTo>
                    <a:pt x="228" y="203"/>
                  </a:lnTo>
                  <a:lnTo>
                    <a:pt x="226" y="203"/>
                  </a:lnTo>
                  <a:lnTo>
                    <a:pt x="226" y="205"/>
                  </a:lnTo>
                  <a:lnTo>
                    <a:pt x="226" y="203"/>
                  </a:lnTo>
                  <a:lnTo>
                    <a:pt x="226" y="205"/>
                  </a:lnTo>
                  <a:lnTo>
                    <a:pt x="224" y="205"/>
                  </a:lnTo>
                  <a:lnTo>
                    <a:pt x="224" y="207"/>
                  </a:lnTo>
                  <a:lnTo>
                    <a:pt x="224" y="209"/>
                  </a:lnTo>
                  <a:lnTo>
                    <a:pt x="222" y="209"/>
                  </a:lnTo>
                  <a:lnTo>
                    <a:pt x="220" y="209"/>
                  </a:lnTo>
                  <a:lnTo>
                    <a:pt x="220" y="207"/>
                  </a:lnTo>
                  <a:lnTo>
                    <a:pt x="218" y="207"/>
                  </a:lnTo>
                  <a:lnTo>
                    <a:pt x="218" y="209"/>
                  </a:lnTo>
                  <a:lnTo>
                    <a:pt x="218" y="207"/>
                  </a:lnTo>
                  <a:lnTo>
                    <a:pt x="218" y="209"/>
                  </a:lnTo>
                  <a:lnTo>
                    <a:pt x="218" y="207"/>
                  </a:lnTo>
                  <a:lnTo>
                    <a:pt x="218" y="209"/>
                  </a:lnTo>
                  <a:lnTo>
                    <a:pt x="216" y="209"/>
                  </a:lnTo>
                  <a:lnTo>
                    <a:pt x="218" y="209"/>
                  </a:lnTo>
                  <a:lnTo>
                    <a:pt x="216" y="209"/>
                  </a:lnTo>
                  <a:lnTo>
                    <a:pt x="218" y="209"/>
                  </a:lnTo>
                  <a:lnTo>
                    <a:pt x="216" y="209"/>
                  </a:lnTo>
                  <a:lnTo>
                    <a:pt x="216" y="207"/>
                  </a:lnTo>
                  <a:lnTo>
                    <a:pt x="216" y="209"/>
                  </a:lnTo>
                  <a:lnTo>
                    <a:pt x="216" y="207"/>
                  </a:lnTo>
                  <a:lnTo>
                    <a:pt x="215" y="207"/>
                  </a:lnTo>
                  <a:lnTo>
                    <a:pt x="213" y="207"/>
                  </a:lnTo>
                  <a:lnTo>
                    <a:pt x="211" y="207"/>
                  </a:lnTo>
                  <a:lnTo>
                    <a:pt x="211" y="209"/>
                  </a:lnTo>
                  <a:lnTo>
                    <a:pt x="209" y="209"/>
                  </a:lnTo>
                  <a:lnTo>
                    <a:pt x="207" y="209"/>
                  </a:lnTo>
                  <a:lnTo>
                    <a:pt x="207" y="207"/>
                  </a:lnTo>
                  <a:lnTo>
                    <a:pt x="207" y="209"/>
                  </a:lnTo>
                  <a:lnTo>
                    <a:pt x="209" y="209"/>
                  </a:lnTo>
                  <a:lnTo>
                    <a:pt x="207" y="209"/>
                  </a:lnTo>
                  <a:lnTo>
                    <a:pt x="207" y="207"/>
                  </a:lnTo>
                  <a:lnTo>
                    <a:pt x="209" y="207"/>
                  </a:lnTo>
                  <a:lnTo>
                    <a:pt x="211" y="207"/>
                  </a:lnTo>
                  <a:lnTo>
                    <a:pt x="211" y="205"/>
                  </a:lnTo>
                  <a:lnTo>
                    <a:pt x="209" y="205"/>
                  </a:lnTo>
                  <a:lnTo>
                    <a:pt x="211" y="205"/>
                  </a:lnTo>
                  <a:lnTo>
                    <a:pt x="209" y="205"/>
                  </a:lnTo>
                  <a:lnTo>
                    <a:pt x="207" y="205"/>
                  </a:lnTo>
                  <a:lnTo>
                    <a:pt x="205" y="205"/>
                  </a:lnTo>
                  <a:lnTo>
                    <a:pt x="205" y="203"/>
                  </a:lnTo>
                  <a:lnTo>
                    <a:pt x="205" y="205"/>
                  </a:lnTo>
                  <a:lnTo>
                    <a:pt x="205" y="207"/>
                  </a:lnTo>
                  <a:lnTo>
                    <a:pt x="203" y="207"/>
                  </a:lnTo>
                  <a:lnTo>
                    <a:pt x="203" y="205"/>
                  </a:lnTo>
                  <a:lnTo>
                    <a:pt x="203" y="203"/>
                  </a:lnTo>
                  <a:lnTo>
                    <a:pt x="203" y="201"/>
                  </a:lnTo>
                  <a:lnTo>
                    <a:pt x="203" y="203"/>
                  </a:lnTo>
                  <a:lnTo>
                    <a:pt x="203" y="201"/>
                  </a:lnTo>
                  <a:lnTo>
                    <a:pt x="203" y="203"/>
                  </a:lnTo>
                  <a:lnTo>
                    <a:pt x="203" y="201"/>
                  </a:lnTo>
                  <a:lnTo>
                    <a:pt x="205" y="201"/>
                  </a:lnTo>
                  <a:lnTo>
                    <a:pt x="203" y="201"/>
                  </a:lnTo>
                  <a:lnTo>
                    <a:pt x="205" y="201"/>
                  </a:lnTo>
                  <a:lnTo>
                    <a:pt x="203" y="201"/>
                  </a:lnTo>
                  <a:lnTo>
                    <a:pt x="205" y="201"/>
                  </a:lnTo>
                  <a:lnTo>
                    <a:pt x="203" y="201"/>
                  </a:lnTo>
                  <a:lnTo>
                    <a:pt x="205" y="201"/>
                  </a:lnTo>
                  <a:lnTo>
                    <a:pt x="203" y="201"/>
                  </a:lnTo>
                  <a:lnTo>
                    <a:pt x="205" y="201"/>
                  </a:lnTo>
                  <a:lnTo>
                    <a:pt x="205" y="200"/>
                  </a:lnTo>
                  <a:lnTo>
                    <a:pt x="203" y="200"/>
                  </a:lnTo>
                  <a:lnTo>
                    <a:pt x="205" y="200"/>
                  </a:lnTo>
                  <a:lnTo>
                    <a:pt x="203" y="200"/>
                  </a:lnTo>
                  <a:lnTo>
                    <a:pt x="203" y="201"/>
                  </a:lnTo>
                  <a:lnTo>
                    <a:pt x="203" y="200"/>
                  </a:lnTo>
                  <a:lnTo>
                    <a:pt x="203" y="201"/>
                  </a:lnTo>
                  <a:lnTo>
                    <a:pt x="203" y="200"/>
                  </a:lnTo>
                  <a:lnTo>
                    <a:pt x="203" y="201"/>
                  </a:lnTo>
                  <a:lnTo>
                    <a:pt x="203" y="200"/>
                  </a:lnTo>
                  <a:lnTo>
                    <a:pt x="203" y="201"/>
                  </a:lnTo>
                  <a:lnTo>
                    <a:pt x="201" y="201"/>
                  </a:lnTo>
                  <a:lnTo>
                    <a:pt x="201" y="203"/>
                  </a:lnTo>
                  <a:lnTo>
                    <a:pt x="201" y="205"/>
                  </a:lnTo>
                  <a:lnTo>
                    <a:pt x="199" y="205"/>
                  </a:lnTo>
                  <a:lnTo>
                    <a:pt x="201" y="205"/>
                  </a:lnTo>
                  <a:lnTo>
                    <a:pt x="199" y="205"/>
                  </a:lnTo>
                  <a:lnTo>
                    <a:pt x="201" y="205"/>
                  </a:lnTo>
                  <a:lnTo>
                    <a:pt x="199" y="205"/>
                  </a:lnTo>
                  <a:lnTo>
                    <a:pt x="199" y="207"/>
                  </a:lnTo>
                  <a:lnTo>
                    <a:pt x="199" y="209"/>
                  </a:lnTo>
                  <a:lnTo>
                    <a:pt x="201" y="209"/>
                  </a:lnTo>
                  <a:lnTo>
                    <a:pt x="201" y="211"/>
                  </a:lnTo>
                  <a:lnTo>
                    <a:pt x="201" y="209"/>
                  </a:lnTo>
                  <a:lnTo>
                    <a:pt x="201" y="211"/>
                  </a:lnTo>
                  <a:lnTo>
                    <a:pt x="203" y="211"/>
                  </a:lnTo>
                  <a:lnTo>
                    <a:pt x="201" y="211"/>
                  </a:lnTo>
                  <a:lnTo>
                    <a:pt x="203" y="211"/>
                  </a:lnTo>
                  <a:lnTo>
                    <a:pt x="205" y="211"/>
                  </a:lnTo>
                  <a:lnTo>
                    <a:pt x="203" y="211"/>
                  </a:lnTo>
                  <a:lnTo>
                    <a:pt x="205" y="211"/>
                  </a:lnTo>
                  <a:lnTo>
                    <a:pt x="205" y="213"/>
                  </a:lnTo>
                  <a:lnTo>
                    <a:pt x="203" y="213"/>
                  </a:lnTo>
                  <a:lnTo>
                    <a:pt x="205" y="213"/>
                  </a:lnTo>
                  <a:lnTo>
                    <a:pt x="205" y="211"/>
                  </a:lnTo>
                  <a:lnTo>
                    <a:pt x="205" y="213"/>
                  </a:lnTo>
                  <a:lnTo>
                    <a:pt x="205" y="211"/>
                  </a:lnTo>
                  <a:lnTo>
                    <a:pt x="205" y="213"/>
                  </a:lnTo>
                  <a:lnTo>
                    <a:pt x="205" y="211"/>
                  </a:lnTo>
                  <a:lnTo>
                    <a:pt x="205" y="213"/>
                  </a:lnTo>
                  <a:lnTo>
                    <a:pt x="203" y="213"/>
                  </a:lnTo>
                  <a:lnTo>
                    <a:pt x="205" y="213"/>
                  </a:lnTo>
                  <a:lnTo>
                    <a:pt x="203" y="213"/>
                  </a:lnTo>
                  <a:lnTo>
                    <a:pt x="205" y="213"/>
                  </a:lnTo>
                  <a:lnTo>
                    <a:pt x="203" y="213"/>
                  </a:lnTo>
                  <a:lnTo>
                    <a:pt x="205" y="213"/>
                  </a:lnTo>
                  <a:lnTo>
                    <a:pt x="203" y="213"/>
                  </a:lnTo>
                  <a:lnTo>
                    <a:pt x="203" y="215"/>
                  </a:lnTo>
                  <a:lnTo>
                    <a:pt x="205" y="215"/>
                  </a:lnTo>
                  <a:lnTo>
                    <a:pt x="203" y="215"/>
                  </a:lnTo>
                  <a:lnTo>
                    <a:pt x="203" y="213"/>
                  </a:lnTo>
                  <a:lnTo>
                    <a:pt x="203" y="215"/>
                  </a:lnTo>
                  <a:lnTo>
                    <a:pt x="203" y="213"/>
                  </a:lnTo>
                  <a:lnTo>
                    <a:pt x="203" y="215"/>
                  </a:lnTo>
                  <a:lnTo>
                    <a:pt x="201" y="215"/>
                  </a:lnTo>
                  <a:lnTo>
                    <a:pt x="203" y="215"/>
                  </a:lnTo>
                  <a:lnTo>
                    <a:pt x="201" y="215"/>
                  </a:lnTo>
                  <a:lnTo>
                    <a:pt x="203" y="215"/>
                  </a:lnTo>
                  <a:lnTo>
                    <a:pt x="201" y="215"/>
                  </a:lnTo>
                  <a:lnTo>
                    <a:pt x="203" y="215"/>
                  </a:lnTo>
                  <a:lnTo>
                    <a:pt x="201" y="215"/>
                  </a:lnTo>
                  <a:lnTo>
                    <a:pt x="203" y="215"/>
                  </a:lnTo>
                  <a:lnTo>
                    <a:pt x="201" y="215"/>
                  </a:lnTo>
                  <a:lnTo>
                    <a:pt x="201" y="213"/>
                  </a:lnTo>
                  <a:lnTo>
                    <a:pt x="201" y="215"/>
                  </a:lnTo>
                  <a:lnTo>
                    <a:pt x="201" y="213"/>
                  </a:lnTo>
                  <a:lnTo>
                    <a:pt x="201" y="215"/>
                  </a:lnTo>
                  <a:lnTo>
                    <a:pt x="201" y="213"/>
                  </a:lnTo>
                  <a:lnTo>
                    <a:pt x="201" y="215"/>
                  </a:lnTo>
                  <a:lnTo>
                    <a:pt x="201" y="213"/>
                  </a:lnTo>
                  <a:lnTo>
                    <a:pt x="201" y="215"/>
                  </a:lnTo>
                  <a:lnTo>
                    <a:pt x="201" y="213"/>
                  </a:lnTo>
                  <a:lnTo>
                    <a:pt x="201" y="215"/>
                  </a:lnTo>
                  <a:lnTo>
                    <a:pt x="201" y="213"/>
                  </a:lnTo>
                  <a:lnTo>
                    <a:pt x="201" y="215"/>
                  </a:lnTo>
                  <a:lnTo>
                    <a:pt x="201" y="213"/>
                  </a:lnTo>
                  <a:lnTo>
                    <a:pt x="201" y="215"/>
                  </a:lnTo>
                  <a:lnTo>
                    <a:pt x="201" y="213"/>
                  </a:lnTo>
                  <a:lnTo>
                    <a:pt x="201" y="215"/>
                  </a:lnTo>
                  <a:lnTo>
                    <a:pt x="199" y="215"/>
                  </a:lnTo>
                  <a:lnTo>
                    <a:pt x="197" y="215"/>
                  </a:lnTo>
                  <a:lnTo>
                    <a:pt x="199" y="215"/>
                  </a:lnTo>
                  <a:lnTo>
                    <a:pt x="197" y="215"/>
                  </a:lnTo>
                  <a:lnTo>
                    <a:pt x="197" y="217"/>
                  </a:lnTo>
                  <a:lnTo>
                    <a:pt x="197" y="215"/>
                  </a:lnTo>
                  <a:lnTo>
                    <a:pt x="197" y="217"/>
                  </a:lnTo>
                  <a:lnTo>
                    <a:pt x="197" y="215"/>
                  </a:lnTo>
                  <a:lnTo>
                    <a:pt x="197" y="217"/>
                  </a:lnTo>
                  <a:lnTo>
                    <a:pt x="197" y="215"/>
                  </a:lnTo>
                  <a:lnTo>
                    <a:pt x="197" y="217"/>
                  </a:lnTo>
                  <a:lnTo>
                    <a:pt x="195" y="217"/>
                  </a:lnTo>
                  <a:lnTo>
                    <a:pt x="197" y="217"/>
                  </a:lnTo>
                  <a:lnTo>
                    <a:pt x="195" y="217"/>
                  </a:lnTo>
                  <a:lnTo>
                    <a:pt x="195" y="219"/>
                  </a:lnTo>
                  <a:lnTo>
                    <a:pt x="195" y="217"/>
                  </a:lnTo>
                  <a:lnTo>
                    <a:pt x="195" y="219"/>
                  </a:lnTo>
                  <a:lnTo>
                    <a:pt x="193" y="219"/>
                  </a:lnTo>
                  <a:lnTo>
                    <a:pt x="195" y="219"/>
                  </a:lnTo>
                  <a:lnTo>
                    <a:pt x="195" y="221"/>
                  </a:lnTo>
                  <a:lnTo>
                    <a:pt x="193" y="221"/>
                  </a:lnTo>
                  <a:lnTo>
                    <a:pt x="195" y="221"/>
                  </a:lnTo>
                  <a:lnTo>
                    <a:pt x="193" y="221"/>
                  </a:lnTo>
                  <a:lnTo>
                    <a:pt x="193" y="223"/>
                  </a:lnTo>
                  <a:lnTo>
                    <a:pt x="193" y="221"/>
                  </a:lnTo>
                  <a:lnTo>
                    <a:pt x="193" y="223"/>
                  </a:lnTo>
                  <a:lnTo>
                    <a:pt x="193" y="221"/>
                  </a:lnTo>
                  <a:lnTo>
                    <a:pt x="193" y="223"/>
                  </a:lnTo>
                  <a:lnTo>
                    <a:pt x="193" y="221"/>
                  </a:lnTo>
                  <a:lnTo>
                    <a:pt x="193" y="223"/>
                  </a:lnTo>
                  <a:lnTo>
                    <a:pt x="191" y="223"/>
                  </a:lnTo>
                  <a:lnTo>
                    <a:pt x="191" y="224"/>
                  </a:lnTo>
                  <a:lnTo>
                    <a:pt x="191" y="226"/>
                  </a:lnTo>
                  <a:lnTo>
                    <a:pt x="190" y="226"/>
                  </a:lnTo>
                  <a:lnTo>
                    <a:pt x="191" y="226"/>
                  </a:lnTo>
                  <a:lnTo>
                    <a:pt x="190" y="226"/>
                  </a:lnTo>
                  <a:lnTo>
                    <a:pt x="190" y="228"/>
                  </a:lnTo>
                  <a:lnTo>
                    <a:pt x="188" y="228"/>
                  </a:lnTo>
                  <a:lnTo>
                    <a:pt x="188" y="230"/>
                  </a:lnTo>
                  <a:lnTo>
                    <a:pt x="188" y="228"/>
                  </a:lnTo>
                  <a:lnTo>
                    <a:pt x="188" y="230"/>
                  </a:lnTo>
                  <a:lnTo>
                    <a:pt x="188" y="228"/>
                  </a:lnTo>
                  <a:lnTo>
                    <a:pt x="186" y="228"/>
                  </a:lnTo>
                  <a:lnTo>
                    <a:pt x="188" y="228"/>
                  </a:lnTo>
                  <a:lnTo>
                    <a:pt x="186" y="228"/>
                  </a:lnTo>
                  <a:lnTo>
                    <a:pt x="184" y="228"/>
                  </a:lnTo>
                  <a:lnTo>
                    <a:pt x="184" y="226"/>
                  </a:lnTo>
                  <a:lnTo>
                    <a:pt x="184" y="228"/>
                  </a:lnTo>
                  <a:lnTo>
                    <a:pt x="184" y="226"/>
                  </a:lnTo>
                  <a:lnTo>
                    <a:pt x="184" y="228"/>
                  </a:lnTo>
                  <a:lnTo>
                    <a:pt x="184" y="226"/>
                  </a:lnTo>
                  <a:lnTo>
                    <a:pt x="182" y="226"/>
                  </a:lnTo>
                  <a:lnTo>
                    <a:pt x="182" y="224"/>
                  </a:lnTo>
                  <a:lnTo>
                    <a:pt x="180" y="224"/>
                  </a:lnTo>
                  <a:lnTo>
                    <a:pt x="180" y="223"/>
                  </a:lnTo>
                  <a:lnTo>
                    <a:pt x="178" y="223"/>
                  </a:lnTo>
                  <a:lnTo>
                    <a:pt x="180" y="223"/>
                  </a:lnTo>
                  <a:lnTo>
                    <a:pt x="178" y="223"/>
                  </a:lnTo>
                  <a:lnTo>
                    <a:pt x="178" y="221"/>
                  </a:lnTo>
                  <a:lnTo>
                    <a:pt x="178" y="223"/>
                  </a:lnTo>
                  <a:lnTo>
                    <a:pt x="178" y="221"/>
                  </a:lnTo>
                  <a:lnTo>
                    <a:pt x="178" y="219"/>
                  </a:lnTo>
                  <a:lnTo>
                    <a:pt x="180" y="219"/>
                  </a:lnTo>
                  <a:lnTo>
                    <a:pt x="178" y="219"/>
                  </a:lnTo>
                  <a:lnTo>
                    <a:pt x="180" y="219"/>
                  </a:lnTo>
                  <a:lnTo>
                    <a:pt x="178" y="219"/>
                  </a:lnTo>
                  <a:lnTo>
                    <a:pt x="180" y="219"/>
                  </a:lnTo>
                  <a:lnTo>
                    <a:pt x="178" y="219"/>
                  </a:lnTo>
                  <a:lnTo>
                    <a:pt x="178" y="217"/>
                  </a:lnTo>
                  <a:lnTo>
                    <a:pt x="178" y="219"/>
                  </a:lnTo>
                  <a:lnTo>
                    <a:pt x="178" y="217"/>
                  </a:lnTo>
                  <a:lnTo>
                    <a:pt x="178" y="219"/>
                  </a:lnTo>
                  <a:lnTo>
                    <a:pt x="178" y="217"/>
                  </a:lnTo>
                  <a:lnTo>
                    <a:pt x="180" y="217"/>
                  </a:lnTo>
                  <a:lnTo>
                    <a:pt x="178" y="217"/>
                  </a:lnTo>
                  <a:lnTo>
                    <a:pt x="180" y="217"/>
                  </a:lnTo>
                  <a:lnTo>
                    <a:pt x="178" y="217"/>
                  </a:lnTo>
                  <a:lnTo>
                    <a:pt x="180" y="217"/>
                  </a:lnTo>
                  <a:lnTo>
                    <a:pt x="178" y="217"/>
                  </a:lnTo>
                  <a:lnTo>
                    <a:pt x="180" y="217"/>
                  </a:lnTo>
                  <a:lnTo>
                    <a:pt x="178" y="217"/>
                  </a:lnTo>
                  <a:lnTo>
                    <a:pt x="178" y="215"/>
                  </a:lnTo>
                  <a:lnTo>
                    <a:pt x="178" y="217"/>
                  </a:lnTo>
                  <a:lnTo>
                    <a:pt x="178" y="215"/>
                  </a:lnTo>
                  <a:lnTo>
                    <a:pt x="178" y="217"/>
                  </a:lnTo>
                  <a:lnTo>
                    <a:pt x="178" y="215"/>
                  </a:lnTo>
                  <a:lnTo>
                    <a:pt x="178" y="217"/>
                  </a:lnTo>
                  <a:lnTo>
                    <a:pt x="178" y="215"/>
                  </a:lnTo>
                  <a:lnTo>
                    <a:pt x="178" y="213"/>
                  </a:lnTo>
                  <a:lnTo>
                    <a:pt x="180" y="213"/>
                  </a:lnTo>
                  <a:lnTo>
                    <a:pt x="180" y="211"/>
                  </a:lnTo>
                  <a:lnTo>
                    <a:pt x="180" y="213"/>
                  </a:lnTo>
                  <a:lnTo>
                    <a:pt x="180" y="211"/>
                  </a:lnTo>
                  <a:lnTo>
                    <a:pt x="180" y="213"/>
                  </a:lnTo>
                  <a:lnTo>
                    <a:pt x="180" y="211"/>
                  </a:lnTo>
                  <a:lnTo>
                    <a:pt x="180" y="213"/>
                  </a:lnTo>
                  <a:lnTo>
                    <a:pt x="182" y="213"/>
                  </a:lnTo>
                  <a:lnTo>
                    <a:pt x="182" y="211"/>
                  </a:lnTo>
                  <a:lnTo>
                    <a:pt x="182" y="213"/>
                  </a:lnTo>
                  <a:lnTo>
                    <a:pt x="182" y="211"/>
                  </a:lnTo>
                  <a:lnTo>
                    <a:pt x="184" y="211"/>
                  </a:lnTo>
                  <a:lnTo>
                    <a:pt x="184" y="209"/>
                  </a:lnTo>
                  <a:lnTo>
                    <a:pt x="182" y="209"/>
                  </a:lnTo>
                  <a:lnTo>
                    <a:pt x="184" y="209"/>
                  </a:lnTo>
                  <a:lnTo>
                    <a:pt x="182" y="209"/>
                  </a:lnTo>
                  <a:lnTo>
                    <a:pt x="184" y="209"/>
                  </a:lnTo>
                  <a:lnTo>
                    <a:pt x="182" y="209"/>
                  </a:lnTo>
                  <a:lnTo>
                    <a:pt x="184" y="209"/>
                  </a:lnTo>
                  <a:lnTo>
                    <a:pt x="182" y="209"/>
                  </a:lnTo>
                  <a:lnTo>
                    <a:pt x="184" y="209"/>
                  </a:lnTo>
                  <a:lnTo>
                    <a:pt x="184" y="207"/>
                  </a:lnTo>
                  <a:lnTo>
                    <a:pt x="184" y="209"/>
                  </a:lnTo>
                  <a:lnTo>
                    <a:pt x="182" y="209"/>
                  </a:lnTo>
                  <a:lnTo>
                    <a:pt x="184" y="209"/>
                  </a:lnTo>
                  <a:lnTo>
                    <a:pt x="184" y="207"/>
                  </a:lnTo>
                  <a:lnTo>
                    <a:pt x="184" y="209"/>
                  </a:lnTo>
                  <a:lnTo>
                    <a:pt x="182" y="209"/>
                  </a:lnTo>
                  <a:lnTo>
                    <a:pt x="182" y="207"/>
                  </a:lnTo>
                  <a:lnTo>
                    <a:pt x="184" y="207"/>
                  </a:lnTo>
                  <a:lnTo>
                    <a:pt x="182" y="207"/>
                  </a:lnTo>
                  <a:lnTo>
                    <a:pt x="182" y="209"/>
                  </a:lnTo>
                  <a:lnTo>
                    <a:pt x="182" y="207"/>
                  </a:lnTo>
                  <a:lnTo>
                    <a:pt x="184" y="207"/>
                  </a:lnTo>
                  <a:lnTo>
                    <a:pt x="182" y="207"/>
                  </a:lnTo>
                  <a:lnTo>
                    <a:pt x="184" y="207"/>
                  </a:lnTo>
                  <a:lnTo>
                    <a:pt x="182" y="207"/>
                  </a:lnTo>
                  <a:lnTo>
                    <a:pt x="180" y="207"/>
                  </a:lnTo>
                  <a:lnTo>
                    <a:pt x="180" y="209"/>
                  </a:lnTo>
                  <a:lnTo>
                    <a:pt x="180" y="207"/>
                  </a:lnTo>
                  <a:lnTo>
                    <a:pt x="178" y="207"/>
                  </a:lnTo>
                  <a:lnTo>
                    <a:pt x="180" y="207"/>
                  </a:lnTo>
                  <a:lnTo>
                    <a:pt x="178" y="207"/>
                  </a:lnTo>
                  <a:lnTo>
                    <a:pt x="180" y="207"/>
                  </a:lnTo>
                  <a:lnTo>
                    <a:pt x="178" y="207"/>
                  </a:lnTo>
                  <a:lnTo>
                    <a:pt x="180" y="207"/>
                  </a:lnTo>
                  <a:lnTo>
                    <a:pt x="180" y="209"/>
                  </a:lnTo>
                  <a:lnTo>
                    <a:pt x="178" y="209"/>
                  </a:lnTo>
                  <a:lnTo>
                    <a:pt x="178" y="207"/>
                  </a:lnTo>
                  <a:lnTo>
                    <a:pt x="178" y="209"/>
                  </a:lnTo>
                  <a:lnTo>
                    <a:pt x="178" y="207"/>
                  </a:lnTo>
                  <a:lnTo>
                    <a:pt x="178" y="209"/>
                  </a:lnTo>
                  <a:lnTo>
                    <a:pt x="178" y="207"/>
                  </a:lnTo>
                  <a:lnTo>
                    <a:pt x="178" y="209"/>
                  </a:lnTo>
                  <a:lnTo>
                    <a:pt x="176" y="209"/>
                  </a:lnTo>
                  <a:lnTo>
                    <a:pt x="176" y="207"/>
                  </a:lnTo>
                  <a:lnTo>
                    <a:pt x="176" y="209"/>
                  </a:lnTo>
                  <a:lnTo>
                    <a:pt x="176" y="207"/>
                  </a:lnTo>
                  <a:lnTo>
                    <a:pt x="174" y="207"/>
                  </a:lnTo>
                  <a:lnTo>
                    <a:pt x="176" y="207"/>
                  </a:lnTo>
                  <a:lnTo>
                    <a:pt x="174" y="207"/>
                  </a:lnTo>
                  <a:lnTo>
                    <a:pt x="174" y="205"/>
                  </a:lnTo>
                  <a:lnTo>
                    <a:pt x="174" y="207"/>
                  </a:lnTo>
                  <a:lnTo>
                    <a:pt x="172" y="207"/>
                  </a:lnTo>
                  <a:lnTo>
                    <a:pt x="172" y="205"/>
                  </a:lnTo>
                  <a:lnTo>
                    <a:pt x="174" y="207"/>
                  </a:lnTo>
                  <a:lnTo>
                    <a:pt x="174" y="205"/>
                  </a:lnTo>
                  <a:lnTo>
                    <a:pt x="172" y="205"/>
                  </a:lnTo>
                  <a:lnTo>
                    <a:pt x="172" y="207"/>
                  </a:lnTo>
                  <a:lnTo>
                    <a:pt x="172" y="205"/>
                  </a:lnTo>
                  <a:lnTo>
                    <a:pt x="172" y="207"/>
                  </a:lnTo>
                  <a:lnTo>
                    <a:pt x="172" y="205"/>
                  </a:lnTo>
                  <a:lnTo>
                    <a:pt x="172" y="207"/>
                  </a:lnTo>
                  <a:lnTo>
                    <a:pt x="172" y="205"/>
                  </a:lnTo>
                  <a:lnTo>
                    <a:pt x="170" y="205"/>
                  </a:lnTo>
                  <a:lnTo>
                    <a:pt x="170" y="207"/>
                  </a:lnTo>
                  <a:lnTo>
                    <a:pt x="170" y="205"/>
                  </a:lnTo>
                  <a:lnTo>
                    <a:pt x="170" y="207"/>
                  </a:lnTo>
                  <a:lnTo>
                    <a:pt x="170" y="205"/>
                  </a:lnTo>
                  <a:lnTo>
                    <a:pt x="170" y="207"/>
                  </a:lnTo>
                  <a:lnTo>
                    <a:pt x="170" y="205"/>
                  </a:lnTo>
                  <a:lnTo>
                    <a:pt x="168" y="205"/>
                  </a:lnTo>
                  <a:lnTo>
                    <a:pt x="168" y="207"/>
                  </a:lnTo>
                  <a:lnTo>
                    <a:pt x="168" y="205"/>
                  </a:lnTo>
                  <a:lnTo>
                    <a:pt x="168" y="207"/>
                  </a:lnTo>
                  <a:lnTo>
                    <a:pt x="168" y="205"/>
                  </a:lnTo>
                  <a:lnTo>
                    <a:pt x="168" y="207"/>
                  </a:lnTo>
                  <a:lnTo>
                    <a:pt x="167" y="207"/>
                  </a:lnTo>
                  <a:lnTo>
                    <a:pt x="167" y="205"/>
                  </a:lnTo>
                  <a:lnTo>
                    <a:pt x="167" y="207"/>
                  </a:lnTo>
                  <a:lnTo>
                    <a:pt x="165" y="207"/>
                  </a:lnTo>
                  <a:lnTo>
                    <a:pt x="165" y="209"/>
                  </a:lnTo>
                  <a:lnTo>
                    <a:pt x="165" y="207"/>
                  </a:lnTo>
                  <a:lnTo>
                    <a:pt x="165" y="209"/>
                  </a:lnTo>
                  <a:lnTo>
                    <a:pt x="165" y="207"/>
                  </a:lnTo>
                  <a:lnTo>
                    <a:pt x="165" y="209"/>
                  </a:lnTo>
                  <a:lnTo>
                    <a:pt x="163" y="209"/>
                  </a:lnTo>
                  <a:lnTo>
                    <a:pt x="165" y="209"/>
                  </a:lnTo>
                  <a:lnTo>
                    <a:pt x="163" y="209"/>
                  </a:lnTo>
                  <a:lnTo>
                    <a:pt x="165" y="209"/>
                  </a:lnTo>
                  <a:lnTo>
                    <a:pt x="163" y="209"/>
                  </a:lnTo>
                  <a:lnTo>
                    <a:pt x="161" y="209"/>
                  </a:lnTo>
                  <a:lnTo>
                    <a:pt x="163" y="209"/>
                  </a:lnTo>
                  <a:lnTo>
                    <a:pt x="163" y="211"/>
                  </a:lnTo>
                  <a:lnTo>
                    <a:pt x="163" y="209"/>
                  </a:lnTo>
                  <a:lnTo>
                    <a:pt x="163" y="211"/>
                  </a:lnTo>
                  <a:lnTo>
                    <a:pt x="163" y="209"/>
                  </a:lnTo>
                  <a:lnTo>
                    <a:pt x="163" y="211"/>
                  </a:lnTo>
                  <a:lnTo>
                    <a:pt x="161" y="211"/>
                  </a:lnTo>
                  <a:lnTo>
                    <a:pt x="159" y="211"/>
                  </a:lnTo>
                  <a:lnTo>
                    <a:pt x="159" y="213"/>
                  </a:lnTo>
                  <a:lnTo>
                    <a:pt x="159" y="211"/>
                  </a:lnTo>
                  <a:lnTo>
                    <a:pt x="159" y="213"/>
                  </a:lnTo>
                  <a:lnTo>
                    <a:pt x="159" y="211"/>
                  </a:lnTo>
                  <a:lnTo>
                    <a:pt x="159" y="213"/>
                  </a:lnTo>
                  <a:lnTo>
                    <a:pt x="159" y="211"/>
                  </a:lnTo>
                  <a:lnTo>
                    <a:pt x="157" y="211"/>
                  </a:lnTo>
                  <a:lnTo>
                    <a:pt x="159" y="211"/>
                  </a:lnTo>
                  <a:lnTo>
                    <a:pt x="157" y="211"/>
                  </a:lnTo>
                  <a:lnTo>
                    <a:pt x="157" y="209"/>
                  </a:lnTo>
                  <a:lnTo>
                    <a:pt x="157" y="211"/>
                  </a:lnTo>
                  <a:lnTo>
                    <a:pt x="155" y="211"/>
                  </a:lnTo>
                  <a:lnTo>
                    <a:pt x="157" y="211"/>
                  </a:lnTo>
                  <a:lnTo>
                    <a:pt x="155" y="211"/>
                  </a:lnTo>
                  <a:lnTo>
                    <a:pt x="153" y="211"/>
                  </a:lnTo>
                  <a:lnTo>
                    <a:pt x="153" y="213"/>
                  </a:lnTo>
                  <a:lnTo>
                    <a:pt x="153" y="211"/>
                  </a:lnTo>
                  <a:lnTo>
                    <a:pt x="153" y="213"/>
                  </a:lnTo>
                  <a:lnTo>
                    <a:pt x="153" y="211"/>
                  </a:lnTo>
                  <a:lnTo>
                    <a:pt x="153" y="213"/>
                  </a:lnTo>
                  <a:lnTo>
                    <a:pt x="151" y="213"/>
                  </a:lnTo>
                  <a:lnTo>
                    <a:pt x="151" y="211"/>
                  </a:lnTo>
                  <a:lnTo>
                    <a:pt x="151" y="213"/>
                  </a:lnTo>
                  <a:lnTo>
                    <a:pt x="151" y="211"/>
                  </a:lnTo>
                  <a:lnTo>
                    <a:pt x="151" y="213"/>
                  </a:lnTo>
                  <a:lnTo>
                    <a:pt x="151" y="211"/>
                  </a:lnTo>
                  <a:lnTo>
                    <a:pt x="151" y="213"/>
                  </a:lnTo>
                  <a:lnTo>
                    <a:pt x="149" y="213"/>
                  </a:lnTo>
                  <a:lnTo>
                    <a:pt x="147" y="213"/>
                  </a:lnTo>
                  <a:lnTo>
                    <a:pt x="149" y="213"/>
                  </a:lnTo>
                  <a:lnTo>
                    <a:pt x="147" y="213"/>
                  </a:lnTo>
                  <a:lnTo>
                    <a:pt x="145" y="213"/>
                  </a:lnTo>
                  <a:lnTo>
                    <a:pt x="145" y="215"/>
                  </a:lnTo>
                  <a:lnTo>
                    <a:pt x="145" y="213"/>
                  </a:lnTo>
                  <a:lnTo>
                    <a:pt x="145" y="215"/>
                  </a:lnTo>
                  <a:lnTo>
                    <a:pt x="145" y="213"/>
                  </a:lnTo>
                  <a:lnTo>
                    <a:pt x="145" y="215"/>
                  </a:lnTo>
                  <a:lnTo>
                    <a:pt x="143" y="215"/>
                  </a:lnTo>
                  <a:lnTo>
                    <a:pt x="145" y="215"/>
                  </a:lnTo>
                  <a:lnTo>
                    <a:pt x="143" y="215"/>
                  </a:lnTo>
                  <a:lnTo>
                    <a:pt x="143" y="217"/>
                  </a:lnTo>
                  <a:lnTo>
                    <a:pt x="142" y="217"/>
                  </a:lnTo>
                  <a:lnTo>
                    <a:pt x="142" y="215"/>
                  </a:lnTo>
                  <a:lnTo>
                    <a:pt x="142" y="217"/>
                  </a:lnTo>
                  <a:lnTo>
                    <a:pt x="142" y="215"/>
                  </a:lnTo>
                  <a:lnTo>
                    <a:pt x="142" y="217"/>
                  </a:lnTo>
                  <a:lnTo>
                    <a:pt x="142" y="215"/>
                  </a:lnTo>
                  <a:lnTo>
                    <a:pt x="142" y="217"/>
                  </a:lnTo>
                  <a:lnTo>
                    <a:pt x="142" y="215"/>
                  </a:lnTo>
                  <a:lnTo>
                    <a:pt x="142" y="217"/>
                  </a:lnTo>
                  <a:lnTo>
                    <a:pt x="142" y="215"/>
                  </a:lnTo>
                  <a:lnTo>
                    <a:pt x="142" y="217"/>
                  </a:lnTo>
                  <a:lnTo>
                    <a:pt x="142" y="215"/>
                  </a:lnTo>
                  <a:lnTo>
                    <a:pt x="142" y="217"/>
                  </a:lnTo>
                  <a:lnTo>
                    <a:pt x="140" y="217"/>
                  </a:lnTo>
                  <a:lnTo>
                    <a:pt x="142" y="217"/>
                  </a:lnTo>
                  <a:lnTo>
                    <a:pt x="140" y="217"/>
                  </a:lnTo>
                  <a:lnTo>
                    <a:pt x="142" y="217"/>
                  </a:lnTo>
                  <a:lnTo>
                    <a:pt x="140" y="217"/>
                  </a:lnTo>
                  <a:lnTo>
                    <a:pt x="142" y="217"/>
                  </a:lnTo>
                  <a:lnTo>
                    <a:pt x="140" y="217"/>
                  </a:lnTo>
                  <a:lnTo>
                    <a:pt x="142" y="217"/>
                  </a:lnTo>
                  <a:lnTo>
                    <a:pt x="140" y="217"/>
                  </a:lnTo>
                  <a:lnTo>
                    <a:pt x="142" y="217"/>
                  </a:lnTo>
                  <a:lnTo>
                    <a:pt x="140" y="217"/>
                  </a:lnTo>
                  <a:lnTo>
                    <a:pt x="140" y="219"/>
                  </a:lnTo>
                  <a:lnTo>
                    <a:pt x="140" y="217"/>
                  </a:lnTo>
                  <a:lnTo>
                    <a:pt x="142" y="217"/>
                  </a:lnTo>
                  <a:lnTo>
                    <a:pt x="140" y="217"/>
                  </a:lnTo>
                  <a:lnTo>
                    <a:pt x="142" y="217"/>
                  </a:lnTo>
                  <a:lnTo>
                    <a:pt x="140" y="217"/>
                  </a:lnTo>
                  <a:lnTo>
                    <a:pt x="142" y="217"/>
                  </a:lnTo>
                  <a:lnTo>
                    <a:pt x="142" y="219"/>
                  </a:lnTo>
                  <a:lnTo>
                    <a:pt x="142" y="217"/>
                  </a:lnTo>
                  <a:lnTo>
                    <a:pt x="142" y="219"/>
                  </a:lnTo>
                  <a:lnTo>
                    <a:pt x="140" y="219"/>
                  </a:lnTo>
                  <a:lnTo>
                    <a:pt x="140" y="217"/>
                  </a:lnTo>
                  <a:lnTo>
                    <a:pt x="140" y="215"/>
                  </a:lnTo>
                  <a:lnTo>
                    <a:pt x="142" y="215"/>
                  </a:lnTo>
                  <a:lnTo>
                    <a:pt x="140" y="215"/>
                  </a:lnTo>
                  <a:lnTo>
                    <a:pt x="142" y="215"/>
                  </a:lnTo>
                  <a:lnTo>
                    <a:pt x="140" y="215"/>
                  </a:lnTo>
                  <a:lnTo>
                    <a:pt x="142" y="215"/>
                  </a:lnTo>
                  <a:lnTo>
                    <a:pt x="140" y="215"/>
                  </a:lnTo>
                  <a:lnTo>
                    <a:pt x="142" y="215"/>
                  </a:lnTo>
                  <a:lnTo>
                    <a:pt x="140" y="215"/>
                  </a:lnTo>
                  <a:lnTo>
                    <a:pt x="140" y="213"/>
                  </a:lnTo>
                  <a:lnTo>
                    <a:pt x="138" y="213"/>
                  </a:lnTo>
                  <a:lnTo>
                    <a:pt x="140" y="213"/>
                  </a:lnTo>
                  <a:lnTo>
                    <a:pt x="138" y="213"/>
                  </a:lnTo>
                  <a:lnTo>
                    <a:pt x="138" y="215"/>
                  </a:lnTo>
                  <a:lnTo>
                    <a:pt x="136" y="215"/>
                  </a:lnTo>
                  <a:lnTo>
                    <a:pt x="136" y="217"/>
                  </a:lnTo>
                  <a:lnTo>
                    <a:pt x="136" y="219"/>
                  </a:lnTo>
                  <a:lnTo>
                    <a:pt x="136" y="221"/>
                  </a:lnTo>
                  <a:lnTo>
                    <a:pt x="134" y="221"/>
                  </a:lnTo>
                  <a:lnTo>
                    <a:pt x="134" y="223"/>
                  </a:lnTo>
                  <a:lnTo>
                    <a:pt x="136" y="223"/>
                  </a:lnTo>
                  <a:lnTo>
                    <a:pt x="134" y="223"/>
                  </a:lnTo>
                  <a:lnTo>
                    <a:pt x="134" y="221"/>
                  </a:lnTo>
                  <a:lnTo>
                    <a:pt x="132" y="221"/>
                  </a:lnTo>
                  <a:lnTo>
                    <a:pt x="130" y="221"/>
                  </a:lnTo>
                  <a:lnTo>
                    <a:pt x="130" y="219"/>
                  </a:lnTo>
                  <a:lnTo>
                    <a:pt x="130" y="221"/>
                  </a:lnTo>
                  <a:lnTo>
                    <a:pt x="130" y="219"/>
                  </a:lnTo>
                  <a:lnTo>
                    <a:pt x="130" y="221"/>
                  </a:lnTo>
                  <a:lnTo>
                    <a:pt x="128" y="221"/>
                  </a:lnTo>
                  <a:lnTo>
                    <a:pt x="130" y="221"/>
                  </a:lnTo>
                  <a:lnTo>
                    <a:pt x="130" y="219"/>
                  </a:lnTo>
                  <a:lnTo>
                    <a:pt x="128" y="219"/>
                  </a:lnTo>
                  <a:lnTo>
                    <a:pt x="126" y="219"/>
                  </a:lnTo>
                  <a:lnTo>
                    <a:pt x="126" y="221"/>
                  </a:lnTo>
                  <a:lnTo>
                    <a:pt x="126" y="219"/>
                  </a:lnTo>
                  <a:lnTo>
                    <a:pt x="126" y="221"/>
                  </a:lnTo>
                  <a:lnTo>
                    <a:pt x="126" y="219"/>
                  </a:lnTo>
                  <a:lnTo>
                    <a:pt x="124" y="219"/>
                  </a:lnTo>
                  <a:lnTo>
                    <a:pt x="126" y="219"/>
                  </a:lnTo>
                  <a:lnTo>
                    <a:pt x="124" y="219"/>
                  </a:lnTo>
                  <a:lnTo>
                    <a:pt x="126" y="219"/>
                  </a:lnTo>
                  <a:lnTo>
                    <a:pt x="124" y="219"/>
                  </a:lnTo>
                  <a:lnTo>
                    <a:pt x="124" y="221"/>
                  </a:lnTo>
                  <a:lnTo>
                    <a:pt x="124" y="219"/>
                  </a:lnTo>
                  <a:lnTo>
                    <a:pt x="124" y="221"/>
                  </a:lnTo>
                  <a:lnTo>
                    <a:pt x="124" y="219"/>
                  </a:lnTo>
                  <a:lnTo>
                    <a:pt x="124" y="221"/>
                  </a:lnTo>
                  <a:lnTo>
                    <a:pt x="122" y="221"/>
                  </a:lnTo>
                  <a:lnTo>
                    <a:pt x="122" y="219"/>
                  </a:lnTo>
                  <a:lnTo>
                    <a:pt x="122" y="221"/>
                  </a:lnTo>
                  <a:lnTo>
                    <a:pt x="122" y="219"/>
                  </a:lnTo>
                  <a:lnTo>
                    <a:pt x="122" y="221"/>
                  </a:lnTo>
                  <a:lnTo>
                    <a:pt x="120" y="221"/>
                  </a:lnTo>
                  <a:lnTo>
                    <a:pt x="122" y="221"/>
                  </a:lnTo>
                  <a:lnTo>
                    <a:pt x="120" y="221"/>
                  </a:lnTo>
                  <a:lnTo>
                    <a:pt x="122" y="221"/>
                  </a:lnTo>
                  <a:lnTo>
                    <a:pt x="120" y="221"/>
                  </a:lnTo>
                  <a:lnTo>
                    <a:pt x="120" y="219"/>
                  </a:lnTo>
                  <a:lnTo>
                    <a:pt x="120" y="221"/>
                  </a:lnTo>
                  <a:lnTo>
                    <a:pt x="120" y="219"/>
                  </a:lnTo>
                  <a:lnTo>
                    <a:pt x="119" y="219"/>
                  </a:lnTo>
                  <a:lnTo>
                    <a:pt x="120" y="219"/>
                  </a:lnTo>
                  <a:lnTo>
                    <a:pt x="119" y="219"/>
                  </a:lnTo>
                  <a:lnTo>
                    <a:pt x="119" y="221"/>
                  </a:lnTo>
                  <a:lnTo>
                    <a:pt x="119" y="219"/>
                  </a:lnTo>
                  <a:lnTo>
                    <a:pt x="119" y="221"/>
                  </a:lnTo>
                  <a:lnTo>
                    <a:pt x="117" y="221"/>
                  </a:lnTo>
                  <a:lnTo>
                    <a:pt x="117" y="219"/>
                  </a:lnTo>
                  <a:lnTo>
                    <a:pt x="117" y="217"/>
                  </a:lnTo>
                  <a:lnTo>
                    <a:pt x="117" y="215"/>
                  </a:lnTo>
                  <a:lnTo>
                    <a:pt x="117" y="213"/>
                  </a:lnTo>
                  <a:lnTo>
                    <a:pt x="119" y="213"/>
                  </a:lnTo>
                  <a:lnTo>
                    <a:pt x="117" y="213"/>
                  </a:lnTo>
                  <a:lnTo>
                    <a:pt x="117" y="211"/>
                  </a:lnTo>
                  <a:lnTo>
                    <a:pt x="119" y="211"/>
                  </a:lnTo>
                  <a:lnTo>
                    <a:pt x="119" y="213"/>
                  </a:lnTo>
                  <a:lnTo>
                    <a:pt x="119" y="211"/>
                  </a:lnTo>
                  <a:lnTo>
                    <a:pt x="119" y="213"/>
                  </a:lnTo>
                  <a:lnTo>
                    <a:pt x="120" y="213"/>
                  </a:lnTo>
                  <a:lnTo>
                    <a:pt x="122" y="213"/>
                  </a:lnTo>
                  <a:lnTo>
                    <a:pt x="124" y="213"/>
                  </a:lnTo>
                  <a:lnTo>
                    <a:pt x="124" y="211"/>
                  </a:lnTo>
                  <a:lnTo>
                    <a:pt x="126" y="211"/>
                  </a:lnTo>
                  <a:lnTo>
                    <a:pt x="124" y="211"/>
                  </a:lnTo>
                  <a:lnTo>
                    <a:pt x="126" y="211"/>
                  </a:lnTo>
                  <a:lnTo>
                    <a:pt x="126" y="209"/>
                  </a:lnTo>
                  <a:lnTo>
                    <a:pt x="126" y="211"/>
                  </a:lnTo>
                  <a:lnTo>
                    <a:pt x="126" y="209"/>
                  </a:lnTo>
                  <a:lnTo>
                    <a:pt x="126" y="207"/>
                  </a:lnTo>
                  <a:lnTo>
                    <a:pt x="128" y="207"/>
                  </a:lnTo>
                  <a:lnTo>
                    <a:pt x="128" y="209"/>
                  </a:lnTo>
                  <a:lnTo>
                    <a:pt x="128" y="207"/>
                  </a:lnTo>
                  <a:lnTo>
                    <a:pt x="130" y="207"/>
                  </a:lnTo>
                  <a:lnTo>
                    <a:pt x="130" y="205"/>
                  </a:lnTo>
                  <a:lnTo>
                    <a:pt x="130" y="207"/>
                  </a:lnTo>
                  <a:lnTo>
                    <a:pt x="130" y="205"/>
                  </a:lnTo>
                  <a:lnTo>
                    <a:pt x="130" y="207"/>
                  </a:lnTo>
                  <a:lnTo>
                    <a:pt x="130" y="205"/>
                  </a:lnTo>
                  <a:lnTo>
                    <a:pt x="130" y="207"/>
                  </a:lnTo>
                  <a:lnTo>
                    <a:pt x="130" y="205"/>
                  </a:lnTo>
                  <a:lnTo>
                    <a:pt x="130" y="207"/>
                  </a:lnTo>
                  <a:lnTo>
                    <a:pt x="130" y="205"/>
                  </a:lnTo>
                  <a:lnTo>
                    <a:pt x="132" y="205"/>
                  </a:lnTo>
                  <a:lnTo>
                    <a:pt x="132" y="203"/>
                  </a:lnTo>
                  <a:lnTo>
                    <a:pt x="132" y="205"/>
                  </a:lnTo>
                  <a:lnTo>
                    <a:pt x="132" y="203"/>
                  </a:lnTo>
                  <a:lnTo>
                    <a:pt x="132" y="205"/>
                  </a:lnTo>
                  <a:lnTo>
                    <a:pt x="132" y="203"/>
                  </a:lnTo>
                  <a:lnTo>
                    <a:pt x="132" y="205"/>
                  </a:lnTo>
                  <a:lnTo>
                    <a:pt x="132" y="203"/>
                  </a:lnTo>
                  <a:lnTo>
                    <a:pt x="134" y="203"/>
                  </a:lnTo>
                  <a:lnTo>
                    <a:pt x="134" y="201"/>
                  </a:lnTo>
                  <a:lnTo>
                    <a:pt x="134" y="203"/>
                  </a:lnTo>
                  <a:lnTo>
                    <a:pt x="134" y="201"/>
                  </a:lnTo>
                  <a:lnTo>
                    <a:pt x="136" y="201"/>
                  </a:lnTo>
                  <a:lnTo>
                    <a:pt x="138" y="201"/>
                  </a:lnTo>
                  <a:lnTo>
                    <a:pt x="138" y="200"/>
                  </a:lnTo>
                  <a:lnTo>
                    <a:pt x="140" y="200"/>
                  </a:lnTo>
                  <a:lnTo>
                    <a:pt x="138" y="200"/>
                  </a:lnTo>
                  <a:lnTo>
                    <a:pt x="140" y="200"/>
                  </a:lnTo>
                  <a:lnTo>
                    <a:pt x="140" y="198"/>
                  </a:lnTo>
                  <a:lnTo>
                    <a:pt x="140" y="200"/>
                  </a:lnTo>
                  <a:lnTo>
                    <a:pt x="140" y="198"/>
                  </a:lnTo>
                  <a:lnTo>
                    <a:pt x="140" y="200"/>
                  </a:lnTo>
                  <a:lnTo>
                    <a:pt x="140" y="198"/>
                  </a:lnTo>
                  <a:lnTo>
                    <a:pt x="142" y="198"/>
                  </a:lnTo>
                  <a:lnTo>
                    <a:pt x="142" y="196"/>
                  </a:lnTo>
                  <a:lnTo>
                    <a:pt x="142" y="194"/>
                  </a:lnTo>
                  <a:lnTo>
                    <a:pt x="143" y="194"/>
                  </a:lnTo>
                  <a:lnTo>
                    <a:pt x="145" y="194"/>
                  </a:lnTo>
                  <a:lnTo>
                    <a:pt x="143" y="194"/>
                  </a:lnTo>
                  <a:lnTo>
                    <a:pt x="145" y="194"/>
                  </a:lnTo>
                  <a:lnTo>
                    <a:pt x="145" y="192"/>
                  </a:lnTo>
                  <a:lnTo>
                    <a:pt x="145" y="194"/>
                  </a:lnTo>
                  <a:lnTo>
                    <a:pt x="145" y="192"/>
                  </a:lnTo>
                  <a:lnTo>
                    <a:pt x="145" y="194"/>
                  </a:lnTo>
                  <a:lnTo>
                    <a:pt x="145" y="192"/>
                  </a:lnTo>
                  <a:lnTo>
                    <a:pt x="145" y="194"/>
                  </a:lnTo>
                  <a:lnTo>
                    <a:pt x="145" y="192"/>
                  </a:lnTo>
                  <a:lnTo>
                    <a:pt x="147" y="192"/>
                  </a:lnTo>
                  <a:lnTo>
                    <a:pt x="149" y="192"/>
                  </a:lnTo>
                  <a:lnTo>
                    <a:pt x="151" y="192"/>
                  </a:lnTo>
                  <a:lnTo>
                    <a:pt x="149" y="192"/>
                  </a:lnTo>
                  <a:lnTo>
                    <a:pt x="149" y="194"/>
                  </a:lnTo>
                  <a:lnTo>
                    <a:pt x="151" y="194"/>
                  </a:lnTo>
                  <a:lnTo>
                    <a:pt x="151" y="192"/>
                  </a:lnTo>
                  <a:lnTo>
                    <a:pt x="151" y="194"/>
                  </a:lnTo>
                  <a:lnTo>
                    <a:pt x="151" y="192"/>
                  </a:lnTo>
                  <a:lnTo>
                    <a:pt x="151" y="194"/>
                  </a:lnTo>
                  <a:lnTo>
                    <a:pt x="151" y="192"/>
                  </a:lnTo>
                  <a:lnTo>
                    <a:pt x="149" y="192"/>
                  </a:lnTo>
                  <a:lnTo>
                    <a:pt x="151" y="192"/>
                  </a:lnTo>
                  <a:lnTo>
                    <a:pt x="151" y="194"/>
                  </a:lnTo>
                  <a:lnTo>
                    <a:pt x="153" y="194"/>
                  </a:lnTo>
                  <a:lnTo>
                    <a:pt x="155" y="194"/>
                  </a:lnTo>
                  <a:lnTo>
                    <a:pt x="155" y="192"/>
                  </a:lnTo>
                  <a:lnTo>
                    <a:pt x="157" y="192"/>
                  </a:lnTo>
                  <a:lnTo>
                    <a:pt x="157" y="194"/>
                  </a:lnTo>
                  <a:lnTo>
                    <a:pt x="159" y="194"/>
                  </a:lnTo>
                  <a:lnTo>
                    <a:pt x="161" y="194"/>
                  </a:lnTo>
                  <a:lnTo>
                    <a:pt x="161" y="192"/>
                  </a:lnTo>
                  <a:lnTo>
                    <a:pt x="163" y="192"/>
                  </a:lnTo>
                  <a:lnTo>
                    <a:pt x="165" y="192"/>
                  </a:lnTo>
                  <a:lnTo>
                    <a:pt x="167" y="192"/>
                  </a:lnTo>
                  <a:lnTo>
                    <a:pt x="168" y="192"/>
                  </a:lnTo>
                  <a:lnTo>
                    <a:pt x="168" y="190"/>
                  </a:lnTo>
                  <a:lnTo>
                    <a:pt x="168" y="192"/>
                  </a:lnTo>
                  <a:lnTo>
                    <a:pt x="168" y="190"/>
                  </a:lnTo>
                  <a:lnTo>
                    <a:pt x="168" y="192"/>
                  </a:lnTo>
                  <a:lnTo>
                    <a:pt x="168" y="190"/>
                  </a:lnTo>
                  <a:lnTo>
                    <a:pt x="170" y="190"/>
                  </a:lnTo>
                  <a:lnTo>
                    <a:pt x="168" y="190"/>
                  </a:lnTo>
                  <a:lnTo>
                    <a:pt x="170" y="190"/>
                  </a:lnTo>
                  <a:lnTo>
                    <a:pt x="168" y="190"/>
                  </a:lnTo>
                  <a:lnTo>
                    <a:pt x="170" y="190"/>
                  </a:lnTo>
                  <a:lnTo>
                    <a:pt x="172" y="190"/>
                  </a:lnTo>
                  <a:lnTo>
                    <a:pt x="174" y="190"/>
                  </a:lnTo>
                  <a:lnTo>
                    <a:pt x="174" y="192"/>
                  </a:lnTo>
                  <a:lnTo>
                    <a:pt x="176" y="192"/>
                  </a:lnTo>
                  <a:lnTo>
                    <a:pt x="174" y="192"/>
                  </a:lnTo>
                  <a:lnTo>
                    <a:pt x="174" y="190"/>
                  </a:lnTo>
                  <a:lnTo>
                    <a:pt x="176" y="190"/>
                  </a:lnTo>
                  <a:lnTo>
                    <a:pt x="174" y="190"/>
                  </a:lnTo>
                  <a:lnTo>
                    <a:pt x="176" y="190"/>
                  </a:lnTo>
                  <a:lnTo>
                    <a:pt x="178" y="190"/>
                  </a:lnTo>
                  <a:lnTo>
                    <a:pt x="178" y="188"/>
                  </a:lnTo>
                  <a:lnTo>
                    <a:pt x="180" y="188"/>
                  </a:lnTo>
                  <a:lnTo>
                    <a:pt x="180" y="190"/>
                  </a:lnTo>
                  <a:lnTo>
                    <a:pt x="182" y="190"/>
                  </a:lnTo>
                  <a:lnTo>
                    <a:pt x="180" y="190"/>
                  </a:lnTo>
                  <a:lnTo>
                    <a:pt x="182" y="190"/>
                  </a:lnTo>
                  <a:lnTo>
                    <a:pt x="180" y="190"/>
                  </a:lnTo>
                  <a:lnTo>
                    <a:pt x="182" y="190"/>
                  </a:lnTo>
                  <a:lnTo>
                    <a:pt x="180" y="190"/>
                  </a:lnTo>
                  <a:lnTo>
                    <a:pt x="182" y="190"/>
                  </a:lnTo>
                  <a:lnTo>
                    <a:pt x="180" y="190"/>
                  </a:lnTo>
                  <a:lnTo>
                    <a:pt x="180" y="192"/>
                  </a:lnTo>
                  <a:lnTo>
                    <a:pt x="178" y="192"/>
                  </a:lnTo>
                  <a:lnTo>
                    <a:pt x="180" y="192"/>
                  </a:lnTo>
                  <a:lnTo>
                    <a:pt x="182" y="192"/>
                  </a:lnTo>
                  <a:lnTo>
                    <a:pt x="182" y="194"/>
                  </a:lnTo>
                  <a:lnTo>
                    <a:pt x="182" y="192"/>
                  </a:lnTo>
                  <a:lnTo>
                    <a:pt x="182" y="194"/>
                  </a:lnTo>
                  <a:lnTo>
                    <a:pt x="182" y="192"/>
                  </a:lnTo>
                  <a:lnTo>
                    <a:pt x="184" y="192"/>
                  </a:lnTo>
                  <a:lnTo>
                    <a:pt x="184" y="194"/>
                  </a:lnTo>
                  <a:lnTo>
                    <a:pt x="186" y="194"/>
                  </a:lnTo>
                  <a:lnTo>
                    <a:pt x="186" y="192"/>
                  </a:lnTo>
                  <a:lnTo>
                    <a:pt x="186" y="194"/>
                  </a:lnTo>
                  <a:lnTo>
                    <a:pt x="186" y="192"/>
                  </a:lnTo>
                  <a:lnTo>
                    <a:pt x="186" y="194"/>
                  </a:lnTo>
                  <a:lnTo>
                    <a:pt x="188" y="194"/>
                  </a:lnTo>
                  <a:lnTo>
                    <a:pt x="188" y="192"/>
                  </a:lnTo>
                  <a:lnTo>
                    <a:pt x="186" y="192"/>
                  </a:lnTo>
                  <a:lnTo>
                    <a:pt x="188" y="192"/>
                  </a:lnTo>
                  <a:lnTo>
                    <a:pt x="190" y="192"/>
                  </a:lnTo>
                  <a:lnTo>
                    <a:pt x="188" y="192"/>
                  </a:lnTo>
                  <a:lnTo>
                    <a:pt x="190" y="192"/>
                  </a:lnTo>
                  <a:lnTo>
                    <a:pt x="188" y="192"/>
                  </a:lnTo>
                  <a:lnTo>
                    <a:pt x="190" y="192"/>
                  </a:lnTo>
                  <a:lnTo>
                    <a:pt x="190" y="190"/>
                  </a:lnTo>
                  <a:lnTo>
                    <a:pt x="188" y="190"/>
                  </a:lnTo>
                  <a:lnTo>
                    <a:pt x="190" y="190"/>
                  </a:lnTo>
                  <a:lnTo>
                    <a:pt x="188" y="190"/>
                  </a:lnTo>
                  <a:lnTo>
                    <a:pt x="190" y="190"/>
                  </a:lnTo>
                  <a:lnTo>
                    <a:pt x="190" y="192"/>
                  </a:lnTo>
                  <a:lnTo>
                    <a:pt x="190" y="190"/>
                  </a:lnTo>
                  <a:lnTo>
                    <a:pt x="190" y="192"/>
                  </a:lnTo>
                  <a:lnTo>
                    <a:pt x="190" y="190"/>
                  </a:lnTo>
                  <a:lnTo>
                    <a:pt x="190" y="192"/>
                  </a:lnTo>
                  <a:lnTo>
                    <a:pt x="190" y="190"/>
                  </a:lnTo>
                  <a:lnTo>
                    <a:pt x="190" y="192"/>
                  </a:lnTo>
                  <a:lnTo>
                    <a:pt x="190" y="190"/>
                  </a:lnTo>
                  <a:lnTo>
                    <a:pt x="191" y="190"/>
                  </a:lnTo>
                  <a:lnTo>
                    <a:pt x="190" y="190"/>
                  </a:lnTo>
                  <a:lnTo>
                    <a:pt x="190" y="188"/>
                  </a:lnTo>
                  <a:lnTo>
                    <a:pt x="191" y="188"/>
                  </a:lnTo>
                  <a:lnTo>
                    <a:pt x="191" y="190"/>
                  </a:lnTo>
                  <a:lnTo>
                    <a:pt x="193" y="190"/>
                  </a:lnTo>
                  <a:lnTo>
                    <a:pt x="191" y="190"/>
                  </a:lnTo>
                  <a:lnTo>
                    <a:pt x="193" y="190"/>
                  </a:lnTo>
                  <a:lnTo>
                    <a:pt x="191" y="190"/>
                  </a:lnTo>
                  <a:lnTo>
                    <a:pt x="193" y="190"/>
                  </a:lnTo>
                  <a:lnTo>
                    <a:pt x="193" y="188"/>
                  </a:lnTo>
                  <a:lnTo>
                    <a:pt x="191" y="188"/>
                  </a:lnTo>
                  <a:lnTo>
                    <a:pt x="193" y="188"/>
                  </a:lnTo>
                  <a:lnTo>
                    <a:pt x="191" y="188"/>
                  </a:lnTo>
                  <a:lnTo>
                    <a:pt x="191" y="186"/>
                  </a:lnTo>
                  <a:lnTo>
                    <a:pt x="191" y="184"/>
                  </a:lnTo>
                  <a:lnTo>
                    <a:pt x="191" y="186"/>
                  </a:lnTo>
                  <a:lnTo>
                    <a:pt x="191" y="184"/>
                  </a:lnTo>
                  <a:lnTo>
                    <a:pt x="190" y="184"/>
                  </a:lnTo>
                  <a:lnTo>
                    <a:pt x="191" y="184"/>
                  </a:lnTo>
                  <a:lnTo>
                    <a:pt x="190" y="184"/>
                  </a:lnTo>
                  <a:lnTo>
                    <a:pt x="191" y="184"/>
                  </a:lnTo>
                  <a:lnTo>
                    <a:pt x="190" y="184"/>
                  </a:lnTo>
                  <a:lnTo>
                    <a:pt x="191" y="184"/>
                  </a:lnTo>
                  <a:lnTo>
                    <a:pt x="190" y="184"/>
                  </a:lnTo>
                  <a:lnTo>
                    <a:pt x="191" y="184"/>
                  </a:lnTo>
                  <a:lnTo>
                    <a:pt x="191" y="182"/>
                  </a:lnTo>
                  <a:lnTo>
                    <a:pt x="191" y="184"/>
                  </a:lnTo>
                  <a:lnTo>
                    <a:pt x="191" y="182"/>
                  </a:lnTo>
                  <a:lnTo>
                    <a:pt x="191" y="180"/>
                  </a:lnTo>
                  <a:lnTo>
                    <a:pt x="193" y="180"/>
                  </a:lnTo>
                  <a:lnTo>
                    <a:pt x="191" y="180"/>
                  </a:lnTo>
                  <a:lnTo>
                    <a:pt x="193" y="180"/>
                  </a:lnTo>
                  <a:lnTo>
                    <a:pt x="193" y="178"/>
                  </a:lnTo>
                  <a:lnTo>
                    <a:pt x="193" y="180"/>
                  </a:lnTo>
                  <a:lnTo>
                    <a:pt x="193" y="178"/>
                  </a:lnTo>
                  <a:lnTo>
                    <a:pt x="195" y="178"/>
                  </a:lnTo>
                  <a:lnTo>
                    <a:pt x="195" y="176"/>
                  </a:lnTo>
                  <a:lnTo>
                    <a:pt x="197" y="176"/>
                  </a:lnTo>
                  <a:lnTo>
                    <a:pt x="197" y="175"/>
                  </a:lnTo>
                  <a:lnTo>
                    <a:pt x="199" y="175"/>
                  </a:lnTo>
                  <a:lnTo>
                    <a:pt x="199" y="173"/>
                  </a:lnTo>
                  <a:lnTo>
                    <a:pt x="201" y="173"/>
                  </a:lnTo>
                  <a:lnTo>
                    <a:pt x="201" y="171"/>
                  </a:lnTo>
                  <a:lnTo>
                    <a:pt x="201" y="173"/>
                  </a:lnTo>
                  <a:lnTo>
                    <a:pt x="201" y="171"/>
                  </a:lnTo>
                  <a:lnTo>
                    <a:pt x="201" y="169"/>
                  </a:lnTo>
                  <a:lnTo>
                    <a:pt x="203" y="169"/>
                  </a:lnTo>
                  <a:lnTo>
                    <a:pt x="203" y="167"/>
                  </a:lnTo>
                  <a:lnTo>
                    <a:pt x="203" y="165"/>
                  </a:lnTo>
                  <a:lnTo>
                    <a:pt x="201" y="165"/>
                  </a:lnTo>
                  <a:lnTo>
                    <a:pt x="201" y="163"/>
                  </a:lnTo>
                  <a:lnTo>
                    <a:pt x="201" y="165"/>
                  </a:lnTo>
                  <a:lnTo>
                    <a:pt x="201" y="163"/>
                  </a:lnTo>
                  <a:lnTo>
                    <a:pt x="201" y="161"/>
                  </a:lnTo>
                  <a:lnTo>
                    <a:pt x="201" y="159"/>
                  </a:lnTo>
                  <a:lnTo>
                    <a:pt x="203" y="159"/>
                  </a:lnTo>
                  <a:lnTo>
                    <a:pt x="205" y="159"/>
                  </a:lnTo>
                  <a:lnTo>
                    <a:pt x="205" y="157"/>
                  </a:lnTo>
                  <a:lnTo>
                    <a:pt x="207" y="157"/>
                  </a:lnTo>
                  <a:lnTo>
                    <a:pt x="209" y="157"/>
                  </a:lnTo>
                  <a:lnTo>
                    <a:pt x="209" y="155"/>
                  </a:lnTo>
                  <a:lnTo>
                    <a:pt x="209" y="157"/>
                  </a:lnTo>
                  <a:lnTo>
                    <a:pt x="209" y="155"/>
                  </a:lnTo>
                  <a:lnTo>
                    <a:pt x="211" y="155"/>
                  </a:lnTo>
                  <a:lnTo>
                    <a:pt x="211" y="157"/>
                  </a:lnTo>
                  <a:lnTo>
                    <a:pt x="209" y="157"/>
                  </a:lnTo>
                  <a:lnTo>
                    <a:pt x="209" y="159"/>
                  </a:lnTo>
                  <a:lnTo>
                    <a:pt x="209" y="161"/>
                  </a:lnTo>
                  <a:lnTo>
                    <a:pt x="209" y="159"/>
                  </a:lnTo>
                  <a:lnTo>
                    <a:pt x="209" y="161"/>
                  </a:lnTo>
                  <a:lnTo>
                    <a:pt x="209" y="159"/>
                  </a:lnTo>
                  <a:lnTo>
                    <a:pt x="209" y="161"/>
                  </a:lnTo>
                  <a:lnTo>
                    <a:pt x="209" y="159"/>
                  </a:lnTo>
                  <a:lnTo>
                    <a:pt x="209" y="161"/>
                  </a:lnTo>
                  <a:lnTo>
                    <a:pt x="209" y="159"/>
                  </a:lnTo>
                  <a:lnTo>
                    <a:pt x="209" y="161"/>
                  </a:lnTo>
                  <a:lnTo>
                    <a:pt x="209" y="159"/>
                  </a:lnTo>
                  <a:lnTo>
                    <a:pt x="209" y="161"/>
                  </a:lnTo>
                  <a:lnTo>
                    <a:pt x="207" y="161"/>
                  </a:lnTo>
                  <a:lnTo>
                    <a:pt x="207" y="163"/>
                  </a:lnTo>
                  <a:lnTo>
                    <a:pt x="205" y="163"/>
                  </a:lnTo>
                  <a:lnTo>
                    <a:pt x="205" y="161"/>
                  </a:lnTo>
                  <a:lnTo>
                    <a:pt x="205" y="163"/>
                  </a:lnTo>
                  <a:lnTo>
                    <a:pt x="205" y="161"/>
                  </a:lnTo>
                  <a:lnTo>
                    <a:pt x="205" y="163"/>
                  </a:lnTo>
                  <a:lnTo>
                    <a:pt x="205" y="161"/>
                  </a:lnTo>
                  <a:lnTo>
                    <a:pt x="205" y="163"/>
                  </a:lnTo>
                  <a:lnTo>
                    <a:pt x="205" y="161"/>
                  </a:lnTo>
                  <a:lnTo>
                    <a:pt x="205" y="163"/>
                  </a:lnTo>
                  <a:lnTo>
                    <a:pt x="205" y="161"/>
                  </a:lnTo>
                  <a:lnTo>
                    <a:pt x="205" y="163"/>
                  </a:lnTo>
                  <a:lnTo>
                    <a:pt x="205" y="161"/>
                  </a:lnTo>
                  <a:lnTo>
                    <a:pt x="205" y="163"/>
                  </a:lnTo>
                  <a:lnTo>
                    <a:pt x="203" y="163"/>
                  </a:lnTo>
                  <a:lnTo>
                    <a:pt x="205" y="163"/>
                  </a:lnTo>
                  <a:lnTo>
                    <a:pt x="203" y="163"/>
                  </a:lnTo>
                  <a:lnTo>
                    <a:pt x="205" y="163"/>
                  </a:lnTo>
                  <a:lnTo>
                    <a:pt x="203" y="163"/>
                  </a:lnTo>
                  <a:lnTo>
                    <a:pt x="203" y="165"/>
                  </a:lnTo>
                  <a:lnTo>
                    <a:pt x="205" y="165"/>
                  </a:lnTo>
                  <a:lnTo>
                    <a:pt x="207" y="165"/>
                  </a:lnTo>
                  <a:lnTo>
                    <a:pt x="205" y="165"/>
                  </a:lnTo>
                  <a:lnTo>
                    <a:pt x="207" y="165"/>
                  </a:lnTo>
                  <a:lnTo>
                    <a:pt x="205" y="165"/>
                  </a:lnTo>
                  <a:lnTo>
                    <a:pt x="207" y="165"/>
                  </a:lnTo>
                  <a:lnTo>
                    <a:pt x="207" y="163"/>
                  </a:lnTo>
                  <a:lnTo>
                    <a:pt x="207" y="165"/>
                  </a:lnTo>
                  <a:lnTo>
                    <a:pt x="207" y="167"/>
                  </a:lnTo>
                  <a:lnTo>
                    <a:pt x="205" y="167"/>
                  </a:lnTo>
                  <a:lnTo>
                    <a:pt x="205" y="169"/>
                  </a:lnTo>
                  <a:lnTo>
                    <a:pt x="207" y="169"/>
                  </a:lnTo>
                  <a:lnTo>
                    <a:pt x="207" y="171"/>
                  </a:lnTo>
                  <a:lnTo>
                    <a:pt x="207" y="169"/>
                  </a:lnTo>
                  <a:lnTo>
                    <a:pt x="207" y="171"/>
                  </a:lnTo>
                  <a:lnTo>
                    <a:pt x="207" y="169"/>
                  </a:lnTo>
                  <a:lnTo>
                    <a:pt x="207" y="171"/>
                  </a:lnTo>
                  <a:lnTo>
                    <a:pt x="207" y="169"/>
                  </a:lnTo>
                  <a:lnTo>
                    <a:pt x="207" y="171"/>
                  </a:lnTo>
                  <a:lnTo>
                    <a:pt x="207" y="169"/>
                  </a:lnTo>
                  <a:lnTo>
                    <a:pt x="207" y="171"/>
                  </a:lnTo>
                  <a:lnTo>
                    <a:pt x="207" y="169"/>
                  </a:lnTo>
                  <a:lnTo>
                    <a:pt x="207" y="171"/>
                  </a:lnTo>
                  <a:lnTo>
                    <a:pt x="207" y="169"/>
                  </a:lnTo>
                  <a:lnTo>
                    <a:pt x="207" y="171"/>
                  </a:lnTo>
                  <a:lnTo>
                    <a:pt x="209" y="171"/>
                  </a:lnTo>
                  <a:lnTo>
                    <a:pt x="207" y="171"/>
                  </a:lnTo>
                  <a:lnTo>
                    <a:pt x="207" y="169"/>
                  </a:lnTo>
                  <a:lnTo>
                    <a:pt x="207" y="171"/>
                  </a:lnTo>
                  <a:lnTo>
                    <a:pt x="209" y="171"/>
                  </a:lnTo>
                  <a:lnTo>
                    <a:pt x="211" y="171"/>
                  </a:lnTo>
                  <a:lnTo>
                    <a:pt x="211" y="169"/>
                  </a:lnTo>
                  <a:lnTo>
                    <a:pt x="213" y="169"/>
                  </a:lnTo>
                  <a:lnTo>
                    <a:pt x="213" y="167"/>
                  </a:lnTo>
                  <a:lnTo>
                    <a:pt x="215" y="167"/>
                  </a:lnTo>
                  <a:lnTo>
                    <a:pt x="216" y="167"/>
                  </a:lnTo>
                  <a:lnTo>
                    <a:pt x="216" y="165"/>
                  </a:lnTo>
                  <a:lnTo>
                    <a:pt x="218" y="165"/>
                  </a:lnTo>
                  <a:lnTo>
                    <a:pt x="220" y="165"/>
                  </a:lnTo>
                  <a:lnTo>
                    <a:pt x="218" y="165"/>
                  </a:lnTo>
                  <a:lnTo>
                    <a:pt x="220" y="165"/>
                  </a:lnTo>
                  <a:lnTo>
                    <a:pt x="220" y="163"/>
                  </a:lnTo>
                  <a:lnTo>
                    <a:pt x="222" y="163"/>
                  </a:lnTo>
                  <a:lnTo>
                    <a:pt x="224" y="163"/>
                  </a:lnTo>
                  <a:lnTo>
                    <a:pt x="224" y="161"/>
                  </a:lnTo>
                  <a:lnTo>
                    <a:pt x="224" y="163"/>
                  </a:lnTo>
                  <a:lnTo>
                    <a:pt x="224" y="161"/>
                  </a:lnTo>
                  <a:lnTo>
                    <a:pt x="226" y="161"/>
                  </a:lnTo>
                  <a:lnTo>
                    <a:pt x="226" y="159"/>
                  </a:lnTo>
                  <a:lnTo>
                    <a:pt x="228" y="159"/>
                  </a:lnTo>
                  <a:lnTo>
                    <a:pt x="228" y="157"/>
                  </a:lnTo>
                  <a:lnTo>
                    <a:pt x="230" y="157"/>
                  </a:lnTo>
                  <a:lnTo>
                    <a:pt x="228" y="157"/>
                  </a:lnTo>
                  <a:lnTo>
                    <a:pt x="230" y="157"/>
                  </a:lnTo>
                  <a:lnTo>
                    <a:pt x="228" y="157"/>
                  </a:lnTo>
                  <a:lnTo>
                    <a:pt x="230" y="157"/>
                  </a:lnTo>
                  <a:lnTo>
                    <a:pt x="230" y="155"/>
                  </a:lnTo>
                  <a:lnTo>
                    <a:pt x="232" y="155"/>
                  </a:lnTo>
                  <a:lnTo>
                    <a:pt x="232" y="153"/>
                  </a:lnTo>
                  <a:lnTo>
                    <a:pt x="232" y="151"/>
                  </a:lnTo>
                  <a:lnTo>
                    <a:pt x="234" y="151"/>
                  </a:lnTo>
                  <a:lnTo>
                    <a:pt x="234" y="150"/>
                  </a:lnTo>
                  <a:lnTo>
                    <a:pt x="236" y="150"/>
                  </a:lnTo>
                  <a:lnTo>
                    <a:pt x="236" y="148"/>
                  </a:lnTo>
                  <a:lnTo>
                    <a:pt x="236" y="150"/>
                  </a:lnTo>
                  <a:lnTo>
                    <a:pt x="236" y="148"/>
                  </a:lnTo>
                  <a:lnTo>
                    <a:pt x="236" y="150"/>
                  </a:lnTo>
                  <a:lnTo>
                    <a:pt x="236" y="148"/>
                  </a:lnTo>
                  <a:lnTo>
                    <a:pt x="238" y="148"/>
                  </a:lnTo>
                  <a:lnTo>
                    <a:pt x="239" y="148"/>
                  </a:lnTo>
                  <a:lnTo>
                    <a:pt x="238" y="148"/>
                  </a:lnTo>
                  <a:lnTo>
                    <a:pt x="239" y="148"/>
                  </a:lnTo>
                  <a:lnTo>
                    <a:pt x="238" y="148"/>
                  </a:lnTo>
                  <a:lnTo>
                    <a:pt x="239" y="148"/>
                  </a:lnTo>
                  <a:lnTo>
                    <a:pt x="238" y="148"/>
                  </a:lnTo>
                  <a:lnTo>
                    <a:pt x="239" y="148"/>
                  </a:lnTo>
                  <a:lnTo>
                    <a:pt x="239" y="146"/>
                  </a:lnTo>
                  <a:lnTo>
                    <a:pt x="241" y="146"/>
                  </a:lnTo>
                  <a:lnTo>
                    <a:pt x="241" y="144"/>
                  </a:lnTo>
                  <a:lnTo>
                    <a:pt x="241" y="142"/>
                  </a:lnTo>
                  <a:lnTo>
                    <a:pt x="241" y="140"/>
                  </a:lnTo>
                  <a:lnTo>
                    <a:pt x="241" y="142"/>
                  </a:lnTo>
                  <a:lnTo>
                    <a:pt x="241" y="140"/>
                  </a:lnTo>
                  <a:lnTo>
                    <a:pt x="241" y="138"/>
                  </a:lnTo>
                  <a:lnTo>
                    <a:pt x="241" y="140"/>
                  </a:lnTo>
                  <a:lnTo>
                    <a:pt x="241" y="138"/>
                  </a:lnTo>
                  <a:lnTo>
                    <a:pt x="243" y="138"/>
                  </a:lnTo>
                  <a:lnTo>
                    <a:pt x="241" y="138"/>
                  </a:lnTo>
                  <a:lnTo>
                    <a:pt x="243" y="138"/>
                  </a:lnTo>
                  <a:lnTo>
                    <a:pt x="241" y="138"/>
                  </a:lnTo>
                  <a:lnTo>
                    <a:pt x="243" y="138"/>
                  </a:lnTo>
                  <a:lnTo>
                    <a:pt x="243" y="136"/>
                  </a:lnTo>
                  <a:lnTo>
                    <a:pt x="243" y="134"/>
                  </a:lnTo>
                  <a:lnTo>
                    <a:pt x="245" y="134"/>
                  </a:lnTo>
                  <a:lnTo>
                    <a:pt x="245" y="132"/>
                  </a:lnTo>
                  <a:lnTo>
                    <a:pt x="247" y="132"/>
                  </a:lnTo>
                  <a:lnTo>
                    <a:pt x="247" y="130"/>
                  </a:lnTo>
                  <a:lnTo>
                    <a:pt x="247" y="128"/>
                  </a:lnTo>
                  <a:lnTo>
                    <a:pt x="247" y="130"/>
                  </a:lnTo>
                  <a:lnTo>
                    <a:pt x="247" y="128"/>
                  </a:lnTo>
                  <a:lnTo>
                    <a:pt x="247" y="127"/>
                  </a:lnTo>
                  <a:lnTo>
                    <a:pt x="247" y="125"/>
                  </a:lnTo>
                  <a:lnTo>
                    <a:pt x="249" y="125"/>
                  </a:lnTo>
                  <a:lnTo>
                    <a:pt x="247" y="125"/>
                  </a:lnTo>
                  <a:lnTo>
                    <a:pt x="249" y="125"/>
                  </a:lnTo>
                  <a:lnTo>
                    <a:pt x="247" y="125"/>
                  </a:lnTo>
                  <a:lnTo>
                    <a:pt x="249" y="125"/>
                  </a:lnTo>
                  <a:lnTo>
                    <a:pt x="249" y="123"/>
                  </a:lnTo>
                  <a:lnTo>
                    <a:pt x="249" y="121"/>
                  </a:lnTo>
                  <a:lnTo>
                    <a:pt x="251" y="121"/>
                  </a:lnTo>
                  <a:lnTo>
                    <a:pt x="249" y="121"/>
                  </a:lnTo>
                  <a:lnTo>
                    <a:pt x="251" y="121"/>
                  </a:lnTo>
                  <a:lnTo>
                    <a:pt x="251" y="119"/>
                  </a:lnTo>
                  <a:lnTo>
                    <a:pt x="251" y="117"/>
                  </a:lnTo>
                  <a:lnTo>
                    <a:pt x="251" y="115"/>
                  </a:lnTo>
                  <a:lnTo>
                    <a:pt x="251" y="113"/>
                  </a:lnTo>
                  <a:lnTo>
                    <a:pt x="251" y="115"/>
                  </a:lnTo>
                  <a:lnTo>
                    <a:pt x="251" y="113"/>
                  </a:lnTo>
                  <a:lnTo>
                    <a:pt x="249" y="113"/>
                  </a:lnTo>
                  <a:lnTo>
                    <a:pt x="249" y="111"/>
                  </a:lnTo>
                  <a:lnTo>
                    <a:pt x="251" y="111"/>
                  </a:lnTo>
                  <a:lnTo>
                    <a:pt x="249" y="111"/>
                  </a:lnTo>
                  <a:lnTo>
                    <a:pt x="247" y="111"/>
                  </a:lnTo>
                  <a:lnTo>
                    <a:pt x="247" y="113"/>
                  </a:lnTo>
                  <a:lnTo>
                    <a:pt x="245" y="113"/>
                  </a:lnTo>
                  <a:lnTo>
                    <a:pt x="245" y="111"/>
                  </a:lnTo>
                  <a:lnTo>
                    <a:pt x="245" y="109"/>
                  </a:lnTo>
                  <a:lnTo>
                    <a:pt x="247" y="109"/>
                  </a:lnTo>
                  <a:lnTo>
                    <a:pt x="247" y="111"/>
                  </a:lnTo>
                  <a:lnTo>
                    <a:pt x="247" y="109"/>
                  </a:lnTo>
                  <a:lnTo>
                    <a:pt x="249" y="109"/>
                  </a:lnTo>
                  <a:lnTo>
                    <a:pt x="249" y="107"/>
                  </a:lnTo>
                  <a:lnTo>
                    <a:pt x="249" y="105"/>
                  </a:lnTo>
                  <a:lnTo>
                    <a:pt x="249" y="103"/>
                  </a:lnTo>
                  <a:lnTo>
                    <a:pt x="249" y="102"/>
                  </a:lnTo>
                  <a:lnTo>
                    <a:pt x="249" y="100"/>
                  </a:lnTo>
                  <a:lnTo>
                    <a:pt x="249" y="98"/>
                  </a:lnTo>
                  <a:lnTo>
                    <a:pt x="247" y="98"/>
                  </a:lnTo>
                  <a:lnTo>
                    <a:pt x="249" y="98"/>
                  </a:lnTo>
                  <a:lnTo>
                    <a:pt x="247" y="98"/>
                  </a:lnTo>
                  <a:lnTo>
                    <a:pt x="249" y="98"/>
                  </a:lnTo>
                  <a:lnTo>
                    <a:pt x="249" y="96"/>
                  </a:lnTo>
                  <a:lnTo>
                    <a:pt x="249" y="98"/>
                  </a:lnTo>
                  <a:lnTo>
                    <a:pt x="249" y="96"/>
                  </a:lnTo>
                  <a:lnTo>
                    <a:pt x="251" y="96"/>
                  </a:lnTo>
                  <a:lnTo>
                    <a:pt x="253" y="96"/>
                  </a:lnTo>
                  <a:lnTo>
                    <a:pt x="253" y="94"/>
                  </a:lnTo>
                  <a:lnTo>
                    <a:pt x="253" y="96"/>
                  </a:lnTo>
                  <a:lnTo>
                    <a:pt x="253" y="94"/>
                  </a:lnTo>
                  <a:lnTo>
                    <a:pt x="253" y="92"/>
                  </a:lnTo>
                  <a:lnTo>
                    <a:pt x="255" y="92"/>
                  </a:lnTo>
                  <a:lnTo>
                    <a:pt x="255" y="90"/>
                  </a:lnTo>
                  <a:lnTo>
                    <a:pt x="255" y="88"/>
                  </a:lnTo>
                  <a:lnTo>
                    <a:pt x="253" y="88"/>
                  </a:lnTo>
                  <a:lnTo>
                    <a:pt x="255" y="88"/>
                  </a:lnTo>
                  <a:lnTo>
                    <a:pt x="253" y="88"/>
                  </a:lnTo>
                  <a:lnTo>
                    <a:pt x="255" y="88"/>
                  </a:lnTo>
                  <a:lnTo>
                    <a:pt x="255" y="86"/>
                  </a:lnTo>
                  <a:lnTo>
                    <a:pt x="257" y="86"/>
                  </a:lnTo>
                  <a:lnTo>
                    <a:pt x="259" y="86"/>
                  </a:lnTo>
                  <a:lnTo>
                    <a:pt x="259" y="88"/>
                  </a:lnTo>
                  <a:lnTo>
                    <a:pt x="259" y="90"/>
                  </a:lnTo>
                  <a:lnTo>
                    <a:pt x="259" y="92"/>
                  </a:lnTo>
                  <a:lnTo>
                    <a:pt x="261" y="92"/>
                  </a:lnTo>
                  <a:lnTo>
                    <a:pt x="259" y="92"/>
                  </a:lnTo>
                  <a:lnTo>
                    <a:pt x="261" y="92"/>
                  </a:lnTo>
                  <a:lnTo>
                    <a:pt x="259" y="92"/>
                  </a:lnTo>
                  <a:lnTo>
                    <a:pt x="261" y="92"/>
                  </a:lnTo>
                  <a:lnTo>
                    <a:pt x="261" y="94"/>
                  </a:lnTo>
                  <a:lnTo>
                    <a:pt x="262" y="94"/>
                  </a:lnTo>
                  <a:lnTo>
                    <a:pt x="261" y="94"/>
                  </a:lnTo>
                  <a:lnTo>
                    <a:pt x="262" y="94"/>
                  </a:lnTo>
                  <a:lnTo>
                    <a:pt x="262" y="92"/>
                  </a:lnTo>
                  <a:lnTo>
                    <a:pt x="262" y="90"/>
                  </a:lnTo>
                  <a:lnTo>
                    <a:pt x="264" y="90"/>
                  </a:lnTo>
                  <a:lnTo>
                    <a:pt x="264" y="92"/>
                  </a:lnTo>
                  <a:lnTo>
                    <a:pt x="264" y="90"/>
                  </a:lnTo>
                  <a:lnTo>
                    <a:pt x="264" y="92"/>
                  </a:lnTo>
                  <a:lnTo>
                    <a:pt x="266" y="92"/>
                  </a:lnTo>
                  <a:lnTo>
                    <a:pt x="264" y="92"/>
                  </a:lnTo>
                  <a:lnTo>
                    <a:pt x="266" y="92"/>
                  </a:lnTo>
                  <a:lnTo>
                    <a:pt x="266" y="94"/>
                  </a:lnTo>
                  <a:lnTo>
                    <a:pt x="266" y="92"/>
                  </a:lnTo>
                  <a:lnTo>
                    <a:pt x="268" y="92"/>
                  </a:lnTo>
                  <a:lnTo>
                    <a:pt x="268" y="90"/>
                  </a:lnTo>
                  <a:lnTo>
                    <a:pt x="268" y="88"/>
                  </a:lnTo>
                  <a:lnTo>
                    <a:pt x="268" y="86"/>
                  </a:lnTo>
                  <a:lnTo>
                    <a:pt x="266" y="86"/>
                  </a:lnTo>
                  <a:lnTo>
                    <a:pt x="266" y="84"/>
                  </a:lnTo>
                  <a:lnTo>
                    <a:pt x="266" y="86"/>
                  </a:lnTo>
                  <a:lnTo>
                    <a:pt x="264" y="86"/>
                  </a:lnTo>
                  <a:lnTo>
                    <a:pt x="262" y="86"/>
                  </a:lnTo>
                  <a:lnTo>
                    <a:pt x="262" y="88"/>
                  </a:lnTo>
                  <a:lnTo>
                    <a:pt x="262" y="86"/>
                  </a:lnTo>
                  <a:lnTo>
                    <a:pt x="262" y="88"/>
                  </a:lnTo>
                  <a:lnTo>
                    <a:pt x="262" y="86"/>
                  </a:lnTo>
                  <a:lnTo>
                    <a:pt x="262" y="88"/>
                  </a:lnTo>
                  <a:lnTo>
                    <a:pt x="262" y="86"/>
                  </a:lnTo>
                  <a:lnTo>
                    <a:pt x="262" y="88"/>
                  </a:lnTo>
                  <a:lnTo>
                    <a:pt x="261" y="88"/>
                  </a:lnTo>
                  <a:lnTo>
                    <a:pt x="261" y="86"/>
                  </a:lnTo>
                  <a:lnTo>
                    <a:pt x="261" y="84"/>
                  </a:lnTo>
                  <a:lnTo>
                    <a:pt x="262" y="84"/>
                  </a:lnTo>
                  <a:lnTo>
                    <a:pt x="262" y="82"/>
                  </a:lnTo>
                  <a:lnTo>
                    <a:pt x="262" y="80"/>
                  </a:lnTo>
                  <a:lnTo>
                    <a:pt x="264" y="80"/>
                  </a:lnTo>
                  <a:lnTo>
                    <a:pt x="266" y="80"/>
                  </a:lnTo>
                  <a:lnTo>
                    <a:pt x="266" y="82"/>
                  </a:lnTo>
                  <a:lnTo>
                    <a:pt x="268" y="82"/>
                  </a:lnTo>
                  <a:lnTo>
                    <a:pt x="266" y="82"/>
                  </a:lnTo>
                  <a:lnTo>
                    <a:pt x="268" y="82"/>
                  </a:lnTo>
                  <a:lnTo>
                    <a:pt x="268" y="84"/>
                  </a:lnTo>
                  <a:lnTo>
                    <a:pt x="270" y="84"/>
                  </a:lnTo>
                  <a:lnTo>
                    <a:pt x="270" y="82"/>
                  </a:lnTo>
                  <a:lnTo>
                    <a:pt x="270" y="84"/>
                  </a:lnTo>
                  <a:lnTo>
                    <a:pt x="270" y="82"/>
                  </a:lnTo>
                  <a:lnTo>
                    <a:pt x="270" y="84"/>
                  </a:lnTo>
                  <a:lnTo>
                    <a:pt x="270" y="86"/>
                  </a:lnTo>
                  <a:lnTo>
                    <a:pt x="270" y="88"/>
                  </a:lnTo>
                  <a:lnTo>
                    <a:pt x="270" y="86"/>
                  </a:lnTo>
                  <a:lnTo>
                    <a:pt x="270" y="88"/>
                  </a:lnTo>
                  <a:lnTo>
                    <a:pt x="270" y="86"/>
                  </a:lnTo>
                  <a:lnTo>
                    <a:pt x="270" y="88"/>
                  </a:lnTo>
                  <a:lnTo>
                    <a:pt x="270" y="90"/>
                  </a:lnTo>
                  <a:lnTo>
                    <a:pt x="270" y="92"/>
                  </a:lnTo>
                  <a:lnTo>
                    <a:pt x="270" y="90"/>
                  </a:lnTo>
                  <a:lnTo>
                    <a:pt x="270" y="92"/>
                  </a:lnTo>
                  <a:lnTo>
                    <a:pt x="268" y="92"/>
                  </a:lnTo>
                  <a:lnTo>
                    <a:pt x="268" y="90"/>
                  </a:lnTo>
                  <a:lnTo>
                    <a:pt x="268" y="92"/>
                  </a:lnTo>
                  <a:lnTo>
                    <a:pt x="270" y="92"/>
                  </a:lnTo>
                  <a:lnTo>
                    <a:pt x="268" y="92"/>
                  </a:lnTo>
                  <a:lnTo>
                    <a:pt x="270" y="92"/>
                  </a:lnTo>
                  <a:lnTo>
                    <a:pt x="270" y="94"/>
                  </a:lnTo>
                  <a:lnTo>
                    <a:pt x="270" y="96"/>
                  </a:lnTo>
                  <a:lnTo>
                    <a:pt x="270" y="98"/>
                  </a:lnTo>
                  <a:lnTo>
                    <a:pt x="272" y="98"/>
                  </a:lnTo>
                  <a:lnTo>
                    <a:pt x="272" y="100"/>
                  </a:lnTo>
                  <a:lnTo>
                    <a:pt x="274" y="100"/>
                  </a:lnTo>
                  <a:lnTo>
                    <a:pt x="274" y="102"/>
                  </a:lnTo>
                  <a:lnTo>
                    <a:pt x="274" y="100"/>
                  </a:lnTo>
                  <a:lnTo>
                    <a:pt x="274" y="102"/>
                  </a:lnTo>
                  <a:lnTo>
                    <a:pt x="276" y="102"/>
                  </a:lnTo>
                  <a:lnTo>
                    <a:pt x="276" y="103"/>
                  </a:lnTo>
                  <a:lnTo>
                    <a:pt x="276" y="105"/>
                  </a:lnTo>
                  <a:lnTo>
                    <a:pt x="276" y="107"/>
                  </a:lnTo>
                  <a:lnTo>
                    <a:pt x="278" y="107"/>
                  </a:lnTo>
                  <a:lnTo>
                    <a:pt x="276" y="107"/>
                  </a:lnTo>
                  <a:lnTo>
                    <a:pt x="276" y="109"/>
                  </a:lnTo>
                  <a:lnTo>
                    <a:pt x="276" y="107"/>
                  </a:lnTo>
                  <a:lnTo>
                    <a:pt x="276" y="109"/>
                  </a:lnTo>
                  <a:lnTo>
                    <a:pt x="278" y="109"/>
                  </a:lnTo>
                  <a:lnTo>
                    <a:pt x="278" y="111"/>
                  </a:lnTo>
                  <a:lnTo>
                    <a:pt x="278" y="113"/>
                  </a:lnTo>
                  <a:lnTo>
                    <a:pt x="280" y="113"/>
                  </a:lnTo>
                  <a:lnTo>
                    <a:pt x="278" y="113"/>
                  </a:lnTo>
                  <a:lnTo>
                    <a:pt x="278" y="115"/>
                  </a:lnTo>
                  <a:lnTo>
                    <a:pt x="280" y="115"/>
                  </a:lnTo>
                  <a:lnTo>
                    <a:pt x="278" y="115"/>
                  </a:lnTo>
                  <a:lnTo>
                    <a:pt x="280" y="115"/>
                  </a:lnTo>
                  <a:lnTo>
                    <a:pt x="278" y="115"/>
                  </a:lnTo>
                  <a:lnTo>
                    <a:pt x="278" y="117"/>
                  </a:lnTo>
                  <a:lnTo>
                    <a:pt x="280" y="117"/>
                  </a:lnTo>
                  <a:lnTo>
                    <a:pt x="280" y="119"/>
                  </a:lnTo>
                  <a:lnTo>
                    <a:pt x="278" y="119"/>
                  </a:lnTo>
                  <a:lnTo>
                    <a:pt x="278" y="121"/>
                  </a:lnTo>
                  <a:lnTo>
                    <a:pt x="280" y="121"/>
                  </a:lnTo>
                  <a:lnTo>
                    <a:pt x="280" y="119"/>
                  </a:lnTo>
                  <a:lnTo>
                    <a:pt x="280" y="121"/>
                  </a:lnTo>
                  <a:lnTo>
                    <a:pt x="278" y="121"/>
                  </a:lnTo>
                  <a:lnTo>
                    <a:pt x="280" y="121"/>
                  </a:lnTo>
                  <a:lnTo>
                    <a:pt x="278" y="121"/>
                  </a:lnTo>
                  <a:lnTo>
                    <a:pt x="278" y="123"/>
                  </a:lnTo>
                  <a:lnTo>
                    <a:pt x="278" y="125"/>
                  </a:lnTo>
                  <a:lnTo>
                    <a:pt x="276" y="125"/>
                  </a:lnTo>
                  <a:lnTo>
                    <a:pt x="278" y="125"/>
                  </a:lnTo>
                  <a:lnTo>
                    <a:pt x="276" y="125"/>
                  </a:lnTo>
                  <a:lnTo>
                    <a:pt x="278" y="125"/>
                  </a:lnTo>
                  <a:lnTo>
                    <a:pt x="276" y="125"/>
                  </a:lnTo>
                  <a:lnTo>
                    <a:pt x="278" y="125"/>
                  </a:lnTo>
                  <a:lnTo>
                    <a:pt x="276" y="125"/>
                  </a:lnTo>
                  <a:lnTo>
                    <a:pt x="278" y="125"/>
                  </a:lnTo>
                  <a:lnTo>
                    <a:pt x="278" y="127"/>
                  </a:lnTo>
                  <a:lnTo>
                    <a:pt x="278" y="125"/>
                  </a:lnTo>
                  <a:lnTo>
                    <a:pt x="278" y="127"/>
                  </a:lnTo>
                  <a:lnTo>
                    <a:pt x="276" y="127"/>
                  </a:lnTo>
                  <a:lnTo>
                    <a:pt x="278" y="127"/>
                  </a:lnTo>
                  <a:lnTo>
                    <a:pt x="276" y="127"/>
                  </a:lnTo>
                  <a:lnTo>
                    <a:pt x="278" y="127"/>
                  </a:lnTo>
                  <a:lnTo>
                    <a:pt x="278" y="128"/>
                  </a:lnTo>
                  <a:lnTo>
                    <a:pt x="276" y="128"/>
                  </a:lnTo>
                  <a:lnTo>
                    <a:pt x="276" y="127"/>
                  </a:lnTo>
                  <a:lnTo>
                    <a:pt x="276" y="128"/>
                  </a:lnTo>
                  <a:lnTo>
                    <a:pt x="276" y="127"/>
                  </a:lnTo>
                  <a:lnTo>
                    <a:pt x="276" y="128"/>
                  </a:lnTo>
                  <a:lnTo>
                    <a:pt x="276" y="127"/>
                  </a:lnTo>
                  <a:lnTo>
                    <a:pt x="276" y="128"/>
                  </a:lnTo>
                  <a:lnTo>
                    <a:pt x="276" y="127"/>
                  </a:lnTo>
                  <a:lnTo>
                    <a:pt x="276" y="128"/>
                  </a:lnTo>
                  <a:lnTo>
                    <a:pt x="276" y="127"/>
                  </a:lnTo>
                  <a:lnTo>
                    <a:pt x="276" y="128"/>
                  </a:lnTo>
                  <a:lnTo>
                    <a:pt x="276" y="127"/>
                  </a:lnTo>
                  <a:lnTo>
                    <a:pt x="276" y="128"/>
                  </a:lnTo>
                  <a:lnTo>
                    <a:pt x="276" y="127"/>
                  </a:lnTo>
                  <a:lnTo>
                    <a:pt x="276" y="128"/>
                  </a:lnTo>
                  <a:lnTo>
                    <a:pt x="276" y="127"/>
                  </a:lnTo>
                  <a:lnTo>
                    <a:pt x="276" y="128"/>
                  </a:lnTo>
                  <a:lnTo>
                    <a:pt x="276" y="127"/>
                  </a:lnTo>
                  <a:lnTo>
                    <a:pt x="276" y="128"/>
                  </a:lnTo>
                  <a:lnTo>
                    <a:pt x="274" y="128"/>
                  </a:lnTo>
                  <a:lnTo>
                    <a:pt x="276" y="128"/>
                  </a:lnTo>
                  <a:lnTo>
                    <a:pt x="274" y="128"/>
                  </a:lnTo>
                  <a:lnTo>
                    <a:pt x="276" y="128"/>
                  </a:lnTo>
                  <a:lnTo>
                    <a:pt x="274" y="128"/>
                  </a:lnTo>
                  <a:lnTo>
                    <a:pt x="276" y="128"/>
                  </a:lnTo>
                  <a:lnTo>
                    <a:pt x="274" y="128"/>
                  </a:lnTo>
                  <a:lnTo>
                    <a:pt x="276" y="128"/>
                  </a:lnTo>
                  <a:lnTo>
                    <a:pt x="276" y="127"/>
                  </a:lnTo>
                  <a:lnTo>
                    <a:pt x="274" y="127"/>
                  </a:lnTo>
                  <a:lnTo>
                    <a:pt x="276" y="127"/>
                  </a:lnTo>
                  <a:lnTo>
                    <a:pt x="274" y="127"/>
                  </a:lnTo>
                  <a:lnTo>
                    <a:pt x="274" y="128"/>
                  </a:lnTo>
                  <a:lnTo>
                    <a:pt x="276" y="128"/>
                  </a:lnTo>
                  <a:lnTo>
                    <a:pt x="274" y="128"/>
                  </a:lnTo>
                  <a:lnTo>
                    <a:pt x="274" y="130"/>
                  </a:lnTo>
                  <a:lnTo>
                    <a:pt x="274" y="128"/>
                  </a:lnTo>
                  <a:lnTo>
                    <a:pt x="274" y="130"/>
                  </a:lnTo>
                  <a:lnTo>
                    <a:pt x="274" y="128"/>
                  </a:lnTo>
                  <a:lnTo>
                    <a:pt x="274" y="130"/>
                  </a:lnTo>
                  <a:lnTo>
                    <a:pt x="274" y="128"/>
                  </a:lnTo>
                  <a:lnTo>
                    <a:pt x="274" y="130"/>
                  </a:lnTo>
                  <a:lnTo>
                    <a:pt x="272" y="130"/>
                  </a:lnTo>
                  <a:lnTo>
                    <a:pt x="272" y="132"/>
                  </a:lnTo>
                  <a:lnTo>
                    <a:pt x="274" y="132"/>
                  </a:lnTo>
                  <a:lnTo>
                    <a:pt x="272" y="132"/>
                  </a:lnTo>
                  <a:lnTo>
                    <a:pt x="272" y="134"/>
                  </a:lnTo>
                  <a:lnTo>
                    <a:pt x="272" y="132"/>
                  </a:lnTo>
                  <a:lnTo>
                    <a:pt x="272" y="134"/>
                  </a:lnTo>
                  <a:lnTo>
                    <a:pt x="270" y="134"/>
                  </a:lnTo>
                  <a:lnTo>
                    <a:pt x="270" y="136"/>
                  </a:lnTo>
                  <a:lnTo>
                    <a:pt x="272" y="136"/>
                  </a:lnTo>
                  <a:lnTo>
                    <a:pt x="270" y="136"/>
                  </a:lnTo>
                  <a:lnTo>
                    <a:pt x="270" y="138"/>
                  </a:lnTo>
                  <a:lnTo>
                    <a:pt x="270" y="136"/>
                  </a:lnTo>
                  <a:lnTo>
                    <a:pt x="272" y="136"/>
                  </a:lnTo>
                  <a:lnTo>
                    <a:pt x="272" y="138"/>
                  </a:lnTo>
                  <a:lnTo>
                    <a:pt x="272" y="136"/>
                  </a:lnTo>
                  <a:lnTo>
                    <a:pt x="272" y="138"/>
                  </a:lnTo>
                  <a:lnTo>
                    <a:pt x="270" y="138"/>
                  </a:lnTo>
                  <a:lnTo>
                    <a:pt x="272" y="138"/>
                  </a:lnTo>
                  <a:lnTo>
                    <a:pt x="272" y="140"/>
                  </a:lnTo>
                  <a:lnTo>
                    <a:pt x="272" y="138"/>
                  </a:lnTo>
                  <a:lnTo>
                    <a:pt x="272" y="140"/>
                  </a:lnTo>
                  <a:lnTo>
                    <a:pt x="270" y="140"/>
                  </a:lnTo>
                  <a:lnTo>
                    <a:pt x="270" y="138"/>
                  </a:lnTo>
                  <a:lnTo>
                    <a:pt x="270" y="140"/>
                  </a:lnTo>
                  <a:lnTo>
                    <a:pt x="270" y="138"/>
                  </a:lnTo>
                  <a:lnTo>
                    <a:pt x="270" y="140"/>
                  </a:lnTo>
                  <a:lnTo>
                    <a:pt x="272" y="140"/>
                  </a:lnTo>
                  <a:lnTo>
                    <a:pt x="270" y="140"/>
                  </a:lnTo>
                  <a:lnTo>
                    <a:pt x="272" y="140"/>
                  </a:lnTo>
                  <a:lnTo>
                    <a:pt x="270" y="140"/>
                  </a:lnTo>
                  <a:lnTo>
                    <a:pt x="272" y="140"/>
                  </a:lnTo>
                  <a:lnTo>
                    <a:pt x="270" y="140"/>
                  </a:lnTo>
                  <a:lnTo>
                    <a:pt x="272" y="140"/>
                  </a:lnTo>
                  <a:lnTo>
                    <a:pt x="272" y="142"/>
                  </a:lnTo>
                  <a:lnTo>
                    <a:pt x="270" y="142"/>
                  </a:lnTo>
                  <a:lnTo>
                    <a:pt x="272" y="142"/>
                  </a:lnTo>
                  <a:lnTo>
                    <a:pt x="270" y="142"/>
                  </a:lnTo>
                  <a:lnTo>
                    <a:pt x="272" y="142"/>
                  </a:lnTo>
                  <a:lnTo>
                    <a:pt x="270" y="142"/>
                  </a:lnTo>
                  <a:lnTo>
                    <a:pt x="270" y="140"/>
                  </a:lnTo>
                  <a:lnTo>
                    <a:pt x="270" y="142"/>
                  </a:lnTo>
                  <a:lnTo>
                    <a:pt x="270" y="140"/>
                  </a:lnTo>
                  <a:lnTo>
                    <a:pt x="270" y="142"/>
                  </a:lnTo>
                  <a:lnTo>
                    <a:pt x="270" y="140"/>
                  </a:lnTo>
                  <a:lnTo>
                    <a:pt x="268" y="140"/>
                  </a:lnTo>
                  <a:lnTo>
                    <a:pt x="270" y="140"/>
                  </a:lnTo>
                  <a:lnTo>
                    <a:pt x="268" y="140"/>
                  </a:lnTo>
                  <a:lnTo>
                    <a:pt x="266" y="140"/>
                  </a:lnTo>
                  <a:lnTo>
                    <a:pt x="266" y="142"/>
                  </a:lnTo>
                  <a:lnTo>
                    <a:pt x="266" y="140"/>
                  </a:lnTo>
                  <a:lnTo>
                    <a:pt x="266" y="142"/>
                  </a:lnTo>
                  <a:lnTo>
                    <a:pt x="266" y="140"/>
                  </a:lnTo>
                  <a:lnTo>
                    <a:pt x="266" y="142"/>
                  </a:lnTo>
                  <a:lnTo>
                    <a:pt x="266" y="140"/>
                  </a:lnTo>
                  <a:lnTo>
                    <a:pt x="266" y="142"/>
                  </a:lnTo>
                  <a:lnTo>
                    <a:pt x="266" y="140"/>
                  </a:lnTo>
                  <a:lnTo>
                    <a:pt x="264" y="140"/>
                  </a:lnTo>
                  <a:lnTo>
                    <a:pt x="266" y="140"/>
                  </a:lnTo>
                  <a:lnTo>
                    <a:pt x="264" y="140"/>
                  </a:lnTo>
                  <a:lnTo>
                    <a:pt x="264" y="142"/>
                  </a:lnTo>
                  <a:lnTo>
                    <a:pt x="266" y="142"/>
                  </a:lnTo>
                  <a:lnTo>
                    <a:pt x="264" y="142"/>
                  </a:lnTo>
                  <a:lnTo>
                    <a:pt x="266" y="142"/>
                  </a:lnTo>
                  <a:lnTo>
                    <a:pt x="264" y="142"/>
                  </a:lnTo>
                  <a:lnTo>
                    <a:pt x="264" y="144"/>
                  </a:lnTo>
                  <a:lnTo>
                    <a:pt x="262" y="144"/>
                  </a:lnTo>
                  <a:lnTo>
                    <a:pt x="264" y="144"/>
                  </a:lnTo>
                  <a:lnTo>
                    <a:pt x="262" y="144"/>
                  </a:lnTo>
                  <a:lnTo>
                    <a:pt x="262" y="146"/>
                  </a:lnTo>
                  <a:lnTo>
                    <a:pt x="262" y="148"/>
                  </a:lnTo>
                  <a:lnTo>
                    <a:pt x="262" y="150"/>
                  </a:lnTo>
                  <a:lnTo>
                    <a:pt x="264" y="150"/>
                  </a:lnTo>
                  <a:lnTo>
                    <a:pt x="262" y="150"/>
                  </a:lnTo>
                  <a:lnTo>
                    <a:pt x="264" y="150"/>
                  </a:lnTo>
                  <a:lnTo>
                    <a:pt x="264" y="151"/>
                  </a:lnTo>
                  <a:lnTo>
                    <a:pt x="264" y="150"/>
                  </a:lnTo>
                  <a:lnTo>
                    <a:pt x="264" y="151"/>
                  </a:lnTo>
                  <a:lnTo>
                    <a:pt x="264" y="153"/>
                  </a:lnTo>
                  <a:lnTo>
                    <a:pt x="264" y="155"/>
                  </a:lnTo>
                  <a:lnTo>
                    <a:pt x="264" y="157"/>
                  </a:lnTo>
                  <a:lnTo>
                    <a:pt x="264" y="159"/>
                  </a:lnTo>
                  <a:lnTo>
                    <a:pt x="264" y="161"/>
                  </a:lnTo>
                  <a:lnTo>
                    <a:pt x="264" y="163"/>
                  </a:lnTo>
                  <a:lnTo>
                    <a:pt x="264" y="165"/>
                  </a:lnTo>
                  <a:lnTo>
                    <a:pt x="264" y="167"/>
                  </a:lnTo>
                  <a:lnTo>
                    <a:pt x="264" y="165"/>
                  </a:lnTo>
                  <a:lnTo>
                    <a:pt x="264" y="167"/>
                  </a:lnTo>
                  <a:lnTo>
                    <a:pt x="262" y="167"/>
                  </a:lnTo>
                  <a:lnTo>
                    <a:pt x="261" y="167"/>
                  </a:lnTo>
                  <a:lnTo>
                    <a:pt x="261" y="169"/>
                  </a:lnTo>
                  <a:lnTo>
                    <a:pt x="261" y="171"/>
                  </a:lnTo>
                  <a:lnTo>
                    <a:pt x="261" y="173"/>
                  </a:lnTo>
                  <a:lnTo>
                    <a:pt x="259" y="173"/>
                  </a:lnTo>
                  <a:lnTo>
                    <a:pt x="259" y="175"/>
                  </a:lnTo>
                  <a:lnTo>
                    <a:pt x="259" y="176"/>
                  </a:lnTo>
                  <a:lnTo>
                    <a:pt x="259" y="175"/>
                  </a:lnTo>
                  <a:lnTo>
                    <a:pt x="259" y="176"/>
                  </a:lnTo>
                  <a:lnTo>
                    <a:pt x="259" y="178"/>
                  </a:lnTo>
                  <a:lnTo>
                    <a:pt x="259" y="180"/>
                  </a:lnTo>
                  <a:lnTo>
                    <a:pt x="259" y="182"/>
                  </a:lnTo>
                  <a:lnTo>
                    <a:pt x="259" y="184"/>
                  </a:lnTo>
                  <a:lnTo>
                    <a:pt x="261" y="184"/>
                  </a:lnTo>
                  <a:lnTo>
                    <a:pt x="261" y="186"/>
                  </a:lnTo>
                  <a:lnTo>
                    <a:pt x="261" y="184"/>
                  </a:lnTo>
                  <a:lnTo>
                    <a:pt x="261" y="186"/>
                  </a:lnTo>
                  <a:lnTo>
                    <a:pt x="261" y="184"/>
                  </a:lnTo>
                  <a:lnTo>
                    <a:pt x="261" y="186"/>
                  </a:lnTo>
                  <a:lnTo>
                    <a:pt x="259" y="186"/>
                  </a:lnTo>
                  <a:close/>
                  <a:moveTo>
                    <a:pt x="257" y="50"/>
                  </a:moveTo>
                  <a:lnTo>
                    <a:pt x="257" y="48"/>
                  </a:lnTo>
                  <a:lnTo>
                    <a:pt x="257" y="50"/>
                  </a:lnTo>
                  <a:lnTo>
                    <a:pt x="257" y="48"/>
                  </a:lnTo>
                  <a:lnTo>
                    <a:pt x="255" y="48"/>
                  </a:lnTo>
                  <a:lnTo>
                    <a:pt x="255" y="46"/>
                  </a:lnTo>
                  <a:lnTo>
                    <a:pt x="255" y="44"/>
                  </a:lnTo>
                  <a:lnTo>
                    <a:pt x="257" y="44"/>
                  </a:lnTo>
                  <a:lnTo>
                    <a:pt x="259" y="44"/>
                  </a:lnTo>
                  <a:lnTo>
                    <a:pt x="259" y="46"/>
                  </a:lnTo>
                  <a:lnTo>
                    <a:pt x="261" y="46"/>
                  </a:lnTo>
                  <a:lnTo>
                    <a:pt x="261" y="48"/>
                  </a:lnTo>
                  <a:lnTo>
                    <a:pt x="262" y="48"/>
                  </a:lnTo>
                  <a:lnTo>
                    <a:pt x="262" y="46"/>
                  </a:lnTo>
                  <a:lnTo>
                    <a:pt x="262" y="48"/>
                  </a:lnTo>
                  <a:lnTo>
                    <a:pt x="262" y="46"/>
                  </a:lnTo>
                  <a:lnTo>
                    <a:pt x="262" y="48"/>
                  </a:lnTo>
                  <a:lnTo>
                    <a:pt x="262" y="46"/>
                  </a:lnTo>
                  <a:lnTo>
                    <a:pt x="262" y="48"/>
                  </a:lnTo>
                  <a:lnTo>
                    <a:pt x="262" y="46"/>
                  </a:lnTo>
                  <a:lnTo>
                    <a:pt x="264" y="46"/>
                  </a:lnTo>
                  <a:lnTo>
                    <a:pt x="264" y="48"/>
                  </a:lnTo>
                  <a:lnTo>
                    <a:pt x="266" y="48"/>
                  </a:lnTo>
                  <a:lnTo>
                    <a:pt x="268" y="48"/>
                  </a:lnTo>
                  <a:lnTo>
                    <a:pt x="268" y="46"/>
                  </a:lnTo>
                  <a:lnTo>
                    <a:pt x="268" y="48"/>
                  </a:lnTo>
                  <a:lnTo>
                    <a:pt x="268" y="46"/>
                  </a:lnTo>
                  <a:lnTo>
                    <a:pt x="268" y="48"/>
                  </a:lnTo>
                  <a:lnTo>
                    <a:pt x="268" y="46"/>
                  </a:lnTo>
                  <a:lnTo>
                    <a:pt x="270" y="46"/>
                  </a:lnTo>
                  <a:lnTo>
                    <a:pt x="270" y="44"/>
                  </a:lnTo>
                  <a:lnTo>
                    <a:pt x="270" y="42"/>
                  </a:lnTo>
                  <a:lnTo>
                    <a:pt x="270" y="44"/>
                  </a:lnTo>
                  <a:lnTo>
                    <a:pt x="270" y="42"/>
                  </a:lnTo>
                  <a:lnTo>
                    <a:pt x="270" y="40"/>
                  </a:lnTo>
                  <a:lnTo>
                    <a:pt x="270" y="38"/>
                  </a:lnTo>
                  <a:lnTo>
                    <a:pt x="268" y="38"/>
                  </a:lnTo>
                  <a:lnTo>
                    <a:pt x="268" y="36"/>
                  </a:lnTo>
                  <a:lnTo>
                    <a:pt x="270" y="36"/>
                  </a:lnTo>
                  <a:lnTo>
                    <a:pt x="268" y="36"/>
                  </a:lnTo>
                  <a:lnTo>
                    <a:pt x="270" y="36"/>
                  </a:lnTo>
                  <a:lnTo>
                    <a:pt x="270" y="34"/>
                  </a:lnTo>
                  <a:lnTo>
                    <a:pt x="272" y="34"/>
                  </a:lnTo>
                  <a:lnTo>
                    <a:pt x="272" y="32"/>
                  </a:lnTo>
                  <a:lnTo>
                    <a:pt x="274" y="32"/>
                  </a:lnTo>
                  <a:lnTo>
                    <a:pt x="274" y="30"/>
                  </a:lnTo>
                  <a:lnTo>
                    <a:pt x="274" y="29"/>
                  </a:lnTo>
                  <a:lnTo>
                    <a:pt x="274" y="27"/>
                  </a:lnTo>
                  <a:lnTo>
                    <a:pt x="274" y="29"/>
                  </a:lnTo>
                  <a:lnTo>
                    <a:pt x="274" y="27"/>
                  </a:lnTo>
                  <a:lnTo>
                    <a:pt x="274" y="25"/>
                  </a:lnTo>
                  <a:lnTo>
                    <a:pt x="274" y="23"/>
                  </a:lnTo>
                  <a:lnTo>
                    <a:pt x="276" y="23"/>
                  </a:lnTo>
                  <a:lnTo>
                    <a:pt x="276" y="21"/>
                  </a:lnTo>
                  <a:lnTo>
                    <a:pt x="276" y="19"/>
                  </a:lnTo>
                  <a:lnTo>
                    <a:pt x="276" y="17"/>
                  </a:lnTo>
                  <a:lnTo>
                    <a:pt x="276" y="15"/>
                  </a:lnTo>
                  <a:lnTo>
                    <a:pt x="276" y="13"/>
                  </a:lnTo>
                  <a:lnTo>
                    <a:pt x="274" y="13"/>
                  </a:lnTo>
                  <a:lnTo>
                    <a:pt x="276" y="13"/>
                  </a:lnTo>
                  <a:lnTo>
                    <a:pt x="274" y="13"/>
                  </a:lnTo>
                  <a:lnTo>
                    <a:pt x="276" y="13"/>
                  </a:lnTo>
                  <a:lnTo>
                    <a:pt x="274" y="13"/>
                  </a:lnTo>
                  <a:lnTo>
                    <a:pt x="276" y="13"/>
                  </a:lnTo>
                  <a:lnTo>
                    <a:pt x="274" y="13"/>
                  </a:lnTo>
                  <a:lnTo>
                    <a:pt x="274" y="11"/>
                  </a:lnTo>
                  <a:lnTo>
                    <a:pt x="274" y="9"/>
                  </a:lnTo>
                  <a:lnTo>
                    <a:pt x="274" y="7"/>
                  </a:lnTo>
                  <a:lnTo>
                    <a:pt x="272" y="7"/>
                  </a:lnTo>
                  <a:lnTo>
                    <a:pt x="272" y="6"/>
                  </a:lnTo>
                  <a:lnTo>
                    <a:pt x="274" y="6"/>
                  </a:lnTo>
                  <a:lnTo>
                    <a:pt x="274" y="4"/>
                  </a:lnTo>
                  <a:lnTo>
                    <a:pt x="274" y="2"/>
                  </a:lnTo>
                  <a:lnTo>
                    <a:pt x="276" y="2"/>
                  </a:lnTo>
                  <a:lnTo>
                    <a:pt x="278" y="2"/>
                  </a:lnTo>
                  <a:lnTo>
                    <a:pt x="278" y="0"/>
                  </a:lnTo>
                  <a:lnTo>
                    <a:pt x="280" y="2"/>
                  </a:lnTo>
                  <a:lnTo>
                    <a:pt x="280" y="4"/>
                  </a:lnTo>
                  <a:lnTo>
                    <a:pt x="282" y="4"/>
                  </a:lnTo>
                  <a:lnTo>
                    <a:pt x="282" y="6"/>
                  </a:lnTo>
                  <a:lnTo>
                    <a:pt x="284" y="6"/>
                  </a:lnTo>
                  <a:lnTo>
                    <a:pt x="284" y="7"/>
                  </a:lnTo>
                  <a:lnTo>
                    <a:pt x="286" y="7"/>
                  </a:lnTo>
                  <a:lnTo>
                    <a:pt x="284" y="7"/>
                  </a:lnTo>
                  <a:lnTo>
                    <a:pt x="286" y="7"/>
                  </a:lnTo>
                  <a:lnTo>
                    <a:pt x="286" y="9"/>
                  </a:lnTo>
                  <a:lnTo>
                    <a:pt x="287" y="9"/>
                  </a:lnTo>
                  <a:lnTo>
                    <a:pt x="287" y="11"/>
                  </a:lnTo>
                  <a:lnTo>
                    <a:pt x="287" y="13"/>
                  </a:lnTo>
                  <a:lnTo>
                    <a:pt x="289" y="13"/>
                  </a:lnTo>
                  <a:lnTo>
                    <a:pt x="289" y="15"/>
                  </a:lnTo>
                  <a:lnTo>
                    <a:pt x="291" y="15"/>
                  </a:lnTo>
                  <a:lnTo>
                    <a:pt x="291" y="17"/>
                  </a:lnTo>
                  <a:lnTo>
                    <a:pt x="293" y="17"/>
                  </a:lnTo>
                  <a:lnTo>
                    <a:pt x="293" y="19"/>
                  </a:lnTo>
                  <a:lnTo>
                    <a:pt x="293" y="21"/>
                  </a:lnTo>
                  <a:lnTo>
                    <a:pt x="295" y="21"/>
                  </a:lnTo>
                  <a:lnTo>
                    <a:pt x="297" y="21"/>
                  </a:lnTo>
                  <a:lnTo>
                    <a:pt x="297" y="23"/>
                  </a:lnTo>
                  <a:lnTo>
                    <a:pt x="299" y="23"/>
                  </a:lnTo>
                  <a:lnTo>
                    <a:pt x="299" y="25"/>
                  </a:lnTo>
                  <a:lnTo>
                    <a:pt x="301" y="25"/>
                  </a:lnTo>
                  <a:lnTo>
                    <a:pt x="301" y="27"/>
                  </a:lnTo>
                  <a:lnTo>
                    <a:pt x="303" y="27"/>
                  </a:lnTo>
                  <a:lnTo>
                    <a:pt x="305" y="27"/>
                  </a:lnTo>
                  <a:lnTo>
                    <a:pt x="307" y="27"/>
                  </a:lnTo>
                  <a:lnTo>
                    <a:pt x="307" y="29"/>
                  </a:lnTo>
                  <a:lnTo>
                    <a:pt x="309" y="29"/>
                  </a:lnTo>
                  <a:lnTo>
                    <a:pt x="310" y="29"/>
                  </a:lnTo>
                  <a:lnTo>
                    <a:pt x="310" y="30"/>
                  </a:lnTo>
                  <a:lnTo>
                    <a:pt x="310" y="29"/>
                  </a:lnTo>
                  <a:lnTo>
                    <a:pt x="312" y="29"/>
                  </a:lnTo>
                  <a:lnTo>
                    <a:pt x="312" y="30"/>
                  </a:lnTo>
                  <a:lnTo>
                    <a:pt x="312" y="32"/>
                  </a:lnTo>
                  <a:lnTo>
                    <a:pt x="314" y="32"/>
                  </a:lnTo>
                  <a:lnTo>
                    <a:pt x="316" y="32"/>
                  </a:lnTo>
                  <a:lnTo>
                    <a:pt x="318" y="32"/>
                  </a:lnTo>
                  <a:lnTo>
                    <a:pt x="320" y="32"/>
                  </a:lnTo>
                  <a:lnTo>
                    <a:pt x="320" y="30"/>
                  </a:lnTo>
                  <a:lnTo>
                    <a:pt x="322" y="30"/>
                  </a:lnTo>
                  <a:lnTo>
                    <a:pt x="322" y="29"/>
                  </a:lnTo>
                  <a:lnTo>
                    <a:pt x="324" y="29"/>
                  </a:lnTo>
                  <a:lnTo>
                    <a:pt x="324" y="27"/>
                  </a:lnTo>
                  <a:lnTo>
                    <a:pt x="326" y="27"/>
                  </a:lnTo>
                  <a:lnTo>
                    <a:pt x="326" y="25"/>
                  </a:lnTo>
                  <a:lnTo>
                    <a:pt x="328" y="25"/>
                  </a:lnTo>
                  <a:lnTo>
                    <a:pt x="328" y="23"/>
                  </a:lnTo>
                  <a:lnTo>
                    <a:pt x="328" y="25"/>
                  </a:lnTo>
                  <a:lnTo>
                    <a:pt x="328" y="23"/>
                  </a:lnTo>
                  <a:lnTo>
                    <a:pt x="328" y="25"/>
                  </a:lnTo>
                  <a:lnTo>
                    <a:pt x="328" y="23"/>
                  </a:lnTo>
                  <a:lnTo>
                    <a:pt x="328" y="25"/>
                  </a:lnTo>
                  <a:lnTo>
                    <a:pt x="328" y="27"/>
                  </a:lnTo>
                  <a:lnTo>
                    <a:pt x="328" y="29"/>
                  </a:lnTo>
                  <a:lnTo>
                    <a:pt x="326" y="29"/>
                  </a:lnTo>
                  <a:lnTo>
                    <a:pt x="326" y="30"/>
                  </a:lnTo>
                  <a:lnTo>
                    <a:pt x="324" y="30"/>
                  </a:lnTo>
                  <a:lnTo>
                    <a:pt x="324" y="32"/>
                  </a:lnTo>
                  <a:lnTo>
                    <a:pt x="324" y="34"/>
                  </a:lnTo>
                  <a:lnTo>
                    <a:pt x="324" y="36"/>
                  </a:lnTo>
                  <a:lnTo>
                    <a:pt x="324" y="38"/>
                  </a:lnTo>
                  <a:lnTo>
                    <a:pt x="326" y="38"/>
                  </a:lnTo>
                  <a:lnTo>
                    <a:pt x="328" y="38"/>
                  </a:lnTo>
                  <a:lnTo>
                    <a:pt x="328" y="40"/>
                  </a:lnTo>
                  <a:lnTo>
                    <a:pt x="328" y="38"/>
                  </a:lnTo>
                  <a:lnTo>
                    <a:pt x="328" y="40"/>
                  </a:lnTo>
                  <a:lnTo>
                    <a:pt x="328" y="38"/>
                  </a:lnTo>
                  <a:lnTo>
                    <a:pt x="326" y="38"/>
                  </a:lnTo>
                  <a:lnTo>
                    <a:pt x="328" y="38"/>
                  </a:lnTo>
                  <a:lnTo>
                    <a:pt x="326" y="38"/>
                  </a:lnTo>
                  <a:lnTo>
                    <a:pt x="326" y="40"/>
                  </a:lnTo>
                  <a:lnTo>
                    <a:pt x="326" y="38"/>
                  </a:lnTo>
                  <a:lnTo>
                    <a:pt x="326" y="40"/>
                  </a:lnTo>
                  <a:lnTo>
                    <a:pt x="326" y="42"/>
                  </a:lnTo>
                  <a:lnTo>
                    <a:pt x="328" y="42"/>
                  </a:lnTo>
                  <a:lnTo>
                    <a:pt x="328" y="44"/>
                  </a:lnTo>
                  <a:lnTo>
                    <a:pt x="328" y="46"/>
                  </a:lnTo>
                  <a:lnTo>
                    <a:pt x="328" y="44"/>
                  </a:lnTo>
                  <a:lnTo>
                    <a:pt x="328" y="46"/>
                  </a:lnTo>
                  <a:lnTo>
                    <a:pt x="328" y="44"/>
                  </a:lnTo>
                  <a:lnTo>
                    <a:pt x="326" y="44"/>
                  </a:lnTo>
                  <a:lnTo>
                    <a:pt x="328" y="44"/>
                  </a:lnTo>
                  <a:lnTo>
                    <a:pt x="328" y="46"/>
                  </a:lnTo>
                  <a:lnTo>
                    <a:pt x="328" y="44"/>
                  </a:lnTo>
                  <a:lnTo>
                    <a:pt x="328" y="46"/>
                  </a:lnTo>
                  <a:lnTo>
                    <a:pt x="330" y="46"/>
                  </a:lnTo>
                  <a:lnTo>
                    <a:pt x="330" y="44"/>
                  </a:lnTo>
                  <a:lnTo>
                    <a:pt x="332" y="44"/>
                  </a:lnTo>
                  <a:lnTo>
                    <a:pt x="334" y="44"/>
                  </a:lnTo>
                  <a:lnTo>
                    <a:pt x="334" y="42"/>
                  </a:lnTo>
                  <a:lnTo>
                    <a:pt x="334" y="44"/>
                  </a:lnTo>
                  <a:lnTo>
                    <a:pt x="335" y="44"/>
                  </a:lnTo>
                  <a:lnTo>
                    <a:pt x="334" y="44"/>
                  </a:lnTo>
                  <a:lnTo>
                    <a:pt x="332" y="44"/>
                  </a:lnTo>
                  <a:lnTo>
                    <a:pt x="332" y="46"/>
                  </a:lnTo>
                  <a:lnTo>
                    <a:pt x="330" y="46"/>
                  </a:lnTo>
                  <a:lnTo>
                    <a:pt x="330" y="48"/>
                  </a:lnTo>
                  <a:lnTo>
                    <a:pt x="328" y="48"/>
                  </a:lnTo>
                  <a:lnTo>
                    <a:pt x="326" y="48"/>
                  </a:lnTo>
                  <a:lnTo>
                    <a:pt x="324" y="48"/>
                  </a:lnTo>
                  <a:lnTo>
                    <a:pt x="324" y="50"/>
                  </a:lnTo>
                  <a:lnTo>
                    <a:pt x="326" y="50"/>
                  </a:lnTo>
                  <a:lnTo>
                    <a:pt x="324" y="50"/>
                  </a:lnTo>
                  <a:lnTo>
                    <a:pt x="324" y="52"/>
                  </a:lnTo>
                  <a:lnTo>
                    <a:pt x="322" y="52"/>
                  </a:lnTo>
                  <a:lnTo>
                    <a:pt x="320" y="52"/>
                  </a:lnTo>
                  <a:lnTo>
                    <a:pt x="320" y="50"/>
                  </a:lnTo>
                  <a:lnTo>
                    <a:pt x="322" y="50"/>
                  </a:lnTo>
                  <a:lnTo>
                    <a:pt x="320" y="50"/>
                  </a:lnTo>
                  <a:lnTo>
                    <a:pt x="318" y="50"/>
                  </a:lnTo>
                  <a:lnTo>
                    <a:pt x="318" y="52"/>
                  </a:lnTo>
                  <a:lnTo>
                    <a:pt x="320" y="52"/>
                  </a:lnTo>
                  <a:lnTo>
                    <a:pt x="318" y="52"/>
                  </a:lnTo>
                  <a:lnTo>
                    <a:pt x="316" y="52"/>
                  </a:lnTo>
                  <a:lnTo>
                    <a:pt x="318" y="52"/>
                  </a:lnTo>
                  <a:lnTo>
                    <a:pt x="316" y="52"/>
                  </a:lnTo>
                  <a:lnTo>
                    <a:pt x="314" y="52"/>
                  </a:lnTo>
                  <a:lnTo>
                    <a:pt x="312" y="52"/>
                  </a:lnTo>
                  <a:lnTo>
                    <a:pt x="314" y="52"/>
                  </a:lnTo>
                  <a:lnTo>
                    <a:pt x="312" y="52"/>
                  </a:lnTo>
                  <a:lnTo>
                    <a:pt x="314" y="52"/>
                  </a:lnTo>
                  <a:lnTo>
                    <a:pt x="312" y="52"/>
                  </a:lnTo>
                  <a:lnTo>
                    <a:pt x="314" y="52"/>
                  </a:lnTo>
                  <a:lnTo>
                    <a:pt x="312" y="52"/>
                  </a:lnTo>
                  <a:lnTo>
                    <a:pt x="310" y="52"/>
                  </a:lnTo>
                  <a:lnTo>
                    <a:pt x="309" y="52"/>
                  </a:lnTo>
                  <a:lnTo>
                    <a:pt x="309" y="54"/>
                  </a:lnTo>
                  <a:lnTo>
                    <a:pt x="307" y="54"/>
                  </a:lnTo>
                  <a:lnTo>
                    <a:pt x="307" y="55"/>
                  </a:lnTo>
                  <a:lnTo>
                    <a:pt x="305" y="55"/>
                  </a:lnTo>
                  <a:lnTo>
                    <a:pt x="305" y="57"/>
                  </a:lnTo>
                  <a:lnTo>
                    <a:pt x="303" y="57"/>
                  </a:lnTo>
                  <a:lnTo>
                    <a:pt x="303" y="59"/>
                  </a:lnTo>
                  <a:lnTo>
                    <a:pt x="301" y="59"/>
                  </a:lnTo>
                  <a:lnTo>
                    <a:pt x="301" y="61"/>
                  </a:lnTo>
                  <a:lnTo>
                    <a:pt x="299" y="61"/>
                  </a:lnTo>
                  <a:lnTo>
                    <a:pt x="299" y="63"/>
                  </a:lnTo>
                  <a:lnTo>
                    <a:pt x="299" y="65"/>
                  </a:lnTo>
                  <a:lnTo>
                    <a:pt x="297" y="65"/>
                  </a:lnTo>
                  <a:lnTo>
                    <a:pt x="299" y="65"/>
                  </a:lnTo>
                  <a:lnTo>
                    <a:pt x="297" y="65"/>
                  </a:lnTo>
                  <a:lnTo>
                    <a:pt x="297" y="67"/>
                  </a:lnTo>
                  <a:lnTo>
                    <a:pt x="299" y="67"/>
                  </a:lnTo>
                  <a:lnTo>
                    <a:pt x="299" y="69"/>
                  </a:lnTo>
                  <a:lnTo>
                    <a:pt x="297" y="69"/>
                  </a:lnTo>
                  <a:lnTo>
                    <a:pt x="299" y="69"/>
                  </a:lnTo>
                  <a:lnTo>
                    <a:pt x="297" y="69"/>
                  </a:lnTo>
                  <a:lnTo>
                    <a:pt x="299" y="71"/>
                  </a:lnTo>
                  <a:lnTo>
                    <a:pt x="297" y="71"/>
                  </a:lnTo>
                  <a:lnTo>
                    <a:pt x="297" y="73"/>
                  </a:lnTo>
                  <a:lnTo>
                    <a:pt x="297" y="71"/>
                  </a:lnTo>
                  <a:lnTo>
                    <a:pt x="295" y="71"/>
                  </a:lnTo>
                  <a:lnTo>
                    <a:pt x="295" y="69"/>
                  </a:lnTo>
                  <a:lnTo>
                    <a:pt x="293" y="69"/>
                  </a:lnTo>
                  <a:lnTo>
                    <a:pt x="291" y="69"/>
                  </a:lnTo>
                  <a:lnTo>
                    <a:pt x="291" y="67"/>
                  </a:lnTo>
                  <a:lnTo>
                    <a:pt x="289" y="67"/>
                  </a:lnTo>
                  <a:lnTo>
                    <a:pt x="287" y="67"/>
                  </a:lnTo>
                  <a:lnTo>
                    <a:pt x="287" y="65"/>
                  </a:lnTo>
                  <a:lnTo>
                    <a:pt x="286" y="65"/>
                  </a:lnTo>
                  <a:lnTo>
                    <a:pt x="284" y="65"/>
                  </a:lnTo>
                  <a:lnTo>
                    <a:pt x="284" y="63"/>
                  </a:lnTo>
                  <a:lnTo>
                    <a:pt x="282" y="63"/>
                  </a:lnTo>
                  <a:lnTo>
                    <a:pt x="282" y="61"/>
                  </a:lnTo>
                  <a:lnTo>
                    <a:pt x="280" y="61"/>
                  </a:lnTo>
                  <a:lnTo>
                    <a:pt x="278" y="61"/>
                  </a:lnTo>
                  <a:lnTo>
                    <a:pt x="278" y="59"/>
                  </a:lnTo>
                  <a:lnTo>
                    <a:pt x="276" y="59"/>
                  </a:lnTo>
                  <a:lnTo>
                    <a:pt x="274" y="59"/>
                  </a:lnTo>
                  <a:lnTo>
                    <a:pt x="276" y="59"/>
                  </a:lnTo>
                  <a:lnTo>
                    <a:pt x="274" y="59"/>
                  </a:lnTo>
                  <a:lnTo>
                    <a:pt x="274" y="57"/>
                  </a:lnTo>
                  <a:lnTo>
                    <a:pt x="274" y="59"/>
                  </a:lnTo>
                  <a:lnTo>
                    <a:pt x="272" y="59"/>
                  </a:lnTo>
                  <a:lnTo>
                    <a:pt x="270" y="59"/>
                  </a:lnTo>
                  <a:lnTo>
                    <a:pt x="268" y="59"/>
                  </a:lnTo>
                  <a:lnTo>
                    <a:pt x="268" y="61"/>
                  </a:lnTo>
                  <a:lnTo>
                    <a:pt x="266" y="61"/>
                  </a:lnTo>
                  <a:lnTo>
                    <a:pt x="266" y="63"/>
                  </a:lnTo>
                  <a:lnTo>
                    <a:pt x="264" y="63"/>
                  </a:lnTo>
                  <a:lnTo>
                    <a:pt x="264" y="65"/>
                  </a:lnTo>
                  <a:lnTo>
                    <a:pt x="262" y="65"/>
                  </a:lnTo>
                  <a:lnTo>
                    <a:pt x="262" y="63"/>
                  </a:lnTo>
                  <a:lnTo>
                    <a:pt x="262" y="65"/>
                  </a:lnTo>
                  <a:lnTo>
                    <a:pt x="262" y="63"/>
                  </a:lnTo>
                  <a:lnTo>
                    <a:pt x="262" y="65"/>
                  </a:lnTo>
                  <a:lnTo>
                    <a:pt x="262" y="63"/>
                  </a:lnTo>
                  <a:lnTo>
                    <a:pt x="264" y="63"/>
                  </a:lnTo>
                  <a:lnTo>
                    <a:pt x="264" y="65"/>
                  </a:lnTo>
                  <a:lnTo>
                    <a:pt x="264" y="63"/>
                  </a:lnTo>
                  <a:lnTo>
                    <a:pt x="264" y="65"/>
                  </a:lnTo>
                  <a:lnTo>
                    <a:pt x="264" y="63"/>
                  </a:lnTo>
                  <a:lnTo>
                    <a:pt x="262" y="63"/>
                  </a:lnTo>
                  <a:lnTo>
                    <a:pt x="262" y="61"/>
                  </a:lnTo>
                  <a:lnTo>
                    <a:pt x="261" y="61"/>
                  </a:lnTo>
                  <a:lnTo>
                    <a:pt x="261" y="59"/>
                  </a:lnTo>
                  <a:lnTo>
                    <a:pt x="259" y="59"/>
                  </a:lnTo>
                  <a:lnTo>
                    <a:pt x="257" y="59"/>
                  </a:lnTo>
                  <a:lnTo>
                    <a:pt x="255" y="59"/>
                  </a:lnTo>
                  <a:lnTo>
                    <a:pt x="255" y="61"/>
                  </a:lnTo>
                  <a:lnTo>
                    <a:pt x="255" y="63"/>
                  </a:lnTo>
                  <a:lnTo>
                    <a:pt x="255" y="61"/>
                  </a:lnTo>
                  <a:lnTo>
                    <a:pt x="255" y="63"/>
                  </a:lnTo>
                  <a:lnTo>
                    <a:pt x="253" y="63"/>
                  </a:lnTo>
                  <a:lnTo>
                    <a:pt x="253" y="65"/>
                  </a:lnTo>
                  <a:lnTo>
                    <a:pt x="255" y="65"/>
                  </a:lnTo>
                  <a:lnTo>
                    <a:pt x="255" y="67"/>
                  </a:lnTo>
                  <a:lnTo>
                    <a:pt x="257" y="67"/>
                  </a:lnTo>
                  <a:lnTo>
                    <a:pt x="257" y="69"/>
                  </a:lnTo>
                  <a:lnTo>
                    <a:pt x="259" y="69"/>
                  </a:lnTo>
                  <a:lnTo>
                    <a:pt x="261" y="69"/>
                  </a:lnTo>
                  <a:lnTo>
                    <a:pt x="261" y="71"/>
                  </a:lnTo>
                  <a:lnTo>
                    <a:pt x="262" y="71"/>
                  </a:lnTo>
                  <a:lnTo>
                    <a:pt x="262" y="73"/>
                  </a:lnTo>
                  <a:lnTo>
                    <a:pt x="264" y="73"/>
                  </a:lnTo>
                  <a:lnTo>
                    <a:pt x="266" y="73"/>
                  </a:lnTo>
                  <a:lnTo>
                    <a:pt x="266" y="75"/>
                  </a:lnTo>
                  <a:lnTo>
                    <a:pt x="266" y="77"/>
                  </a:lnTo>
                  <a:lnTo>
                    <a:pt x="264" y="77"/>
                  </a:lnTo>
                  <a:lnTo>
                    <a:pt x="266" y="77"/>
                  </a:lnTo>
                  <a:lnTo>
                    <a:pt x="264" y="77"/>
                  </a:lnTo>
                  <a:lnTo>
                    <a:pt x="262" y="77"/>
                  </a:lnTo>
                  <a:lnTo>
                    <a:pt x="262" y="75"/>
                  </a:lnTo>
                  <a:lnTo>
                    <a:pt x="261" y="75"/>
                  </a:lnTo>
                  <a:lnTo>
                    <a:pt x="261" y="77"/>
                  </a:lnTo>
                  <a:lnTo>
                    <a:pt x="261" y="75"/>
                  </a:lnTo>
                  <a:lnTo>
                    <a:pt x="259" y="75"/>
                  </a:lnTo>
                  <a:lnTo>
                    <a:pt x="259" y="77"/>
                  </a:lnTo>
                  <a:lnTo>
                    <a:pt x="257" y="77"/>
                  </a:lnTo>
                  <a:lnTo>
                    <a:pt x="257" y="78"/>
                  </a:lnTo>
                  <a:lnTo>
                    <a:pt x="257" y="80"/>
                  </a:lnTo>
                  <a:lnTo>
                    <a:pt x="255" y="80"/>
                  </a:lnTo>
                  <a:lnTo>
                    <a:pt x="257" y="80"/>
                  </a:lnTo>
                  <a:lnTo>
                    <a:pt x="255" y="80"/>
                  </a:lnTo>
                  <a:lnTo>
                    <a:pt x="253" y="80"/>
                  </a:lnTo>
                  <a:lnTo>
                    <a:pt x="253" y="82"/>
                  </a:lnTo>
                  <a:lnTo>
                    <a:pt x="251" y="82"/>
                  </a:lnTo>
                  <a:lnTo>
                    <a:pt x="249" y="82"/>
                  </a:lnTo>
                  <a:lnTo>
                    <a:pt x="249" y="80"/>
                  </a:lnTo>
                  <a:lnTo>
                    <a:pt x="249" y="82"/>
                  </a:lnTo>
                  <a:lnTo>
                    <a:pt x="249" y="80"/>
                  </a:lnTo>
                  <a:lnTo>
                    <a:pt x="251" y="80"/>
                  </a:lnTo>
                  <a:lnTo>
                    <a:pt x="249" y="80"/>
                  </a:lnTo>
                  <a:lnTo>
                    <a:pt x="251" y="80"/>
                  </a:lnTo>
                  <a:lnTo>
                    <a:pt x="249" y="80"/>
                  </a:lnTo>
                  <a:lnTo>
                    <a:pt x="251" y="80"/>
                  </a:lnTo>
                  <a:lnTo>
                    <a:pt x="249" y="80"/>
                  </a:lnTo>
                  <a:lnTo>
                    <a:pt x="249" y="78"/>
                  </a:lnTo>
                  <a:lnTo>
                    <a:pt x="249" y="77"/>
                  </a:lnTo>
                  <a:lnTo>
                    <a:pt x="251" y="77"/>
                  </a:lnTo>
                  <a:lnTo>
                    <a:pt x="251" y="75"/>
                  </a:lnTo>
                  <a:lnTo>
                    <a:pt x="251" y="73"/>
                  </a:lnTo>
                  <a:lnTo>
                    <a:pt x="251" y="71"/>
                  </a:lnTo>
                  <a:lnTo>
                    <a:pt x="251" y="69"/>
                  </a:lnTo>
                  <a:lnTo>
                    <a:pt x="249" y="69"/>
                  </a:lnTo>
                  <a:lnTo>
                    <a:pt x="249" y="67"/>
                  </a:lnTo>
                  <a:lnTo>
                    <a:pt x="247" y="67"/>
                  </a:lnTo>
                  <a:lnTo>
                    <a:pt x="249" y="67"/>
                  </a:lnTo>
                  <a:lnTo>
                    <a:pt x="247" y="67"/>
                  </a:lnTo>
                  <a:lnTo>
                    <a:pt x="249" y="67"/>
                  </a:lnTo>
                  <a:lnTo>
                    <a:pt x="247" y="67"/>
                  </a:lnTo>
                  <a:lnTo>
                    <a:pt x="249" y="67"/>
                  </a:lnTo>
                  <a:lnTo>
                    <a:pt x="247" y="67"/>
                  </a:lnTo>
                  <a:lnTo>
                    <a:pt x="249" y="67"/>
                  </a:lnTo>
                  <a:lnTo>
                    <a:pt x="247" y="67"/>
                  </a:lnTo>
                  <a:lnTo>
                    <a:pt x="247" y="65"/>
                  </a:lnTo>
                  <a:lnTo>
                    <a:pt x="245" y="65"/>
                  </a:lnTo>
                  <a:lnTo>
                    <a:pt x="247" y="65"/>
                  </a:lnTo>
                  <a:lnTo>
                    <a:pt x="247" y="63"/>
                  </a:lnTo>
                  <a:lnTo>
                    <a:pt x="247" y="61"/>
                  </a:lnTo>
                  <a:lnTo>
                    <a:pt x="247" y="59"/>
                  </a:lnTo>
                  <a:lnTo>
                    <a:pt x="247" y="57"/>
                  </a:lnTo>
                  <a:lnTo>
                    <a:pt x="249" y="57"/>
                  </a:lnTo>
                  <a:lnTo>
                    <a:pt x="251" y="57"/>
                  </a:lnTo>
                  <a:lnTo>
                    <a:pt x="251" y="55"/>
                  </a:lnTo>
                  <a:lnTo>
                    <a:pt x="253" y="55"/>
                  </a:lnTo>
                  <a:lnTo>
                    <a:pt x="253" y="54"/>
                  </a:lnTo>
                  <a:lnTo>
                    <a:pt x="253" y="55"/>
                  </a:lnTo>
                  <a:lnTo>
                    <a:pt x="253" y="54"/>
                  </a:lnTo>
                  <a:lnTo>
                    <a:pt x="253" y="55"/>
                  </a:lnTo>
                  <a:lnTo>
                    <a:pt x="255" y="55"/>
                  </a:lnTo>
                  <a:lnTo>
                    <a:pt x="255" y="54"/>
                  </a:lnTo>
                  <a:lnTo>
                    <a:pt x="255" y="52"/>
                  </a:lnTo>
                  <a:lnTo>
                    <a:pt x="257" y="52"/>
                  </a:lnTo>
                  <a:lnTo>
                    <a:pt x="257" y="50"/>
                  </a:lnTo>
                  <a:close/>
                  <a:moveTo>
                    <a:pt x="126" y="232"/>
                  </a:moveTo>
                  <a:lnTo>
                    <a:pt x="128" y="232"/>
                  </a:lnTo>
                  <a:lnTo>
                    <a:pt x="126" y="232"/>
                  </a:lnTo>
                  <a:lnTo>
                    <a:pt x="128" y="232"/>
                  </a:lnTo>
                  <a:lnTo>
                    <a:pt x="128" y="234"/>
                  </a:lnTo>
                  <a:lnTo>
                    <a:pt x="128" y="232"/>
                  </a:lnTo>
                  <a:lnTo>
                    <a:pt x="130" y="232"/>
                  </a:lnTo>
                  <a:lnTo>
                    <a:pt x="132" y="232"/>
                  </a:lnTo>
                  <a:lnTo>
                    <a:pt x="130" y="232"/>
                  </a:lnTo>
                  <a:lnTo>
                    <a:pt x="132" y="232"/>
                  </a:lnTo>
                  <a:lnTo>
                    <a:pt x="130" y="232"/>
                  </a:lnTo>
                  <a:lnTo>
                    <a:pt x="130" y="234"/>
                  </a:lnTo>
                  <a:lnTo>
                    <a:pt x="130" y="236"/>
                  </a:lnTo>
                  <a:lnTo>
                    <a:pt x="130" y="234"/>
                  </a:lnTo>
                  <a:lnTo>
                    <a:pt x="130" y="236"/>
                  </a:lnTo>
                  <a:lnTo>
                    <a:pt x="130" y="234"/>
                  </a:lnTo>
                  <a:lnTo>
                    <a:pt x="130" y="236"/>
                  </a:lnTo>
                  <a:lnTo>
                    <a:pt x="130" y="234"/>
                  </a:lnTo>
                  <a:lnTo>
                    <a:pt x="130" y="236"/>
                  </a:lnTo>
                  <a:lnTo>
                    <a:pt x="130" y="234"/>
                  </a:lnTo>
                  <a:lnTo>
                    <a:pt x="130" y="236"/>
                  </a:lnTo>
                  <a:lnTo>
                    <a:pt x="130" y="234"/>
                  </a:lnTo>
                  <a:lnTo>
                    <a:pt x="130" y="236"/>
                  </a:lnTo>
                  <a:lnTo>
                    <a:pt x="132" y="236"/>
                  </a:lnTo>
                  <a:lnTo>
                    <a:pt x="130" y="236"/>
                  </a:lnTo>
                  <a:lnTo>
                    <a:pt x="132" y="236"/>
                  </a:lnTo>
                  <a:lnTo>
                    <a:pt x="132" y="234"/>
                  </a:lnTo>
                  <a:lnTo>
                    <a:pt x="132" y="236"/>
                  </a:lnTo>
                  <a:lnTo>
                    <a:pt x="132" y="234"/>
                  </a:lnTo>
                  <a:lnTo>
                    <a:pt x="132" y="236"/>
                  </a:lnTo>
                  <a:lnTo>
                    <a:pt x="130" y="236"/>
                  </a:lnTo>
                  <a:lnTo>
                    <a:pt x="132" y="236"/>
                  </a:lnTo>
                  <a:lnTo>
                    <a:pt x="132" y="238"/>
                  </a:lnTo>
                  <a:lnTo>
                    <a:pt x="130" y="238"/>
                  </a:lnTo>
                  <a:lnTo>
                    <a:pt x="132" y="238"/>
                  </a:lnTo>
                  <a:lnTo>
                    <a:pt x="130" y="238"/>
                  </a:lnTo>
                  <a:lnTo>
                    <a:pt x="132" y="238"/>
                  </a:lnTo>
                  <a:lnTo>
                    <a:pt x="134" y="238"/>
                  </a:lnTo>
                  <a:lnTo>
                    <a:pt x="132" y="238"/>
                  </a:lnTo>
                  <a:lnTo>
                    <a:pt x="134" y="238"/>
                  </a:lnTo>
                  <a:lnTo>
                    <a:pt x="132" y="238"/>
                  </a:lnTo>
                  <a:lnTo>
                    <a:pt x="132" y="240"/>
                  </a:lnTo>
                  <a:lnTo>
                    <a:pt x="132" y="238"/>
                  </a:lnTo>
                  <a:lnTo>
                    <a:pt x="132" y="240"/>
                  </a:lnTo>
                  <a:lnTo>
                    <a:pt x="132" y="242"/>
                  </a:lnTo>
                  <a:lnTo>
                    <a:pt x="132" y="240"/>
                  </a:lnTo>
                  <a:lnTo>
                    <a:pt x="132" y="242"/>
                  </a:lnTo>
                  <a:lnTo>
                    <a:pt x="132" y="240"/>
                  </a:lnTo>
                  <a:lnTo>
                    <a:pt x="132" y="242"/>
                  </a:lnTo>
                  <a:lnTo>
                    <a:pt x="132" y="240"/>
                  </a:lnTo>
                  <a:lnTo>
                    <a:pt x="132" y="242"/>
                  </a:lnTo>
                  <a:lnTo>
                    <a:pt x="132" y="240"/>
                  </a:lnTo>
                  <a:lnTo>
                    <a:pt x="132" y="242"/>
                  </a:lnTo>
                  <a:lnTo>
                    <a:pt x="132" y="240"/>
                  </a:lnTo>
                  <a:lnTo>
                    <a:pt x="130" y="240"/>
                  </a:lnTo>
                  <a:lnTo>
                    <a:pt x="130" y="242"/>
                  </a:lnTo>
                  <a:lnTo>
                    <a:pt x="132" y="242"/>
                  </a:lnTo>
                  <a:lnTo>
                    <a:pt x="130" y="242"/>
                  </a:lnTo>
                  <a:lnTo>
                    <a:pt x="132" y="242"/>
                  </a:lnTo>
                  <a:lnTo>
                    <a:pt x="130" y="242"/>
                  </a:lnTo>
                  <a:lnTo>
                    <a:pt x="132" y="242"/>
                  </a:lnTo>
                  <a:lnTo>
                    <a:pt x="130" y="242"/>
                  </a:lnTo>
                  <a:lnTo>
                    <a:pt x="132" y="242"/>
                  </a:lnTo>
                  <a:lnTo>
                    <a:pt x="130" y="242"/>
                  </a:lnTo>
                  <a:lnTo>
                    <a:pt x="132" y="242"/>
                  </a:lnTo>
                  <a:lnTo>
                    <a:pt x="130" y="242"/>
                  </a:lnTo>
                  <a:lnTo>
                    <a:pt x="130" y="244"/>
                  </a:lnTo>
                  <a:lnTo>
                    <a:pt x="130" y="242"/>
                  </a:lnTo>
                  <a:lnTo>
                    <a:pt x="130" y="244"/>
                  </a:lnTo>
                  <a:lnTo>
                    <a:pt x="130" y="242"/>
                  </a:lnTo>
                  <a:lnTo>
                    <a:pt x="130" y="244"/>
                  </a:lnTo>
                  <a:lnTo>
                    <a:pt x="128" y="244"/>
                  </a:lnTo>
                  <a:lnTo>
                    <a:pt x="130" y="244"/>
                  </a:lnTo>
                  <a:lnTo>
                    <a:pt x="128" y="244"/>
                  </a:lnTo>
                  <a:lnTo>
                    <a:pt x="130" y="244"/>
                  </a:lnTo>
                  <a:lnTo>
                    <a:pt x="128" y="244"/>
                  </a:lnTo>
                  <a:lnTo>
                    <a:pt x="130" y="244"/>
                  </a:lnTo>
                  <a:lnTo>
                    <a:pt x="128" y="244"/>
                  </a:lnTo>
                  <a:lnTo>
                    <a:pt x="130" y="244"/>
                  </a:lnTo>
                  <a:lnTo>
                    <a:pt x="128" y="244"/>
                  </a:lnTo>
                  <a:lnTo>
                    <a:pt x="128" y="246"/>
                  </a:lnTo>
                  <a:lnTo>
                    <a:pt x="128" y="248"/>
                  </a:lnTo>
                  <a:lnTo>
                    <a:pt x="126" y="248"/>
                  </a:lnTo>
                  <a:lnTo>
                    <a:pt x="126" y="249"/>
                  </a:lnTo>
                  <a:lnTo>
                    <a:pt x="126" y="251"/>
                  </a:lnTo>
                  <a:lnTo>
                    <a:pt x="126" y="253"/>
                  </a:lnTo>
                  <a:lnTo>
                    <a:pt x="124" y="253"/>
                  </a:lnTo>
                  <a:lnTo>
                    <a:pt x="124" y="255"/>
                  </a:lnTo>
                  <a:lnTo>
                    <a:pt x="124" y="257"/>
                  </a:lnTo>
                  <a:lnTo>
                    <a:pt x="124" y="255"/>
                  </a:lnTo>
                  <a:lnTo>
                    <a:pt x="124" y="257"/>
                  </a:lnTo>
                  <a:lnTo>
                    <a:pt x="124" y="259"/>
                  </a:lnTo>
                  <a:lnTo>
                    <a:pt x="124" y="261"/>
                  </a:lnTo>
                  <a:lnTo>
                    <a:pt x="124" y="263"/>
                  </a:lnTo>
                  <a:lnTo>
                    <a:pt x="124" y="261"/>
                  </a:lnTo>
                  <a:lnTo>
                    <a:pt x="124" y="263"/>
                  </a:lnTo>
                  <a:lnTo>
                    <a:pt x="124" y="261"/>
                  </a:lnTo>
                  <a:lnTo>
                    <a:pt x="124" y="263"/>
                  </a:lnTo>
                  <a:lnTo>
                    <a:pt x="122" y="263"/>
                  </a:lnTo>
                  <a:lnTo>
                    <a:pt x="122" y="265"/>
                  </a:lnTo>
                  <a:lnTo>
                    <a:pt x="124" y="265"/>
                  </a:lnTo>
                  <a:lnTo>
                    <a:pt x="122" y="265"/>
                  </a:lnTo>
                  <a:lnTo>
                    <a:pt x="120" y="265"/>
                  </a:lnTo>
                  <a:lnTo>
                    <a:pt x="122" y="265"/>
                  </a:lnTo>
                  <a:lnTo>
                    <a:pt x="120" y="265"/>
                  </a:lnTo>
                  <a:lnTo>
                    <a:pt x="120" y="263"/>
                  </a:lnTo>
                  <a:lnTo>
                    <a:pt x="120" y="265"/>
                  </a:lnTo>
                  <a:lnTo>
                    <a:pt x="120" y="263"/>
                  </a:lnTo>
                  <a:lnTo>
                    <a:pt x="119" y="263"/>
                  </a:lnTo>
                  <a:lnTo>
                    <a:pt x="119" y="265"/>
                  </a:lnTo>
                  <a:lnTo>
                    <a:pt x="119" y="267"/>
                  </a:lnTo>
                  <a:lnTo>
                    <a:pt x="120" y="267"/>
                  </a:lnTo>
                  <a:lnTo>
                    <a:pt x="119" y="267"/>
                  </a:lnTo>
                  <a:lnTo>
                    <a:pt x="120" y="267"/>
                  </a:lnTo>
                  <a:lnTo>
                    <a:pt x="119" y="267"/>
                  </a:lnTo>
                  <a:lnTo>
                    <a:pt x="120" y="267"/>
                  </a:lnTo>
                  <a:lnTo>
                    <a:pt x="119" y="267"/>
                  </a:lnTo>
                  <a:lnTo>
                    <a:pt x="120" y="267"/>
                  </a:lnTo>
                  <a:lnTo>
                    <a:pt x="119" y="267"/>
                  </a:lnTo>
                  <a:lnTo>
                    <a:pt x="119" y="269"/>
                  </a:lnTo>
                  <a:lnTo>
                    <a:pt x="117" y="269"/>
                  </a:lnTo>
                  <a:lnTo>
                    <a:pt x="119" y="269"/>
                  </a:lnTo>
                  <a:lnTo>
                    <a:pt x="117" y="269"/>
                  </a:lnTo>
                  <a:lnTo>
                    <a:pt x="117" y="271"/>
                  </a:lnTo>
                  <a:lnTo>
                    <a:pt x="115" y="271"/>
                  </a:lnTo>
                  <a:lnTo>
                    <a:pt x="113" y="271"/>
                  </a:lnTo>
                  <a:lnTo>
                    <a:pt x="113" y="273"/>
                  </a:lnTo>
                  <a:lnTo>
                    <a:pt x="113" y="271"/>
                  </a:lnTo>
                  <a:lnTo>
                    <a:pt x="115" y="271"/>
                  </a:lnTo>
                  <a:lnTo>
                    <a:pt x="115" y="269"/>
                  </a:lnTo>
                  <a:lnTo>
                    <a:pt x="115" y="267"/>
                  </a:lnTo>
                  <a:lnTo>
                    <a:pt x="115" y="265"/>
                  </a:lnTo>
                  <a:lnTo>
                    <a:pt x="113" y="265"/>
                  </a:lnTo>
                  <a:lnTo>
                    <a:pt x="113" y="263"/>
                  </a:lnTo>
                  <a:lnTo>
                    <a:pt x="113" y="261"/>
                  </a:lnTo>
                  <a:lnTo>
                    <a:pt x="115" y="261"/>
                  </a:lnTo>
                  <a:lnTo>
                    <a:pt x="113" y="261"/>
                  </a:lnTo>
                  <a:lnTo>
                    <a:pt x="115" y="261"/>
                  </a:lnTo>
                  <a:lnTo>
                    <a:pt x="113" y="261"/>
                  </a:lnTo>
                  <a:lnTo>
                    <a:pt x="115" y="261"/>
                  </a:lnTo>
                  <a:lnTo>
                    <a:pt x="113" y="261"/>
                  </a:lnTo>
                  <a:lnTo>
                    <a:pt x="115" y="261"/>
                  </a:lnTo>
                  <a:lnTo>
                    <a:pt x="115" y="263"/>
                  </a:lnTo>
                  <a:lnTo>
                    <a:pt x="113" y="263"/>
                  </a:lnTo>
                  <a:lnTo>
                    <a:pt x="115" y="263"/>
                  </a:lnTo>
                  <a:lnTo>
                    <a:pt x="113" y="263"/>
                  </a:lnTo>
                  <a:lnTo>
                    <a:pt x="115" y="263"/>
                  </a:lnTo>
                  <a:lnTo>
                    <a:pt x="115" y="261"/>
                  </a:lnTo>
                  <a:lnTo>
                    <a:pt x="115" y="259"/>
                  </a:lnTo>
                  <a:lnTo>
                    <a:pt x="113" y="259"/>
                  </a:lnTo>
                  <a:lnTo>
                    <a:pt x="113" y="261"/>
                  </a:lnTo>
                  <a:lnTo>
                    <a:pt x="111" y="261"/>
                  </a:lnTo>
                  <a:lnTo>
                    <a:pt x="111" y="263"/>
                  </a:lnTo>
                  <a:lnTo>
                    <a:pt x="111" y="265"/>
                  </a:lnTo>
                  <a:lnTo>
                    <a:pt x="111" y="263"/>
                  </a:lnTo>
                  <a:lnTo>
                    <a:pt x="111" y="265"/>
                  </a:lnTo>
                  <a:lnTo>
                    <a:pt x="111" y="267"/>
                  </a:lnTo>
                  <a:lnTo>
                    <a:pt x="113" y="267"/>
                  </a:lnTo>
                  <a:lnTo>
                    <a:pt x="111" y="267"/>
                  </a:lnTo>
                  <a:lnTo>
                    <a:pt x="113" y="267"/>
                  </a:lnTo>
                  <a:lnTo>
                    <a:pt x="113" y="269"/>
                  </a:lnTo>
                  <a:lnTo>
                    <a:pt x="111" y="269"/>
                  </a:lnTo>
                  <a:lnTo>
                    <a:pt x="111" y="267"/>
                  </a:lnTo>
                  <a:lnTo>
                    <a:pt x="109" y="267"/>
                  </a:lnTo>
                  <a:lnTo>
                    <a:pt x="107" y="267"/>
                  </a:lnTo>
                  <a:lnTo>
                    <a:pt x="105" y="267"/>
                  </a:lnTo>
                  <a:lnTo>
                    <a:pt x="107" y="267"/>
                  </a:lnTo>
                  <a:lnTo>
                    <a:pt x="105" y="267"/>
                  </a:lnTo>
                  <a:lnTo>
                    <a:pt x="107" y="267"/>
                  </a:lnTo>
                  <a:lnTo>
                    <a:pt x="107" y="265"/>
                  </a:lnTo>
                  <a:lnTo>
                    <a:pt x="105" y="265"/>
                  </a:lnTo>
                  <a:lnTo>
                    <a:pt x="107" y="265"/>
                  </a:lnTo>
                  <a:lnTo>
                    <a:pt x="105" y="265"/>
                  </a:lnTo>
                  <a:lnTo>
                    <a:pt x="107" y="265"/>
                  </a:lnTo>
                  <a:lnTo>
                    <a:pt x="107" y="263"/>
                  </a:lnTo>
                  <a:lnTo>
                    <a:pt x="109" y="263"/>
                  </a:lnTo>
                  <a:lnTo>
                    <a:pt x="107" y="263"/>
                  </a:lnTo>
                  <a:lnTo>
                    <a:pt x="109" y="263"/>
                  </a:lnTo>
                  <a:lnTo>
                    <a:pt x="109" y="261"/>
                  </a:lnTo>
                  <a:lnTo>
                    <a:pt x="107" y="261"/>
                  </a:lnTo>
                  <a:lnTo>
                    <a:pt x="109" y="261"/>
                  </a:lnTo>
                  <a:lnTo>
                    <a:pt x="107" y="261"/>
                  </a:lnTo>
                  <a:lnTo>
                    <a:pt x="109" y="261"/>
                  </a:lnTo>
                  <a:lnTo>
                    <a:pt x="107" y="261"/>
                  </a:lnTo>
                  <a:lnTo>
                    <a:pt x="109" y="261"/>
                  </a:lnTo>
                  <a:lnTo>
                    <a:pt x="107" y="261"/>
                  </a:lnTo>
                  <a:lnTo>
                    <a:pt x="107" y="259"/>
                  </a:lnTo>
                  <a:lnTo>
                    <a:pt x="105" y="259"/>
                  </a:lnTo>
                  <a:lnTo>
                    <a:pt x="107" y="259"/>
                  </a:lnTo>
                  <a:lnTo>
                    <a:pt x="105" y="259"/>
                  </a:lnTo>
                  <a:lnTo>
                    <a:pt x="105" y="257"/>
                  </a:lnTo>
                  <a:lnTo>
                    <a:pt x="107" y="257"/>
                  </a:lnTo>
                  <a:lnTo>
                    <a:pt x="105" y="257"/>
                  </a:lnTo>
                  <a:lnTo>
                    <a:pt x="107" y="257"/>
                  </a:lnTo>
                  <a:lnTo>
                    <a:pt x="107" y="255"/>
                  </a:lnTo>
                  <a:lnTo>
                    <a:pt x="105" y="255"/>
                  </a:lnTo>
                  <a:lnTo>
                    <a:pt x="107" y="255"/>
                  </a:lnTo>
                  <a:lnTo>
                    <a:pt x="105" y="255"/>
                  </a:lnTo>
                  <a:lnTo>
                    <a:pt x="107" y="255"/>
                  </a:lnTo>
                  <a:lnTo>
                    <a:pt x="107" y="253"/>
                  </a:lnTo>
                  <a:lnTo>
                    <a:pt x="105" y="253"/>
                  </a:lnTo>
                  <a:lnTo>
                    <a:pt x="107" y="253"/>
                  </a:lnTo>
                  <a:lnTo>
                    <a:pt x="107" y="255"/>
                  </a:lnTo>
                  <a:lnTo>
                    <a:pt x="107" y="253"/>
                  </a:lnTo>
                  <a:lnTo>
                    <a:pt x="107" y="255"/>
                  </a:lnTo>
                  <a:lnTo>
                    <a:pt x="107" y="253"/>
                  </a:lnTo>
                  <a:lnTo>
                    <a:pt x="105" y="253"/>
                  </a:lnTo>
                  <a:lnTo>
                    <a:pt x="107" y="253"/>
                  </a:lnTo>
                  <a:lnTo>
                    <a:pt x="109" y="253"/>
                  </a:lnTo>
                  <a:lnTo>
                    <a:pt x="109" y="251"/>
                  </a:lnTo>
                  <a:lnTo>
                    <a:pt x="109" y="253"/>
                  </a:lnTo>
                  <a:lnTo>
                    <a:pt x="109" y="251"/>
                  </a:lnTo>
                  <a:lnTo>
                    <a:pt x="109" y="249"/>
                  </a:lnTo>
                  <a:lnTo>
                    <a:pt x="111" y="249"/>
                  </a:lnTo>
                  <a:lnTo>
                    <a:pt x="109" y="249"/>
                  </a:lnTo>
                  <a:lnTo>
                    <a:pt x="111" y="249"/>
                  </a:lnTo>
                  <a:lnTo>
                    <a:pt x="109" y="249"/>
                  </a:lnTo>
                  <a:lnTo>
                    <a:pt x="111" y="249"/>
                  </a:lnTo>
                  <a:lnTo>
                    <a:pt x="109" y="249"/>
                  </a:lnTo>
                  <a:lnTo>
                    <a:pt x="111" y="249"/>
                  </a:lnTo>
                  <a:lnTo>
                    <a:pt x="109" y="249"/>
                  </a:lnTo>
                  <a:lnTo>
                    <a:pt x="111" y="249"/>
                  </a:lnTo>
                  <a:lnTo>
                    <a:pt x="111" y="248"/>
                  </a:lnTo>
                  <a:lnTo>
                    <a:pt x="111" y="246"/>
                  </a:lnTo>
                  <a:lnTo>
                    <a:pt x="113" y="246"/>
                  </a:lnTo>
                  <a:lnTo>
                    <a:pt x="111" y="246"/>
                  </a:lnTo>
                  <a:lnTo>
                    <a:pt x="113" y="246"/>
                  </a:lnTo>
                  <a:lnTo>
                    <a:pt x="113" y="244"/>
                  </a:lnTo>
                  <a:lnTo>
                    <a:pt x="111" y="244"/>
                  </a:lnTo>
                  <a:lnTo>
                    <a:pt x="111" y="246"/>
                  </a:lnTo>
                  <a:lnTo>
                    <a:pt x="111" y="244"/>
                  </a:lnTo>
                  <a:lnTo>
                    <a:pt x="111" y="242"/>
                  </a:lnTo>
                  <a:lnTo>
                    <a:pt x="113" y="242"/>
                  </a:lnTo>
                  <a:lnTo>
                    <a:pt x="111" y="242"/>
                  </a:lnTo>
                  <a:lnTo>
                    <a:pt x="113" y="242"/>
                  </a:lnTo>
                  <a:lnTo>
                    <a:pt x="113" y="240"/>
                  </a:lnTo>
                  <a:lnTo>
                    <a:pt x="111" y="240"/>
                  </a:lnTo>
                  <a:lnTo>
                    <a:pt x="113" y="240"/>
                  </a:lnTo>
                  <a:lnTo>
                    <a:pt x="111" y="240"/>
                  </a:lnTo>
                  <a:lnTo>
                    <a:pt x="113" y="240"/>
                  </a:lnTo>
                  <a:lnTo>
                    <a:pt x="111" y="240"/>
                  </a:lnTo>
                  <a:lnTo>
                    <a:pt x="113" y="240"/>
                  </a:lnTo>
                  <a:lnTo>
                    <a:pt x="111" y="240"/>
                  </a:lnTo>
                  <a:lnTo>
                    <a:pt x="113" y="240"/>
                  </a:lnTo>
                  <a:lnTo>
                    <a:pt x="111" y="240"/>
                  </a:lnTo>
                  <a:lnTo>
                    <a:pt x="111" y="238"/>
                  </a:lnTo>
                  <a:lnTo>
                    <a:pt x="109" y="238"/>
                  </a:lnTo>
                  <a:lnTo>
                    <a:pt x="109" y="236"/>
                  </a:lnTo>
                  <a:lnTo>
                    <a:pt x="109" y="234"/>
                  </a:lnTo>
                  <a:lnTo>
                    <a:pt x="107" y="234"/>
                  </a:lnTo>
                  <a:lnTo>
                    <a:pt x="105" y="234"/>
                  </a:lnTo>
                  <a:lnTo>
                    <a:pt x="105" y="236"/>
                  </a:lnTo>
                  <a:lnTo>
                    <a:pt x="105" y="234"/>
                  </a:lnTo>
                  <a:lnTo>
                    <a:pt x="105" y="236"/>
                  </a:lnTo>
                  <a:lnTo>
                    <a:pt x="105" y="238"/>
                  </a:lnTo>
                  <a:lnTo>
                    <a:pt x="105" y="236"/>
                  </a:lnTo>
                  <a:lnTo>
                    <a:pt x="105" y="238"/>
                  </a:lnTo>
                  <a:lnTo>
                    <a:pt x="107" y="238"/>
                  </a:lnTo>
                  <a:lnTo>
                    <a:pt x="105" y="238"/>
                  </a:lnTo>
                  <a:lnTo>
                    <a:pt x="107" y="238"/>
                  </a:lnTo>
                  <a:lnTo>
                    <a:pt x="105" y="238"/>
                  </a:lnTo>
                  <a:lnTo>
                    <a:pt x="107" y="238"/>
                  </a:lnTo>
                  <a:lnTo>
                    <a:pt x="105" y="238"/>
                  </a:lnTo>
                  <a:lnTo>
                    <a:pt x="107" y="238"/>
                  </a:lnTo>
                  <a:lnTo>
                    <a:pt x="105" y="238"/>
                  </a:lnTo>
                  <a:lnTo>
                    <a:pt x="105" y="240"/>
                  </a:lnTo>
                  <a:lnTo>
                    <a:pt x="105" y="238"/>
                  </a:lnTo>
                  <a:lnTo>
                    <a:pt x="105" y="240"/>
                  </a:lnTo>
                  <a:lnTo>
                    <a:pt x="105" y="238"/>
                  </a:lnTo>
                  <a:lnTo>
                    <a:pt x="105" y="240"/>
                  </a:lnTo>
                  <a:lnTo>
                    <a:pt x="105" y="238"/>
                  </a:lnTo>
                  <a:lnTo>
                    <a:pt x="105" y="240"/>
                  </a:lnTo>
                  <a:lnTo>
                    <a:pt x="105" y="238"/>
                  </a:lnTo>
                  <a:lnTo>
                    <a:pt x="105" y="240"/>
                  </a:lnTo>
                  <a:lnTo>
                    <a:pt x="107" y="240"/>
                  </a:lnTo>
                  <a:lnTo>
                    <a:pt x="109" y="240"/>
                  </a:lnTo>
                  <a:lnTo>
                    <a:pt x="109" y="242"/>
                  </a:lnTo>
                  <a:lnTo>
                    <a:pt x="109" y="244"/>
                  </a:lnTo>
                  <a:lnTo>
                    <a:pt x="107" y="244"/>
                  </a:lnTo>
                  <a:lnTo>
                    <a:pt x="105" y="244"/>
                  </a:lnTo>
                  <a:lnTo>
                    <a:pt x="107" y="244"/>
                  </a:lnTo>
                  <a:lnTo>
                    <a:pt x="105" y="244"/>
                  </a:lnTo>
                  <a:lnTo>
                    <a:pt x="107" y="244"/>
                  </a:lnTo>
                  <a:lnTo>
                    <a:pt x="105" y="244"/>
                  </a:lnTo>
                  <a:lnTo>
                    <a:pt x="105" y="242"/>
                  </a:lnTo>
                  <a:lnTo>
                    <a:pt x="105" y="244"/>
                  </a:lnTo>
                  <a:lnTo>
                    <a:pt x="105" y="242"/>
                  </a:lnTo>
                  <a:lnTo>
                    <a:pt x="107" y="242"/>
                  </a:lnTo>
                  <a:lnTo>
                    <a:pt x="105" y="242"/>
                  </a:lnTo>
                  <a:lnTo>
                    <a:pt x="107" y="242"/>
                  </a:lnTo>
                  <a:lnTo>
                    <a:pt x="105" y="242"/>
                  </a:lnTo>
                  <a:lnTo>
                    <a:pt x="107" y="242"/>
                  </a:lnTo>
                  <a:lnTo>
                    <a:pt x="105" y="242"/>
                  </a:lnTo>
                  <a:lnTo>
                    <a:pt x="107" y="242"/>
                  </a:lnTo>
                  <a:lnTo>
                    <a:pt x="105" y="242"/>
                  </a:lnTo>
                  <a:lnTo>
                    <a:pt x="107" y="242"/>
                  </a:lnTo>
                  <a:lnTo>
                    <a:pt x="105" y="242"/>
                  </a:lnTo>
                  <a:lnTo>
                    <a:pt x="103" y="242"/>
                  </a:lnTo>
                  <a:lnTo>
                    <a:pt x="101" y="242"/>
                  </a:lnTo>
                  <a:lnTo>
                    <a:pt x="101" y="244"/>
                  </a:lnTo>
                  <a:lnTo>
                    <a:pt x="99" y="244"/>
                  </a:lnTo>
                  <a:lnTo>
                    <a:pt x="99" y="246"/>
                  </a:lnTo>
                  <a:lnTo>
                    <a:pt x="99" y="244"/>
                  </a:lnTo>
                  <a:lnTo>
                    <a:pt x="99" y="246"/>
                  </a:lnTo>
                  <a:lnTo>
                    <a:pt x="99" y="244"/>
                  </a:lnTo>
                  <a:lnTo>
                    <a:pt x="99" y="246"/>
                  </a:lnTo>
                  <a:lnTo>
                    <a:pt x="99" y="244"/>
                  </a:lnTo>
                  <a:lnTo>
                    <a:pt x="99" y="246"/>
                  </a:lnTo>
                  <a:lnTo>
                    <a:pt x="99" y="244"/>
                  </a:lnTo>
                  <a:lnTo>
                    <a:pt x="101" y="244"/>
                  </a:lnTo>
                  <a:lnTo>
                    <a:pt x="99" y="244"/>
                  </a:lnTo>
                  <a:lnTo>
                    <a:pt x="101" y="244"/>
                  </a:lnTo>
                  <a:lnTo>
                    <a:pt x="101" y="242"/>
                  </a:lnTo>
                  <a:lnTo>
                    <a:pt x="101" y="244"/>
                  </a:lnTo>
                  <a:lnTo>
                    <a:pt x="101" y="242"/>
                  </a:lnTo>
                  <a:lnTo>
                    <a:pt x="99" y="242"/>
                  </a:lnTo>
                  <a:lnTo>
                    <a:pt x="101" y="242"/>
                  </a:lnTo>
                  <a:lnTo>
                    <a:pt x="99" y="242"/>
                  </a:lnTo>
                  <a:lnTo>
                    <a:pt x="101" y="242"/>
                  </a:lnTo>
                  <a:lnTo>
                    <a:pt x="101" y="244"/>
                  </a:lnTo>
                  <a:lnTo>
                    <a:pt x="101" y="242"/>
                  </a:lnTo>
                  <a:lnTo>
                    <a:pt x="99" y="242"/>
                  </a:lnTo>
                  <a:lnTo>
                    <a:pt x="101" y="242"/>
                  </a:lnTo>
                  <a:lnTo>
                    <a:pt x="99" y="242"/>
                  </a:lnTo>
                  <a:lnTo>
                    <a:pt x="101" y="242"/>
                  </a:lnTo>
                  <a:lnTo>
                    <a:pt x="99" y="242"/>
                  </a:lnTo>
                  <a:lnTo>
                    <a:pt x="101" y="242"/>
                  </a:lnTo>
                  <a:lnTo>
                    <a:pt x="99" y="242"/>
                  </a:lnTo>
                  <a:lnTo>
                    <a:pt x="99" y="240"/>
                  </a:lnTo>
                  <a:lnTo>
                    <a:pt x="99" y="238"/>
                  </a:lnTo>
                  <a:lnTo>
                    <a:pt x="97" y="238"/>
                  </a:lnTo>
                  <a:lnTo>
                    <a:pt x="99" y="238"/>
                  </a:lnTo>
                  <a:lnTo>
                    <a:pt x="97" y="238"/>
                  </a:lnTo>
                  <a:lnTo>
                    <a:pt x="97" y="236"/>
                  </a:lnTo>
                  <a:lnTo>
                    <a:pt x="97" y="238"/>
                  </a:lnTo>
                  <a:lnTo>
                    <a:pt x="97" y="236"/>
                  </a:lnTo>
                  <a:lnTo>
                    <a:pt x="97" y="238"/>
                  </a:lnTo>
                  <a:lnTo>
                    <a:pt x="97" y="236"/>
                  </a:lnTo>
                  <a:lnTo>
                    <a:pt x="99" y="236"/>
                  </a:lnTo>
                  <a:lnTo>
                    <a:pt x="97" y="236"/>
                  </a:lnTo>
                  <a:lnTo>
                    <a:pt x="99" y="236"/>
                  </a:lnTo>
                  <a:lnTo>
                    <a:pt x="97" y="236"/>
                  </a:lnTo>
                  <a:lnTo>
                    <a:pt x="99" y="236"/>
                  </a:lnTo>
                  <a:lnTo>
                    <a:pt x="97" y="236"/>
                  </a:lnTo>
                  <a:lnTo>
                    <a:pt x="99" y="236"/>
                  </a:lnTo>
                  <a:lnTo>
                    <a:pt x="97" y="236"/>
                  </a:lnTo>
                  <a:lnTo>
                    <a:pt x="99" y="236"/>
                  </a:lnTo>
                  <a:lnTo>
                    <a:pt x="97" y="236"/>
                  </a:lnTo>
                  <a:lnTo>
                    <a:pt x="99" y="236"/>
                  </a:lnTo>
                  <a:lnTo>
                    <a:pt x="99" y="238"/>
                  </a:lnTo>
                  <a:lnTo>
                    <a:pt x="99" y="236"/>
                  </a:lnTo>
                  <a:lnTo>
                    <a:pt x="99" y="238"/>
                  </a:lnTo>
                  <a:lnTo>
                    <a:pt x="99" y="236"/>
                  </a:lnTo>
                  <a:lnTo>
                    <a:pt x="99" y="238"/>
                  </a:lnTo>
                  <a:lnTo>
                    <a:pt x="99" y="236"/>
                  </a:lnTo>
                  <a:lnTo>
                    <a:pt x="99" y="238"/>
                  </a:lnTo>
                  <a:lnTo>
                    <a:pt x="101" y="238"/>
                  </a:lnTo>
                  <a:lnTo>
                    <a:pt x="99" y="238"/>
                  </a:lnTo>
                  <a:lnTo>
                    <a:pt x="101" y="238"/>
                  </a:lnTo>
                  <a:lnTo>
                    <a:pt x="99" y="238"/>
                  </a:lnTo>
                  <a:lnTo>
                    <a:pt x="101" y="238"/>
                  </a:lnTo>
                  <a:lnTo>
                    <a:pt x="99" y="238"/>
                  </a:lnTo>
                  <a:lnTo>
                    <a:pt x="99" y="240"/>
                  </a:lnTo>
                  <a:lnTo>
                    <a:pt x="101" y="240"/>
                  </a:lnTo>
                  <a:lnTo>
                    <a:pt x="99" y="240"/>
                  </a:lnTo>
                  <a:lnTo>
                    <a:pt x="99" y="238"/>
                  </a:lnTo>
                  <a:lnTo>
                    <a:pt x="101" y="238"/>
                  </a:lnTo>
                  <a:lnTo>
                    <a:pt x="101" y="240"/>
                  </a:lnTo>
                  <a:lnTo>
                    <a:pt x="101" y="238"/>
                  </a:lnTo>
                  <a:lnTo>
                    <a:pt x="101" y="240"/>
                  </a:lnTo>
                  <a:lnTo>
                    <a:pt x="99" y="240"/>
                  </a:lnTo>
                  <a:lnTo>
                    <a:pt x="101" y="240"/>
                  </a:lnTo>
                  <a:lnTo>
                    <a:pt x="103" y="240"/>
                  </a:lnTo>
                  <a:lnTo>
                    <a:pt x="103" y="238"/>
                  </a:lnTo>
                  <a:lnTo>
                    <a:pt x="103" y="240"/>
                  </a:lnTo>
                  <a:lnTo>
                    <a:pt x="103" y="238"/>
                  </a:lnTo>
                  <a:lnTo>
                    <a:pt x="101" y="238"/>
                  </a:lnTo>
                  <a:lnTo>
                    <a:pt x="103" y="238"/>
                  </a:lnTo>
                  <a:lnTo>
                    <a:pt x="101" y="240"/>
                  </a:lnTo>
                  <a:lnTo>
                    <a:pt x="101" y="238"/>
                  </a:lnTo>
                  <a:lnTo>
                    <a:pt x="103" y="238"/>
                  </a:lnTo>
                  <a:lnTo>
                    <a:pt x="103" y="236"/>
                  </a:lnTo>
                  <a:lnTo>
                    <a:pt x="101" y="236"/>
                  </a:lnTo>
                  <a:lnTo>
                    <a:pt x="99" y="236"/>
                  </a:lnTo>
                  <a:lnTo>
                    <a:pt x="99" y="234"/>
                  </a:lnTo>
                  <a:lnTo>
                    <a:pt x="99" y="236"/>
                  </a:lnTo>
                  <a:lnTo>
                    <a:pt x="99" y="234"/>
                  </a:lnTo>
                  <a:lnTo>
                    <a:pt x="99" y="236"/>
                  </a:lnTo>
                  <a:lnTo>
                    <a:pt x="99" y="234"/>
                  </a:lnTo>
                  <a:lnTo>
                    <a:pt x="99" y="236"/>
                  </a:lnTo>
                  <a:lnTo>
                    <a:pt x="97" y="236"/>
                  </a:lnTo>
                  <a:lnTo>
                    <a:pt x="97" y="234"/>
                  </a:lnTo>
                  <a:lnTo>
                    <a:pt x="99" y="234"/>
                  </a:lnTo>
                  <a:lnTo>
                    <a:pt x="97" y="234"/>
                  </a:lnTo>
                  <a:lnTo>
                    <a:pt x="99" y="234"/>
                  </a:lnTo>
                  <a:lnTo>
                    <a:pt x="99" y="236"/>
                  </a:lnTo>
                  <a:lnTo>
                    <a:pt x="99" y="234"/>
                  </a:lnTo>
                  <a:lnTo>
                    <a:pt x="99" y="236"/>
                  </a:lnTo>
                  <a:lnTo>
                    <a:pt x="99" y="234"/>
                  </a:lnTo>
                  <a:lnTo>
                    <a:pt x="99" y="236"/>
                  </a:lnTo>
                  <a:lnTo>
                    <a:pt x="99" y="234"/>
                  </a:lnTo>
                  <a:lnTo>
                    <a:pt x="99" y="236"/>
                  </a:lnTo>
                  <a:lnTo>
                    <a:pt x="99" y="234"/>
                  </a:lnTo>
                  <a:lnTo>
                    <a:pt x="99" y="236"/>
                  </a:lnTo>
                  <a:lnTo>
                    <a:pt x="99" y="234"/>
                  </a:lnTo>
                  <a:lnTo>
                    <a:pt x="99" y="236"/>
                  </a:lnTo>
                  <a:lnTo>
                    <a:pt x="99" y="234"/>
                  </a:lnTo>
                  <a:lnTo>
                    <a:pt x="97" y="234"/>
                  </a:lnTo>
                  <a:lnTo>
                    <a:pt x="99" y="234"/>
                  </a:lnTo>
                  <a:lnTo>
                    <a:pt x="97" y="234"/>
                  </a:lnTo>
                  <a:lnTo>
                    <a:pt x="99" y="234"/>
                  </a:lnTo>
                  <a:lnTo>
                    <a:pt x="97" y="234"/>
                  </a:lnTo>
                  <a:lnTo>
                    <a:pt x="99" y="234"/>
                  </a:lnTo>
                  <a:lnTo>
                    <a:pt x="97" y="234"/>
                  </a:lnTo>
                  <a:lnTo>
                    <a:pt x="97" y="232"/>
                  </a:lnTo>
                  <a:lnTo>
                    <a:pt x="97" y="234"/>
                  </a:lnTo>
                  <a:lnTo>
                    <a:pt x="97" y="232"/>
                  </a:lnTo>
                  <a:lnTo>
                    <a:pt x="97" y="230"/>
                  </a:lnTo>
                  <a:lnTo>
                    <a:pt x="99" y="230"/>
                  </a:lnTo>
                  <a:lnTo>
                    <a:pt x="99" y="232"/>
                  </a:lnTo>
                  <a:lnTo>
                    <a:pt x="99" y="230"/>
                  </a:lnTo>
                  <a:lnTo>
                    <a:pt x="101" y="230"/>
                  </a:lnTo>
                  <a:lnTo>
                    <a:pt x="99" y="230"/>
                  </a:lnTo>
                  <a:lnTo>
                    <a:pt x="101" y="232"/>
                  </a:lnTo>
                  <a:lnTo>
                    <a:pt x="99" y="232"/>
                  </a:lnTo>
                  <a:lnTo>
                    <a:pt x="101" y="232"/>
                  </a:lnTo>
                  <a:lnTo>
                    <a:pt x="101" y="230"/>
                  </a:lnTo>
                  <a:lnTo>
                    <a:pt x="99" y="230"/>
                  </a:lnTo>
                  <a:lnTo>
                    <a:pt x="99" y="228"/>
                  </a:lnTo>
                  <a:lnTo>
                    <a:pt x="101" y="228"/>
                  </a:lnTo>
                  <a:lnTo>
                    <a:pt x="101" y="230"/>
                  </a:lnTo>
                  <a:lnTo>
                    <a:pt x="101" y="228"/>
                  </a:lnTo>
                  <a:lnTo>
                    <a:pt x="101" y="230"/>
                  </a:lnTo>
                  <a:lnTo>
                    <a:pt x="101" y="228"/>
                  </a:lnTo>
                  <a:lnTo>
                    <a:pt x="101" y="230"/>
                  </a:lnTo>
                  <a:lnTo>
                    <a:pt x="101" y="228"/>
                  </a:lnTo>
                  <a:lnTo>
                    <a:pt x="101" y="226"/>
                  </a:lnTo>
                  <a:lnTo>
                    <a:pt x="101" y="228"/>
                  </a:lnTo>
                  <a:lnTo>
                    <a:pt x="103" y="228"/>
                  </a:lnTo>
                  <a:lnTo>
                    <a:pt x="103" y="230"/>
                  </a:lnTo>
                  <a:lnTo>
                    <a:pt x="103" y="228"/>
                  </a:lnTo>
                  <a:lnTo>
                    <a:pt x="103" y="230"/>
                  </a:lnTo>
                  <a:lnTo>
                    <a:pt x="103" y="228"/>
                  </a:lnTo>
                  <a:lnTo>
                    <a:pt x="105" y="228"/>
                  </a:lnTo>
                  <a:lnTo>
                    <a:pt x="105" y="226"/>
                  </a:lnTo>
                  <a:lnTo>
                    <a:pt x="105" y="228"/>
                  </a:lnTo>
                  <a:lnTo>
                    <a:pt x="105" y="226"/>
                  </a:lnTo>
                  <a:lnTo>
                    <a:pt x="107" y="226"/>
                  </a:lnTo>
                  <a:lnTo>
                    <a:pt x="109" y="226"/>
                  </a:lnTo>
                  <a:lnTo>
                    <a:pt x="109" y="224"/>
                  </a:lnTo>
                  <a:lnTo>
                    <a:pt x="109" y="226"/>
                  </a:lnTo>
                  <a:lnTo>
                    <a:pt x="107" y="226"/>
                  </a:lnTo>
                  <a:lnTo>
                    <a:pt x="107" y="224"/>
                  </a:lnTo>
                  <a:lnTo>
                    <a:pt x="107" y="226"/>
                  </a:lnTo>
                  <a:lnTo>
                    <a:pt x="109" y="226"/>
                  </a:lnTo>
                  <a:lnTo>
                    <a:pt x="109" y="224"/>
                  </a:lnTo>
                  <a:lnTo>
                    <a:pt x="111" y="224"/>
                  </a:lnTo>
                  <a:lnTo>
                    <a:pt x="111" y="223"/>
                  </a:lnTo>
                  <a:lnTo>
                    <a:pt x="109" y="223"/>
                  </a:lnTo>
                  <a:lnTo>
                    <a:pt x="111" y="223"/>
                  </a:lnTo>
                  <a:lnTo>
                    <a:pt x="109" y="223"/>
                  </a:lnTo>
                  <a:lnTo>
                    <a:pt x="111" y="223"/>
                  </a:lnTo>
                  <a:lnTo>
                    <a:pt x="113" y="223"/>
                  </a:lnTo>
                  <a:lnTo>
                    <a:pt x="113" y="221"/>
                  </a:lnTo>
                  <a:lnTo>
                    <a:pt x="115" y="221"/>
                  </a:lnTo>
                  <a:lnTo>
                    <a:pt x="115" y="223"/>
                  </a:lnTo>
                  <a:lnTo>
                    <a:pt x="115" y="221"/>
                  </a:lnTo>
                  <a:lnTo>
                    <a:pt x="115" y="223"/>
                  </a:lnTo>
                  <a:lnTo>
                    <a:pt x="115" y="221"/>
                  </a:lnTo>
                  <a:lnTo>
                    <a:pt x="115" y="223"/>
                  </a:lnTo>
                  <a:lnTo>
                    <a:pt x="115" y="221"/>
                  </a:lnTo>
                  <a:lnTo>
                    <a:pt x="117" y="221"/>
                  </a:lnTo>
                  <a:lnTo>
                    <a:pt x="117" y="223"/>
                  </a:lnTo>
                  <a:lnTo>
                    <a:pt x="117" y="221"/>
                  </a:lnTo>
                  <a:lnTo>
                    <a:pt x="117" y="223"/>
                  </a:lnTo>
                  <a:lnTo>
                    <a:pt x="117" y="221"/>
                  </a:lnTo>
                  <a:lnTo>
                    <a:pt x="117" y="223"/>
                  </a:lnTo>
                  <a:lnTo>
                    <a:pt x="117" y="221"/>
                  </a:lnTo>
                  <a:lnTo>
                    <a:pt x="117" y="223"/>
                  </a:lnTo>
                  <a:lnTo>
                    <a:pt x="117" y="221"/>
                  </a:lnTo>
                  <a:lnTo>
                    <a:pt x="119" y="221"/>
                  </a:lnTo>
                  <a:lnTo>
                    <a:pt x="117" y="221"/>
                  </a:lnTo>
                  <a:lnTo>
                    <a:pt x="119" y="221"/>
                  </a:lnTo>
                  <a:lnTo>
                    <a:pt x="119" y="223"/>
                  </a:lnTo>
                  <a:lnTo>
                    <a:pt x="117" y="223"/>
                  </a:lnTo>
                  <a:lnTo>
                    <a:pt x="119" y="223"/>
                  </a:lnTo>
                  <a:lnTo>
                    <a:pt x="119" y="224"/>
                  </a:lnTo>
                  <a:lnTo>
                    <a:pt x="119" y="223"/>
                  </a:lnTo>
                  <a:lnTo>
                    <a:pt x="119" y="224"/>
                  </a:lnTo>
                  <a:lnTo>
                    <a:pt x="119" y="226"/>
                  </a:lnTo>
                  <a:lnTo>
                    <a:pt x="120" y="226"/>
                  </a:lnTo>
                  <a:lnTo>
                    <a:pt x="122" y="226"/>
                  </a:lnTo>
                  <a:lnTo>
                    <a:pt x="124" y="226"/>
                  </a:lnTo>
                  <a:lnTo>
                    <a:pt x="124" y="228"/>
                  </a:lnTo>
                  <a:lnTo>
                    <a:pt x="124" y="226"/>
                  </a:lnTo>
                  <a:lnTo>
                    <a:pt x="124" y="228"/>
                  </a:lnTo>
                  <a:lnTo>
                    <a:pt x="124" y="226"/>
                  </a:lnTo>
                  <a:lnTo>
                    <a:pt x="126" y="226"/>
                  </a:lnTo>
                  <a:lnTo>
                    <a:pt x="124" y="226"/>
                  </a:lnTo>
                  <a:lnTo>
                    <a:pt x="126" y="226"/>
                  </a:lnTo>
                  <a:lnTo>
                    <a:pt x="124" y="226"/>
                  </a:lnTo>
                  <a:lnTo>
                    <a:pt x="126" y="226"/>
                  </a:lnTo>
                  <a:lnTo>
                    <a:pt x="124" y="226"/>
                  </a:lnTo>
                  <a:lnTo>
                    <a:pt x="126" y="226"/>
                  </a:lnTo>
                  <a:lnTo>
                    <a:pt x="124" y="226"/>
                  </a:lnTo>
                  <a:lnTo>
                    <a:pt x="126" y="226"/>
                  </a:lnTo>
                  <a:lnTo>
                    <a:pt x="126" y="224"/>
                  </a:lnTo>
                  <a:lnTo>
                    <a:pt x="126" y="226"/>
                  </a:lnTo>
                  <a:lnTo>
                    <a:pt x="126" y="224"/>
                  </a:lnTo>
                  <a:lnTo>
                    <a:pt x="126" y="226"/>
                  </a:lnTo>
                  <a:lnTo>
                    <a:pt x="126" y="224"/>
                  </a:lnTo>
                  <a:lnTo>
                    <a:pt x="126" y="226"/>
                  </a:lnTo>
                  <a:lnTo>
                    <a:pt x="126" y="224"/>
                  </a:lnTo>
                  <a:lnTo>
                    <a:pt x="126" y="226"/>
                  </a:lnTo>
                  <a:lnTo>
                    <a:pt x="126" y="224"/>
                  </a:lnTo>
                  <a:lnTo>
                    <a:pt x="126" y="226"/>
                  </a:lnTo>
                  <a:lnTo>
                    <a:pt x="126" y="224"/>
                  </a:lnTo>
                  <a:lnTo>
                    <a:pt x="126" y="226"/>
                  </a:lnTo>
                  <a:lnTo>
                    <a:pt x="126" y="224"/>
                  </a:lnTo>
                  <a:lnTo>
                    <a:pt x="126" y="226"/>
                  </a:lnTo>
                  <a:lnTo>
                    <a:pt x="128" y="226"/>
                  </a:lnTo>
                  <a:lnTo>
                    <a:pt x="126" y="226"/>
                  </a:lnTo>
                  <a:lnTo>
                    <a:pt x="126" y="224"/>
                  </a:lnTo>
                  <a:lnTo>
                    <a:pt x="128" y="224"/>
                  </a:lnTo>
                  <a:lnTo>
                    <a:pt x="126" y="224"/>
                  </a:lnTo>
                  <a:lnTo>
                    <a:pt x="128" y="224"/>
                  </a:lnTo>
                  <a:lnTo>
                    <a:pt x="126" y="224"/>
                  </a:lnTo>
                  <a:lnTo>
                    <a:pt x="128" y="224"/>
                  </a:lnTo>
                  <a:lnTo>
                    <a:pt x="126" y="224"/>
                  </a:lnTo>
                  <a:lnTo>
                    <a:pt x="128" y="224"/>
                  </a:lnTo>
                  <a:lnTo>
                    <a:pt x="126" y="224"/>
                  </a:lnTo>
                  <a:lnTo>
                    <a:pt x="128" y="224"/>
                  </a:lnTo>
                  <a:lnTo>
                    <a:pt x="128" y="226"/>
                  </a:lnTo>
                  <a:lnTo>
                    <a:pt x="128" y="228"/>
                  </a:lnTo>
                  <a:lnTo>
                    <a:pt x="128" y="226"/>
                  </a:lnTo>
                  <a:lnTo>
                    <a:pt x="128" y="228"/>
                  </a:lnTo>
                  <a:lnTo>
                    <a:pt x="128" y="226"/>
                  </a:lnTo>
                  <a:lnTo>
                    <a:pt x="128" y="228"/>
                  </a:lnTo>
                  <a:lnTo>
                    <a:pt x="128" y="230"/>
                  </a:lnTo>
                  <a:lnTo>
                    <a:pt x="126" y="230"/>
                  </a:lnTo>
                  <a:lnTo>
                    <a:pt x="128" y="230"/>
                  </a:lnTo>
                  <a:lnTo>
                    <a:pt x="126" y="230"/>
                  </a:lnTo>
                  <a:lnTo>
                    <a:pt x="128" y="230"/>
                  </a:lnTo>
                  <a:lnTo>
                    <a:pt x="126" y="230"/>
                  </a:lnTo>
                  <a:lnTo>
                    <a:pt x="126" y="232"/>
                  </a:lnTo>
                  <a:lnTo>
                    <a:pt x="126" y="230"/>
                  </a:lnTo>
                  <a:lnTo>
                    <a:pt x="126" y="232"/>
                  </a:lnTo>
                  <a:lnTo>
                    <a:pt x="126" y="230"/>
                  </a:lnTo>
                  <a:lnTo>
                    <a:pt x="124" y="230"/>
                  </a:lnTo>
                  <a:lnTo>
                    <a:pt x="126" y="230"/>
                  </a:lnTo>
                  <a:lnTo>
                    <a:pt x="124" y="230"/>
                  </a:lnTo>
                  <a:lnTo>
                    <a:pt x="126" y="230"/>
                  </a:lnTo>
                  <a:lnTo>
                    <a:pt x="124" y="230"/>
                  </a:lnTo>
                  <a:lnTo>
                    <a:pt x="124" y="232"/>
                  </a:lnTo>
                  <a:lnTo>
                    <a:pt x="126" y="232"/>
                  </a:lnTo>
                  <a:close/>
                  <a:moveTo>
                    <a:pt x="165" y="213"/>
                  </a:moveTo>
                  <a:lnTo>
                    <a:pt x="165" y="215"/>
                  </a:lnTo>
                  <a:lnTo>
                    <a:pt x="165" y="213"/>
                  </a:lnTo>
                  <a:lnTo>
                    <a:pt x="165" y="215"/>
                  </a:lnTo>
                  <a:lnTo>
                    <a:pt x="165" y="213"/>
                  </a:lnTo>
                  <a:lnTo>
                    <a:pt x="167" y="213"/>
                  </a:lnTo>
                  <a:lnTo>
                    <a:pt x="167" y="215"/>
                  </a:lnTo>
                  <a:lnTo>
                    <a:pt x="165" y="215"/>
                  </a:lnTo>
                  <a:lnTo>
                    <a:pt x="167" y="215"/>
                  </a:lnTo>
                  <a:lnTo>
                    <a:pt x="168" y="215"/>
                  </a:lnTo>
                  <a:lnTo>
                    <a:pt x="168" y="217"/>
                  </a:lnTo>
                  <a:lnTo>
                    <a:pt x="168" y="215"/>
                  </a:lnTo>
                  <a:lnTo>
                    <a:pt x="170" y="215"/>
                  </a:lnTo>
                  <a:lnTo>
                    <a:pt x="170" y="217"/>
                  </a:lnTo>
                  <a:lnTo>
                    <a:pt x="170" y="219"/>
                  </a:lnTo>
                  <a:lnTo>
                    <a:pt x="170" y="217"/>
                  </a:lnTo>
                  <a:lnTo>
                    <a:pt x="170" y="219"/>
                  </a:lnTo>
                  <a:lnTo>
                    <a:pt x="170" y="221"/>
                  </a:lnTo>
                  <a:lnTo>
                    <a:pt x="170" y="219"/>
                  </a:lnTo>
                  <a:lnTo>
                    <a:pt x="170" y="221"/>
                  </a:lnTo>
                  <a:lnTo>
                    <a:pt x="172" y="221"/>
                  </a:lnTo>
                  <a:lnTo>
                    <a:pt x="170" y="221"/>
                  </a:lnTo>
                  <a:lnTo>
                    <a:pt x="172" y="221"/>
                  </a:lnTo>
                  <a:lnTo>
                    <a:pt x="170" y="221"/>
                  </a:lnTo>
                  <a:lnTo>
                    <a:pt x="172" y="221"/>
                  </a:lnTo>
                  <a:lnTo>
                    <a:pt x="172" y="223"/>
                  </a:lnTo>
                  <a:lnTo>
                    <a:pt x="170" y="223"/>
                  </a:lnTo>
                  <a:lnTo>
                    <a:pt x="172" y="223"/>
                  </a:lnTo>
                  <a:lnTo>
                    <a:pt x="170" y="223"/>
                  </a:lnTo>
                  <a:lnTo>
                    <a:pt x="172" y="223"/>
                  </a:lnTo>
                  <a:lnTo>
                    <a:pt x="170" y="223"/>
                  </a:lnTo>
                  <a:lnTo>
                    <a:pt x="170" y="224"/>
                  </a:lnTo>
                  <a:lnTo>
                    <a:pt x="170" y="223"/>
                  </a:lnTo>
                  <a:lnTo>
                    <a:pt x="170" y="224"/>
                  </a:lnTo>
                  <a:lnTo>
                    <a:pt x="168" y="224"/>
                  </a:lnTo>
                  <a:lnTo>
                    <a:pt x="168" y="226"/>
                  </a:lnTo>
                  <a:lnTo>
                    <a:pt x="167" y="226"/>
                  </a:lnTo>
                  <a:lnTo>
                    <a:pt x="168" y="226"/>
                  </a:lnTo>
                  <a:lnTo>
                    <a:pt x="167" y="226"/>
                  </a:lnTo>
                  <a:lnTo>
                    <a:pt x="167" y="228"/>
                  </a:lnTo>
                  <a:lnTo>
                    <a:pt x="165" y="228"/>
                  </a:lnTo>
                  <a:lnTo>
                    <a:pt x="165" y="230"/>
                  </a:lnTo>
                  <a:lnTo>
                    <a:pt x="165" y="232"/>
                  </a:lnTo>
                  <a:lnTo>
                    <a:pt x="163" y="232"/>
                  </a:lnTo>
                  <a:lnTo>
                    <a:pt x="163" y="230"/>
                  </a:lnTo>
                  <a:lnTo>
                    <a:pt x="161" y="230"/>
                  </a:lnTo>
                  <a:lnTo>
                    <a:pt x="161" y="228"/>
                  </a:lnTo>
                  <a:lnTo>
                    <a:pt x="159" y="228"/>
                  </a:lnTo>
                  <a:lnTo>
                    <a:pt x="157" y="228"/>
                  </a:lnTo>
                  <a:lnTo>
                    <a:pt x="155" y="228"/>
                  </a:lnTo>
                  <a:lnTo>
                    <a:pt x="155" y="230"/>
                  </a:lnTo>
                  <a:lnTo>
                    <a:pt x="153" y="230"/>
                  </a:lnTo>
                  <a:lnTo>
                    <a:pt x="151" y="230"/>
                  </a:lnTo>
                  <a:lnTo>
                    <a:pt x="151" y="232"/>
                  </a:lnTo>
                  <a:lnTo>
                    <a:pt x="151" y="234"/>
                  </a:lnTo>
                  <a:lnTo>
                    <a:pt x="149" y="234"/>
                  </a:lnTo>
                  <a:lnTo>
                    <a:pt x="149" y="236"/>
                  </a:lnTo>
                  <a:lnTo>
                    <a:pt x="147" y="236"/>
                  </a:lnTo>
                  <a:lnTo>
                    <a:pt x="149" y="236"/>
                  </a:lnTo>
                  <a:lnTo>
                    <a:pt x="147" y="236"/>
                  </a:lnTo>
                  <a:lnTo>
                    <a:pt x="147" y="238"/>
                  </a:lnTo>
                  <a:lnTo>
                    <a:pt x="147" y="240"/>
                  </a:lnTo>
                  <a:lnTo>
                    <a:pt x="147" y="242"/>
                  </a:lnTo>
                  <a:lnTo>
                    <a:pt x="145" y="242"/>
                  </a:lnTo>
                  <a:lnTo>
                    <a:pt x="147" y="242"/>
                  </a:lnTo>
                  <a:lnTo>
                    <a:pt x="145" y="242"/>
                  </a:lnTo>
                  <a:lnTo>
                    <a:pt x="147" y="242"/>
                  </a:lnTo>
                  <a:lnTo>
                    <a:pt x="145" y="242"/>
                  </a:lnTo>
                  <a:lnTo>
                    <a:pt x="147" y="242"/>
                  </a:lnTo>
                  <a:lnTo>
                    <a:pt x="145" y="242"/>
                  </a:lnTo>
                  <a:lnTo>
                    <a:pt x="147" y="242"/>
                  </a:lnTo>
                  <a:lnTo>
                    <a:pt x="145" y="242"/>
                  </a:lnTo>
                  <a:lnTo>
                    <a:pt x="147" y="242"/>
                  </a:lnTo>
                  <a:lnTo>
                    <a:pt x="145" y="242"/>
                  </a:lnTo>
                  <a:lnTo>
                    <a:pt x="143" y="242"/>
                  </a:lnTo>
                  <a:lnTo>
                    <a:pt x="143" y="240"/>
                  </a:lnTo>
                  <a:lnTo>
                    <a:pt x="143" y="242"/>
                  </a:lnTo>
                  <a:lnTo>
                    <a:pt x="143" y="240"/>
                  </a:lnTo>
                  <a:lnTo>
                    <a:pt x="143" y="242"/>
                  </a:lnTo>
                  <a:lnTo>
                    <a:pt x="143" y="240"/>
                  </a:lnTo>
                  <a:lnTo>
                    <a:pt x="143" y="242"/>
                  </a:lnTo>
                  <a:lnTo>
                    <a:pt x="142" y="242"/>
                  </a:lnTo>
                  <a:lnTo>
                    <a:pt x="142" y="240"/>
                  </a:lnTo>
                  <a:lnTo>
                    <a:pt x="142" y="242"/>
                  </a:lnTo>
                  <a:lnTo>
                    <a:pt x="142" y="240"/>
                  </a:lnTo>
                  <a:lnTo>
                    <a:pt x="143" y="240"/>
                  </a:lnTo>
                  <a:lnTo>
                    <a:pt x="143" y="238"/>
                  </a:lnTo>
                  <a:lnTo>
                    <a:pt x="142" y="238"/>
                  </a:lnTo>
                  <a:lnTo>
                    <a:pt x="140" y="238"/>
                  </a:lnTo>
                  <a:lnTo>
                    <a:pt x="142" y="238"/>
                  </a:lnTo>
                  <a:lnTo>
                    <a:pt x="140" y="238"/>
                  </a:lnTo>
                  <a:lnTo>
                    <a:pt x="140" y="240"/>
                  </a:lnTo>
                  <a:lnTo>
                    <a:pt x="140" y="238"/>
                  </a:lnTo>
                  <a:lnTo>
                    <a:pt x="142" y="238"/>
                  </a:lnTo>
                  <a:lnTo>
                    <a:pt x="140" y="238"/>
                  </a:lnTo>
                  <a:lnTo>
                    <a:pt x="140" y="236"/>
                  </a:lnTo>
                  <a:lnTo>
                    <a:pt x="140" y="238"/>
                  </a:lnTo>
                  <a:lnTo>
                    <a:pt x="140" y="236"/>
                  </a:lnTo>
                  <a:lnTo>
                    <a:pt x="140" y="238"/>
                  </a:lnTo>
                  <a:lnTo>
                    <a:pt x="140" y="236"/>
                  </a:lnTo>
                  <a:lnTo>
                    <a:pt x="138" y="236"/>
                  </a:lnTo>
                  <a:lnTo>
                    <a:pt x="138" y="238"/>
                  </a:lnTo>
                  <a:lnTo>
                    <a:pt x="138" y="236"/>
                  </a:lnTo>
                  <a:lnTo>
                    <a:pt x="140" y="236"/>
                  </a:lnTo>
                  <a:lnTo>
                    <a:pt x="140" y="234"/>
                  </a:lnTo>
                  <a:lnTo>
                    <a:pt x="140" y="236"/>
                  </a:lnTo>
                  <a:lnTo>
                    <a:pt x="140" y="234"/>
                  </a:lnTo>
                  <a:lnTo>
                    <a:pt x="138" y="234"/>
                  </a:lnTo>
                  <a:lnTo>
                    <a:pt x="140" y="234"/>
                  </a:lnTo>
                  <a:lnTo>
                    <a:pt x="138" y="234"/>
                  </a:lnTo>
                  <a:lnTo>
                    <a:pt x="140" y="234"/>
                  </a:lnTo>
                  <a:lnTo>
                    <a:pt x="138" y="234"/>
                  </a:lnTo>
                  <a:lnTo>
                    <a:pt x="140" y="234"/>
                  </a:lnTo>
                  <a:lnTo>
                    <a:pt x="142" y="234"/>
                  </a:lnTo>
                  <a:lnTo>
                    <a:pt x="140" y="234"/>
                  </a:lnTo>
                  <a:lnTo>
                    <a:pt x="140" y="232"/>
                  </a:lnTo>
                  <a:lnTo>
                    <a:pt x="138" y="232"/>
                  </a:lnTo>
                  <a:lnTo>
                    <a:pt x="138" y="230"/>
                  </a:lnTo>
                  <a:lnTo>
                    <a:pt x="138" y="232"/>
                  </a:lnTo>
                  <a:lnTo>
                    <a:pt x="138" y="230"/>
                  </a:lnTo>
                  <a:lnTo>
                    <a:pt x="138" y="232"/>
                  </a:lnTo>
                  <a:lnTo>
                    <a:pt x="138" y="230"/>
                  </a:lnTo>
                  <a:lnTo>
                    <a:pt x="138" y="232"/>
                  </a:lnTo>
                  <a:lnTo>
                    <a:pt x="138" y="230"/>
                  </a:lnTo>
                  <a:lnTo>
                    <a:pt x="140" y="230"/>
                  </a:lnTo>
                  <a:lnTo>
                    <a:pt x="138" y="230"/>
                  </a:lnTo>
                  <a:lnTo>
                    <a:pt x="140" y="230"/>
                  </a:lnTo>
                  <a:lnTo>
                    <a:pt x="138" y="230"/>
                  </a:lnTo>
                  <a:lnTo>
                    <a:pt x="140" y="230"/>
                  </a:lnTo>
                  <a:lnTo>
                    <a:pt x="140" y="228"/>
                  </a:lnTo>
                  <a:lnTo>
                    <a:pt x="138" y="228"/>
                  </a:lnTo>
                  <a:lnTo>
                    <a:pt x="140" y="228"/>
                  </a:lnTo>
                  <a:lnTo>
                    <a:pt x="138" y="228"/>
                  </a:lnTo>
                  <a:lnTo>
                    <a:pt x="140" y="228"/>
                  </a:lnTo>
                  <a:lnTo>
                    <a:pt x="138" y="228"/>
                  </a:lnTo>
                  <a:lnTo>
                    <a:pt x="138" y="230"/>
                  </a:lnTo>
                  <a:lnTo>
                    <a:pt x="138" y="228"/>
                  </a:lnTo>
                  <a:lnTo>
                    <a:pt x="138" y="230"/>
                  </a:lnTo>
                  <a:lnTo>
                    <a:pt x="138" y="228"/>
                  </a:lnTo>
                  <a:lnTo>
                    <a:pt x="138" y="230"/>
                  </a:lnTo>
                  <a:lnTo>
                    <a:pt x="138" y="228"/>
                  </a:lnTo>
                  <a:lnTo>
                    <a:pt x="136" y="228"/>
                  </a:lnTo>
                  <a:lnTo>
                    <a:pt x="138" y="228"/>
                  </a:lnTo>
                  <a:lnTo>
                    <a:pt x="136" y="228"/>
                  </a:lnTo>
                  <a:lnTo>
                    <a:pt x="136" y="230"/>
                  </a:lnTo>
                  <a:lnTo>
                    <a:pt x="134" y="230"/>
                  </a:lnTo>
                  <a:lnTo>
                    <a:pt x="134" y="232"/>
                  </a:lnTo>
                  <a:lnTo>
                    <a:pt x="132" y="232"/>
                  </a:lnTo>
                  <a:lnTo>
                    <a:pt x="134" y="232"/>
                  </a:lnTo>
                  <a:lnTo>
                    <a:pt x="132" y="232"/>
                  </a:lnTo>
                  <a:lnTo>
                    <a:pt x="132" y="230"/>
                  </a:lnTo>
                  <a:lnTo>
                    <a:pt x="134" y="230"/>
                  </a:lnTo>
                  <a:lnTo>
                    <a:pt x="136" y="230"/>
                  </a:lnTo>
                  <a:lnTo>
                    <a:pt x="134" y="230"/>
                  </a:lnTo>
                  <a:lnTo>
                    <a:pt x="136" y="230"/>
                  </a:lnTo>
                  <a:lnTo>
                    <a:pt x="134" y="230"/>
                  </a:lnTo>
                  <a:lnTo>
                    <a:pt x="136" y="230"/>
                  </a:lnTo>
                  <a:lnTo>
                    <a:pt x="136" y="228"/>
                  </a:lnTo>
                  <a:lnTo>
                    <a:pt x="136" y="230"/>
                  </a:lnTo>
                  <a:lnTo>
                    <a:pt x="136" y="228"/>
                  </a:lnTo>
                  <a:lnTo>
                    <a:pt x="138" y="228"/>
                  </a:lnTo>
                  <a:lnTo>
                    <a:pt x="136" y="228"/>
                  </a:lnTo>
                  <a:lnTo>
                    <a:pt x="138" y="228"/>
                  </a:lnTo>
                  <a:lnTo>
                    <a:pt x="140" y="228"/>
                  </a:lnTo>
                  <a:lnTo>
                    <a:pt x="140" y="226"/>
                  </a:lnTo>
                  <a:lnTo>
                    <a:pt x="142" y="226"/>
                  </a:lnTo>
                  <a:lnTo>
                    <a:pt x="142" y="224"/>
                  </a:lnTo>
                  <a:lnTo>
                    <a:pt x="143" y="224"/>
                  </a:lnTo>
                  <a:lnTo>
                    <a:pt x="143" y="223"/>
                  </a:lnTo>
                  <a:lnTo>
                    <a:pt x="143" y="221"/>
                  </a:lnTo>
                  <a:lnTo>
                    <a:pt x="143" y="223"/>
                  </a:lnTo>
                  <a:lnTo>
                    <a:pt x="143" y="221"/>
                  </a:lnTo>
                  <a:lnTo>
                    <a:pt x="143" y="219"/>
                  </a:lnTo>
                  <a:lnTo>
                    <a:pt x="145" y="219"/>
                  </a:lnTo>
                  <a:lnTo>
                    <a:pt x="145" y="217"/>
                  </a:lnTo>
                  <a:lnTo>
                    <a:pt x="145" y="219"/>
                  </a:lnTo>
                  <a:lnTo>
                    <a:pt x="145" y="217"/>
                  </a:lnTo>
                  <a:lnTo>
                    <a:pt x="145" y="219"/>
                  </a:lnTo>
                  <a:lnTo>
                    <a:pt x="145" y="217"/>
                  </a:lnTo>
                  <a:lnTo>
                    <a:pt x="147" y="217"/>
                  </a:lnTo>
                  <a:lnTo>
                    <a:pt x="145" y="217"/>
                  </a:lnTo>
                  <a:lnTo>
                    <a:pt x="147" y="217"/>
                  </a:lnTo>
                  <a:lnTo>
                    <a:pt x="147" y="219"/>
                  </a:lnTo>
                  <a:lnTo>
                    <a:pt x="147" y="217"/>
                  </a:lnTo>
                  <a:lnTo>
                    <a:pt x="147" y="219"/>
                  </a:lnTo>
                  <a:lnTo>
                    <a:pt x="147" y="221"/>
                  </a:lnTo>
                  <a:lnTo>
                    <a:pt x="149" y="221"/>
                  </a:lnTo>
                  <a:lnTo>
                    <a:pt x="147" y="221"/>
                  </a:lnTo>
                  <a:lnTo>
                    <a:pt x="149" y="221"/>
                  </a:lnTo>
                  <a:lnTo>
                    <a:pt x="151" y="221"/>
                  </a:lnTo>
                  <a:lnTo>
                    <a:pt x="153" y="221"/>
                  </a:lnTo>
                  <a:lnTo>
                    <a:pt x="151" y="221"/>
                  </a:lnTo>
                  <a:lnTo>
                    <a:pt x="153" y="221"/>
                  </a:lnTo>
                  <a:lnTo>
                    <a:pt x="155" y="221"/>
                  </a:lnTo>
                  <a:lnTo>
                    <a:pt x="155" y="219"/>
                  </a:lnTo>
                  <a:lnTo>
                    <a:pt x="155" y="221"/>
                  </a:lnTo>
                  <a:lnTo>
                    <a:pt x="155" y="219"/>
                  </a:lnTo>
                  <a:lnTo>
                    <a:pt x="157" y="219"/>
                  </a:lnTo>
                  <a:lnTo>
                    <a:pt x="157" y="217"/>
                  </a:lnTo>
                  <a:lnTo>
                    <a:pt x="157" y="219"/>
                  </a:lnTo>
                  <a:lnTo>
                    <a:pt x="157" y="217"/>
                  </a:lnTo>
                  <a:lnTo>
                    <a:pt x="157" y="215"/>
                  </a:lnTo>
                  <a:lnTo>
                    <a:pt x="155" y="215"/>
                  </a:lnTo>
                  <a:lnTo>
                    <a:pt x="157" y="215"/>
                  </a:lnTo>
                  <a:lnTo>
                    <a:pt x="159" y="215"/>
                  </a:lnTo>
                  <a:lnTo>
                    <a:pt x="159" y="213"/>
                  </a:lnTo>
                  <a:lnTo>
                    <a:pt x="159" y="215"/>
                  </a:lnTo>
                  <a:lnTo>
                    <a:pt x="159" y="213"/>
                  </a:lnTo>
                  <a:lnTo>
                    <a:pt x="159" y="215"/>
                  </a:lnTo>
                  <a:lnTo>
                    <a:pt x="159" y="213"/>
                  </a:lnTo>
                  <a:lnTo>
                    <a:pt x="159" y="215"/>
                  </a:lnTo>
                  <a:lnTo>
                    <a:pt x="159" y="213"/>
                  </a:lnTo>
                  <a:lnTo>
                    <a:pt x="161" y="213"/>
                  </a:lnTo>
                  <a:lnTo>
                    <a:pt x="161" y="215"/>
                  </a:lnTo>
                  <a:lnTo>
                    <a:pt x="161" y="213"/>
                  </a:lnTo>
                  <a:lnTo>
                    <a:pt x="161" y="215"/>
                  </a:lnTo>
                  <a:lnTo>
                    <a:pt x="161" y="213"/>
                  </a:lnTo>
                  <a:lnTo>
                    <a:pt x="163" y="213"/>
                  </a:lnTo>
                  <a:lnTo>
                    <a:pt x="161" y="213"/>
                  </a:lnTo>
                  <a:lnTo>
                    <a:pt x="163" y="213"/>
                  </a:lnTo>
                  <a:lnTo>
                    <a:pt x="165" y="213"/>
                  </a:lnTo>
                  <a:lnTo>
                    <a:pt x="163" y="213"/>
                  </a:lnTo>
                  <a:lnTo>
                    <a:pt x="165" y="213"/>
                  </a:lnTo>
                  <a:lnTo>
                    <a:pt x="163" y="213"/>
                  </a:lnTo>
                  <a:lnTo>
                    <a:pt x="165" y="213"/>
                  </a:lnTo>
                  <a:lnTo>
                    <a:pt x="163" y="213"/>
                  </a:lnTo>
                  <a:lnTo>
                    <a:pt x="165" y="213"/>
                  </a:lnTo>
                  <a:lnTo>
                    <a:pt x="163" y="213"/>
                  </a:lnTo>
                  <a:lnTo>
                    <a:pt x="165" y="213"/>
                  </a:lnTo>
                  <a:close/>
                  <a:moveTo>
                    <a:pt x="78" y="342"/>
                  </a:moveTo>
                  <a:lnTo>
                    <a:pt x="78" y="344"/>
                  </a:lnTo>
                  <a:lnTo>
                    <a:pt x="78" y="345"/>
                  </a:lnTo>
                  <a:lnTo>
                    <a:pt x="76" y="345"/>
                  </a:lnTo>
                  <a:lnTo>
                    <a:pt x="74" y="345"/>
                  </a:lnTo>
                  <a:lnTo>
                    <a:pt x="74" y="347"/>
                  </a:lnTo>
                  <a:lnTo>
                    <a:pt x="74" y="345"/>
                  </a:lnTo>
                  <a:lnTo>
                    <a:pt x="74" y="347"/>
                  </a:lnTo>
                  <a:lnTo>
                    <a:pt x="72" y="347"/>
                  </a:lnTo>
                  <a:lnTo>
                    <a:pt x="72" y="349"/>
                  </a:lnTo>
                  <a:lnTo>
                    <a:pt x="74" y="349"/>
                  </a:lnTo>
                  <a:lnTo>
                    <a:pt x="72" y="349"/>
                  </a:lnTo>
                  <a:lnTo>
                    <a:pt x="74" y="349"/>
                  </a:lnTo>
                  <a:lnTo>
                    <a:pt x="72" y="349"/>
                  </a:lnTo>
                  <a:lnTo>
                    <a:pt x="74" y="349"/>
                  </a:lnTo>
                  <a:lnTo>
                    <a:pt x="72" y="349"/>
                  </a:lnTo>
                  <a:lnTo>
                    <a:pt x="72" y="351"/>
                  </a:lnTo>
                  <a:lnTo>
                    <a:pt x="72" y="349"/>
                  </a:lnTo>
                  <a:lnTo>
                    <a:pt x="72" y="351"/>
                  </a:lnTo>
                  <a:lnTo>
                    <a:pt x="72" y="349"/>
                  </a:lnTo>
                  <a:lnTo>
                    <a:pt x="72" y="351"/>
                  </a:lnTo>
                  <a:lnTo>
                    <a:pt x="72" y="349"/>
                  </a:lnTo>
                  <a:lnTo>
                    <a:pt x="72" y="351"/>
                  </a:lnTo>
                  <a:lnTo>
                    <a:pt x="72" y="349"/>
                  </a:lnTo>
                  <a:lnTo>
                    <a:pt x="71" y="349"/>
                  </a:lnTo>
                  <a:lnTo>
                    <a:pt x="71" y="351"/>
                  </a:lnTo>
                  <a:lnTo>
                    <a:pt x="71" y="349"/>
                  </a:lnTo>
                  <a:lnTo>
                    <a:pt x="71" y="351"/>
                  </a:lnTo>
                  <a:lnTo>
                    <a:pt x="71" y="353"/>
                  </a:lnTo>
                  <a:lnTo>
                    <a:pt x="71" y="351"/>
                  </a:lnTo>
                  <a:lnTo>
                    <a:pt x="72" y="351"/>
                  </a:lnTo>
                  <a:lnTo>
                    <a:pt x="72" y="353"/>
                  </a:lnTo>
                  <a:lnTo>
                    <a:pt x="71" y="353"/>
                  </a:lnTo>
                  <a:lnTo>
                    <a:pt x="69" y="353"/>
                  </a:lnTo>
                  <a:lnTo>
                    <a:pt x="69" y="351"/>
                  </a:lnTo>
                  <a:lnTo>
                    <a:pt x="69" y="353"/>
                  </a:lnTo>
                  <a:lnTo>
                    <a:pt x="69" y="351"/>
                  </a:lnTo>
                  <a:lnTo>
                    <a:pt x="69" y="353"/>
                  </a:lnTo>
                  <a:lnTo>
                    <a:pt x="69" y="351"/>
                  </a:lnTo>
                  <a:lnTo>
                    <a:pt x="71" y="351"/>
                  </a:lnTo>
                  <a:lnTo>
                    <a:pt x="71" y="349"/>
                  </a:lnTo>
                  <a:lnTo>
                    <a:pt x="71" y="347"/>
                  </a:lnTo>
                  <a:lnTo>
                    <a:pt x="72" y="347"/>
                  </a:lnTo>
                  <a:lnTo>
                    <a:pt x="72" y="345"/>
                  </a:lnTo>
                  <a:lnTo>
                    <a:pt x="74" y="345"/>
                  </a:lnTo>
                  <a:lnTo>
                    <a:pt x="72" y="345"/>
                  </a:lnTo>
                  <a:lnTo>
                    <a:pt x="72" y="344"/>
                  </a:lnTo>
                  <a:lnTo>
                    <a:pt x="72" y="345"/>
                  </a:lnTo>
                  <a:lnTo>
                    <a:pt x="72" y="344"/>
                  </a:lnTo>
                  <a:lnTo>
                    <a:pt x="74" y="344"/>
                  </a:lnTo>
                  <a:lnTo>
                    <a:pt x="74" y="345"/>
                  </a:lnTo>
                  <a:lnTo>
                    <a:pt x="74" y="344"/>
                  </a:lnTo>
                  <a:lnTo>
                    <a:pt x="76" y="344"/>
                  </a:lnTo>
                  <a:lnTo>
                    <a:pt x="76" y="342"/>
                  </a:lnTo>
                  <a:lnTo>
                    <a:pt x="78" y="342"/>
                  </a:lnTo>
                  <a:close/>
                  <a:moveTo>
                    <a:pt x="228" y="142"/>
                  </a:moveTo>
                  <a:lnTo>
                    <a:pt x="228" y="144"/>
                  </a:lnTo>
                  <a:lnTo>
                    <a:pt x="226" y="144"/>
                  </a:lnTo>
                  <a:lnTo>
                    <a:pt x="226" y="146"/>
                  </a:lnTo>
                  <a:lnTo>
                    <a:pt x="228" y="146"/>
                  </a:lnTo>
                  <a:lnTo>
                    <a:pt x="228" y="148"/>
                  </a:lnTo>
                  <a:lnTo>
                    <a:pt x="228" y="150"/>
                  </a:lnTo>
                  <a:lnTo>
                    <a:pt x="226" y="150"/>
                  </a:lnTo>
                  <a:lnTo>
                    <a:pt x="226" y="151"/>
                  </a:lnTo>
                  <a:lnTo>
                    <a:pt x="226" y="150"/>
                  </a:lnTo>
                  <a:lnTo>
                    <a:pt x="226" y="151"/>
                  </a:lnTo>
                  <a:lnTo>
                    <a:pt x="226" y="150"/>
                  </a:lnTo>
                  <a:lnTo>
                    <a:pt x="226" y="151"/>
                  </a:lnTo>
                  <a:lnTo>
                    <a:pt x="226" y="150"/>
                  </a:lnTo>
                  <a:lnTo>
                    <a:pt x="226" y="151"/>
                  </a:lnTo>
                  <a:lnTo>
                    <a:pt x="224" y="151"/>
                  </a:lnTo>
                  <a:lnTo>
                    <a:pt x="226" y="151"/>
                  </a:lnTo>
                  <a:lnTo>
                    <a:pt x="224" y="151"/>
                  </a:lnTo>
                  <a:lnTo>
                    <a:pt x="224" y="150"/>
                  </a:lnTo>
                  <a:lnTo>
                    <a:pt x="224" y="151"/>
                  </a:lnTo>
                  <a:lnTo>
                    <a:pt x="224" y="150"/>
                  </a:lnTo>
                  <a:lnTo>
                    <a:pt x="224" y="151"/>
                  </a:lnTo>
                  <a:lnTo>
                    <a:pt x="224" y="150"/>
                  </a:lnTo>
                  <a:lnTo>
                    <a:pt x="224" y="151"/>
                  </a:lnTo>
                  <a:lnTo>
                    <a:pt x="224" y="150"/>
                  </a:lnTo>
                  <a:lnTo>
                    <a:pt x="224" y="148"/>
                  </a:lnTo>
                  <a:lnTo>
                    <a:pt x="226" y="148"/>
                  </a:lnTo>
                  <a:lnTo>
                    <a:pt x="224" y="148"/>
                  </a:lnTo>
                  <a:lnTo>
                    <a:pt x="224" y="146"/>
                  </a:lnTo>
                  <a:lnTo>
                    <a:pt x="224" y="144"/>
                  </a:lnTo>
                  <a:lnTo>
                    <a:pt x="226" y="144"/>
                  </a:lnTo>
                  <a:lnTo>
                    <a:pt x="226" y="142"/>
                  </a:lnTo>
                  <a:lnTo>
                    <a:pt x="228" y="142"/>
                  </a:lnTo>
                  <a:lnTo>
                    <a:pt x="226" y="142"/>
                  </a:lnTo>
                  <a:lnTo>
                    <a:pt x="228" y="142"/>
                  </a:lnTo>
                  <a:lnTo>
                    <a:pt x="226" y="142"/>
                  </a:lnTo>
                  <a:lnTo>
                    <a:pt x="228" y="142"/>
                  </a:lnTo>
                  <a:close/>
                  <a:moveTo>
                    <a:pt x="105" y="246"/>
                  </a:moveTo>
                  <a:lnTo>
                    <a:pt x="107" y="246"/>
                  </a:lnTo>
                  <a:lnTo>
                    <a:pt x="105" y="246"/>
                  </a:lnTo>
                  <a:lnTo>
                    <a:pt x="107" y="246"/>
                  </a:lnTo>
                  <a:lnTo>
                    <a:pt x="105" y="246"/>
                  </a:lnTo>
                  <a:lnTo>
                    <a:pt x="107" y="246"/>
                  </a:lnTo>
                  <a:lnTo>
                    <a:pt x="107" y="248"/>
                  </a:lnTo>
                  <a:lnTo>
                    <a:pt x="107" y="246"/>
                  </a:lnTo>
                  <a:lnTo>
                    <a:pt x="109" y="246"/>
                  </a:lnTo>
                  <a:lnTo>
                    <a:pt x="111" y="246"/>
                  </a:lnTo>
                  <a:lnTo>
                    <a:pt x="109" y="246"/>
                  </a:lnTo>
                  <a:lnTo>
                    <a:pt x="111" y="246"/>
                  </a:lnTo>
                  <a:lnTo>
                    <a:pt x="109" y="246"/>
                  </a:lnTo>
                  <a:lnTo>
                    <a:pt x="109" y="248"/>
                  </a:lnTo>
                  <a:lnTo>
                    <a:pt x="107" y="248"/>
                  </a:lnTo>
                  <a:lnTo>
                    <a:pt x="107" y="249"/>
                  </a:lnTo>
                  <a:lnTo>
                    <a:pt x="107" y="248"/>
                  </a:lnTo>
                  <a:lnTo>
                    <a:pt x="107" y="249"/>
                  </a:lnTo>
                  <a:lnTo>
                    <a:pt x="105" y="249"/>
                  </a:lnTo>
                  <a:lnTo>
                    <a:pt x="105" y="251"/>
                  </a:lnTo>
                  <a:lnTo>
                    <a:pt x="105" y="249"/>
                  </a:lnTo>
                  <a:lnTo>
                    <a:pt x="105" y="251"/>
                  </a:lnTo>
                  <a:lnTo>
                    <a:pt x="105" y="249"/>
                  </a:lnTo>
                  <a:lnTo>
                    <a:pt x="105" y="251"/>
                  </a:lnTo>
                  <a:lnTo>
                    <a:pt x="105" y="249"/>
                  </a:lnTo>
                  <a:lnTo>
                    <a:pt x="105" y="251"/>
                  </a:lnTo>
                  <a:lnTo>
                    <a:pt x="103" y="251"/>
                  </a:lnTo>
                  <a:lnTo>
                    <a:pt x="103" y="249"/>
                  </a:lnTo>
                  <a:lnTo>
                    <a:pt x="103" y="251"/>
                  </a:lnTo>
                  <a:lnTo>
                    <a:pt x="103" y="249"/>
                  </a:lnTo>
                  <a:lnTo>
                    <a:pt x="103" y="251"/>
                  </a:lnTo>
                  <a:lnTo>
                    <a:pt x="103" y="249"/>
                  </a:lnTo>
                  <a:lnTo>
                    <a:pt x="103" y="251"/>
                  </a:lnTo>
                  <a:lnTo>
                    <a:pt x="103" y="249"/>
                  </a:lnTo>
                  <a:lnTo>
                    <a:pt x="103" y="251"/>
                  </a:lnTo>
                  <a:lnTo>
                    <a:pt x="103" y="249"/>
                  </a:lnTo>
                  <a:lnTo>
                    <a:pt x="103" y="251"/>
                  </a:lnTo>
                  <a:lnTo>
                    <a:pt x="103" y="249"/>
                  </a:lnTo>
                  <a:lnTo>
                    <a:pt x="105" y="249"/>
                  </a:lnTo>
                  <a:lnTo>
                    <a:pt x="103" y="249"/>
                  </a:lnTo>
                  <a:lnTo>
                    <a:pt x="103" y="248"/>
                  </a:lnTo>
                  <a:lnTo>
                    <a:pt x="103" y="246"/>
                  </a:lnTo>
                  <a:lnTo>
                    <a:pt x="105" y="246"/>
                  </a:lnTo>
                  <a:close/>
                  <a:moveTo>
                    <a:pt x="99" y="313"/>
                  </a:moveTo>
                  <a:lnTo>
                    <a:pt x="99" y="315"/>
                  </a:lnTo>
                  <a:lnTo>
                    <a:pt x="97" y="315"/>
                  </a:lnTo>
                  <a:lnTo>
                    <a:pt x="97" y="317"/>
                  </a:lnTo>
                  <a:lnTo>
                    <a:pt x="96" y="317"/>
                  </a:lnTo>
                  <a:lnTo>
                    <a:pt x="96" y="319"/>
                  </a:lnTo>
                  <a:lnTo>
                    <a:pt x="96" y="321"/>
                  </a:lnTo>
                  <a:lnTo>
                    <a:pt x="94" y="321"/>
                  </a:lnTo>
                  <a:lnTo>
                    <a:pt x="94" y="319"/>
                  </a:lnTo>
                  <a:lnTo>
                    <a:pt x="94" y="321"/>
                  </a:lnTo>
                  <a:lnTo>
                    <a:pt x="94" y="319"/>
                  </a:lnTo>
                  <a:lnTo>
                    <a:pt x="94" y="321"/>
                  </a:lnTo>
                  <a:lnTo>
                    <a:pt x="94" y="319"/>
                  </a:lnTo>
                  <a:lnTo>
                    <a:pt x="92" y="319"/>
                  </a:lnTo>
                  <a:lnTo>
                    <a:pt x="94" y="319"/>
                  </a:lnTo>
                  <a:lnTo>
                    <a:pt x="92" y="319"/>
                  </a:lnTo>
                  <a:lnTo>
                    <a:pt x="94" y="319"/>
                  </a:lnTo>
                  <a:lnTo>
                    <a:pt x="92" y="319"/>
                  </a:lnTo>
                  <a:lnTo>
                    <a:pt x="94" y="319"/>
                  </a:lnTo>
                  <a:lnTo>
                    <a:pt x="92" y="319"/>
                  </a:lnTo>
                  <a:lnTo>
                    <a:pt x="90" y="319"/>
                  </a:lnTo>
                  <a:lnTo>
                    <a:pt x="92" y="319"/>
                  </a:lnTo>
                  <a:lnTo>
                    <a:pt x="90" y="319"/>
                  </a:lnTo>
                  <a:lnTo>
                    <a:pt x="92" y="319"/>
                  </a:lnTo>
                  <a:lnTo>
                    <a:pt x="94" y="319"/>
                  </a:lnTo>
                  <a:lnTo>
                    <a:pt x="94" y="317"/>
                  </a:lnTo>
                  <a:lnTo>
                    <a:pt x="92" y="317"/>
                  </a:lnTo>
                  <a:lnTo>
                    <a:pt x="92" y="319"/>
                  </a:lnTo>
                  <a:lnTo>
                    <a:pt x="92" y="317"/>
                  </a:lnTo>
                  <a:lnTo>
                    <a:pt x="94" y="317"/>
                  </a:lnTo>
                  <a:lnTo>
                    <a:pt x="96" y="317"/>
                  </a:lnTo>
                  <a:lnTo>
                    <a:pt x="94" y="317"/>
                  </a:lnTo>
                  <a:lnTo>
                    <a:pt x="96" y="317"/>
                  </a:lnTo>
                  <a:lnTo>
                    <a:pt x="94" y="317"/>
                  </a:lnTo>
                  <a:lnTo>
                    <a:pt x="96" y="317"/>
                  </a:lnTo>
                  <a:lnTo>
                    <a:pt x="96" y="315"/>
                  </a:lnTo>
                  <a:lnTo>
                    <a:pt x="96" y="317"/>
                  </a:lnTo>
                  <a:lnTo>
                    <a:pt x="96" y="315"/>
                  </a:lnTo>
                  <a:lnTo>
                    <a:pt x="97" y="315"/>
                  </a:lnTo>
                  <a:lnTo>
                    <a:pt x="99" y="315"/>
                  </a:lnTo>
                  <a:lnTo>
                    <a:pt x="97" y="315"/>
                  </a:lnTo>
                  <a:lnTo>
                    <a:pt x="99" y="315"/>
                  </a:lnTo>
                  <a:lnTo>
                    <a:pt x="99" y="313"/>
                  </a:lnTo>
                  <a:close/>
                  <a:moveTo>
                    <a:pt x="176" y="209"/>
                  </a:moveTo>
                  <a:lnTo>
                    <a:pt x="176" y="211"/>
                  </a:lnTo>
                  <a:lnTo>
                    <a:pt x="174" y="211"/>
                  </a:lnTo>
                  <a:lnTo>
                    <a:pt x="174" y="213"/>
                  </a:lnTo>
                  <a:lnTo>
                    <a:pt x="176" y="213"/>
                  </a:lnTo>
                  <a:lnTo>
                    <a:pt x="176" y="215"/>
                  </a:lnTo>
                  <a:lnTo>
                    <a:pt x="174" y="215"/>
                  </a:lnTo>
                  <a:lnTo>
                    <a:pt x="174" y="217"/>
                  </a:lnTo>
                  <a:lnTo>
                    <a:pt x="172" y="217"/>
                  </a:lnTo>
                  <a:lnTo>
                    <a:pt x="172" y="215"/>
                  </a:lnTo>
                  <a:lnTo>
                    <a:pt x="172" y="213"/>
                  </a:lnTo>
                  <a:lnTo>
                    <a:pt x="172" y="215"/>
                  </a:lnTo>
                  <a:lnTo>
                    <a:pt x="172" y="213"/>
                  </a:lnTo>
                  <a:lnTo>
                    <a:pt x="172" y="215"/>
                  </a:lnTo>
                  <a:lnTo>
                    <a:pt x="172" y="213"/>
                  </a:lnTo>
                  <a:lnTo>
                    <a:pt x="174" y="213"/>
                  </a:lnTo>
                  <a:lnTo>
                    <a:pt x="172" y="213"/>
                  </a:lnTo>
                  <a:lnTo>
                    <a:pt x="174" y="213"/>
                  </a:lnTo>
                  <a:lnTo>
                    <a:pt x="172" y="213"/>
                  </a:lnTo>
                  <a:lnTo>
                    <a:pt x="174" y="213"/>
                  </a:lnTo>
                  <a:lnTo>
                    <a:pt x="174" y="211"/>
                  </a:lnTo>
                  <a:lnTo>
                    <a:pt x="176" y="211"/>
                  </a:lnTo>
                  <a:lnTo>
                    <a:pt x="176" y="209"/>
                  </a:lnTo>
                  <a:close/>
                  <a:moveTo>
                    <a:pt x="111" y="280"/>
                  </a:moveTo>
                  <a:lnTo>
                    <a:pt x="111" y="282"/>
                  </a:lnTo>
                  <a:lnTo>
                    <a:pt x="113" y="282"/>
                  </a:lnTo>
                  <a:lnTo>
                    <a:pt x="113" y="284"/>
                  </a:lnTo>
                  <a:lnTo>
                    <a:pt x="111" y="284"/>
                  </a:lnTo>
                  <a:lnTo>
                    <a:pt x="109" y="284"/>
                  </a:lnTo>
                  <a:lnTo>
                    <a:pt x="109" y="282"/>
                  </a:lnTo>
                  <a:lnTo>
                    <a:pt x="111" y="282"/>
                  </a:lnTo>
                  <a:lnTo>
                    <a:pt x="111" y="280"/>
                  </a:lnTo>
                  <a:close/>
                  <a:moveTo>
                    <a:pt x="96" y="207"/>
                  </a:moveTo>
                  <a:lnTo>
                    <a:pt x="96" y="209"/>
                  </a:lnTo>
                  <a:lnTo>
                    <a:pt x="96" y="211"/>
                  </a:lnTo>
                  <a:lnTo>
                    <a:pt x="96" y="209"/>
                  </a:lnTo>
                  <a:lnTo>
                    <a:pt x="96" y="211"/>
                  </a:lnTo>
                  <a:lnTo>
                    <a:pt x="96" y="209"/>
                  </a:lnTo>
                  <a:lnTo>
                    <a:pt x="96" y="211"/>
                  </a:lnTo>
                  <a:lnTo>
                    <a:pt x="94" y="211"/>
                  </a:lnTo>
                  <a:lnTo>
                    <a:pt x="96" y="211"/>
                  </a:lnTo>
                  <a:lnTo>
                    <a:pt x="94" y="211"/>
                  </a:lnTo>
                  <a:lnTo>
                    <a:pt x="94" y="213"/>
                  </a:lnTo>
                  <a:lnTo>
                    <a:pt x="94" y="211"/>
                  </a:lnTo>
                  <a:lnTo>
                    <a:pt x="94" y="213"/>
                  </a:lnTo>
                  <a:lnTo>
                    <a:pt x="94" y="211"/>
                  </a:lnTo>
                  <a:lnTo>
                    <a:pt x="94" y="213"/>
                  </a:lnTo>
                  <a:lnTo>
                    <a:pt x="94" y="211"/>
                  </a:lnTo>
                  <a:lnTo>
                    <a:pt x="94" y="213"/>
                  </a:lnTo>
                  <a:lnTo>
                    <a:pt x="94" y="215"/>
                  </a:lnTo>
                  <a:lnTo>
                    <a:pt x="94" y="213"/>
                  </a:lnTo>
                  <a:lnTo>
                    <a:pt x="92" y="213"/>
                  </a:lnTo>
                  <a:lnTo>
                    <a:pt x="94" y="213"/>
                  </a:lnTo>
                  <a:lnTo>
                    <a:pt x="94" y="211"/>
                  </a:lnTo>
                  <a:lnTo>
                    <a:pt x="94" y="213"/>
                  </a:lnTo>
                  <a:lnTo>
                    <a:pt x="94" y="211"/>
                  </a:lnTo>
                  <a:lnTo>
                    <a:pt x="94" y="209"/>
                  </a:lnTo>
                  <a:lnTo>
                    <a:pt x="94" y="211"/>
                  </a:lnTo>
                  <a:lnTo>
                    <a:pt x="94" y="209"/>
                  </a:lnTo>
                  <a:lnTo>
                    <a:pt x="94" y="207"/>
                  </a:lnTo>
                  <a:lnTo>
                    <a:pt x="94" y="209"/>
                  </a:lnTo>
                  <a:lnTo>
                    <a:pt x="94" y="207"/>
                  </a:lnTo>
                  <a:lnTo>
                    <a:pt x="96" y="207"/>
                  </a:lnTo>
                  <a:close/>
                  <a:moveTo>
                    <a:pt x="119" y="274"/>
                  </a:moveTo>
                  <a:lnTo>
                    <a:pt x="119" y="276"/>
                  </a:lnTo>
                  <a:lnTo>
                    <a:pt x="119" y="278"/>
                  </a:lnTo>
                  <a:lnTo>
                    <a:pt x="119" y="280"/>
                  </a:lnTo>
                  <a:lnTo>
                    <a:pt x="117" y="280"/>
                  </a:lnTo>
                  <a:lnTo>
                    <a:pt x="117" y="282"/>
                  </a:lnTo>
                  <a:lnTo>
                    <a:pt x="119" y="282"/>
                  </a:lnTo>
                  <a:lnTo>
                    <a:pt x="117" y="282"/>
                  </a:lnTo>
                  <a:lnTo>
                    <a:pt x="119" y="282"/>
                  </a:lnTo>
                  <a:lnTo>
                    <a:pt x="117" y="282"/>
                  </a:lnTo>
                  <a:lnTo>
                    <a:pt x="119" y="282"/>
                  </a:lnTo>
                  <a:lnTo>
                    <a:pt x="117" y="282"/>
                  </a:lnTo>
                  <a:lnTo>
                    <a:pt x="119" y="282"/>
                  </a:lnTo>
                  <a:lnTo>
                    <a:pt x="117" y="282"/>
                  </a:lnTo>
                  <a:lnTo>
                    <a:pt x="119" y="282"/>
                  </a:lnTo>
                  <a:lnTo>
                    <a:pt x="117" y="282"/>
                  </a:lnTo>
                  <a:lnTo>
                    <a:pt x="117" y="280"/>
                  </a:lnTo>
                  <a:lnTo>
                    <a:pt x="117" y="278"/>
                  </a:lnTo>
                  <a:lnTo>
                    <a:pt x="117" y="276"/>
                  </a:lnTo>
                  <a:lnTo>
                    <a:pt x="119" y="276"/>
                  </a:lnTo>
                  <a:lnTo>
                    <a:pt x="117" y="276"/>
                  </a:lnTo>
                  <a:lnTo>
                    <a:pt x="119" y="276"/>
                  </a:lnTo>
                  <a:lnTo>
                    <a:pt x="117" y="276"/>
                  </a:lnTo>
                  <a:lnTo>
                    <a:pt x="119" y="276"/>
                  </a:lnTo>
                  <a:lnTo>
                    <a:pt x="117" y="276"/>
                  </a:lnTo>
                  <a:lnTo>
                    <a:pt x="119" y="276"/>
                  </a:lnTo>
                  <a:lnTo>
                    <a:pt x="119" y="274"/>
                  </a:lnTo>
                  <a:close/>
                  <a:moveTo>
                    <a:pt x="86" y="240"/>
                  </a:moveTo>
                  <a:lnTo>
                    <a:pt x="86" y="242"/>
                  </a:lnTo>
                  <a:lnTo>
                    <a:pt x="86" y="244"/>
                  </a:lnTo>
                  <a:lnTo>
                    <a:pt x="86" y="242"/>
                  </a:lnTo>
                  <a:lnTo>
                    <a:pt x="86" y="244"/>
                  </a:lnTo>
                  <a:lnTo>
                    <a:pt x="88" y="244"/>
                  </a:lnTo>
                  <a:lnTo>
                    <a:pt x="86" y="244"/>
                  </a:lnTo>
                  <a:lnTo>
                    <a:pt x="88" y="244"/>
                  </a:lnTo>
                  <a:lnTo>
                    <a:pt x="86" y="244"/>
                  </a:lnTo>
                  <a:lnTo>
                    <a:pt x="86" y="246"/>
                  </a:lnTo>
                  <a:lnTo>
                    <a:pt x="86" y="244"/>
                  </a:lnTo>
                  <a:lnTo>
                    <a:pt x="84" y="244"/>
                  </a:lnTo>
                  <a:lnTo>
                    <a:pt x="82" y="244"/>
                  </a:lnTo>
                  <a:lnTo>
                    <a:pt x="84" y="244"/>
                  </a:lnTo>
                  <a:lnTo>
                    <a:pt x="82" y="244"/>
                  </a:lnTo>
                  <a:lnTo>
                    <a:pt x="84" y="244"/>
                  </a:lnTo>
                  <a:lnTo>
                    <a:pt x="82" y="244"/>
                  </a:lnTo>
                  <a:lnTo>
                    <a:pt x="84" y="244"/>
                  </a:lnTo>
                  <a:lnTo>
                    <a:pt x="82" y="244"/>
                  </a:lnTo>
                  <a:lnTo>
                    <a:pt x="84" y="244"/>
                  </a:lnTo>
                  <a:lnTo>
                    <a:pt x="82" y="244"/>
                  </a:lnTo>
                  <a:lnTo>
                    <a:pt x="84" y="244"/>
                  </a:lnTo>
                  <a:lnTo>
                    <a:pt x="82" y="244"/>
                  </a:lnTo>
                  <a:lnTo>
                    <a:pt x="84" y="244"/>
                  </a:lnTo>
                  <a:lnTo>
                    <a:pt x="84" y="242"/>
                  </a:lnTo>
                  <a:lnTo>
                    <a:pt x="86" y="242"/>
                  </a:lnTo>
                  <a:lnTo>
                    <a:pt x="84" y="242"/>
                  </a:lnTo>
                  <a:lnTo>
                    <a:pt x="86" y="242"/>
                  </a:lnTo>
                  <a:lnTo>
                    <a:pt x="86" y="240"/>
                  </a:lnTo>
                  <a:close/>
                  <a:moveTo>
                    <a:pt x="13" y="380"/>
                  </a:moveTo>
                  <a:lnTo>
                    <a:pt x="13" y="382"/>
                  </a:lnTo>
                  <a:lnTo>
                    <a:pt x="13" y="380"/>
                  </a:lnTo>
                  <a:lnTo>
                    <a:pt x="13" y="382"/>
                  </a:lnTo>
                  <a:lnTo>
                    <a:pt x="13" y="380"/>
                  </a:lnTo>
                  <a:lnTo>
                    <a:pt x="13" y="382"/>
                  </a:lnTo>
                  <a:lnTo>
                    <a:pt x="13" y="380"/>
                  </a:lnTo>
                  <a:lnTo>
                    <a:pt x="13" y="382"/>
                  </a:lnTo>
                  <a:lnTo>
                    <a:pt x="13" y="380"/>
                  </a:lnTo>
                  <a:lnTo>
                    <a:pt x="13" y="382"/>
                  </a:lnTo>
                  <a:lnTo>
                    <a:pt x="15" y="382"/>
                  </a:lnTo>
                  <a:lnTo>
                    <a:pt x="15" y="384"/>
                  </a:lnTo>
                  <a:lnTo>
                    <a:pt x="15" y="382"/>
                  </a:lnTo>
                  <a:lnTo>
                    <a:pt x="13" y="382"/>
                  </a:lnTo>
                  <a:lnTo>
                    <a:pt x="13" y="384"/>
                  </a:lnTo>
                  <a:lnTo>
                    <a:pt x="13" y="382"/>
                  </a:lnTo>
                  <a:lnTo>
                    <a:pt x="11" y="382"/>
                  </a:lnTo>
                  <a:lnTo>
                    <a:pt x="11" y="384"/>
                  </a:lnTo>
                  <a:lnTo>
                    <a:pt x="11" y="382"/>
                  </a:lnTo>
                  <a:lnTo>
                    <a:pt x="13" y="382"/>
                  </a:lnTo>
                  <a:lnTo>
                    <a:pt x="11" y="382"/>
                  </a:lnTo>
                  <a:lnTo>
                    <a:pt x="11" y="380"/>
                  </a:lnTo>
                  <a:lnTo>
                    <a:pt x="13" y="380"/>
                  </a:lnTo>
                  <a:close/>
                  <a:moveTo>
                    <a:pt x="92" y="213"/>
                  </a:moveTo>
                  <a:lnTo>
                    <a:pt x="94" y="213"/>
                  </a:lnTo>
                  <a:lnTo>
                    <a:pt x="94" y="219"/>
                  </a:lnTo>
                  <a:lnTo>
                    <a:pt x="92" y="219"/>
                  </a:lnTo>
                  <a:lnTo>
                    <a:pt x="92" y="213"/>
                  </a:lnTo>
                  <a:close/>
                  <a:moveTo>
                    <a:pt x="149" y="178"/>
                  </a:moveTo>
                  <a:lnTo>
                    <a:pt x="153" y="178"/>
                  </a:lnTo>
                  <a:lnTo>
                    <a:pt x="153" y="180"/>
                  </a:lnTo>
                  <a:lnTo>
                    <a:pt x="149" y="180"/>
                  </a:lnTo>
                  <a:lnTo>
                    <a:pt x="149" y="178"/>
                  </a:lnTo>
                  <a:close/>
                  <a:moveTo>
                    <a:pt x="88" y="324"/>
                  </a:moveTo>
                  <a:lnTo>
                    <a:pt x="90" y="324"/>
                  </a:lnTo>
                  <a:lnTo>
                    <a:pt x="90" y="328"/>
                  </a:lnTo>
                  <a:lnTo>
                    <a:pt x="88" y="328"/>
                  </a:lnTo>
                  <a:lnTo>
                    <a:pt x="88" y="324"/>
                  </a:lnTo>
                  <a:close/>
                  <a:moveTo>
                    <a:pt x="266" y="6"/>
                  </a:moveTo>
                  <a:lnTo>
                    <a:pt x="268" y="6"/>
                  </a:lnTo>
                  <a:lnTo>
                    <a:pt x="268" y="7"/>
                  </a:lnTo>
                  <a:lnTo>
                    <a:pt x="266" y="7"/>
                  </a:lnTo>
                  <a:lnTo>
                    <a:pt x="266" y="6"/>
                  </a:lnTo>
                  <a:close/>
                  <a:moveTo>
                    <a:pt x="21" y="378"/>
                  </a:moveTo>
                  <a:lnTo>
                    <a:pt x="21" y="380"/>
                  </a:lnTo>
                  <a:lnTo>
                    <a:pt x="19" y="380"/>
                  </a:lnTo>
                  <a:lnTo>
                    <a:pt x="21" y="380"/>
                  </a:lnTo>
                  <a:lnTo>
                    <a:pt x="19" y="380"/>
                  </a:lnTo>
                  <a:lnTo>
                    <a:pt x="21" y="380"/>
                  </a:lnTo>
                  <a:lnTo>
                    <a:pt x="19" y="380"/>
                  </a:lnTo>
                  <a:lnTo>
                    <a:pt x="19" y="382"/>
                  </a:lnTo>
                  <a:lnTo>
                    <a:pt x="17" y="382"/>
                  </a:lnTo>
                  <a:lnTo>
                    <a:pt x="19" y="382"/>
                  </a:lnTo>
                  <a:lnTo>
                    <a:pt x="17" y="382"/>
                  </a:lnTo>
                  <a:lnTo>
                    <a:pt x="19" y="382"/>
                  </a:lnTo>
                  <a:lnTo>
                    <a:pt x="17" y="382"/>
                  </a:lnTo>
                  <a:lnTo>
                    <a:pt x="17" y="380"/>
                  </a:lnTo>
                  <a:lnTo>
                    <a:pt x="19" y="380"/>
                  </a:lnTo>
                  <a:lnTo>
                    <a:pt x="19" y="378"/>
                  </a:lnTo>
                  <a:lnTo>
                    <a:pt x="19" y="380"/>
                  </a:lnTo>
                  <a:lnTo>
                    <a:pt x="19" y="378"/>
                  </a:lnTo>
                  <a:lnTo>
                    <a:pt x="19" y="380"/>
                  </a:lnTo>
                  <a:lnTo>
                    <a:pt x="19" y="378"/>
                  </a:lnTo>
                  <a:lnTo>
                    <a:pt x="21" y="378"/>
                  </a:lnTo>
                  <a:close/>
                  <a:moveTo>
                    <a:pt x="90" y="238"/>
                  </a:moveTo>
                  <a:lnTo>
                    <a:pt x="92" y="238"/>
                  </a:lnTo>
                  <a:lnTo>
                    <a:pt x="92" y="236"/>
                  </a:lnTo>
                  <a:lnTo>
                    <a:pt x="92" y="238"/>
                  </a:lnTo>
                  <a:lnTo>
                    <a:pt x="90" y="238"/>
                  </a:lnTo>
                  <a:lnTo>
                    <a:pt x="90" y="240"/>
                  </a:lnTo>
                  <a:lnTo>
                    <a:pt x="90" y="238"/>
                  </a:lnTo>
                  <a:lnTo>
                    <a:pt x="90" y="240"/>
                  </a:lnTo>
                  <a:lnTo>
                    <a:pt x="90" y="238"/>
                  </a:lnTo>
                  <a:lnTo>
                    <a:pt x="90" y="240"/>
                  </a:lnTo>
                  <a:lnTo>
                    <a:pt x="90" y="238"/>
                  </a:lnTo>
                  <a:lnTo>
                    <a:pt x="90" y="240"/>
                  </a:lnTo>
                  <a:lnTo>
                    <a:pt x="90" y="238"/>
                  </a:lnTo>
                  <a:lnTo>
                    <a:pt x="88" y="238"/>
                  </a:lnTo>
                  <a:lnTo>
                    <a:pt x="90" y="238"/>
                  </a:lnTo>
                  <a:lnTo>
                    <a:pt x="88" y="238"/>
                  </a:lnTo>
                  <a:lnTo>
                    <a:pt x="90" y="238"/>
                  </a:lnTo>
                  <a:lnTo>
                    <a:pt x="88" y="238"/>
                  </a:lnTo>
                  <a:lnTo>
                    <a:pt x="90" y="238"/>
                  </a:lnTo>
                  <a:lnTo>
                    <a:pt x="90" y="236"/>
                  </a:lnTo>
                  <a:lnTo>
                    <a:pt x="90" y="234"/>
                  </a:lnTo>
                  <a:lnTo>
                    <a:pt x="90" y="236"/>
                  </a:lnTo>
                  <a:lnTo>
                    <a:pt x="90" y="238"/>
                  </a:lnTo>
                  <a:lnTo>
                    <a:pt x="90" y="236"/>
                  </a:lnTo>
                  <a:lnTo>
                    <a:pt x="90" y="238"/>
                  </a:lnTo>
                  <a:close/>
                  <a:moveTo>
                    <a:pt x="94" y="230"/>
                  </a:moveTo>
                  <a:lnTo>
                    <a:pt x="97" y="230"/>
                  </a:lnTo>
                  <a:lnTo>
                    <a:pt x="97" y="234"/>
                  </a:lnTo>
                  <a:lnTo>
                    <a:pt x="94" y="234"/>
                  </a:lnTo>
                  <a:lnTo>
                    <a:pt x="94" y="230"/>
                  </a:lnTo>
                  <a:close/>
                  <a:moveTo>
                    <a:pt x="241" y="65"/>
                  </a:moveTo>
                  <a:lnTo>
                    <a:pt x="243" y="65"/>
                  </a:lnTo>
                  <a:lnTo>
                    <a:pt x="243" y="69"/>
                  </a:lnTo>
                  <a:lnTo>
                    <a:pt x="241" y="69"/>
                  </a:lnTo>
                  <a:lnTo>
                    <a:pt x="241" y="65"/>
                  </a:lnTo>
                  <a:close/>
                  <a:moveTo>
                    <a:pt x="165" y="209"/>
                  </a:moveTo>
                  <a:lnTo>
                    <a:pt x="167" y="209"/>
                  </a:lnTo>
                  <a:lnTo>
                    <a:pt x="167" y="213"/>
                  </a:lnTo>
                  <a:lnTo>
                    <a:pt x="165" y="213"/>
                  </a:lnTo>
                  <a:lnTo>
                    <a:pt x="165" y="209"/>
                  </a:lnTo>
                  <a:close/>
                  <a:moveTo>
                    <a:pt x="34" y="372"/>
                  </a:moveTo>
                  <a:lnTo>
                    <a:pt x="38" y="372"/>
                  </a:lnTo>
                  <a:lnTo>
                    <a:pt x="38" y="376"/>
                  </a:lnTo>
                  <a:lnTo>
                    <a:pt x="34" y="376"/>
                  </a:lnTo>
                  <a:lnTo>
                    <a:pt x="34" y="372"/>
                  </a:lnTo>
                  <a:close/>
                  <a:moveTo>
                    <a:pt x="97" y="223"/>
                  </a:moveTo>
                  <a:lnTo>
                    <a:pt x="101" y="223"/>
                  </a:lnTo>
                  <a:lnTo>
                    <a:pt x="101" y="224"/>
                  </a:lnTo>
                  <a:lnTo>
                    <a:pt x="97" y="224"/>
                  </a:lnTo>
                  <a:lnTo>
                    <a:pt x="97" y="223"/>
                  </a:lnTo>
                  <a:close/>
                  <a:moveTo>
                    <a:pt x="136" y="221"/>
                  </a:moveTo>
                  <a:lnTo>
                    <a:pt x="138" y="221"/>
                  </a:lnTo>
                  <a:lnTo>
                    <a:pt x="136" y="221"/>
                  </a:lnTo>
                  <a:lnTo>
                    <a:pt x="138" y="221"/>
                  </a:lnTo>
                  <a:lnTo>
                    <a:pt x="140" y="221"/>
                  </a:lnTo>
                  <a:lnTo>
                    <a:pt x="138" y="221"/>
                  </a:lnTo>
                  <a:lnTo>
                    <a:pt x="138" y="223"/>
                  </a:lnTo>
                  <a:lnTo>
                    <a:pt x="138" y="221"/>
                  </a:lnTo>
                  <a:lnTo>
                    <a:pt x="138" y="223"/>
                  </a:lnTo>
                  <a:lnTo>
                    <a:pt x="138" y="221"/>
                  </a:lnTo>
                  <a:lnTo>
                    <a:pt x="138" y="223"/>
                  </a:lnTo>
                  <a:lnTo>
                    <a:pt x="138" y="221"/>
                  </a:lnTo>
                  <a:lnTo>
                    <a:pt x="136" y="221"/>
                  </a:lnTo>
                  <a:lnTo>
                    <a:pt x="138" y="221"/>
                  </a:lnTo>
                  <a:lnTo>
                    <a:pt x="136" y="221"/>
                  </a:lnTo>
                  <a:lnTo>
                    <a:pt x="136" y="223"/>
                  </a:lnTo>
                  <a:lnTo>
                    <a:pt x="136" y="221"/>
                  </a:lnTo>
                  <a:lnTo>
                    <a:pt x="136" y="223"/>
                  </a:lnTo>
                  <a:lnTo>
                    <a:pt x="136" y="221"/>
                  </a:lnTo>
                  <a:close/>
                  <a:moveTo>
                    <a:pt x="105" y="249"/>
                  </a:moveTo>
                  <a:lnTo>
                    <a:pt x="107" y="249"/>
                  </a:lnTo>
                  <a:lnTo>
                    <a:pt x="107" y="253"/>
                  </a:lnTo>
                  <a:lnTo>
                    <a:pt x="105" y="253"/>
                  </a:lnTo>
                  <a:lnTo>
                    <a:pt x="105" y="249"/>
                  </a:lnTo>
                  <a:close/>
                  <a:moveTo>
                    <a:pt x="264" y="0"/>
                  </a:moveTo>
                  <a:lnTo>
                    <a:pt x="264" y="6"/>
                  </a:lnTo>
                  <a:lnTo>
                    <a:pt x="264" y="0"/>
                  </a:lnTo>
                  <a:close/>
                  <a:moveTo>
                    <a:pt x="138" y="215"/>
                  </a:moveTo>
                  <a:lnTo>
                    <a:pt x="140" y="215"/>
                  </a:lnTo>
                  <a:lnTo>
                    <a:pt x="140" y="217"/>
                  </a:lnTo>
                  <a:lnTo>
                    <a:pt x="138" y="217"/>
                  </a:lnTo>
                  <a:lnTo>
                    <a:pt x="138" y="215"/>
                  </a:lnTo>
                  <a:close/>
                  <a:moveTo>
                    <a:pt x="239" y="205"/>
                  </a:moveTo>
                  <a:lnTo>
                    <a:pt x="241" y="205"/>
                  </a:lnTo>
                  <a:lnTo>
                    <a:pt x="241" y="207"/>
                  </a:lnTo>
                  <a:lnTo>
                    <a:pt x="239" y="207"/>
                  </a:lnTo>
                  <a:lnTo>
                    <a:pt x="239" y="205"/>
                  </a:lnTo>
                  <a:close/>
                  <a:moveTo>
                    <a:pt x="82" y="332"/>
                  </a:moveTo>
                  <a:lnTo>
                    <a:pt x="84" y="332"/>
                  </a:lnTo>
                  <a:lnTo>
                    <a:pt x="84" y="334"/>
                  </a:lnTo>
                  <a:lnTo>
                    <a:pt x="82" y="334"/>
                  </a:lnTo>
                  <a:lnTo>
                    <a:pt x="82" y="332"/>
                  </a:lnTo>
                  <a:close/>
                  <a:moveTo>
                    <a:pt x="92" y="319"/>
                  </a:moveTo>
                  <a:lnTo>
                    <a:pt x="94" y="319"/>
                  </a:lnTo>
                  <a:lnTo>
                    <a:pt x="94" y="321"/>
                  </a:lnTo>
                  <a:lnTo>
                    <a:pt x="92" y="321"/>
                  </a:lnTo>
                  <a:lnTo>
                    <a:pt x="92" y="319"/>
                  </a:lnTo>
                  <a:close/>
                  <a:moveTo>
                    <a:pt x="245" y="234"/>
                  </a:moveTo>
                  <a:lnTo>
                    <a:pt x="247" y="234"/>
                  </a:lnTo>
                  <a:lnTo>
                    <a:pt x="247" y="236"/>
                  </a:lnTo>
                  <a:lnTo>
                    <a:pt x="245" y="236"/>
                  </a:lnTo>
                  <a:lnTo>
                    <a:pt x="245" y="234"/>
                  </a:lnTo>
                  <a:close/>
                  <a:moveTo>
                    <a:pt x="145" y="215"/>
                  </a:moveTo>
                  <a:lnTo>
                    <a:pt x="147" y="215"/>
                  </a:lnTo>
                  <a:lnTo>
                    <a:pt x="147" y="217"/>
                  </a:lnTo>
                  <a:lnTo>
                    <a:pt x="145" y="217"/>
                  </a:lnTo>
                  <a:lnTo>
                    <a:pt x="145" y="215"/>
                  </a:lnTo>
                  <a:close/>
                  <a:moveTo>
                    <a:pt x="97" y="259"/>
                  </a:moveTo>
                  <a:lnTo>
                    <a:pt x="101" y="259"/>
                  </a:lnTo>
                  <a:lnTo>
                    <a:pt x="101" y="261"/>
                  </a:lnTo>
                  <a:lnTo>
                    <a:pt x="97" y="261"/>
                  </a:lnTo>
                  <a:lnTo>
                    <a:pt x="97" y="259"/>
                  </a:lnTo>
                  <a:close/>
                  <a:moveTo>
                    <a:pt x="147" y="182"/>
                  </a:moveTo>
                  <a:lnTo>
                    <a:pt x="149" y="182"/>
                  </a:lnTo>
                  <a:lnTo>
                    <a:pt x="149" y="184"/>
                  </a:lnTo>
                  <a:lnTo>
                    <a:pt x="147" y="184"/>
                  </a:lnTo>
                  <a:lnTo>
                    <a:pt x="147" y="182"/>
                  </a:lnTo>
                  <a:close/>
                  <a:moveTo>
                    <a:pt x="55" y="349"/>
                  </a:moveTo>
                  <a:lnTo>
                    <a:pt x="57" y="349"/>
                  </a:lnTo>
                  <a:lnTo>
                    <a:pt x="57" y="351"/>
                  </a:lnTo>
                  <a:lnTo>
                    <a:pt x="55" y="351"/>
                  </a:lnTo>
                  <a:lnTo>
                    <a:pt x="55" y="349"/>
                  </a:lnTo>
                  <a:close/>
                  <a:moveTo>
                    <a:pt x="241" y="217"/>
                  </a:moveTo>
                  <a:lnTo>
                    <a:pt x="243" y="217"/>
                  </a:lnTo>
                  <a:lnTo>
                    <a:pt x="243" y="219"/>
                  </a:lnTo>
                  <a:lnTo>
                    <a:pt x="241" y="219"/>
                  </a:lnTo>
                  <a:lnTo>
                    <a:pt x="241" y="217"/>
                  </a:lnTo>
                  <a:close/>
                  <a:moveTo>
                    <a:pt x="101" y="317"/>
                  </a:moveTo>
                  <a:lnTo>
                    <a:pt x="103" y="317"/>
                  </a:lnTo>
                  <a:lnTo>
                    <a:pt x="103" y="319"/>
                  </a:lnTo>
                  <a:lnTo>
                    <a:pt x="101" y="319"/>
                  </a:lnTo>
                  <a:lnTo>
                    <a:pt x="101" y="317"/>
                  </a:lnTo>
                  <a:close/>
                  <a:moveTo>
                    <a:pt x="205" y="163"/>
                  </a:moveTo>
                  <a:lnTo>
                    <a:pt x="207" y="163"/>
                  </a:lnTo>
                  <a:lnTo>
                    <a:pt x="207" y="165"/>
                  </a:lnTo>
                  <a:lnTo>
                    <a:pt x="205" y="165"/>
                  </a:lnTo>
                  <a:lnTo>
                    <a:pt x="205" y="163"/>
                  </a:lnTo>
                  <a:close/>
                  <a:moveTo>
                    <a:pt x="101" y="257"/>
                  </a:moveTo>
                  <a:lnTo>
                    <a:pt x="103" y="257"/>
                  </a:lnTo>
                  <a:lnTo>
                    <a:pt x="101" y="257"/>
                  </a:lnTo>
                  <a:close/>
                  <a:moveTo>
                    <a:pt x="147" y="217"/>
                  </a:moveTo>
                  <a:lnTo>
                    <a:pt x="149" y="217"/>
                  </a:lnTo>
                  <a:lnTo>
                    <a:pt x="149" y="219"/>
                  </a:lnTo>
                  <a:lnTo>
                    <a:pt x="147" y="219"/>
                  </a:lnTo>
                  <a:lnTo>
                    <a:pt x="147" y="217"/>
                  </a:lnTo>
                  <a:close/>
                  <a:moveTo>
                    <a:pt x="145" y="215"/>
                  </a:moveTo>
                  <a:lnTo>
                    <a:pt x="145" y="217"/>
                  </a:lnTo>
                  <a:lnTo>
                    <a:pt x="145" y="215"/>
                  </a:lnTo>
                  <a:close/>
                  <a:moveTo>
                    <a:pt x="86" y="240"/>
                  </a:moveTo>
                  <a:lnTo>
                    <a:pt x="88" y="240"/>
                  </a:lnTo>
                  <a:lnTo>
                    <a:pt x="88" y="242"/>
                  </a:lnTo>
                  <a:lnTo>
                    <a:pt x="86" y="242"/>
                  </a:lnTo>
                  <a:lnTo>
                    <a:pt x="86" y="240"/>
                  </a:lnTo>
                  <a:close/>
                  <a:moveTo>
                    <a:pt x="32" y="374"/>
                  </a:moveTo>
                  <a:lnTo>
                    <a:pt x="34" y="374"/>
                  </a:lnTo>
                  <a:lnTo>
                    <a:pt x="32" y="374"/>
                  </a:lnTo>
                  <a:close/>
                  <a:moveTo>
                    <a:pt x="88" y="238"/>
                  </a:moveTo>
                  <a:lnTo>
                    <a:pt x="90" y="238"/>
                  </a:lnTo>
                  <a:lnTo>
                    <a:pt x="90" y="240"/>
                  </a:lnTo>
                  <a:lnTo>
                    <a:pt x="88" y="240"/>
                  </a:lnTo>
                  <a:lnTo>
                    <a:pt x="88" y="238"/>
                  </a:lnTo>
                  <a:close/>
                  <a:moveTo>
                    <a:pt x="149" y="213"/>
                  </a:moveTo>
                  <a:lnTo>
                    <a:pt x="151" y="213"/>
                  </a:lnTo>
                  <a:lnTo>
                    <a:pt x="151" y="215"/>
                  </a:lnTo>
                  <a:lnTo>
                    <a:pt x="149" y="215"/>
                  </a:lnTo>
                  <a:lnTo>
                    <a:pt x="149" y="213"/>
                  </a:lnTo>
                  <a:close/>
                  <a:moveTo>
                    <a:pt x="105" y="280"/>
                  </a:moveTo>
                  <a:lnTo>
                    <a:pt x="107" y="280"/>
                  </a:lnTo>
                  <a:lnTo>
                    <a:pt x="107" y="282"/>
                  </a:lnTo>
                  <a:lnTo>
                    <a:pt x="105" y="282"/>
                  </a:lnTo>
                  <a:lnTo>
                    <a:pt x="105" y="280"/>
                  </a:lnTo>
                  <a:close/>
                  <a:moveTo>
                    <a:pt x="101" y="290"/>
                  </a:moveTo>
                  <a:lnTo>
                    <a:pt x="101" y="292"/>
                  </a:lnTo>
                  <a:lnTo>
                    <a:pt x="101" y="290"/>
                  </a:lnTo>
                  <a:close/>
                  <a:moveTo>
                    <a:pt x="147" y="182"/>
                  </a:moveTo>
                  <a:lnTo>
                    <a:pt x="149" y="182"/>
                  </a:lnTo>
                  <a:lnTo>
                    <a:pt x="149" y="184"/>
                  </a:lnTo>
                  <a:lnTo>
                    <a:pt x="147" y="184"/>
                  </a:lnTo>
                  <a:lnTo>
                    <a:pt x="147" y="182"/>
                  </a:lnTo>
                  <a:close/>
                  <a:moveTo>
                    <a:pt x="147" y="215"/>
                  </a:moveTo>
                  <a:lnTo>
                    <a:pt x="149" y="215"/>
                  </a:lnTo>
                  <a:lnTo>
                    <a:pt x="147" y="215"/>
                  </a:lnTo>
                  <a:close/>
                  <a:moveTo>
                    <a:pt x="136" y="215"/>
                  </a:moveTo>
                  <a:lnTo>
                    <a:pt x="138" y="215"/>
                  </a:lnTo>
                  <a:lnTo>
                    <a:pt x="136" y="215"/>
                  </a:lnTo>
                  <a:close/>
                  <a:moveTo>
                    <a:pt x="109" y="244"/>
                  </a:moveTo>
                  <a:lnTo>
                    <a:pt x="111" y="244"/>
                  </a:lnTo>
                  <a:lnTo>
                    <a:pt x="111" y="246"/>
                  </a:lnTo>
                  <a:lnTo>
                    <a:pt x="109" y="246"/>
                  </a:lnTo>
                  <a:lnTo>
                    <a:pt x="109" y="244"/>
                  </a:lnTo>
                  <a:close/>
                  <a:moveTo>
                    <a:pt x="120" y="357"/>
                  </a:moveTo>
                  <a:lnTo>
                    <a:pt x="122" y="357"/>
                  </a:lnTo>
                  <a:lnTo>
                    <a:pt x="122" y="359"/>
                  </a:lnTo>
                  <a:lnTo>
                    <a:pt x="120" y="359"/>
                  </a:lnTo>
                  <a:lnTo>
                    <a:pt x="120" y="357"/>
                  </a:lnTo>
                  <a:close/>
                  <a:moveTo>
                    <a:pt x="142" y="217"/>
                  </a:moveTo>
                  <a:lnTo>
                    <a:pt x="143" y="217"/>
                  </a:lnTo>
                  <a:lnTo>
                    <a:pt x="142" y="217"/>
                  </a:lnTo>
                  <a:close/>
                  <a:moveTo>
                    <a:pt x="99" y="294"/>
                  </a:moveTo>
                  <a:lnTo>
                    <a:pt x="99" y="296"/>
                  </a:lnTo>
                  <a:lnTo>
                    <a:pt x="99" y="294"/>
                  </a:lnTo>
                  <a:close/>
                  <a:moveTo>
                    <a:pt x="0" y="380"/>
                  </a:moveTo>
                  <a:lnTo>
                    <a:pt x="1" y="380"/>
                  </a:lnTo>
                  <a:lnTo>
                    <a:pt x="0" y="380"/>
                  </a:lnTo>
                  <a:close/>
                  <a:moveTo>
                    <a:pt x="90" y="232"/>
                  </a:moveTo>
                  <a:lnTo>
                    <a:pt x="92" y="232"/>
                  </a:lnTo>
                  <a:lnTo>
                    <a:pt x="90" y="232"/>
                  </a:lnTo>
                  <a:close/>
                  <a:moveTo>
                    <a:pt x="86" y="240"/>
                  </a:moveTo>
                  <a:lnTo>
                    <a:pt x="88" y="240"/>
                  </a:lnTo>
                  <a:lnTo>
                    <a:pt x="86" y="240"/>
                  </a:lnTo>
                  <a:close/>
                  <a:moveTo>
                    <a:pt x="149" y="213"/>
                  </a:moveTo>
                  <a:lnTo>
                    <a:pt x="151" y="213"/>
                  </a:lnTo>
                  <a:lnTo>
                    <a:pt x="149" y="213"/>
                  </a:lnTo>
                  <a:close/>
                  <a:moveTo>
                    <a:pt x="71" y="344"/>
                  </a:moveTo>
                  <a:lnTo>
                    <a:pt x="72" y="344"/>
                  </a:lnTo>
                  <a:lnTo>
                    <a:pt x="71" y="344"/>
                  </a:lnTo>
                  <a:close/>
                  <a:moveTo>
                    <a:pt x="268" y="374"/>
                  </a:moveTo>
                  <a:lnTo>
                    <a:pt x="270" y="374"/>
                  </a:lnTo>
                  <a:lnTo>
                    <a:pt x="270" y="376"/>
                  </a:lnTo>
                  <a:lnTo>
                    <a:pt x="268" y="376"/>
                  </a:lnTo>
                  <a:lnTo>
                    <a:pt x="268" y="374"/>
                  </a:lnTo>
                  <a:close/>
                  <a:moveTo>
                    <a:pt x="142" y="219"/>
                  </a:moveTo>
                  <a:lnTo>
                    <a:pt x="142" y="221"/>
                  </a:lnTo>
                  <a:lnTo>
                    <a:pt x="142" y="219"/>
                  </a:lnTo>
                  <a:close/>
                  <a:moveTo>
                    <a:pt x="147" y="215"/>
                  </a:moveTo>
                  <a:lnTo>
                    <a:pt x="149" y="215"/>
                  </a:lnTo>
                  <a:lnTo>
                    <a:pt x="149" y="217"/>
                  </a:lnTo>
                  <a:lnTo>
                    <a:pt x="147" y="217"/>
                  </a:lnTo>
                  <a:lnTo>
                    <a:pt x="147" y="215"/>
                  </a:lnTo>
                  <a:close/>
                  <a:moveTo>
                    <a:pt x="243" y="221"/>
                  </a:moveTo>
                  <a:lnTo>
                    <a:pt x="243" y="223"/>
                  </a:lnTo>
                  <a:lnTo>
                    <a:pt x="243" y="221"/>
                  </a:lnTo>
                  <a:close/>
                  <a:moveTo>
                    <a:pt x="72" y="338"/>
                  </a:moveTo>
                  <a:lnTo>
                    <a:pt x="74" y="338"/>
                  </a:lnTo>
                  <a:lnTo>
                    <a:pt x="74" y="340"/>
                  </a:lnTo>
                  <a:lnTo>
                    <a:pt x="72" y="340"/>
                  </a:lnTo>
                  <a:lnTo>
                    <a:pt x="72" y="338"/>
                  </a:lnTo>
                  <a:close/>
                  <a:moveTo>
                    <a:pt x="97" y="236"/>
                  </a:moveTo>
                  <a:lnTo>
                    <a:pt x="97" y="238"/>
                  </a:lnTo>
                  <a:lnTo>
                    <a:pt x="97" y="236"/>
                  </a:lnTo>
                  <a:close/>
                  <a:moveTo>
                    <a:pt x="280" y="344"/>
                  </a:moveTo>
                  <a:lnTo>
                    <a:pt x="282" y="344"/>
                  </a:lnTo>
                  <a:lnTo>
                    <a:pt x="282" y="345"/>
                  </a:lnTo>
                  <a:lnTo>
                    <a:pt x="280" y="345"/>
                  </a:lnTo>
                  <a:lnTo>
                    <a:pt x="280" y="344"/>
                  </a:lnTo>
                  <a:close/>
                  <a:moveTo>
                    <a:pt x="238" y="215"/>
                  </a:moveTo>
                  <a:lnTo>
                    <a:pt x="238" y="217"/>
                  </a:lnTo>
                  <a:lnTo>
                    <a:pt x="238" y="215"/>
                  </a:lnTo>
                  <a:close/>
                  <a:moveTo>
                    <a:pt x="24" y="376"/>
                  </a:moveTo>
                  <a:lnTo>
                    <a:pt x="26" y="376"/>
                  </a:lnTo>
                  <a:lnTo>
                    <a:pt x="24" y="376"/>
                  </a:lnTo>
                  <a:close/>
                  <a:moveTo>
                    <a:pt x="107" y="248"/>
                  </a:moveTo>
                  <a:lnTo>
                    <a:pt x="109" y="248"/>
                  </a:lnTo>
                  <a:lnTo>
                    <a:pt x="109" y="249"/>
                  </a:lnTo>
                  <a:lnTo>
                    <a:pt x="107" y="249"/>
                  </a:lnTo>
                  <a:lnTo>
                    <a:pt x="107" y="248"/>
                  </a:lnTo>
                  <a:close/>
                  <a:moveTo>
                    <a:pt x="143" y="217"/>
                  </a:moveTo>
                  <a:lnTo>
                    <a:pt x="145" y="217"/>
                  </a:lnTo>
                  <a:lnTo>
                    <a:pt x="143" y="217"/>
                  </a:lnTo>
                  <a:close/>
                  <a:moveTo>
                    <a:pt x="136" y="223"/>
                  </a:moveTo>
                  <a:lnTo>
                    <a:pt x="136" y="224"/>
                  </a:lnTo>
                  <a:lnTo>
                    <a:pt x="136" y="223"/>
                  </a:lnTo>
                  <a:close/>
                  <a:moveTo>
                    <a:pt x="94" y="230"/>
                  </a:moveTo>
                  <a:lnTo>
                    <a:pt x="96" y="230"/>
                  </a:lnTo>
                  <a:lnTo>
                    <a:pt x="94" y="230"/>
                  </a:lnTo>
                  <a:close/>
                  <a:moveTo>
                    <a:pt x="99" y="228"/>
                  </a:moveTo>
                  <a:lnTo>
                    <a:pt x="99" y="230"/>
                  </a:lnTo>
                  <a:lnTo>
                    <a:pt x="99" y="228"/>
                  </a:lnTo>
                  <a:close/>
                  <a:moveTo>
                    <a:pt x="96" y="228"/>
                  </a:moveTo>
                  <a:lnTo>
                    <a:pt x="97" y="228"/>
                  </a:lnTo>
                  <a:lnTo>
                    <a:pt x="96" y="228"/>
                  </a:lnTo>
                  <a:close/>
                  <a:moveTo>
                    <a:pt x="120" y="211"/>
                  </a:moveTo>
                  <a:lnTo>
                    <a:pt x="122" y="211"/>
                  </a:lnTo>
                  <a:lnTo>
                    <a:pt x="122" y="213"/>
                  </a:lnTo>
                  <a:lnTo>
                    <a:pt x="120" y="213"/>
                  </a:lnTo>
                  <a:lnTo>
                    <a:pt x="120" y="211"/>
                  </a:lnTo>
                  <a:close/>
                  <a:moveTo>
                    <a:pt x="101" y="274"/>
                  </a:moveTo>
                  <a:lnTo>
                    <a:pt x="103" y="274"/>
                  </a:lnTo>
                  <a:lnTo>
                    <a:pt x="101" y="274"/>
                  </a:lnTo>
                  <a:close/>
                  <a:moveTo>
                    <a:pt x="65" y="351"/>
                  </a:moveTo>
                  <a:lnTo>
                    <a:pt x="65" y="353"/>
                  </a:lnTo>
                  <a:lnTo>
                    <a:pt x="65" y="351"/>
                  </a:lnTo>
                  <a:close/>
                  <a:moveTo>
                    <a:pt x="72" y="340"/>
                  </a:moveTo>
                  <a:lnTo>
                    <a:pt x="74" y="340"/>
                  </a:lnTo>
                  <a:lnTo>
                    <a:pt x="72" y="340"/>
                  </a:lnTo>
                  <a:close/>
                  <a:moveTo>
                    <a:pt x="101" y="288"/>
                  </a:moveTo>
                  <a:lnTo>
                    <a:pt x="103" y="288"/>
                  </a:lnTo>
                  <a:lnTo>
                    <a:pt x="103" y="290"/>
                  </a:lnTo>
                  <a:lnTo>
                    <a:pt x="101" y="290"/>
                  </a:lnTo>
                  <a:lnTo>
                    <a:pt x="101" y="288"/>
                  </a:lnTo>
                  <a:close/>
                  <a:moveTo>
                    <a:pt x="92" y="321"/>
                  </a:moveTo>
                  <a:lnTo>
                    <a:pt x="94" y="321"/>
                  </a:lnTo>
                  <a:lnTo>
                    <a:pt x="94" y="322"/>
                  </a:lnTo>
                  <a:lnTo>
                    <a:pt x="92" y="322"/>
                  </a:lnTo>
                  <a:lnTo>
                    <a:pt x="92" y="321"/>
                  </a:lnTo>
                  <a:close/>
                  <a:moveTo>
                    <a:pt x="245" y="194"/>
                  </a:moveTo>
                  <a:lnTo>
                    <a:pt x="247" y="194"/>
                  </a:lnTo>
                  <a:lnTo>
                    <a:pt x="245" y="194"/>
                  </a:lnTo>
                  <a:close/>
                  <a:moveTo>
                    <a:pt x="157" y="213"/>
                  </a:moveTo>
                  <a:lnTo>
                    <a:pt x="159" y="213"/>
                  </a:lnTo>
                  <a:lnTo>
                    <a:pt x="157" y="213"/>
                  </a:lnTo>
                  <a:close/>
                  <a:moveTo>
                    <a:pt x="11" y="386"/>
                  </a:moveTo>
                  <a:lnTo>
                    <a:pt x="13" y="386"/>
                  </a:lnTo>
                  <a:lnTo>
                    <a:pt x="11" y="386"/>
                  </a:lnTo>
                  <a:close/>
                  <a:moveTo>
                    <a:pt x="107" y="274"/>
                  </a:moveTo>
                  <a:lnTo>
                    <a:pt x="109" y="274"/>
                  </a:lnTo>
                  <a:lnTo>
                    <a:pt x="109" y="276"/>
                  </a:lnTo>
                  <a:lnTo>
                    <a:pt x="107" y="276"/>
                  </a:lnTo>
                  <a:lnTo>
                    <a:pt x="107" y="274"/>
                  </a:lnTo>
                  <a:close/>
                  <a:moveTo>
                    <a:pt x="149" y="215"/>
                  </a:moveTo>
                  <a:lnTo>
                    <a:pt x="151" y="215"/>
                  </a:lnTo>
                  <a:lnTo>
                    <a:pt x="149" y="215"/>
                  </a:lnTo>
                  <a:close/>
                  <a:moveTo>
                    <a:pt x="199" y="173"/>
                  </a:moveTo>
                  <a:lnTo>
                    <a:pt x="201" y="173"/>
                  </a:lnTo>
                  <a:lnTo>
                    <a:pt x="199" y="173"/>
                  </a:lnTo>
                  <a:close/>
                  <a:moveTo>
                    <a:pt x="122" y="355"/>
                  </a:moveTo>
                  <a:lnTo>
                    <a:pt x="122" y="357"/>
                  </a:lnTo>
                  <a:lnTo>
                    <a:pt x="122" y="355"/>
                  </a:lnTo>
                  <a:close/>
                  <a:moveTo>
                    <a:pt x="239" y="80"/>
                  </a:moveTo>
                  <a:lnTo>
                    <a:pt x="241" y="80"/>
                  </a:lnTo>
                  <a:lnTo>
                    <a:pt x="239" y="80"/>
                  </a:lnTo>
                  <a:close/>
                  <a:moveTo>
                    <a:pt x="238" y="138"/>
                  </a:moveTo>
                  <a:lnTo>
                    <a:pt x="239" y="138"/>
                  </a:lnTo>
                  <a:lnTo>
                    <a:pt x="239" y="140"/>
                  </a:lnTo>
                  <a:lnTo>
                    <a:pt x="238" y="140"/>
                  </a:lnTo>
                  <a:lnTo>
                    <a:pt x="238" y="138"/>
                  </a:lnTo>
                  <a:close/>
                  <a:moveTo>
                    <a:pt x="170" y="215"/>
                  </a:moveTo>
                  <a:lnTo>
                    <a:pt x="172" y="215"/>
                  </a:lnTo>
                  <a:lnTo>
                    <a:pt x="172" y="217"/>
                  </a:lnTo>
                  <a:lnTo>
                    <a:pt x="170" y="217"/>
                  </a:lnTo>
                  <a:lnTo>
                    <a:pt x="170" y="215"/>
                  </a:lnTo>
                  <a:close/>
                  <a:moveTo>
                    <a:pt x="140" y="242"/>
                  </a:moveTo>
                  <a:lnTo>
                    <a:pt x="142" y="242"/>
                  </a:lnTo>
                  <a:lnTo>
                    <a:pt x="140" y="242"/>
                  </a:lnTo>
                  <a:close/>
                  <a:moveTo>
                    <a:pt x="188" y="228"/>
                  </a:moveTo>
                  <a:lnTo>
                    <a:pt x="190" y="228"/>
                  </a:lnTo>
                  <a:lnTo>
                    <a:pt x="190" y="230"/>
                  </a:lnTo>
                  <a:lnTo>
                    <a:pt x="188" y="230"/>
                  </a:lnTo>
                  <a:lnTo>
                    <a:pt x="188" y="228"/>
                  </a:lnTo>
                  <a:close/>
                  <a:moveTo>
                    <a:pt x="272" y="130"/>
                  </a:moveTo>
                  <a:lnTo>
                    <a:pt x="274" y="130"/>
                  </a:lnTo>
                  <a:lnTo>
                    <a:pt x="274" y="132"/>
                  </a:lnTo>
                  <a:lnTo>
                    <a:pt x="272" y="132"/>
                  </a:lnTo>
                  <a:lnTo>
                    <a:pt x="272" y="130"/>
                  </a:lnTo>
                  <a:close/>
                  <a:moveTo>
                    <a:pt x="15" y="384"/>
                  </a:moveTo>
                  <a:lnTo>
                    <a:pt x="17" y="384"/>
                  </a:lnTo>
                  <a:lnTo>
                    <a:pt x="15" y="384"/>
                  </a:lnTo>
                  <a:close/>
                  <a:moveTo>
                    <a:pt x="149" y="213"/>
                  </a:moveTo>
                  <a:lnTo>
                    <a:pt x="149" y="215"/>
                  </a:lnTo>
                  <a:lnTo>
                    <a:pt x="149" y="213"/>
                  </a:lnTo>
                  <a:close/>
                  <a:moveTo>
                    <a:pt x="92" y="321"/>
                  </a:moveTo>
                  <a:lnTo>
                    <a:pt x="92" y="322"/>
                  </a:lnTo>
                  <a:lnTo>
                    <a:pt x="92" y="321"/>
                  </a:lnTo>
                  <a:close/>
                  <a:moveTo>
                    <a:pt x="151" y="213"/>
                  </a:moveTo>
                  <a:lnTo>
                    <a:pt x="153" y="213"/>
                  </a:lnTo>
                  <a:lnTo>
                    <a:pt x="151" y="213"/>
                  </a:lnTo>
                  <a:close/>
                  <a:moveTo>
                    <a:pt x="245" y="192"/>
                  </a:moveTo>
                  <a:lnTo>
                    <a:pt x="247" y="192"/>
                  </a:lnTo>
                  <a:lnTo>
                    <a:pt x="245" y="192"/>
                  </a:lnTo>
                  <a:close/>
                  <a:moveTo>
                    <a:pt x="111" y="246"/>
                  </a:moveTo>
                  <a:lnTo>
                    <a:pt x="113" y="246"/>
                  </a:lnTo>
                  <a:lnTo>
                    <a:pt x="111" y="246"/>
                  </a:lnTo>
                  <a:close/>
                  <a:moveTo>
                    <a:pt x="88" y="242"/>
                  </a:moveTo>
                  <a:lnTo>
                    <a:pt x="90" y="242"/>
                  </a:lnTo>
                  <a:lnTo>
                    <a:pt x="88" y="242"/>
                  </a:lnTo>
                  <a:close/>
                  <a:moveTo>
                    <a:pt x="115" y="276"/>
                  </a:moveTo>
                  <a:lnTo>
                    <a:pt x="117" y="276"/>
                  </a:lnTo>
                  <a:lnTo>
                    <a:pt x="115" y="276"/>
                  </a:lnTo>
                  <a:close/>
                  <a:moveTo>
                    <a:pt x="142" y="221"/>
                  </a:moveTo>
                  <a:lnTo>
                    <a:pt x="143" y="221"/>
                  </a:lnTo>
                  <a:lnTo>
                    <a:pt x="143" y="223"/>
                  </a:lnTo>
                  <a:lnTo>
                    <a:pt x="142" y="223"/>
                  </a:lnTo>
                  <a:lnTo>
                    <a:pt x="142" y="221"/>
                  </a:lnTo>
                  <a:close/>
                  <a:moveTo>
                    <a:pt x="115" y="221"/>
                  </a:moveTo>
                  <a:lnTo>
                    <a:pt x="117" y="221"/>
                  </a:lnTo>
                  <a:lnTo>
                    <a:pt x="115" y="221"/>
                  </a:lnTo>
                  <a:close/>
                  <a:moveTo>
                    <a:pt x="126" y="219"/>
                  </a:moveTo>
                  <a:lnTo>
                    <a:pt x="126" y="221"/>
                  </a:lnTo>
                  <a:lnTo>
                    <a:pt x="126" y="219"/>
                  </a:lnTo>
                  <a:close/>
                  <a:moveTo>
                    <a:pt x="120" y="205"/>
                  </a:moveTo>
                  <a:lnTo>
                    <a:pt x="120" y="207"/>
                  </a:lnTo>
                  <a:lnTo>
                    <a:pt x="120" y="205"/>
                  </a:lnTo>
                  <a:close/>
                  <a:moveTo>
                    <a:pt x="161" y="211"/>
                  </a:moveTo>
                  <a:lnTo>
                    <a:pt x="163" y="211"/>
                  </a:lnTo>
                  <a:lnTo>
                    <a:pt x="161" y="211"/>
                  </a:lnTo>
                  <a:close/>
                  <a:moveTo>
                    <a:pt x="132" y="223"/>
                  </a:moveTo>
                  <a:lnTo>
                    <a:pt x="132" y="224"/>
                  </a:lnTo>
                  <a:lnTo>
                    <a:pt x="132" y="223"/>
                  </a:lnTo>
                  <a:close/>
                  <a:moveTo>
                    <a:pt x="282" y="336"/>
                  </a:moveTo>
                  <a:lnTo>
                    <a:pt x="282" y="338"/>
                  </a:lnTo>
                  <a:lnTo>
                    <a:pt x="282" y="336"/>
                  </a:lnTo>
                  <a:close/>
                  <a:moveTo>
                    <a:pt x="109" y="221"/>
                  </a:moveTo>
                  <a:lnTo>
                    <a:pt x="109" y="223"/>
                  </a:lnTo>
                  <a:lnTo>
                    <a:pt x="109" y="221"/>
                  </a:lnTo>
                  <a:close/>
                  <a:moveTo>
                    <a:pt x="101" y="257"/>
                  </a:moveTo>
                  <a:lnTo>
                    <a:pt x="101" y="259"/>
                  </a:lnTo>
                  <a:lnTo>
                    <a:pt x="101" y="257"/>
                  </a:lnTo>
                  <a:close/>
                  <a:moveTo>
                    <a:pt x="74" y="344"/>
                  </a:moveTo>
                  <a:lnTo>
                    <a:pt x="74" y="345"/>
                  </a:lnTo>
                  <a:lnTo>
                    <a:pt x="74" y="344"/>
                  </a:lnTo>
                  <a:close/>
                  <a:moveTo>
                    <a:pt x="90" y="234"/>
                  </a:moveTo>
                  <a:lnTo>
                    <a:pt x="92" y="234"/>
                  </a:lnTo>
                  <a:lnTo>
                    <a:pt x="90" y="234"/>
                  </a:lnTo>
                  <a:close/>
                  <a:moveTo>
                    <a:pt x="203" y="211"/>
                  </a:moveTo>
                  <a:lnTo>
                    <a:pt x="205" y="211"/>
                  </a:lnTo>
                  <a:lnTo>
                    <a:pt x="203" y="211"/>
                  </a:lnTo>
                  <a:close/>
                  <a:moveTo>
                    <a:pt x="270" y="142"/>
                  </a:moveTo>
                  <a:lnTo>
                    <a:pt x="272" y="142"/>
                  </a:lnTo>
                  <a:lnTo>
                    <a:pt x="270" y="142"/>
                  </a:lnTo>
                  <a:close/>
                  <a:moveTo>
                    <a:pt x="149" y="192"/>
                  </a:moveTo>
                  <a:lnTo>
                    <a:pt x="149" y="194"/>
                  </a:lnTo>
                  <a:lnTo>
                    <a:pt x="149" y="192"/>
                  </a:lnTo>
                  <a:close/>
                  <a:moveTo>
                    <a:pt x="328" y="46"/>
                  </a:moveTo>
                  <a:lnTo>
                    <a:pt x="330" y="46"/>
                  </a:lnTo>
                  <a:lnTo>
                    <a:pt x="328" y="46"/>
                  </a:lnTo>
                  <a:close/>
                  <a:moveTo>
                    <a:pt x="182" y="209"/>
                  </a:moveTo>
                  <a:lnTo>
                    <a:pt x="184" y="209"/>
                  </a:lnTo>
                  <a:lnTo>
                    <a:pt x="184" y="211"/>
                  </a:lnTo>
                  <a:lnTo>
                    <a:pt x="182" y="211"/>
                  </a:lnTo>
                  <a:lnTo>
                    <a:pt x="182" y="209"/>
                  </a:lnTo>
                  <a:close/>
                  <a:moveTo>
                    <a:pt x="168" y="207"/>
                  </a:moveTo>
                  <a:lnTo>
                    <a:pt x="168" y="209"/>
                  </a:lnTo>
                  <a:lnTo>
                    <a:pt x="168" y="207"/>
                  </a:lnTo>
                  <a:close/>
                  <a:moveTo>
                    <a:pt x="268" y="21"/>
                  </a:moveTo>
                  <a:lnTo>
                    <a:pt x="268" y="23"/>
                  </a:lnTo>
                  <a:lnTo>
                    <a:pt x="268" y="21"/>
                  </a:lnTo>
                  <a:close/>
                  <a:moveTo>
                    <a:pt x="111" y="244"/>
                  </a:moveTo>
                  <a:lnTo>
                    <a:pt x="111" y="246"/>
                  </a:lnTo>
                  <a:lnTo>
                    <a:pt x="111" y="244"/>
                  </a:lnTo>
                  <a:close/>
                  <a:moveTo>
                    <a:pt x="63" y="351"/>
                  </a:moveTo>
                  <a:lnTo>
                    <a:pt x="65" y="351"/>
                  </a:lnTo>
                  <a:lnTo>
                    <a:pt x="63" y="351"/>
                  </a:lnTo>
                  <a:close/>
                  <a:moveTo>
                    <a:pt x="270" y="21"/>
                  </a:moveTo>
                  <a:lnTo>
                    <a:pt x="270" y="23"/>
                  </a:lnTo>
                  <a:lnTo>
                    <a:pt x="270" y="21"/>
                  </a:lnTo>
                  <a:close/>
                  <a:moveTo>
                    <a:pt x="245" y="246"/>
                  </a:moveTo>
                  <a:lnTo>
                    <a:pt x="247" y="246"/>
                  </a:lnTo>
                  <a:lnTo>
                    <a:pt x="247" y="248"/>
                  </a:lnTo>
                  <a:lnTo>
                    <a:pt x="245" y="248"/>
                  </a:lnTo>
                  <a:lnTo>
                    <a:pt x="245" y="246"/>
                  </a:lnTo>
                  <a:close/>
                  <a:moveTo>
                    <a:pt x="203" y="203"/>
                  </a:moveTo>
                  <a:lnTo>
                    <a:pt x="203" y="205"/>
                  </a:lnTo>
                  <a:lnTo>
                    <a:pt x="203" y="203"/>
                  </a:lnTo>
                  <a:close/>
                  <a:moveTo>
                    <a:pt x="170" y="215"/>
                  </a:moveTo>
                  <a:lnTo>
                    <a:pt x="170" y="217"/>
                  </a:lnTo>
                  <a:lnTo>
                    <a:pt x="170" y="215"/>
                  </a:lnTo>
                  <a:close/>
                  <a:moveTo>
                    <a:pt x="147" y="213"/>
                  </a:moveTo>
                  <a:lnTo>
                    <a:pt x="149" y="213"/>
                  </a:lnTo>
                  <a:lnTo>
                    <a:pt x="149" y="215"/>
                  </a:lnTo>
                  <a:lnTo>
                    <a:pt x="147" y="215"/>
                  </a:lnTo>
                  <a:lnTo>
                    <a:pt x="147" y="213"/>
                  </a:lnTo>
                  <a:close/>
                  <a:moveTo>
                    <a:pt x="92" y="236"/>
                  </a:moveTo>
                  <a:lnTo>
                    <a:pt x="92" y="238"/>
                  </a:lnTo>
                  <a:lnTo>
                    <a:pt x="92" y="236"/>
                  </a:lnTo>
                  <a:close/>
                  <a:moveTo>
                    <a:pt x="168" y="207"/>
                  </a:moveTo>
                  <a:lnTo>
                    <a:pt x="170" y="207"/>
                  </a:lnTo>
                  <a:lnTo>
                    <a:pt x="168" y="207"/>
                  </a:lnTo>
                  <a:close/>
                  <a:moveTo>
                    <a:pt x="128" y="219"/>
                  </a:moveTo>
                  <a:lnTo>
                    <a:pt x="130" y="219"/>
                  </a:lnTo>
                  <a:lnTo>
                    <a:pt x="128" y="219"/>
                  </a:lnTo>
                  <a:close/>
                  <a:moveTo>
                    <a:pt x="245" y="192"/>
                  </a:moveTo>
                  <a:lnTo>
                    <a:pt x="247" y="192"/>
                  </a:lnTo>
                  <a:lnTo>
                    <a:pt x="247" y="194"/>
                  </a:lnTo>
                  <a:lnTo>
                    <a:pt x="245" y="194"/>
                  </a:lnTo>
                  <a:lnTo>
                    <a:pt x="245" y="192"/>
                  </a:lnTo>
                  <a:close/>
                  <a:moveTo>
                    <a:pt x="94" y="213"/>
                  </a:moveTo>
                  <a:lnTo>
                    <a:pt x="94" y="215"/>
                  </a:lnTo>
                  <a:lnTo>
                    <a:pt x="94" y="213"/>
                  </a:lnTo>
                  <a:close/>
                  <a:moveTo>
                    <a:pt x="128" y="219"/>
                  </a:moveTo>
                  <a:lnTo>
                    <a:pt x="128" y="221"/>
                  </a:lnTo>
                  <a:lnTo>
                    <a:pt x="128" y="219"/>
                  </a:lnTo>
                  <a:close/>
                  <a:moveTo>
                    <a:pt x="170" y="207"/>
                  </a:moveTo>
                  <a:lnTo>
                    <a:pt x="170" y="209"/>
                  </a:lnTo>
                  <a:lnTo>
                    <a:pt x="170" y="207"/>
                  </a:lnTo>
                  <a:close/>
                  <a:moveTo>
                    <a:pt x="96" y="234"/>
                  </a:moveTo>
                  <a:lnTo>
                    <a:pt x="97" y="234"/>
                  </a:lnTo>
                  <a:lnTo>
                    <a:pt x="96" y="234"/>
                  </a:lnTo>
                  <a:close/>
                  <a:moveTo>
                    <a:pt x="140" y="221"/>
                  </a:moveTo>
                  <a:lnTo>
                    <a:pt x="142" y="221"/>
                  </a:lnTo>
                  <a:lnTo>
                    <a:pt x="140" y="221"/>
                  </a:lnTo>
                  <a:close/>
                  <a:moveTo>
                    <a:pt x="253" y="280"/>
                  </a:moveTo>
                  <a:lnTo>
                    <a:pt x="255" y="280"/>
                  </a:lnTo>
                  <a:lnTo>
                    <a:pt x="253" y="280"/>
                  </a:lnTo>
                  <a:close/>
                  <a:moveTo>
                    <a:pt x="203" y="211"/>
                  </a:moveTo>
                  <a:lnTo>
                    <a:pt x="205" y="211"/>
                  </a:lnTo>
                  <a:lnTo>
                    <a:pt x="203" y="211"/>
                  </a:lnTo>
                  <a:close/>
                  <a:moveTo>
                    <a:pt x="201" y="201"/>
                  </a:moveTo>
                  <a:lnTo>
                    <a:pt x="201" y="203"/>
                  </a:lnTo>
                  <a:lnTo>
                    <a:pt x="201" y="201"/>
                  </a:lnTo>
                  <a:close/>
                  <a:moveTo>
                    <a:pt x="99" y="226"/>
                  </a:moveTo>
                  <a:lnTo>
                    <a:pt x="99" y="228"/>
                  </a:lnTo>
                  <a:lnTo>
                    <a:pt x="99" y="226"/>
                  </a:lnTo>
                  <a:close/>
                  <a:moveTo>
                    <a:pt x="109" y="224"/>
                  </a:moveTo>
                  <a:lnTo>
                    <a:pt x="109" y="226"/>
                  </a:lnTo>
                  <a:lnTo>
                    <a:pt x="109" y="224"/>
                  </a:lnTo>
                  <a:close/>
                  <a:moveTo>
                    <a:pt x="138" y="215"/>
                  </a:moveTo>
                  <a:lnTo>
                    <a:pt x="140" y="215"/>
                  </a:lnTo>
                  <a:lnTo>
                    <a:pt x="138" y="215"/>
                  </a:lnTo>
                  <a:close/>
                  <a:moveTo>
                    <a:pt x="96" y="290"/>
                  </a:moveTo>
                  <a:lnTo>
                    <a:pt x="97" y="290"/>
                  </a:lnTo>
                  <a:lnTo>
                    <a:pt x="96" y="290"/>
                  </a:lnTo>
                  <a:close/>
                  <a:moveTo>
                    <a:pt x="182" y="207"/>
                  </a:moveTo>
                  <a:lnTo>
                    <a:pt x="182" y="209"/>
                  </a:lnTo>
                  <a:lnTo>
                    <a:pt x="182" y="207"/>
                  </a:lnTo>
                  <a:close/>
                  <a:moveTo>
                    <a:pt x="115" y="213"/>
                  </a:moveTo>
                  <a:lnTo>
                    <a:pt x="117" y="213"/>
                  </a:lnTo>
                  <a:lnTo>
                    <a:pt x="115" y="213"/>
                  </a:lnTo>
                  <a:close/>
                  <a:moveTo>
                    <a:pt x="238" y="213"/>
                  </a:moveTo>
                  <a:lnTo>
                    <a:pt x="238" y="215"/>
                  </a:lnTo>
                  <a:lnTo>
                    <a:pt x="238" y="213"/>
                  </a:lnTo>
                  <a:close/>
                  <a:moveTo>
                    <a:pt x="136" y="234"/>
                  </a:moveTo>
                  <a:lnTo>
                    <a:pt x="138" y="234"/>
                  </a:lnTo>
                  <a:lnTo>
                    <a:pt x="136" y="234"/>
                  </a:lnTo>
                  <a:close/>
                  <a:moveTo>
                    <a:pt x="165" y="207"/>
                  </a:moveTo>
                  <a:lnTo>
                    <a:pt x="167" y="207"/>
                  </a:lnTo>
                  <a:lnTo>
                    <a:pt x="165" y="207"/>
                  </a:lnTo>
                  <a:close/>
                  <a:moveTo>
                    <a:pt x="96" y="230"/>
                  </a:moveTo>
                  <a:lnTo>
                    <a:pt x="97" y="230"/>
                  </a:lnTo>
                  <a:lnTo>
                    <a:pt x="96" y="230"/>
                  </a:lnTo>
                  <a:close/>
                  <a:moveTo>
                    <a:pt x="140" y="219"/>
                  </a:moveTo>
                  <a:lnTo>
                    <a:pt x="142" y="219"/>
                  </a:lnTo>
                  <a:lnTo>
                    <a:pt x="140" y="219"/>
                  </a:lnTo>
                  <a:close/>
                  <a:moveTo>
                    <a:pt x="140" y="232"/>
                  </a:moveTo>
                  <a:lnTo>
                    <a:pt x="140" y="234"/>
                  </a:lnTo>
                  <a:lnTo>
                    <a:pt x="140" y="232"/>
                  </a:lnTo>
                  <a:close/>
                  <a:moveTo>
                    <a:pt x="270" y="384"/>
                  </a:moveTo>
                  <a:lnTo>
                    <a:pt x="272" y="384"/>
                  </a:lnTo>
                  <a:lnTo>
                    <a:pt x="270" y="384"/>
                  </a:lnTo>
                  <a:close/>
                  <a:moveTo>
                    <a:pt x="245" y="234"/>
                  </a:moveTo>
                  <a:lnTo>
                    <a:pt x="245" y="236"/>
                  </a:lnTo>
                  <a:lnTo>
                    <a:pt x="245" y="234"/>
                  </a:lnTo>
                  <a:close/>
                  <a:moveTo>
                    <a:pt x="138" y="219"/>
                  </a:moveTo>
                  <a:lnTo>
                    <a:pt x="140" y="219"/>
                  </a:lnTo>
                  <a:lnTo>
                    <a:pt x="138" y="219"/>
                  </a:lnTo>
                  <a:close/>
                  <a:moveTo>
                    <a:pt x="272" y="138"/>
                  </a:moveTo>
                  <a:lnTo>
                    <a:pt x="272" y="140"/>
                  </a:lnTo>
                  <a:lnTo>
                    <a:pt x="272" y="138"/>
                  </a:lnTo>
                  <a:close/>
                  <a:moveTo>
                    <a:pt x="94" y="213"/>
                  </a:moveTo>
                  <a:lnTo>
                    <a:pt x="96" y="213"/>
                  </a:lnTo>
                  <a:lnTo>
                    <a:pt x="94" y="213"/>
                  </a:lnTo>
                  <a:close/>
                  <a:moveTo>
                    <a:pt x="94" y="236"/>
                  </a:moveTo>
                  <a:lnTo>
                    <a:pt x="94" y="238"/>
                  </a:lnTo>
                  <a:lnTo>
                    <a:pt x="94" y="236"/>
                  </a:lnTo>
                  <a:close/>
                  <a:moveTo>
                    <a:pt x="280" y="328"/>
                  </a:moveTo>
                  <a:lnTo>
                    <a:pt x="282" y="328"/>
                  </a:lnTo>
                  <a:lnTo>
                    <a:pt x="280" y="328"/>
                  </a:lnTo>
                  <a:close/>
                  <a:moveTo>
                    <a:pt x="76" y="324"/>
                  </a:moveTo>
                  <a:lnTo>
                    <a:pt x="78" y="324"/>
                  </a:lnTo>
                  <a:lnTo>
                    <a:pt x="76" y="324"/>
                  </a:lnTo>
                  <a:close/>
                  <a:moveTo>
                    <a:pt x="115" y="217"/>
                  </a:moveTo>
                  <a:lnTo>
                    <a:pt x="115" y="219"/>
                  </a:lnTo>
                  <a:lnTo>
                    <a:pt x="115" y="217"/>
                  </a:lnTo>
                  <a:close/>
                  <a:moveTo>
                    <a:pt x="332" y="46"/>
                  </a:moveTo>
                  <a:lnTo>
                    <a:pt x="332" y="48"/>
                  </a:lnTo>
                  <a:lnTo>
                    <a:pt x="332" y="46"/>
                  </a:lnTo>
                  <a:close/>
                  <a:moveTo>
                    <a:pt x="111" y="246"/>
                  </a:moveTo>
                  <a:lnTo>
                    <a:pt x="113" y="246"/>
                  </a:lnTo>
                  <a:lnTo>
                    <a:pt x="111" y="246"/>
                  </a:lnTo>
                  <a:close/>
                  <a:moveTo>
                    <a:pt x="153" y="219"/>
                  </a:moveTo>
                  <a:lnTo>
                    <a:pt x="153" y="221"/>
                  </a:lnTo>
                  <a:lnTo>
                    <a:pt x="153" y="219"/>
                  </a:lnTo>
                  <a:close/>
                  <a:moveTo>
                    <a:pt x="140" y="221"/>
                  </a:moveTo>
                  <a:lnTo>
                    <a:pt x="142" y="221"/>
                  </a:lnTo>
                  <a:lnTo>
                    <a:pt x="140" y="221"/>
                  </a:lnTo>
                  <a:close/>
                  <a:moveTo>
                    <a:pt x="165" y="207"/>
                  </a:moveTo>
                  <a:lnTo>
                    <a:pt x="167" y="207"/>
                  </a:lnTo>
                  <a:lnTo>
                    <a:pt x="165" y="207"/>
                  </a:lnTo>
                  <a:close/>
                  <a:moveTo>
                    <a:pt x="26" y="374"/>
                  </a:moveTo>
                  <a:lnTo>
                    <a:pt x="26" y="376"/>
                  </a:lnTo>
                  <a:lnTo>
                    <a:pt x="26" y="374"/>
                  </a:lnTo>
                  <a:close/>
                  <a:moveTo>
                    <a:pt x="96" y="294"/>
                  </a:moveTo>
                  <a:lnTo>
                    <a:pt x="97" y="294"/>
                  </a:lnTo>
                  <a:lnTo>
                    <a:pt x="96" y="294"/>
                  </a:lnTo>
                  <a:close/>
                  <a:moveTo>
                    <a:pt x="72" y="349"/>
                  </a:moveTo>
                  <a:lnTo>
                    <a:pt x="74" y="349"/>
                  </a:lnTo>
                  <a:lnTo>
                    <a:pt x="72" y="349"/>
                  </a:lnTo>
                  <a:close/>
                  <a:moveTo>
                    <a:pt x="132" y="223"/>
                  </a:moveTo>
                  <a:lnTo>
                    <a:pt x="134" y="223"/>
                  </a:lnTo>
                  <a:lnTo>
                    <a:pt x="132" y="223"/>
                  </a:lnTo>
                  <a:close/>
                  <a:moveTo>
                    <a:pt x="168" y="207"/>
                  </a:moveTo>
                  <a:lnTo>
                    <a:pt x="170" y="207"/>
                  </a:lnTo>
                  <a:lnTo>
                    <a:pt x="170" y="209"/>
                  </a:lnTo>
                  <a:lnTo>
                    <a:pt x="168" y="209"/>
                  </a:lnTo>
                  <a:lnTo>
                    <a:pt x="168" y="207"/>
                  </a:lnTo>
                  <a:close/>
                  <a:moveTo>
                    <a:pt x="247" y="82"/>
                  </a:moveTo>
                  <a:lnTo>
                    <a:pt x="247" y="84"/>
                  </a:lnTo>
                  <a:lnTo>
                    <a:pt x="247" y="82"/>
                  </a:lnTo>
                  <a:close/>
                  <a:moveTo>
                    <a:pt x="170" y="223"/>
                  </a:moveTo>
                  <a:lnTo>
                    <a:pt x="172" y="223"/>
                  </a:lnTo>
                  <a:lnTo>
                    <a:pt x="170" y="223"/>
                  </a:lnTo>
                  <a:close/>
                  <a:moveTo>
                    <a:pt x="266" y="140"/>
                  </a:moveTo>
                  <a:lnTo>
                    <a:pt x="266" y="142"/>
                  </a:lnTo>
                  <a:lnTo>
                    <a:pt x="266" y="140"/>
                  </a:lnTo>
                  <a:close/>
                  <a:moveTo>
                    <a:pt x="63" y="351"/>
                  </a:moveTo>
                  <a:lnTo>
                    <a:pt x="63" y="353"/>
                  </a:lnTo>
                  <a:lnTo>
                    <a:pt x="63" y="351"/>
                  </a:lnTo>
                  <a:close/>
                  <a:moveTo>
                    <a:pt x="111" y="242"/>
                  </a:moveTo>
                  <a:lnTo>
                    <a:pt x="113" y="242"/>
                  </a:lnTo>
                  <a:lnTo>
                    <a:pt x="111" y="242"/>
                  </a:lnTo>
                  <a:close/>
                  <a:moveTo>
                    <a:pt x="140" y="240"/>
                  </a:moveTo>
                  <a:lnTo>
                    <a:pt x="140" y="242"/>
                  </a:lnTo>
                  <a:lnTo>
                    <a:pt x="140" y="240"/>
                  </a:lnTo>
                  <a:close/>
                  <a:moveTo>
                    <a:pt x="280" y="345"/>
                  </a:moveTo>
                  <a:lnTo>
                    <a:pt x="282" y="345"/>
                  </a:lnTo>
                  <a:lnTo>
                    <a:pt x="280" y="345"/>
                  </a:lnTo>
                  <a:close/>
                  <a:moveTo>
                    <a:pt x="88" y="238"/>
                  </a:moveTo>
                  <a:lnTo>
                    <a:pt x="90" y="238"/>
                  </a:lnTo>
                  <a:lnTo>
                    <a:pt x="88" y="238"/>
                  </a:lnTo>
                  <a:close/>
                  <a:moveTo>
                    <a:pt x="78" y="255"/>
                  </a:moveTo>
                  <a:lnTo>
                    <a:pt x="80" y="255"/>
                  </a:lnTo>
                  <a:lnTo>
                    <a:pt x="78" y="255"/>
                  </a:lnTo>
                  <a:close/>
                  <a:moveTo>
                    <a:pt x="245" y="192"/>
                  </a:moveTo>
                  <a:lnTo>
                    <a:pt x="247" y="192"/>
                  </a:lnTo>
                  <a:lnTo>
                    <a:pt x="245" y="192"/>
                  </a:lnTo>
                  <a:close/>
                  <a:moveTo>
                    <a:pt x="176" y="215"/>
                  </a:moveTo>
                  <a:lnTo>
                    <a:pt x="178" y="215"/>
                  </a:lnTo>
                  <a:lnTo>
                    <a:pt x="176" y="215"/>
                  </a:lnTo>
                  <a:close/>
                  <a:moveTo>
                    <a:pt x="163" y="211"/>
                  </a:moveTo>
                  <a:lnTo>
                    <a:pt x="165" y="211"/>
                  </a:lnTo>
                  <a:lnTo>
                    <a:pt x="163" y="211"/>
                  </a:lnTo>
                  <a:close/>
                  <a:moveTo>
                    <a:pt x="63" y="351"/>
                  </a:moveTo>
                  <a:lnTo>
                    <a:pt x="63" y="353"/>
                  </a:lnTo>
                  <a:lnTo>
                    <a:pt x="63" y="351"/>
                  </a:lnTo>
                  <a:close/>
                  <a:moveTo>
                    <a:pt x="136" y="219"/>
                  </a:moveTo>
                  <a:lnTo>
                    <a:pt x="136" y="221"/>
                  </a:lnTo>
                  <a:lnTo>
                    <a:pt x="136" y="219"/>
                  </a:lnTo>
                  <a:close/>
                  <a:moveTo>
                    <a:pt x="94" y="215"/>
                  </a:moveTo>
                  <a:lnTo>
                    <a:pt x="96" y="215"/>
                  </a:lnTo>
                  <a:lnTo>
                    <a:pt x="94" y="215"/>
                  </a:lnTo>
                  <a:close/>
                  <a:moveTo>
                    <a:pt x="72" y="338"/>
                  </a:moveTo>
                  <a:lnTo>
                    <a:pt x="72" y="340"/>
                  </a:lnTo>
                  <a:lnTo>
                    <a:pt x="72" y="338"/>
                  </a:lnTo>
                  <a:close/>
                  <a:moveTo>
                    <a:pt x="205" y="207"/>
                  </a:moveTo>
                  <a:lnTo>
                    <a:pt x="207" y="207"/>
                  </a:lnTo>
                  <a:lnTo>
                    <a:pt x="205" y="207"/>
                  </a:lnTo>
                  <a:close/>
                  <a:moveTo>
                    <a:pt x="99" y="228"/>
                  </a:moveTo>
                  <a:lnTo>
                    <a:pt x="99" y="230"/>
                  </a:lnTo>
                  <a:lnTo>
                    <a:pt x="99" y="228"/>
                  </a:lnTo>
                  <a:close/>
                  <a:moveTo>
                    <a:pt x="134" y="221"/>
                  </a:moveTo>
                  <a:lnTo>
                    <a:pt x="136" y="221"/>
                  </a:lnTo>
                  <a:lnTo>
                    <a:pt x="134" y="221"/>
                  </a:lnTo>
                  <a:close/>
                  <a:moveTo>
                    <a:pt x="180" y="207"/>
                  </a:moveTo>
                  <a:lnTo>
                    <a:pt x="180" y="209"/>
                  </a:lnTo>
                  <a:lnTo>
                    <a:pt x="180" y="207"/>
                  </a:lnTo>
                  <a:close/>
                  <a:moveTo>
                    <a:pt x="205" y="207"/>
                  </a:moveTo>
                  <a:lnTo>
                    <a:pt x="207" y="207"/>
                  </a:lnTo>
                  <a:lnTo>
                    <a:pt x="205" y="207"/>
                  </a:lnTo>
                  <a:close/>
                  <a:moveTo>
                    <a:pt x="245" y="196"/>
                  </a:moveTo>
                  <a:lnTo>
                    <a:pt x="245" y="198"/>
                  </a:lnTo>
                  <a:lnTo>
                    <a:pt x="245" y="196"/>
                  </a:lnTo>
                  <a:close/>
                  <a:moveTo>
                    <a:pt x="86" y="242"/>
                  </a:moveTo>
                  <a:lnTo>
                    <a:pt x="88" y="242"/>
                  </a:lnTo>
                  <a:lnTo>
                    <a:pt x="86" y="242"/>
                  </a:lnTo>
                  <a:close/>
                  <a:moveTo>
                    <a:pt x="165" y="207"/>
                  </a:moveTo>
                  <a:lnTo>
                    <a:pt x="167" y="207"/>
                  </a:lnTo>
                  <a:lnTo>
                    <a:pt x="165" y="207"/>
                  </a:lnTo>
                  <a:close/>
                  <a:moveTo>
                    <a:pt x="103" y="226"/>
                  </a:moveTo>
                  <a:lnTo>
                    <a:pt x="103" y="228"/>
                  </a:lnTo>
                  <a:lnTo>
                    <a:pt x="103" y="226"/>
                  </a:lnTo>
                  <a:close/>
                  <a:moveTo>
                    <a:pt x="143" y="217"/>
                  </a:moveTo>
                  <a:lnTo>
                    <a:pt x="145" y="217"/>
                  </a:lnTo>
                  <a:lnTo>
                    <a:pt x="143" y="217"/>
                  </a:lnTo>
                  <a:close/>
                  <a:moveTo>
                    <a:pt x="134" y="221"/>
                  </a:moveTo>
                  <a:lnTo>
                    <a:pt x="134" y="223"/>
                  </a:lnTo>
                  <a:lnTo>
                    <a:pt x="134" y="221"/>
                  </a:lnTo>
                  <a:close/>
                  <a:moveTo>
                    <a:pt x="149" y="217"/>
                  </a:moveTo>
                  <a:lnTo>
                    <a:pt x="149" y="219"/>
                  </a:lnTo>
                  <a:lnTo>
                    <a:pt x="149" y="217"/>
                  </a:lnTo>
                  <a:close/>
                  <a:moveTo>
                    <a:pt x="176" y="211"/>
                  </a:moveTo>
                  <a:lnTo>
                    <a:pt x="176" y="213"/>
                  </a:lnTo>
                  <a:lnTo>
                    <a:pt x="176" y="211"/>
                  </a:lnTo>
                  <a:close/>
                  <a:moveTo>
                    <a:pt x="205" y="209"/>
                  </a:moveTo>
                  <a:lnTo>
                    <a:pt x="205" y="211"/>
                  </a:lnTo>
                  <a:lnTo>
                    <a:pt x="205" y="209"/>
                  </a:lnTo>
                  <a:close/>
                  <a:moveTo>
                    <a:pt x="90" y="234"/>
                  </a:moveTo>
                  <a:lnTo>
                    <a:pt x="92" y="234"/>
                  </a:lnTo>
                  <a:lnTo>
                    <a:pt x="90" y="234"/>
                  </a:lnTo>
                  <a:close/>
                  <a:moveTo>
                    <a:pt x="174" y="213"/>
                  </a:moveTo>
                  <a:lnTo>
                    <a:pt x="176" y="213"/>
                  </a:lnTo>
                  <a:lnTo>
                    <a:pt x="174" y="213"/>
                  </a:lnTo>
                  <a:close/>
                  <a:moveTo>
                    <a:pt x="105" y="265"/>
                  </a:moveTo>
                  <a:lnTo>
                    <a:pt x="105" y="267"/>
                  </a:lnTo>
                  <a:lnTo>
                    <a:pt x="105" y="265"/>
                  </a:lnTo>
                  <a:close/>
                  <a:moveTo>
                    <a:pt x="145" y="215"/>
                  </a:moveTo>
                  <a:lnTo>
                    <a:pt x="147" y="215"/>
                  </a:lnTo>
                  <a:lnTo>
                    <a:pt x="145" y="215"/>
                  </a:lnTo>
                  <a:close/>
                  <a:moveTo>
                    <a:pt x="107" y="248"/>
                  </a:moveTo>
                  <a:lnTo>
                    <a:pt x="109" y="248"/>
                  </a:lnTo>
                  <a:lnTo>
                    <a:pt x="107" y="248"/>
                  </a:lnTo>
                  <a:close/>
                  <a:moveTo>
                    <a:pt x="266" y="140"/>
                  </a:moveTo>
                  <a:lnTo>
                    <a:pt x="266" y="142"/>
                  </a:lnTo>
                  <a:lnTo>
                    <a:pt x="266" y="140"/>
                  </a:lnTo>
                  <a:close/>
                  <a:moveTo>
                    <a:pt x="138" y="219"/>
                  </a:moveTo>
                  <a:lnTo>
                    <a:pt x="138" y="221"/>
                  </a:lnTo>
                  <a:lnTo>
                    <a:pt x="138" y="219"/>
                  </a:lnTo>
                  <a:close/>
                  <a:moveTo>
                    <a:pt x="153" y="215"/>
                  </a:moveTo>
                  <a:lnTo>
                    <a:pt x="155" y="215"/>
                  </a:lnTo>
                  <a:lnTo>
                    <a:pt x="153" y="215"/>
                  </a:lnTo>
                  <a:close/>
                  <a:moveTo>
                    <a:pt x="138" y="236"/>
                  </a:moveTo>
                  <a:lnTo>
                    <a:pt x="140" y="236"/>
                  </a:lnTo>
                  <a:lnTo>
                    <a:pt x="138" y="236"/>
                  </a:lnTo>
                  <a:close/>
                  <a:moveTo>
                    <a:pt x="142" y="221"/>
                  </a:moveTo>
                  <a:lnTo>
                    <a:pt x="142" y="223"/>
                  </a:lnTo>
                  <a:lnTo>
                    <a:pt x="142" y="221"/>
                  </a:lnTo>
                  <a:close/>
                  <a:moveTo>
                    <a:pt x="178" y="217"/>
                  </a:moveTo>
                  <a:lnTo>
                    <a:pt x="178" y="219"/>
                  </a:lnTo>
                  <a:lnTo>
                    <a:pt x="178" y="217"/>
                  </a:lnTo>
                  <a:close/>
                  <a:moveTo>
                    <a:pt x="163" y="211"/>
                  </a:moveTo>
                  <a:lnTo>
                    <a:pt x="163" y="213"/>
                  </a:lnTo>
                  <a:lnTo>
                    <a:pt x="163" y="211"/>
                  </a:lnTo>
                  <a:close/>
                  <a:moveTo>
                    <a:pt x="149" y="215"/>
                  </a:moveTo>
                  <a:lnTo>
                    <a:pt x="149" y="217"/>
                  </a:lnTo>
                  <a:lnTo>
                    <a:pt x="149" y="215"/>
                  </a:lnTo>
                  <a:close/>
                  <a:moveTo>
                    <a:pt x="282" y="336"/>
                  </a:moveTo>
                  <a:lnTo>
                    <a:pt x="282" y="338"/>
                  </a:lnTo>
                  <a:lnTo>
                    <a:pt x="282" y="336"/>
                  </a:lnTo>
                  <a:close/>
                  <a:moveTo>
                    <a:pt x="72" y="340"/>
                  </a:moveTo>
                  <a:lnTo>
                    <a:pt x="74" y="340"/>
                  </a:lnTo>
                  <a:lnTo>
                    <a:pt x="72" y="340"/>
                  </a:lnTo>
                  <a:close/>
                  <a:moveTo>
                    <a:pt x="71" y="344"/>
                  </a:moveTo>
                  <a:lnTo>
                    <a:pt x="71" y="345"/>
                  </a:lnTo>
                  <a:lnTo>
                    <a:pt x="71" y="344"/>
                  </a:lnTo>
                  <a:close/>
                  <a:moveTo>
                    <a:pt x="88" y="309"/>
                  </a:moveTo>
                  <a:lnTo>
                    <a:pt x="90" y="309"/>
                  </a:lnTo>
                  <a:lnTo>
                    <a:pt x="88" y="309"/>
                  </a:lnTo>
                  <a:close/>
                  <a:moveTo>
                    <a:pt x="143" y="215"/>
                  </a:moveTo>
                  <a:lnTo>
                    <a:pt x="143" y="217"/>
                  </a:lnTo>
                  <a:lnTo>
                    <a:pt x="143" y="215"/>
                  </a:lnTo>
                  <a:close/>
                  <a:moveTo>
                    <a:pt x="138" y="228"/>
                  </a:moveTo>
                  <a:lnTo>
                    <a:pt x="138" y="230"/>
                  </a:lnTo>
                  <a:lnTo>
                    <a:pt x="138" y="228"/>
                  </a:lnTo>
                  <a:close/>
                  <a:moveTo>
                    <a:pt x="105" y="253"/>
                  </a:moveTo>
                  <a:lnTo>
                    <a:pt x="105" y="255"/>
                  </a:lnTo>
                  <a:lnTo>
                    <a:pt x="105" y="253"/>
                  </a:lnTo>
                  <a:close/>
                  <a:moveTo>
                    <a:pt x="97" y="290"/>
                  </a:moveTo>
                  <a:lnTo>
                    <a:pt x="97" y="292"/>
                  </a:lnTo>
                  <a:lnTo>
                    <a:pt x="97" y="290"/>
                  </a:lnTo>
                  <a:close/>
                  <a:moveTo>
                    <a:pt x="17" y="380"/>
                  </a:moveTo>
                  <a:lnTo>
                    <a:pt x="19" y="380"/>
                  </a:lnTo>
                  <a:lnTo>
                    <a:pt x="17" y="380"/>
                  </a:lnTo>
                  <a:close/>
                  <a:moveTo>
                    <a:pt x="168" y="207"/>
                  </a:moveTo>
                  <a:lnTo>
                    <a:pt x="168" y="209"/>
                  </a:lnTo>
                  <a:lnTo>
                    <a:pt x="168" y="207"/>
                  </a:lnTo>
                  <a:close/>
                  <a:moveTo>
                    <a:pt x="145" y="215"/>
                  </a:moveTo>
                  <a:lnTo>
                    <a:pt x="147" y="215"/>
                  </a:lnTo>
                  <a:lnTo>
                    <a:pt x="145" y="215"/>
                  </a:lnTo>
                  <a:close/>
                  <a:moveTo>
                    <a:pt x="178" y="217"/>
                  </a:moveTo>
                  <a:lnTo>
                    <a:pt x="178" y="219"/>
                  </a:lnTo>
                  <a:lnTo>
                    <a:pt x="178" y="217"/>
                  </a:lnTo>
                  <a:close/>
                  <a:moveTo>
                    <a:pt x="138" y="219"/>
                  </a:moveTo>
                  <a:lnTo>
                    <a:pt x="140" y="219"/>
                  </a:lnTo>
                  <a:lnTo>
                    <a:pt x="138" y="219"/>
                  </a:lnTo>
                  <a:close/>
                  <a:moveTo>
                    <a:pt x="117" y="213"/>
                  </a:moveTo>
                  <a:lnTo>
                    <a:pt x="119" y="213"/>
                  </a:lnTo>
                  <a:lnTo>
                    <a:pt x="117" y="213"/>
                  </a:lnTo>
                  <a:close/>
                  <a:moveTo>
                    <a:pt x="161" y="211"/>
                  </a:moveTo>
                  <a:lnTo>
                    <a:pt x="163" y="211"/>
                  </a:lnTo>
                  <a:lnTo>
                    <a:pt x="161" y="211"/>
                  </a:lnTo>
                  <a:close/>
                  <a:moveTo>
                    <a:pt x="96" y="236"/>
                  </a:moveTo>
                  <a:lnTo>
                    <a:pt x="96" y="238"/>
                  </a:lnTo>
                  <a:lnTo>
                    <a:pt x="96" y="236"/>
                  </a:lnTo>
                  <a:close/>
                  <a:moveTo>
                    <a:pt x="278" y="121"/>
                  </a:moveTo>
                  <a:lnTo>
                    <a:pt x="280" y="121"/>
                  </a:lnTo>
                  <a:lnTo>
                    <a:pt x="278" y="121"/>
                  </a:lnTo>
                  <a:close/>
                  <a:moveTo>
                    <a:pt x="161" y="211"/>
                  </a:moveTo>
                  <a:lnTo>
                    <a:pt x="163" y="211"/>
                  </a:lnTo>
                  <a:lnTo>
                    <a:pt x="161" y="211"/>
                  </a:lnTo>
                  <a:close/>
                  <a:moveTo>
                    <a:pt x="128" y="246"/>
                  </a:moveTo>
                  <a:lnTo>
                    <a:pt x="128" y="248"/>
                  </a:lnTo>
                  <a:lnTo>
                    <a:pt x="128" y="246"/>
                  </a:lnTo>
                  <a:close/>
                  <a:moveTo>
                    <a:pt x="272" y="140"/>
                  </a:moveTo>
                  <a:lnTo>
                    <a:pt x="274" y="140"/>
                  </a:lnTo>
                  <a:lnTo>
                    <a:pt x="272" y="140"/>
                  </a:lnTo>
                  <a:close/>
                  <a:moveTo>
                    <a:pt x="205" y="209"/>
                  </a:moveTo>
                  <a:lnTo>
                    <a:pt x="205" y="211"/>
                  </a:lnTo>
                  <a:lnTo>
                    <a:pt x="205" y="209"/>
                  </a:lnTo>
                  <a:close/>
                  <a:moveTo>
                    <a:pt x="163" y="213"/>
                  </a:moveTo>
                  <a:lnTo>
                    <a:pt x="165" y="213"/>
                  </a:lnTo>
                  <a:lnTo>
                    <a:pt x="163" y="213"/>
                  </a:lnTo>
                  <a:close/>
                  <a:moveTo>
                    <a:pt x="103" y="251"/>
                  </a:moveTo>
                  <a:lnTo>
                    <a:pt x="105" y="251"/>
                  </a:lnTo>
                  <a:lnTo>
                    <a:pt x="103" y="251"/>
                  </a:lnTo>
                  <a:close/>
                  <a:moveTo>
                    <a:pt x="132" y="224"/>
                  </a:moveTo>
                  <a:lnTo>
                    <a:pt x="134" y="224"/>
                  </a:lnTo>
                  <a:lnTo>
                    <a:pt x="132" y="224"/>
                  </a:lnTo>
                  <a:close/>
                  <a:moveTo>
                    <a:pt x="113" y="219"/>
                  </a:moveTo>
                  <a:lnTo>
                    <a:pt x="115" y="219"/>
                  </a:lnTo>
                  <a:lnTo>
                    <a:pt x="115" y="221"/>
                  </a:lnTo>
                  <a:lnTo>
                    <a:pt x="113" y="221"/>
                  </a:lnTo>
                  <a:lnTo>
                    <a:pt x="113" y="219"/>
                  </a:lnTo>
                  <a:close/>
                  <a:moveTo>
                    <a:pt x="155" y="211"/>
                  </a:moveTo>
                  <a:lnTo>
                    <a:pt x="155" y="213"/>
                  </a:lnTo>
                  <a:lnTo>
                    <a:pt x="155" y="211"/>
                  </a:lnTo>
                  <a:close/>
                  <a:moveTo>
                    <a:pt x="105" y="249"/>
                  </a:moveTo>
                  <a:lnTo>
                    <a:pt x="107" y="249"/>
                  </a:lnTo>
                  <a:lnTo>
                    <a:pt x="107" y="251"/>
                  </a:lnTo>
                  <a:lnTo>
                    <a:pt x="105" y="251"/>
                  </a:lnTo>
                  <a:lnTo>
                    <a:pt x="105" y="249"/>
                  </a:lnTo>
                  <a:close/>
                  <a:moveTo>
                    <a:pt x="145" y="217"/>
                  </a:moveTo>
                  <a:lnTo>
                    <a:pt x="147" y="217"/>
                  </a:lnTo>
                  <a:lnTo>
                    <a:pt x="145" y="217"/>
                  </a:lnTo>
                  <a:close/>
                  <a:moveTo>
                    <a:pt x="138" y="217"/>
                  </a:moveTo>
                  <a:lnTo>
                    <a:pt x="140" y="217"/>
                  </a:lnTo>
                  <a:lnTo>
                    <a:pt x="138" y="217"/>
                  </a:lnTo>
                  <a:close/>
                  <a:moveTo>
                    <a:pt x="92" y="213"/>
                  </a:moveTo>
                  <a:lnTo>
                    <a:pt x="94" y="213"/>
                  </a:lnTo>
                  <a:lnTo>
                    <a:pt x="92" y="213"/>
                  </a:lnTo>
                  <a:close/>
                  <a:moveTo>
                    <a:pt x="130" y="236"/>
                  </a:moveTo>
                  <a:lnTo>
                    <a:pt x="132" y="236"/>
                  </a:lnTo>
                  <a:lnTo>
                    <a:pt x="130" y="236"/>
                  </a:lnTo>
                  <a:close/>
                  <a:moveTo>
                    <a:pt x="130" y="232"/>
                  </a:moveTo>
                  <a:lnTo>
                    <a:pt x="132" y="232"/>
                  </a:lnTo>
                  <a:lnTo>
                    <a:pt x="132" y="234"/>
                  </a:lnTo>
                  <a:lnTo>
                    <a:pt x="130" y="234"/>
                  </a:lnTo>
                  <a:lnTo>
                    <a:pt x="130" y="232"/>
                  </a:lnTo>
                  <a:close/>
                  <a:moveTo>
                    <a:pt x="92" y="321"/>
                  </a:moveTo>
                  <a:lnTo>
                    <a:pt x="92" y="322"/>
                  </a:lnTo>
                  <a:lnTo>
                    <a:pt x="92" y="321"/>
                  </a:lnTo>
                  <a:close/>
                  <a:moveTo>
                    <a:pt x="239" y="213"/>
                  </a:moveTo>
                  <a:lnTo>
                    <a:pt x="239" y="215"/>
                  </a:lnTo>
                  <a:lnTo>
                    <a:pt x="239" y="213"/>
                  </a:lnTo>
                  <a:close/>
                  <a:moveTo>
                    <a:pt x="157" y="215"/>
                  </a:moveTo>
                  <a:lnTo>
                    <a:pt x="157" y="217"/>
                  </a:lnTo>
                  <a:lnTo>
                    <a:pt x="157" y="215"/>
                  </a:lnTo>
                  <a:close/>
                  <a:moveTo>
                    <a:pt x="109" y="244"/>
                  </a:moveTo>
                  <a:lnTo>
                    <a:pt x="111" y="244"/>
                  </a:lnTo>
                  <a:lnTo>
                    <a:pt x="109" y="244"/>
                  </a:lnTo>
                  <a:close/>
                  <a:moveTo>
                    <a:pt x="97" y="234"/>
                  </a:moveTo>
                  <a:lnTo>
                    <a:pt x="99" y="234"/>
                  </a:lnTo>
                  <a:lnTo>
                    <a:pt x="97" y="234"/>
                  </a:lnTo>
                  <a:close/>
                  <a:moveTo>
                    <a:pt x="113" y="259"/>
                  </a:moveTo>
                  <a:lnTo>
                    <a:pt x="115" y="259"/>
                  </a:lnTo>
                  <a:lnTo>
                    <a:pt x="113" y="259"/>
                  </a:lnTo>
                  <a:close/>
                  <a:moveTo>
                    <a:pt x="128" y="246"/>
                  </a:moveTo>
                  <a:lnTo>
                    <a:pt x="128" y="248"/>
                  </a:lnTo>
                  <a:lnTo>
                    <a:pt x="128" y="246"/>
                  </a:lnTo>
                  <a:close/>
                  <a:moveTo>
                    <a:pt x="138" y="236"/>
                  </a:moveTo>
                  <a:lnTo>
                    <a:pt x="140" y="236"/>
                  </a:lnTo>
                  <a:lnTo>
                    <a:pt x="138" y="236"/>
                  </a:lnTo>
                  <a:close/>
                  <a:moveTo>
                    <a:pt x="226" y="203"/>
                  </a:moveTo>
                  <a:lnTo>
                    <a:pt x="226" y="205"/>
                  </a:lnTo>
                  <a:lnTo>
                    <a:pt x="226" y="203"/>
                  </a:lnTo>
                  <a:close/>
                  <a:moveTo>
                    <a:pt x="272" y="134"/>
                  </a:moveTo>
                  <a:lnTo>
                    <a:pt x="272" y="136"/>
                  </a:lnTo>
                  <a:lnTo>
                    <a:pt x="272" y="134"/>
                  </a:lnTo>
                  <a:close/>
                  <a:moveTo>
                    <a:pt x="140" y="232"/>
                  </a:moveTo>
                  <a:lnTo>
                    <a:pt x="140" y="234"/>
                  </a:lnTo>
                  <a:lnTo>
                    <a:pt x="140" y="232"/>
                  </a:lnTo>
                  <a:close/>
                  <a:moveTo>
                    <a:pt x="97" y="234"/>
                  </a:moveTo>
                  <a:lnTo>
                    <a:pt x="99" y="234"/>
                  </a:lnTo>
                  <a:lnTo>
                    <a:pt x="97" y="234"/>
                  </a:lnTo>
                  <a:close/>
                  <a:moveTo>
                    <a:pt x="332" y="46"/>
                  </a:moveTo>
                  <a:lnTo>
                    <a:pt x="334" y="46"/>
                  </a:lnTo>
                  <a:lnTo>
                    <a:pt x="332" y="46"/>
                  </a:lnTo>
                  <a:close/>
                  <a:moveTo>
                    <a:pt x="88" y="240"/>
                  </a:moveTo>
                  <a:lnTo>
                    <a:pt x="88" y="242"/>
                  </a:lnTo>
                  <a:lnTo>
                    <a:pt x="88" y="240"/>
                  </a:lnTo>
                  <a:close/>
                  <a:moveTo>
                    <a:pt x="153" y="213"/>
                  </a:moveTo>
                  <a:lnTo>
                    <a:pt x="155" y="213"/>
                  </a:lnTo>
                  <a:lnTo>
                    <a:pt x="153" y="213"/>
                  </a:lnTo>
                  <a:close/>
                  <a:moveTo>
                    <a:pt x="266" y="140"/>
                  </a:moveTo>
                  <a:lnTo>
                    <a:pt x="266" y="142"/>
                  </a:lnTo>
                  <a:lnTo>
                    <a:pt x="266" y="140"/>
                  </a:lnTo>
                  <a:close/>
                  <a:moveTo>
                    <a:pt x="264" y="140"/>
                  </a:moveTo>
                  <a:lnTo>
                    <a:pt x="264" y="142"/>
                  </a:lnTo>
                  <a:lnTo>
                    <a:pt x="264" y="140"/>
                  </a:lnTo>
                  <a:close/>
                  <a:moveTo>
                    <a:pt x="178" y="219"/>
                  </a:moveTo>
                  <a:lnTo>
                    <a:pt x="178" y="221"/>
                  </a:lnTo>
                  <a:lnTo>
                    <a:pt x="178" y="219"/>
                  </a:lnTo>
                  <a:close/>
                  <a:moveTo>
                    <a:pt x="132" y="223"/>
                  </a:moveTo>
                  <a:lnTo>
                    <a:pt x="134" y="223"/>
                  </a:lnTo>
                  <a:lnTo>
                    <a:pt x="134" y="224"/>
                  </a:lnTo>
                  <a:lnTo>
                    <a:pt x="132" y="224"/>
                  </a:lnTo>
                  <a:lnTo>
                    <a:pt x="132" y="223"/>
                  </a:lnTo>
                  <a:close/>
                  <a:moveTo>
                    <a:pt x="282" y="336"/>
                  </a:moveTo>
                  <a:lnTo>
                    <a:pt x="282" y="338"/>
                  </a:lnTo>
                  <a:lnTo>
                    <a:pt x="282" y="336"/>
                  </a:lnTo>
                  <a:close/>
                  <a:moveTo>
                    <a:pt x="264" y="140"/>
                  </a:moveTo>
                  <a:lnTo>
                    <a:pt x="266" y="140"/>
                  </a:lnTo>
                  <a:lnTo>
                    <a:pt x="264" y="140"/>
                  </a:lnTo>
                  <a:close/>
                  <a:moveTo>
                    <a:pt x="138" y="236"/>
                  </a:moveTo>
                  <a:lnTo>
                    <a:pt x="138" y="238"/>
                  </a:lnTo>
                  <a:lnTo>
                    <a:pt x="138" y="236"/>
                  </a:lnTo>
                  <a:close/>
                  <a:moveTo>
                    <a:pt x="94" y="213"/>
                  </a:moveTo>
                  <a:lnTo>
                    <a:pt x="94" y="215"/>
                  </a:lnTo>
                  <a:lnTo>
                    <a:pt x="94" y="213"/>
                  </a:lnTo>
                  <a:close/>
                  <a:moveTo>
                    <a:pt x="78" y="255"/>
                  </a:moveTo>
                  <a:lnTo>
                    <a:pt x="80" y="255"/>
                  </a:lnTo>
                  <a:lnTo>
                    <a:pt x="78" y="255"/>
                  </a:lnTo>
                  <a:close/>
                  <a:moveTo>
                    <a:pt x="105" y="265"/>
                  </a:moveTo>
                  <a:lnTo>
                    <a:pt x="107" y="265"/>
                  </a:lnTo>
                  <a:lnTo>
                    <a:pt x="105" y="265"/>
                  </a:lnTo>
                  <a:close/>
                  <a:moveTo>
                    <a:pt x="334" y="44"/>
                  </a:moveTo>
                  <a:lnTo>
                    <a:pt x="334" y="46"/>
                  </a:lnTo>
                  <a:lnTo>
                    <a:pt x="334" y="44"/>
                  </a:lnTo>
                  <a:close/>
                  <a:moveTo>
                    <a:pt x="97" y="234"/>
                  </a:moveTo>
                  <a:lnTo>
                    <a:pt x="99" y="234"/>
                  </a:lnTo>
                  <a:lnTo>
                    <a:pt x="97" y="234"/>
                  </a:lnTo>
                  <a:close/>
                  <a:moveTo>
                    <a:pt x="151" y="213"/>
                  </a:moveTo>
                  <a:lnTo>
                    <a:pt x="153" y="213"/>
                  </a:lnTo>
                  <a:lnTo>
                    <a:pt x="151" y="213"/>
                  </a:lnTo>
                  <a:close/>
                  <a:moveTo>
                    <a:pt x="97" y="234"/>
                  </a:moveTo>
                  <a:lnTo>
                    <a:pt x="99" y="234"/>
                  </a:lnTo>
                  <a:lnTo>
                    <a:pt x="97" y="234"/>
                  </a:lnTo>
                  <a:close/>
                  <a:moveTo>
                    <a:pt x="132" y="240"/>
                  </a:moveTo>
                  <a:lnTo>
                    <a:pt x="134" y="240"/>
                  </a:lnTo>
                  <a:lnTo>
                    <a:pt x="132" y="240"/>
                  </a:lnTo>
                  <a:close/>
                  <a:moveTo>
                    <a:pt x="124" y="209"/>
                  </a:moveTo>
                  <a:lnTo>
                    <a:pt x="124" y="211"/>
                  </a:lnTo>
                  <a:lnTo>
                    <a:pt x="124" y="209"/>
                  </a:lnTo>
                  <a:close/>
                  <a:moveTo>
                    <a:pt x="147" y="180"/>
                  </a:moveTo>
                  <a:lnTo>
                    <a:pt x="149" y="180"/>
                  </a:lnTo>
                  <a:lnTo>
                    <a:pt x="147" y="180"/>
                  </a:lnTo>
                  <a:close/>
                  <a:moveTo>
                    <a:pt x="234" y="207"/>
                  </a:moveTo>
                  <a:lnTo>
                    <a:pt x="234" y="209"/>
                  </a:lnTo>
                  <a:lnTo>
                    <a:pt x="234" y="207"/>
                  </a:lnTo>
                  <a:close/>
                  <a:moveTo>
                    <a:pt x="101" y="228"/>
                  </a:moveTo>
                  <a:lnTo>
                    <a:pt x="101" y="230"/>
                  </a:lnTo>
                  <a:lnTo>
                    <a:pt x="101" y="228"/>
                  </a:lnTo>
                  <a:close/>
                  <a:moveTo>
                    <a:pt x="97" y="232"/>
                  </a:moveTo>
                  <a:lnTo>
                    <a:pt x="97" y="234"/>
                  </a:lnTo>
                  <a:lnTo>
                    <a:pt x="97" y="232"/>
                  </a:lnTo>
                  <a:close/>
                  <a:moveTo>
                    <a:pt x="109" y="284"/>
                  </a:moveTo>
                  <a:lnTo>
                    <a:pt x="111" y="284"/>
                  </a:lnTo>
                  <a:lnTo>
                    <a:pt x="109" y="284"/>
                  </a:lnTo>
                  <a:close/>
                  <a:moveTo>
                    <a:pt x="326" y="40"/>
                  </a:moveTo>
                  <a:lnTo>
                    <a:pt x="328" y="40"/>
                  </a:lnTo>
                  <a:lnTo>
                    <a:pt x="326" y="40"/>
                  </a:lnTo>
                  <a:close/>
                  <a:moveTo>
                    <a:pt x="245" y="190"/>
                  </a:moveTo>
                  <a:lnTo>
                    <a:pt x="247" y="190"/>
                  </a:lnTo>
                  <a:lnTo>
                    <a:pt x="245" y="190"/>
                  </a:lnTo>
                  <a:close/>
                  <a:moveTo>
                    <a:pt x="238" y="201"/>
                  </a:moveTo>
                  <a:lnTo>
                    <a:pt x="238" y="203"/>
                  </a:lnTo>
                  <a:lnTo>
                    <a:pt x="238" y="201"/>
                  </a:lnTo>
                  <a:close/>
                  <a:moveTo>
                    <a:pt x="145" y="215"/>
                  </a:moveTo>
                  <a:lnTo>
                    <a:pt x="145" y="217"/>
                  </a:lnTo>
                  <a:lnTo>
                    <a:pt x="145" y="215"/>
                  </a:lnTo>
                  <a:close/>
                  <a:moveTo>
                    <a:pt x="67" y="351"/>
                  </a:moveTo>
                  <a:lnTo>
                    <a:pt x="69" y="351"/>
                  </a:lnTo>
                  <a:lnTo>
                    <a:pt x="67" y="351"/>
                  </a:lnTo>
                  <a:close/>
                  <a:moveTo>
                    <a:pt x="326" y="40"/>
                  </a:moveTo>
                  <a:lnTo>
                    <a:pt x="328" y="40"/>
                  </a:lnTo>
                  <a:lnTo>
                    <a:pt x="326" y="40"/>
                  </a:lnTo>
                  <a:close/>
                  <a:moveTo>
                    <a:pt x="234" y="207"/>
                  </a:moveTo>
                  <a:lnTo>
                    <a:pt x="234" y="209"/>
                  </a:lnTo>
                  <a:lnTo>
                    <a:pt x="234" y="207"/>
                  </a:lnTo>
                  <a:close/>
                  <a:moveTo>
                    <a:pt x="205" y="161"/>
                  </a:moveTo>
                  <a:lnTo>
                    <a:pt x="205" y="163"/>
                  </a:lnTo>
                  <a:lnTo>
                    <a:pt x="205" y="161"/>
                  </a:lnTo>
                  <a:close/>
                  <a:moveTo>
                    <a:pt x="99" y="238"/>
                  </a:moveTo>
                  <a:lnTo>
                    <a:pt x="101" y="238"/>
                  </a:lnTo>
                  <a:lnTo>
                    <a:pt x="99" y="238"/>
                  </a:lnTo>
                  <a:close/>
                  <a:moveTo>
                    <a:pt x="107" y="249"/>
                  </a:moveTo>
                  <a:lnTo>
                    <a:pt x="107" y="251"/>
                  </a:lnTo>
                  <a:lnTo>
                    <a:pt x="107" y="249"/>
                  </a:lnTo>
                  <a:close/>
                  <a:moveTo>
                    <a:pt x="84" y="242"/>
                  </a:moveTo>
                  <a:lnTo>
                    <a:pt x="86" y="242"/>
                  </a:lnTo>
                  <a:lnTo>
                    <a:pt x="84" y="242"/>
                  </a:lnTo>
                  <a:close/>
                  <a:moveTo>
                    <a:pt x="134" y="221"/>
                  </a:moveTo>
                  <a:lnTo>
                    <a:pt x="136" y="221"/>
                  </a:lnTo>
                  <a:lnTo>
                    <a:pt x="134" y="221"/>
                  </a:lnTo>
                  <a:close/>
                  <a:moveTo>
                    <a:pt x="94" y="321"/>
                  </a:moveTo>
                  <a:lnTo>
                    <a:pt x="96" y="321"/>
                  </a:lnTo>
                  <a:lnTo>
                    <a:pt x="94" y="321"/>
                  </a:lnTo>
                  <a:close/>
                  <a:moveTo>
                    <a:pt x="272" y="136"/>
                  </a:moveTo>
                  <a:lnTo>
                    <a:pt x="272" y="138"/>
                  </a:lnTo>
                  <a:lnTo>
                    <a:pt x="272" y="136"/>
                  </a:lnTo>
                  <a:close/>
                  <a:moveTo>
                    <a:pt x="266" y="140"/>
                  </a:moveTo>
                  <a:lnTo>
                    <a:pt x="266" y="142"/>
                  </a:lnTo>
                  <a:lnTo>
                    <a:pt x="266" y="140"/>
                  </a:lnTo>
                  <a:close/>
                  <a:moveTo>
                    <a:pt x="63" y="351"/>
                  </a:moveTo>
                  <a:lnTo>
                    <a:pt x="63" y="353"/>
                  </a:lnTo>
                  <a:lnTo>
                    <a:pt x="63" y="351"/>
                  </a:lnTo>
                  <a:close/>
                  <a:moveTo>
                    <a:pt x="147" y="184"/>
                  </a:moveTo>
                  <a:lnTo>
                    <a:pt x="149" y="184"/>
                  </a:lnTo>
                  <a:lnTo>
                    <a:pt x="147" y="184"/>
                  </a:lnTo>
                  <a:close/>
                  <a:moveTo>
                    <a:pt x="178" y="219"/>
                  </a:moveTo>
                  <a:lnTo>
                    <a:pt x="178" y="221"/>
                  </a:lnTo>
                  <a:lnTo>
                    <a:pt x="178" y="219"/>
                  </a:lnTo>
                  <a:close/>
                  <a:moveTo>
                    <a:pt x="101" y="290"/>
                  </a:moveTo>
                  <a:lnTo>
                    <a:pt x="101" y="292"/>
                  </a:lnTo>
                  <a:lnTo>
                    <a:pt x="101" y="290"/>
                  </a:lnTo>
                  <a:close/>
                  <a:moveTo>
                    <a:pt x="234" y="207"/>
                  </a:moveTo>
                  <a:lnTo>
                    <a:pt x="236" y="207"/>
                  </a:lnTo>
                  <a:lnTo>
                    <a:pt x="234" y="207"/>
                  </a:lnTo>
                  <a:close/>
                  <a:moveTo>
                    <a:pt x="249" y="96"/>
                  </a:moveTo>
                  <a:lnTo>
                    <a:pt x="251" y="96"/>
                  </a:lnTo>
                  <a:lnTo>
                    <a:pt x="249" y="96"/>
                  </a:lnTo>
                  <a:close/>
                  <a:moveTo>
                    <a:pt x="249" y="78"/>
                  </a:moveTo>
                  <a:lnTo>
                    <a:pt x="249" y="80"/>
                  </a:lnTo>
                  <a:lnTo>
                    <a:pt x="249" y="78"/>
                  </a:lnTo>
                  <a:close/>
                  <a:moveTo>
                    <a:pt x="92" y="213"/>
                  </a:moveTo>
                  <a:lnTo>
                    <a:pt x="94" y="213"/>
                  </a:lnTo>
                  <a:lnTo>
                    <a:pt x="92" y="213"/>
                  </a:lnTo>
                  <a:close/>
                  <a:moveTo>
                    <a:pt x="103" y="288"/>
                  </a:moveTo>
                  <a:lnTo>
                    <a:pt x="105" y="288"/>
                  </a:lnTo>
                  <a:lnTo>
                    <a:pt x="103" y="288"/>
                  </a:lnTo>
                  <a:close/>
                  <a:moveTo>
                    <a:pt x="88" y="242"/>
                  </a:moveTo>
                  <a:lnTo>
                    <a:pt x="90" y="242"/>
                  </a:lnTo>
                  <a:lnTo>
                    <a:pt x="88" y="242"/>
                  </a:lnTo>
                  <a:close/>
                  <a:moveTo>
                    <a:pt x="282" y="344"/>
                  </a:moveTo>
                  <a:lnTo>
                    <a:pt x="282" y="345"/>
                  </a:lnTo>
                  <a:lnTo>
                    <a:pt x="282" y="344"/>
                  </a:lnTo>
                  <a:close/>
                  <a:moveTo>
                    <a:pt x="193" y="178"/>
                  </a:moveTo>
                  <a:lnTo>
                    <a:pt x="193" y="180"/>
                  </a:lnTo>
                  <a:lnTo>
                    <a:pt x="193" y="178"/>
                  </a:lnTo>
                  <a:close/>
                  <a:moveTo>
                    <a:pt x="96" y="290"/>
                  </a:moveTo>
                  <a:lnTo>
                    <a:pt x="97" y="290"/>
                  </a:lnTo>
                  <a:lnTo>
                    <a:pt x="96" y="290"/>
                  </a:lnTo>
                  <a:close/>
                  <a:moveTo>
                    <a:pt x="96" y="290"/>
                  </a:moveTo>
                  <a:lnTo>
                    <a:pt x="97" y="290"/>
                  </a:lnTo>
                  <a:lnTo>
                    <a:pt x="96" y="290"/>
                  </a:lnTo>
                  <a:close/>
                  <a:moveTo>
                    <a:pt x="266" y="140"/>
                  </a:moveTo>
                  <a:lnTo>
                    <a:pt x="266" y="142"/>
                  </a:lnTo>
                  <a:lnTo>
                    <a:pt x="266" y="140"/>
                  </a:lnTo>
                  <a:close/>
                  <a:moveTo>
                    <a:pt x="120" y="211"/>
                  </a:moveTo>
                  <a:lnTo>
                    <a:pt x="122" y="211"/>
                  </a:lnTo>
                  <a:lnTo>
                    <a:pt x="122" y="213"/>
                  </a:lnTo>
                  <a:lnTo>
                    <a:pt x="120" y="213"/>
                  </a:lnTo>
                  <a:lnTo>
                    <a:pt x="120" y="211"/>
                  </a:lnTo>
                  <a:close/>
                  <a:moveTo>
                    <a:pt x="247" y="125"/>
                  </a:moveTo>
                  <a:lnTo>
                    <a:pt x="249" y="125"/>
                  </a:lnTo>
                  <a:lnTo>
                    <a:pt x="247" y="125"/>
                  </a:lnTo>
                  <a:close/>
                  <a:moveTo>
                    <a:pt x="96" y="209"/>
                  </a:moveTo>
                  <a:lnTo>
                    <a:pt x="96" y="211"/>
                  </a:lnTo>
                  <a:lnTo>
                    <a:pt x="96" y="209"/>
                  </a:lnTo>
                  <a:close/>
                  <a:moveTo>
                    <a:pt x="249" y="80"/>
                  </a:moveTo>
                  <a:lnTo>
                    <a:pt x="251" y="80"/>
                  </a:lnTo>
                  <a:lnTo>
                    <a:pt x="249" y="80"/>
                  </a:lnTo>
                  <a:close/>
                  <a:moveTo>
                    <a:pt x="190" y="226"/>
                  </a:moveTo>
                  <a:lnTo>
                    <a:pt x="191" y="226"/>
                  </a:lnTo>
                  <a:lnTo>
                    <a:pt x="190" y="226"/>
                  </a:lnTo>
                  <a:close/>
                  <a:moveTo>
                    <a:pt x="203" y="159"/>
                  </a:moveTo>
                  <a:lnTo>
                    <a:pt x="205" y="159"/>
                  </a:lnTo>
                  <a:lnTo>
                    <a:pt x="203" y="159"/>
                  </a:lnTo>
                  <a:close/>
                  <a:moveTo>
                    <a:pt x="172" y="213"/>
                  </a:moveTo>
                  <a:lnTo>
                    <a:pt x="174" y="213"/>
                  </a:lnTo>
                  <a:lnTo>
                    <a:pt x="172" y="213"/>
                  </a:lnTo>
                  <a:close/>
                  <a:moveTo>
                    <a:pt x="111" y="244"/>
                  </a:moveTo>
                  <a:lnTo>
                    <a:pt x="111" y="246"/>
                  </a:lnTo>
                  <a:lnTo>
                    <a:pt x="111" y="244"/>
                  </a:lnTo>
                  <a:close/>
                  <a:moveTo>
                    <a:pt x="99" y="244"/>
                  </a:moveTo>
                  <a:lnTo>
                    <a:pt x="101" y="244"/>
                  </a:lnTo>
                  <a:lnTo>
                    <a:pt x="99" y="244"/>
                  </a:lnTo>
                  <a:close/>
                  <a:moveTo>
                    <a:pt x="76" y="249"/>
                  </a:moveTo>
                  <a:lnTo>
                    <a:pt x="76" y="251"/>
                  </a:lnTo>
                  <a:lnTo>
                    <a:pt x="76" y="249"/>
                  </a:lnTo>
                  <a:close/>
                  <a:moveTo>
                    <a:pt x="264" y="140"/>
                  </a:moveTo>
                  <a:lnTo>
                    <a:pt x="266" y="140"/>
                  </a:lnTo>
                  <a:lnTo>
                    <a:pt x="264" y="140"/>
                  </a:lnTo>
                  <a:close/>
                  <a:moveTo>
                    <a:pt x="266" y="140"/>
                  </a:moveTo>
                  <a:lnTo>
                    <a:pt x="266" y="142"/>
                  </a:lnTo>
                  <a:lnTo>
                    <a:pt x="266" y="140"/>
                  </a:lnTo>
                  <a:close/>
                  <a:moveTo>
                    <a:pt x="262" y="63"/>
                  </a:moveTo>
                  <a:lnTo>
                    <a:pt x="262" y="65"/>
                  </a:lnTo>
                  <a:lnTo>
                    <a:pt x="262" y="63"/>
                  </a:lnTo>
                  <a:close/>
                  <a:moveTo>
                    <a:pt x="262" y="63"/>
                  </a:moveTo>
                  <a:lnTo>
                    <a:pt x="262" y="65"/>
                  </a:lnTo>
                  <a:lnTo>
                    <a:pt x="262" y="63"/>
                  </a:lnTo>
                  <a:close/>
                  <a:moveTo>
                    <a:pt x="138" y="200"/>
                  </a:moveTo>
                  <a:lnTo>
                    <a:pt x="140" y="200"/>
                  </a:lnTo>
                  <a:lnTo>
                    <a:pt x="138" y="200"/>
                  </a:lnTo>
                  <a:close/>
                  <a:moveTo>
                    <a:pt x="278" y="123"/>
                  </a:moveTo>
                  <a:lnTo>
                    <a:pt x="278" y="125"/>
                  </a:lnTo>
                  <a:lnTo>
                    <a:pt x="278" y="12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6" name="Freeform 406">
              <a:extLst>
                <a:ext uri="{FF2B5EF4-FFF2-40B4-BE49-F238E27FC236}">
                  <a16:creationId xmlns:a16="http://schemas.microsoft.com/office/drawing/2014/main" id="{3568BE1B-D396-4EBF-95FE-C038DC3E1498}"/>
                </a:ext>
              </a:extLst>
            </p:cNvPr>
            <p:cNvSpPr>
              <a:spLocks noEditPoints="1"/>
            </p:cNvSpPr>
            <p:nvPr/>
          </p:nvSpPr>
          <p:spPr bwMode="gray">
            <a:xfrm>
              <a:off x="5443947" y="3614772"/>
              <a:ext cx="114053" cy="120185"/>
            </a:xfrm>
            <a:custGeom>
              <a:avLst/>
              <a:gdLst>
                <a:gd name="T0" fmla="*/ 72 w 93"/>
                <a:gd name="T1" fmla="*/ 37 h 98"/>
                <a:gd name="T2" fmla="*/ 72 w 93"/>
                <a:gd name="T3" fmla="*/ 50 h 98"/>
                <a:gd name="T4" fmla="*/ 70 w 93"/>
                <a:gd name="T5" fmla="*/ 58 h 98"/>
                <a:gd name="T6" fmla="*/ 64 w 93"/>
                <a:gd name="T7" fmla="*/ 65 h 98"/>
                <a:gd name="T8" fmla="*/ 58 w 93"/>
                <a:gd name="T9" fmla="*/ 62 h 98"/>
                <a:gd name="T10" fmla="*/ 56 w 93"/>
                <a:gd name="T11" fmla="*/ 65 h 98"/>
                <a:gd name="T12" fmla="*/ 56 w 93"/>
                <a:gd name="T13" fmla="*/ 67 h 98"/>
                <a:gd name="T14" fmla="*/ 45 w 93"/>
                <a:gd name="T15" fmla="*/ 73 h 98"/>
                <a:gd name="T16" fmla="*/ 43 w 93"/>
                <a:gd name="T17" fmla="*/ 69 h 98"/>
                <a:gd name="T18" fmla="*/ 43 w 93"/>
                <a:gd name="T19" fmla="*/ 75 h 98"/>
                <a:gd name="T20" fmla="*/ 35 w 93"/>
                <a:gd name="T21" fmla="*/ 73 h 98"/>
                <a:gd name="T22" fmla="*/ 27 w 93"/>
                <a:gd name="T23" fmla="*/ 75 h 98"/>
                <a:gd name="T24" fmla="*/ 27 w 93"/>
                <a:gd name="T25" fmla="*/ 71 h 98"/>
                <a:gd name="T26" fmla="*/ 25 w 93"/>
                <a:gd name="T27" fmla="*/ 67 h 98"/>
                <a:gd name="T28" fmla="*/ 27 w 93"/>
                <a:gd name="T29" fmla="*/ 64 h 98"/>
                <a:gd name="T30" fmla="*/ 29 w 93"/>
                <a:gd name="T31" fmla="*/ 52 h 98"/>
                <a:gd name="T32" fmla="*/ 29 w 93"/>
                <a:gd name="T33" fmla="*/ 46 h 98"/>
                <a:gd name="T34" fmla="*/ 25 w 93"/>
                <a:gd name="T35" fmla="*/ 37 h 98"/>
                <a:gd name="T36" fmla="*/ 24 w 93"/>
                <a:gd name="T37" fmla="*/ 37 h 98"/>
                <a:gd name="T38" fmla="*/ 25 w 93"/>
                <a:gd name="T39" fmla="*/ 29 h 98"/>
                <a:gd name="T40" fmla="*/ 33 w 93"/>
                <a:gd name="T41" fmla="*/ 27 h 98"/>
                <a:gd name="T42" fmla="*/ 29 w 93"/>
                <a:gd name="T43" fmla="*/ 21 h 98"/>
                <a:gd name="T44" fmla="*/ 35 w 93"/>
                <a:gd name="T45" fmla="*/ 6 h 98"/>
                <a:gd name="T46" fmla="*/ 56 w 93"/>
                <a:gd name="T47" fmla="*/ 2 h 98"/>
                <a:gd name="T48" fmla="*/ 66 w 93"/>
                <a:gd name="T49" fmla="*/ 21 h 98"/>
                <a:gd name="T50" fmla="*/ 25 w 93"/>
                <a:gd name="T51" fmla="*/ 98 h 98"/>
                <a:gd name="T52" fmla="*/ 29 w 93"/>
                <a:gd name="T53" fmla="*/ 92 h 98"/>
                <a:gd name="T54" fmla="*/ 33 w 93"/>
                <a:gd name="T55" fmla="*/ 94 h 98"/>
                <a:gd name="T56" fmla="*/ 60 w 93"/>
                <a:gd name="T57" fmla="*/ 67 h 98"/>
                <a:gd name="T58" fmla="*/ 60 w 93"/>
                <a:gd name="T59" fmla="*/ 69 h 98"/>
                <a:gd name="T60" fmla="*/ 25 w 93"/>
                <a:gd name="T61" fmla="*/ 73 h 98"/>
                <a:gd name="T62" fmla="*/ 47 w 93"/>
                <a:gd name="T63" fmla="*/ 67 h 98"/>
                <a:gd name="T64" fmla="*/ 50 w 93"/>
                <a:gd name="T65" fmla="*/ 67 h 98"/>
                <a:gd name="T66" fmla="*/ 24 w 93"/>
                <a:gd name="T67" fmla="*/ 71 h 98"/>
                <a:gd name="T68" fmla="*/ 56 w 93"/>
                <a:gd name="T69" fmla="*/ 69 h 98"/>
                <a:gd name="T70" fmla="*/ 24 w 93"/>
                <a:gd name="T71" fmla="*/ 65 h 98"/>
                <a:gd name="T72" fmla="*/ 12 w 93"/>
                <a:gd name="T73" fmla="*/ 71 h 98"/>
                <a:gd name="T74" fmla="*/ 56 w 93"/>
                <a:gd name="T75" fmla="*/ 69 h 98"/>
                <a:gd name="T76" fmla="*/ 27 w 93"/>
                <a:gd name="T77" fmla="*/ 21 h 98"/>
                <a:gd name="T78" fmla="*/ 27 w 93"/>
                <a:gd name="T79" fmla="*/ 40 h 98"/>
                <a:gd name="T80" fmla="*/ 24 w 93"/>
                <a:gd name="T81" fmla="*/ 65 h 98"/>
                <a:gd name="T82" fmla="*/ 24 w 93"/>
                <a:gd name="T83" fmla="*/ 60 h 98"/>
                <a:gd name="T84" fmla="*/ 50 w 93"/>
                <a:gd name="T85" fmla="*/ 65 h 98"/>
                <a:gd name="T86" fmla="*/ 24 w 93"/>
                <a:gd name="T87" fmla="*/ 15 h 98"/>
                <a:gd name="T88" fmla="*/ 29 w 93"/>
                <a:gd name="T89" fmla="*/ 39 h 98"/>
                <a:gd name="T90" fmla="*/ 10 w 93"/>
                <a:gd name="T91" fmla="*/ 75 h 98"/>
                <a:gd name="T92" fmla="*/ 43 w 93"/>
                <a:gd name="T93" fmla="*/ 73 h 98"/>
                <a:gd name="T94" fmla="*/ 54 w 93"/>
                <a:gd name="T95" fmla="*/ 69 h 98"/>
                <a:gd name="T96" fmla="*/ 56 w 93"/>
                <a:gd name="T97" fmla="*/ 71 h 98"/>
                <a:gd name="T98" fmla="*/ 18 w 93"/>
                <a:gd name="T99" fmla="*/ 79 h 98"/>
                <a:gd name="T100" fmla="*/ 18 w 93"/>
                <a:gd name="T101" fmla="*/ 81 h 98"/>
                <a:gd name="T102" fmla="*/ 24 w 93"/>
                <a:gd name="T103" fmla="*/ 67 h 98"/>
                <a:gd name="T104" fmla="*/ 24 w 93"/>
                <a:gd name="T105" fmla="*/ 37 h 98"/>
                <a:gd name="T106" fmla="*/ 54 w 93"/>
                <a:gd name="T107" fmla="*/ 69 h 98"/>
                <a:gd name="T108" fmla="*/ 48 w 93"/>
                <a:gd name="T109" fmla="*/ 67 h 98"/>
                <a:gd name="T110" fmla="*/ 60 w 93"/>
                <a:gd name="T111" fmla="*/ 65 h 98"/>
                <a:gd name="T112" fmla="*/ 41 w 93"/>
                <a:gd name="T113" fmla="*/ 77 h 98"/>
                <a:gd name="T114" fmla="*/ 25 w 93"/>
                <a:gd name="T115" fmla="*/ 40 h 98"/>
                <a:gd name="T116" fmla="*/ 45 w 93"/>
                <a:gd name="T117" fmla="*/ 73 h 98"/>
                <a:gd name="T118" fmla="*/ 27 w 93"/>
                <a:gd name="T119" fmla="*/ 52 h 98"/>
                <a:gd name="T120" fmla="*/ 25 w 93"/>
                <a:gd name="T121" fmla="*/ 25 h 98"/>
                <a:gd name="T122" fmla="*/ 22 w 93"/>
                <a:gd name="T123" fmla="*/ 79 h 98"/>
                <a:gd name="T124" fmla="*/ 70 w 93"/>
                <a:gd name="T125" fmla="*/ 4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 h="98">
                  <a:moveTo>
                    <a:pt x="68" y="21"/>
                  </a:moveTo>
                  <a:lnTo>
                    <a:pt x="68" y="23"/>
                  </a:lnTo>
                  <a:lnTo>
                    <a:pt x="70" y="23"/>
                  </a:lnTo>
                  <a:lnTo>
                    <a:pt x="68" y="23"/>
                  </a:lnTo>
                  <a:lnTo>
                    <a:pt x="70" y="23"/>
                  </a:lnTo>
                  <a:lnTo>
                    <a:pt x="68" y="23"/>
                  </a:lnTo>
                  <a:lnTo>
                    <a:pt x="70" y="23"/>
                  </a:lnTo>
                  <a:lnTo>
                    <a:pt x="70" y="25"/>
                  </a:lnTo>
                  <a:lnTo>
                    <a:pt x="70" y="27"/>
                  </a:lnTo>
                  <a:lnTo>
                    <a:pt x="70" y="25"/>
                  </a:lnTo>
                  <a:lnTo>
                    <a:pt x="70" y="27"/>
                  </a:lnTo>
                  <a:lnTo>
                    <a:pt x="70" y="29"/>
                  </a:lnTo>
                  <a:lnTo>
                    <a:pt x="70" y="27"/>
                  </a:lnTo>
                  <a:lnTo>
                    <a:pt x="70" y="29"/>
                  </a:lnTo>
                  <a:lnTo>
                    <a:pt x="72" y="29"/>
                  </a:lnTo>
                  <a:lnTo>
                    <a:pt x="72" y="31"/>
                  </a:lnTo>
                  <a:lnTo>
                    <a:pt x="72" y="33"/>
                  </a:lnTo>
                  <a:lnTo>
                    <a:pt x="72" y="35"/>
                  </a:lnTo>
                  <a:lnTo>
                    <a:pt x="72" y="37"/>
                  </a:lnTo>
                  <a:lnTo>
                    <a:pt x="72" y="35"/>
                  </a:lnTo>
                  <a:lnTo>
                    <a:pt x="72" y="37"/>
                  </a:lnTo>
                  <a:lnTo>
                    <a:pt x="72" y="35"/>
                  </a:lnTo>
                  <a:lnTo>
                    <a:pt x="72" y="37"/>
                  </a:lnTo>
                  <a:lnTo>
                    <a:pt x="72" y="35"/>
                  </a:lnTo>
                  <a:lnTo>
                    <a:pt x="72" y="37"/>
                  </a:lnTo>
                  <a:lnTo>
                    <a:pt x="72" y="39"/>
                  </a:lnTo>
                  <a:lnTo>
                    <a:pt x="72" y="40"/>
                  </a:lnTo>
                  <a:lnTo>
                    <a:pt x="70" y="40"/>
                  </a:lnTo>
                  <a:lnTo>
                    <a:pt x="70" y="42"/>
                  </a:lnTo>
                  <a:lnTo>
                    <a:pt x="70" y="44"/>
                  </a:lnTo>
                  <a:lnTo>
                    <a:pt x="72" y="44"/>
                  </a:lnTo>
                  <a:lnTo>
                    <a:pt x="70" y="44"/>
                  </a:lnTo>
                  <a:lnTo>
                    <a:pt x="72" y="44"/>
                  </a:lnTo>
                  <a:lnTo>
                    <a:pt x="70" y="44"/>
                  </a:lnTo>
                  <a:lnTo>
                    <a:pt x="72" y="44"/>
                  </a:lnTo>
                  <a:lnTo>
                    <a:pt x="70" y="44"/>
                  </a:lnTo>
                  <a:lnTo>
                    <a:pt x="70" y="46"/>
                  </a:lnTo>
                  <a:lnTo>
                    <a:pt x="72" y="46"/>
                  </a:lnTo>
                  <a:lnTo>
                    <a:pt x="70" y="46"/>
                  </a:lnTo>
                  <a:lnTo>
                    <a:pt x="70" y="48"/>
                  </a:lnTo>
                  <a:lnTo>
                    <a:pt x="70" y="46"/>
                  </a:lnTo>
                  <a:lnTo>
                    <a:pt x="70" y="48"/>
                  </a:lnTo>
                  <a:lnTo>
                    <a:pt x="72" y="48"/>
                  </a:lnTo>
                  <a:lnTo>
                    <a:pt x="70" y="48"/>
                  </a:lnTo>
                  <a:lnTo>
                    <a:pt x="72" y="48"/>
                  </a:lnTo>
                  <a:lnTo>
                    <a:pt x="72" y="46"/>
                  </a:lnTo>
                  <a:lnTo>
                    <a:pt x="73" y="46"/>
                  </a:lnTo>
                  <a:lnTo>
                    <a:pt x="73" y="48"/>
                  </a:lnTo>
                  <a:lnTo>
                    <a:pt x="73" y="50"/>
                  </a:lnTo>
                  <a:lnTo>
                    <a:pt x="72" y="50"/>
                  </a:lnTo>
                  <a:lnTo>
                    <a:pt x="73" y="50"/>
                  </a:lnTo>
                  <a:lnTo>
                    <a:pt x="72" y="50"/>
                  </a:lnTo>
                  <a:lnTo>
                    <a:pt x="73" y="50"/>
                  </a:lnTo>
                  <a:lnTo>
                    <a:pt x="72" y="50"/>
                  </a:lnTo>
                  <a:lnTo>
                    <a:pt x="73" y="50"/>
                  </a:lnTo>
                  <a:lnTo>
                    <a:pt x="72" y="50"/>
                  </a:lnTo>
                  <a:lnTo>
                    <a:pt x="73" y="50"/>
                  </a:lnTo>
                  <a:lnTo>
                    <a:pt x="72" y="50"/>
                  </a:lnTo>
                  <a:lnTo>
                    <a:pt x="73" y="50"/>
                  </a:lnTo>
                  <a:lnTo>
                    <a:pt x="72" y="50"/>
                  </a:lnTo>
                  <a:lnTo>
                    <a:pt x="72" y="52"/>
                  </a:lnTo>
                  <a:lnTo>
                    <a:pt x="72" y="54"/>
                  </a:lnTo>
                  <a:lnTo>
                    <a:pt x="72" y="56"/>
                  </a:lnTo>
                  <a:lnTo>
                    <a:pt x="72" y="54"/>
                  </a:lnTo>
                  <a:lnTo>
                    <a:pt x="72" y="56"/>
                  </a:lnTo>
                  <a:lnTo>
                    <a:pt x="72" y="58"/>
                  </a:lnTo>
                  <a:lnTo>
                    <a:pt x="72" y="56"/>
                  </a:lnTo>
                  <a:lnTo>
                    <a:pt x="72" y="58"/>
                  </a:lnTo>
                  <a:lnTo>
                    <a:pt x="72" y="56"/>
                  </a:lnTo>
                  <a:lnTo>
                    <a:pt x="72" y="58"/>
                  </a:lnTo>
                  <a:lnTo>
                    <a:pt x="72" y="56"/>
                  </a:lnTo>
                  <a:lnTo>
                    <a:pt x="72" y="58"/>
                  </a:lnTo>
                  <a:lnTo>
                    <a:pt x="72" y="56"/>
                  </a:lnTo>
                  <a:lnTo>
                    <a:pt x="72" y="58"/>
                  </a:lnTo>
                  <a:lnTo>
                    <a:pt x="70" y="58"/>
                  </a:lnTo>
                  <a:lnTo>
                    <a:pt x="70" y="56"/>
                  </a:lnTo>
                  <a:lnTo>
                    <a:pt x="70" y="58"/>
                  </a:lnTo>
                  <a:lnTo>
                    <a:pt x="70" y="60"/>
                  </a:lnTo>
                  <a:lnTo>
                    <a:pt x="70" y="58"/>
                  </a:lnTo>
                  <a:lnTo>
                    <a:pt x="70" y="60"/>
                  </a:lnTo>
                  <a:lnTo>
                    <a:pt x="68" y="60"/>
                  </a:lnTo>
                  <a:lnTo>
                    <a:pt x="68" y="62"/>
                  </a:lnTo>
                  <a:lnTo>
                    <a:pt x="68" y="60"/>
                  </a:lnTo>
                  <a:lnTo>
                    <a:pt x="68" y="62"/>
                  </a:lnTo>
                  <a:lnTo>
                    <a:pt x="68" y="64"/>
                  </a:lnTo>
                  <a:lnTo>
                    <a:pt x="66" y="64"/>
                  </a:lnTo>
                  <a:lnTo>
                    <a:pt x="68" y="64"/>
                  </a:lnTo>
                  <a:lnTo>
                    <a:pt x="66" y="64"/>
                  </a:lnTo>
                  <a:lnTo>
                    <a:pt x="66" y="65"/>
                  </a:lnTo>
                  <a:lnTo>
                    <a:pt x="64" y="65"/>
                  </a:lnTo>
                  <a:lnTo>
                    <a:pt x="64" y="64"/>
                  </a:lnTo>
                  <a:lnTo>
                    <a:pt x="64" y="65"/>
                  </a:lnTo>
                  <a:lnTo>
                    <a:pt x="64" y="64"/>
                  </a:lnTo>
                  <a:lnTo>
                    <a:pt x="64" y="65"/>
                  </a:lnTo>
                  <a:lnTo>
                    <a:pt x="66" y="65"/>
                  </a:lnTo>
                  <a:lnTo>
                    <a:pt x="64" y="65"/>
                  </a:lnTo>
                  <a:lnTo>
                    <a:pt x="64" y="64"/>
                  </a:lnTo>
                  <a:lnTo>
                    <a:pt x="64" y="65"/>
                  </a:lnTo>
                  <a:lnTo>
                    <a:pt x="64" y="64"/>
                  </a:lnTo>
                  <a:lnTo>
                    <a:pt x="64" y="65"/>
                  </a:lnTo>
                  <a:lnTo>
                    <a:pt x="64" y="64"/>
                  </a:lnTo>
                  <a:lnTo>
                    <a:pt x="64" y="65"/>
                  </a:lnTo>
                  <a:lnTo>
                    <a:pt x="62" y="65"/>
                  </a:lnTo>
                  <a:lnTo>
                    <a:pt x="62" y="64"/>
                  </a:lnTo>
                  <a:lnTo>
                    <a:pt x="62" y="65"/>
                  </a:lnTo>
                  <a:lnTo>
                    <a:pt x="62" y="64"/>
                  </a:lnTo>
                  <a:lnTo>
                    <a:pt x="62" y="65"/>
                  </a:lnTo>
                  <a:lnTo>
                    <a:pt x="62" y="64"/>
                  </a:lnTo>
                  <a:lnTo>
                    <a:pt x="62" y="65"/>
                  </a:lnTo>
                  <a:lnTo>
                    <a:pt x="60" y="65"/>
                  </a:lnTo>
                  <a:lnTo>
                    <a:pt x="62" y="65"/>
                  </a:lnTo>
                  <a:lnTo>
                    <a:pt x="62" y="64"/>
                  </a:lnTo>
                  <a:lnTo>
                    <a:pt x="60" y="64"/>
                  </a:lnTo>
                  <a:lnTo>
                    <a:pt x="60" y="65"/>
                  </a:lnTo>
                  <a:lnTo>
                    <a:pt x="60" y="64"/>
                  </a:lnTo>
                  <a:lnTo>
                    <a:pt x="62" y="64"/>
                  </a:lnTo>
                  <a:lnTo>
                    <a:pt x="60" y="64"/>
                  </a:lnTo>
                  <a:lnTo>
                    <a:pt x="62" y="64"/>
                  </a:lnTo>
                  <a:lnTo>
                    <a:pt x="60" y="64"/>
                  </a:lnTo>
                  <a:lnTo>
                    <a:pt x="58" y="64"/>
                  </a:lnTo>
                  <a:lnTo>
                    <a:pt x="60" y="64"/>
                  </a:lnTo>
                  <a:lnTo>
                    <a:pt x="58" y="64"/>
                  </a:lnTo>
                  <a:lnTo>
                    <a:pt x="58" y="62"/>
                  </a:lnTo>
                  <a:lnTo>
                    <a:pt x="60" y="62"/>
                  </a:lnTo>
                  <a:lnTo>
                    <a:pt x="58" y="62"/>
                  </a:lnTo>
                  <a:lnTo>
                    <a:pt x="58" y="64"/>
                  </a:lnTo>
                  <a:lnTo>
                    <a:pt x="60" y="64"/>
                  </a:lnTo>
                  <a:lnTo>
                    <a:pt x="58" y="64"/>
                  </a:lnTo>
                  <a:lnTo>
                    <a:pt x="60" y="64"/>
                  </a:lnTo>
                  <a:lnTo>
                    <a:pt x="60" y="65"/>
                  </a:lnTo>
                  <a:lnTo>
                    <a:pt x="58" y="65"/>
                  </a:lnTo>
                  <a:lnTo>
                    <a:pt x="60" y="65"/>
                  </a:lnTo>
                  <a:lnTo>
                    <a:pt x="58" y="65"/>
                  </a:lnTo>
                  <a:lnTo>
                    <a:pt x="58" y="64"/>
                  </a:lnTo>
                  <a:lnTo>
                    <a:pt x="58" y="65"/>
                  </a:lnTo>
                  <a:lnTo>
                    <a:pt x="58" y="64"/>
                  </a:lnTo>
                  <a:lnTo>
                    <a:pt x="58" y="65"/>
                  </a:lnTo>
                  <a:lnTo>
                    <a:pt x="58" y="64"/>
                  </a:lnTo>
                  <a:lnTo>
                    <a:pt x="56" y="64"/>
                  </a:lnTo>
                  <a:lnTo>
                    <a:pt x="58" y="64"/>
                  </a:lnTo>
                  <a:lnTo>
                    <a:pt x="56" y="64"/>
                  </a:lnTo>
                  <a:lnTo>
                    <a:pt x="58" y="64"/>
                  </a:lnTo>
                  <a:lnTo>
                    <a:pt x="56" y="64"/>
                  </a:lnTo>
                  <a:lnTo>
                    <a:pt x="56" y="65"/>
                  </a:lnTo>
                  <a:lnTo>
                    <a:pt x="58" y="65"/>
                  </a:lnTo>
                  <a:lnTo>
                    <a:pt x="56" y="65"/>
                  </a:lnTo>
                  <a:lnTo>
                    <a:pt x="58" y="65"/>
                  </a:lnTo>
                  <a:lnTo>
                    <a:pt x="56" y="65"/>
                  </a:lnTo>
                  <a:lnTo>
                    <a:pt x="58" y="65"/>
                  </a:lnTo>
                  <a:lnTo>
                    <a:pt x="56" y="65"/>
                  </a:lnTo>
                  <a:lnTo>
                    <a:pt x="58" y="65"/>
                  </a:lnTo>
                  <a:lnTo>
                    <a:pt x="56" y="65"/>
                  </a:lnTo>
                  <a:lnTo>
                    <a:pt x="58" y="65"/>
                  </a:lnTo>
                  <a:lnTo>
                    <a:pt x="56" y="65"/>
                  </a:lnTo>
                  <a:lnTo>
                    <a:pt x="58" y="65"/>
                  </a:lnTo>
                  <a:lnTo>
                    <a:pt x="56" y="65"/>
                  </a:lnTo>
                  <a:lnTo>
                    <a:pt x="58" y="65"/>
                  </a:lnTo>
                  <a:lnTo>
                    <a:pt x="56" y="65"/>
                  </a:lnTo>
                  <a:lnTo>
                    <a:pt x="56" y="67"/>
                  </a:lnTo>
                  <a:lnTo>
                    <a:pt x="56" y="69"/>
                  </a:lnTo>
                  <a:lnTo>
                    <a:pt x="56" y="67"/>
                  </a:lnTo>
                  <a:lnTo>
                    <a:pt x="56" y="69"/>
                  </a:lnTo>
                  <a:lnTo>
                    <a:pt x="56" y="67"/>
                  </a:lnTo>
                  <a:lnTo>
                    <a:pt x="56" y="69"/>
                  </a:lnTo>
                  <a:lnTo>
                    <a:pt x="56" y="67"/>
                  </a:lnTo>
                  <a:lnTo>
                    <a:pt x="56" y="69"/>
                  </a:lnTo>
                  <a:lnTo>
                    <a:pt x="56" y="67"/>
                  </a:lnTo>
                  <a:lnTo>
                    <a:pt x="54" y="67"/>
                  </a:lnTo>
                  <a:lnTo>
                    <a:pt x="56" y="67"/>
                  </a:lnTo>
                  <a:lnTo>
                    <a:pt x="54" y="67"/>
                  </a:lnTo>
                  <a:lnTo>
                    <a:pt x="56" y="67"/>
                  </a:lnTo>
                  <a:lnTo>
                    <a:pt x="54" y="67"/>
                  </a:lnTo>
                  <a:lnTo>
                    <a:pt x="56" y="67"/>
                  </a:lnTo>
                  <a:lnTo>
                    <a:pt x="54" y="67"/>
                  </a:lnTo>
                  <a:lnTo>
                    <a:pt x="56" y="67"/>
                  </a:lnTo>
                  <a:lnTo>
                    <a:pt x="54" y="67"/>
                  </a:lnTo>
                  <a:lnTo>
                    <a:pt x="56" y="67"/>
                  </a:lnTo>
                  <a:lnTo>
                    <a:pt x="54" y="67"/>
                  </a:lnTo>
                  <a:lnTo>
                    <a:pt x="52" y="67"/>
                  </a:lnTo>
                  <a:lnTo>
                    <a:pt x="50" y="67"/>
                  </a:lnTo>
                  <a:lnTo>
                    <a:pt x="52" y="67"/>
                  </a:lnTo>
                  <a:lnTo>
                    <a:pt x="50" y="67"/>
                  </a:lnTo>
                  <a:lnTo>
                    <a:pt x="50" y="65"/>
                  </a:lnTo>
                  <a:lnTo>
                    <a:pt x="50" y="64"/>
                  </a:lnTo>
                  <a:lnTo>
                    <a:pt x="50" y="65"/>
                  </a:lnTo>
                  <a:lnTo>
                    <a:pt x="48" y="65"/>
                  </a:lnTo>
                  <a:lnTo>
                    <a:pt x="48" y="67"/>
                  </a:lnTo>
                  <a:lnTo>
                    <a:pt x="47" y="67"/>
                  </a:lnTo>
                  <a:lnTo>
                    <a:pt x="48" y="67"/>
                  </a:lnTo>
                  <a:lnTo>
                    <a:pt x="47" y="67"/>
                  </a:lnTo>
                  <a:lnTo>
                    <a:pt x="47" y="65"/>
                  </a:lnTo>
                  <a:lnTo>
                    <a:pt x="47" y="67"/>
                  </a:lnTo>
                  <a:lnTo>
                    <a:pt x="45" y="67"/>
                  </a:lnTo>
                  <a:lnTo>
                    <a:pt x="45" y="69"/>
                  </a:lnTo>
                  <a:lnTo>
                    <a:pt x="45" y="67"/>
                  </a:lnTo>
                  <a:lnTo>
                    <a:pt x="45" y="69"/>
                  </a:lnTo>
                  <a:lnTo>
                    <a:pt x="47" y="69"/>
                  </a:lnTo>
                  <a:lnTo>
                    <a:pt x="47" y="71"/>
                  </a:lnTo>
                  <a:lnTo>
                    <a:pt x="45" y="71"/>
                  </a:lnTo>
                  <a:lnTo>
                    <a:pt x="45" y="73"/>
                  </a:lnTo>
                  <a:lnTo>
                    <a:pt x="45" y="71"/>
                  </a:lnTo>
                  <a:lnTo>
                    <a:pt x="45" y="73"/>
                  </a:lnTo>
                  <a:lnTo>
                    <a:pt x="45" y="71"/>
                  </a:lnTo>
                  <a:lnTo>
                    <a:pt x="45" y="73"/>
                  </a:lnTo>
                  <a:lnTo>
                    <a:pt x="45" y="71"/>
                  </a:lnTo>
                  <a:lnTo>
                    <a:pt x="45" y="73"/>
                  </a:lnTo>
                  <a:lnTo>
                    <a:pt x="45" y="71"/>
                  </a:lnTo>
                  <a:lnTo>
                    <a:pt x="45" y="73"/>
                  </a:lnTo>
                  <a:lnTo>
                    <a:pt x="45" y="71"/>
                  </a:lnTo>
                  <a:lnTo>
                    <a:pt x="43" y="71"/>
                  </a:lnTo>
                  <a:lnTo>
                    <a:pt x="45" y="71"/>
                  </a:lnTo>
                  <a:lnTo>
                    <a:pt x="43" y="71"/>
                  </a:lnTo>
                  <a:lnTo>
                    <a:pt x="45" y="71"/>
                  </a:lnTo>
                  <a:lnTo>
                    <a:pt x="43" y="71"/>
                  </a:lnTo>
                  <a:lnTo>
                    <a:pt x="45" y="71"/>
                  </a:lnTo>
                  <a:lnTo>
                    <a:pt x="43" y="71"/>
                  </a:lnTo>
                  <a:lnTo>
                    <a:pt x="45" y="71"/>
                  </a:lnTo>
                  <a:lnTo>
                    <a:pt x="43" y="71"/>
                  </a:lnTo>
                  <a:lnTo>
                    <a:pt x="45" y="71"/>
                  </a:lnTo>
                  <a:lnTo>
                    <a:pt x="45" y="69"/>
                  </a:lnTo>
                  <a:lnTo>
                    <a:pt x="43" y="69"/>
                  </a:lnTo>
                  <a:lnTo>
                    <a:pt x="45" y="69"/>
                  </a:lnTo>
                  <a:lnTo>
                    <a:pt x="43" y="69"/>
                  </a:lnTo>
                  <a:lnTo>
                    <a:pt x="45" y="69"/>
                  </a:lnTo>
                  <a:lnTo>
                    <a:pt x="43" y="69"/>
                  </a:lnTo>
                  <a:lnTo>
                    <a:pt x="45" y="69"/>
                  </a:lnTo>
                  <a:lnTo>
                    <a:pt x="43" y="69"/>
                  </a:lnTo>
                  <a:lnTo>
                    <a:pt x="43" y="67"/>
                  </a:lnTo>
                  <a:lnTo>
                    <a:pt x="43" y="69"/>
                  </a:lnTo>
                  <a:lnTo>
                    <a:pt x="43" y="67"/>
                  </a:lnTo>
                  <a:lnTo>
                    <a:pt x="43" y="69"/>
                  </a:lnTo>
                  <a:lnTo>
                    <a:pt x="43" y="67"/>
                  </a:lnTo>
                  <a:lnTo>
                    <a:pt x="43" y="69"/>
                  </a:lnTo>
                  <a:lnTo>
                    <a:pt x="43" y="67"/>
                  </a:lnTo>
                  <a:lnTo>
                    <a:pt x="43" y="69"/>
                  </a:lnTo>
                  <a:lnTo>
                    <a:pt x="41" y="69"/>
                  </a:lnTo>
                  <a:lnTo>
                    <a:pt x="41" y="71"/>
                  </a:lnTo>
                  <a:lnTo>
                    <a:pt x="41" y="69"/>
                  </a:lnTo>
                  <a:lnTo>
                    <a:pt x="41" y="71"/>
                  </a:lnTo>
                  <a:lnTo>
                    <a:pt x="43" y="71"/>
                  </a:lnTo>
                  <a:lnTo>
                    <a:pt x="41" y="71"/>
                  </a:lnTo>
                  <a:lnTo>
                    <a:pt x="43" y="71"/>
                  </a:lnTo>
                  <a:lnTo>
                    <a:pt x="43" y="73"/>
                  </a:lnTo>
                  <a:lnTo>
                    <a:pt x="41" y="73"/>
                  </a:lnTo>
                  <a:lnTo>
                    <a:pt x="43" y="73"/>
                  </a:lnTo>
                  <a:lnTo>
                    <a:pt x="43" y="75"/>
                  </a:lnTo>
                  <a:lnTo>
                    <a:pt x="41" y="75"/>
                  </a:lnTo>
                  <a:lnTo>
                    <a:pt x="41" y="73"/>
                  </a:lnTo>
                  <a:lnTo>
                    <a:pt x="41" y="75"/>
                  </a:lnTo>
                  <a:lnTo>
                    <a:pt x="43" y="75"/>
                  </a:lnTo>
                  <a:lnTo>
                    <a:pt x="41" y="75"/>
                  </a:lnTo>
                  <a:lnTo>
                    <a:pt x="43" y="75"/>
                  </a:lnTo>
                  <a:lnTo>
                    <a:pt x="41" y="75"/>
                  </a:lnTo>
                  <a:lnTo>
                    <a:pt x="39" y="75"/>
                  </a:lnTo>
                  <a:lnTo>
                    <a:pt x="41" y="75"/>
                  </a:lnTo>
                  <a:lnTo>
                    <a:pt x="39" y="75"/>
                  </a:lnTo>
                  <a:lnTo>
                    <a:pt x="37" y="75"/>
                  </a:lnTo>
                  <a:lnTo>
                    <a:pt x="39" y="75"/>
                  </a:lnTo>
                  <a:lnTo>
                    <a:pt x="37" y="75"/>
                  </a:lnTo>
                  <a:lnTo>
                    <a:pt x="37" y="73"/>
                  </a:lnTo>
                  <a:lnTo>
                    <a:pt x="37" y="75"/>
                  </a:lnTo>
                  <a:lnTo>
                    <a:pt x="37" y="73"/>
                  </a:lnTo>
                  <a:lnTo>
                    <a:pt x="39" y="73"/>
                  </a:lnTo>
                  <a:lnTo>
                    <a:pt x="37" y="73"/>
                  </a:lnTo>
                  <a:lnTo>
                    <a:pt x="39" y="73"/>
                  </a:lnTo>
                  <a:lnTo>
                    <a:pt x="39" y="71"/>
                  </a:lnTo>
                  <a:lnTo>
                    <a:pt x="41" y="71"/>
                  </a:lnTo>
                  <a:lnTo>
                    <a:pt x="39" y="71"/>
                  </a:lnTo>
                  <a:lnTo>
                    <a:pt x="39" y="69"/>
                  </a:lnTo>
                  <a:lnTo>
                    <a:pt x="39" y="71"/>
                  </a:lnTo>
                  <a:lnTo>
                    <a:pt x="39" y="69"/>
                  </a:lnTo>
                  <a:lnTo>
                    <a:pt x="39" y="71"/>
                  </a:lnTo>
                  <a:lnTo>
                    <a:pt x="37" y="71"/>
                  </a:lnTo>
                  <a:lnTo>
                    <a:pt x="37" y="73"/>
                  </a:lnTo>
                  <a:lnTo>
                    <a:pt x="35" y="73"/>
                  </a:lnTo>
                  <a:lnTo>
                    <a:pt x="35" y="75"/>
                  </a:lnTo>
                  <a:lnTo>
                    <a:pt x="33" y="75"/>
                  </a:lnTo>
                  <a:lnTo>
                    <a:pt x="33" y="77"/>
                  </a:lnTo>
                  <a:lnTo>
                    <a:pt x="33" y="75"/>
                  </a:lnTo>
                  <a:lnTo>
                    <a:pt x="33" y="77"/>
                  </a:lnTo>
                  <a:lnTo>
                    <a:pt x="33" y="75"/>
                  </a:lnTo>
                  <a:lnTo>
                    <a:pt x="33" y="77"/>
                  </a:lnTo>
                  <a:lnTo>
                    <a:pt x="33" y="75"/>
                  </a:lnTo>
                  <a:lnTo>
                    <a:pt x="33" y="73"/>
                  </a:lnTo>
                  <a:lnTo>
                    <a:pt x="31" y="73"/>
                  </a:lnTo>
                  <a:lnTo>
                    <a:pt x="31" y="75"/>
                  </a:lnTo>
                  <a:lnTo>
                    <a:pt x="31" y="77"/>
                  </a:lnTo>
                  <a:lnTo>
                    <a:pt x="29" y="77"/>
                  </a:lnTo>
                  <a:lnTo>
                    <a:pt x="29" y="79"/>
                  </a:lnTo>
                  <a:lnTo>
                    <a:pt x="27" y="79"/>
                  </a:lnTo>
                  <a:lnTo>
                    <a:pt x="29" y="79"/>
                  </a:lnTo>
                  <a:lnTo>
                    <a:pt x="29" y="77"/>
                  </a:lnTo>
                  <a:lnTo>
                    <a:pt x="29" y="79"/>
                  </a:lnTo>
                  <a:lnTo>
                    <a:pt x="29" y="77"/>
                  </a:lnTo>
                  <a:lnTo>
                    <a:pt x="27" y="77"/>
                  </a:lnTo>
                  <a:lnTo>
                    <a:pt x="29" y="77"/>
                  </a:lnTo>
                  <a:lnTo>
                    <a:pt x="27" y="77"/>
                  </a:lnTo>
                  <a:lnTo>
                    <a:pt x="29" y="77"/>
                  </a:lnTo>
                  <a:lnTo>
                    <a:pt x="29" y="75"/>
                  </a:lnTo>
                  <a:lnTo>
                    <a:pt x="27" y="75"/>
                  </a:lnTo>
                  <a:lnTo>
                    <a:pt x="27" y="77"/>
                  </a:lnTo>
                  <a:lnTo>
                    <a:pt x="27" y="75"/>
                  </a:lnTo>
                  <a:lnTo>
                    <a:pt x="27" y="73"/>
                  </a:lnTo>
                  <a:lnTo>
                    <a:pt x="27" y="75"/>
                  </a:lnTo>
                  <a:lnTo>
                    <a:pt x="25" y="75"/>
                  </a:lnTo>
                  <a:lnTo>
                    <a:pt x="27" y="75"/>
                  </a:lnTo>
                  <a:lnTo>
                    <a:pt x="27" y="73"/>
                  </a:lnTo>
                  <a:lnTo>
                    <a:pt x="25" y="73"/>
                  </a:lnTo>
                  <a:lnTo>
                    <a:pt x="25" y="71"/>
                  </a:lnTo>
                  <a:lnTo>
                    <a:pt x="25" y="69"/>
                  </a:lnTo>
                  <a:lnTo>
                    <a:pt x="25" y="71"/>
                  </a:lnTo>
                  <a:lnTo>
                    <a:pt x="25" y="69"/>
                  </a:lnTo>
                  <a:lnTo>
                    <a:pt x="25" y="71"/>
                  </a:lnTo>
                  <a:lnTo>
                    <a:pt x="25" y="73"/>
                  </a:lnTo>
                  <a:lnTo>
                    <a:pt x="27" y="73"/>
                  </a:lnTo>
                  <a:lnTo>
                    <a:pt x="25" y="73"/>
                  </a:lnTo>
                  <a:lnTo>
                    <a:pt x="25" y="71"/>
                  </a:lnTo>
                  <a:lnTo>
                    <a:pt x="27" y="71"/>
                  </a:lnTo>
                  <a:lnTo>
                    <a:pt x="25" y="71"/>
                  </a:lnTo>
                  <a:lnTo>
                    <a:pt x="27" y="71"/>
                  </a:lnTo>
                  <a:lnTo>
                    <a:pt x="25" y="71"/>
                  </a:lnTo>
                  <a:lnTo>
                    <a:pt x="27" y="71"/>
                  </a:lnTo>
                  <a:lnTo>
                    <a:pt x="27" y="73"/>
                  </a:lnTo>
                  <a:lnTo>
                    <a:pt x="29" y="73"/>
                  </a:lnTo>
                  <a:lnTo>
                    <a:pt x="27" y="71"/>
                  </a:lnTo>
                  <a:lnTo>
                    <a:pt x="29" y="71"/>
                  </a:lnTo>
                  <a:lnTo>
                    <a:pt x="29" y="73"/>
                  </a:lnTo>
                  <a:lnTo>
                    <a:pt x="29" y="71"/>
                  </a:lnTo>
                  <a:lnTo>
                    <a:pt x="27" y="71"/>
                  </a:lnTo>
                  <a:lnTo>
                    <a:pt x="29" y="71"/>
                  </a:lnTo>
                  <a:lnTo>
                    <a:pt x="27" y="71"/>
                  </a:lnTo>
                  <a:lnTo>
                    <a:pt x="25" y="71"/>
                  </a:lnTo>
                  <a:lnTo>
                    <a:pt x="25" y="69"/>
                  </a:lnTo>
                  <a:lnTo>
                    <a:pt x="25" y="71"/>
                  </a:lnTo>
                  <a:lnTo>
                    <a:pt x="25" y="69"/>
                  </a:lnTo>
                  <a:lnTo>
                    <a:pt x="25" y="71"/>
                  </a:lnTo>
                  <a:lnTo>
                    <a:pt x="25" y="69"/>
                  </a:lnTo>
                  <a:lnTo>
                    <a:pt x="27" y="69"/>
                  </a:lnTo>
                  <a:lnTo>
                    <a:pt x="25" y="69"/>
                  </a:lnTo>
                  <a:lnTo>
                    <a:pt x="27" y="69"/>
                  </a:lnTo>
                  <a:lnTo>
                    <a:pt x="25" y="69"/>
                  </a:lnTo>
                  <a:lnTo>
                    <a:pt x="27" y="69"/>
                  </a:lnTo>
                  <a:lnTo>
                    <a:pt x="27" y="67"/>
                  </a:lnTo>
                  <a:lnTo>
                    <a:pt x="27" y="65"/>
                  </a:lnTo>
                  <a:lnTo>
                    <a:pt x="27" y="67"/>
                  </a:lnTo>
                  <a:lnTo>
                    <a:pt x="27" y="65"/>
                  </a:lnTo>
                  <a:lnTo>
                    <a:pt x="27" y="67"/>
                  </a:lnTo>
                  <a:lnTo>
                    <a:pt x="27" y="65"/>
                  </a:lnTo>
                  <a:lnTo>
                    <a:pt x="27" y="67"/>
                  </a:lnTo>
                  <a:lnTo>
                    <a:pt x="25" y="67"/>
                  </a:lnTo>
                  <a:lnTo>
                    <a:pt x="25" y="65"/>
                  </a:lnTo>
                  <a:lnTo>
                    <a:pt x="25" y="67"/>
                  </a:lnTo>
                  <a:lnTo>
                    <a:pt x="25" y="65"/>
                  </a:lnTo>
                  <a:lnTo>
                    <a:pt x="25" y="67"/>
                  </a:lnTo>
                  <a:lnTo>
                    <a:pt x="25" y="65"/>
                  </a:lnTo>
                  <a:lnTo>
                    <a:pt x="27" y="65"/>
                  </a:lnTo>
                  <a:lnTo>
                    <a:pt x="25" y="65"/>
                  </a:lnTo>
                  <a:lnTo>
                    <a:pt x="25" y="64"/>
                  </a:lnTo>
                  <a:lnTo>
                    <a:pt x="25" y="65"/>
                  </a:lnTo>
                  <a:lnTo>
                    <a:pt x="24" y="65"/>
                  </a:lnTo>
                  <a:lnTo>
                    <a:pt x="24" y="64"/>
                  </a:lnTo>
                  <a:lnTo>
                    <a:pt x="25" y="64"/>
                  </a:lnTo>
                  <a:lnTo>
                    <a:pt x="24" y="64"/>
                  </a:lnTo>
                  <a:lnTo>
                    <a:pt x="25" y="64"/>
                  </a:lnTo>
                  <a:lnTo>
                    <a:pt x="25" y="65"/>
                  </a:lnTo>
                  <a:lnTo>
                    <a:pt x="27" y="65"/>
                  </a:lnTo>
                  <a:lnTo>
                    <a:pt x="25" y="65"/>
                  </a:lnTo>
                  <a:lnTo>
                    <a:pt x="27" y="65"/>
                  </a:lnTo>
                  <a:lnTo>
                    <a:pt x="27" y="64"/>
                  </a:lnTo>
                  <a:lnTo>
                    <a:pt x="27" y="65"/>
                  </a:lnTo>
                  <a:lnTo>
                    <a:pt x="27" y="64"/>
                  </a:lnTo>
                  <a:lnTo>
                    <a:pt x="27" y="65"/>
                  </a:lnTo>
                  <a:lnTo>
                    <a:pt x="27" y="64"/>
                  </a:lnTo>
                  <a:lnTo>
                    <a:pt x="27" y="65"/>
                  </a:lnTo>
                  <a:lnTo>
                    <a:pt x="27" y="64"/>
                  </a:lnTo>
                  <a:lnTo>
                    <a:pt x="27" y="65"/>
                  </a:lnTo>
                  <a:lnTo>
                    <a:pt x="27" y="64"/>
                  </a:lnTo>
                  <a:lnTo>
                    <a:pt x="25" y="64"/>
                  </a:lnTo>
                  <a:lnTo>
                    <a:pt x="25" y="62"/>
                  </a:lnTo>
                  <a:lnTo>
                    <a:pt x="25" y="60"/>
                  </a:lnTo>
                  <a:lnTo>
                    <a:pt x="27" y="60"/>
                  </a:lnTo>
                  <a:lnTo>
                    <a:pt x="27" y="58"/>
                  </a:lnTo>
                  <a:lnTo>
                    <a:pt x="27" y="56"/>
                  </a:lnTo>
                  <a:lnTo>
                    <a:pt x="27" y="58"/>
                  </a:lnTo>
                  <a:lnTo>
                    <a:pt x="27" y="56"/>
                  </a:lnTo>
                  <a:lnTo>
                    <a:pt x="29" y="56"/>
                  </a:lnTo>
                  <a:lnTo>
                    <a:pt x="31" y="56"/>
                  </a:lnTo>
                  <a:lnTo>
                    <a:pt x="29" y="56"/>
                  </a:lnTo>
                  <a:lnTo>
                    <a:pt x="27" y="56"/>
                  </a:lnTo>
                  <a:lnTo>
                    <a:pt x="27" y="54"/>
                  </a:lnTo>
                  <a:lnTo>
                    <a:pt x="27" y="56"/>
                  </a:lnTo>
                  <a:lnTo>
                    <a:pt x="27" y="54"/>
                  </a:lnTo>
                  <a:lnTo>
                    <a:pt x="27" y="56"/>
                  </a:lnTo>
                  <a:lnTo>
                    <a:pt x="27" y="54"/>
                  </a:lnTo>
                  <a:lnTo>
                    <a:pt x="27" y="56"/>
                  </a:lnTo>
                  <a:lnTo>
                    <a:pt x="27" y="54"/>
                  </a:lnTo>
                  <a:lnTo>
                    <a:pt x="27" y="56"/>
                  </a:lnTo>
                  <a:lnTo>
                    <a:pt x="27" y="54"/>
                  </a:lnTo>
                  <a:lnTo>
                    <a:pt x="29" y="54"/>
                  </a:lnTo>
                  <a:lnTo>
                    <a:pt x="29" y="52"/>
                  </a:lnTo>
                  <a:lnTo>
                    <a:pt x="29" y="54"/>
                  </a:lnTo>
                  <a:lnTo>
                    <a:pt x="29" y="52"/>
                  </a:lnTo>
                  <a:lnTo>
                    <a:pt x="31" y="52"/>
                  </a:lnTo>
                  <a:lnTo>
                    <a:pt x="29" y="52"/>
                  </a:lnTo>
                  <a:lnTo>
                    <a:pt x="29" y="50"/>
                  </a:lnTo>
                  <a:lnTo>
                    <a:pt x="31" y="50"/>
                  </a:lnTo>
                  <a:lnTo>
                    <a:pt x="29" y="50"/>
                  </a:lnTo>
                  <a:lnTo>
                    <a:pt x="29" y="52"/>
                  </a:lnTo>
                  <a:lnTo>
                    <a:pt x="29" y="50"/>
                  </a:lnTo>
                  <a:lnTo>
                    <a:pt x="27" y="50"/>
                  </a:lnTo>
                  <a:lnTo>
                    <a:pt x="27" y="52"/>
                  </a:lnTo>
                  <a:lnTo>
                    <a:pt x="29" y="52"/>
                  </a:lnTo>
                  <a:lnTo>
                    <a:pt x="27" y="52"/>
                  </a:lnTo>
                  <a:lnTo>
                    <a:pt x="27" y="50"/>
                  </a:lnTo>
                  <a:lnTo>
                    <a:pt x="27" y="52"/>
                  </a:lnTo>
                  <a:lnTo>
                    <a:pt x="27" y="50"/>
                  </a:lnTo>
                  <a:lnTo>
                    <a:pt x="27" y="52"/>
                  </a:lnTo>
                  <a:lnTo>
                    <a:pt x="27" y="50"/>
                  </a:lnTo>
                  <a:lnTo>
                    <a:pt x="29" y="50"/>
                  </a:lnTo>
                  <a:lnTo>
                    <a:pt x="29" y="48"/>
                  </a:lnTo>
                  <a:lnTo>
                    <a:pt x="29" y="50"/>
                  </a:lnTo>
                  <a:lnTo>
                    <a:pt x="29" y="48"/>
                  </a:lnTo>
                  <a:lnTo>
                    <a:pt x="31" y="48"/>
                  </a:lnTo>
                  <a:lnTo>
                    <a:pt x="31" y="46"/>
                  </a:lnTo>
                  <a:lnTo>
                    <a:pt x="29" y="46"/>
                  </a:lnTo>
                  <a:lnTo>
                    <a:pt x="31" y="46"/>
                  </a:lnTo>
                  <a:lnTo>
                    <a:pt x="29" y="46"/>
                  </a:lnTo>
                  <a:lnTo>
                    <a:pt x="29" y="44"/>
                  </a:lnTo>
                  <a:lnTo>
                    <a:pt x="27" y="44"/>
                  </a:lnTo>
                  <a:lnTo>
                    <a:pt x="27" y="46"/>
                  </a:lnTo>
                  <a:lnTo>
                    <a:pt x="27" y="44"/>
                  </a:lnTo>
                  <a:lnTo>
                    <a:pt x="29" y="44"/>
                  </a:lnTo>
                  <a:lnTo>
                    <a:pt x="29" y="42"/>
                  </a:lnTo>
                  <a:lnTo>
                    <a:pt x="27" y="42"/>
                  </a:lnTo>
                  <a:lnTo>
                    <a:pt x="29" y="42"/>
                  </a:lnTo>
                  <a:lnTo>
                    <a:pt x="29" y="40"/>
                  </a:lnTo>
                  <a:lnTo>
                    <a:pt x="27" y="40"/>
                  </a:lnTo>
                  <a:lnTo>
                    <a:pt x="29" y="40"/>
                  </a:lnTo>
                  <a:lnTo>
                    <a:pt x="29" y="39"/>
                  </a:lnTo>
                  <a:lnTo>
                    <a:pt x="29" y="40"/>
                  </a:lnTo>
                  <a:lnTo>
                    <a:pt x="27" y="40"/>
                  </a:lnTo>
                  <a:lnTo>
                    <a:pt x="27" y="39"/>
                  </a:lnTo>
                  <a:lnTo>
                    <a:pt x="29" y="39"/>
                  </a:lnTo>
                  <a:lnTo>
                    <a:pt x="27" y="39"/>
                  </a:lnTo>
                  <a:lnTo>
                    <a:pt x="27" y="37"/>
                  </a:lnTo>
                  <a:lnTo>
                    <a:pt x="25" y="37"/>
                  </a:lnTo>
                  <a:lnTo>
                    <a:pt x="27" y="37"/>
                  </a:lnTo>
                  <a:lnTo>
                    <a:pt x="25" y="37"/>
                  </a:lnTo>
                  <a:lnTo>
                    <a:pt x="27" y="37"/>
                  </a:lnTo>
                  <a:lnTo>
                    <a:pt x="25" y="37"/>
                  </a:lnTo>
                  <a:lnTo>
                    <a:pt x="27" y="37"/>
                  </a:lnTo>
                  <a:lnTo>
                    <a:pt x="25" y="37"/>
                  </a:lnTo>
                  <a:lnTo>
                    <a:pt x="25" y="39"/>
                  </a:lnTo>
                  <a:lnTo>
                    <a:pt x="27" y="39"/>
                  </a:lnTo>
                  <a:lnTo>
                    <a:pt x="25" y="39"/>
                  </a:lnTo>
                  <a:lnTo>
                    <a:pt x="27" y="39"/>
                  </a:lnTo>
                  <a:lnTo>
                    <a:pt x="27" y="40"/>
                  </a:lnTo>
                  <a:lnTo>
                    <a:pt x="25" y="40"/>
                  </a:lnTo>
                  <a:lnTo>
                    <a:pt x="25" y="39"/>
                  </a:lnTo>
                  <a:lnTo>
                    <a:pt x="25" y="37"/>
                  </a:lnTo>
                  <a:lnTo>
                    <a:pt x="25" y="35"/>
                  </a:lnTo>
                  <a:lnTo>
                    <a:pt x="24" y="35"/>
                  </a:lnTo>
                  <a:lnTo>
                    <a:pt x="24" y="37"/>
                  </a:lnTo>
                  <a:lnTo>
                    <a:pt x="24" y="35"/>
                  </a:lnTo>
                  <a:lnTo>
                    <a:pt x="24" y="37"/>
                  </a:lnTo>
                  <a:lnTo>
                    <a:pt x="24" y="35"/>
                  </a:lnTo>
                  <a:lnTo>
                    <a:pt x="24" y="37"/>
                  </a:lnTo>
                  <a:lnTo>
                    <a:pt x="24" y="35"/>
                  </a:lnTo>
                  <a:lnTo>
                    <a:pt x="24" y="37"/>
                  </a:lnTo>
                  <a:lnTo>
                    <a:pt x="24" y="35"/>
                  </a:lnTo>
                  <a:lnTo>
                    <a:pt x="24" y="37"/>
                  </a:lnTo>
                  <a:lnTo>
                    <a:pt x="24" y="35"/>
                  </a:lnTo>
                  <a:lnTo>
                    <a:pt x="24" y="37"/>
                  </a:lnTo>
                  <a:lnTo>
                    <a:pt x="24" y="35"/>
                  </a:lnTo>
                  <a:lnTo>
                    <a:pt x="24" y="37"/>
                  </a:lnTo>
                  <a:lnTo>
                    <a:pt x="24" y="35"/>
                  </a:lnTo>
                  <a:lnTo>
                    <a:pt x="22" y="35"/>
                  </a:lnTo>
                  <a:lnTo>
                    <a:pt x="24" y="35"/>
                  </a:lnTo>
                  <a:lnTo>
                    <a:pt x="24" y="33"/>
                  </a:lnTo>
                  <a:lnTo>
                    <a:pt x="24" y="35"/>
                  </a:lnTo>
                  <a:lnTo>
                    <a:pt x="24" y="33"/>
                  </a:lnTo>
                  <a:lnTo>
                    <a:pt x="24" y="31"/>
                  </a:lnTo>
                  <a:lnTo>
                    <a:pt x="24" y="33"/>
                  </a:lnTo>
                  <a:lnTo>
                    <a:pt x="24" y="31"/>
                  </a:lnTo>
                  <a:lnTo>
                    <a:pt x="24" y="33"/>
                  </a:lnTo>
                  <a:lnTo>
                    <a:pt x="24" y="31"/>
                  </a:lnTo>
                  <a:lnTo>
                    <a:pt x="25" y="31"/>
                  </a:lnTo>
                  <a:lnTo>
                    <a:pt x="24" y="31"/>
                  </a:lnTo>
                  <a:lnTo>
                    <a:pt x="25" y="31"/>
                  </a:lnTo>
                  <a:lnTo>
                    <a:pt x="24" y="31"/>
                  </a:lnTo>
                  <a:lnTo>
                    <a:pt x="25" y="31"/>
                  </a:lnTo>
                  <a:lnTo>
                    <a:pt x="25" y="33"/>
                  </a:lnTo>
                  <a:lnTo>
                    <a:pt x="27" y="33"/>
                  </a:lnTo>
                  <a:lnTo>
                    <a:pt x="27" y="31"/>
                  </a:lnTo>
                  <a:lnTo>
                    <a:pt x="25" y="31"/>
                  </a:lnTo>
                  <a:lnTo>
                    <a:pt x="27" y="31"/>
                  </a:lnTo>
                  <a:lnTo>
                    <a:pt x="25" y="31"/>
                  </a:lnTo>
                  <a:lnTo>
                    <a:pt x="27" y="31"/>
                  </a:lnTo>
                  <a:lnTo>
                    <a:pt x="25" y="31"/>
                  </a:lnTo>
                  <a:lnTo>
                    <a:pt x="25" y="29"/>
                  </a:lnTo>
                  <a:lnTo>
                    <a:pt x="27" y="29"/>
                  </a:lnTo>
                  <a:lnTo>
                    <a:pt x="29" y="29"/>
                  </a:lnTo>
                  <a:lnTo>
                    <a:pt x="31" y="29"/>
                  </a:lnTo>
                  <a:lnTo>
                    <a:pt x="31" y="31"/>
                  </a:lnTo>
                  <a:lnTo>
                    <a:pt x="31" y="29"/>
                  </a:lnTo>
                  <a:lnTo>
                    <a:pt x="31" y="31"/>
                  </a:lnTo>
                  <a:lnTo>
                    <a:pt x="33" y="31"/>
                  </a:lnTo>
                  <a:lnTo>
                    <a:pt x="33" y="33"/>
                  </a:lnTo>
                  <a:lnTo>
                    <a:pt x="33" y="31"/>
                  </a:lnTo>
                  <a:lnTo>
                    <a:pt x="33" y="33"/>
                  </a:lnTo>
                  <a:lnTo>
                    <a:pt x="33" y="31"/>
                  </a:lnTo>
                  <a:lnTo>
                    <a:pt x="35" y="31"/>
                  </a:lnTo>
                  <a:lnTo>
                    <a:pt x="33" y="31"/>
                  </a:lnTo>
                  <a:lnTo>
                    <a:pt x="33" y="29"/>
                  </a:lnTo>
                  <a:lnTo>
                    <a:pt x="33" y="31"/>
                  </a:lnTo>
                  <a:lnTo>
                    <a:pt x="33" y="29"/>
                  </a:lnTo>
                  <a:lnTo>
                    <a:pt x="33" y="31"/>
                  </a:lnTo>
                  <a:lnTo>
                    <a:pt x="33" y="29"/>
                  </a:lnTo>
                  <a:lnTo>
                    <a:pt x="31" y="29"/>
                  </a:lnTo>
                  <a:lnTo>
                    <a:pt x="33" y="29"/>
                  </a:lnTo>
                  <a:lnTo>
                    <a:pt x="31" y="29"/>
                  </a:lnTo>
                  <a:lnTo>
                    <a:pt x="31" y="27"/>
                  </a:lnTo>
                  <a:lnTo>
                    <a:pt x="33" y="27"/>
                  </a:lnTo>
                  <a:lnTo>
                    <a:pt x="31" y="27"/>
                  </a:lnTo>
                  <a:lnTo>
                    <a:pt x="33" y="27"/>
                  </a:lnTo>
                  <a:lnTo>
                    <a:pt x="31" y="27"/>
                  </a:lnTo>
                  <a:lnTo>
                    <a:pt x="31" y="25"/>
                  </a:lnTo>
                  <a:lnTo>
                    <a:pt x="33" y="25"/>
                  </a:lnTo>
                  <a:lnTo>
                    <a:pt x="31" y="25"/>
                  </a:lnTo>
                  <a:lnTo>
                    <a:pt x="33" y="25"/>
                  </a:lnTo>
                  <a:lnTo>
                    <a:pt x="31" y="25"/>
                  </a:lnTo>
                  <a:lnTo>
                    <a:pt x="31" y="23"/>
                  </a:lnTo>
                  <a:lnTo>
                    <a:pt x="29" y="23"/>
                  </a:lnTo>
                  <a:lnTo>
                    <a:pt x="29" y="25"/>
                  </a:lnTo>
                  <a:lnTo>
                    <a:pt x="31" y="25"/>
                  </a:lnTo>
                  <a:lnTo>
                    <a:pt x="31" y="27"/>
                  </a:lnTo>
                  <a:lnTo>
                    <a:pt x="29" y="27"/>
                  </a:lnTo>
                  <a:lnTo>
                    <a:pt x="29" y="25"/>
                  </a:lnTo>
                  <a:lnTo>
                    <a:pt x="31" y="25"/>
                  </a:lnTo>
                  <a:lnTo>
                    <a:pt x="29" y="25"/>
                  </a:lnTo>
                  <a:lnTo>
                    <a:pt x="29" y="27"/>
                  </a:lnTo>
                  <a:lnTo>
                    <a:pt x="29" y="25"/>
                  </a:lnTo>
                  <a:lnTo>
                    <a:pt x="29" y="27"/>
                  </a:lnTo>
                  <a:lnTo>
                    <a:pt x="29" y="25"/>
                  </a:lnTo>
                  <a:lnTo>
                    <a:pt x="29" y="23"/>
                  </a:lnTo>
                  <a:lnTo>
                    <a:pt x="31" y="23"/>
                  </a:lnTo>
                  <a:lnTo>
                    <a:pt x="29" y="23"/>
                  </a:lnTo>
                  <a:lnTo>
                    <a:pt x="31" y="23"/>
                  </a:lnTo>
                  <a:lnTo>
                    <a:pt x="29" y="23"/>
                  </a:lnTo>
                  <a:lnTo>
                    <a:pt x="29" y="21"/>
                  </a:lnTo>
                  <a:lnTo>
                    <a:pt x="29" y="19"/>
                  </a:lnTo>
                  <a:lnTo>
                    <a:pt x="29" y="17"/>
                  </a:lnTo>
                  <a:lnTo>
                    <a:pt x="29" y="15"/>
                  </a:lnTo>
                  <a:lnTo>
                    <a:pt x="31" y="15"/>
                  </a:lnTo>
                  <a:lnTo>
                    <a:pt x="31" y="14"/>
                  </a:lnTo>
                  <a:lnTo>
                    <a:pt x="31" y="12"/>
                  </a:lnTo>
                  <a:lnTo>
                    <a:pt x="33" y="12"/>
                  </a:lnTo>
                  <a:lnTo>
                    <a:pt x="31" y="12"/>
                  </a:lnTo>
                  <a:lnTo>
                    <a:pt x="33" y="12"/>
                  </a:lnTo>
                  <a:lnTo>
                    <a:pt x="31" y="12"/>
                  </a:lnTo>
                  <a:lnTo>
                    <a:pt x="33" y="12"/>
                  </a:lnTo>
                  <a:lnTo>
                    <a:pt x="33" y="10"/>
                  </a:lnTo>
                  <a:lnTo>
                    <a:pt x="33" y="12"/>
                  </a:lnTo>
                  <a:lnTo>
                    <a:pt x="33" y="10"/>
                  </a:lnTo>
                  <a:lnTo>
                    <a:pt x="33" y="12"/>
                  </a:lnTo>
                  <a:lnTo>
                    <a:pt x="33" y="10"/>
                  </a:lnTo>
                  <a:lnTo>
                    <a:pt x="35" y="10"/>
                  </a:lnTo>
                  <a:lnTo>
                    <a:pt x="33" y="10"/>
                  </a:lnTo>
                  <a:lnTo>
                    <a:pt x="35" y="10"/>
                  </a:lnTo>
                  <a:lnTo>
                    <a:pt x="35" y="8"/>
                  </a:lnTo>
                  <a:lnTo>
                    <a:pt x="35" y="6"/>
                  </a:lnTo>
                  <a:lnTo>
                    <a:pt x="37" y="6"/>
                  </a:lnTo>
                  <a:lnTo>
                    <a:pt x="35" y="6"/>
                  </a:lnTo>
                  <a:lnTo>
                    <a:pt x="37" y="6"/>
                  </a:lnTo>
                  <a:lnTo>
                    <a:pt x="35" y="6"/>
                  </a:lnTo>
                  <a:lnTo>
                    <a:pt x="37" y="6"/>
                  </a:lnTo>
                  <a:lnTo>
                    <a:pt x="39" y="6"/>
                  </a:lnTo>
                  <a:lnTo>
                    <a:pt x="41" y="6"/>
                  </a:lnTo>
                  <a:lnTo>
                    <a:pt x="43" y="6"/>
                  </a:lnTo>
                  <a:lnTo>
                    <a:pt x="45" y="6"/>
                  </a:lnTo>
                  <a:lnTo>
                    <a:pt x="47" y="6"/>
                  </a:lnTo>
                  <a:lnTo>
                    <a:pt x="47" y="4"/>
                  </a:lnTo>
                  <a:lnTo>
                    <a:pt x="47" y="6"/>
                  </a:lnTo>
                  <a:lnTo>
                    <a:pt x="47" y="4"/>
                  </a:lnTo>
                  <a:lnTo>
                    <a:pt x="47" y="6"/>
                  </a:lnTo>
                  <a:lnTo>
                    <a:pt x="48" y="6"/>
                  </a:lnTo>
                  <a:lnTo>
                    <a:pt x="50" y="6"/>
                  </a:lnTo>
                  <a:lnTo>
                    <a:pt x="52" y="6"/>
                  </a:lnTo>
                  <a:lnTo>
                    <a:pt x="52" y="4"/>
                  </a:lnTo>
                  <a:lnTo>
                    <a:pt x="52" y="6"/>
                  </a:lnTo>
                  <a:lnTo>
                    <a:pt x="52" y="4"/>
                  </a:lnTo>
                  <a:lnTo>
                    <a:pt x="52" y="6"/>
                  </a:lnTo>
                  <a:lnTo>
                    <a:pt x="52" y="4"/>
                  </a:lnTo>
                  <a:lnTo>
                    <a:pt x="54" y="4"/>
                  </a:lnTo>
                  <a:lnTo>
                    <a:pt x="54" y="2"/>
                  </a:lnTo>
                  <a:lnTo>
                    <a:pt x="54" y="0"/>
                  </a:lnTo>
                  <a:lnTo>
                    <a:pt x="56" y="0"/>
                  </a:lnTo>
                  <a:lnTo>
                    <a:pt x="56" y="2"/>
                  </a:lnTo>
                  <a:lnTo>
                    <a:pt x="56" y="0"/>
                  </a:lnTo>
                  <a:lnTo>
                    <a:pt x="56" y="2"/>
                  </a:lnTo>
                  <a:lnTo>
                    <a:pt x="56" y="4"/>
                  </a:lnTo>
                  <a:lnTo>
                    <a:pt x="56" y="2"/>
                  </a:lnTo>
                  <a:lnTo>
                    <a:pt x="56" y="4"/>
                  </a:lnTo>
                  <a:lnTo>
                    <a:pt x="58" y="4"/>
                  </a:lnTo>
                  <a:lnTo>
                    <a:pt x="58" y="6"/>
                  </a:lnTo>
                  <a:lnTo>
                    <a:pt x="58" y="8"/>
                  </a:lnTo>
                  <a:lnTo>
                    <a:pt x="60" y="8"/>
                  </a:lnTo>
                  <a:lnTo>
                    <a:pt x="58" y="8"/>
                  </a:lnTo>
                  <a:lnTo>
                    <a:pt x="60" y="8"/>
                  </a:lnTo>
                  <a:lnTo>
                    <a:pt x="58" y="8"/>
                  </a:lnTo>
                  <a:lnTo>
                    <a:pt x="60" y="8"/>
                  </a:lnTo>
                  <a:lnTo>
                    <a:pt x="60" y="10"/>
                  </a:lnTo>
                  <a:lnTo>
                    <a:pt x="60" y="12"/>
                  </a:lnTo>
                  <a:lnTo>
                    <a:pt x="62" y="12"/>
                  </a:lnTo>
                  <a:lnTo>
                    <a:pt x="62" y="14"/>
                  </a:lnTo>
                  <a:lnTo>
                    <a:pt x="64" y="14"/>
                  </a:lnTo>
                  <a:lnTo>
                    <a:pt x="64" y="15"/>
                  </a:lnTo>
                  <a:lnTo>
                    <a:pt x="64" y="17"/>
                  </a:lnTo>
                  <a:lnTo>
                    <a:pt x="66" y="17"/>
                  </a:lnTo>
                  <a:lnTo>
                    <a:pt x="66" y="19"/>
                  </a:lnTo>
                  <a:lnTo>
                    <a:pt x="66" y="21"/>
                  </a:lnTo>
                  <a:lnTo>
                    <a:pt x="66" y="19"/>
                  </a:lnTo>
                  <a:lnTo>
                    <a:pt x="66" y="21"/>
                  </a:lnTo>
                  <a:lnTo>
                    <a:pt x="68" y="21"/>
                  </a:lnTo>
                  <a:lnTo>
                    <a:pt x="66" y="21"/>
                  </a:lnTo>
                  <a:lnTo>
                    <a:pt x="68" y="21"/>
                  </a:lnTo>
                  <a:lnTo>
                    <a:pt x="66" y="21"/>
                  </a:lnTo>
                  <a:lnTo>
                    <a:pt x="68" y="21"/>
                  </a:lnTo>
                  <a:lnTo>
                    <a:pt x="66" y="21"/>
                  </a:lnTo>
                  <a:lnTo>
                    <a:pt x="68" y="21"/>
                  </a:lnTo>
                  <a:close/>
                  <a:moveTo>
                    <a:pt x="29" y="96"/>
                  </a:moveTo>
                  <a:lnTo>
                    <a:pt x="29" y="98"/>
                  </a:lnTo>
                  <a:lnTo>
                    <a:pt x="29" y="96"/>
                  </a:lnTo>
                  <a:lnTo>
                    <a:pt x="29" y="98"/>
                  </a:lnTo>
                  <a:lnTo>
                    <a:pt x="29" y="96"/>
                  </a:lnTo>
                  <a:lnTo>
                    <a:pt x="29" y="98"/>
                  </a:lnTo>
                  <a:lnTo>
                    <a:pt x="29" y="96"/>
                  </a:lnTo>
                  <a:lnTo>
                    <a:pt x="29" y="98"/>
                  </a:lnTo>
                  <a:lnTo>
                    <a:pt x="29" y="96"/>
                  </a:lnTo>
                  <a:lnTo>
                    <a:pt x="29" y="98"/>
                  </a:lnTo>
                  <a:lnTo>
                    <a:pt x="27" y="98"/>
                  </a:lnTo>
                  <a:lnTo>
                    <a:pt x="27" y="96"/>
                  </a:lnTo>
                  <a:lnTo>
                    <a:pt x="27" y="98"/>
                  </a:lnTo>
                  <a:lnTo>
                    <a:pt x="27" y="96"/>
                  </a:lnTo>
                  <a:lnTo>
                    <a:pt x="27" y="98"/>
                  </a:lnTo>
                  <a:lnTo>
                    <a:pt x="27" y="96"/>
                  </a:lnTo>
                  <a:lnTo>
                    <a:pt x="27" y="98"/>
                  </a:lnTo>
                  <a:lnTo>
                    <a:pt x="25" y="98"/>
                  </a:lnTo>
                  <a:lnTo>
                    <a:pt x="25" y="96"/>
                  </a:lnTo>
                  <a:lnTo>
                    <a:pt x="25" y="98"/>
                  </a:lnTo>
                  <a:lnTo>
                    <a:pt x="25" y="96"/>
                  </a:lnTo>
                  <a:lnTo>
                    <a:pt x="25" y="98"/>
                  </a:lnTo>
                  <a:lnTo>
                    <a:pt x="25" y="96"/>
                  </a:lnTo>
                  <a:lnTo>
                    <a:pt x="25" y="98"/>
                  </a:lnTo>
                  <a:lnTo>
                    <a:pt x="25" y="96"/>
                  </a:lnTo>
                  <a:lnTo>
                    <a:pt x="25" y="98"/>
                  </a:lnTo>
                  <a:lnTo>
                    <a:pt x="24" y="98"/>
                  </a:lnTo>
                  <a:lnTo>
                    <a:pt x="25" y="98"/>
                  </a:lnTo>
                  <a:lnTo>
                    <a:pt x="24" y="98"/>
                  </a:lnTo>
                  <a:lnTo>
                    <a:pt x="25" y="98"/>
                  </a:lnTo>
                  <a:lnTo>
                    <a:pt x="24" y="98"/>
                  </a:lnTo>
                  <a:lnTo>
                    <a:pt x="25" y="98"/>
                  </a:lnTo>
                  <a:lnTo>
                    <a:pt x="24" y="98"/>
                  </a:lnTo>
                  <a:lnTo>
                    <a:pt x="24" y="96"/>
                  </a:lnTo>
                  <a:lnTo>
                    <a:pt x="24" y="94"/>
                  </a:lnTo>
                  <a:lnTo>
                    <a:pt x="25" y="94"/>
                  </a:lnTo>
                  <a:lnTo>
                    <a:pt x="24" y="94"/>
                  </a:lnTo>
                  <a:lnTo>
                    <a:pt x="25" y="94"/>
                  </a:lnTo>
                  <a:lnTo>
                    <a:pt x="24" y="94"/>
                  </a:lnTo>
                  <a:lnTo>
                    <a:pt x="25" y="94"/>
                  </a:lnTo>
                  <a:lnTo>
                    <a:pt x="25" y="92"/>
                  </a:lnTo>
                  <a:lnTo>
                    <a:pt x="27" y="92"/>
                  </a:lnTo>
                  <a:lnTo>
                    <a:pt x="29" y="92"/>
                  </a:lnTo>
                  <a:lnTo>
                    <a:pt x="31" y="92"/>
                  </a:lnTo>
                  <a:lnTo>
                    <a:pt x="29" y="92"/>
                  </a:lnTo>
                  <a:lnTo>
                    <a:pt x="31" y="92"/>
                  </a:lnTo>
                  <a:lnTo>
                    <a:pt x="31" y="90"/>
                  </a:lnTo>
                  <a:lnTo>
                    <a:pt x="31" y="92"/>
                  </a:lnTo>
                  <a:lnTo>
                    <a:pt x="31" y="90"/>
                  </a:lnTo>
                  <a:lnTo>
                    <a:pt x="31" y="92"/>
                  </a:lnTo>
                  <a:lnTo>
                    <a:pt x="31" y="90"/>
                  </a:lnTo>
                  <a:lnTo>
                    <a:pt x="31" y="92"/>
                  </a:lnTo>
                  <a:lnTo>
                    <a:pt x="31" y="90"/>
                  </a:lnTo>
                  <a:lnTo>
                    <a:pt x="31" y="92"/>
                  </a:lnTo>
                  <a:lnTo>
                    <a:pt x="33" y="92"/>
                  </a:lnTo>
                  <a:lnTo>
                    <a:pt x="33" y="90"/>
                  </a:lnTo>
                  <a:lnTo>
                    <a:pt x="33" y="92"/>
                  </a:lnTo>
                  <a:lnTo>
                    <a:pt x="35" y="92"/>
                  </a:lnTo>
                  <a:lnTo>
                    <a:pt x="33" y="92"/>
                  </a:lnTo>
                  <a:lnTo>
                    <a:pt x="35" y="92"/>
                  </a:lnTo>
                  <a:lnTo>
                    <a:pt x="35" y="94"/>
                  </a:lnTo>
                  <a:lnTo>
                    <a:pt x="35" y="92"/>
                  </a:lnTo>
                  <a:lnTo>
                    <a:pt x="35" y="94"/>
                  </a:lnTo>
                  <a:lnTo>
                    <a:pt x="35" y="92"/>
                  </a:lnTo>
                  <a:lnTo>
                    <a:pt x="35" y="94"/>
                  </a:lnTo>
                  <a:lnTo>
                    <a:pt x="35" y="92"/>
                  </a:lnTo>
                  <a:lnTo>
                    <a:pt x="35" y="94"/>
                  </a:lnTo>
                  <a:lnTo>
                    <a:pt x="33" y="94"/>
                  </a:lnTo>
                  <a:lnTo>
                    <a:pt x="35" y="94"/>
                  </a:lnTo>
                  <a:lnTo>
                    <a:pt x="33" y="94"/>
                  </a:lnTo>
                  <a:lnTo>
                    <a:pt x="35" y="94"/>
                  </a:lnTo>
                  <a:lnTo>
                    <a:pt x="33" y="94"/>
                  </a:lnTo>
                  <a:lnTo>
                    <a:pt x="35" y="94"/>
                  </a:lnTo>
                  <a:lnTo>
                    <a:pt x="33" y="94"/>
                  </a:lnTo>
                  <a:lnTo>
                    <a:pt x="33" y="96"/>
                  </a:lnTo>
                  <a:lnTo>
                    <a:pt x="31" y="96"/>
                  </a:lnTo>
                  <a:lnTo>
                    <a:pt x="29" y="96"/>
                  </a:lnTo>
                  <a:lnTo>
                    <a:pt x="29" y="98"/>
                  </a:lnTo>
                  <a:lnTo>
                    <a:pt x="29" y="96"/>
                  </a:lnTo>
                  <a:lnTo>
                    <a:pt x="29" y="98"/>
                  </a:lnTo>
                  <a:lnTo>
                    <a:pt x="29" y="96"/>
                  </a:lnTo>
                  <a:lnTo>
                    <a:pt x="29" y="98"/>
                  </a:lnTo>
                  <a:lnTo>
                    <a:pt x="29" y="96"/>
                  </a:lnTo>
                  <a:close/>
                  <a:moveTo>
                    <a:pt x="60" y="69"/>
                  </a:moveTo>
                  <a:lnTo>
                    <a:pt x="60" y="71"/>
                  </a:lnTo>
                  <a:lnTo>
                    <a:pt x="58" y="71"/>
                  </a:lnTo>
                  <a:lnTo>
                    <a:pt x="58" y="69"/>
                  </a:lnTo>
                  <a:lnTo>
                    <a:pt x="56" y="69"/>
                  </a:lnTo>
                  <a:lnTo>
                    <a:pt x="58" y="69"/>
                  </a:lnTo>
                  <a:lnTo>
                    <a:pt x="56" y="69"/>
                  </a:lnTo>
                  <a:lnTo>
                    <a:pt x="58" y="69"/>
                  </a:lnTo>
                  <a:lnTo>
                    <a:pt x="56" y="69"/>
                  </a:lnTo>
                  <a:lnTo>
                    <a:pt x="56" y="67"/>
                  </a:lnTo>
                  <a:lnTo>
                    <a:pt x="58" y="67"/>
                  </a:lnTo>
                  <a:lnTo>
                    <a:pt x="60" y="67"/>
                  </a:lnTo>
                  <a:lnTo>
                    <a:pt x="58" y="67"/>
                  </a:lnTo>
                  <a:lnTo>
                    <a:pt x="60" y="67"/>
                  </a:lnTo>
                  <a:lnTo>
                    <a:pt x="60" y="65"/>
                  </a:lnTo>
                  <a:lnTo>
                    <a:pt x="60" y="67"/>
                  </a:lnTo>
                  <a:lnTo>
                    <a:pt x="62" y="67"/>
                  </a:lnTo>
                  <a:lnTo>
                    <a:pt x="60" y="67"/>
                  </a:lnTo>
                  <a:lnTo>
                    <a:pt x="62" y="67"/>
                  </a:lnTo>
                  <a:lnTo>
                    <a:pt x="60" y="67"/>
                  </a:lnTo>
                  <a:lnTo>
                    <a:pt x="62" y="67"/>
                  </a:lnTo>
                  <a:lnTo>
                    <a:pt x="60" y="67"/>
                  </a:lnTo>
                  <a:lnTo>
                    <a:pt x="62" y="67"/>
                  </a:lnTo>
                  <a:lnTo>
                    <a:pt x="60" y="67"/>
                  </a:lnTo>
                  <a:lnTo>
                    <a:pt x="62" y="67"/>
                  </a:lnTo>
                  <a:lnTo>
                    <a:pt x="60" y="67"/>
                  </a:lnTo>
                  <a:lnTo>
                    <a:pt x="62" y="67"/>
                  </a:lnTo>
                  <a:lnTo>
                    <a:pt x="60" y="67"/>
                  </a:lnTo>
                  <a:lnTo>
                    <a:pt x="62" y="67"/>
                  </a:lnTo>
                  <a:lnTo>
                    <a:pt x="60" y="67"/>
                  </a:lnTo>
                  <a:lnTo>
                    <a:pt x="62" y="67"/>
                  </a:lnTo>
                  <a:lnTo>
                    <a:pt x="60" y="67"/>
                  </a:lnTo>
                  <a:lnTo>
                    <a:pt x="62" y="67"/>
                  </a:lnTo>
                  <a:lnTo>
                    <a:pt x="60" y="67"/>
                  </a:lnTo>
                  <a:lnTo>
                    <a:pt x="62" y="67"/>
                  </a:lnTo>
                  <a:lnTo>
                    <a:pt x="60" y="67"/>
                  </a:lnTo>
                  <a:lnTo>
                    <a:pt x="60" y="69"/>
                  </a:lnTo>
                  <a:close/>
                  <a:moveTo>
                    <a:pt x="25" y="73"/>
                  </a:moveTo>
                  <a:lnTo>
                    <a:pt x="24" y="73"/>
                  </a:lnTo>
                  <a:lnTo>
                    <a:pt x="25" y="73"/>
                  </a:lnTo>
                  <a:lnTo>
                    <a:pt x="24" y="73"/>
                  </a:lnTo>
                  <a:lnTo>
                    <a:pt x="25" y="73"/>
                  </a:lnTo>
                  <a:lnTo>
                    <a:pt x="25" y="75"/>
                  </a:lnTo>
                  <a:lnTo>
                    <a:pt x="25" y="73"/>
                  </a:lnTo>
                  <a:lnTo>
                    <a:pt x="25" y="75"/>
                  </a:lnTo>
                  <a:lnTo>
                    <a:pt x="27" y="75"/>
                  </a:lnTo>
                  <a:lnTo>
                    <a:pt x="25" y="75"/>
                  </a:lnTo>
                  <a:lnTo>
                    <a:pt x="27" y="75"/>
                  </a:lnTo>
                  <a:lnTo>
                    <a:pt x="25" y="75"/>
                  </a:lnTo>
                  <a:lnTo>
                    <a:pt x="27" y="75"/>
                  </a:lnTo>
                  <a:lnTo>
                    <a:pt x="25" y="75"/>
                  </a:lnTo>
                  <a:lnTo>
                    <a:pt x="25" y="77"/>
                  </a:lnTo>
                  <a:lnTo>
                    <a:pt x="24" y="77"/>
                  </a:lnTo>
                  <a:lnTo>
                    <a:pt x="22" y="77"/>
                  </a:lnTo>
                  <a:lnTo>
                    <a:pt x="22" y="75"/>
                  </a:lnTo>
                  <a:lnTo>
                    <a:pt x="22" y="77"/>
                  </a:lnTo>
                  <a:lnTo>
                    <a:pt x="22" y="75"/>
                  </a:lnTo>
                  <a:lnTo>
                    <a:pt x="24" y="75"/>
                  </a:lnTo>
                  <a:lnTo>
                    <a:pt x="22" y="75"/>
                  </a:lnTo>
                  <a:lnTo>
                    <a:pt x="24" y="75"/>
                  </a:lnTo>
                  <a:lnTo>
                    <a:pt x="24" y="73"/>
                  </a:lnTo>
                  <a:lnTo>
                    <a:pt x="25" y="73"/>
                  </a:lnTo>
                  <a:lnTo>
                    <a:pt x="24" y="73"/>
                  </a:lnTo>
                  <a:lnTo>
                    <a:pt x="25" y="73"/>
                  </a:lnTo>
                  <a:close/>
                  <a:moveTo>
                    <a:pt x="25" y="14"/>
                  </a:moveTo>
                  <a:lnTo>
                    <a:pt x="29" y="14"/>
                  </a:lnTo>
                  <a:lnTo>
                    <a:pt x="29" y="19"/>
                  </a:lnTo>
                  <a:lnTo>
                    <a:pt x="25" y="19"/>
                  </a:lnTo>
                  <a:lnTo>
                    <a:pt x="25" y="14"/>
                  </a:lnTo>
                  <a:close/>
                  <a:moveTo>
                    <a:pt x="48" y="67"/>
                  </a:moveTo>
                  <a:lnTo>
                    <a:pt x="48" y="69"/>
                  </a:lnTo>
                  <a:lnTo>
                    <a:pt x="50" y="69"/>
                  </a:lnTo>
                  <a:lnTo>
                    <a:pt x="50" y="71"/>
                  </a:lnTo>
                  <a:lnTo>
                    <a:pt x="48" y="71"/>
                  </a:lnTo>
                  <a:lnTo>
                    <a:pt x="50" y="71"/>
                  </a:lnTo>
                  <a:lnTo>
                    <a:pt x="48" y="71"/>
                  </a:lnTo>
                  <a:lnTo>
                    <a:pt x="50" y="71"/>
                  </a:lnTo>
                  <a:lnTo>
                    <a:pt x="48" y="71"/>
                  </a:lnTo>
                  <a:lnTo>
                    <a:pt x="48" y="69"/>
                  </a:lnTo>
                  <a:lnTo>
                    <a:pt x="48" y="71"/>
                  </a:lnTo>
                  <a:lnTo>
                    <a:pt x="48" y="69"/>
                  </a:lnTo>
                  <a:lnTo>
                    <a:pt x="47" y="69"/>
                  </a:lnTo>
                  <a:lnTo>
                    <a:pt x="47" y="67"/>
                  </a:lnTo>
                  <a:lnTo>
                    <a:pt x="48" y="67"/>
                  </a:lnTo>
                  <a:lnTo>
                    <a:pt x="47" y="67"/>
                  </a:lnTo>
                  <a:lnTo>
                    <a:pt x="48" y="67"/>
                  </a:lnTo>
                  <a:lnTo>
                    <a:pt x="47" y="67"/>
                  </a:lnTo>
                  <a:lnTo>
                    <a:pt x="48" y="67"/>
                  </a:lnTo>
                  <a:close/>
                  <a:moveTo>
                    <a:pt x="25" y="19"/>
                  </a:moveTo>
                  <a:lnTo>
                    <a:pt x="29" y="19"/>
                  </a:lnTo>
                  <a:lnTo>
                    <a:pt x="29" y="21"/>
                  </a:lnTo>
                  <a:lnTo>
                    <a:pt x="25" y="21"/>
                  </a:lnTo>
                  <a:lnTo>
                    <a:pt x="25" y="19"/>
                  </a:lnTo>
                  <a:close/>
                  <a:moveTo>
                    <a:pt x="29" y="77"/>
                  </a:moveTo>
                  <a:lnTo>
                    <a:pt x="33" y="77"/>
                  </a:lnTo>
                  <a:lnTo>
                    <a:pt x="33" y="79"/>
                  </a:lnTo>
                  <a:lnTo>
                    <a:pt x="29" y="79"/>
                  </a:lnTo>
                  <a:lnTo>
                    <a:pt x="29" y="77"/>
                  </a:lnTo>
                  <a:close/>
                  <a:moveTo>
                    <a:pt x="91" y="19"/>
                  </a:moveTo>
                  <a:lnTo>
                    <a:pt x="93" y="19"/>
                  </a:lnTo>
                  <a:lnTo>
                    <a:pt x="93" y="21"/>
                  </a:lnTo>
                  <a:lnTo>
                    <a:pt x="91" y="21"/>
                  </a:lnTo>
                  <a:lnTo>
                    <a:pt x="91" y="19"/>
                  </a:lnTo>
                  <a:close/>
                  <a:moveTo>
                    <a:pt x="47" y="71"/>
                  </a:moveTo>
                  <a:lnTo>
                    <a:pt x="47" y="73"/>
                  </a:lnTo>
                  <a:lnTo>
                    <a:pt x="47" y="71"/>
                  </a:lnTo>
                  <a:close/>
                  <a:moveTo>
                    <a:pt x="37" y="75"/>
                  </a:moveTo>
                  <a:lnTo>
                    <a:pt x="39" y="75"/>
                  </a:lnTo>
                  <a:lnTo>
                    <a:pt x="39" y="77"/>
                  </a:lnTo>
                  <a:lnTo>
                    <a:pt x="37" y="77"/>
                  </a:lnTo>
                  <a:lnTo>
                    <a:pt x="37" y="75"/>
                  </a:lnTo>
                  <a:close/>
                  <a:moveTo>
                    <a:pt x="50" y="67"/>
                  </a:moveTo>
                  <a:lnTo>
                    <a:pt x="52" y="67"/>
                  </a:lnTo>
                  <a:lnTo>
                    <a:pt x="52" y="69"/>
                  </a:lnTo>
                  <a:lnTo>
                    <a:pt x="50" y="69"/>
                  </a:lnTo>
                  <a:lnTo>
                    <a:pt x="50" y="67"/>
                  </a:lnTo>
                  <a:close/>
                  <a:moveTo>
                    <a:pt x="0" y="12"/>
                  </a:moveTo>
                  <a:lnTo>
                    <a:pt x="2" y="12"/>
                  </a:lnTo>
                  <a:lnTo>
                    <a:pt x="2" y="14"/>
                  </a:lnTo>
                  <a:lnTo>
                    <a:pt x="0" y="14"/>
                  </a:lnTo>
                  <a:lnTo>
                    <a:pt x="0" y="12"/>
                  </a:lnTo>
                  <a:close/>
                  <a:moveTo>
                    <a:pt x="20" y="67"/>
                  </a:moveTo>
                  <a:lnTo>
                    <a:pt x="22" y="67"/>
                  </a:lnTo>
                  <a:lnTo>
                    <a:pt x="22" y="69"/>
                  </a:lnTo>
                  <a:lnTo>
                    <a:pt x="20" y="69"/>
                  </a:lnTo>
                  <a:lnTo>
                    <a:pt x="20" y="67"/>
                  </a:lnTo>
                  <a:close/>
                  <a:moveTo>
                    <a:pt x="24" y="15"/>
                  </a:moveTo>
                  <a:lnTo>
                    <a:pt x="25" y="15"/>
                  </a:lnTo>
                  <a:lnTo>
                    <a:pt x="24" y="15"/>
                  </a:lnTo>
                  <a:close/>
                  <a:moveTo>
                    <a:pt x="24" y="67"/>
                  </a:moveTo>
                  <a:lnTo>
                    <a:pt x="25" y="67"/>
                  </a:lnTo>
                  <a:lnTo>
                    <a:pt x="25" y="69"/>
                  </a:lnTo>
                  <a:lnTo>
                    <a:pt x="24" y="69"/>
                  </a:lnTo>
                  <a:lnTo>
                    <a:pt x="24" y="67"/>
                  </a:lnTo>
                  <a:close/>
                  <a:moveTo>
                    <a:pt x="22" y="69"/>
                  </a:moveTo>
                  <a:lnTo>
                    <a:pt x="24" y="69"/>
                  </a:lnTo>
                  <a:lnTo>
                    <a:pt x="24" y="71"/>
                  </a:lnTo>
                  <a:lnTo>
                    <a:pt x="22" y="71"/>
                  </a:lnTo>
                  <a:lnTo>
                    <a:pt x="22" y="69"/>
                  </a:lnTo>
                  <a:close/>
                  <a:moveTo>
                    <a:pt x="20" y="69"/>
                  </a:moveTo>
                  <a:lnTo>
                    <a:pt x="22" y="69"/>
                  </a:lnTo>
                  <a:lnTo>
                    <a:pt x="22" y="71"/>
                  </a:lnTo>
                  <a:lnTo>
                    <a:pt x="20" y="71"/>
                  </a:lnTo>
                  <a:lnTo>
                    <a:pt x="20" y="69"/>
                  </a:lnTo>
                  <a:close/>
                  <a:moveTo>
                    <a:pt x="31" y="75"/>
                  </a:moveTo>
                  <a:lnTo>
                    <a:pt x="33" y="75"/>
                  </a:lnTo>
                  <a:lnTo>
                    <a:pt x="33" y="77"/>
                  </a:lnTo>
                  <a:lnTo>
                    <a:pt x="31" y="77"/>
                  </a:lnTo>
                  <a:lnTo>
                    <a:pt x="31" y="75"/>
                  </a:lnTo>
                  <a:close/>
                  <a:moveTo>
                    <a:pt x="25" y="15"/>
                  </a:moveTo>
                  <a:lnTo>
                    <a:pt x="25" y="17"/>
                  </a:lnTo>
                  <a:lnTo>
                    <a:pt x="25" y="15"/>
                  </a:lnTo>
                  <a:close/>
                  <a:moveTo>
                    <a:pt x="20" y="71"/>
                  </a:moveTo>
                  <a:lnTo>
                    <a:pt x="22" y="71"/>
                  </a:lnTo>
                  <a:lnTo>
                    <a:pt x="20" y="71"/>
                  </a:lnTo>
                  <a:close/>
                  <a:moveTo>
                    <a:pt x="22" y="64"/>
                  </a:moveTo>
                  <a:lnTo>
                    <a:pt x="24" y="64"/>
                  </a:lnTo>
                  <a:lnTo>
                    <a:pt x="24" y="65"/>
                  </a:lnTo>
                  <a:lnTo>
                    <a:pt x="22" y="65"/>
                  </a:lnTo>
                  <a:lnTo>
                    <a:pt x="22" y="64"/>
                  </a:lnTo>
                  <a:close/>
                  <a:moveTo>
                    <a:pt x="54" y="69"/>
                  </a:moveTo>
                  <a:lnTo>
                    <a:pt x="56" y="69"/>
                  </a:lnTo>
                  <a:lnTo>
                    <a:pt x="54" y="69"/>
                  </a:lnTo>
                  <a:close/>
                  <a:moveTo>
                    <a:pt x="22" y="67"/>
                  </a:moveTo>
                  <a:lnTo>
                    <a:pt x="24" y="67"/>
                  </a:lnTo>
                  <a:lnTo>
                    <a:pt x="24" y="69"/>
                  </a:lnTo>
                  <a:lnTo>
                    <a:pt x="22" y="69"/>
                  </a:lnTo>
                  <a:lnTo>
                    <a:pt x="22" y="67"/>
                  </a:lnTo>
                  <a:close/>
                  <a:moveTo>
                    <a:pt x="33" y="81"/>
                  </a:moveTo>
                  <a:lnTo>
                    <a:pt x="35" y="81"/>
                  </a:lnTo>
                  <a:lnTo>
                    <a:pt x="33" y="81"/>
                  </a:lnTo>
                  <a:close/>
                  <a:moveTo>
                    <a:pt x="31" y="77"/>
                  </a:moveTo>
                  <a:lnTo>
                    <a:pt x="33" y="77"/>
                  </a:lnTo>
                  <a:lnTo>
                    <a:pt x="33" y="79"/>
                  </a:lnTo>
                  <a:lnTo>
                    <a:pt x="31" y="79"/>
                  </a:lnTo>
                  <a:lnTo>
                    <a:pt x="31" y="77"/>
                  </a:lnTo>
                  <a:close/>
                  <a:moveTo>
                    <a:pt x="22" y="73"/>
                  </a:moveTo>
                  <a:lnTo>
                    <a:pt x="22" y="75"/>
                  </a:lnTo>
                  <a:lnTo>
                    <a:pt x="22" y="73"/>
                  </a:lnTo>
                  <a:close/>
                  <a:moveTo>
                    <a:pt x="33" y="77"/>
                  </a:moveTo>
                  <a:lnTo>
                    <a:pt x="35" y="77"/>
                  </a:lnTo>
                  <a:lnTo>
                    <a:pt x="33" y="77"/>
                  </a:lnTo>
                  <a:close/>
                  <a:moveTo>
                    <a:pt x="47" y="73"/>
                  </a:moveTo>
                  <a:lnTo>
                    <a:pt x="47" y="75"/>
                  </a:lnTo>
                  <a:lnTo>
                    <a:pt x="47" y="73"/>
                  </a:lnTo>
                  <a:close/>
                  <a:moveTo>
                    <a:pt x="22" y="65"/>
                  </a:moveTo>
                  <a:lnTo>
                    <a:pt x="24" y="65"/>
                  </a:lnTo>
                  <a:lnTo>
                    <a:pt x="24" y="67"/>
                  </a:lnTo>
                  <a:lnTo>
                    <a:pt x="22" y="67"/>
                  </a:lnTo>
                  <a:lnTo>
                    <a:pt x="22" y="65"/>
                  </a:lnTo>
                  <a:close/>
                  <a:moveTo>
                    <a:pt x="43" y="75"/>
                  </a:moveTo>
                  <a:lnTo>
                    <a:pt x="43" y="77"/>
                  </a:lnTo>
                  <a:lnTo>
                    <a:pt x="43" y="75"/>
                  </a:lnTo>
                  <a:close/>
                  <a:moveTo>
                    <a:pt x="22" y="71"/>
                  </a:moveTo>
                  <a:lnTo>
                    <a:pt x="24" y="71"/>
                  </a:lnTo>
                  <a:lnTo>
                    <a:pt x="24" y="73"/>
                  </a:lnTo>
                  <a:lnTo>
                    <a:pt x="22" y="73"/>
                  </a:lnTo>
                  <a:lnTo>
                    <a:pt x="22" y="71"/>
                  </a:lnTo>
                  <a:close/>
                  <a:moveTo>
                    <a:pt x="29" y="79"/>
                  </a:moveTo>
                  <a:lnTo>
                    <a:pt x="29" y="81"/>
                  </a:lnTo>
                  <a:lnTo>
                    <a:pt x="29" y="79"/>
                  </a:lnTo>
                  <a:close/>
                  <a:moveTo>
                    <a:pt x="22" y="77"/>
                  </a:moveTo>
                  <a:lnTo>
                    <a:pt x="22" y="79"/>
                  </a:lnTo>
                  <a:lnTo>
                    <a:pt x="22" y="77"/>
                  </a:lnTo>
                  <a:close/>
                  <a:moveTo>
                    <a:pt x="29" y="81"/>
                  </a:moveTo>
                  <a:lnTo>
                    <a:pt x="31" y="81"/>
                  </a:lnTo>
                  <a:lnTo>
                    <a:pt x="29" y="81"/>
                  </a:lnTo>
                  <a:close/>
                  <a:moveTo>
                    <a:pt x="12" y="71"/>
                  </a:moveTo>
                  <a:lnTo>
                    <a:pt x="14" y="71"/>
                  </a:lnTo>
                  <a:lnTo>
                    <a:pt x="14" y="73"/>
                  </a:lnTo>
                  <a:lnTo>
                    <a:pt x="12" y="73"/>
                  </a:lnTo>
                  <a:lnTo>
                    <a:pt x="12" y="71"/>
                  </a:lnTo>
                  <a:close/>
                  <a:moveTo>
                    <a:pt x="22" y="25"/>
                  </a:moveTo>
                  <a:lnTo>
                    <a:pt x="24" y="25"/>
                  </a:lnTo>
                  <a:lnTo>
                    <a:pt x="22" y="25"/>
                  </a:lnTo>
                  <a:close/>
                  <a:moveTo>
                    <a:pt x="27" y="81"/>
                  </a:moveTo>
                  <a:lnTo>
                    <a:pt x="29" y="81"/>
                  </a:lnTo>
                  <a:lnTo>
                    <a:pt x="27" y="81"/>
                  </a:lnTo>
                  <a:close/>
                  <a:moveTo>
                    <a:pt x="43" y="73"/>
                  </a:moveTo>
                  <a:lnTo>
                    <a:pt x="43" y="75"/>
                  </a:lnTo>
                  <a:lnTo>
                    <a:pt x="43" y="73"/>
                  </a:lnTo>
                  <a:close/>
                  <a:moveTo>
                    <a:pt x="35" y="77"/>
                  </a:moveTo>
                  <a:lnTo>
                    <a:pt x="37" y="77"/>
                  </a:lnTo>
                  <a:lnTo>
                    <a:pt x="37" y="79"/>
                  </a:lnTo>
                  <a:lnTo>
                    <a:pt x="35" y="79"/>
                  </a:lnTo>
                  <a:lnTo>
                    <a:pt x="35" y="77"/>
                  </a:lnTo>
                  <a:close/>
                  <a:moveTo>
                    <a:pt x="22" y="69"/>
                  </a:moveTo>
                  <a:lnTo>
                    <a:pt x="24" y="69"/>
                  </a:lnTo>
                  <a:lnTo>
                    <a:pt x="22" y="69"/>
                  </a:lnTo>
                  <a:close/>
                  <a:moveTo>
                    <a:pt x="52" y="69"/>
                  </a:moveTo>
                  <a:lnTo>
                    <a:pt x="54" y="69"/>
                  </a:lnTo>
                  <a:lnTo>
                    <a:pt x="52" y="69"/>
                  </a:lnTo>
                  <a:close/>
                  <a:moveTo>
                    <a:pt x="56" y="69"/>
                  </a:moveTo>
                  <a:lnTo>
                    <a:pt x="58" y="69"/>
                  </a:lnTo>
                  <a:lnTo>
                    <a:pt x="58" y="71"/>
                  </a:lnTo>
                  <a:lnTo>
                    <a:pt x="56" y="71"/>
                  </a:lnTo>
                  <a:lnTo>
                    <a:pt x="56" y="69"/>
                  </a:lnTo>
                  <a:close/>
                  <a:moveTo>
                    <a:pt x="66" y="64"/>
                  </a:moveTo>
                  <a:lnTo>
                    <a:pt x="66" y="65"/>
                  </a:lnTo>
                  <a:lnTo>
                    <a:pt x="66" y="64"/>
                  </a:lnTo>
                  <a:close/>
                  <a:moveTo>
                    <a:pt x="35" y="77"/>
                  </a:moveTo>
                  <a:lnTo>
                    <a:pt x="35" y="79"/>
                  </a:lnTo>
                  <a:lnTo>
                    <a:pt x="35" y="77"/>
                  </a:lnTo>
                  <a:close/>
                  <a:moveTo>
                    <a:pt x="0" y="14"/>
                  </a:moveTo>
                  <a:lnTo>
                    <a:pt x="2" y="14"/>
                  </a:lnTo>
                  <a:lnTo>
                    <a:pt x="2" y="15"/>
                  </a:lnTo>
                  <a:lnTo>
                    <a:pt x="0" y="15"/>
                  </a:lnTo>
                  <a:lnTo>
                    <a:pt x="0" y="14"/>
                  </a:lnTo>
                  <a:close/>
                  <a:moveTo>
                    <a:pt x="54" y="71"/>
                  </a:moveTo>
                  <a:lnTo>
                    <a:pt x="54" y="73"/>
                  </a:lnTo>
                  <a:lnTo>
                    <a:pt x="54" y="71"/>
                  </a:lnTo>
                  <a:close/>
                  <a:moveTo>
                    <a:pt x="35" y="75"/>
                  </a:moveTo>
                  <a:lnTo>
                    <a:pt x="37" y="75"/>
                  </a:lnTo>
                  <a:lnTo>
                    <a:pt x="37" y="77"/>
                  </a:lnTo>
                  <a:lnTo>
                    <a:pt x="35" y="77"/>
                  </a:lnTo>
                  <a:lnTo>
                    <a:pt x="35" y="75"/>
                  </a:lnTo>
                  <a:close/>
                  <a:moveTo>
                    <a:pt x="24" y="54"/>
                  </a:moveTo>
                  <a:lnTo>
                    <a:pt x="25" y="54"/>
                  </a:lnTo>
                  <a:lnTo>
                    <a:pt x="25" y="56"/>
                  </a:lnTo>
                  <a:lnTo>
                    <a:pt x="24" y="56"/>
                  </a:lnTo>
                  <a:lnTo>
                    <a:pt x="24" y="54"/>
                  </a:lnTo>
                  <a:close/>
                  <a:moveTo>
                    <a:pt x="27" y="21"/>
                  </a:moveTo>
                  <a:lnTo>
                    <a:pt x="27" y="23"/>
                  </a:lnTo>
                  <a:lnTo>
                    <a:pt x="27" y="21"/>
                  </a:lnTo>
                  <a:close/>
                  <a:moveTo>
                    <a:pt x="52" y="69"/>
                  </a:moveTo>
                  <a:lnTo>
                    <a:pt x="54" y="69"/>
                  </a:lnTo>
                  <a:lnTo>
                    <a:pt x="52" y="69"/>
                  </a:lnTo>
                  <a:close/>
                  <a:moveTo>
                    <a:pt x="27" y="19"/>
                  </a:moveTo>
                  <a:lnTo>
                    <a:pt x="27" y="21"/>
                  </a:lnTo>
                  <a:lnTo>
                    <a:pt x="27" y="19"/>
                  </a:lnTo>
                  <a:close/>
                  <a:moveTo>
                    <a:pt x="18" y="73"/>
                  </a:moveTo>
                  <a:lnTo>
                    <a:pt x="20" y="73"/>
                  </a:lnTo>
                  <a:lnTo>
                    <a:pt x="18" y="73"/>
                  </a:lnTo>
                  <a:close/>
                  <a:moveTo>
                    <a:pt x="45" y="73"/>
                  </a:moveTo>
                  <a:lnTo>
                    <a:pt x="47" y="73"/>
                  </a:lnTo>
                  <a:lnTo>
                    <a:pt x="45" y="73"/>
                  </a:lnTo>
                  <a:close/>
                  <a:moveTo>
                    <a:pt x="45" y="67"/>
                  </a:moveTo>
                  <a:lnTo>
                    <a:pt x="47" y="67"/>
                  </a:lnTo>
                  <a:lnTo>
                    <a:pt x="45" y="67"/>
                  </a:lnTo>
                  <a:close/>
                  <a:moveTo>
                    <a:pt x="58" y="65"/>
                  </a:moveTo>
                  <a:lnTo>
                    <a:pt x="60" y="65"/>
                  </a:lnTo>
                  <a:lnTo>
                    <a:pt x="60" y="67"/>
                  </a:lnTo>
                  <a:lnTo>
                    <a:pt x="58" y="67"/>
                  </a:lnTo>
                  <a:lnTo>
                    <a:pt x="58" y="65"/>
                  </a:lnTo>
                  <a:close/>
                  <a:moveTo>
                    <a:pt x="27" y="40"/>
                  </a:moveTo>
                  <a:lnTo>
                    <a:pt x="27" y="42"/>
                  </a:lnTo>
                  <a:lnTo>
                    <a:pt x="27" y="40"/>
                  </a:lnTo>
                  <a:close/>
                  <a:moveTo>
                    <a:pt x="39" y="79"/>
                  </a:moveTo>
                  <a:lnTo>
                    <a:pt x="39" y="81"/>
                  </a:lnTo>
                  <a:lnTo>
                    <a:pt x="39" y="79"/>
                  </a:lnTo>
                  <a:close/>
                  <a:moveTo>
                    <a:pt x="25" y="19"/>
                  </a:moveTo>
                  <a:lnTo>
                    <a:pt x="27" y="19"/>
                  </a:lnTo>
                  <a:lnTo>
                    <a:pt x="25" y="19"/>
                  </a:lnTo>
                  <a:close/>
                  <a:moveTo>
                    <a:pt x="47" y="75"/>
                  </a:moveTo>
                  <a:lnTo>
                    <a:pt x="47" y="77"/>
                  </a:lnTo>
                  <a:lnTo>
                    <a:pt x="47" y="75"/>
                  </a:lnTo>
                  <a:close/>
                  <a:moveTo>
                    <a:pt x="39" y="83"/>
                  </a:moveTo>
                  <a:lnTo>
                    <a:pt x="41" y="83"/>
                  </a:lnTo>
                  <a:lnTo>
                    <a:pt x="39" y="83"/>
                  </a:lnTo>
                  <a:close/>
                  <a:moveTo>
                    <a:pt x="24" y="67"/>
                  </a:moveTo>
                  <a:lnTo>
                    <a:pt x="25" y="67"/>
                  </a:lnTo>
                  <a:lnTo>
                    <a:pt x="24" y="67"/>
                  </a:lnTo>
                  <a:close/>
                  <a:moveTo>
                    <a:pt x="8" y="71"/>
                  </a:moveTo>
                  <a:lnTo>
                    <a:pt x="10" y="71"/>
                  </a:lnTo>
                  <a:lnTo>
                    <a:pt x="8" y="71"/>
                  </a:lnTo>
                  <a:close/>
                  <a:moveTo>
                    <a:pt x="58" y="65"/>
                  </a:moveTo>
                  <a:lnTo>
                    <a:pt x="58" y="67"/>
                  </a:lnTo>
                  <a:lnTo>
                    <a:pt x="58" y="65"/>
                  </a:lnTo>
                  <a:close/>
                  <a:moveTo>
                    <a:pt x="43" y="73"/>
                  </a:moveTo>
                  <a:lnTo>
                    <a:pt x="45" y="73"/>
                  </a:lnTo>
                  <a:lnTo>
                    <a:pt x="43" y="73"/>
                  </a:lnTo>
                  <a:close/>
                  <a:moveTo>
                    <a:pt x="24" y="65"/>
                  </a:moveTo>
                  <a:lnTo>
                    <a:pt x="25" y="65"/>
                  </a:lnTo>
                  <a:lnTo>
                    <a:pt x="25" y="67"/>
                  </a:lnTo>
                  <a:lnTo>
                    <a:pt x="24" y="67"/>
                  </a:lnTo>
                  <a:lnTo>
                    <a:pt x="24" y="65"/>
                  </a:lnTo>
                  <a:close/>
                  <a:moveTo>
                    <a:pt x="24" y="17"/>
                  </a:moveTo>
                  <a:lnTo>
                    <a:pt x="25" y="17"/>
                  </a:lnTo>
                  <a:lnTo>
                    <a:pt x="24" y="17"/>
                  </a:lnTo>
                  <a:close/>
                  <a:moveTo>
                    <a:pt x="22" y="27"/>
                  </a:moveTo>
                  <a:lnTo>
                    <a:pt x="22" y="29"/>
                  </a:lnTo>
                  <a:lnTo>
                    <a:pt x="22" y="27"/>
                  </a:lnTo>
                  <a:close/>
                  <a:moveTo>
                    <a:pt x="25" y="69"/>
                  </a:moveTo>
                  <a:lnTo>
                    <a:pt x="25" y="71"/>
                  </a:lnTo>
                  <a:lnTo>
                    <a:pt x="25" y="69"/>
                  </a:lnTo>
                  <a:close/>
                  <a:moveTo>
                    <a:pt x="58" y="69"/>
                  </a:moveTo>
                  <a:lnTo>
                    <a:pt x="58" y="71"/>
                  </a:lnTo>
                  <a:lnTo>
                    <a:pt x="58" y="69"/>
                  </a:lnTo>
                  <a:close/>
                  <a:moveTo>
                    <a:pt x="56" y="71"/>
                  </a:moveTo>
                  <a:lnTo>
                    <a:pt x="58" y="71"/>
                  </a:lnTo>
                  <a:lnTo>
                    <a:pt x="56" y="71"/>
                  </a:lnTo>
                  <a:close/>
                  <a:moveTo>
                    <a:pt x="47" y="75"/>
                  </a:moveTo>
                  <a:lnTo>
                    <a:pt x="48" y="75"/>
                  </a:lnTo>
                  <a:lnTo>
                    <a:pt x="47" y="75"/>
                  </a:lnTo>
                  <a:close/>
                  <a:moveTo>
                    <a:pt x="24" y="60"/>
                  </a:moveTo>
                  <a:lnTo>
                    <a:pt x="24" y="62"/>
                  </a:lnTo>
                  <a:lnTo>
                    <a:pt x="24" y="60"/>
                  </a:lnTo>
                  <a:close/>
                  <a:moveTo>
                    <a:pt x="24" y="25"/>
                  </a:moveTo>
                  <a:lnTo>
                    <a:pt x="24" y="27"/>
                  </a:lnTo>
                  <a:lnTo>
                    <a:pt x="24" y="25"/>
                  </a:lnTo>
                  <a:close/>
                  <a:moveTo>
                    <a:pt x="27" y="52"/>
                  </a:moveTo>
                  <a:lnTo>
                    <a:pt x="29" y="52"/>
                  </a:lnTo>
                  <a:lnTo>
                    <a:pt x="27" y="52"/>
                  </a:lnTo>
                  <a:close/>
                  <a:moveTo>
                    <a:pt x="24" y="65"/>
                  </a:moveTo>
                  <a:lnTo>
                    <a:pt x="24" y="67"/>
                  </a:lnTo>
                  <a:lnTo>
                    <a:pt x="24" y="65"/>
                  </a:lnTo>
                  <a:close/>
                  <a:moveTo>
                    <a:pt x="24" y="27"/>
                  </a:moveTo>
                  <a:lnTo>
                    <a:pt x="25" y="27"/>
                  </a:lnTo>
                  <a:lnTo>
                    <a:pt x="24" y="27"/>
                  </a:lnTo>
                  <a:close/>
                  <a:moveTo>
                    <a:pt x="22" y="64"/>
                  </a:moveTo>
                  <a:lnTo>
                    <a:pt x="22" y="65"/>
                  </a:lnTo>
                  <a:lnTo>
                    <a:pt x="22" y="64"/>
                  </a:lnTo>
                  <a:close/>
                  <a:moveTo>
                    <a:pt x="20" y="73"/>
                  </a:moveTo>
                  <a:lnTo>
                    <a:pt x="22" y="73"/>
                  </a:lnTo>
                  <a:lnTo>
                    <a:pt x="20" y="73"/>
                  </a:lnTo>
                  <a:close/>
                  <a:moveTo>
                    <a:pt x="20" y="79"/>
                  </a:moveTo>
                  <a:lnTo>
                    <a:pt x="22" y="79"/>
                  </a:lnTo>
                  <a:lnTo>
                    <a:pt x="20" y="79"/>
                  </a:lnTo>
                  <a:close/>
                  <a:moveTo>
                    <a:pt x="41" y="71"/>
                  </a:moveTo>
                  <a:lnTo>
                    <a:pt x="43" y="71"/>
                  </a:lnTo>
                  <a:lnTo>
                    <a:pt x="41" y="71"/>
                  </a:lnTo>
                  <a:close/>
                  <a:moveTo>
                    <a:pt x="50" y="65"/>
                  </a:moveTo>
                  <a:lnTo>
                    <a:pt x="50" y="67"/>
                  </a:lnTo>
                  <a:lnTo>
                    <a:pt x="50" y="65"/>
                  </a:lnTo>
                  <a:close/>
                  <a:moveTo>
                    <a:pt x="22" y="35"/>
                  </a:moveTo>
                  <a:lnTo>
                    <a:pt x="22" y="37"/>
                  </a:lnTo>
                  <a:lnTo>
                    <a:pt x="22" y="35"/>
                  </a:lnTo>
                  <a:close/>
                  <a:moveTo>
                    <a:pt x="20" y="29"/>
                  </a:moveTo>
                  <a:lnTo>
                    <a:pt x="22" y="29"/>
                  </a:lnTo>
                  <a:lnTo>
                    <a:pt x="20" y="29"/>
                  </a:lnTo>
                  <a:close/>
                  <a:moveTo>
                    <a:pt x="12" y="71"/>
                  </a:moveTo>
                  <a:lnTo>
                    <a:pt x="14" y="71"/>
                  </a:lnTo>
                  <a:lnTo>
                    <a:pt x="12" y="71"/>
                  </a:lnTo>
                  <a:close/>
                  <a:moveTo>
                    <a:pt x="27" y="81"/>
                  </a:moveTo>
                  <a:lnTo>
                    <a:pt x="29" y="81"/>
                  </a:lnTo>
                  <a:lnTo>
                    <a:pt x="27" y="81"/>
                  </a:lnTo>
                  <a:close/>
                  <a:moveTo>
                    <a:pt x="54" y="71"/>
                  </a:moveTo>
                  <a:lnTo>
                    <a:pt x="56" y="71"/>
                  </a:lnTo>
                  <a:lnTo>
                    <a:pt x="56" y="73"/>
                  </a:lnTo>
                  <a:lnTo>
                    <a:pt x="54" y="73"/>
                  </a:lnTo>
                  <a:lnTo>
                    <a:pt x="54" y="71"/>
                  </a:lnTo>
                  <a:close/>
                  <a:moveTo>
                    <a:pt x="20" y="46"/>
                  </a:moveTo>
                  <a:lnTo>
                    <a:pt x="22" y="46"/>
                  </a:lnTo>
                  <a:lnTo>
                    <a:pt x="20" y="46"/>
                  </a:lnTo>
                  <a:close/>
                  <a:moveTo>
                    <a:pt x="24" y="15"/>
                  </a:moveTo>
                  <a:lnTo>
                    <a:pt x="24" y="17"/>
                  </a:lnTo>
                  <a:lnTo>
                    <a:pt x="24" y="15"/>
                  </a:lnTo>
                  <a:close/>
                  <a:moveTo>
                    <a:pt x="27" y="25"/>
                  </a:moveTo>
                  <a:lnTo>
                    <a:pt x="29" y="25"/>
                  </a:lnTo>
                  <a:lnTo>
                    <a:pt x="27" y="25"/>
                  </a:lnTo>
                  <a:close/>
                  <a:moveTo>
                    <a:pt x="27" y="50"/>
                  </a:moveTo>
                  <a:lnTo>
                    <a:pt x="27" y="52"/>
                  </a:lnTo>
                  <a:lnTo>
                    <a:pt x="27" y="50"/>
                  </a:lnTo>
                  <a:close/>
                  <a:moveTo>
                    <a:pt x="27" y="19"/>
                  </a:moveTo>
                  <a:lnTo>
                    <a:pt x="29" y="19"/>
                  </a:lnTo>
                  <a:lnTo>
                    <a:pt x="27" y="19"/>
                  </a:lnTo>
                  <a:close/>
                  <a:moveTo>
                    <a:pt x="20" y="25"/>
                  </a:moveTo>
                  <a:lnTo>
                    <a:pt x="22" y="25"/>
                  </a:lnTo>
                  <a:lnTo>
                    <a:pt x="22" y="27"/>
                  </a:lnTo>
                  <a:lnTo>
                    <a:pt x="20" y="27"/>
                  </a:lnTo>
                  <a:lnTo>
                    <a:pt x="20" y="25"/>
                  </a:lnTo>
                  <a:close/>
                  <a:moveTo>
                    <a:pt x="12" y="71"/>
                  </a:moveTo>
                  <a:lnTo>
                    <a:pt x="14" y="71"/>
                  </a:lnTo>
                  <a:lnTo>
                    <a:pt x="14" y="73"/>
                  </a:lnTo>
                  <a:lnTo>
                    <a:pt x="12" y="73"/>
                  </a:lnTo>
                  <a:lnTo>
                    <a:pt x="12" y="71"/>
                  </a:lnTo>
                  <a:close/>
                  <a:moveTo>
                    <a:pt x="27" y="71"/>
                  </a:moveTo>
                  <a:lnTo>
                    <a:pt x="29" y="71"/>
                  </a:lnTo>
                  <a:lnTo>
                    <a:pt x="27" y="71"/>
                  </a:lnTo>
                  <a:close/>
                  <a:moveTo>
                    <a:pt x="29" y="39"/>
                  </a:moveTo>
                  <a:lnTo>
                    <a:pt x="29" y="40"/>
                  </a:lnTo>
                  <a:lnTo>
                    <a:pt x="29" y="39"/>
                  </a:lnTo>
                  <a:close/>
                  <a:moveTo>
                    <a:pt x="54" y="69"/>
                  </a:moveTo>
                  <a:lnTo>
                    <a:pt x="54" y="71"/>
                  </a:lnTo>
                  <a:lnTo>
                    <a:pt x="54" y="69"/>
                  </a:lnTo>
                  <a:close/>
                  <a:moveTo>
                    <a:pt x="25" y="27"/>
                  </a:moveTo>
                  <a:lnTo>
                    <a:pt x="27" y="27"/>
                  </a:lnTo>
                  <a:lnTo>
                    <a:pt x="25" y="27"/>
                  </a:lnTo>
                  <a:close/>
                  <a:moveTo>
                    <a:pt x="29" y="81"/>
                  </a:moveTo>
                  <a:lnTo>
                    <a:pt x="29" y="83"/>
                  </a:lnTo>
                  <a:lnTo>
                    <a:pt x="29" y="81"/>
                  </a:lnTo>
                  <a:close/>
                  <a:moveTo>
                    <a:pt x="24" y="62"/>
                  </a:moveTo>
                  <a:lnTo>
                    <a:pt x="24" y="64"/>
                  </a:lnTo>
                  <a:lnTo>
                    <a:pt x="24" y="62"/>
                  </a:lnTo>
                  <a:close/>
                  <a:moveTo>
                    <a:pt x="25" y="67"/>
                  </a:moveTo>
                  <a:lnTo>
                    <a:pt x="25" y="69"/>
                  </a:lnTo>
                  <a:lnTo>
                    <a:pt x="25" y="67"/>
                  </a:lnTo>
                  <a:close/>
                  <a:moveTo>
                    <a:pt x="29" y="46"/>
                  </a:moveTo>
                  <a:lnTo>
                    <a:pt x="29" y="48"/>
                  </a:lnTo>
                  <a:lnTo>
                    <a:pt x="29" y="46"/>
                  </a:lnTo>
                  <a:close/>
                  <a:moveTo>
                    <a:pt x="25" y="31"/>
                  </a:moveTo>
                  <a:lnTo>
                    <a:pt x="27" y="31"/>
                  </a:lnTo>
                  <a:lnTo>
                    <a:pt x="25" y="31"/>
                  </a:lnTo>
                  <a:close/>
                  <a:moveTo>
                    <a:pt x="24" y="64"/>
                  </a:moveTo>
                  <a:lnTo>
                    <a:pt x="24" y="65"/>
                  </a:lnTo>
                  <a:lnTo>
                    <a:pt x="24" y="64"/>
                  </a:lnTo>
                  <a:close/>
                  <a:moveTo>
                    <a:pt x="10" y="75"/>
                  </a:moveTo>
                  <a:lnTo>
                    <a:pt x="10" y="77"/>
                  </a:lnTo>
                  <a:lnTo>
                    <a:pt x="10" y="75"/>
                  </a:lnTo>
                  <a:close/>
                  <a:moveTo>
                    <a:pt x="35" y="77"/>
                  </a:moveTo>
                  <a:lnTo>
                    <a:pt x="37" y="77"/>
                  </a:lnTo>
                  <a:lnTo>
                    <a:pt x="35" y="77"/>
                  </a:lnTo>
                  <a:close/>
                  <a:moveTo>
                    <a:pt x="39" y="75"/>
                  </a:moveTo>
                  <a:lnTo>
                    <a:pt x="41" y="75"/>
                  </a:lnTo>
                  <a:lnTo>
                    <a:pt x="41" y="77"/>
                  </a:lnTo>
                  <a:lnTo>
                    <a:pt x="39" y="77"/>
                  </a:lnTo>
                  <a:lnTo>
                    <a:pt x="39" y="75"/>
                  </a:lnTo>
                  <a:close/>
                  <a:moveTo>
                    <a:pt x="25" y="52"/>
                  </a:moveTo>
                  <a:lnTo>
                    <a:pt x="27" y="52"/>
                  </a:lnTo>
                  <a:lnTo>
                    <a:pt x="25" y="52"/>
                  </a:lnTo>
                  <a:close/>
                  <a:moveTo>
                    <a:pt x="37" y="81"/>
                  </a:moveTo>
                  <a:lnTo>
                    <a:pt x="39" y="81"/>
                  </a:lnTo>
                  <a:lnTo>
                    <a:pt x="37" y="81"/>
                  </a:lnTo>
                  <a:close/>
                  <a:moveTo>
                    <a:pt x="22" y="54"/>
                  </a:moveTo>
                  <a:lnTo>
                    <a:pt x="24" y="54"/>
                  </a:lnTo>
                  <a:lnTo>
                    <a:pt x="22" y="54"/>
                  </a:lnTo>
                  <a:close/>
                  <a:moveTo>
                    <a:pt x="25" y="50"/>
                  </a:moveTo>
                  <a:lnTo>
                    <a:pt x="27" y="50"/>
                  </a:lnTo>
                  <a:lnTo>
                    <a:pt x="25" y="50"/>
                  </a:lnTo>
                  <a:close/>
                  <a:moveTo>
                    <a:pt x="43" y="73"/>
                  </a:moveTo>
                  <a:lnTo>
                    <a:pt x="45" y="73"/>
                  </a:lnTo>
                  <a:lnTo>
                    <a:pt x="43" y="73"/>
                  </a:lnTo>
                  <a:close/>
                  <a:moveTo>
                    <a:pt x="29" y="77"/>
                  </a:moveTo>
                  <a:lnTo>
                    <a:pt x="31" y="77"/>
                  </a:lnTo>
                  <a:lnTo>
                    <a:pt x="29" y="77"/>
                  </a:lnTo>
                  <a:close/>
                  <a:moveTo>
                    <a:pt x="22" y="71"/>
                  </a:moveTo>
                  <a:lnTo>
                    <a:pt x="22" y="73"/>
                  </a:lnTo>
                  <a:lnTo>
                    <a:pt x="22" y="71"/>
                  </a:lnTo>
                  <a:close/>
                  <a:moveTo>
                    <a:pt x="22" y="69"/>
                  </a:moveTo>
                  <a:lnTo>
                    <a:pt x="22" y="71"/>
                  </a:lnTo>
                  <a:lnTo>
                    <a:pt x="22" y="69"/>
                  </a:lnTo>
                  <a:close/>
                  <a:moveTo>
                    <a:pt x="62" y="65"/>
                  </a:moveTo>
                  <a:lnTo>
                    <a:pt x="64" y="65"/>
                  </a:lnTo>
                  <a:lnTo>
                    <a:pt x="62" y="65"/>
                  </a:lnTo>
                  <a:close/>
                  <a:moveTo>
                    <a:pt x="18" y="81"/>
                  </a:moveTo>
                  <a:lnTo>
                    <a:pt x="20" y="81"/>
                  </a:lnTo>
                  <a:lnTo>
                    <a:pt x="18" y="81"/>
                  </a:lnTo>
                  <a:close/>
                  <a:moveTo>
                    <a:pt x="56" y="73"/>
                  </a:moveTo>
                  <a:lnTo>
                    <a:pt x="56" y="75"/>
                  </a:lnTo>
                  <a:lnTo>
                    <a:pt x="56" y="73"/>
                  </a:lnTo>
                  <a:close/>
                  <a:moveTo>
                    <a:pt x="37" y="77"/>
                  </a:moveTo>
                  <a:lnTo>
                    <a:pt x="37" y="79"/>
                  </a:lnTo>
                  <a:lnTo>
                    <a:pt x="37" y="77"/>
                  </a:lnTo>
                  <a:close/>
                  <a:moveTo>
                    <a:pt x="22" y="73"/>
                  </a:moveTo>
                  <a:lnTo>
                    <a:pt x="24" y="73"/>
                  </a:lnTo>
                  <a:lnTo>
                    <a:pt x="22" y="73"/>
                  </a:lnTo>
                  <a:close/>
                  <a:moveTo>
                    <a:pt x="54" y="69"/>
                  </a:moveTo>
                  <a:lnTo>
                    <a:pt x="56" y="69"/>
                  </a:lnTo>
                  <a:lnTo>
                    <a:pt x="54" y="69"/>
                  </a:lnTo>
                  <a:close/>
                  <a:moveTo>
                    <a:pt x="22" y="69"/>
                  </a:moveTo>
                  <a:lnTo>
                    <a:pt x="22" y="71"/>
                  </a:lnTo>
                  <a:lnTo>
                    <a:pt x="22" y="69"/>
                  </a:lnTo>
                  <a:close/>
                  <a:moveTo>
                    <a:pt x="43" y="69"/>
                  </a:moveTo>
                  <a:lnTo>
                    <a:pt x="43" y="71"/>
                  </a:lnTo>
                  <a:lnTo>
                    <a:pt x="43" y="69"/>
                  </a:lnTo>
                  <a:close/>
                  <a:moveTo>
                    <a:pt x="52" y="67"/>
                  </a:moveTo>
                  <a:lnTo>
                    <a:pt x="54" y="67"/>
                  </a:lnTo>
                  <a:lnTo>
                    <a:pt x="52" y="67"/>
                  </a:lnTo>
                  <a:close/>
                  <a:moveTo>
                    <a:pt x="29" y="27"/>
                  </a:moveTo>
                  <a:lnTo>
                    <a:pt x="29" y="29"/>
                  </a:lnTo>
                  <a:lnTo>
                    <a:pt x="29" y="27"/>
                  </a:lnTo>
                  <a:close/>
                  <a:moveTo>
                    <a:pt x="31" y="27"/>
                  </a:moveTo>
                  <a:lnTo>
                    <a:pt x="31" y="29"/>
                  </a:lnTo>
                  <a:lnTo>
                    <a:pt x="31" y="27"/>
                  </a:lnTo>
                  <a:close/>
                  <a:moveTo>
                    <a:pt x="43" y="71"/>
                  </a:moveTo>
                  <a:lnTo>
                    <a:pt x="45" y="71"/>
                  </a:lnTo>
                  <a:lnTo>
                    <a:pt x="43" y="71"/>
                  </a:lnTo>
                  <a:close/>
                  <a:moveTo>
                    <a:pt x="45" y="73"/>
                  </a:moveTo>
                  <a:lnTo>
                    <a:pt x="47" y="73"/>
                  </a:lnTo>
                  <a:lnTo>
                    <a:pt x="45" y="73"/>
                  </a:lnTo>
                  <a:close/>
                  <a:moveTo>
                    <a:pt x="54" y="71"/>
                  </a:moveTo>
                  <a:lnTo>
                    <a:pt x="56" y="71"/>
                  </a:lnTo>
                  <a:lnTo>
                    <a:pt x="54" y="71"/>
                  </a:lnTo>
                  <a:close/>
                  <a:moveTo>
                    <a:pt x="60" y="65"/>
                  </a:moveTo>
                  <a:lnTo>
                    <a:pt x="62" y="65"/>
                  </a:lnTo>
                  <a:lnTo>
                    <a:pt x="60" y="65"/>
                  </a:lnTo>
                  <a:close/>
                  <a:moveTo>
                    <a:pt x="20" y="64"/>
                  </a:moveTo>
                  <a:lnTo>
                    <a:pt x="22" y="64"/>
                  </a:lnTo>
                  <a:lnTo>
                    <a:pt x="20" y="64"/>
                  </a:lnTo>
                  <a:close/>
                  <a:moveTo>
                    <a:pt x="20" y="64"/>
                  </a:moveTo>
                  <a:lnTo>
                    <a:pt x="20" y="65"/>
                  </a:lnTo>
                  <a:lnTo>
                    <a:pt x="20" y="64"/>
                  </a:lnTo>
                  <a:close/>
                  <a:moveTo>
                    <a:pt x="31" y="79"/>
                  </a:moveTo>
                  <a:lnTo>
                    <a:pt x="33" y="79"/>
                  </a:lnTo>
                  <a:lnTo>
                    <a:pt x="31" y="79"/>
                  </a:lnTo>
                  <a:close/>
                  <a:moveTo>
                    <a:pt x="43" y="73"/>
                  </a:moveTo>
                  <a:lnTo>
                    <a:pt x="43" y="75"/>
                  </a:lnTo>
                  <a:lnTo>
                    <a:pt x="43" y="73"/>
                  </a:lnTo>
                  <a:close/>
                  <a:moveTo>
                    <a:pt x="20" y="71"/>
                  </a:moveTo>
                  <a:lnTo>
                    <a:pt x="20" y="73"/>
                  </a:lnTo>
                  <a:lnTo>
                    <a:pt x="20" y="71"/>
                  </a:lnTo>
                  <a:close/>
                  <a:moveTo>
                    <a:pt x="39" y="79"/>
                  </a:moveTo>
                  <a:lnTo>
                    <a:pt x="39" y="81"/>
                  </a:lnTo>
                  <a:lnTo>
                    <a:pt x="39" y="79"/>
                  </a:lnTo>
                  <a:close/>
                  <a:moveTo>
                    <a:pt x="18" y="79"/>
                  </a:moveTo>
                  <a:lnTo>
                    <a:pt x="18" y="81"/>
                  </a:lnTo>
                  <a:lnTo>
                    <a:pt x="18" y="79"/>
                  </a:lnTo>
                  <a:close/>
                  <a:moveTo>
                    <a:pt x="27" y="25"/>
                  </a:moveTo>
                  <a:lnTo>
                    <a:pt x="29" y="25"/>
                  </a:lnTo>
                  <a:lnTo>
                    <a:pt x="27" y="25"/>
                  </a:lnTo>
                  <a:close/>
                  <a:moveTo>
                    <a:pt x="20" y="60"/>
                  </a:moveTo>
                  <a:lnTo>
                    <a:pt x="22" y="60"/>
                  </a:lnTo>
                  <a:lnTo>
                    <a:pt x="20" y="60"/>
                  </a:lnTo>
                  <a:close/>
                  <a:moveTo>
                    <a:pt x="43" y="73"/>
                  </a:moveTo>
                  <a:lnTo>
                    <a:pt x="45" y="73"/>
                  </a:lnTo>
                  <a:lnTo>
                    <a:pt x="43" y="73"/>
                  </a:lnTo>
                  <a:close/>
                  <a:moveTo>
                    <a:pt x="20" y="77"/>
                  </a:moveTo>
                  <a:lnTo>
                    <a:pt x="20" y="79"/>
                  </a:lnTo>
                  <a:lnTo>
                    <a:pt x="20" y="77"/>
                  </a:lnTo>
                  <a:close/>
                  <a:moveTo>
                    <a:pt x="58" y="64"/>
                  </a:moveTo>
                  <a:lnTo>
                    <a:pt x="58" y="65"/>
                  </a:lnTo>
                  <a:lnTo>
                    <a:pt x="58" y="64"/>
                  </a:lnTo>
                  <a:close/>
                  <a:moveTo>
                    <a:pt x="24" y="25"/>
                  </a:moveTo>
                  <a:lnTo>
                    <a:pt x="24" y="27"/>
                  </a:lnTo>
                  <a:lnTo>
                    <a:pt x="24" y="25"/>
                  </a:lnTo>
                  <a:close/>
                  <a:moveTo>
                    <a:pt x="43" y="69"/>
                  </a:moveTo>
                  <a:lnTo>
                    <a:pt x="43" y="71"/>
                  </a:lnTo>
                  <a:lnTo>
                    <a:pt x="43" y="69"/>
                  </a:lnTo>
                  <a:close/>
                  <a:moveTo>
                    <a:pt x="27" y="27"/>
                  </a:moveTo>
                  <a:lnTo>
                    <a:pt x="27" y="29"/>
                  </a:lnTo>
                  <a:lnTo>
                    <a:pt x="27" y="27"/>
                  </a:lnTo>
                  <a:close/>
                  <a:moveTo>
                    <a:pt x="18" y="81"/>
                  </a:moveTo>
                  <a:lnTo>
                    <a:pt x="20" y="81"/>
                  </a:lnTo>
                  <a:lnTo>
                    <a:pt x="18" y="81"/>
                  </a:lnTo>
                  <a:close/>
                  <a:moveTo>
                    <a:pt x="20" y="77"/>
                  </a:moveTo>
                  <a:lnTo>
                    <a:pt x="22" y="77"/>
                  </a:lnTo>
                  <a:lnTo>
                    <a:pt x="20" y="77"/>
                  </a:lnTo>
                  <a:close/>
                  <a:moveTo>
                    <a:pt x="18" y="37"/>
                  </a:moveTo>
                  <a:lnTo>
                    <a:pt x="20" y="37"/>
                  </a:lnTo>
                  <a:lnTo>
                    <a:pt x="18" y="37"/>
                  </a:lnTo>
                  <a:close/>
                  <a:moveTo>
                    <a:pt x="41" y="75"/>
                  </a:moveTo>
                  <a:lnTo>
                    <a:pt x="41" y="77"/>
                  </a:lnTo>
                  <a:lnTo>
                    <a:pt x="41" y="75"/>
                  </a:lnTo>
                  <a:close/>
                  <a:moveTo>
                    <a:pt x="24" y="85"/>
                  </a:moveTo>
                  <a:lnTo>
                    <a:pt x="25" y="85"/>
                  </a:lnTo>
                  <a:lnTo>
                    <a:pt x="24" y="85"/>
                  </a:lnTo>
                  <a:close/>
                  <a:moveTo>
                    <a:pt x="27" y="81"/>
                  </a:moveTo>
                  <a:lnTo>
                    <a:pt x="29" y="81"/>
                  </a:lnTo>
                  <a:lnTo>
                    <a:pt x="27" y="81"/>
                  </a:lnTo>
                  <a:close/>
                  <a:moveTo>
                    <a:pt x="20" y="77"/>
                  </a:moveTo>
                  <a:lnTo>
                    <a:pt x="22" y="77"/>
                  </a:lnTo>
                  <a:lnTo>
                    <a:pt x="20" y="77"/>
                  </a:lnTo>
                  <a:close/>
                  <a:moveTo>
                    <a:pt x="12" y="71"/>
                  </a:moveTo>
                  <a:lnTo>
                    <a:pt x="14" y="71"/>
                  </a:lnTo>
                  <a:lnTo>
                    <a:pt x="12" y="71"/>
                  </a:lnTo>
                  <a:close/>
                  <a:moveTo>
                    <a:pt x="22" y="67"/>
                  </a:moveTo>
                  <a:lnTo>
                    <a:pt x="24" y="67"/>
                  </a:lnTo>
                  <a:lnTo>
                    <a:pt x="22" y="67"/>
                  </a:lnTo>
                  <a:close/>
                  <a:moveTo>
                    <a:pt x="25" y="77"/>
                  </a:moveTo>
                  <a:lnTo>
                    <a:pt x="25" y="79"/>
                  </a:lnTo>
                  <a:lnTo>
                    <a:pt x="25" y="77"/>
                  </a:lnTo>
                  <a:close/>
                  <a:moveTo>
                    <a:pt x="27" y="75"/>
                  </a:moveTo>
                  <a:lnTo>
                    <a:pt x="27" y="77"/>
                  </a:lnTo>
                  <a:lnTo>
                    <a:pt x="27" y="75"/>
                  </a:lnTo>
                  <a:close/>
                  <a:moveTo>
                    <a:pt x="12" y="69"/>
                  </a:moveTo>
                  <a:lnTo>
                    <a:pt x="12" y="71"/>
                  </a:lnTo>
                  <a:lnTo>
                    <a:pt x="12" y="69"/>
                  </a:lnTo>
                  <a:close/>
                  <a:moveTo>
                    <a:pt x="22" y="62"/>
                  </a:moveTo>
                  <a:lnTo>
                    <a:pt x="24" y="62"/>
                  </a:lnTo>
                  <a:lnTo>
                    <a:pt x="22" y="62"/>
                  </a:lnTo>
                  <a:close/>
                  <a:moveTo>
                    <a:pt x="27" y="23"/>
                  </a:moveTo>
                  <a:lnTo>
                    <a:pt x="29" y="23"/>
                  </a:lnTo>
                  <a:lnTo>
                    <a:pt x="27" y="23"/>
                  </a:lnTo>
                  <a:close/>
                  <a:moveTo>
                    <a:pt x="25" y="31"/>
                  </a:moveTo>
                  <a:lnTo>
                    <a:pt x="27" y="31"/>
                  </a:lnTo>
                  <a:lnTo>
                    <a:pt x="25" y="31"/>
                  </a:lnTo>
                  <a:close/>
                  <a:moveTo>
                    <a:pt x="58" y="64"/>
                  </a:moveTo>
                  <a:lnTo>
                    <a:pt x="58" y="65"/>
                  </a:lnTo>
                  <a:lnTo>
                    <a:pt x="58" y="64"/>
                  </a:lnTo>
                  <a:close/>
                  <a:moveTo>
                    <a:pt x="24" y="37"/>
                  </a:moveTo>
                  <a:lnTo>
                    <a:pt x="24" y="39"/>
                  </a:lnTo>
                  <a:lnTo>
                    <a:pt x="24" y="37"/>
                  </a:lnTo>
                  <a:close/>
                  <a:moveTo>
                    <a:pt x="24" y="77"/>
                  </a:moveTo>
                  <a:lnTo>
                    <a:pt x="24" y="79"/>
                  </a:lnTo>
                  <a:lnTo>
                    <a:pt x="24" y="77"/>
                  </a:lnTo>
                  <a:close/>
                  <a:moveTo>
                    <a:pt x="20" y="75"/>
                  </a:moveTo>
                  <a:lnTo>
                    <a:pt x="22" y="75"/>
                  </a:lnTo>
                  <a:lnTo>
                    <a:pt x="20" y="75"/>
                  </a:lnTo>
                  <a:close/>
                  <a:moveTo>
                    <a:pt x="22" y="69"/>
                  </a:moveTo>
                  <a:lnTo>
                    <a:pt x="24" y="69"/>
                  </a:lnTo>
                  <a:lnTo>
                    <a:pt x="22" y="69"/>
                  </a:lnTo>
                  <a:close/>
                  <a:moveTo>
                    <a:pt x="29" y="21"/>
                  </a:moveTo>
                  <a:lnTo>
                    <a:pt x="29" y="23"/>
                  </a:lnTo>
                  <a:lnTo>
                    <a:pt x="29" y="21"/>
                  </a:lnTo>
                  <a:close/>
                  <a:moveTo>
                    <a:pt x="24" y="42"/>
                  </a:moveTo>
                  <a:lnTo>
                    <a:pt x="25" y="42"/>
                  </a:lnTo>
                  <a:lnTo>
                    <a:pt x="24" y="42"/>
                  </a:lnTo>
                  <a:close/>
                  <a:moveTo>
                    <a:pt x="29" y="96"/>
                  </a:moveTo>
                  <a:lnTo>
                    <a:pt x="29" y="98"/>
                  </a:lnTo>
                  <a:lnTo>
                    <a:pt x="29" y="96"/>
                  </a:lnTo>
                  <a:close/>
                  <a:moveTo>
                    <a:pt x="43" y="71"/>
                  </a:moveTo>
                  <a:lnTo>
                    <a:pt x="45" y="71"/>
                  </a:lnTo>
                  <a:lnTo>
                    <a:pt x="43" y="71"/>
                  </a:lnTo>
                  <a:close/>
                  <a:moveTo>
                    <a:pt x="25" y="79"/>
                  </a:moveTo>
                  <a:lnTo>
                    <a:pt x="27" y="79"/>
                  </a:lnTo>
                  <a:lnTo>
                    <a:pt x="25" y="79"/>
                  </a:lnTo>
                  <a:close/>
                  <a:moveTo>
                    <a:pt x="54" y="69"/>
                  </a:moveTo>
                  <a:lnTo>
                    <a:pt x="56" y="69"/>
                  </a:lnTo>
                  <a:lnTo>
                    <a:pt x="54" y="69"/>
                  </a:lnTo>
                  <a:close/>
                  <a:moveTo>
                    <a:pt x="50" y="65"/>
                  </a:moveTo>
                  <a:lnTo>
                    <a:pt x="50" y="67"/>
                  </a:lnTo>
                  <a:lnTo>
                    <a:pt x="50" y="65"/>
                  </a:lnTo>
                  <a:close/>
                  <a:moveTo>
                    <a:pt x="24" y="77"/>
                  </a:moveTo>
                  <a:lnTo>
                    <a:pt x="24" y="79"/>
                  </a:lnTo>
                  <a:lnTo>
                    <a:pt x="24" y="77"/>
                  </a:lnTo>
                  <a:close/>
                  <a:moveTo>
                    <a:pt x="25" y="67"/>
                  </a:moveTo>
                  <a:lnTo>
                    <a:pt x="25" y="69"/>
                  </a:lnTo>
                  <a:lnTo>
                    <a:pt x="25" y="67"/>
                  </a:lnTo>
                  <a:close/>
                  <a:moveTo>
                    <a:pt x="35" y="79"/>
                  </a:moveTo>
                  <a:lnTo>
                    <a:pt x="35" y="81"/>
                  </a:lnTo>
                  <a:lnTo>
                    <a:pt x="35" y="79"/>
                  </a:lnTo>
                  <a:close/>
                  <a:moveTo>
                    <a:pt x="20" y="71"/>
                  </a:moveTo>
                  <a:lnTo>
                    <a:pt x="20" y="73"/>
                  </a:lnTo>
                  <a:lnTo>
                    <a:pt x="20" y="71"/>
                  </a:lnTo>
                  <a:close/>
                  <a:moveTo>
                    <a:pt x="60" y="64"/>
                  </a:moveTo>
                  <a:lnTo>
                    <a:pt x="60" y="65"/>
                  </a:lnTo>
                  <a:lnTo>
                    <a:pt x="60" y="64"/>
                  </a:lnTo>
                  <a:close/>
                  <a:moveTo>
                    <a:pt x="52" y="71"/>
                  </a:moveTo>
                  <a:lnTo>
                    <a:pt x="54" y="71"/>
                  </a:lnTo>
                  <a:lnTo>
                    <a:pt x="52" y="71"/>
                  </a:lnTo>
                  <a:close/>
                  <a:moveTo>
                    <a:pt x="48" y="65"/>
                  </a:moveTo>
                  <a:lnTo>
                    <a:pt x="48" y="67"/>
                  </a:lnTo>
                  <a:lnTo>
                    <a:pt x="48" y="65"/>
                  </a:lnTo>
                  <a:close/>
                  <a:moveTo>
                    <a:pt x="45" y="67"/>
                  </a:moveTo>
                  <a:lnTo>
                    <a:pt x="45" y="69"/>
                  </a:lnTo>
                  <a:lnTo>
                    <a:pt x="45" y="67"/>
                  </a:lnTo>
                  <a:close/>
                  <a:moveTo>
                    <a:pt x="33" y="77"/>
                  </a:moveTo>
                  <a:lnTo>
                    <a:pt x="35" y="77"/>
                  </a:lnTo>
                  <a:lnTo>
                    <a:pt x="35" y="79"/>
                  </a:lnTo>
                  <a:lnTo>
                    <a:pt x="33" y="79"/>
                  </a:lnTo>
                  <a:lnTo>
                    <a:pt x="33" y="77"/>
                  </a:lnTo>
                  <a:close/>
                  <a:moveTo>
                    <a:pt x="54" y="73"/>
                  </a:moveTo>
                  <a:lnTo>
                    <a:pt x="56" y="73"/>
                  </a:lnTo>
                  <a:lnTo>
                    <a:pt x="54" y="73"/>
                  </a:lnTo>
                  <a:close/>
                  <a:moveTo>
                    <a:pt x="25" y="85"/>
                  </a:moveTo>
                  <a:lnTo>
                    <a:pt x="27" y="85"/>
                  </a:lnTo>
                  <a:lnTo>
                    <a:pt x="25" y="85"/>
                  </a:lnTo>
                  <a:close/>
                  <a:moveTo>
                    <a:pt x="35" y="75"/>
                  </a:moveTo>
                  <a:lnTo>
                    <a:pt x="35" y="77"/>
                  </a:lnTo>
                  <a:lnTo>
                    <a:pt x="35" y="75"/>
                  </a:lnTo>
                  <a:close/>
                  <a:moveTo>
                    <a:pt x="22" y="73"/>
                  </a:moveTo>
                  <a:lnTo>
                    <a:pt x="22" y="75"/>
                  </a:lnTo>
                  <a:lnTo>
                    <a:pt x="22" y="73"/>
                  </a:lnTo>
                  <a:close/>
                  <a:moveTo>
                    <a:pt x="56" y="67"/>
                  </a:moveTo>
                  <a:lnTo>
                    <a:pt x="56" y="69"/>
                  </a:lnTo>
                  <a:lnTo>
                    <a:pt x="56" y="67"/>
                  </a:lnTo>
                  <a:close/>
                  <a:moveTo>
                    <a:pt x="60" y="65"/>
                  </a:moveTo>
                  <a:lnTo>
                    <a:pt x="60" y="67"/>
                  </a:lnTo>
                  <a:lnTo>
                    <a:pt x="60" y="65"/>
                  </a:lnTo>
                  <a:close/>
                  <a:moveTo>
                    <a:pt x="24" y="15"/>
                  </a:moveTo>
                  <a:lnTo>
                    <a:pt x="24" y="17"/>
                  </a:lnTo>
                  <a:lnTo>
                    <a:pt x="24" y="15"/>
                  </a:lnTo>
                  <a:close/>
                  <a:moveTo>
                    <a:pt x="20" y="71"/>
                  </a:moveTo>
                  <a:lnTo>
                    <a:pt x="22" y="71"/>
                  </a:lnTo>
                  <a:lnTo>
                    <a:pt x="20" y="71"/>
                  </a:lnTo>
                  <a:close/>
                  <a:moveTo>
                    <a:pt x="56" y="67"/>
                  </a:moveTo>
                  <a:lnTo>
                    <a:pt x="58" y="67"/>
                  </a:lnTo>
                  <a:lnTo>
                    <a:pt x="56" y="67"/>
                  </a:lnTo>
                  <a:close/>
                  <a:moveTo>
                    <a:pt x="47" y="67"/>
                  </a:moveTo>
                  <a:lnTo>
                    <a:pt x="47" y="69"/>
                  </a:lnTo>
                  <a:lnTo>
                    <a:pt x="47" y="67"/>
                  </a:lnTo>
                  <a:close/>
                  <a:moveTo>
                    <a:pt x="20" y="73"/>
                  </a:moveTo>
                  <a:lnTo>
                    <a:pt x="22" y="73"/>
                  </a:lnTo>
                  <a:lnTo>
                    <a:pt x="20" y="73"/>
                  </a:lnTo>
                  <a:close/>
                  <a:moveTo>
                    <a:pt x="20" y="29"/>
                  </a:moveTo>
                  <a:lnTo>
                    <a:pt x="22" y="29"/>
                  </a:lnTo>
                  <a:lnTo>
                    <a:pt x="20" y="29"/>
                  </a:lnTo>
                  <a:close/>
                  <a:moveTo>
                    <a:pt x="24" y="69"/>
                  </a:moveTo>
                  <a:lnTo>
                    <a:pt x="24" y="71"/>
                  </a:lnTo>
                  <a:lnTo>
                    <a:pt x="24" y="69"/>
                  </a:lnTo>
                  <a:close/>
                  <a:moveTo>
                    <a:pt x="41" y="75"/>
                  </a:moveTo>
                  <a:lnTo>
                    <a:pt x="41" y="77"/>
                  </a:lnTo>
                  <a:lnTo>
                    <a:pt x="41" y="75"/>
                  </a:lnTo>
                  <a:close/>
                  <a:moveTo>
                    <a:pt x="45" y="67"/>
                  </a:moveTo>
                  <a:lnTo>
                    <a:pt x="45" y="69"/>
                  </a:lnTo>
                  <a:lnTo>
                    <a:pt x="45" y="67"/>
                  </a:lnTo>
                  <a:close/>
                  <a:moveTo>
                    <a:pt x="29" y="46"/>
                  </a:moveTo>
                  <a:lnTo>
                    <a:pt x="29" y="48"/>
                  </a:lnTo>
                  <a:lnTo>
                    <a:pt x="29" y="46"/>
                  </a:lnTo>
                  <a:close/>
                  <a:moveTo>
                    <a:pt x="27" y="48"/>
                  </a:moveTo>
                  <a:lnTo>
                    <a:pt x="29" y="48"/>
                  </a:lnTo>
                  <a:lnTo>
                    <a:pt x="27" y="48"/>
                  </a:lnTo>
                  <a:close/>
                  <a:moveTo>
                    <a:pt x="58" y="64"/>
                  </a:moveTo>
                  <a:lnTo>
                    <a:pt x="58" y="65"/>
                  </a:lnTo>
                  <a:lnTo>
                    <a:pt x="58" y="64"/>
                  </a:lnTo>
                  <a:close/>
                  <a:moveTo>
                    <a:pt x="8" y="71"/>
                  </a:moveTo>
                  <a:lnTo>
                    <a:pt x="10" y="71"/>
                  </a:lnTo>
                  <a:lnTo>
                    <a:pt x="8" y="71"/>
                  </a:lnTo>
                  <a:close/>
                  <a:moveTo>
                    <a:pt x="41" y="71"/>
                  </a:moveTo>
                  <a:lnTo>
                    <a:pt x="43" y="71"/>
                  </a:lnTo>
                  <a:lnTo>
                    <a:pt x="41" y="71"/>
                  </a:lnTo>
                  <a:close/>
                  <a:moveTo>
                    <a:pt x="60" y="12"/>
                  </a:moveTo>
                  <a:lnTo>
                    <a:pt x="62" y="12"/>
                  </a:lnTo>
                  <a:lnTo>
                    <a:pt x="60" y="12"/>
                  </a:lnTo>
                  <a:close/>
                  <a:moveTo>
                    <a:pt x="25" y="40"/>
                  </a:moveTo>
                  <a:lnTo>
                    <a:pt x="27" y="40"/>
                  </a:lnTo>
                  <a:lnTo>
                    <a:pt x="25" y="40"/>
                  </a:lnTo>
                  <a:close/>
                  <a:moveTo>
                    <a:pt x="58" y="64"/>
                  </a:moveTo>
                  <a:lnTo>
                    <a:pt x="58" y="65"/>
                  </a:lnTo>
                  <a:lnTo>
                    <a:pt x="58" y="64"/>
                  </a:lnTo>
                  <a:close/>
                  <a:moveTo>
                    <a:pt x="22" y="71"/>
                  </a:moveTo>
                  <a:lnTo>
                    <a:pt x="22" y="73"/>
                  </a:lnTo>
                  <a:lnTo>
                    <a:pt x="22" y="71"/>
                  </a:lnTo>
                  <a:close/>
                  <a:moveTo>
                    <a:pt x="50" y="67"/>
                  </a:moveTo>
                  <a:lnTo>
                    <a:pt x="52" y="67"/>
                  </a:lnTo>
                  <a:lnTo>
                    <a:pt x="50" y="67"/>
                  </a:lnTo>
                  <a:close/>
                  <a:moveTo>
                    <a:pt x="25" y="64"/>
                  </a:moveTo>
                  <a:lnTo>
                    <a:pt x="27" y="64"/>
                  </a:lnTo>
                  <a:lnTo>
                    <a:pt x="25" y="64"/>
                  </a:lnTo>
                  <a:close/>
                  <a:moveTo>
                    <a:pt x="27" y="79"/>
                  </a:moveTo>
                  <a:lnTo>
                    <a:pt x="27" y="81"/>
                  </a:lnTo>
                  <a:lnTo>
                    <a:pt x="27" y="79"/>
                  </a:lnTo>
                  <a:close/>
                  <a:moveTo>
                    <a:pt x="47" y="67"/>
                  </a:moveTo>
                  <a:lnTo>
                    <a:pt x="48" y="67"/>
                  </a:lnTo>
                  <a:lnTo>
                    <a:pt x="47" y="67"/>
                  </a:lnTo>
                  <a:close/>
                  <a:moveTo>
                    <a:pt x="20" y="71"/>
                  </a:moveTo>
                  <a:lnTo>
                    <a:pt x="22" y="71"/>
                  </a:lnTo>
                  <a:lnTo>
                    <a:pt x="20" y="71"/>
                  </a:lnTo>
                  <a:close/>
                  <a:moveTo>
                    <a:pt x="8" y="71"/>
                  </a:moveTo>
                  <a:lnTo>
                    <a:pt x="10" y="71"/>
                  </a:lnTo>
                  <a:lnTo>
                    <a:pt x="8" y="71"/>
                  </a:lnTo>
                  <a:close/>
                  <a:moveTo>
                    <a:pt x="45" y="73"/>
                  </a:moveTo>
                  <a:lnTo>
                    <a:pt x="45" y="75"/>
                  </a:lnTo>
                  <a:lnTo>
                    <a:pt x="45" y="73"/>
                  </a:lnTo>
                  <a:close/>
                  <a:moveTo>
                    <a:pt x="58" y="71"/>
                  </a:moveTo>
                  <a:lnTo>
                    <a:pt x="58" y="73"/>
                  </a:lnTo>
                  <a:lnTo>
                    <a:pt x="58" y="71"/>
                  </a:lnTo>
                  <a:close/>
                  <a:moveTo>
                    <a:pt x="24" y="71"/>
                  </a:moveTo>
                  <a:lnTo>
                    <a:pt x="25" y="71"/>
                  </a:lnTo>
                  <a:lnTo>
                    <a:pt x="24" y="71"/>
                  </a:lnTo>
                  <a:close/>
                  <a:moveTo>
                    <a:pt x="22" y="79"/>
                  </a:moveTo>
                  <a:lnTo>
                    <a:pt x="22" y="81"/>
                  </a:lnTo>
                  <a:lnTo>
                    <a:pt x="22" y="79"/>
                  </a:lnTo>
                  <a:close/>
                  <a:moveTo>
                    <a:pt x="24" y="37"/>
                  </a:moveTo>
                  <a:lnTo>
                    <a:pt x="24" y="39"/>
                  </a:lnTo>
                  <a:lnTo>
                    <a:pt x="24" y="37"/>
                  </a:lnTo>
                  <a:close/>
                  <a:moveTo>
                    <a:pt x="43" y="75"/>
                  </a:moveTo>
                  <a:lnTo>
                    <a:pt x="45" y="75"/>
                  </a:lnTo>
                  <a:lnTo>
                    <a:pt x="43" y="75"/>
                  </a:lnTo>
                  <a:close/>
                  <a:moveTo>
                    <a:pt x="8" y="71"/>
                  </a:moveTo>
                  <a:lnTo>
                    <a:pt x="10" y="71"/>
                  </a:lnTo>
                  <a:lnTo>
                    <a:pt x="8" y="71"/>
                  </a:lnTo>
                  <a:close/>
                  <a:moveTo>
                    <a:pt x="41" y="73"/>
                  </a:moveTo>
                  <a:lnTo>
                    <a:pt x="43" y="73"/>
                  </a:lnTo>
                  <a:lnTo>
                    <a:pt x="41" y="73"/>
                  </a:lnTo>
                  <a:close/>
                  <a:moveTo>
                    <a:pt x="25" y="52"/>
                  </a:moveTo>
                  <a:lnTo>
                    <a:pt x="27" y="52"/>
                  </a:lnTo>
                  <a:lnTo>
                    <a:pt x="25" y="52"/>
                  </a:lnTo>
                  <a:close/>
                  <a:moveTo>
                    <a:pt x="12" y="71"/>
                  </a:moveTo>
                  <a:lnTo>
                    <a:pt x="14" y="71"/>
                  </a:lnTo>
                  <a:lnTo>
                    <a:pt x="12" y="71"/>
                  </a:lnTo>
                  <a:close/>
                  <a:moveTo>
                    <a:pt x="29" y="79"/>
                  </a:moveTo>
                  <a:lnTo>
                    <a:pt x="29" y="81"/>
                  </a:lnTo>
                  <a:lnTo>
                    <a:pt x="29" y="79"/>
                  </a:lnTo>
                  <a:close/>
                  <a:moveTo>
                    <a:pt x="39" y="75"/>
                  </a:moveTo>
                  <a:lnTo>
                    <a:pt x="41" y="75"/>
                  </a:lnTo>
                  <a:lnTo>
                    <a:pt x="39" y="75"/>
                  </a:lnTo>
                  <a:close/>
                  <a:moveTo>
                    <a:pt x="50" y="65"/>
                  </a:moveTo>
                  <a:lnTo>
                    <a:pt x="50" y="67"/>
                  </a:lnTo>
                  <a:lnTo>
                    <a:pt x="50" y="65"/>
                  </a:lnTo>
                  <a:close/>
                  <a:moveTo>
                    <a:pt x="27" y="54"/>
                  </a:moveTo>
                  <a:lnTo>
                    <a:pt x="29" y="54"/>
                  </a:lnTo>
                  <a:lnTo>
                    <a:pt x="27" y="54"/>
                  </a:lnTo>
                  <a:close/>
                  <a:moveTo>
                    <a:pt x="12" y="71"/>
                  </a:moveTo>
                  <a:lnTo>
                    <a:pt x="14" y="71"/>
                  </a:lnTo>
                  <a:lnTo>
                    <a:pt x="12" y="71"/>
                  </a:lnTo>
                  <a:close/>
                  <a:moveTo>
                    <a:pt x="68" y="60"/>
                  </a:moveTo>
                  <a:lnTo>
                    <a:pt x="68" y="62"/>
                  </a:lnTo>
                  <a:lnTo>
                    <a:pt x="68" y="60"/>
                  </a:lnTo>
                  <a:close/>
                  <a:moveTo>
                    <a:pt x="25" y="25"/>
                  </a:moveTo>
                  <a:lnTo>
                    <a:pt x="27" y="25"/>
                  </a:lnTo>
                  <a:lnTo>
                    <a:pt x="25" y="25"/>
                  </a:lnTo>
                  <a:close/>
                  <a:moveTo>
                    <a:pt x="39" y="75"/>
                  </a:moveTo>
                  <a:lnTo>
                    <a:pt x="39" y="77"/>
                  </a:lnTo>
                  <a:lnTo>
                    <a:pt x="39" y="75"/>
                  </a:lnTo>
                  <a:close/>
                  <a:moveTo>
                    <a:pt x="41" y="73"/>
                  </a:moveTo>
                  <a:lnTo>
                    <a:pt x="43" y="73"/>
                  </a:lnTo>
                  <a:lnTo>
                    <a:pt x="41" y="73"/>
                  </a:lnTo>
                  <a:close/>
                  <a:moveTo>
                    <a:pt x="24" y="42"/>
                  </a:moveTo>
                  <a:lnTo>
                    <a:pt x="25" y="42"/>
                  </a:lnTo>
                  <a:lnTo>
                    <a:pt x="24" y="42"/>
                  </a:lnTo>
                  <a:close/>
                  <a:moveTo>
                    <a:pt x="24" y="60"/>
                  </a:moveTo>
                  <a:lnTo>
                    <a:pt x="24" y="62"/>
                  </a:lnTo>
                  <a:lnTo>
                    <a:pt x="24" y="60"/>
                  </a:lnTo>
                  <a:close/>
                  <a:moveTo>
                    <a:pt x="54" y="73"/>
                  </a:moveTo>
                  <a:lnTo>
                    <a:pt x="56" y="73"/>
                  </a:lnTo>
                  <a:lnTo>
                    <a:pt x="54" y="73"/>
                  </a:lnTo>
                  <a:close/>
                  <a:moveTo>
                    <a:pt x="24" y="73"/>
                  </a:moveTo>
                  <a:lnTo>
                    <a:pt x="25" y="73"/>
                  </a:lnTo>
                  <a:lnTo>
                    <a:pt x="24" y="73"/>
                  </a:lnTo>
                  <a:close/>
                  <a:moveTo>
                    <a:pt x="25" y="73"/>
                  </a:moveTo>
                  <a:lnTo>
                    <a:pt x="27" y="73"/>
                  </a:lnTo>
                  <a:lnTo>
                    <a:pt x="25" y="73"/>
                  </a:lnTo>
                  <a:close/>
                  <a:moveTo>
                    <a:pt x="39" y="75"/>
                  </a:moveTo>
                  <a:lnTo>
                    <a:pt x="39" y="77"/>
                  </a:lnTo>
                  <a:lnTo>
                    <a:pt x="39" y="75"/>
                  </a:lnTo>
                  <a:close/>
                  <a:moveTo>
                    <a:pt x="22" y="79"/>
                  </a:moveTo>
                  <a:lnTo>
                    <a:pt x="22" y="81"/>
                  </a:lnTo>
                  <a:lnTo>
                    <a:pt x="22" y="79"/>
                  </a:lnTo>
                  <a:close/>
                  <a:moveTo>
                    <a:pt x="20" y="29"/>
                  </a:moveTo>
                  <a:lnTo>
                    <a:pt x="22" y="29"/>
                  </a:lnTo>
                  <a:lnTo>
                    <a:pt x="20" y="29"/>
                  </a:lnTo>
                  <a:close/>
                  <a:moveTo>
                    <a:pt x="47" y="67"/>
                  </a:moveTo>
                  <a:lnTo>
                    <a:pt x="48" y="67"/>
                  </a:lnTo>
                  <a:lnTo>
                    <a:pt x="47" y="67"/>
                  </a:lnTo>
                  <a:close/>
                  <a:moveTo>
                    <a:pt x="50" y="69"/>
                  </a:moveTo>
                  <a:lnTo>
                    <a:pt x="52" y="69"/>
                  </a:lnTo>
                  <a:lnTo>
                    <a:pt x="50" y="69"/>
                  </a:lnTo>
                  <a:close/>
                  <a:moveTo>
                    <a:pt x="58" y="71"/>
                  </a:moveTo>
                  <a:lnTo>
                    <a:pt x="60" y="71"/>
                  </a:lnTo>
                  <a:lnTo>
                    <a:pt x="58" y="71"/>
                  </a:lnTo>
                  <a:close/>
                  <a:moveTo>
                    <a:pt x="66" y="19"/>
                  </a:moveTo>
                  <a:lnTo>
                    <a:pt x="66" y="21"/>
                  </a:lnTo>
                  <a:lnTo>
                    <a:pt x="66" y="19"/>
                  </a:lnTo>
                  <a:close/>
                  <a:moveTo>
                    <a:pt x="43" y="67"/>
                  </a:moveTo>
                  <a:lnTo>
                    <a:pt x="43" y="69"/>
                  </a:lnTo>
                  <a:lnTo>
                    <a:pt x="43" y="67"/>
                  </a:lnTo>
                  <a:close/>
                  <a:moveTo>
                    <a:pt x="70" y="44"/>
                  </a:moveTo>
                  <a:lnTo>
                    <a:pt x="72" y="44"/>
                  </a:lnTo>
                  <a:lnTo>
                    <a:pt x="70" y="44"/>
                  </a:lnTo>
                  <a:close/>
                  <a:moveTo>
                    <a:pt x="70" y="44"/>
                  </a:moveTo>
                  <a:lnTo>
                    <a:pt x="70" y="46"/>
                  </a:lnTo>
                  <a:lnTo>
                    <a:pt x="70" y="44"/>
                  </a:lnTo>
                  <a:close/>
                  <a:moveTo>
                    <a:pt x="14" y="71"/>
                  </a:moveTo>
                  <a:lnTo>
                    <a:pt x="14" y="73"/>
                  </a:lnTo>
                  <a:lnTo>
                    <a:pt x="14" y="71"/>
                  </a:lnTo>
                  <a:close/>
                  <a:moveTo>
                    <a:pt x="27" y="29"/>
                  </a:moveTo>
                  <a:lnTo>
                    <a:pt x="29" y="29"/>
                  </a:lnTo>
                  <a:lnTo>
                    <a:pt x="27" y="29"/>
                  </a:lnTo>
                  <a:close/>
                  <a:moveTo>
                    <a:pt x="25" y="31"/>
                  </a:moveTo>
                  <a:lnTo>
                    <a:pt x="25" y="33"/>
                  </a:lnTo>
                  <a:lnTo>
                    <a:pt x="25" y="31"/>
                  </a:lnTo>
                  <a:close/>
                  <a:moveTo>
                    <a:pt x="72" y="50"/>
                  </a:moveTo>
                  <a:lnTo>
                    <a:pt x="72" y="52"/>
                  </a:lnTo>
                  <a:lnTo>
                    <a:pt x="72" y="5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7" name="Freeform 407">
              <a:extLst>
                <a:ext uri="{FF2B5EF4-FFF2-40B4-BE49-F238E27FC236}">
                  <a16:creationId xmlns:a16="http://schemas.microsoft.com/office/drawing/2014/main" id="{D41B1DEA-F7FC-4DFE-89EB-616AE1C9E9D6}"/>
                </a:ext>
              </a:extLst>
            </p:cNvPr>
            <p:cNvSpPr>
              <a:spLocks noEditPoints="1"/>
            </p:cNvSpPr>
            <p:nvPr/>
          </p:nvSpPr>
          <p:spPr bwMode="gray">
            <a:xfrm>
              <a:off x="4529070" y="3223557"/>
              <a:ext cx="1096381" cy="813088"/>
            </a:xfrm>
            <a:custGeom>
              <a:avLst/>
              <a:gdLst>
                <a:gd name="T0" fmla="*/ 783 w 894"/>
                <a:gd name="T1" fmla="*/ 260 h 663"/>
                <a:gd name="T2" fmla="*/ 729 w 894"/>
                <a:gd name="T3" fmla="*/ 296 h 663"/>
                <a:gd name="T4" fmla="*/ 699 w 894"/>
                <a:gd name="T5" fmla="*/ 315 h 663"/>
                <a:gd name="T6" fmla="*/ 712 w 894"/>
                <a:gd name="T7" fmla="*/ 285 h 663"/>
                <a:gd name="T8" fmla="*/ 660 w 894"/>
                <a:gd name="T9" fmla="*/ 310 h 663"/>
                <a:gd name="T10" fmla="*/ 652 w 894"/>
                <a:gd name="T11" fmla="*/ 329 h 663"/>
                <a:gd name="T12" fmla="*/ 689 w 894"/>
                <a:gd name="T13" fmla="*/ 334 h 663"/>
                <a:gd name="T14" fmla="*/ 714 w 894"/>
                <a:gd name="T15" fmla="*/ 352 h 663"/>
                <a:gd name="T16" fmla="*/ 683 w 894"/>
                <a:gd name="T17" fmla="*/ 367 h 663"/>
                <a:gd name="T18" fmla="*/ 689 w 894"/>
                <a:gd name="T19" fmla="*/ 411 h 663"/>
                <a:gd name="T20" fmla="*/ 699 w 894"/>
                <a:gd name="T21" fmla="*/ 444 h 663"/>
                <a:gd name="T22" fmla="*/ 700 w 894"/>
                <a:gd name="T23" fmla="*/ 482 h 663"/>
                <a:gd name="T24" fmla="*/ 699 w 894"/>
                <a:gd name="T25" fmla="*/ 504 h 663"/>
                <a:gd name="T26" fmla="*/ 685 w 894"/>
                <a:gd name="T27" fmla="*/ 517 h 663"/>
                <a:gd name="T28" fmla="*/ 675 w 894"/>
                <a:gd name="T29" fmla="*/ 530 h 663"/>
                <a:gd name="T30" fmla="*/ 666 w 894"/>
                <a:gd name="T31" fmla="*/ 552 h 663"/>
                <a:gd name="T32" fmla="*/ 651 w 894"/>
                <a:gd name="T33" fmla="*/ 567 h 663"/>
                <a:gd name="T34" fmla="*/ 622 w 894"/>
                <a:gd name="T35" fmla="*/ 588 h 663"/>
                <a:gd name="T36" fmla="*/ 597 w 894"/>
                <a:gd name="T37" fmla="*/ 594 h 663"/>
                <a:gd name="T38" fmla="*/ 585 w 894"/>
                <a:gd name="T39" fmla="*/ 594 h 663"/>
                <a:gd name="T40" fmla="*/ 551 w 894"/>
                <a:gd name="T41" fmla="*/ 611 h 663"/>
                <a:gd name="T42" fmla="*/ 533 w 894"/>
                <a:gd name="T43" fmla="*/ 626 h 663"/>
                <a:gd name="T44" fmla="*/ 510 w 894"/>
                <a:gd name="T45" fmla="*/ 607 h 663"/>
                <a:gd name="T46" fmla="*/ 474 w 894"/>
                <a:gd name="T47" fmla="*/ 588 h 663"/>
                <a:gd name="T48" fmla="*/ 424 w 894"/>
                <a:gd name="T49" fmla="*/ 592 h 663"/>
                <a:gd name="T50" fmla="*/ 376 w 894"/>
                <a:gd name="T51" fmla="*/ 601 h 663"/>
                <a:gd name="T52" fmla="*/ 361 w 894"/>
                <a:gd name="T53" fmla="*/ 544 h 663"/>
                <a:gd name="T54" fmla="*/ 338 w 894"/>
                <a:gd name="T55" fmla="*/ 498 h 663"/>
                <a:gd name="T56" fmla="*/ 267 w 894"/>
                <a:gd name="T57" fmla="*/ 509 h 663"/>
                <a:gd name="T58" fmla="*/ 207 w 894"/>
                <a:gd name="T59" fmla="*/ 507 h 663"/>
                <a:gd name="T60" fmla="*/ 142 w 894"/>
                <a:gd name="T61" fmla="*/ 479 h 663"/>
                <a:gd name="T62" fmla="*/ 71 w 894"/>
                <a:gd name="T63" fmla="*/ 431 h 663"/>
                <a:gd name="T64" fmla="*/ 73 w 894"/>
                <a:gd name="T65" fmla="*/ 371 h 663"/>
                <a:gd name="T66" fmla="*/ 19 w 894"/>
                <a:gd name="T67" fmla="*/ 329 h 663"/>
                <a:gd name="T68" fmla="*/ 36 w 894"/>
                <a:gd name="T69" fmla="*/ 285 h 663"/>
                <a:gd name="T70" fmla="*/ 105 w 894"/>
                <a:gd name="T71" fmla="*/ 231 h 663"/>
                <a:gd name="T72" fmla="*/ 130 w 894"/>
                <a:gd name="T73" fmla="*/ 167 h 663"/>
                <a:gd name="T74" fmla="*/ 203 w 894"/>
                <a:gd name="T75" fmla="*/ 106 h 663"/>
                <a:gd name="T76" fmla="*/ 253 w 894"/>
                <a:gd name="T77" fmla="*/ 175 h 663"/>
                <a:gd name="T78" fmla="*/ 359 w 894"/>
                <a:gd name="T79" fmla="*/ 240 h 663"/>
                <a:gd name="T80" fmla="*/ 495 w 894"/>
                <a:gd name="T81" fmla="*/ 246 h 663"/>
                <a:gd name="T82" fmla="*/ 572 w 894"/>
                <a:gd name="T83" fmla="*/ 196 h 663"/>
                <a:gd name="T84" fmla="*/ 664 w 894"/>
                <a:gd name="T85" fmla="*/ 158 h 663"/>
                <a:gd name="T86" fmla="*/ 616 w 894"/>
                <a:gd name="T87" fmla="*/ 125 h 663"/>
                <a:gd name="T88" fmla="*/ 679 w 894"/>
                <a:gd name="T89" fmla="*/ 52 h 663"/>
                <a:gd name="T90" fmla="*/ 731 w 894"/>
                <a:gd name="T91" fmla="*/ 0 h 663"/>
                <a:gd name="T92" fmla="*/ 783 w 894"/>
                <a:gd name="T93" fmla="*/ 64 h 663"/>
                <a:gd name="T94" fmla="*/ 839 w 894"/>
                <a:gd name="T95" fmla="*/ 131 h 663"/>
                <a:gd name="T96" fmla="*/ 879 w 894"/>
                <a:gd name="T97" fmla="*/ 171 h 663"/>
                <a:gd name="T98" fmla="*/ 842 w 894"/>
                <a:gd name="T99" fmla="*/ 235 h 663"/>
                <a:gd name="T100" fmla="*/ 526 w 894"/>
                <a:gd name="T101" fmla="*/ 663 h 663"/>
                <a:gd name="T102" fmla="*/ 700 w 894"/>
                <a:gd name="T103" fmla="*/ 446 h 663"/>
                <a:gd name="T104" fmla="*/ 712 w 894"/>
                <a:gd name="T105" fmla="*/ 467 h 663"/>
                <a:gd name="T106" fmla="*/ 672 w 894"/>
                <a:gd name="T107" fmla="*/ 552 h 663"/>
                <a:gd name="T108" fmla="*/ 697 w 894"/>
                <a:gd name="T109" fmla="*/ 507 h 663"/>
                <a:gd name="T110" fmla="*/ 593 w 894"/>
                <a:gd name="T111" fmla="*/ 598 h 663"/>
                <a:gd name="T112" fmla="*/ 708 w 894"/>
                <a:gd name="T113" fmla="*/ 461 h 663"/>
                <a:gd name="T114" fmla="*/ 689 w 894"/>
                <a:gd name="T115" fmla="*/ 333 h 663"/>
                <a:gd name="T116" fmla="*/ 551 w 894"/>
                <a:gd name="T117" fmla="*/ 611 h 663"/>
                <a:gd name="T118" fmla="*/ 695 w 894"/>
                <a:gd name="T119" fmla="*/ 502 h 663"/>
                <a:gd name="T120" fmla="*/ 693 w 894"/>
                <a:gd name="T121" fmla="*/ 331 h 663"/>
                <a:gd name="T122" fmla="*/ 516 w 894"/>
                <a:gd name="T123" fmla="*/ 605 h 663"/>
                <a:gd name="T124" fmla="*/ 675 w 894"/>
                <a:gd name="T125" fmla="*/ 532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4" h="663">
                  <a:moveTo>
                    <a:pt x="835" y="246"/>
                  </a:moveTo>
                  <a:lnTo>
                    <a:pt x="833" y="246"/>
                  </a:lnTo>
                  <a:lnTo>
                    <a:pt x="833" y="244"/>
                  </a:lnTo>
                  <a:lnTo>
                    <a:pt x="835" y="244"/>
                  </a:lnTo>
                  <a:lnTo>
                    <a:pt x="833" y="244"/>
                  </a:lnTo>
                  <a:lnTo>
                    <a:pt x="833" y="242"/>
                  </a:lnTo>
                  <a:lnTo>
                    <a:pt x="831" y="242"/>
                  </a:lnTo>
                  <a:lnTo>
                    <a:pt x="831" y="240"/>
                  </a:lnTo>
                  <a:lnTo>
                    <a:pt x="829" y="240"/>
                  </a:lnTo>
                  <a:lnTo>
                    <a:pt x="829" y="238"/>
                  </a:lnTo>
                  <a:lnTo>
                    <a:pt x="829" y="237"/>
                  </a:lnTo>
                  <a:lnTo>
                    <a:pt x="827" y="237"/>
                  </a:lnTo>
                  <a:lnTo>
                    <a:pt x="827" y="235"/>
                  </a:lnTo>
                  <a:lnTo>
                    <a:pt x="825" y="235"/>
                  </a:lnTo>
                  <a:lnTo>
                    <a:pt x="823" y="235"/>
                  </a:lnTo>
                  <a:lnTo>
                    <a:pt x="823" y="237"/>
                  </a:lnTo>
                  <a:lnTo>
                    <a:pt x="823" y="235"/>
                  </a:lnTo>
                  <a:lnTo>
                    <a:pt x="823" y="237"/>
                  </a:lnTo>
                  <a:lnTo>
                    <a:pt x="823" y="238"/>
                  </a:lnTo>
                  <a:lnTo>
                    <a:pt x="821" y="238"/>
                  </a:lnTo>
                  <a:lnTo>
                    <a:pt x="821" y="240"/>
                  </a:lnTo>
                  <a:lnTo>
                    <a:pt x="823" y="240"/>
                  </a:lnTo>
                  <a:lnTo>
                    <a:pt x="821" y="240"/>
                  </a:lnTo>
                  <a:lnTo>
                    <a:pt x="821" y="242"/>
                  </a:lnTo>
                  <a:lnTo>
                    <a:pt x="821" y="244"/>
                  </a:lnTo>
                  <a:lnTo>
                    <a:pt x="821" y="246"/>
                  </a:lnTo>
                  <a:lnTo>
                    <a:pt x="819" y="246"/>
                  </a:lnTo>
                  <a:lnTo>
                    <a:pt x="819" y="244"/>
                  </a:lnTo>
                  <a:lnTo>
                    <a:pt x="819" y="246"/>
                  </a:lnTo>
                  <a:lnTo>
                    <a:pt x="818" y="246"/>
                  </a:lnTo>
                  <a:lnTo>
                    <a:pt x="818" y="244"/>
                  </a:lnTo>
                  <a:lnTo>
                    <a:pt x="818" y="246"/>
                  </a:lnTo>
                  <a:lnTo>
                    <a:pt x="818" y="244"/>
                  </a:lnTo>
                  <a:lnTo>
                    <a:pt x="816" y="244"/>
                  </a:lnTo>
                  <a:lnTo>
                    <a:pt x="816" y="246"/>
                  </a:lnTo>
                  <a:lnTo>
                    <a:pt x="816" y="244"/>
                  </a:lnTo>
                  <a:lnTo>
                    <a:pt x="816" y="246"/>
                  </a:lnTo>
                  <a:lnTo>
                    <a:pt x="814" y="246"/>
                  </a:lnTo>
                  <a:lnTo>
                    <a:pt x="814" y="248"/>
                  </a:lnTo>
                  <a:lnTo>
                    <a:pt x="814" y="250"/>
                  </a:lnTo>
                  <a:lnTo>
                    <a:pt x="812" y="250"/>
                  </a:lnTo>
                  <a:lnTo>
                    <a:pt x="812" y="252"/>
                  </a:lnTo>
                  <a:lnTo>
                    <a:pt x="812" y="250"/>
                  </a:lnTo>
                  <a:lnTo>
                    <a:pt x="812" y="252"/>
                  </a:lnTo>
                  <a:lnTo>
                    <a:pt x="810" y="252"/>
                  </a:lnTo>
                  <a:lnTo>
                    <a:pt x="810" y="254"/>
                  </a:lnTo>
                  <a:lnTo>
                    <a:pt x="808" y="254"/>
                  </a:lnTo>
                  <a:lnTo>
                    <a:pt x="808" y="252"/>
                  </a:lnTo>
                  <a:lnTo>
                    <a:pt x="806" y="254"/>
                  </a:lnTo>
                  <a:lnTo>
                    <a:pt x="804" y="254"/>
                  </a:lnTo>
                  <a:lnTo>
                    <a:pt x="802" y="254"/>
                  </a:lnTo>
                  <a:lnTo>
                    <a:pt x="800" y="254"/>
                  </a:lnTo>
                  <a:lnTo>
                    <a:pt x="798" y="254"/>
                  </a:lnTo>
                  <a:lnTo>
                    <a:pt x="796" y="254"/>
                  </a:lnTo>
                  <a:lnTo>
                    <a:pt x="798" y="254"/>
                  </a:lnTo>
                  <a:lnTo>
                    <a:pt x="798" y="256"/>
                  </a:lnTo>
                  <a:lnTo>
                    <a:pt x="798" y="258"/>
                  </a:lnTo>
                  <a:lnTo>
                    <a:pt x="798" y="260"/>
                  </a:lnTo>
                  <a:lnTo>
                    <a:pt x="800" y="260"/>
                  </a:lnTo>
                  <a:lnTo>
                    <a:pt x="800" y="261"/>
                  </a:lnTo>
                  <a:lnTo>
                    <a:pt x="800" y="263"/>
                  </a:lnTo>
                  <a:lnTo>
                    <a:pt x="800" y="265"/>
                  </a:lnTo>
                  <a:lnTo>
                    <a:pt x="798" y="265"/>
                  </a:lnTo>
                  <a:lnTo>
                    <a:pt x="798" y="267"/>
                  </a:lnTo>
                  <a:lnTo>
                    <a:pt x="798" y="265"/>
                  </a:lnTo>
                  <a:lnTo>
                    <a:pt x="796" y="265"/>
                  </a:lnTo>
                  <a:lnTo>
                    <a:pt x="798" y="265"/>
                  </a:lnTo>
                  <a:lnTo>
                    <a:pt x="796" y="265"/>
                  </a:lnTo>
                  <a:lnTo>
                    <a:pt x="794" y="265"/>
                  </a:lnTo>
                  <a:lnTo>
                    <a:pt x="793" y="265"/>
                  </a:lnTo>
                  <a:lnTo>
                    <a:pt x="791" y="265"/>
                  </a:lnTo>
                  <a:lnTo>
                    <a:pt x="789" y="265"/>
                  </a:lnTo>
                  <a:lnTo>
                    <a:pt x="789" y="263"/>
                  </a:lnTo>
                  <a:lnTo>
                    <a:pt x="789" y="265"/>
                  </a:lnTo>
                  <a:lnTo>
                    <a:pt x="787" y="265"/>
                  </a:lnTo>
                  <a:lnTo>
                    <a:pt x="787" y="263"/>
                  </a:lnTo>
                  <a:lnTo>
                    <a:pt x="787" y="265"/>
                  </a:lnTo>
                  <a:lnTo>
                    <a:pt x="787" y="263"/>
                  </a:lnTo>
                  <a:lnTo>
                    <a:pt x="785" y="263"/>
                  </a:lnTo>
                  <a:lnTo>
                    <a:pt x="783" y="263"/>
                  </a:lnTo>
                  <a:lnTo>
                    <a:pt x="783" y="261"/>
                  </a:lnTo>
                  <a:lnTo>
                    <a:pt x="785" y="261"/>
                  </a:lnTo>
                  <a:lnTo>
                    <a:pt x="783" y="261"/>
                  </a:lnTo>
                  <a:lnTo>
                    <a:pt x="783" y="260"/>
                  </a:lnTo>
                  <a:lnTo>
                    <a:pt x="781" y="260"/>
                  </a:lnTo>
                  <a:lnTo>
                    <a:pt x="783" y="260"/>
                  </a:lnTo>
                  <a:lnTo>
                    <a:pt x="781" y="260"/>
                  </a:lnTo>
                  <a:lnTo>
                    <a:pt x="781" y="258"/>
                  </a:lnTo>
                  <a:lnTo>
                    <a:pt x="779" y="258"/>
                  </a:lnTo>
                  <a:lnTo>
                    <a:pt x="779" y="260"/>
                  </a:lnTo>
                  <a:lnTo>
                    <a:pt x="777" y="260"/>
                  </a:lnTo>
                  <a:lnTo>
                    <a:pt x="777" y="261"/>
                  </a:lnTo>
                  <a:lnTo>
                    <a:pt x="775" y="261"/>
                  </a:lnTo>
                  <a:lnTo>
                    <a:pt x="775" y="260"/>
                  </a:lnTo>
                  <a:lnTo>
                    <a:pt x="775" y="261"/>
                  </a:lnTo>
                  <a:lnTo>
                    <a:pt x="775" y="263"/>
                  </a:lnTo>
                  <a:lnTo>
                    <a:pt x="775" y="265"/>
                  </a:lnTo>
                  <a:lnTo>
                    <a:pt x="773" y="265"/>
                  </a:lnTo>
                  <a:lnTo>
                    <a:pt x="775" y="265"/>
                  </a:lnTo>
                  <a:lnTo>
                    <a:pt x="775" y="267"/>
                  </a:lnTo>
                  <a:lnTo>
                    <a:pt x="773" y="267"/>
                  </a:lnTo>
                  <a:lnTo>
                    <a:pt x="773" y="265"/>
                  </a:lnTo>
                  <a:lnTo>
                    <a:pt x="773" y="267"/>
                  </a:lnTo>
                  <a:lnTo>
                    <a:pt x="771" y="267"/>
                  </a:lnTo>
                  <a:lnTo>
                    <a:pt x="771" y="269"/>
                  </a:lnTo>
                  <a:lnTo>
                    <a:pt x="771" y="271"/>
                  </a:lnTo>
                  <a:lnTo>
                    <a:pt x="770" y="271"/>
                  </a:lnTo>
                  <a:lnTo>
                    <a:pt x="768" y="271"/>
                  </a:lnTo>
                  <a:lnTo>
                    <a:pt x="768" y="273"/>
                  </a:lnTo>
                  <a:lnTo>
                    <a:pt x="770" y="273"/>
                  </a:lnTo>
                  <a:lnTo>
                    <a:pt x="768" y="273"/>
                  </a:lnTo>
                  <a:lnTo>
                    <a:pt x="768" y="275"/>
                  </a:lnTo>
                  <a:lnTo>
                    <a:pt x="766" y="275"/>
                  </a:lnTo>
                  <a:lnTo>
                    <a:pt x="768" y="275"/>
                  </a:lnTo>
                  <a:lnTo>
                    <a:pt x="766" y="275"/>
                  </a:lnTo>
                  <a:lnTo>
                    <a:pt x="764" y="275"/>
                  </a:lnTo>
                  <a:lnTo>
                    <a:pt x="764" y="277"/>
                  </a:lnTo>
                  <a:lnTo>
                    <a:pt x="764" y="275"/>
                  </a:lnTo>
                  <a:lnTo>
                    <a:pt x="764" y="277"/>
                  </a:lnTo>
                  <a:lnTo>
                    <a:pt x="762" y="275"/>
                  </a:lnTo>
                  <a:lnTo>
                    <a:pt x="762" y="277"/>
                  </a:lnTo>
                  <a:lnTo>
                    <a:pt x="762" y="279"/>
                  </a:lnTo>
                  <a:lnTo>
                    <a:pt x="760" y="279"/>
                  </a:lnTo>
                  <a:lnTo>
                    <a:pt x="760" y="277"/>
                  </a:lnTo>
                  <a:lnTo>
                    <a:pt x="760" y="279"/>
                  </a:lnTo>
                  <a:lnTo>
                    <a:pt x="758" y="279"/>
                  </a:lnTo>
                  <a:lnTo>
                    <a:pt x="758" y="281"/>
                  </a:lnTo>
                  <a:lnTo>
                    <a:pt x="758" y="279"/>
                  </a:lnTo>
                  <a:lnTo>
                    <a:pt x="758" y="281"/>
                  </a:lnTo>
                  <a:lnTo>
                    <a:pt x="756" y="281"/>
                  </a:lnTo>
                  <a:lnTo>
                    <a:pt x="754" y="281"/>
                  </a:lnTo>
                  <a:lnTo>
                    <a:pt x="754" y="283"/>
                  </a:lnTo>
                  <a:lnTo>
                    <a:pt x="752" y="283"/>
                  </a:lnTo>
                  <a:lnTo>
                    <a:pt x="752" y="285"/>
                  </a:lnTo>
                  <a:lnTo>
                    <a:pt x="750" y="285"/>
                  </a:lnTo>
                  <a:lnTo>
                    <a:pt x="750" y="283"/>
                  </a:lnTo>
                  <a:lnTo>
                    <a:pt x="750" y="285"/>
                  </a:lnTo>
                  <a:lnTo>
                    <a:pt x="748" y="285"/>
                  </a:lnTo>
                  <a:lnTo>
                    <a:pt x="748" y="286"/>
                  </a:lnTo>
                  <a:lnTo>
                    <a:pt x="746" y="286"/>
                  </a:lnTo>
                  <a:lnTo>
                    <a:pt x="746" y="288"/>
                  </a:lnTo>
                  <a:lnTo>
                    <a:pt x="745" y="288"/>
                  </a:lnTo>
                  <a:lnTo>
                    <a:pt x="745" y="290"/>
                  </a:lnTo>
                  <a:lnTo>
                    <a:pt x="743" y="290"/>
                  </a:lnTo>
                  <a:lnTo>
                    <a:pt x="743" y="292"/>
                  </a:lnTo>
                  <a:lnTo>
                    <a:pt x="743" y="294"/>
                  </a:lnTo>
                  <a:lnTo>
                    <a:pt x="741" y="294"/>
                  </a:lnTo>
                  <a:lnTo>
                    <a:pt x="741" y="296"/>
                  </a:lnTo>
                  <a:lnTo>
                    <a:pt x="739" y="296"/>
                  </a:lnTo>
                  <a:lnTo>
                    <a:pt x="741" y="296"/>
                  </a:lnTo>
                  <a:lnTo>
                    <a:pt x="739" y="296"/>
                  </a:lnTo>
                  <a:lnTo>
                    <a:pt x="741" y="296"/>
                  </a:lnTo>
                  <a:lnTo>
                    <a:pt x="739" y="298"/>
                  </a:lnTo>
                  <a:lnTo>
                    <a:pt x="741" y="296"/>
                  </a:lnTo>
                  <a:lnTo>
                    <a:pt x="739" y="296"/>
                  </a:lnTo>
                  <a:lnTo>
                    <a:pt x="739" y="298"/>
                  </a:lnTo>
                  <a:lnTo>
                    <a:pt x="739" y="296"/>
                  </a:lnTo>
                  <a:lnTo>
                    <a:pt x="737" y="296"/>
                  </a:lnTo>
                  <a:lnTo>
                    <a:pt x="735" y="296"/>
                  </a:lnTo>
                  <a:lnTo>
                    <a:pt x="733" y="296"/>
                  </a:lnTo>
                  <a:lnTo>
                    <a:pt x="731" y="296"/>
                  </a:lnTo>
                  <a:lnTo>
                    <a:pt x="731" y="298"/>
                  </a:lnTo>
                  <a:lnTo>
                    <a:pt x="731" y="296"/>
                  </a:lnTo>
                  <a:lnTo>
                    <a:pt x="729" y="296"/>
                  </a:lnTo>
                  <a:lnTo>
                    <a:pt x="731" y="296"/>
                  </a:lnTo>
                  <a:lnTo>
                    <a:pt x="729" y="296"/>
                  </a:lnTo>
                  <a:lnTo>
                    <a:pt x="729" y="298"/>
                  </a:lnTo>
                  <a:lnTo>
                    <a:pt x="729" y="296"/>
                  </a:lnTo>
                  <a:lnTo>
                    <a:pt x="729" y="298"/>
                  </a:lnTo>
                  <a:lnTo>
                    <a:pt x="729" y="296"/>
                  </a:lnTo>
                  <a:lnTo>
                    <a:pt x="729" y="298"/>
                  </a:lnTo>
                  <a:lnTo>
                    <a:pt x="729" y="296"/>
                  </a:lnTo>
                  <a:lnTo>
                    <a:pt x="729" y="298"/>
                  </a:lnTo>
                  <a:lnTo>
                    <a:pt x="727" y="296"/>
                  </a:lnTo>
                  <a:lnTo>
                    <a:pt x="727" y="298"/>
                  </a:lnTo>
                  <a:lnTo>
                    <a:pt x="727" y="296"/>
                  </a:lnTo>
                  <a:lnTo>
                    <a:pt x="727" y="298"/>
                  </a:lnTo>
                  <a:lnTo>
                    <a:pt x="727" y="296"/>
                  </a:lnTo>
                  <a:lnTo>
                    <a:pt x="727" y="298"/>
                  </a:lnTo>
                  <a:lnTo>
                    <a:pt x="727" y="296"/>
                  </a:lnTo>
                  <a:lnTo>
                    <a:pt x="727" y="298"/>
                  </a:lnTo>
                  <a:lnTo>
                    <a:pt x="725" y="298"/>
                  </a:lnTo>
                  <a:lnTo>
                    <a:pt x="725" y="300"/>
                  </a:lnTo>
                  <a:lnTo>
                    <a:pt x="725" y="298"/>
                  </a:lnTo>
                  <a:lnTo>
                    <a:pt x="725" y="300"/>
                  </a:lnTo>
                  <a:lnTo>
                    <a:pt x="725" y="298"/>
                  </a:lnTo>
                  <a:lnTo>
                    <a:pt x="725" y="300"/>
                  </a:lnTo>
                  <a:lnTo>
                    <a:pt x="725" y="298"/>
                  </a:lnTo>
                  <a:lnTo>
                    <a:pt x="725" y="300"/>
                  </a:lnTo>
                  <a:lnTo>
                    <a:pt x="725" y="298"/>
                  </a:lnTo>
                  <a:lnTo>
                    <a:pt x="723" y="298"/>
                  </a:lnTo>
                  <a:lnTo>
                    <a:pt x="723" y="300"/>
                  </a:lnTo>
                  <a:lnTo>
                    <a:pt x="723" y="298"/>
                  </a:lnTo>
                  <a:lnTo>
                    <a:pt x="723" y="300"/>
                  </a:lnTo>
                  <a:lnTo>
                    <a:pt x="723" y="298"/>
                  </a:lnTo>
                  <a:lnTo>
                    <a:pt x="723" y="300"/>
                  </a:lnTo>
                  <a:lnTo>
                    <a:pt x="723" y="298"/>
                  </a:lnTo>
                  <a:lnTo>
                    <a:pt x="723" y="300"/>
                  </a:lnTo>
                  <a:lnTo>
                    <a:pt x="722" y="300"/>
                  </a:lnTo>
                  <a:lnTo>
                    <a:pt x="723" y="300"/>
                  </a:lnTo>
                  <a:lnTo>
                    <a:pt x="722" y="300"/>
                  </a:lnTo>
                  <a:lnTo>
                    <a:pt x="723" y="300"/>
                  </a:lnTo>
                  <a:lnTo>
                    <a:pt x="722" y="300"/>
                  </a:lnTo>
                  <a:lnTo>
                    <a:pt x="720" y="300"/>
                  </a:lnTo>
                  <a:lnTo>
                    <a:pt x="720" y="302"/>
                  </a:lnTo>
                  <a:lnTo>
                    <a:pt x="718" y="302"/>
                  </a:lnTo>
                  <a:lnTo>
                    <a:pt x="716" y="304"/>
                  </a:lnTo>
                  <a:lnTo>
                    <a:pt x="716" y="302"/>
                  </a:lnTo>
                  <a:lnTo>
                    <a:pt x="718" y="302"/>
                  </a:lnTo>
                  <a:lnTo>
                    <a:pt x="716" y="302"/>
                  </a:lnTo>
                  <a:lnTo>
                    <a:pt x="716" y="304"/>
                  </a:lnTo>
                  <a:lnTo>
                    <a:pt x="714" y="304"/>
                  </a:lnTo>
                  <a:lnTo>
                    <a:pt x="714" y="306"/>
                  </a:lnTo>
                  <a:lnTo>
                    <a:pt x="712" y="306"/>
                  </a:lnTo>
                  <a:lnTo>
                    <a:pt x="714" y="306"/>
                  </a:lnTo>
                  <a:lnTo>
                    <a:pt x="712" y="306"/>
                  </a:lnTo>
                  <a:lnTo>
                    <a:pt x="712" y="308"/>
                  </a:lnTo>
                  <a:lnTo>
                    <a:pt x="712" y="306"/>
                  </a:lnTo>
                  <a:lnTo>
                    <a:pt x="712" y="308"/>
                  </a:lnTo>
                  <a:lnTo>
                    <a:pt x="712" y="306"/>
                  </a:lnTo>
                  <a:lnTo>
                    <a:pt x="712" y="308"/>
                  </a:lnTo>
                  <a:lnTo>
                    <a:pt x="712" y="306"/>
                  </a:lnTo>
                  <a:lnTo>
                    <a:pt x="712" y="308"/>
                  </a:lnTo>
                  <a:lnTo>
                    <a:pt x="710" y="308"/>
                  </a:lnTo>
                  <a:lnTo>
                    <a:pt x="710" y="310"/>
                  </a:lnTo>
                  <a:lnTo>
                    <a:pt x="710" y="308"/>
                  </a:lnTo>
                  <a:lnTo>
                    <a:pt x="710" y="310"/>
                  </a:lnTo>
                  <a:lnTo>
                    <a:pt x="708" y="310"/>
                  </a:lnTo>
                  <a:lnTo>
                    <a:pt x="710" y="310"/>
                  </a:lnTo>
                  <a:lnTo>
                    <a:pt x="708" y="310"/>
                  </a:lnTo>
                  <a:lnTo>
                    <a:pt x="708" y="311"/>
                  </a:lnTo>
                  <a:lnTo>
                    <a:pt x="706" y="311"/>
                  </a:lnTo>
                  <a:lnTo>
                    <a:pt x="706" y="310"/>
                  </a:lnTo>
                  <a:lnTo>
                    <a:pt x="706" y="311"/>
                  </a:lnTo>
                  <a:lnTo>
                    <a:pt x="708" y="311"/>
                  </a:lnTo>
                  <a:lnTo>
                    <a:pt x="706" y="311"/>
                  </a:lnTo>
                  <a:lnTo>
                    <a:pt x="706" y="313"/>
                  </a:lnTo>
                  <a:lnTo>
                    <a:pt x="706" y="311"/>
                  </a:lnTo>
                  <a:lnTo>
                    <a:pt x="704" y="311"/>
                  </a:lnTo>
                  <a:lnTo>
                    <a:pt x="706" y="311"/>
                  </a:lnTo>
                  <a:lnTo>
                    <a:pt x="704" y="311"/>
                  </a:lnTo>
                  <a:lnTo>
                    <a:pt x="702" y="311"/>
                  </a:lnTo>
                  <a:lnTo>
                    <a:pt x="704" y="311"/>
                  </a:lnTo>
                  <a:lnTo>
                    <a:pt x="702" y="311"/>
                  </a:lnTo>
                  <a:lnTo>
                    <a:pt x="704" y="311"/>
                  </a:lnTo>
                  <a:lnTo>
                    <a:pt x="702" y="311"/>
                  </a:lnTo>
                  <a:lnTo>
                    <a:pt x="704" y="311"/>
                  </a:lnTo>
                  <a:lnTo>
                    <a:pt x="702" y="311"/>
                  </a:lnTo>
                  <a:lnTo>
                    <a:pt x="702" y="313"/>
                  </a:lnTo>
                  <a:lnTo>
                    <a:pt x="702" y="311"/>
                  </a:lnTo>
                  <a:lnTo>
                    <a:pt x="702" y="313"/>
                  </a:lnTo>
                  <a:lnTo>
                    <a:pt x="704" y="313"/>
                  </a:lnTo>
                  <a:lnTo>
                    <a:pt x="702" y="313"/>
                  </a:lnTo>
                  <a:lnTo>
                    <a:pt x="704" y="313"/>
                  </a:lnTo>
                  <a:lnTo>
                    <a:pt x="702" y="313"/>
                  </a:lnTo>
                  <a:lnTo>
                    <a:pt x="702" y="315"/>
                  </a:lnTo>
                  <a:lnTo>
                    <a:pt x="700" y="315"/>
                  </a:lnTo>
                  <a:lnTo>
                    <a:pt x="699" y="315"/>
                  </a:lnTo>
                  <a:lnTo>
                    <a:pt x="697" y="315"/>
                  </a:lnTo>
                  <a:lnTo>
                    <a:pt x="697" y="317"/>
                  </a:lnTo>
                  <a:lnTo>
                    <a:pt x="695" y="317"/>
                  </a:lnTo>
                  <a:lnTo>
                    <a:pt x="697" y="317"/>
                  </a:lnTo>
                  <a:lnTo>
                    <a:pt x="695" y="317"/>
                  </a:lnTo>
                  <a:lnTo>
                    <a:pt x="697" y="317"/>
                  </a:lnTo>
                  <a:lnTo>
                    <a:pt x="695" y="317"/>
                  </a:lnTo>
                  <a:lnTo>
                    <a:pt x="697" y="317"/>
                  </a:lnTo>
                  <a:lnTo>
                    <a:pt x="695" y="317"/>
                  </a:lnTo>
                  <a:lnTo>
                    <a:pt x="695" y="315"/>
                  </a:lnTo>
                  <a:lnTo>
                    <a:pt x="697" y="315"/>
                  </a:lnTo>
                  <a:lnTo>
                    <a:pt x="695" y="315"/>
                  </a:lnTo>
                  <a:lnTo>
                    <a:pt x="697" y="315"/>
                  </a:lnTo>
                  <a:lnTo>
                    <a:pt x="695" y="315"/>
                  </a:lnTo>
                  <a:lnTo>
                    <a:pt x="697" y="315"/>
                  </a:lnTo>
                  <a:lnTo>
                    <a:pt x="695" y="315"/>
                  </a:lnTo>
                  <a:lnTo>
                    <a:pt x="695" y="313"/>
                  </a:lnTo>
                  <a:lnTo>
                    <a:pt x="697" y="313"/>
                  </a:lnTo>
                  <a:lnTo>
                    <a:pt x="695" y="313"/>
                  </a:lnTo>
                  <a:lnTo>
                    <a:pt x="697" y="313"/>
                  </a:lnTo>
                  <a:lnTo>
                    <a:pt x="695" y="313"/>
                  </a:lnTo>
                  <a:lnTo>
                    <a:pt x="697" y="313"/>
                  </a:lnTo>
                  <a:lnTo>
                    <a:pt x="695" y="313"/>
                  </a:lnTo>
                  <a:lnTo>
                    <a:pt x="697" y="313"/>
                  </a:lnTo>
                  <a:lnTo>
                    <a:pt x="697" y="311"/>
                  </a:lnTo>
                  <a:lnTo>
                    <a:pt x="697" y="313"/>
                  </a:lnTo>
                  <a:lnTo>
                    <a:pt x="699" y="313"/>
                  </a:lnTo>
                  <a:lnTo>
                    <a:pt x="699" y="311"/>
                  </a:lnTo>
                  <a:lnTo>
                    <a:pt x="699" y="310"/>
                  </a:lnTo>
                  <a:lnTo>
                    <a:pt x="699" y="311"/>
                  </a:lnTo>
                  <a:lnTo>
                    <a:pt x="700" y="311"/>
                  </a:lnTo>
                  <a:lnTo>
                    <a:pt x="702" y="311"/>
                  </a:lnTo>
                  <a:lnTo>
                    <a:pt x="702" y="310"/>
                  </a:lnTo>
                  <a:lnTo>
                    <a:pt x="704" y="310"/>
                  </a:lnTo>
                  <a:lnTo>
                    <a:pt x="702" y="310"/>
                  </a:lnTo>
                  <a:lnTo>
                    <a:pt x="702" y="308"/>
                  </a:lnTo>
                  <a:lnTo>
                    <a:pt x="702" y="306"/>
                  </a:lnTo>
                  <a:lnTo>
                    <a:pt x="704" y="306"/>
                  </a:lnTo>
                  <a:lnTo>
                    <a:pt x="704" y="304"/>
                  </a:lnTo>
                  <a:lnTo>
                    <a:pt x="706" y="304"/>
                  </a:lnTo>
                  <a:lnTo>
                    <a:pt x="708" y="304"/>
                  </a:lnTo>
                  <a:lnTo>
                    <a:pt x="706" y="304"/>
                  </a:lnTo>
                  <a:lnTo>
                    <a:pt x="704" y="304"/>
                  </a:lnTo>
                  <a:lnTo>
                    <a:pt x="704" y="306"/>
                  </a:lnTo>
                  <a:lnTo>
                    <a:pt x="702" y="306"/>
                  </a:lnTo>
                  <a:lnTo>
                    <a:pt x="700" y="306"/>
                  </a:lnTo>
                  <a:lnTo>
                    <a:pt x="700" y="304"/>
                  </a:lnTo>
                  <a:lnTo>
                    <a:pt x="700" y="306"/>
                  </a:lnTo>
                  <a:lnTo>
                    <a:pt x="699" y="306"/>
                  </a:lnTo>
                  <a:lnTo>
                    <a:pt x="699" y="304"/>
                  </a:lnTo>
                  <a:lnTo>
                    <a:pt x="697" y="304"/>
                  </a:lnTo>
                  <a:lnTo>
                    <a:pt x="699" y="304"/>
                  </a:lnTo>
                  <a:lnTo>
                    <a:pt x="697" y="304"/>
                  </a:lnTo>
                  <a:lnTo>
                    <a:pt x="699" y="304"/>
                  </a:lnTo>
                  <a:lnTo>
                    <a:pt x="699" y="302"/>
                  </a:lnTo>
                  <a:lnTo>
                    <a:pt x="700" y="302"/>
                  </a:lnTo>
                  <a:lnTo>
                    <a:pt x="699" y="302"/>
                  </a:lnTo>
                  <a:lnTo>
                    <a:pt x="697" y="302"/>
                  </a:lnTo>
                  <a:lnTo>
                    <a:pt x="697" y="300"/>
                  </a:lnTo>
                  <a:lnTo>
                    <a:pt x="699" y="300"/>
                  </a:lnTo>
                  <a:lnTo>
                    <a:pt x="700" y="300"/>
                  </a:lnTo>
                  <a:lnTo>
                    <a:pt x="702" y="300"/>
                  </a:lnTo>
                  <a:lnTo>
                    <a:pt x="700" y="300"/>
                  </a:lnTo>
                  <a:lnTo>
                    <a:pt x="700" y="298"/>
                  </a:lnTo>
                  <a:lnTo>
                    <a:pt x="700" y="296"/>
                  </a:lnTo>
                  <a:lnTo>
                    <a:pt x="702" y="296"/>
                  </a:lnTo>
                  <a:lnTo>
                    <a:pt x="702" y="294"/>
                  </a:lnTo>
                  <a:lnTo>
                    <a:pt x="704" y="294"/>
                  </a:lnTo>
                  <a:lnTo>
                    <a:pt x="702" y="294"/>
                  </a:lnTo>
                  <a:lnTo>
                    <a:pt x="704" y="294"/>
                  </a:lnTo>
                  <a:lnTo>
                    <a:pt x="706" y="294"/>
                  </a:lnTo>
                  <a:lnTo>
                    <a:pt x="706" y="292"/>
                  </a:lnTo>
                  <a:lnTo>
                    <a:pt x="708" y="292"/>
                  </a:lnTo>
                  <a:lnTo>
                    <a:pt x="708" y="290"/>
                  </a:lnTo>
                  <a:lnTo>
                    <a:pt x="708" y="288"/>
                  </a:lnTo>
                  <a:lnTo>
                    <a:pt x="710" y="288"/>
                  </a:lnTo>
                  <a:lnTo>
                    <a:pt x="708" y="288"/>
                  </a:lnTo>
                  <a:lnTo>
                    <a:pt x="710" y="288"/>
                  </a:lnTo>
                  <a:lnTo>
                    <a:pt x="710" y="286"/>
                  </a:lnTo>
                  <a:lnTo>
                    <a:pt x="708" y="286"/>
                  </a:lnTo>
                  <a:lnTo>
                    <a:pt x="710" y="286"/>
                  </a:lnTo>
                  <a:lnTo>
                    <a:pt x="712" y="286"/>
                  </a:lnTo>
                  <a:lnTo>
                    <a:pt x="710" y="286"/>
                  </a:lnTo>
                  <a:lnTo>
                    <a:pt x="712" y="285"/>
                  </a:lnTo>
                  <a:lnTo>
                    <a:pt x="712" y="283"/>
                  </a:lnTo>
                  <a:lnTo>
                    <a:pt x="712" y="285"/>
                  </a:lnTo>
                  <a:lnTo>
                    <a:pt x="712" y="283"/>
                  </a:lnTo>
                  <a:lnTo>
                    <a:pt x="712" y="281"/>
                  </a:lnTo>
                  <a:lnTo>
                    <a:pt x="710" y="281"/>
                  </a:lnTo>
                  <a:lnTo>
                    <a:pt x="710" y="279"/>
                  </a:lnTo>
                  <a:lnTo>
                    <a:pt x="710" y="281"/>
                  </a:lnTo>
                  <a:lnTo>
                    <a:pt x="708" y="281"/>
                  </a:lnTo>
                  <a:lnTo>
                    <a:pt x="708" y="279"/>
                  </a:lnTo>
                  <a:lnTo>
                    <a:pt x="708" y="277"/>
                  </a:lnTo>
                  <a:lnTo>
                    <a:pt x="706" y="277"/>
                  </a:lnTo>
                  <a:lnTo>
                    <a:pt x="706" y="275"/>
                  </a:lnTo>
                  <a:lnTo>
                    <a:pt x="706" y="273"/>
                  </a:lnTo>
                  <a:lnTo>
                    <a:pt x="706" y="275"/>
                  </a:lnTo>
                  <a:lnTo>
                    <a:pt x="704" y="275"/>
                  </a:lnTo>
                  <a:lnTo>
                    <a:pt x="704" y="277"/>
                  </a:lnTo>
                  <a:lnTo>
                    <a:pt x="702" y="277"/>
                  </a:lnTo>
                  <a:lnTo>
                    <a:pt x="700" y="277"/>
                  </a:lnTo>
                  <a:lnTo>
                    <a:pt x="700" y="275"/>
                  </a:lnTo>
                  <a:lnTo>
                    <a:pt x="699" y="275"/>
                  </a:lnTo>
                  <a:lnTo>
                    <a:pt x="699" y="277"/>
                  </a:lnTo>
                  <a:lnTo>
                    <a:pt x="699" y="275"/>
                  </a:lnTo>
                  <a:lnTo>
                    <a:pt x="697" y="275"/>
                  </a:lnTo>
                  <a:lnTo>
                    <a:pt x="695" y="275"/>
                  </a:lnTo>
                  <a:lnTo>
                    <a:pt x="695" y="277"/>
                  </a:lnTo>
                  <a:lnTo>
                    <a:pt x="693" y="277"/>
                  </a:lnTo>
                  <a:lnTo>
                    <a:pt x="693" y="279"/>
                  </a:lnTo>
                  <a:lnTo>
                    <a:pt x="695" y="279"/>
                  </a:lnTo>
                  <a:lnTo>
                    <a:pt x="693" y="279"/>
                  </a:lnTo>
                  <a:lnTo>
                    <a:pt x="695" y="279"/>
                  </a:lnTo>
                  <a:lnTo>
                    <a:pt x="693" y="279"/>
                  </a:lnTo>
                  <a:lnTo>
                    <a:pt x="691" y="279"/>
                  </a:lnTo>
                  <a:lnTo>
                    <a:pt x="691" y="281"/>
                  </a:lnTo>
                  <a:lnTo>
                    <a:pt x="691" y="283"/>
                  </a:lnTo>
                  <a:lnTo>
                    <a:pt x="689" y="283"/>
                  </a:lnTo>
                  <a:lnTo>
                    <a:pt x="687" y="283"/>
                  </a:lnTo>
                  <a:lnTo>
                    <a:pt x="687" y="285"/>
                  </a:lnTo>
                  <a:lnTo>
                    <a:pt x="689" y="285"/>
                  </a:lnTo>
                  <a:lnTo>
                    <a:pt x="687" y="285"/>
                  </a:lnTo>
                  <a:lnTo>
                    <a:pt x="689" y="285"/>
                  </a:lnTo>
                  <a:lnTo>
                    <a:pt x="687" y="285"/>
                  </a:lnTo>
                  <a:lnTo>
                    <a:pt x="687" y="286"/>
                  </a:lnTo>
                  <a:lnTo>
                    <a:pt x="687" y="288"/>
                  </a:lnTo>
                  <a:lnTo>
                    <a:pt x="685" y="288"/>
                  </a:lnTo>
                  <a:lnTo>
                    <a:pt x="683" y="288"/>
                  </a:lnTo>
                  <a:lnTo>
                    <a:pt x="683" y="290"/>
                  </a:lnTo>
                  <a:lnTo>
                    <a:pt x="681" y="290"/>
                  </a:lnTo>
                  <a:lnTo>
                    <a:pt x="679" y="290"/>
                  </a:lnTo>
                  <a:lnTo>
                    <a:pt x="679" y="292"/>
                  </a:lnTo>
                  <a:lnTo>
                    <a:pt x="679" y="290"/>
                  </a:lnTo>
                  <a:lnTo>
                    <a:pt x="679" y="292"/>
                  </a:lnTo>
                  <a:lnTo>
                    <a:pt x="677" y="292"/>
                  </a:lnTo>
                  <a:lnTo>
                    <a:pt x="677" y="294"/>
                  </a:lnTo>
                  <a:lnTo>
                    <a:pt x="677" y="292"/>
                  </a:lnTo>
                  <a:lnTo>
                    <a:pt x="677" y="294"/>
                  </a:lnTo>
                  <a:lnTo>
                    <a:pt x="677" y="292"/>
                  </a:lnTo>
                  <a:lnTo>
                    <a:pt x="675" y="292"/>
                  </a:lnTo>
                  <a:lnTo>
                    <a:pt x="675" y="294"/>
                  </a:lnTo>
                  <a:lnTo>
                    <a:pt x="674" y="294"/>
                  </a:lnTo>
                  <a:lnTo>
                    <a:pt x="672" y="294"/>
                  </a:lnTo>
                  <a:lnTo>
                    <a:pt x="672" y="296"/>
                  </a:lnTo>
                  <a:lnTo>
                    <a:pt x="670" y="296"/>
                  </a:lnTo>
                  <a:lnTo>
                    <a:pt x="670" y="298"/>
                  </a:lnTo>
                  <a:lnTo>
                    <a:pt x="670" y="300"/>
                  </a:lnTo>
                  <a:lnTo>
                    <a:pt x="668" y="300"/>
                  </a:lnTo>
                  <a:lnTo>
                    <a:pt x="668" y="302"/>
                  </a:lnTo>
                  <a:lnTo>
                    <a:pt x="668" y="304"/>
                  </a:lnTo>
                  <a:lnTo>
                    <a:pt x="670" y="304"/>
                  </a:lnTo>
                  <a:lnTo>
                    <a:pt x="668" y="304"/>
                  </a:lnTo>
                  <a:lnTo>
                    <a:pt x="668" y="306"/>
                  </a:lnTo>
                  <a:lnTo>
                    <a:pt x="668" y="304"/>
                  </a:lnTo>
                  <a:lnTo>
                    <a:pt x="668" y="306"/>
                  </a:lnTo>
                  <a:lnTo>
                    <a:pt x="668" y="304"/>
                  </a:lnTo>
                  <a:lnTo>
                    <a:pt x="668" y="306"/>
                  </a:lnTo>
                  <a:lnTo>
                    <a:pt x="666" y="306"/>
                  </a:lnTo>
                  <a:lnTo>
                    <a:pt x="666" y="308"/>
                  </a:lnTo>
                  <a:lnTo>
                    <a:pt x="664" y="308"/>
                  </a:lnTo>
                  <a:lnTo>
                    <a:pt x="666" y="308"/>
                  </a:lnTo>
                  <a:lnTo>
                    <a:pt x="664" y="308"/>
                  </a:lnTo>
                  <a:lnTo>
                    <a:pt x="664" y="310"/>
                  </a:lnTo>
                  <a:lnTo>
                    <a:pt x="662" y="310"/>
                  </a:lnTo>
                  <a:lnTo>
                    <a:pt x="664" y="310"/>
                  </a:lnTo>
                  <a:lnTo>
                    <a:pt x="664" y="308"/>
                  </a:lnTo>
                  <a:lnTo>
                    <a:pt x="662" y="308"/>
                  </a:lnTo>
                  <a:lnTo>
                    <a:pt x="662" y="310"/>
                  </a:lnTo>
                  <a:lnTo>
                    <a:pt x="662" y="308"/>
                  </a:lnTo>
                  <a:lnTo>
                    <a:pt x="662" y="310"/>
                  </a:lnTo>
                  <a:lnTo>
                    <a:pt x="660" y="310"/>
                  </a:lnTo>
                  <a:lnTo>
                    <a:pt x="658" y="310"/>
                  </a:lnTo>
                  <a:lnTo>
                    <a:pt x="656" y="310"/>
                  </a:lnTo>
                  <a:lnTo>
                    <a:pt x="658" y="310"/>
                  </a:lnTo>
                  <a:lnTo>
                    <a:pt x="656" y="310"/>
                  </a:lnTo>
                  <a:lnTo>
                    <a:pt x="656" y="311"/>
                  </a:lnTo>
                  <a:lnTo>
                    <a:pt x="658" y="311"/>
                  </a:lnTo>
                  <a:lnTo>
                    <a:pt x="658" y="310"/>
                  </a:lnTo>
                  <a:lnTo>
                    <a:pt x="660" y="311"/>
                  </a:lnTo>
                  <a:lnTo>
                    <a:pt x="658" y="311"/>
                  </a:lnTo>
                  <a:lnTo>
                    <a:pt x="658" y="313"/>
                  </a:lnTo>
                  <a:lnTo>
                    <a:pt x="656" y="313"/>
                  </a:lnTo>
                  <a:lnTo>
                    <a:pt x="656" y="311"/>
                  </a:lnTo>
                  <a:lnTo>
                    <a:pt x="656" y="313"/>
                  </a:lnTo>
                  <a:lnTo>
                    <a:pt x="656" y="311"/>
                  </a:lnTo>
                  <a:lnTo>
                    <a:pt x="654" y="311"/>
                  </a:lnTo>
                  <a:lnTo>
                    <a:pt x="652" y="311"/>
                  </a:lnTo>
                  <a:lnTo>
                    <a:pt x="652" y="310"/>
                  </a:lnTo>
                  <a:lnTo>
                    <a:pt x="652" y="308"/>
                  </a:lnTo>
                  <a:lnTo>
                    <a:pt x="651" y="308"/>
                  </a:lnTo>
                  <a:lnTo>
                    <a:pt x="649" y="308"/>
                  </a:lnTo>
                  <a:lnTo>
                    <a:pt x="649" y="310"/>
                  </a:lnTo>
                  <a:lnTo>
                    <a:pt x="649" y="308"/>
                  </a:lnTo>
                  <a:lnTo>
                    <a:pt x="649" y="310"/>
                  </a:lnTo>
                  <a:lnTo>
                    <a:pt x="649" y="308"/>
                  </a:lnTo>
                  <a:lnTo>
                    <a:pt x="647" y="308"/>
                  </a:lnTo>
                  <a:lnTo>
                    <a:pt x="647" y="310"/>
                  </a:lnTo>
                  <a:lnTo>
                    <a:pt x="645" y="310"/>
                  </a:lnTo>
                  <a:lnTo>
                    <a:pt x="645" y="308"/>
                  </a:lnTo>
                  <a:lnTo>
                    <a:pt x="643" y="308"/>
                  </a:lnTo>
                  <a:lnTo>
                    <a:pt x="645" y="308"/>
                  </a:lnTo>
                  <a:lnTo>
                    <a:pt x="645" y="310"/>
                  </a:lnTo>
                  <a:lnTo>
                    <a:pt x="647" y="310"/>
                  </a:lnTo>
                  <a:lnTo>
                    <a:pt x="647" y="311"/>
                  </a:lnTo>
                  <a:lnTo>
                    <a:pt x="645" y="311"/>
                  </a:lnTo>
                  <a:lnTo>
                    <a:pt x="647" y="311"/>
                  </a:lnTo>
                  <a:lnTo>
                    <a:pt x="647" y="313"/>
                  </a:lnTo>
                  <a:lnTo>
                    <a:pt x="649" y="313"/>
                  </a:lnTo>
                  <a:lnTo>
                    <a:pt x="647" y="313"/>
                  </a:lnTo>
                  <a:lnTo>
                    <a:pt x="647" y="311"/>
                  </a:lnTo>
                  <a:lnTo>
                    <a:pt x="645" y="311"/>
                  </a:lnTo>
                  <a:lnTo>
                    <a:pt x="647" y="311"/>
                  </a:lnTo>
                  <a:lnTo>
                    <a:pt x="647" y="313"/>
                  </a:lnTo>
                  <a:lnTo>
                    <a:pt x="649" y="313"/>
                  </a:lnTo>
                  <a:lnTo>
                    <a:pt x="647" y="313"/>
                  </a:lnTo>
                  <a:lnTo>
                    <a:pt x="645" y="313"/>
                  </a:lnTo>
                  <a:lnTo>
                    <a:pt x="647" y="313"/>
                  </a:lnTo>
                  <a:lnTo>
                    <a:pt x="645" y="313"/>
                  </a:lnTo>
                  <a:lnTo>
                    <a:pt x="647" y="315"/>
                  </a:lnTo>
                  <a:lnTo>
                    <a:pt x="645" y="315"/>
                  </a:lnTo>
                  <a:lnTo>
                    <a:pt x="645" y="313"/>
                  </a:lnTo>
                  <a:lnTo>
                    <a:pt x="645" y="315"/>
                  </a:lnTo>
                  <a:lnTo>
                    <a:pt x="643" y="315"/>
                  </a:lnTo>
                  <a:lnTo>
                    <a:pt x="645" y="315"/>
                  </a:lnTo>
                  <a:lnTo>
                    <a:pt x="643" y="315"/>
                  </a:lnTo>
                  <a:lnTo>
                    <a:pt x="645" y="315"/>
                  </a:lnTo>
                  <a:lnTo>
                    <a:pt x="643" y="315"/>
                  </a:lnTo>
                  <a:lnTo>
                    <a:pt x="645" y="315"/>
                  </a:lnTo>
                  <a:lnTo>
                    <a:pt x="645" y="317"/>
                  </a:lnTo>
                  <a:lnTo>
                    <a:pt x="645" y="315"/>
                  </a:lnTo>
                  <a:lnTo>
                    <a:pt x="645" y="317"/>
                  </a:lnTo>
                  <a:lnTo>
                    <a:pt x="643" y="317"/>
                  </a:lnTo>
                  <a:lnTo>
                    <a:pt x="643" y="319"/>
                  </a:lnTo>
                  <a:lnTo>
                    <a:pt x="645" y="319"/>
                  </a:lnTo>
                  <a:lnTo>
                    <a:pt x="643" y="319"/>
                  </a:lnTo>
                  <a:lnTo>
                    <a:pt x="645" y="319"/>
                  </a:lnTo>
                  <a:lnTo>
                    <a:pt x="645" y="321"/>
                  </a:lnTo>
                  <a:lnTo>
                    <a:pt x="645" y="323"/>
                  </a:lnTo>
                  <a:lnTo>
                    <a:pt x="645" y="321"/>
                  </a:lnTo>
                  <a:lnTo>
                    <a:pt x="645" y="323"/>
                  </a:lnTo>
                  <a:lnTo>
                    <a:pt x="647" y="323"/>
                  </a:lnTo>
                  <a:lnTo>
                    <a:pt x="647" y="325"/>
                  </a:lnTo>
                  <a:lnTo>
                    <a:pt x="649" y="325"/>
                  </a:lnTo>
                  <a:lnTo>
                    <a:pt x="649" y="323"/>
                  </a:lnTo>
                  <a:lnTo>
                    <a:pt x="649" y="325"/>
                  </a:lnTo>
                  <a:lnTo>
                    <a:pt x="647" y="325"/>
                  </a:lnTo>
                  <a:lnTo>
                    <a:pt x="649" y="325"/>
                  </a:lnTo>
                  <a:lnTo>
                    <a:pt x="649" y="327"/>
                  </a:lnTo>
                  <a:lnTo>
                    <a:pt x="651" y="327"/>
                  </a:lnTo>
                  <a:lnTo>
                    <a:pt x="649" y="327"/>
                  </a:lnTo>
                  <a:lnTo>
                    <a:pt x="651" y="327"/>
                  </a:lnTo>
                  <a:lnTo>
                    <a:pt x="651" y="325"/>
                  </a:lnTo>
                  <a:lnTo>
                    <a:pt x="651" y="327"/>
                  </a:lnTo>
                  <a:lnTo>
                    <a:pt x="651" y="329"/>
                  </a:lnTo>
                  <a:lnTo>
                    <a:pt x="651" y="327"/>
                  </a:lnTo>
                  <a:lnTo>
                    <a:pt x="652" y="327"/>
                  </a:lnTo>
                  <a:lnTo>
                    <a:pt x="652" y="329"/>
                  </a:lnTo>
                  <a:lnTo>
                    <a:pt x="654" y="329"/>
                  </a:lnTo>
                  <a:lnTo>
                    <a:pt x="656" y="329"/>
                  </a:lnTo>
                  <a:lnTo>
                    <a:pt x="658" y="329"/>
                  </a:lnTo>
                  <a:lnTo>
                    <a:pt x="660" y="329"/>
                  </a:lnTo>
                  <a:lnTo>
                    <a:pt x="660" y="327"/>
                  </a:lnTo>
                  <a:lnTo>
                    <a:pt x="660" y="329"/>
                  </a:lnTo>
                  <a:lnTo>
                    <a:pt x="660" y="327"/>
                  </a:lnTo>
                  <a:lnTo>
                    <a:pt x="660" y="329"/>
                  </a:lnTo>
                  <a:lnTo>
                    <a:pt x="662" y="329"/>
                  </a:lnTo>
                  <a:lnTo>
                    <a:pt x="662" y="327"/>
                  </a:lnTo>
                  <a:lnTo>
                    <a:pt x="662" y="329"/>
                  </a:lnTo>
                  <a:lnTo>
                    <a:pt x="662" y="327"/>
                  </a:lnTo>
                  <a:lnTo>
                    <a:pt x="662" y="329"/>
                  </a:lnTo>
                  <a:lnTo>
                    <a:pt x="664" y="329"/>
                  </a:lnTo>
                  <a:lnTo>
                    <a:pt x="664" y="331"/>
                  </a:lnTo>
                  <a:lnTo>
                    <a:pt x="666" y="331"/>
                  </a:lnTo>
                  <a:lnTo>
                    <a:pt x="666" y="333"/>
                  </a:lnTo>
                  <a:lnTo>
                    <a:pt x="666" y="334"/>
                  </a:lnTo>
                  <a:lnTo>
                    <a:pt x="668" y="334"/>
                  </a:lnTo>
                  <a:lnTo>
                    <a:pt x="670" y="334"/>
                  </a:lnTo>
                  <a:lnTo>
                    <a:pt x="668" y="334"/>
                  </a:lnTo>
                  <a:lnTo>
                    <a:pt x="670" y="334"/>
                  </a:lnTo>
                  <a:lnTo>
                    <a:pt x="668" y="334"/>
                  </a:lnTo>
                  <a:lnTo>
                    <a:pt x="668" y="336"/>
                  </a:lnTo>
                  <a:lnTo>
                    <a:pt x="670" y="336"/>
                  </a:lnTo>
                  <a:lnTo>
                    <a:pt x="668" y="336"/>
                  </a:lnTo>
                  <a:lnTo>
                    <a:pt x="666" y="336"/>
                  </a:lnTo>
                  <a:lnTo>
                    <a:pt x="666" y="334"/>
                  </a:lnTo>
                  <a:lnTo>
                    <a:pt x="666" y="336"/>
                  </a:lnTo>
                  <a:lnTo>
                    <a:pt x="664" y="336"/>
                  </a:lnTo>
                  <a:lnTo>
                    <a:pt x="666" y="336"/>
                  </a:lnTo>
                  <a:lnTo>
                    <a:pt x="664" y="336"/>
                  </a:lnTo>
                  <a:lnTo>
                    <a:pt x="664" y="338"/>
                  </a:lnTo>
                  <a:lnTo>
                    <a:pt x="664" y="340"/>
                  </a:lnTo>
                  <a:lnTo>
                    <a:pt x="664" y="342"/>
                  </a:lnTo>
                  <a:lnTo>
                    <a:pt x="664" y="344"/>
                  </a:lnTo>
                  <a:lnTo>
                    <a:pt x="666" y="344"/>
                  </a:lnTo>
                  <a:lnTo>
                    <a:pt x="664" y="344"/>
                  </a:lnTo>
                  <a:lnTo>
                    <a:pt x="666" y="344"/>
                  </a:lnTo>
                  <a:lnTo>
                    <a:pt x="664" y="344"/>
                  </a:lnTo>
                  <a:lnTo>
                    <a:pt x="664" y="346"/>
                  </a:lnTo>
                  <a:lnTo>
                    <a:pt x="664" y="344"/>
                  </a:lnTo>
                  <a:lnTo>
                    <a:pt x="664" y="346"/>
                  </a:lnTo>
                  <a:lnTo>
                    <a:pt x="666" y="346"/>
                  </a:lnTo>
                  <a:lnTo>
                    <a:pt x="666" y="344"/>
                  </a:lnTo>
                  <a:lnTo>
                    <a:pt x="666" y="346"/>
                  </a:lnTo>
                  <a:lnTo>
                    <a:pt x="668" y="346"/>
                  </a:lnTo>
                  <a:lnTo>
                    <a:pt x="668" y="344"/>
                  </a:lnTo>
                  <a:lnTo>
                    <a:pt x="668" y="346"/>
                  </a:lnTo>
                  <a:lnTo>
                    <a:pt x="668" y="348"/>
                  </a:lnTo>
                  <a:lnTo>
                    <a:pt x="668" y="346"/>
                  </a:lnTo>
                  <a:lnTo>
                    <a:pt x="670" y="346"/>
                  </a:lnTo>
                  <a:lnTo>
                    <a:pt x="670" y="348"/>
                  </a:lnTo>
                  <a:lnTo>
                    <a:pt x="670" y="346"/>
                  </a:lnTo>
                  <a:lnTo>
                    <a:pt x="672" y="346"/>
                  </a:lnTo>
                  <a:lnTo>
                    <a:pt x="672" y="348"/>
                  </a:lnTo>
                  <a:lnTo>
                    <a:pt x="672" y="346"/>
                  </a:lnTo>
                  <a:lnTo>
                    <a:pt x="672" y="348"/>
                  </a:lnTo>
                  <a:lnTo>
                    <a:pt x="672" y="346"/>
                  </a:lnTo>
                  <a:lnTo>
                    <a:pt x="672" y="348"/>
                  </a:lnTo>
                  <a:lnTo>
                    <a:pt x="674" y="348"/>
                  </a:lnTo>
                  <a:lnTo>
                    <a:pt x="674" y="346"/>
                  </a:lnTo>
                  <a:lnTo>
                    <a:pt x="675" y="346"/>
                  </a:lnTo>
                  <a:lnTo>
                    <a:pt x="677" y="346"/>
                  </a:lnTo>
                  <a:lnTo>
                    <a:pt x="677" y="344"/>
                  </a:lnTo>
                  <a:lnTo>
                    <a:pt x="677" y="342"/>
                  </a:lnTo>
                  <a:lnTo>
                    <a:pt x="677" y="340"/>
                  </a:lnTo>
                  <a:lnTo>
                    <a:pt x="677" y="342"/>
                  </a:lnTo>
                  <a:lnTo>
                    <a:pt x="677" y="340"/>
                  </a:lnTo>
                  <a:lnTo>
                    <a:pt x="679" y="340"/>
                  </a:lnTo>
                  <a:lnTo>
                    <a:pt x="677" y="340"/>
                  </a:lnTo>
                  <a:lnTo>
                    <a:pt x="679" y="340"/>
                  </a:lnTo>
                  <a:lnTo>
                    <a:pt x="681" y="340"/>
                  </a:lnTo>
                  <a:lnTo>
                    <a:pt x="681" y="338"/>
                  </a:lnTo>
                  <a:lnTo>
                    <a:pt x="683" y="338"/>
                  </a:lnTo>
                  <a:lnTo>
                    <a:pt x="681" y="338"/>
                  </a:lnTo>
                  <a:lnTo>
                    <a:pt x="683" y="338"/>
                  </a:lnTo>
                  <a:lnTo>
                    <a:pt x="681" y="338"/>
                  </a:lnTo>
                  <a:lnTo>
                    <a:pt x="683" y="338"/>
                  </a:lnTo>
                  <a:lnTo>
                    <a:pt x="683" y="336"/>
                  </a:lnTo>
                  <a:lnTo>
                    <a:pt x="685" y="336"/>
                  </a:lnTo>
                  <a:lnTo>
                    <a:pt x="685" y="334"/>
                  </a:lnTo>
                  <a:lnTo>
                    <a:pt x="687" y="334"/>
                  </a:lnTo>
                  <a:lnTo>
                    <a:pt x="689" y="334"/>
                  </a:lnTo>
                  <a:lnTo>
                    <a:pt x="689" y="333"/>
                  </a:lnTo>
                  <a:lnTo>
                    <a:pt x="689" y="334"/>
                  </a:lnTo>
                  <a:lnTo>
                    <a:pt x="689" y="333"/>
                  </a:lnTo>
                  <a:lnTo>
                    <a:pt x="689" y="334"/>
                  </a:lnTo>
                  <a:lnTo>
                    <a:pt x="689" y="333"/>
                  </a:lnTo>
                  <a:lnTo>
                    <a:pt x="691" y="333"/>
                  </a:lnTo>
                  <a:lnTo>
                    <a:pt x="691" y="334"/>
                  </a:lnTo>
                  <a:lnTo>
                    <a:pt x="691" y="333"/>
                  </a:lnTo>
                  <a:lnTo>
                    <a:pt x="691" y="334"/>
                  </a:lnTo>
                  <a:lnTo>
                    <a:pt x="691" y="333"/>
                  </a:lnTo>
                  <a:lnTo>
                    <a:pt x="693" y="333"/>
                  </a:lnTo>
                  <a:lnTo>
                    <a:pt x="693" y="334"/>
                  </a:lnTo>
                  <a:lnTo>
                    <a:pt x="695" y="334"/>
                  </a:lnTo>
                  <a:lnTo>
                    <a:pt x="695" y="336"/>
                  </a:lnTo>
                  <a:lnTo>
                    <a:pt x="695" y="334"/>
                  </a:lnTo>
                  <a:lnTo>
                    <a:pt x="695" y="336"/>
                  </a:lnTo>
                  <a:lnTo>
                    <a:pt x="697" y="336"/>
                  </a:lnTo>
                  <a:lnTo>
                    <a:pt x="695" y="336"/>
                  </a:lnTo>
                  <a:lnTo>
                    <a:pt x="697" y="336"/>
                  </a:lnTo>
                  <a:lnTo>
                    <a:pt x="695" y="336"/>
                  </a:lnTo>
                  <a:lnTo>
                    <a:pt x="697" y="336"/>
                  </a:lnTo>
                  <a:lnTo>
                    <a:pt x="695" y="336"/>
                  </a:lnTo>
                  <a:lnTo>
                    <a:pt x="697" y="336"/>
                  </a:lnTo>
                  <a:lnTo>
                    <a:pt x="697" y="338"/>
                  </a:lnTo>
                  <a:lnTo>
                    <a:pt x="695" y="338"/>
                  </a:lnTo>
                  <a:lnTo>
                    <a:pt x="697" y="338"/>
                  </a:lnTo>
                  <a:lnTo>
                    <a:pt x="695" y="338"/>
                  </a:lnTo>
                  <a:lnTo>
                    <a:pt x="697" y="338"/>
                  </a:lnTo>
                  <a:lnTo>
                    <a:pt x="699" y="338"/>
                  </a:lnTo>
                  <a:lnTo>
                    <a:pt x="699" y="336"/>
                  </a:lnTo>
                  <a:lnTo>
                    <a:pt x="699" y="338"/>
                  </a:lnTo>
                  <a:lnTo>
                    <a:pt x="699" y="336"/>
                  </a:lnTo>
                  <a:lnTo>
                    <a:pt x="699" y="338"/>
                  </a:lnTo>
                  <a:lnTo>
                    <a:pt x="699" y="336"/>
                  </a:lnTo>
                  <a:lnTo>
                    <a:pt x="699" y="338"/>
                  </a:lnTo>
                  <a:lnTo>
                    <a:pt x="700" y="338"/>
                  </a:lnTo>
                  <a:lnTo>
                    <a:pt x="699" y="338"/>
                  </a:lnTo>
                  <a:lnTo>
                    <a:pt x="700" y="338"/>
                  </a:lnTo>
                  <a:lnTo>
                    <a:pt x="699" y="338"/>
                  </a:lnTo>
                  <a:lnTo>
                    <a:pt x="700" y="338"/>
                  </a:lnTo>
                  <a:lnTo>
                    <a:pt x="700" y="340"/>
                  </a:lnTo>
                  <a:lnTo>
                    <a:pt x="702" y="340"/>
                  </a:lnTo>
                  <a:lnTo>
                    <a:pt x="704" y="340"/>
                  </a:lnTo>
                  <a:lnTo>
                    <a:pt x="706" y="340"/>
                  </a:lnTo>
                  <a:lnTo>
                    <a:pt x="708" y="340"/>
                  </a:lnTo>
                  <a:lnTo>
                    <a:pt x="708" y="338"/>
                  </a:lnTo>
                  <a:lnTo>
                    <a:pt x="710" y="338"/>
                  </a:lnTo>
                  <a:lnTo>
                    <a:pt x="708" y="338"/>
                  </a:lnTo>
                  <a:lnTo>
                    <a:pt x="710" y="338"/>
                  </a:lnTo>
                  <a:lnTo>
                    <a:pt x="710" y="340"/>
                  </a:lnTo>
                  <a:lnTo>
                    <a:pt x="712" y="340"/>
                  </a:lnTo>
                  <a:lnTo>
                    <a:pt x="710" y="340"/>
                  </a:lnTo>
                  <a:lnTo>
                    <a:pt x="712" y="340"/>
                  </a:lnTo>
                  <a:lnTo>
                    <a:pt x="710" y="340"/>
                  </a:lnTo>
                  <a:lnTo>
                    <a:pt x="712" y="340"/>
                  </a:lnTo>
                  <a:lnTo>
                    <a:pt x="714" y="340"/>
                  </a:lnTo>
                  <a:lnTo>
                    <a:pt x="714" y="342"/>
                  </a:lnTo>
                  <a:lnTo>
                    <a:pt x="714" y="340"/>
                  </a:lnTo>
                  <a:lnTo>
                    <a:pt x="714" y="342"/>
                  </a:lnTo>
                  <a:lnTo>
                    <a:pt x="714" y="340"/>
                  </a:lnTo>
                  <a:lnTo>
                    <a:pt x="716" y="340"/>
                  </a:lnTo>
                  <a:lnTo>
                    <a:pt x="716" y="342"/>
                  </a:lnTo>
                  <a:lnTo>
                    <a:pt x="718" y="342"/>
                  </a:lnTo>
                  <a:lnTo>
                    <a:pt x="718" y="340"/>
                  </a:lnTo>
                  <a:lnTo>
                    <a:pt x="718" y="342"/>
                  </a:lnTo>
                  <a:lnTo>
                    <a:pt x="718" y="340"/>
                  </a:lnTo>
                  <a:lnTo>
                    <a:pt x="718" y="342"/>
                  </a:lnTo>
                  <a:lnTo>
                    <a:pt x="718" y="340"/>
                  </a:lnTo>
                  <a:lnTo>
                    <a:pt x="718" y="342"/>
                  </a:lnTo>
                  <a:lnTo>
                    <a:pt x="716" y="342"/>
                  </a:lnTo>
                  <a:lnTo>
                    <a:pt x="718" y="342"/>
                  </a:lnTo>
                  <a:lnTo>
                    <a:pt x="716" y="342"/>
                  </a:lnTo>
                  <a:lnTo>
                    <a:pt x="718" y="342"/>
                  </a:lnTo>
                  <a:lnTo>
                    <a:pt x="716" y="342"/>
                  </a:lnTo>
                  <a:lnTo>
                    <a:pt x="716" y="344"/>
                  </a:lnTo>
                  <a:lnTo>
                    <a:pt x="718" y="344"/>
                  </a:lnTo>
                  <a:lnTo>
                    <a:pt x="718" y="346"/>
                  </a:lnTo>
                  <a:lnTo>
                    <a:pt x="716" y="346"/>
                  </a:lnTo>
                  <a:lnTo>
                    <a:pt x="718" y="346"/>
                  </a:lnTo>
                  <a:lnTo>
                    <a:pt x="716" y="346"/>
                  </a:lnTo>
                  <a:lnTo>
                    <a:pt x="716" y="348"/>
                  </a:lnTo>
                  <a:lnTo>
                    <a:pt x="714" y="348"/>
                  </a:lnTo>
                  <a:lnTo>
                    <a:pt x="716" y="348"/>
                  </a:lnTo>
                  <a:lnTo>
                    <a:pt x="716" y="350"/>
                  </a:lnTo>
                  <a:lnTo>
                    <a:pt x="714" y="350"/>
                  </a:lnTo>
                  <a:lnTo>
                    <a:pt x="714" y="352"/>
                  </a:lnTo>
                  <a:lnTo>
                    <a:pt x="714" y="350"/>
                  </a:lnTo>
                  <a:lnTo>
                    <a:pt x="714" y="352"/>
                  </a:lnTo>
                  <a:lnTo>
                    <a:pt x="716" y="352"/>
                  </a:lnTo>
                  <a:lnTo>
                    <a:pt x="714" y="352"/>
                  </a:lnTo>
                  <a:lnTo>
                    <a:pt x="716" y="352"/>
                  </a:lnTo>
                  <a:lnTo>
                    <a:pt x="714" y="352"/>
                  </a:lnTo>
                  <a:lnTo>
                    <a:pt x="716" y="352"/>
                  </a:lnTo>
                  <a:lnTo>
                    <a:pt x="714" y="352"/>
                  </a:lnTo>
                  <a:lnTo>
                    <a:pt x="712" y="352"/>
                  </a:lnTo>
                  <a:lnTo>
                    <a:pt x="710" y="352"/>
                  </a:lnTo>
                  <a:lnTo>
                    <a:pt x="712" y="352"/>
                  </a:lnTo>
                  <a:lnTo>
                    <a:pt x="710" y="352"/>
                  </a:lnTo>
                  <a:lnTo>
                    <a:pt x="712" y="352"/>
                  </a:lnTo>
                  <a:lnTo>
                    <a:pt x="710" y="352"/>
                  </a:lnTo>
                  <a:lnTo>
                    <a:pt x="712" y="352"/>
                  </a:lnTo>
                  <a:lnTo>
                    <a:pt x="710" y="352"/>
                  </a:lnTo>
                  <a:lnTo>
                    <a:pt x="710" y="350"/>
                  </a:lnTo>
                  <a:lnTo>
                    <a:pt x="712" y="350"/>
                  </a:lnTo>
                  <a:lnTo>
                    <a:pt x="710" y="350"/>
                  </a:lnTo>
                  <a:lnTo>
                    <a:pt x="710" y="352"/>
                  </a:lnTo>
                  <a:lnTo>
                    <a:pt x="710" y="350"/>
                  </a:lnTo>
                  <a:lnTo>
                    <a:pt x="710" y="348"/>
                  </a:lnTo>
                  <a:lnTo>
                    <a:pt x="712" y="348"/>
                  </a:lnTo>
                  <a:lnTo>
                    <a:pt x="710" y="348"/>
                  </a:lnTo>
                  <a:lnTo>
                    <a:pt x="712" y="348"/>
                  </a:lnTo>
                  <a:lnTo>
                    <a:pt x="710" y="348"/>
                  </a:lnTo>
                  <a:lnTo>
                    <a:pt x="710" y="350"/>
                  </a:lnTo>
                  <a:lnTo>
                    <a:pt x="708" y="350"/>
                  </a:lnTo>
                  <a:lnTo>
                    <a:pt x="708" y="352"/>
                  </a:lnTo>
                  <a:lnTo>
                    <a:pt x="708" y="350"/>
                  </a:lnTo>
                  <a:lnTo>
                    <a:pt x="708" y="348"/>
                  </a:lnTo>
                  <a:lnTo>
                    <a:pt x="708" y="350"/>
                  </a:lnTo>
                  <a:lnTo>
                    <a:pt x="706" y="350"/>
                  </a:lnTo>
                  <a:lnTo>
                    <a:pt x="704" y="350"/>
                  </a:lnTo>
                  <a:lnTo>
                    <a:pt x="704" y="352"/>
                  </a:lnTo>
                  <a:lnTo>
                    <a:pt x="702" y="352"/>
                  </a:lnTo>
                  <a:lnTo>
                    <a:pt x="702" y="354"/>
                  </a:lnTo>
                  <a:lnTo>
                    <a:pt x="700" y="354"/>
                  </a:lnTo>
                  <a:lnTo>
                    <a:pt x="700" y="352"/>
                  </a:lnTo>
                  <a:lnTo>
                    <a:pt x="702" y="352"/>
                  </a:lnTo>
                  <a:lnTo>
                    <a:pt x="700" y="352"/>
                  </a:lnTo>
                  <a:lnTo>
                    <a:pt x="700" y="354"/>
                  </a:lnTo>
                  <a:lnTo>
                    <a:pt x="699" y="354"/>
                  </a:lnTo>
                  <a:lnTo>
                    <a:pt x="700" y="354"/>
                  </a:lnTo>
                  <a:lnTo>
                    <a:pt x="699" y="354"/>
                  </a:lnTo>
                  <a:lnTo>
                    <a:pt x="700" y="354"/>
                  </a:lnTo>
                  <a:lnTo>
                    <a:pt x="699" y="354"/>
                  </a:lnTo>
                  <a:lnTo>
                    <a:pt x="700" y="354"/>
                  </a:lnTo>
                  <a:lnTo>
                    <a:pt x="699" y="354"/>
                  </a:lnTo>
                  <a:lnTo>
                    <a:pt x="697" y="354"/>
                  </a:lnTo>
                  <a:lnTo>
                    <a:pt x="697" y="356"/>
                  </a:lnTo>
                  <a:lnTo>
                    <a:pt x="697" y="354"/>
                  </a:lnTo>
                  <a:lnTo>
                    <a:pt x="697" y="356"/>
                  </a:lnTo>
                  <a:lnTo>
                    <a:pt x="695" y="356"/>
                  </a:lnTo>
                  <a:lnTo>
                    <a:pt x="693" y="356"/>
                  </a:lnTo>
                  <a:lnTo>
                    <a:pt x="691" y="356"/>
                  </a:lnTo>
                  <a:lnTo>
                    <a:pt x="693" y="356"/>
                  </a:lnTo>
                  <a:lnTo>
                    <a:pt x="691" y="356"/>
                  </a:lnTo>
                  <a:lnTo>
                    <a:pt x="693" y="356"/>
                  </a:lnTo>
                  <a:lnTo>
                    <a:pt x="693" y="358"/>
                  </a:lnTo>
                  <a:lnTo>
                    <a:pt x="693" y="359"/>
                  </a:lnTo>
                  <a:lnTo>
                    <a:pt x="691" y="359"/>
                  </a:lnTo>
                  <a:lnTo>
                    <a:pt x="691" y="358"/>
                  </a:lnTo>
                  <a:lnTo>
                    <a:pt x="691" y="359"/>
                  </a:lnTo>
                  <a:lnTo>
                    <a:pt x="689" y="359"/>
                  </a:lnTo>
                  <a:lnTo>
                    <a:pt x="689" y="361"/>
                  </a:lnTo>
                  <a:lnTo>
                    <a:pt x="689" y="359"/>
                  </a:lnTo>
                  <a:lnTo>
                    <a:pt x="689" y="361"/>
                  </a:lnTo>
                  <a:lnTo>
                    <a:pt x="689" y="363"/>
                  </a:lnTo>
                  <a:lnTo>
                    <a:pt x="689" y="365"/>
                  </a:lnTo>
                  <a:lnTo>
                    <a:pt x="687" y="365"/>
                  </a:lnTo>
                  <a:lnTo>
                    <a:pt x="685" y="365"/>
                  </a:lnTo>
                  <a:lnTo>
                    <a:pt x="685" y="367"/>
                  </a:lnTo>
                  <a:lnTo>
                    <a:pt x="685" y="365"/>
                  </a:lnTo>
                  <a:lnTo>
                    <a:pt x="683" y="365"/>
                  </a:lnTo>
                  <a:lnTo>
                    <a:pt x="683" y="367"/>
                  </a:lnTo>
                  <a:lnTo>
                    <a:pt x="683" y="365"/>
                  </a:lnTo>
                  <a:lnTo>
                    <a:pt x="683" y="363"/>
                  </a:lnTo>
                  <a:lnTo>
                    <a:pt x="685" y="363"/>
                  </a:lnTo>
                  <a:lnTo>
                    <a:pt x="683" y="363"/>
                  </a:lnTo>
                  <a:lnTo>
                    <a:pt x="681" y="363"/>
                  </a:lnTo>
                  <a:lnTo>
                    <a:pt x="681" y="365"/>
                  </a:lnTo>
                  <a:lnTo>
                    <a:pt x="683" y="365"/>
                  </a:lnTo>
                  <a:lnTo>
                    <a:pt x="683" y="367"/>
                  </a:lnTo>
                  <a:lnTo>
                    <a:pt x="681" y="367"/>
                  </a:lnTo>
                  <a:lnTo>
                    <a:pt x="683" y="367"/>
                  </a:lnTo>
                  <a:lnTo>
                    <a:pt x="681" y="367"/>
                  </a:lnTo>
                  <a:lnTo>
                    <a:pt x="683" y="367"/>
                  </a:lnTo>
                  <a:lnTo>
                    <a:pt x="683" y="369"/>
                  </a:lnTo>
                  <a:lnTo>
                    <a:pt x="681" y="369"/>
                  </a:lnTo>
                  <a:lnTo>
                    <a:pt x="681" y="367"/>
                  </a:lnTo>
                  <a:lnTo>
                    <a:pt x="681" y="369"/>
                  </a:lnTo>
                  <a:lnTo>
                    <a:pt x="679" y="369"/>
                  </a:lnTo>
                  <a:lnTo>
                    <a:pt x="679" y="371"/>
                  </a:lnTo>
                  <a:lnTo>
                    <a:pt x="679" y="373"/>
                  </a:lnTo>
                  <a:lnTo>
                    <a:pt x="679" y="371"/>
                  </a:lnTo>
                  <a:lnTo>
                    <a:pt x="679" y="373"/>
                  </a:lnTo>
                  <a:lnTo>
                    <a:pt x="679" y="371"/>
                  </a:lnTo>
                  <a:lnTo>
                    <a:pt x="679" y="373"/>
                  </a:lnTo>
                  <a:lnTo>
                    <a:pt x="679" y="371"/>
                  </a:lnTo>
                  <a:lnTo>
                    <a:pt x="679" y="373"/>
                  </a:lnTo>
                  <a:lnTo>
                    <a:pt x="679" y="371"/>
                  </a:lnTo>
                  <a:lnTo>
                    <a:pt x="679" y="373"/>
                  </a:lnTo>
                  <a:lnTo>
                    <a:pt x="679" y="371"/>
                  </a:lnTo>
                  <a:lnTo>
                    <a:pt x="679" y="373"/>
                  </a:lnTo>
                  <a:lnTo>
                    <a:pt x="679" y="371"/>
                  </a:lnTo>
                  <a:lnTo>
                    <a:pt x="677" y="371"/>
                  </a:lnTo>
                  <a:lnTo>
                    <a:pt x="677" y="373"/>
                  </a:lnTo>
                  <a:lnTo>
                    <a:pt x="677" y="371"/>
                  </a:lnTo>
                  <a:lnTo>
                    <a:pt x="677" y="373"/>
                  </a:lnTo>
                  <a:lnTo>
                    <a:pt x="677" y="371"/>
                  </a:lnTo>
                  <a:lnTo>
                    <a:pt x="677" y="373"/>
                  </a:lnTo>
                  <a:lnTo>
                    <a:pt x="677" y="375"/>
                  </a:lnTo>
                  <a:lnTo>
                    <a:pt x="677" y="373"/>
                  </a:lnTo>
                  <a:lnTo>
                    <a:pt x="675" y="373"/>
                  </a:lnTo>
                  <a:lnTo>
                    <a:pt x="675" y="375"/>
                  </a:lnTo>
                  <a:lnTo>
                    <a:pt x="675" y="373"/>
                  </a:lnTo>
                  <a:lnTo>
                    <a:pt x="675" y="375"/>
                  </a:lnTo>
                  <a:lnTo>
                    <a:pt x="674" y="375"/>
                  </a:lnTo>
                  <a:lnTo>
                    <a:pt x="674" y="377"/>
                  </a:lnTo>
                  <a:lnTo>
                    <a:pt x="674" y="379"/>
                  </a:lnTo>
                  <a:lnTo>
                    <a:pt x="672" y="379"/>
                  </a:lnTo>
                  <a:lnTo>
                    <a:pt x="672" y="381"/>
                  </a:lnTo>
                  <a:lnTo>
                    <a:pt x="670" y="381"/>
                  </a:lnTo>
                  <a:lnTo>
                    <a:pt x="670" y="383"/>
                  </a:lnTo>
                  <a:lnTo>
                    <a:pt x="670" y="384"/>
                  </a:lnTo>
                  <a:lnTo>
                    <a:pt x="670" y="383"/>
                  </a:lnTo>
                  <a:lnTo>
                    <a:pt x="670" y="384"/>
                  </a:lnTo>
                  <a:lnTo>
                    <a:pt x="670" y="383"/>
                  </a:lnTo>
                  <a:lnTo>
                    <a:pt x="670" y="384"/>
                  </a:lnTo>
                  <a:lnTo>
                    <a:pt x="670" y="383"/>
                  </a:lnTo>
                  <a:lnTo>
                    <a:pt x="668" y="383"/>
                  </a:lnTo>
                  <a:lnTo>
                    <a:pt x="670" y="383"/>
                  </a:lnTo>
                  <a:lnTo>
                    <a:pt x="668" y="383"/>
                  </a:lnTo>
                  <a:lnTo>
                    <a:pt x="670" y="383"/>
                  </a:lnTo>
                  <a:lnTo>
                    <a:pt x="668" y="383"/>
                  </a:lnTo>
                  <a:lnTo>
                    <a:pt x="668" y="384"/>
                  </a:lnTo>
                  <a:lnTo>
                    <a:pt x="668" y="386"/>
                  </a:lnTo>
                  <a:lnTo>
                    <a:pt x="668" y="388"/>
                  </a:lnTo>
                  <a:lnTo>
                    <a:pt x="670" y="388"/>
                  </a:lnTo>
                  <a:lnTo>
                    <a:pt x="672" y="388"/>
                  </a:lnTo>
                  <a:lnTo>
                    <a:pt x="672" y="390"/>
                  </a:lnTo>
                  <a:lnTo>
                    <a:pt x="672" y="388"/>
                  </a:lnTo>
                  <a:lnTo>
                    <a:pt x="672" y="390"/>
                  </a:lnTo>
                  <a:lnTo>
                    <a:pt x="672" y="388"/>
                  </a:lnTo>
                  <a:lnTo>
                    <a:pt x="672" y="390"/>
                  </a:lnTo>
                  <a:lnTo>
                    <a:pt x="672" y="388"/>
                  </a:lnTo>
                  <a:lnTo>
                    <a:pt x="672" y="390"/>
                  </a:lnTo>
                  <a:lnTo>
                    <a:pt x="670" y="390"/>
                  </a:lnTo>
                  <a:lnTo>
                    <a:pt x="670" y="388"/>
                  </a:lnTo>
                  <a:lnTo>
                    <a:pt x="670" y="390"/>
                  </a:lnTo>
                  <a:lnTo>
                    <a:pt x="670" y="388"/>
                  </a:lnTo>
                  <a:lnTo>
                    <a:pt x="670" y="390"/>
                  </a:lnTo>
                  <a:lnTo>
                    <a:pt x="672" y="390"/>
                  </a:lnTo>
                  <a:lnTo>
                    <a:pt x="672" y="392"/>
                  </a:lnTo>
                  <a:lnTo>
                    <a:pt x="674" y="392"/>
                  </a:lnTo>
                  <a:lnTo>
                    <a:pt x="674" y="394"/>
                  </a:lnTo>
                  <a:lnTo>
                    <a:pt x="675" y="394"/>
                  </a:lnTo>
                  <a:lnTo>
                    <a:pt x="677" y="394"/>
                  </a:lnTo>
                  <a:lnTo>
                    <a:pt x="679" y="394"/>
                  </a:lnTo>
                  <a:lnTo>
                    <a:pt x="679" y="396"/>
                  </a:lnTo>
                  <a:lnTo>
                    <a:pt x="681" y="396"/>
                  </a:lnTo>
                  <a:lnTo>
                    <a:pt x="683" y="396"/>
                  </a:lnTo>
                  <a:lnTo>
                    <a:pt x="683" y="398"/>
                  </a:lnTo>
                  <a:lnTo>
                    <a:pt x="683" y="400"/>
                  </a:lnTo>
                  <a:lnTo>
                    <a:pt x="683" y="402"/>
                  </a:lnTo>
                  <a:lnTo>
                    <a:pt x="685" y="402"/>
                  </a:lnTo>
                  <a:lnTo>
                    <a:pt x="685" y="404"/>
                  </a:lnTo>
                  <a:lnTo>
                    <a:pt x="685" y="406"/>
                  </a:lnTo>
                  <a:lnTo>
                    <a:pt x="687" y="406"/>
                  </a:lnTo>
                  <a:lnTo>
                    <a:pt x="687" y="407"/>
                  </a:lnTo>
                  <a:lnTo>
                    <a:pt x="687" y="409"/>
                  </a:lnTo>
                  <a:lnTo>
                    <a:pt x="689" y="409"/>
                  </a:lnTo>
                  <a:lnTo>
                    <a:pt x="689" y="411"/>
                  </a:lnTo>
                  <a:lnTo>
                    <a:pt x="689" y="413"/>
                  </a:lnTo>
                  <a:lnTo>
                    <a:pt x="689" y="415"/>
                  </a:lnTo>
                  <a:lnTo>
                    <a:pt x="689" y="413"/>
                  </a:lnTo>
                  <a:lnTo>
                    <a:pt x="689" y="415"/>
                  </a:lnTo>
                  <a:lnTo>
                    <a:pt x="691" y="415"/>
                  </a:lnTo>
                  <a:lnTo>
                    <a:pt x="691" y="417"/>
                  </a:lnTo>
                  <a:lnTo>
                    <a:pt x="691" y="419"/>
                  </a:lnTo>
                  <a:lnTo>
                    <a:pt x="693" y="419"/>
                  </a:lnTo>
                  <a:lnTo>
                    <a:pt x="693" y="421"/>
                  </a:lnTo>
                  <a:lnTo>
                    <a:pt x="693" y="423"/>
                  </a:lnTo>
                  <a:lnTo>
                    <a:pt x="693" y="425"/>
                  </a:lnTo>
                  <a:lnTo>
                    <a:pt x="693" y="427"/>
                  </a:lnTo>
                  <a:lnTo>
                    <a:pt x="695" y="427"/>
                  </a:lnTo>
                  <a:lnTo>
                    <a:pt x="693" y="427"/>
                  </a:lnTo>
                  <a:lnTo>
                    <a:pt x="695" y="427"/>
                  </a:lnTo>
                  <a:lnTo>
                    <a:pt x="695" y="429"/>
                  </a:lnTo>
                  <a:lnTo>
                    <a:pt x="697" y="429"/>
                  </a:lnTo>
                  <a:lnTo>
                    <a:pt x="697" y="431"/>
                  </a:lnTo>
                  <a:lnTo>
                    <a:pt x="699" y="431"/>
                  </a:lnTo>
                  <a:lnTo>
                    <a:pt x="700" y="431"/>
                  </a:lnTo>
                  <a:lnTo>
                    <a:pt x="700" y="432"/>
                  </a:lnTo>
                  <a:lnTo>
                    <a:pt x="700" y="434"/>
                  </a:lnTo>
                  <a:lnTo>
                    <a:pt x="699" y="434"/>
                  </a:lnTo>
                  <a:lnTo>
                    <a:pt x="700" y="434"/>
                  </a:lnTo>
                  <a:lnTo>
                    <a:pt x="700" y="436"/>
                  </a:lnTo>
                  <a:lnTo>
                    <a:pt x="700" y="434"/>
                  </a:lnTo>
                  <a:lnTo>
                    <a:pt x="700" y="436"/>
                  </a:lnTo>
                  <a:lnTo>
                    <a:pt x="702" y="436"/>
                  </a:lnTo>
                  <a:lnTo>
                    <a:pt x="704" y="436"/>
                  </a:lnTo>
                  <a:lnTo>
                    <a:pt x="702" y="436"/>
                  </a:lnTo>
                  <a:lnTo>
                    <a:pt x="704" y="436"/>
                  </a:lnTo>
                  <a:lnTo>
                    <a:pt x="702" y="436"/>
                  </a:lnTo>
                  <a:lnTo>
                    <a:pt x="704" y="436"/>
                  </a:lnTo>
                  <a:lnTo>
                    <a:pt x="704" y="438"/>
                  </a:lnTo>
                  <a:lnTo>
                    <a:pt x="704" y="436"/>
                  </a:lnTo>
                  <a:lnTo>
                    <a:pt x="704" y="438"/>
                  </a:lnTo>
                  <a:lnTo>
                    <a:pt x="706" y="438"/>
                  </a:lnTo>
                  <a:lnTo>
                    <a:pt x="706" y="440"/>
                  </a:lnTo>
                  <a:lnTo>
                    <a:pt x="706" y="442"/>
                  </a:lnTo>
                  <a:lnTo>
                    <a:pt x="708" y="442"/>
                  </a:lnTo>
                  <a:lnTo>
                    <a:pt x="706" y="442"/>
                  </a:lnTo>
                  <a:lnTo>
                    <a:pt x="706" y="444"/>
                  </a:lnTo>
                  <a:lnTo>
                    <a:pt x="706" y="442"/>
                  </a:lnTo>
                  <a:lnTo>
                    <a:pt x="706" y="444"/>
                  </a:lnTo>
                  <a:lnTo>
                    <a:pt x="706" y="442"/>
                  </a:lnTo>
                  <a:lnTo>
                    <a:pt x="704" y="442"/>
                  </a:lnTo>
                  <a:lnTo>
                    <a:pt x="702" y="442"/>
                  </a:lnTo>
                  <a:lnTo>
                    <a:pt x="700" y="442"/>
                  </a:lnTo>
                  <a:lnTo>
                    <a:pt x="700" y="440"/>
                  </a:lnTo>
                  <a:lnTo>
                    <a:pt x="699" y="440"/>
                  </a:lnTo>
                  <a:lnTo>
                    <a:pt x="697" y="440"/>
                  </a:lnTo>
                  <a:lnTo>
                    <a:pt x="697" y="442"/>
                  </a:lnTo>
                  <a:lnTo>
                    <a:pt x="695" y="442"/>
                  </a:lnTo>
                  <a:lnTo>
                    <a:pt x="695" y="440"/>
                  </a:lnTo>
                  <a:lnTo>
                    <a:pt x="695" y="442"/>
                  </a:lnTo>
                  <a:lnTo>
                    <a:pt x="695" y="440"/>
                  </a:lnTo>
                  <a:lnTo>
                    <a:pt x="695" y="442"/>
                  </a:lnTo>
                  <a:lnTo>
                    <a:pt x="695" y="440"/>
                  </a:lnTo>
                  <a:lnTo>
                    <a:pt x="693" y="440"/>
                  </a:lnTo>
                  <a:lnTo>
                    <a:pt x="693" y="438"/>
                  </a:lnTo>
                  <a:lnTo>
                    <a:pt x="691" y="438"/>
                  </a:lnTo>
                  <a:lnTo>
                    <a:pt x="691" y="436"/>
                  </a:lnTo>
                  <a:lnTo>
                    <a:pt x="691" y="438"/>
                  </a:lnTo>
                  <a:lnTo>
                    <a:pt x="691" y="436"/>
                  </a:lnTo>
                  <a:lnTo>
                    <a:pt x="689" y="436"/>
                  </a:lnTo>
                  <a:lnTo>
                    <a:pt x="691" y="436"/>
                  </a:lnTo>
                  <a:lnTo>
                    <a:pt x="689" y="436"/>
                  </a:lnTo>
                  <a:lnTo>
                    <a:pt x="687" y="436"/>
                  </a:lnTo>
                  <a:lnTo>
                    <a:pt x="685" y="436"/>
                  </a:lnTo>
                  <a:lnTo>
                    <a:pt x="685" y="438"/>
                  </a:lnTo>
                  <a:lnTo>
                    <a:pt x="685" y="436"/>
                  </a:lnTo>
                  <a:lnTo>
                    <a:pt x="685" y="438"/>
                  </a:lnTo>
                  <a:lnTo>
                    <a:pt x="683" y="438"/>
                  </a:lnTo>
                  <a:lnTo>
                    <a:pt x="685" y="438"/>
                  </a:lnTo>
                  <a:lnTo>
                    <a:pt x="685" y="436"/>
                  </a:lnTo>
                  <a:lnTo>
                    <a:pt x="687" y="436"/>
                  </a:lnTo>
                  <a:lnTo>
                    <a:pt x="687" y="438"/>
                  </a:lnTo>
                  <a:lnTo>
                    <a:pt x="689" y="438"/>
                  </a:lnTo>
                  <a:lnTo>
                    <a:pt x="691" y="438"/>
                  </a:lnTo>
                  <a:lnTo>
                    <a:pt x="691" y="440"/>
                  </a:lnTo>
                  <a:lnTo>
                    <a:pt x="691" y="442"/>
                  </a:lnTo>
                  <a:lnTo>
                    <a:pt x="693" y="442"/>
                  </a:lnTo>
                  <a:lnTo>
                    <a:pt x="695" y="442"/>
                  </a:lnTo>
                  <a:lnTo>
                    <a:pt x="697" y="442"/>
                  </a:lnTo>
                  <a:lnTo>
                    <a:pt x="697" y="444"/>
                  </a:lnTo>
                  <a:lnTo>
                    <a:pt x="699" y="444"/>
                  </a:lnTo>
                  <a:lnTo>
                    <a:pt x="699" y="446"/>
                  </a:lnTo>
                  <a:lnTo>
                    <a:pt x="700" y="446"/>
                  </a:lnTo>
                  <a:lnTo>
                    <a:pt x="700" y="448"/>
                  </a:lnTo>
                  <a:lnTo>
                    <a:pt x="700" y="450"/>
                  </a:lnTo>
                  <a:lnTo>
                    <a:pt x="702" y="450"/>
                  </a:lnTo>
                  <a:lnTo>
                    <a:pt x="700" y="450"/>
                  </a:lnTo>
                  <a:lnTo>
                    <a:pt x="700" y="448"/>
                  </a:lnTo>
                  <a:lnTo>
                    <a:pt x="702" y="448"/>
                  </a:lnTo>
                  <a:lnTo>
                    <a:pt x="702" y="450"/>
                  </a:lnTo>
                  <a:lnTo>
                    <a:pt x="702" y="448"/>
                  </a:lnTo>
                  <a:lnTo>
                    <a:pt x="702" y="450"/>
                  </a:lnTo>
                  <a:lnTo>
                    <a:pt x="704" y="450"/>
                  </a:lnTo>
                  <a:lnTo>
                    <a:pt x="704" y="452"/>
                  </a:lnTo>
                  <a:lnTo>
                    <a:pt x="706" y="452"/>
                  </a:lnTo>
                  <a:lnTo>
                    <a:pt x="706" y="454"/>
                  </a:lnTo>
                  <a:lnTo>
                    <a:pt x="708" y="456"/>
                  </a:lnTo>
                  <a:lnTo>
                    <a:pt x="708" y="457"/>
                  </a:lnTo>
                  <a:lnTo>
                    <a:pt x="706" y="457"/>
                  </a:lnTo>
                  <a:lnTo>
                    <a:pt x="704" y="457"/>
                  </a:lnTo>
                  <a:lnTo>
                    <a:pt x="702" y="457"/>
                  </a:lnTo>
                  <a:lnTo>
                    <a:pt x="700" y="457"/>
                  </a:lnTo>
                  <a:lnTo>
                    <a:pt x="700" y="459"/>
                  </a:lnTo>
                  <a:lnTo>
                    <a:pt x="699" y="459"/>
                  </a:lnTo>
                  <a:lnTo>
                    <a:pt x="697" y="461"/>
                  </a:lnTo>
                  <a:lnTo>
                    <a:pt x="695" y="461"/>
                  </a:lnTo>
                  <a:lnTo>
                    <a:pt x="695" y="463"/>
                  </a:lnTo>
                  <a:lnTo>
                    <a:pt x="693" y="463"/>
                  </a:lnTo>
                  <a:lnTo>
                    <a:pt x="693" y="465"/>
                  </a:lnTo>
                  <a:lnTo>
                    <a:pt x="691" y="467"/>
                  </a:lnTo>
                  <a:lnTo>
                    <a:pt x="691" y="465"/>
                  </a:lnTo>
                  <a:lnTo>
                    <a:pt x="689" y="465"/>
                  </a:lnTo>
                  <a:lnTo>
                    <a:pt x="691" y="465"/>
                  </a:lnTo>
                  <a:lnTo>
                    <a:pt x="689" y="465"/>
                  </a:lnTo>
                  <a:lnTo>
                    <a:pt x="687" y="465"/>
                  </a:lnTo>
                  <a:lnTo>
                    <a:pt x="685" y="465"/>
                  </a:lnTo>
                  <a:lnTo>
                    <a:pt x="685" y="467"/>
                  </a:lnTo>
                  <a:lnTo>
                    <a:pt x="683" y="467"/>
                  </a:lnTo>
                  <a:lnTo>
                    <a:pt x="681" y="467"/>
                  </a:lnTo>
                  <a:lnTo>
                    <a:pt x="681" y="469"/>
                  </a:lnTo>
                  <a:lnTo>
                    <a:pt x="681" y="467"/>
                  </a:lnTo>
                  <a:lnTo>
                    <a:pt x="683" y="467"/>
                  </a:lnTo>
                  <a:lnTo>
                    <a:pt x="685" y="467"/>
                  </a:lnTo>
                  <a:lnTo>
                    <a:pt x="685" y="465"/>
                  </a:lnTo>
                  <a:lnTo>
                    <a:pt x="687" y="465"/>
                  </a:lnTo>
                  <a:lnTo>
                    <a:pt x="689" y="465"/>
                  </a:lnTo>
                  <a:lnTo>
                    <a:pt x="689" y="467"/>
                  </a:lnTo>
                  <a:lnTo>
                    <a:pt x="689" y="469"/>
                  </a:lnTo>
                  <a:lnTo>
                    <a:pt x="689" y="471"/>
                  </a:lnTo>
                  <a:lnTo>
                    <a:pt x="691" y="471"/>
                  </a:lnTo>
                  <a:lnTo>
                    <a:pt x="689" y="471"/>
                  </a:lnTo>
                  <a:lnTo>
                    <a:pt x="689" y="469"/>
                  </a:lnTo>
                  <a:lnTo>
                    <a:pt x="691" y="467"/>
                  </a:lnTo>
                  <a:lnTo>
                    <a:pt x="691" y="469"/>
                  </a:lnTo>
                  <a:lnTo>
                    <a:pt x="693" y="469"/>
                  </a:lnTo>
                  <a:lnTo>
                    <a:pt x="693" y="467"/>
                  </a:lnTo>
                  <a:lnTo>
                    <a:pt x="695" y="467"/>
                  </a:lnTo>
                  <a:lnTo>
                    <a:pt x="697" y="467"/>
                  </a:lnTo>
                  <a:lnTo>
                    <a:pt x="697" y="465"/>
                  </a:lnTo>
                  <a:lnTo>
                    <a:pt x="697" y="467"/>
                  </a:lnTo>
                  <a:lnTo>
                    <a:pt x="697" y="465"/>
                  </a:lnTo>
                  <a:lnTo>
                    <a:pt x="699" y="465"/>
                  </a:lnTo>
                  <a:lnTo>
                    <a:pt x="700" y="467"/>
                  </a:lnTo>
                  <a:lnTo>
                    <a:pt x="700" y="469"/>
                  </a:lnTo>
                  <a:lnTo>
                    <a:pt x="702" y="469"/>
                  </a:lnTo>
                  <a:lnTo>
                    <a:pt x="702" y="471"/>
                  </a:lnTo>
                  <a:lnTo>
                    <a:pt x="704" y="471"/>
                  </a:lnTo>
                  <a:lnTo>
                    <a:pt x="704" y="473"/>
                  </a:lnTo>
                  <a:lnTo>
                    <a:pt x="706" y="473"/>
                  </a:lnTo>
                  <a:lnTo>
                    <a:pt x="708" y="473"/>
                  </a:lnTo>
                  <a:lnTo>
                    <a:pt x="710" y="473"/>
                  </a:lnTo>
                  <a:lnTo>
                    <a:pt x="710" y="475"/>
                  </a:lnTo>
                  <a:lnTo>
                    <a:pt x="708" y="475"/>
                  </a:lnTo>
                  <a:lnTo>
                    <a:pt x="708" y="477"/>
                  </a:lnTo>
                  <a:lnTo>
                    <a:pt x="706" y="477"/>
                  </a:lnTo>
                  <a:lnTo>
                    <a:pt x="704" y="477"/>
                  </a:lnTo>
                  <a:lnTo>
                    <a:pt x="704" y="479"/>
                  </a:lnTo>
                  <a:lnTo>
                    <a:pt x="702" y="479"/>
                  </a:lnTo>
                  <a:lnTo>
                    <a:pt x="702" y="480"/>
                  </a:lnTo>
                  <a:lnTo>
                    <a:pt x="702" y="479"/>
                  </a:lnTo>
                  <a:lnTo>
                    <a:pt x="702" y="480"/>
                  </a:lnTo>
                  <a:lnTo>
                    <a:pt x="700" y="480"/>
                  </a:lnTo>
                  <a:lnTo>
                    <a:pt x="700" y="482"/>
                  </a:lnTo>
                  <a:lnTo>
                    <a:pt x="700" y="480"/>
                  </a:lnTo>
                  <a:lnTo>
                    <a:pt x="702" y="480"/>
                  </a:lnTo>
                  <a:lnTo>
                    <a:pt x="700" y="480"/>
                  </a:lnTo>
                  <a:lnTo>
                    <a:pt x="700" y="482"/>
                  </a:lnTo>
                  <a:lnTo>
                    <a:pt x="702" y="482"/>
                  </a:lnTo>
                  <a:lnTo>
                    <a:pt x="702" y="480"/>
                  </a:lnTo>
                  <a:lnTo>
                    <a:pt x="704" y="480"/>
                  </a:lnTo>
                  <a:lnTo>
                    <a:pt x="704" y="479"/>
                  </a:lnTo>
                  <a:lnTo>
                    <a:pt x="704" y="480"/>
                  </a:lnTo>
                  <a:lnTo>
                    <a:pt x="706" y="480"/>
                  </a:lnTo>
                  <a:lnTo>
                    <a:pt x="706" y="479"/>
                  </a:lnTo>
                  <a:lnTo>
                    <a:pt x="704" y="479"/>
                  </a:lnTo>
                  <a:lnTo>
                    <a:pt x="706" y="479"/>
                  </a:lnTo>
                  <a:lnTo>
                    <a:pt x="708" y="479"/>
                  </a:lnTo>
                  <a:lnTo>
                    <a:pt x="708" y="480"/>
                  </a:lnTo>
                  <a:lnTo>
                    <a:pt x="708" y="482"/>
                  </a:lnTo>
                  <a:lnTo>
                    <a:pt x="706" y="482"/>
                  </a:lnTo>
                  <a:lnTo>
                    <a:pt x="708" y="482"/>
                  </a:lnTo>
                  <a:lnTo>
                    <a:pt x="708" y="484"/>
                  </a:lnTo>
                  <a:lnTo>
                    <a:pt x="708" y="486"/>
                  </a:lnTo>
                  <a:lnTo>
                    <a:pt x="706" y="486"/>
                  </a:lnTo>
                  <a:lnTo>
                    <a:pt x="704" y="486"/>
                  </a:lnTo>
                  <a:lnTo>
                    <a:pt x="704" y="484"/>
                  </a:lnTo>
                  <a:lnTo>
                    <a:pt x="706" y="484"/>
                  </a:lnTo>
                  <a:lnTo>
                    <a:pt x="706" y="482"/>
                  </a:lnTo>
                  <a:lnTo>
                    <a:pt x="706" y="484"/>
                  </a:lnTo>
                  <a:lnTo>
                    <a:pt x="706" y="482"/>
                  </a:lnTo>
                  <a:lnTo>
                    <a:pt x="704" y="482"/>
                  </a:lnTo>
                  <a:lnTo>
                    <a:pt x="704" y="484"/>
                  </a:lnTo>
                  <a:lnTo>
                    <a:pt x="704" y="486"/>
                  </a:lnTo>
                  <a:lnTo>
                    <a:pt x="702" y="486"/>
                  </a:lnTo>
                  <a:lnTo>
                    <a:pt x="702" y="484"/>
                  </a:lnTo>
                  <a:lnTo>
                    <a:pt x="702" y="486"/>
                  </a:lnTo>
                  <a:lnTo>
                    <a:pt x="702" y="484"/>
                  </a:lnTo>
                  <a:lnTo>
                    <a:pt x="702" y="486"/>
                  </a:lnTo>
                  <a:lnTo>
                    <a:pt x="700" y="486"/>
                  </a:lnTo>
                  <a:lnTo>
                    <a:pt x="702" y="486"/>
                  </a:lnTo>
                  <a:lnTo>
                    <a:pt x="700" y="486"/>
                  </a:lnTo>
                  <a:lnTo>
                    <a:pt x="702" y="486"/>
                  </a:lnTo>
                  <a:lnTo>
                    <a:pt x="700" y="486"/>
                  </a:lnTo>
                  <a:lnTo>
                    <a:pt x="702" y="486"/>
                  </a:lnTo>
                  <a:lnTo>
                    <a:pt x="702" y="488"/>
                  </a:lnTo>
                  <a:lnTo>
                    <a:pt x="704" y="488"/>
                  </a:lnTo>
                  <a:lnTo>
                    <a:pt x="702" y="488"/>
                  </a:lnTo>
                  <a:lnTo>
                    <a:pt x="704" y="488"/>
                  </a:lnTo>
                  <a:lnTo>
                    <a:pt x="702" y="488"/>
                  </a:lnTo>
                  <a:lnTo>
                    <a:pt x="704" y="488"/>
                  </a:lnTo>
                  <a:lnTo>
                    <a:pt x="704" y="490"/>
                  </a:lnTo>
                  <a:lnTo>
                    <a:pt x="704" y="488"/>
                  </a:lnTo>
                  <a:lnTo>
                    <a:pt x="704" y="490"/>
                  </a:lnTo>
                  <a:lnTo>
                    <a:pt x="702" y="490"/>
                  </a:lnTo>
                  <a:lnTo>
                    <a:pt x="704" y="490"/>
                  </a:lnTo>
                  <a:lnTo>
                    <a:pt x="702" y="490"/>
                  </a:lnTo>
                  <a:lnTo>
                    <a:pt x="704" y="490"/>
                  </a:lnTo>
                  <a:lnTo>
                    <a:pt x="704" y="492"/>
                  </a:lnTo>
                  <a:lnTo>
                    <a:pt x="704" y="494"/>
                  </a:lnTo>
                  <a:lnTo>
                    <a:pt x="702" y="494"/>
                  </a:lnTo>
                  <a:lnTo>
                    <a:pt x="700" y="494"/>
                  </a:lnTo>
                  <a:lnTo>
                    <a:pt x="699" y="494"/>
                  </a:lnTo>
                  <a:lnTo>
                    <a:pt x="699" y="492"/>
                  </a:lnTo>
                  <a:lnTo>
                    <a:pt x="697" y="492"/>
                  </a:lnTo>
                  <a:lnTo>
                    <a:pt x="699" y="492"/>
                  </a:lnTo>
                  <a:lnTo>
                    <a:pt x="699" y="494"/>
                  </a:lnTo>
                  <a:lnTo>
                    <a:pt x="700" y="494"/>
                  </a:lnTo>
                  <a:lnTo>
                    <a:pt x="702" y="494"/>
                  </a:lnTo>
                  <a:lnTo>
                    <a:pt x="702" y="496"/>
                  </a:lnTo>
                  <a:lnTo>
                    <a:pt x="702" y="498"/>
                  </a:lnTo>
                  <a:lnTo>
                    <a:pt x="702" y="496"/>
                  </a:lnTo>
                  <a:lnTo>
                    <a:pt x="702" y="498"/>
                  </a:lnTo>
                  <a:lnTo>
                    <a:pt x="704" y="498"/>
                  </a:lnTo>
                  <a:lnTo>
                    <a:pt x="702" y="498"/>
                  </a:lnTo>
                  <a:lnTo>
                    <a:pt x="704" y="498"/>
                  </a:lnTo>
                  <a:lnTo>
                    <a:pt x="702" y="498"/>
                  </a:lnTo>
                  <a:lnTo>
                    <a:pt x="704" y="498"/>
                  </a:lnTo>
                  <a:lnTo>
                    <a:pt x="702" y="498"/>
                  </a:lnTo>
                  <a:lnTo>
                    <a:pt x="704" y="498"/>
                  </a:lnTo>
                  <a:lnTo>
                    <a:pt x="702" y="498"/>
                  </a:lnTo>
                  <a:lnTo>
                    <a:pt x="704" y="498"/>
                  </a:lnTo>
                  <a:lnTo>
                    <a:pt x="702" y="498"/>
                  </a:lnTo>
                  <a:lnTo>
                    <a:pt x="702" y="500"/>
                  </a:lnTo>
                  <a:lnTo>
                    <a:pt x="704" y="500"/>
                  </a:lnTo>
                  <a:lnTo>
                    <a:pt x="702" y="500"/>
                  </a:lnTo>
                  <a:lnTo>
                    <a:pt x="704" y="500"/>
                  </a:lnTo>
                  <a:lnTo>
                    <a:pt x="702" y="500"/>
                  </a:lnTo>
                  <a:lnTo>
                    <a:pt x="702" y="502"/>
                  </a:lnTo>
                  <a:lnTo>
                    <a:pt x="702" y="500"/>
                  </a:lnTo>
                  <a:lnTo>
                    <a:pt x="700" y="500"/>
                  </a:lnTo>
                  <a:lnTo>
                    <a:pt x="700" y="502"/>
                  </a:lnTo>
                  <a:lnTo>
                    <a:pt x="699" y="502"/>
                  </a:lnTo>
                  <a:lnTo>
                    <a:pt x="699" y="504"/>
                  </a:lnTo>
                  <a:lnTo>
                    <a:pt x="699" y="502"/>
                  </a:lnTo>
                  <a:lnTo>
                    <a:pt x="699" y="504"/>
                  </a:lnTo>
                  <a:lnTo>
                    <a:pt x="699" y="502"/>
                  </a:lnTo>
                  <a:lnTo>
                    <a:pt x="699" y="504"/>
                  </a:lnTo>
                  <a:lnTo>
                    <a:pt x="699" y="502"/>
                  </a:lnTo>
                  <a:lnTo>
                    <a:pt x="699" y="504"/>
                  </a:lnTo>
                  <a:lnTo>
                    <a:pt x="699" y="502"/>
                  </a:lnTo>
                  <a:lnTo>
                    <a:pt x="699" y="504"/>
                  </a:lnTo>
                  <a:lnTo>
                    <a:pt x="697" y="504"/>
                  </a:lnTo>
                  <a:lnTo>
                    <a:pt x="699" y="504"/>
                  </a:lnTo>
                  <a:lnTo>
                    <a:pt x="697" y="504"/>
                  </a:lnTo>
                  <a:lnTo>
                    <a:pt x="699" y="504"/>
                  </a:lnTo>
                  <a:lnTo>
                    <a:pt x="697" y="504"/>
                  </a:lnTo>
                  <a:lnTo>
                    <a:pt x="699" y="504"/>
                  </a:lnTo>
                  <a:lnTo>
                    <a:pt x="697" y="504"/>
                  </a:lnTo>
                  <a:lnTo>
                    <a:pt x="699" y="504"/>
                  </a:lnTo>
                  <a:lnTo>
                    <a:pt x="697" y="504"/>
                  </a:lnTo>
                  <a:lnTo>
                    <a:pt x="697" y="505"/>
                  </a:lnTo>
                  <a:lnTo>
                    <a:pt x="697" y="504"/>
                  </a:lnTo>
                  <a:lnTo>
                    <a:pt x="697" y="505"/>
                  </a:lnTo>
                  <a:lnTo>
                    <a:pt x="697" y="504"/>
                  </a:lnTo>
                  <a:lnTo>
                    <a:pt x="695" y="504"/>
                  </a:lnTo>
                  <a:lnTo>
                    <a:pt x="697" y="504"/>
                  </a:lnTo>
                  <a:lnTo>
                    <a:pt x="695" y="504"/>
                  </a:lnTo>
                  <a:lnTo>
                    <a:pt x="697" y="504"/>
                  </a:lnTo>
                  <a:lnTo>
                    <a:pt x="697" y="502"/>
                  </a:lnTo>
                  <a:lnTo>
                    <a:pt x="697" y="500"/>
                  </a:lnTo>
                  <a:lnTo>
                    <a:pt x="697" y="498"/>
                  </a:lnTo>
                  <a:lnTo>
                    <a:pt x="697" y="500"/>
                  </a:lnTo>
                  <a:lnTo>
                    <a:pt x="697" y="498"/>
                  </a:lnTo>
                  <a:lnTo>
                    <a:pt x="697" y="500"/>
                  </a:lnTo>
                  <a:lnTo>
                    <a:pt x="697" y="498"/>
                  </a:lnTo>
                  <a:lnTo>
                    <a:pt x="697" y="500"/>
                  </a:lnTo>
                  <a:lnTo>
                    <a:pt x="695" y="500"/>
                  </a:lnTo>
                  <a:lnTo>
                    <a:pt x="697" y="500"/>
                  </a:lnTo>
                  <a:lnTo>
                    <a:pt x="695" y="500"/>
                  </a:lnTo>
                  <a:lnTo>
                    <a:pt x="695" y="502"/>
                  </a:lnTo>
                  <a:lnTo>
                    <a:pt x="697" y="502"/>
                  </a:lnTo>
                  <a:lnTo>
                    <a:pt x="695" y="502"/>
                  </a:lnTo>
                  <a:lnTo>
                    <a:pt x="695" y="504"/>
                  </a:lnTo>
                  <a:lnTo>
                    <a:pt x="695" y="505"/>
                  </a:lnTo>
                  <a:lnTo>
                    <a:pt x="693" y="505"/>
                  </a:lnTo>
                  <a:lnTo>
                    <a:pt x="691" y="505"/>
                  </a:lnTo>
                  <a:lnTo>
                    <a:pt x="689" y="505"/>
                  </a:lnTo>
                  <a:lnTo>
                    <a:pt x="689" y="504"/>
                  </a:lnTo>
                  <a:lnTo>
                    <a:pt x="689" y="505"/>
                  </a:lnTo>
                  <a:lnTo>
                    <a:pt x="687" y="505"/>
                  </a:lnTo>
                  <a:lnTo>
                    <a:pt x="687" y="504"/>
                  </a:lnTo>
                  <a:lnTo>
                    <a:pt x="687" y="505"/>
                  </a:lnTo>
                  <a:lnTo>
                    <a:pt x="689" y="505"/>
                  </a:lnTo>
                  <a:lnTo>
                    <a:pt x="691" y="505"/>
                  </a:lnTo>
                  <a:lnTo>
                    <a:pt x="693" y="507"/>
                  </a:lnTo>
                  <a:lnTo>
                    <a:pt x="691" y="507"/>
                  </a:lnTo>
                  <a:lnTo>
                    <a:pt x="691" y="509"/>
                  </a:lnTo>
                  <a:lnTo>
                    <a:pt x="689" y="509"/>
                  </a:lnTo>
                  <a:lnTo>
                    <a:pt x="687" y="509"/>
                  </a:lnTo>
                  <a:lnTo>
                    <a:pt x="687" y="507"/>
                  </a:lnTo>
                  <a:lnTo>
                    <a:pt x="687" y="509"/>
                  </a:lnTo>
                  <a:lnTo>
                    <a:pt x="687" y="507"/>
                  </a:lnTo>
                  <a:lnTo>
                    <a:pt x="687" y="509"/>
                  </a:lnTo>
                  <a:lnTo>
                    <a:pt x="689" y="509"/>
                  </a:lnTo>
                  <a:lnTo>
                    <a:pt x="689" y="511"/>
                  </a:lnTo>
                  <a:lnTo>
                    <a:pt x="687" y="511"/>
                  </a:lnTo>
                  <a:lnTo>
                    <a:pt x="687" y="513"/>
                  </a:lnTo>
                  <a:lnTo>
                    <a:pt x="687" y="511"/>
                  </a:lnTo>
                  <a:lnTo>
                    <a:pt x="687" y="513"/>
                  </a:lnTo>
                  <a:lnTo>
                    <a:pt x="687" y="511"/>
                  </a:lnTo>
                  <a:lnTo>
                    <a:pt x="689" y="513"/>
                  </a:lnTo>
                  <a:lnTo>
                    <a:pt x="689" y="515"/>
                  </a:lnTo>
                  <a:lnTo>
                    <a:pt x="687" y="515"/>
                  </a:lnTo>
                  <a:lnTo>
                    <a:pt x="687" y="517"/>
                  </a:lnTo>
                  <a:lnTo>
                    <a:pt x="687" y="519"/>
                  </a:lnTo>
                  <a:lnTo>
                    <a:pt x="685" y="519"/>
                  </a:lnTo>
                  <a:lnTo>
                    <a:pt x="685" y="517"/>
                  </a:lnTo>
                  <a:lnTo>
                    <a:pt x="683" y="517"/>
                  </a:lnTo>
                  <a:lnTo>
                    <a:pt x="683" y="519"/>
                  </a:lnTo>
                  <a:lnTo>
                    <a:pt x="683" y="517"/>
                  </a:lnTo>
                  <a:lnTo>
                    <a:pt x="681" y="517"/>
                  </a:lnTo>
                  <a:lnTo>
                    <a:pt x="683" y="517"/>
                  </a:lnTo>
                  <a:lnTo>
                    <a:pt x="681" y="517"/>
                  </a:lnTo>
                  <a:lnTo>
                    <a:pt x="681" y="519"/>
                  </a:lnTo>
                  <a:lnTo>
                    <a:pt x="681" y="517"/>
                  </a:lnTo>
                  <a:lnTo>
                    <a:pt x="683" y="517"/>
                  </a:lnTo>
                  <a:lnTo>
                    <a:pt x="683" y="519"/>
                  </a:lnTo>
                  <a:lnTo>
                    <a:pt x="685" y="519"/>
                  </a:lnTo>
                  <a:lnTo>
                    <a:pt x="685" y="517"/>
                  </a:lnTo>
                  <a:lnTo>
                    <a:pt x="685" y="519"/>
                  </a:lnTo>
                  <a:lnTo>
                    <a:pt x="685" y="521"/>
                  </a:lnTo>
                  <a:lnTo>
                    <a:pt x="683" y="521"/>
                  </a:lnTo>
                  <a:lnTo>
                    <a:pt x="683" y="523"/>
                  </a:lnTo>
                  <a:lnTo>
                    <a:pt x="681" y="523"/>
                  </a:lnTo>
                  <a:lnTo>
                    <a:pt x="683" y="523"/>
                  </a:lnTo>
                  <a:lnTo>
                    <a:pt x="681" y="523"/>
                  </a:lnTo>
                  <a:lnTo>
                    <a:pt x="683" y="523"/>
                  </a:lnTo>
                  <a:lnTo>
                    <a:pt x="681" y="523"/>
                  </a:lnTo>
                  <a:lnTo>
                    <a:pt x="681" y="525"/>
                  </a:lnTo>
                  <a:lnTo>
                    <a:pt x="679" y="525"/>
                  </a:lnTo>
                  <a:lnTo>
                    <a:pt x="679" y="523"/>
                  </a:lnTo>
                  <a:lnTo>
                    <a:pt x="679" y="525"/>
                  </a:lnTo>
                  <a:lnTo>
                    <a:pt x="681" y="525"/>
                  </a:lnTo>
                  <a:lnTo>
                    <a:pt x="679" y="525"/>
                  </a:lnTo>
                  <a:lnTo>
                    <a:pt x="681" y="525"/>
                  </a:lnTo>
                  <a:lnTo>
                    <a:pt x="681" y="527"/>
                  </a:lnTo>
                  <a:lnTo>
                    <a:pt x="681" y="525"/>
                  </a:lnTo>
                  <a:lnTo>
                    <a:pt x="681" y="527"/>
                  </a:lnTo>
                  <a:lnTo>
                    <a:pt x="681" y="528"/>
                  </a:lnTo>
                  <a:lnTo>
                    <a:pt x="681" y="527"/>
                  </a:lnTo>
                  <a:lnTo>
                    <a:pt x="681" y="528"/>
                  </a:lnTo>
                  <a:lnTo>
                    <a:pt x="679" y="528"/>
                  </a:lnTo>
                  <a:lnTo>
                    <a:pt x="681" y="528"/>
                  </a:lnTo>
                  <a:lnTo>
                    <a:pt x="681" y="527"/>
                  </a:lnTo>
                  <a:lnTo>
                    <a:pt x="681" y="528"/>
                  </a:lnTo>
                  <a:lnTo>
                    <a:pt x="679" y="528"/>
                  </a:lnTo>
                  <a:lnTo>
                    <a:pt x="679" y="527"/>
                  </a:lnTo>
                  <a:lnTo>
                    <a:pt x="679" y="528"/>
                  </a:lnTo>
                  <a:lnTo>
                    <a:pt x="679" y="527"/>
                  </a:lnTo>
                  <a:lnTo>
                    <a:pt x="679" y="528"/>
                  </a:lnTo>
                  <a:lnTo>
                    <a:pt x="677" y="528"/>
                  </a:lnTo>
                  <a:lnTo>
                    <a:pt x="677" y="530"/>
                  </a:lnTo>
                  <a:lnTo>
                    <a:pt x="677" y="528"/>
                  </a:lnTo>
                  <a:lnTo>
                    <a:pt x="677" y="530"/>
                  </a:lnTo>
                  <a:lnTo>
                    <a:pt x="677" y="528"/>
                  </a:lnTo>
                  <a:lnTo>
                    <a:pt x="679" y="528"/>
                  </a:lnTo>
                  <a:lnTo>
                    <a:pt x="679" y="527"/>
                  </a:lnTo>
                  <a:lnTo>
                    <a:pt x="679" y="528"/>
                  </a:lnTo>
                  <a:lnTo>
                    <a:pt x="679" y="527"/>
                  </a:lnTo>
                  <a:lnTo>
                    <a:pt x="679" y="525"/>
                  </a:lnTo>
                  <a:lnTo>
                    <a:pt x="677" y="525"/>
                  </a:lnTo>
                  <a:lnTo>
                    <a:pt x="679" y="525"/>
                  </a:lnTo>
                  <a:lnTo>
                    <a:pt x="677" y="525"/>
                  </a:lnTo>
                  <a:lnTo>
                    <a:pt x="677" y="527"/>
                  </a:lnTo>
                  <a:lnTo>
                    <a:pt x="675" y="527"/>
                  </a:lnTo>
                  <a:lnTo>
                    <a:pt x="675" y="525"/>
                  </a:lnTo>
                  <a:lnTo>
                    <a:pt x="677" y="525"/>
                  </a:lnTo>
                  <a:lnTo>
                    <a:pt x="675" y="525"/>
                  </a:lnTo>
                  <a:lnTo>
                    <a:pt x="677" y="525"/>
                  </a:lnTo>
                  <a:lnTo>
                    <a:pt x="675" y="525"/>
                  </a:lnTo>
                  <a:lnTo>
                    <a:pt x="675" y="527"/>
                  </a:lnTo>
                  <a:lnTo>
                    <a:pt x="675" y="525"/>
                  </a:lnTo>
                  <a:lnTo>
                    <a:pt x="674" y="525"/>
                  </a:lnTo>
                  <a:lnTo>
                    <a:pt x="675" y="525"/>
                  </a:lnTo>
                  <a:lnTo>
                    <a:pt x="674" y="525"/>
                  </a:lnTo>
                  <a:lnTo>
                    <a:pt x="674" y="523"/>
                  </a:lnTo>
                  <a:lnTo>
                    <a:pt x="674" y="525"/>
                  </a:lnTo>
                  <a:lnTo>
                    <a:pt x="675" y="525"/>
                  </a:lnTo>
                  <a:lnTo>
                    <a:pt x="675" y="527"/>
                  </a:lnTo>
                  <a:lnTo>
                    <a:pt x="674" y="527"/>
                  </a:lnTo>
                  <a:lnTo>
                    <a:pt x="675" y="527"/>
                  </a:lnTo>
                  <a:lnTo>
                    <a:pt x="674" y="527"/>
                  </a:lnTo>
                  <a:lnTo>
                    <a:pt x="674" y="525"/>
                  </a:lnTo>
                  <a:lnTo>
                    <a:pt x="674" y="527"/>
                  </a:lnTo>
                  <a:lnTo>
                    <a:pt x="674" y="525"/>
                  </a:lnTo>
                  <a:lnTo>
                    <a:pt x="674" y="527"/>
                  </a:lnTo>
                  <a:lnTo>
                    <a:pt x="672" y="527"/>
                  </a:lnTo>
                  <a:lnTo>
                    <a:pt x="674" y="527"/>
                  </a:lnTo>
                  <a:lnTo>
                    <a:pt x="672" y="527"/>
                  </a:lnTo>
                  <a:lnTo>
                    <a:pt x="674" y="527"/>
                  </a:lnTo>
                  <a:lnTo>
                    <a:pt x="674" y="528"/>
                  </a:lnTo>
                  <a:lnTo>
                    <a:pt x="675" y="528"/>
                  </a:lnTo>
                  <a:lnTo>
                    <a:pt x="675" y="530"/>
                  </a:lnTo>
                  <a:lnTo>
                    <a:pt x="677" y="530"/>
                  </a:lnTo>
                  <a:lnTo>
                    <a:pt x="675" y="530"/>
                  </a:lnTo>
                  <a:lnTo>
                    <a:pt x="677" y="530"/>
                  </a:lnTo>
                  <a:lnTo>
                    <a:pt x="675" y="530"/>
                  </a:lnTo>
                  <a:lnTo>
                    <a:pt x="677" y="530"/>
                  </a:lnTo>
                  <a:lnTo>
                    <a:pt x="675" y="530"/>
                  </a:lnTo>
                  <a:lnTo>
                    <a:pt x="677" y="530"/>
                  </a:lnTo>
                  <a:lnTo>
                    <a:pt x="675" y="530"/>
                  </a:lnTo>
                  <a:lnTo>
                    <a:pt x="675" y="532"/>
                  </a:lnTo>
                  <a:lnTo>
                    <a:pt x="675" y="530"/>
                  </a:lnTo>
                  <a:lnTo>
                    <a:pt x="675" y="532"/>
                  </a:lnTo>
                  <a:lnTo>
                    <a:pt x="675" y="530"/>
                  </a:lnTo>
                  <a:lnTo>
                    <a:pt x="674" y="530"/>
                  </a:lnTo>
                  <a:lnTo>
                    <a:pt x="674" y="532"/>
                  </a:lnTo>
                  <a:lnTo>
                    <a:pt x="675" y="532"/>
                  </a:lnTo>
                  <a:lnTo>
                    <a:pt x="675" y="530"/>
                  </a:lnTo>
                  <a:lnTo>
                    <a:pt x="677" y="530"/>
                  </a:lnTo>
                  <a:lnTo>
                    <a:pt x="677" y="532"/>
                  </a:lnTo>
                  <a:lnTo>
                    <a:pt x="677" y="530"/>
                  </a:lnTo>
                  <a:lnTo>
                    <a:pt x="677" y="532"/>
                  </a:lnTo>
                  <a:lnTo>
                    <a:pt x="677" y="530"/>
                  </a:lnTo>
                  <a:lnTo>
                    <a:pt x="677" y="532"/>
                  </a:lnTo>
                  <a:lnTo>
                    <a:pt x="679" y="532"/>
                  </a:lnTo>
                  <a:lnTo>
                    <a:pt x="677" y="532"/>
                  </a:lnTo>
                  <a:lnTo>
                    <a:pt x="675" y="532"/>
                  </a:lnTo>
                  <a:lnTo>
                    <a:pt x="675" y="534"/>
                  </a:lnTo>
                  <a:lnTo>
                    <a:pt x="675" y="532"/>
                  </a:lnTo>
                  <a:lnTo>
                    <a:pt x="675" y="534"/>
                  </a:lnTo>
                  <a:lnTo>
                    <a:pt x="675" y="532"/>
                  </a:lnTo>
                  <a:lnTo>
                    <a:pt x="675" y="534"/>
                  </a:lnTo>
                  <a:lnTo>
                    <a:pt x="675" y="532"/>
                  </a:lnTo>
                  <a:lnTo>
                    <a:pt x="675" y="534"/>
                  </a:lnTo>
                  <a:lnTo>
                    <a:pt x="675" y="532"/>
                  </a:lnTo>
                  <a:lnTo>
                    <a:pt x="675" y="534"/>
                  </a:lnTo>
                  <a:lnTo>
                    <a:pt x="674" y="534"/>
                  </a:lnTo>
                  <a:lnTo>
                    <a:pt x="672" y="534"/>
                  </a:lnTo>
                  <a:lnTo>
                    <a:pt x="674" y="534"/>
                  </a:lnTo>
                  <a:lnTo>
                    <a:pt x="674" y="536"/>
                  </a:lnTo>
                  <a:lnTo>
                    <a:pt x="672" y="536"/>
                  </a:lnTo>
                  <a:lnTo>
                    <a:pt x="672" y="538"/>
                  </a:lnTo>
                  <a:lnTo>
                    <a:pt x="672" y="536"/>
                  </a:lnTo>
                  <a:lnTo>
                    <a:pt x="672" y="538"/>
                  </a:lnTo>
                  <a:lnTo>
                    <a:pt x="674" y="538"/>
                  </a:lnTo>
                  <a:lnTo>
                    <a:pt x="675" y="538"/>
                  </a:lnTo>
                  <a:lnTo>
                    <a:pt x="674" y="538"/>
                  </a:lnTo>
                  <a:lnTo>
                    <a:pt x="674" y="540"/>
                  </a:lnTo>
                  <a:lnTo>
                    <a:pt x="674" y="542"/>
                  </a:lnTo>
                  <a:lnTo>
                    <a:pt x="674" y="544"/>
                  </a:lnTo>
                  <a:lnTo>
                    <a:pt x="672" y="544"/>
                  </a:lnTo>
                  <a:lnTo>
                    <a:pt x="672" y="542"/>
                  </a:lnTo>
                  <a:lnTo>
                    <a:pt x="672" y="544"/>
                  </a:lnTo>
                  <a:lnTo>
                    <a:pt x="672" y="546"/>
                  </a:lnTo>
                  <a:lnTo>
                    <a:pt x="674" y="546"/>
                  </a:lnTo>
                  <a:lnTo>
                    <a:pt x="674" y="544"/>
                  </a:lnTo>
                  <a:lnTo>
                    <a:pt x="674" y="546"/>
                  </a:lnTo>
                  <a:lnTo>
                    <a:pt x="674" y="548"/>
                  </a:lnTo>
                  <a:lnTo>
                    <a:pt x="674" y="546"/>
                  </a:lnTo>
                  <a:lnTo>
                    <a:pt x="674" y="548"/>
                  </a:lnTo>
                  <a:lnTo>
                    <a:pt x="674" y="546"/>
                  </a:lnTo>
                  <a:lnTo>
                    <a:pt x="674" y="548"/>
                  </a:lnTo>
                  <a:lnTo>
                    <a:pt x="674" y="550"/>
                  </a:lnTo>
                  <a:lnTo>
                    <a:pt x="674" y="548"/>
                  </a:lnTo>
                  <a:lnTo>
                    <a:pt x="674" y="550"/>
                  </a:lnTo>
                  <a:lnTo>
                    <a:pt x="674" y="548"/>
                  </a:lnTo>
                  <a:lnTo>
                    <a:pt x="674" y="550"/>
                  </a:lnTo>
                  <a:lnTo>
                    <a:pt x="674" y="548"/>
                  </a:lnTo>
                  <a:lnTo>
                    <a:pt x="672" y="548"/>
                  </a:lnTo>
                  <a:lnTo>
                    <a:pt x="674" y="548"/>
                  </a:lnTo>
                  <a:lnTo>
                    <a:pt x="672" y="548"/>
                  </a:lnTo>
                  <a:lnTo>
                    <a:pt x="674" y="548"/>
                  </a:lnTo>
                  <a:lnTo>
                    <a:pt x="672" y="548"/>
                  </a:lnTo>
                  <a:lnTo>
                    <a:pt x="672" y="546"/>
                  </a:lnTo>
                  <a:lnTo>
                    <a:pt x="670" y="546"/>
                  </a:lnTo>
                  <a:lnTo>
                    <a:pt x="670" y="548"/>
                  </a:lnTo>
                  <a:lnTo>
                    <a:pt x="668" y="548"/>
                  </a:lnTo>
                  <a:lnTo>
                    <a:pt x="668" y="546"/>
                  </a:lnTo>
                  <a:lnTo>
                    <a:pt x="668" y="548"/>
                  </a:lnTo>
                  <a:lnTo>
                    <a:pt x="666" y="548"/>
                  </a:lnTo>
                  <a:lnTo>
                    <a:pt x="668" y="548"/>
                  </a:lnTo>
                  <a:lnTo>
                    <a:pt x="666" y="548"/>
                  </a:lnTo>
                  <a:lnTo>
                    <a:pt x="668" y="548"/>
                  </a:lnTo>
                  <a:lnTo>
                    <a:pt x="666" y="548"/>
                  </a:lnTo>
                  <a:lnTo>
                    <a:pt x="668" y="548"/>
                  </a:lnTo>
                  <a:lnTo>
                    <a:pt x="668" y="550"/>
                  </a:lnTo>
                  <a:lnTo>
                    <a:pt x="670" y="550"/>
                  </a:lnTo>
                  <a:lnTo>
                    <a:pt x="668" y="550"/>
                  </a:lnTo>
                  <a:lnTo>
                    <a:pt x="668" y="552"/>
                  </a:lnTo>
                  <a:lnTo>
                    <a:pt x="670" y="552"/>
                  </a:lnTo>
                  <a:lnTo>
                    <a:pt x="668" y="552"/>
                  </a:lnTo>
                  <a:lnTo>
                    <a:pt x="670" y="552"/>
                  </a:lnTo>
                  <a:lnTo>
                    <a:pt x="668" y="552"/>
                  </a:lnTo>
                  <a:lnTo>
                    <a:pt x="666" y="552"/>
                  </a:lnTo>
                  <a:lnTo>
                    <a:pt x="666" y="550"/>
                  </a:lnTo>
                  <a:lnTo>
                    <a:pt x="666" y="552"/>
                  </a:lnTo>
                  <a:lnTo>
                    <a:pt x="666" y="553"/>
                  </a:lnTo>
                  <a:lnTo>
                    <a:pt x="666" y="552"/>
                  </a:lnTo>
                  <a:lnTo>
                    <a:pt x="666" y="553"/>
                  </a:lnTo>
                  <a:lnTo>
                    <a:pt x="666" y="552"/>
                  </a:lnTo>
                  <a:lnTo>
                    <a:pt x="666" y="553"/>
                  </a:lnTo>
                  <a:lnTo>
                    <a:pt x="666" y="552"/>
                  </a:lnTo>
                  <a:lnTo>
                    <a:pt x="664" y="552"/>
                  </a:lnTo>
                  <a:lnTo>
                    <a:pt x="666" y="552"/>
                  </a:lnTo>
                  <a:lnTo>
                    <a:pt x="664" y="552"/>
                  </a:lnTo>
                  <a:lnTo>
                    <a:pt x="664" y="550"/>
                  </a:lnTo>
                  <a:lnTo>
                    <a:pt x="662" y="550"/>
                  </a:lnTo>
                  <a:lnTo>
                    <a:pt x="664" y="550"/>
                  </a:lnTo>
                  <a:lnTo>
                    <a:pt x="664" y="552"/>
                  </a:lnTo>
                  <a:lnTo>
                    <a:pt x="664" y="550"/>
                  </a:lnTo>
                  <a:lnTo>
                    <a:pt x="664" y="552"/>
                  </a:lnTo>
                  <a:lnTo>
                    <a:pt x="664" y="553"/>
                  </a:lnTo>
                  <a:lnTo>
                    <a:pt x="662" y="553"/>
                  </a:lnTo>
                  <a:lnTo>
                    <a:pt x="664" y="553"/>
                  </a:lnTo>
                  <a:lnTo>
                    <a:pt x="662" y="553"/>
                  </a:lnTo>
                  <a:lnTo>
                    <a:pt x="664" y="553"/>
                  </a:lnTo>
                  <a:lnTo>
                    <a:pt x="664" y="555"/>
                  </a:lnTo>
                  <a:lnTo>
                    <a:pt x="666" y="555"/>
                  </a:lnTo>
                  <a:lnTo>
                    <a:pt x="664" y="555"/>
                  </a:lnTo>
                  <a:lnTo>
                    <a:pt x="662" y="555"/>
                  </a:lnTo>
                  <a:lnTo>
                    <a:pt x="664" y="555"/>
                  </a:lnTo>
                  <a:lnTo>
                    <a:pt x="664" y="557"/>
                  </a:lnTo>
                  <a:lnTo>
                    <a:pt x="664" y="555"/>
                  </a:lnTo>
                  <a:lnTo>
                    <a:pt x="664" y="557"/>
                  </a:lnTo>
                  <a:lnTo>
                    <a:pt x="664" y="555"/>
                  </a:lnTo>
                  <a:lnTo>
                    <a:pt x="664" y="557"/>
                  </a:lnTo>
                  <a:lnTo>
                    <a:pt x="664" y="555"/>
                  </a:lnTo>
                  <a:lnTo>
                    <a:pt x="662" y="555"/>
                  </a:lnTo>
                  <a:lnTo>
                    <a:pt x="662" y="557"/>
                  </a:lnTo>
                  <a:lnTo>
                    <a:pt x="662" y="555"/>
                  </a:lnTo>
                  <a:lnTo>
                    <a:pt x="662" y="557"/>
                  </a:lnTo>
                  <a:lnTo>
                    <a:pt x="660" y="557"/>
                  </a:lnTo>
                  <a:lnTo>
                    <a:pt x="660" y="555"/>
                  </a:lnTo>
                  <a:lnTo>
                    <a:pt x="660" y="557"/>
                  </a:lnTo>
                  <a:lnTo>
                    <a:pt x="658" y="557"/>
                  </a:lnTo>
                  <a:lnTo>
                    <a:pt x="658" y="555"/>
                  </a:lnTo>
                  <a:lnTo>
                    <a:pt x="658" y="557"/>
                  </a:lnTo>
                  <a:lnTo>
                    <a:pt x="660" y="557"/>
                  </a:lnTo>
                  <a:lnTo>
                    <a:pt x="658" y="557"/>
                  </a:lnTo>
                  <a:lnTo>
                    <a:pt x="660" y="557"/>
                  </a:lnTo>
                  <a:lnTo>
                    <a:pt x="658" y="557"/>
                  </a:lnTo>
                  <a:lnTo>
                    <a:pt x="660" y="557"/>
                  </a:lnTo>
                  <a:lnTo>
                    <a:pt x="658" y="557"/>
                  </a:lnTo>
                  <a:lnTo>
                    <a:pt x="660" y="557"/>
                  </a:lnTo>
                  <a:lnTo>
                    <a:pt x="658" y="557"/>
                  </a:lnTo>
                  <a:lnTo>
                    <a:pt x="660" y="557"/>
                  </a:lnTo>
                  <a:lnTo>
                    <a:pt x="658" y="557"/>
                  </a:lnTo>
                  <a:lnTo>
                    <a:pt x="660" y="557"/>
                  </a:lnTo>
                  <a:lnTo>
                    <a:pt x="662" y="557"/>
                  </a:lnTo>
                  <a:lnTo>
                    <a:pt x="660" y="557"/>
                  </a:lnTo>
                  <a:lnTo>
                    <a:pt x="662" y="557"/>
                  </a:lnTo>
                  <a:lnTo>
                    <a:pt x="660" y="557"/>
                  </a:lnTo>
                  <a:lnTo>
                    <a:pt x="662" y="557"/>
                  </a:lnTo>
                  <a:lnTo>
                    <a:pt x="662" y="559"/>
                  </a:lnTo>
                  <a:lnTo>
                    <a:pt x="660" y="559"/>
                  </a:lnTo>
                  <a:lnTo>
                    <a:pt x="660" y="561"/>
                  </a:lnTo>
                  <a:lnTo>
                    <a:pt x="658" y="561"/>
                  </a:lnTo>
                  <a:lnTo>
                    <a:pt x="658" y="563"/>
                  </a:lnTo>
                  <a:lnTo>
                    <a:pt x="658" y="561"/>
                  </a:lnTo>
                  <a:lnTo>
                    <a:pt x="658" y="563"/>
                  </a:lnTo>
                  <a:lnTo>
                    <a:pt x="658" y="561"/>
                  </a:lnTo>
                  <a:lnTo>
                    <a:pt x="656" y="561"/>
                  </a:lnTo>
                  <a:lnTo>
                    <a:pt x="656" y="559"/>
                  </a:lnTo>
                  <a:lnTo>
                    <a:pt x="656" y="561"/>
                  </a:lnTo>
                  <a:lnTo>
                    <a:pt x="654" y="561"/>
                  </a:lnTo>
                  <a:lnTo>
                    <a:pt x="652" y="561"/>
                  </a:lnTo>
                  <a:lnTo>
                    <a:pt x="652" y="559"/>
                  </a:lnTo>
                  <a:lnTo>
                    <a:pt x="652" y="561"/>
                  </a:lnTo>
                  <a:lnTo>
                    <a:pt x="652" y="559"/>
                  </a:lnTo>
                  <a:lnTo>
                    <a:pt x="652" y="561"/>
                  </a:lnTo>
                  <a:lnTo>
                    <a:pt x="651" y="561"/>
                  </a:lnTo>
                  <a:lnTo>
                    <a:pt x="651" y="563"/>
                  </a:lnTo>
                  <a:lnTo>
                    <a:pt x="649" y="563"/>
                  </a:lnTo>
                  <a:lnTo>
                    <a:pt x="647" y="563"/>
                  </a:lnTo>
                  <a:lnTo>
                    <a:pt x="647" y="561"/>
                  </a:lnTo>
                  <a:lnTo>
                    <a:pt x="647" y="563"/>
                  </a:lnTo>
                  <a:lnTo>
                    <a:pt x="649" y="563"/>
                  </a:lnTo>
                  <a:lnTo>
                    <a:pt x="649" y="565"/>
                  </a:lnTo>
                  <a:lnTo>
                    <a:pt x="649" y="563"/>
                  </a:lnTo>
                  <a:lnTo>
                    <a:pt x="651" y="563"/>
                  </a:lnTo>
                  <a:lnTo>
                    <a:pt x="651" y="565"/>
                  </a:lnTo>
                  <a:lnTo>
                    <a:pt x="652" y="565"/>
                  </a:lnTo>
                  <a:lnTo>
                    <a:pt x="651" y="565"/>
                  </a:lnTo>
                  <a:lnTo>
                    <a:pt x="652" y="565"/>
                  </a:lnTo>
                  <a:lnTo>
                    <a:pt x="652" y="567"/>
                  </a:lnTo>
                  <a:lnTo>
                    <a:pt x="651" y="567"/>
                  </a:lnTo>
                  <a:lnTo>
                    <a:pt x="649" y="567"/>
                  </a:lnTo>
                  <a:lnTo>
                    <a:pt x="651" y="567"/>
                  </a:lnTo>
                  <a:lnTo>
                    <a:pt x="651" y="569"/>
                  </a:lnTo>
                  <a:lnTo>
                    <a:pt x="651" y="567"/>
                  </a:lnTo>
                  <a:lnTo>
                    <a:pt x="649" y="567"/>
                  </a:lnTo>
                  <a:lnTo>
                    <a:pt x="649" y="569"/>
                  </a:lnTo>
                  <a:lnTo>
                    <a:pt x="649" y="567"/>
                  </a:lnTo>
                  <a:lnTo>
                    <a:pt x="649" y="569"/>
                  </a:lnTo>
                  <a:lnTo>
                    <a:pt x="649" y="571"/>
                  </a:lnTo>
                  <a:lnTo>
                    <a:pt x="647" y="571"/>
                  </a:lnTo>
                  <a:lnTo>
                    <a:pt x="647" y="573"/>
                  </a:lnTo>
                  <a:lnTo>
                    <a:pt x="647" y="571"/>
                  </a:lnTo>
                  <a:lnTo>
                    <a:pt x="645" y="571"/>
                  </a:lnTo>
                  <a:lnTo>
                    <a:pt x="645" y="569"/>
                  </a:lnTo>
                  <a:lnTo>
                    <a:pt x="645" y="571"/>
                  </a:lnTo>
                  <a:lnTo>
                    <a:pt x="645" y="573"/>
                  </a:lnTo>
                  <a:lnTo>
                    <a:pt x="645" y="575"/>
                  </a:lnTo>
                  <a:lnTo>
                    <a:pt x="643" y="575"/>
                  </a:lnTo>
                  <a:lnTo>
                    <a:pt x="645" y="575"/>
                  </a:lnTo>
                  <a:lnTo>
                    <a:pt x="643" y="575"/>
                  </a:lnTo>
                  <a:lnTo>
                    <a:pt x="645" y="575"/>
                  </a:lnTo>
                  <a:lnTo>
                    <a:pt x="645" y="573"/>
                  </a:lnTo>
                  <a:lnTo>
                    <a:pt x="643" y="573"/>
                  </a:lnTo>
                  <a:lnTo>
                    <a:pt x="643" y="571"/>
                  </a:lnTo>
                  <a:lnTo>
                    <a:pt x="643" y="573"/>
                  </a:lnTo>
                  <a:lnTo>
                    <a:pt x="643" y="571"/>
                  </a:lnTo>
                  <a:lnTo>
                    <a:pt x="643" y="573"/>
                  </a:lnTo>
                  <a:lnTo>
                    <a:pt x="643" y="571"/>
                  </a:lnTo>
                  <a:lnTo>
                    <a:pt x="641" y="571"/>
                  </a:lnTo>
                  <a:lnTo>
                    <a:pt x="641" y="573"/>
                  </a:lnTo>
                  <a:lnTo>
                    <a:pt x="643" y="573"/>
                  </a:lnTo>
                  <a:lnTo>
                    <a:pt x="643" y="575"/>
                  </a:lnTo>
                  <a:lnTo>
                    <a:pt x="641" y="575"/>
                  </a:lnTo>
                  <a:lnTo>
                    <a:pt x="639" y="575"/>
                  </a:lnTo>
                  <a:lnTo>
                    <a:pt x="641" y="575"/>
                  </a:lnTo>
                  <a:lnTo>
                    <a:pt x="639" y="575"/>
                  </a:lnTo>
                  <a:lnTo>
                    <a:pt x="641" y="575"/>
                  </a:lnTo>
                  <a:lnTo>
                    <a:pt x="639" y="575"/>
                  </a:lnTo>
                  <a:lnTo>
                    <a:pt x="639" y="577"/>
                  </a:lnTo>
                  <a:lnTo>
                    <a:pt x="639" y="575"/>
                  </a:lnTo>
                  <a:lnTo>
                    <a:pt x="639" y="577"/>
                  </a:lnTo>
                  <a:lnTo>
                    <a:pt x="639" y="575"/>
                  </a:lnTo>
                  <a:lnTo>
                    <a:pt x="639" y="577"/>
                  </a:lnTo>
                  <a:lnTo>
                    <a:pt x="637" y="577"/>
                  </a:lnTo>
                  <a:lnTo>
                    <a:pt x="637" y="578"/>
                  </a:lnTo>
                  <a:lnTo>
                    <a:pt x="637" y="577"/>
                  </a:lnTo>
                  <a:lnTo>
                    <a:pt x="637" y="578"/>
                  </a:lnTo>
                  <a:lnTo>
                    <a:pt x="637" y="577"/>
                  </a:lnTo>
                  <a:lnTo>
                    <a:pt x="637" y="578"/>
                  </a:lnTo>
                  <a:lnTo>
                    <a:pt x="637" y="577"/>
                  </a:lnTo>
                  <a:lnTo>
                    <a:pt x="635" y="577"/>
                  </a:lnTo>
                  <a:lnTo>
                    <a:pt x="635" y="578"/>
                  </a:lnTo>
                  <a:lnTo>
                    <a:pt x="633" y="578"/>
                  </a:lnTo>
                  <a:lnTo>
                    <a:pt x="633" y="580"/>
                  </a:lnTo>
                  <a:lnTo>
                    <a:pt x="631" y="580"/>
                  </a:lnTo>
                  <a:lnTo>
                    <a:pt x="629" y="580"/>
                  </a:lnTo>
                  <a:lnTo>
                    <a:pt x="631" y="580"/>
                  </a:lnTo>
                  <a:lnTo>
                    <a:pt x="629" y="580"/>
                  </a:lnTo>
                  <a:lnTo>
                    <a:pt x="627" y="580"/>
                  </a:lnTo>
                  <a:lnTo>
                    <a:pt x="627" y="578"/>
                  </a:lnTo>
                  <a:lnTo>
                    <a:pt x="627" y="580"/>
                  </a:lnTo>
                  <a:lnTo>
                    <a:pt x="629" y="580"/>
                  </a:lnTo>
                  <a:lnTo>
                    <a:pt x="629" y="582"/>
                  </a:lnTo>
                  <a:lnTo>
                    <a:pt x="631" y="582"/>
                  </a:lnTo>
                  <a:lnTo>
                    <a:pt x="629" y="582"/>
                  </a:lnTo>
                  <a:lnTo>
                    <a:pt x="629" y="584"/>
                  </a:lnTo>
                  <a:lnTo>
                    <a:pt x="629" y="582"/>
                  </a:lnTo>
                  <a:lnTo>
                    <a:pt x="629" y="584"/>
                  </a:lnTo>
                  <a:lnTo>
                    <a:pt x="627" y="584"/>
                  </a:lnTo>
                  <a:lnTo>
                    <a:pt x="629" y="584"/>
                  </a:lnTo>
                  <a:lnTo>
                    <a:pt x="629" y="586"/>
                  </a:lnTo>
                  <a:lnTo>
                    <a:pt x="627" y="586"/>
                  </a:lnTo>
                  <a:lnTo>
                    <a:pt x="627" y="588"/>
                  </a:lnTo>
                  <a:lnTo>
                    <a:pt x="627" y="586"/>
                  </a:lnTo>
                  <a:lnTo>
                    <a:pt x="627" y="588"/>
                  </a:lnTo>
                  <a:lnTo>
                    <a:pt x="626" y="588"/>
                  </a:lnTo>
                  <a:lnTo>
                    <a:pt x="626" y="586"/>
                  </a:lnTo>
                  <a:lnTo>
                    <a:pt x="626" y="588"/>
                  </a:lnTo>
                  <a:lnTo>
                    <a:pt x="624" y="588"/>
                  </a:lnTo>
                  <a:lnTo>
                    <a:pt x="622" y="588"/>
                  </a:lnTo>
                  <a:lnTo>
                    <a:pt x="622" y="590"/>
                  </a:lnTo>
                  <a:lnTo>
                    <a:pt x="622" y="588"/>
                  </a:lnTo>
                  <a:lnTo>
                    <a:pt x="622" y="590"/>
                  </a:lnTo>
                  <a:lnTo>
                    <a:pt x="622" y="588"/>
                  </a:lnTo>
                  <a:lnTo>
                    <a:pt x="622" y="590"/>
                  </a:lnTo>
                  <a:lnTo>
                    <a:pt x="622" y="588"/>
                  </a:lnTo>
                  <a:lnTo>
                    <a:pt x="620" y="588"/>
                  </a:lnTo>
                  <a:lnTo>
                    <a:pt x="620" y="590"/>
                  </a:lnTo>
                  <a:lnTo>
                    <a:pt x="618" y="590"/>
                  </a:lnTo>
                  <a:lnTo>
                    <a:pt x="618" y="588"/>
                  </a:lnTo>
                  <a:lnTo>
                    <a:pt x="616" y="588"/>
                  </a:lnTo>
                  <a:lnTo>
                    <a:pt x="614" y="588"/>
                  </a:lnTo>
                  <a:lnTo>
                    <a:pt x="616" y="588"/>
                  </a:lnTo>
                  <a:lnTo>
                    <a:pt x="614" y="588"/>
                  </a:lnTo>
                  <a:lnTo>
                    <a:pt x="616" y="588"/>
                  </a:lnTo>
                  <a:lnTo>
                    <a:pt x="614" y="588"/>
                  </a:lnTo>
                  <a:lnTo>
                    <a:pt x="614" y="590"/>
                  </a:lnTo>
                  <a:lnTo>
                    <a:pt x="614" y="592"/>
                  </a:lnTo>
                  <a:lnTo>
                    <a:pt x="614" y="590"/>
                  </a:lnTo>
                  <a:lnTo>
                    <a:pt x="614" y="592"/>
                  </a:lnTo>
                  <a:lnTo>
                    <a:pt x="612" y="592"/>
                  </a:lnTo>
                  <a:lnTo>
                    <a:pt x="610" y="592"/>
                  </a:lnTo>
                  <a:lnTo>
                    <a:pt x="610" y="590"/>
                  </a:lnTo>
                  <a:lnTo>
                    <a:pt x="612" y="590"/>
                  </a:lnTo>
                  <a:lnTo>
                    <a:pt x="610" y="590"/>
                  </a:lnTo>
                  <a:lnTo>
                    <a:pt x="608" y="590"/>
                  </a:lnTo>
                  <a:lnTo>
                    <a:pt x="606" y="590"/>
                  </a:lnTo>
                  <a:lnTo>
                    <a:pt x="606" y="592"/>
                  </a:lnTo>
                  <a:lnTo>
                    <a:pt x="604" y="592"/>
                  </a:lnTo>
                  <a:lnTo>
                    <a:pt x="604" y="590"/>
                  </a:lnTo>
                  <a:lnTo>
                    <a:pt x="604" y="592"/>
                  </a:lnTo>
                  <a:lnTo>
                    <a:pt x="606" y="592"/>
                  </a:lnTo>
                  <a:lnTo>
                    <a:pt x="604" y="592"/>
                  </a:lnTo>
                  <a:lnTo>
                    <a:pt x="604" y="594"/>
                  </a:lnTo>
                  <a:lnTo>
                    <a:pt x="604" y="592"/>
                  </a:lnTo>
                  <a:lnTo>
                    <a:pt x="604" y="594"/>
                  </a:lnTo>
                  <a:lnTo>
                    <a:pt x="604" y="592"/>
                  </a:lnTo>
                  <a:lnTo>
                    <a:pt x="603" y="592"/>
                  </a:lnTo>
                  <a:lnTo>
                    <a:pt x="603" y="594"/>
                  </a:lnTo>
                  <a:lnTo>
                    <a:pt x="603" y="592"/>
                  </a:lnTo>
                  <a:lnTo>
                    <a:pt x="603" y="594"/>
                  </a:lnTo>
                  <a:lnTo>
                    <a:pt x="603" y="592"/>
                  </a:lnTo>
                  <a:lnTo>
                    <a:pt x="603" y="594"/>
                  </a:lnTo>
                  <a:lnTo>
                    <a:pt x="603" y="592"/>
                  </a:lnTo>
                  <a:lnTo>
                    <a:pt x="603" y="594"/>
                  </a:lnTo>
                  <a:lnTo>
                    <a:pt x="603" y="592"/>
                  </a:lnTo>
                  <a:lnTo>
                    <a:pt x="603" y="590"/>
                  </a:lnTo>
                  <a:lnTo>
                    <a:pt x="603" y="588"/>
                  </a:lnTo>
                  <a:lnTo>
                    <a:pt x="603" y="590"/>
                  </a:lnTo>
                  <a:lnTo>
                    <a:pt x="601" y="590"/>
                  </a:lnTo>
                  <a:lnTo>
                    <a:pt x="599" y="590"/>
                  </a:lnTo>
                  <a:lnTo>
                    <a:pt x="599" y="592"/>
                  </a:lnTo>
                  <a:lnTo>
                    <a:pt x="601" y="592"/>
                  </a:lnTo>
                  <a:lnTo>
                    <a:pt x="599" y="592"/>
                  </a:lnTo>
                  <a:lnTo>
                    <a:pt x="601" y="592"/>
                  </a:lnTo>
                  <a:lnTo>
                    <a:pt x="599" y="592"/>
                  </a:lnTo>
                  <a:lnTo>
                    <a:pt x="599" y="590"/>
                  </a:lnTo>
                  <a:lnTo>
                    <a:pt x="599" y="592"/>
                  </a:lnTo>
                  <a:lnTo>
                    <a:pt x="599" y="590"/>
                  </a:lnTo>
                  <a:lnTo>
                    <a:pt x="599" y="592"/>
                  </a:lnTo>
                  <a:lnTo>
                    <a:pt x="601" y="592"/>
                  </a:lnTo>
                  <a:lnTo>
                    <a:pt x="599" y="592"/>
                  </a:lnTo>
                  <a:lnTo>
                    <a:pt x="599" y="594"/>
                  </a:lnTo>
                  <a:lnTo>
                    <a:pt x="599" y="592"/>
                  </a:lnTo>
                  <a:lnTo>
                    <a:pt x="599" y="594"/>
                  </a:lnTo>
                  <a:lnTo>
                    <a:pt x="599" y="592"/>
                  </a:lnTo>
                  <a:lnTo>
                    <a:pt x="599" y="594"/>
                  </a:lnTo>
                  <a:lnTo>
                    <a:pt x="599" y="592"/>
                  </a:lnTo>
                  <a:lnTo>
                    <a:pt x="599" y="594"/>
                  </a:lnTo>
                  <a:lnTo>
                    <a:pt x="601" y="594"/>
                  </a:lnTo>
                  <a:lnTo>
                    <a:pt x="599" y="594"/>
                  </a:lnTo>
                  <a:lnTo>
                    <a:pt x="599" y="596"/>
                  </a:lnTo>
                  <a:lnTo>
                    <a:pt x="599" y="594"/>
                  </a:lnTo>
                  <a:lnTo>
                    <a:pt x="597" y="594"/>
                  </a:lnTo>
                  <a:lnTo>
                    <a:pt x="597" y="592"/>
                  </a:lnTo>
                  <a:lnTo>
                    <a:pt x="595" y="592"/>
                  </a:lnTo>
                  <a:lnTo>
                    <a:pt x="595" y="594"/>
                  </a:lnTo>
                  <a:lnTo>
                    <a:pt x="597" y="594"/>
                  </a:lnTo>
                  <a:lnTo>
                    <a:pt x="595" y="594"/>
                  </a:lnTo>
                  <a:lnTo>
                    <a:pt x="597" y="594"/>
                  </a:lnTo>
                  <a:lnTo>
                    <a:pt x="595" y="594"/>
                  </a:lnTo>
                  <a:lnTo>
                    <a:pt x="595" y="596"/>
                  </a:lnTo>
                  <a:lnTo>
                    <a:pt x="595" y="594"/>
                  </a:lnTo>
                  <a:lnTo>
                    <a:pt x="595" y="596"/>
                  </a:lnTo>
                  <a:lnTo>
                    <a:pt x="595" y="594"/>
                  </a:lnTo>
                  <a:lnTo>
                    <a:pt x="595" y="596"/>
                  </a:lnTo>
                  <a:lnTo>
                    <a:pt x="593" y="596"/>
                  </a:lnTo>
                  <a:lnTo>
                    <a:pt x="595" y="596"/>
                  </a:lnTo>
                  <a:lnTo>
                    <a:pt x="597" y="596"/>
                  </a:lnTo>
                  <a:lnTo>
                    <a:pt x="597" y="594"/>
                  </a:lnTo>
                  <a:lnTo>
                    <a:pt x="597" y="596"/>
                  </a:lnTo>
                  <a:lnTo>
                    <a:pt x="597" y="594"/>
                  </a:lnTo>
                  <a:lnTo>
                    <a:pt x="597" y="596"/>
                  </a:lnTo>
                  <a:lnTo>
                    <a:pt x="597" y="594"/>
                  </a:lnTo>
                  <a:lnTo>
                    <a:pt x="597" y="596"/>
                  </a:lnTo>
                  <a:lnTo>
                    <a:pt x="597" y="594"/>
                  </a:lnTo>
                  <a:lnTo>
                    <a:pt x="597" y="596"/>
                  </a:lnTo>
                  <a:lnTo>
                    <a:pt x="597" y="598"/>
                  </a:lnTo>
                  <a:lnTo>
                    <a:pt x="597" y="596"/>
                  </a:lnTo>
                  <a:lnTo>
                    <a:pt x="597" y="598"/>
                  </a:lnTo>
                  <a:lnTo>
                    <a:pt x="597" y="596"/>
                  </a:lnTo>
                  <a:lnTo>
                    <a:pt x="597" y="598"/>
                  </a:lnTo>
                  <a:lnTo>
                    <a:pt x="597" y="596"/>
                  </a:lnTo>
                  <a:lnTo>
                    <a:pt x="597" y="598"/>
                  </a:lnTo>
                  <a:lnTo>
                    <a:pt x="597" y="596"/>
                  </a:lnTo>
                  <a:lnTo>
                    <a:pt x="595" y="596"/>
                  </a:lnTo>
                  <a:lnTo>
                    <a:pt x="597" y="596"/>
                  </a:lnTo>
                  <a:lnTo>
                    <a:pt x="595" y="596"/>
                  </a:lnTo>
                  <a:lnTo>
                    <a:pt x="595" y="598"/>
                  </a:lnTo>
                  <a:lnTo>
                    <a:pt x="595" y="596"/>
                  </a:lnTo>
                  <a:lnTo>
                    <a:pt x="595" y="598"/>
                  </a:lnTo>
                  <a:lnTo>
                    <a:pt x="595" y="596"/>
                  </a:lnTo>
                  <a:lnTo>
                    <a:pt x="595" y="598"/>
                  </a:lnTo>
                  <a:lnTo>
                    <a:pt x="597" y="598"/>
                  </a:lnTo>
                  <a:lnTo>
                    <a:pt x="595" y="598"/>
                  </a:lnTo>
                  <a:lnTo>
                    <a:pt x="593" y="598"/>
                  </a:lnTo>
                  <a:lnTo>
                    <a:pt x="593" y="596"/>
                  </a:lnTo>
                  <a:lnTo>
                    <a:pt x="591" y="596"/>
                  </a:lnTo>
                  <a:lnTo>
                    <a:pt x="589" y="596"/>
                  </a:lnTo>
                  <a:lnTo>
                    <a:pt x="591" y="596"/>
                  </a:lnTo>
                  <a:lnTo>
                    <a:pt x="589" y="596"/>
                  </a:lnTo>
                  <a:lnTo>
                    <a:pt x="591" y="596"/>
                  </a:lnTo>
                  <a:lnTo>
                    <a:pt x="589" y="596"/>
                  </a:lnTo>
                  <a:lnTo>
                    <a:pt x="591" y="596"/>
                  </a:lnTo>
                  <a:lnTo>
                    <a:pt x="591" y="594"/>
                  </a:lnTo>
                  <a:lnTo>
                    <a:pt x="591" y="596"/>
                  </a:lnTo>
                  <a:lnTo>
                    <a:pt x="593" y="596"/>
                  </a:lnTo>
                  <a:lnTo>
                    <a:pt x="591" y="596"/>
                  </a:lnTo>
                  <a:lnTo>
                    <a:pt x="591" y="594"/>
                  </a:lnTo>
                  <a:lnTo>
                    <a:pt x="591" y="596"/>
                  </a:lnTo>
                  <a:lnTo>
                    <a:pt x="591" y="594"/>
                  </a:lnTo>
                  <a:lnTo>
                    <a:pt x="589" y="594"/>
                  </a:lnTo>
                  <a:lnTo>
                    <a:pt x="589" y="596"/>
                  </a:lnTo>
                  <a:lnTo>
                    <a:pt x="589" y="594"/>
                  </a:lnTo>
                  <a:lnTo>
                    <a:pt x="589" y="596"/>
                  </a:lnTo>
                  <a:lnTo>
                    <a:pt x="589" y="594"/>
                  </a:lnTo>
                  <a:lnTo>
                    <a:pt x="589" y="596"/>
                  </a:lnTo>
                  <a:lnTo>
                    <a:pt x="589" y="594"/>
                  </a:lnTo>
                  <a:lnTo>
                    <a:pt x="589" y="596"/>
                  </a:lnTo>
                  <a:lnTo>
                    <a:pt x="589" y="594"/>
                  </a:lnTo>
                  <a:lnTo>
                    <a:pt x="589" y="592"/>
                  </a:lnTo>
                  <a:lnTo>
                    <a:pt x="587" y="592"/>
                  </a:lnTo>
                  <a:lnTo>
                    <a:pt x="587" y="590"/>
                  </a:lnTo>
                  <a:lnTo>
                    <a:pt x="585" y="590"/>
                  </a:lnTo>
                  <a:lnTo>
                    <a:pt x="585" y="588"/>
                  </a:lnTo>
                  <a:lnTo>
                    <a:pt x="585" y="590"/>
                  </a:lnTo>
                  <a:lnTo>
                    <a:pt x="585" y="588"/>
                  </a:lnTo>
                  <a:lnTo>
                    <a:pt x="585" y="586"/>
                  </a:lnTo>
                  <a:lnTo>
                    <a:pt x="585" y="588"/>
                  </a:lnTo>
                  <a:lnTo>
                    <a:pt x="585" y="586"/>
                  </a:lnTo>
                  <a:lnTo>
                    <a:pt x="585" y="588"/>
                  </a:lnTo>
                  <a:lnTo>
                    <a:pt x="585" y="586"/>
                  </a:lnTo>
                  <a:lnTo>
                    <a:pt x="583" y="586"/>
                  </a:lnTo>
                  <a:lnTo>
                    <a:pt x="585" y="586"/>
                  </a:lnTo>
                  <a:lnTo>
                    <a:pt x="583" y="586"/>
                  </a:lnTo>
                  <a:lnTo>
                    <a:pt x="583" y="584"/>
                  </a:lnTo>
                  <a:lnTo>
                    <a:pt x="583" y="586"/>
                  </a:lnTo>
                  <a:lnTo>
                    <a:pt x="583" y="588"/>
                  </a:lnTo>
                  <a:lnTo>
                    <a:pt x="585" y="588"/>
                  </a:lnTo>
                  <a:lnTo>
                    <a:pt x="585" y="590"/>
                  </a:lnTo>
                  <a:lnTo>
                    <a:pt x="583" y="590"/>
                  </a:lnTo>
                  <a:lnTo>
                    <a:pt x="585" y="590"/>
                  </a:lnTo>
                  <a:lnTo>
                    <a:pt x="583" y="590"/>
                  </a:lnTo>
                  <a:lnTo>
                    <a:pt x="581" y="590"/>
                  </a:lnTo>
                  <a:lnTo>
                    <a:pt x="583" y="590"/>
                  </a:lnTo>
                  <a:lnTo>
                    <a:pt x="583" y="592"/>
                  </a:lnTo>
                  <a:lnTo>
                    <a:pt x="585" y="592"/>
                  </a:lnTo>
                  <a:lnTo>
                    <a:pt x="585" y="594"/>
                  </a:lnTo>
                  <a:lnTo>
                    <a:pt x="583" y="594"/>
                  </a:lnTo>
                  <a:lnTo>
                    <a:pt x="583" y="592"/>
                  </a:lnTo>
                  <a:lnTo>
                    <a:pt x="581" y="592"/>
                  </a:lnTo>
                  <a:lnTo>
                    <a:pt x="583" y="592"/>
                  </a:lnTo>
                  <a:lnTo>
                    <a:pt x="583" y="594"/>
                  </a:lnTo>
                  <a:lnTo>
                    <a:pt x="583" y="592"/>
                  </a:lnTo>
                  <a:lnTo>
                    <a:pt x="581" y="592"/>
                  </a:lnTo>
                  <a:lnTo>
                    <a:pt x="583" y="592"/>
                  </a:lnTo>
                  <a:lnTo>
                    <a:pt x="583" y="594"/>
                  </a:lnTo>
                  <a:lnTo>
                    <a:pt x="585" y="594"/>
                  </a:lnTo>
                  <a:lnTo>
                    <a:pt x="585" y="596"/>
                  </a:lnTo>
                  <a:lnTo>
                    <a:pt x="585" y="598"/>
                  </a:lnTo>
                  <a:lnTo>
                    <a:pt x="585" y="600"/>
                  </a:lnTo>
                  <a:lnTo>
                    <a:pt x="583" y="600"/>
                  </a:lnTo>
                  <a:lnTo>
                    <a:pt x="583" y="598"/>
                  </a:lnTo>
                  <a:lnTo>
                    <a:pt x="581" y="598"/>
                  </a:lnTo>
                  <a:lnTo>
                    <a:pt x="581" y="596"/>
                  </a:lnTo>
                  <a:lnTo>
                    <a:pt x="581" y="598"/>
                  </a:lnTo>
                  <a:lnTo>
                    <a:pt x="581" y="600"/>
                  </a:lnTo>
                  <a:lnTo>
                    <a:pt x="583" y="600"/>
                  </a:lnTo>
                  <a:lnTo>
                    <a:pt x="583" y="601"/>
                  </a:lnTo>
                  <a:lnTo>
                    <a:pt x="581" y="600"/>
                  </a:lnTo>
                  <a:lnTo>
                    <a:pt x="583" y="601"/>
                  </a:lnTo>
                  <a:lnTo>
                    <a:pt x="581" y="601"/>
                  </a:lnTo>
                  <a:lnTo>
                    <a:pt x="581" y="603"/>
                  </a:lnTo>
                  <a:lnTo>
                    <a:pt x="581" y="601"/>
                  </a:lnTo>
                  <a:lnTo>
                    <a:pt x="580" y="601"/>
                  </a:lnTo>
                  <a:lnTo>
                    <a:pt x="581" y="603"/>
                  </a:lnTo>
                  <a:lnTo>
                    <a:pt x="580" y="603"/>
                  </a:lnTo>
                  <a:lnTo>
                    <a:pt x="580" y="601"/>
                  </a:lnTo>
                  <a:lnTo>
                    <a:pt x="578" y="601"/>
                  </a:lnTo>
                  <a:lnTo>
                    <a:pt x="578" y="600"/>
                  </a:lnTo>
                  <a:lnTo>
                    <a:pt x="580" y="600"/>
                  </a:lnTo>
                  <a:lnTo>
                    <a:pt x="580" y="598"/>
                  </a:lnTo>
                  <a:lnTo>
                    <a:pt x="580" y="600"/>
                  </a:lnTo>
                  <a:lnTo>
                    <a:pt x="578" y="600"/>
                  </a:lnTo>
                  <a:lnTo>
                    <a:pt x="578" y="598"/>
                  </a:lnTo>
                  <a:lnTo>
                    <a:pt x="578" y="600"/>
                  </a:lnTo>
                  <a:lnTo>
                    <a:pt x="578" y="601"/>
                  </a:lnTo>
                  <a:lnTo>
                    <a:pt x="578" y="603"/>
                  </a:lnTo>
                  <a:lnTo>
                    <a:pt x="576" y="603"/>
                  </a:lnTo>
                  <a:lnTo>
                    <a:pt x="578" y="603"/>
                  </a:lnTo>
                  <a:lnTo>
                    <a:pt x="576" y="603"/>
                  </a:lnTo>
                  <a:lnTo>
                    <a:pt x="578" y="603"/>
                  </a:lnTo>
                  <a:lnTo>
                    <a:pt x="576" y="603"/>
                  </a:lnTo>
                  <a:lnTo>
                    <a:pt x="576" y="605"/>
                  </a:lnTo>
                  <a:lnTo>
                    <a:pt x="576" y="603"/>
                  </a:lnTo>
                  <a:lnTo>
                    <a:pt x="574" y="603"/>
                  </a:lnTo>
                  <a:lnTo>
                    <a:pt x="574" y="601"/>
                  </a:lnTo>
                  <a:lnTo>
                    <a:pt x="574" y="603"/>
                  </a:lnTo>
                  <a:lnTo>
                    <a:pt x="572" y="603"/>
                  </a:lnTo>
                  <a:lnTo>
                    <a:pt x="572" y="605"/>
                  </a:lnTo>
                  <a:lnTo>
                    <a:pt x="570" y="605"/>
                  </a:lnTo>
                  <a:lnTo>
                    <a:pt x="568" y="605"/>
                  </a:lnTo>
                  <a:lnTo>
                    <a:pt x="568" y="603"/>
                  </a:lnTo>
                  <a:lnTo>
                    <a:pt x="570" y="603"/>
                  </a:lnTo>
                  <a:lnTo>
                    <a:pt x="568" y="603"/>
                  </a:lnTo>
                  <a:lnTo>
                    <a:pt x="568" y="601"/>
                  </a:lnTo>
                  <a:lnTo>
                    <a:pt x="568" y="603"/>
                  </a:lnTo>
                  <a:lnTo>
                    <a:pt x="568" y="605"/>
                  </a:lnTo>
                  <a:lnTo>
                    <a:pt x="568" y="607"/>
                  </a:lnTo>
                  <a:lnTo>
                    <a:pt x="566" y="607"/>
                  </a:lnTo>
                  <a:lnTo>
                    <a:pt x="566" y="605"/>
                  </a:lnTo>
                  <a:lnTo>
                    <a:pt x="564" y="605"/>
                  </a:lnTo>
                  <a:lnTo>
                    <a:pt x="564" y="607"/>
                  </a:lnTo>
                  <a:lnTo>
                    <a:pt x="564" y="605"/>
                  </a:lnTo>
                  <a:lnTo>
                    <a:pt x="566" y="605"/>
                  </a:lnTo>
                  <a:lnTo>
                    <a:pt x="564" y="605"/>
                  </a:lnTo>
                  <a:lnTo>
                    <a:pt x="566" y="605"/>
                  </a:lnTo>
                  <a:lnTo>
                    <a:pt x="564" y="605"/>
                  </a:lnTo>
                  <a:lnTo>
                    <a:pt x="562" y="605"/>
                  </a:lnTo>
                  <a:lnTo>
                    <a:pt x="562" y="607"/>
                  </a:lnTo>
                  <a:lnTo>
                    <a:pt x="560" y="607"/>
                  </a:lnTo>
                  <a:lnTo>
                    <a:pt x="562" y="607"/>
                  </a:lnTo>
                  <a:lnTo>
                    <a:pt x="562" y="609"/>
                  </a:lnTo>
                  <a:lnTo>
                    <a:pt x="562" y="607"/>
                  </a:lnTo>
                  <a:lnTo>
                    <a:pt x="562" y="609"/>
                  </a:lnTo>
                  <a:lnTo>
                    <a:pt x="560" y="609"/>
                  </a:lnTo>
                  <a:lnTo>
                    <a:pt x="558" y="609"/>
                  </a:lnTo>
                  <a:lnTo>
                    <a:pt x="560" y="609"/>
                  </a:lnTo>
                  <a:lnTo>
                    <a:pt x="560" y="607"/>
                  </a:lnTo>
                  <a:lnTo>
                    <a:pt x="558" y="607"/>
                  </a:lnTo>
                  <a:lnTo>
                    <a:pt x="560" y="607"/>
                  </a:lnTo>
                  <a:lnTo>
                    <a:pt x="558" y="607"/>
                  </a:lnTo>
                  <a:lnTo>
                    <a:pt x="558" y="605"/>
                  </a:lnTo>
                  <a:lnTo>
                    <a:pt x="558" y="607"/>
                  </a:lnTo>
                  <a:lnTo>
                    <a:pt x="558" y="609"/>
                  </a:lnTo>
                  <a:lnTo>
                    <a:pt x="556" y="609"/>
                  </a:lnTo>
                  <a:lnTo>
                    <a:pt x="555" y="609"/>
                  </a:lnTo>
                  <a:lnTo>
                    <a:pt x="553" y="609"/>
                  </a:lnTo>
                  <a:lnTo>
                    <a:pt x="553" y="611"/>
                  </a:lnTo>
                  <a:lnTo>
                    <a:pt x="551" y="611"/>
                  </a:lnTo>
                  <a:lnTo>
                    <a:pt x="553" y="611"/>
                  </a:lnTo>
                  <a:lnTo>
                    <a:pt x="551" y="611"/>
                  </a:lnTo>
                  <a:lnTo>
                    <a:pt x="551" y="609"/>
                  </a:lnTo>
                  <a:lnTo>
                    <a:pt x="551" y="611"/>
                  </a:lnTo>
                  <a:lnTo>
                    <a:pt x="551" y="609"/>
                  </a:lnTo>
                  <a:lnTo>
                    <a:pt x="551" y="611"/>
                  </a:lnTo>
                  <a:lnTo>
                    <a:pt x="551" y="609"/>
                  </a:lnTo>
                  <a:lnTo>
                    <a:pt x="551" y="611"/>
                  </a:lnTo>
                  <a:lnTo>
                    <a:pt x="549" y="611"/>
                  </a:lnTo>
                  <a:lnTo>
                    <a:pt x="549" y="609"/>
                  </a:lnTo>
                  <a:lnTo>
                    <a:pt x="547" y="609"/>
                  </a:lnTo>
                  <a:lnTo>
                    <a:pt x="547" y="611"/>
                  </a:lnTo>
                  <a:lnTo>
                    <a:pt x="547" y="609"/>
                  </a:lnTo>
                  <a:lnTo>
                    <a:pt x="547" y="611"/>
                  </a:lnTo>
                  <a:lnTo>
                    <a:pt x="549" y="611"/>
                  </a:lnTo>
                  <a:lnTo>
                    <a:pt x="547" y="611"/>
                  </a:lnTo>
                  <a:lnTo>
                    <a:pt x="545" y="611"/>
                  </a:lnTo>
                  <a:lnTo>
                    <a:pt x="543" y="611"/>
                  </a:lnTo>
                  <a:lnTo>
                    <a:pt x="543" y="613"/>
                  </a:lnTo>
                  <a:lnTo>
                    <a:pt x="543" y="615"/>
                  </a:lnTo>
                  <a:lnTo>
                    <a:pt x="543" y="613"/>
                  </a:lnTo>
                  <a:lnTo>
                    <a:pt x="541" y="613"/>
                  </a:lnTo>
                  <a:lnTo>
                    <a:pt x="543" y="615"/>
                  </a:lnTo>
                  <a:lnTo>
                    <a:pt x="541" y="615"/>
                  </a:lnTo>
                  <a:lnTo>
                    <a:pt x="539" y="615"/>
                  </a:lnTo>
                  <a:lnTo>
                    <a:pt x="539" y="613"/>
                  </a:lnTo>
                  <a:lnTo>
                    <a:pt x="539" y="611"/>
                  </a:lnTo>
                  <a:lnTo>
                    <a:pt x="539" y="613"/>
                  </a:lnTo>
                  <a:lnTo>
                    <a:pt x="539" y="611"/>
                  </a:lnTo>
                  <a:lnTo>
                    <a:pt x="537" y="611"/>
                  </a:lnTo>
                  <a:lnTo>
                    <a:pt x="539" y="611"/>
                  </a:lnTo>
                  <a:lnTo>
                    <a:pt x="537" y="611"/>
                  </a:lnTo>
                  <a:lnTo>
                    <a:pt x="539" y="611"/>
                  </a:lnTo>
                  <a:lnTo>
                    <a:pt x="537" y="611"/>
                  </a:lnTo>
                  <a:lnTo>
                    <a:pt x="539" y="611"/>
                  </a:lnTo>
                  <a:lnTo>
                    <a:pt x="539" y="613"/>
                  </a:lnTo>
                  <a:lnTo>
                    <a:pt x="539" y="615"/>
                  </a:lnTo>
                  <a:lnTo>
                    <a:pt x="539" y="617"/>
                  </a:lnTo>
                  <a:lnTo>
                    <a:pt x="539" y="615"/>
                  </a:lnTo>
                  <a:lnTo>
                    <a:pt x="537" y="615"/>
                  </a:lnTo>
                  <a:lnTo>
                    <a:pt x="537" y="617"/>
                  </a:lnTo>
                  <a:lnTo>
                    <a:pt x="539" y="617"/>
                  </a:lnTo>
                  <a:lnTo>
                    <a:pt x="541" y="617"/>
                  </a:lnTo>
                  <a:lnTo>
                    <a:pt x="541" y="619"/>
                  </a:lnTo>
                  <a:lnTo>
                    <a:pt x="539" y="619"/>
                  </a:lnTo>
                  <a:lnTo>
                    <a:pt x="537" y="619"/>
                  </a:lnTo>
                  <a:lnTo>
                    <a:pt x="535" y="619"/>
                  </a:lnTo>
                  <a:lnTo>
                    <a:pt x="537" y="619"/>
                  </a:lnTo>
                  <a:lnTo>
                    <a:pt x="537" y="617"/>
                  </a:lnTo>
                  <a:lnTo>
                    <a:pt x="535" y="617"/>
                  </a:lnTo>
                  <a:lnTo>
                    <a:pt x="535" y="619"/>
                  </a:lnTo>
                  <a:lnTo>
                    <a:pt x="535" y="621"/>
                  </a:lnTo>
                  <a:lnTo>
                    <a:pt x="537" y="621"/>
                  </a:lnTo>
                  <a:lnTo>
                    <a:pt x="539" y="621"/>
                  </a:lnTo>
                  <a:lnTo>
                    <a:pt x="539" y="623"/>
                  </a:lnTo>
                  <a:lnTo>
                    <a:pt x="537" y="623"/>
                  </a:lnTo>
                  <a:lnTo>
                    <a:pt x="537" y="625"/>
                  </a:lnTo>
                  <a:lnTo>
                    <a:pt x="537" y="623"/>
                  </a:lnTo>
                  <a:lnTo>
                    <a:pt x="539" y="623"/>
                  </a:lnTo>
                  <a:lnTo>
                    <a:pt x="537" y="623"/>
                  </a:lnTo>
                  <a:lnTo>
                    <a:pt x="539" y="623"/>
                  </a:lnTo>
                  <a:lnTo>
                    <a:pt x="539" y="625"/>
                  </a:lnTo>
                  <a:lnTo>
                    <a:pt x="541" y="625"/>
                  </a:lnTo>
                  <a:lnTo>
                    <a:pt x="541" y="626"/>
                  </a:lnTo>
                  <a:lnTo>
                    <a:pt x="539" y="626"/>
                  </a:lnTo>
                  <a:lnTo>
                    <a:pt x="539" y="628"/>
                  </a:lnTo>
                  <a:lnTo>
                    <a:pt x="537" y="628"/>
                  </a:lnTo>
                  <a:lnTo>
                    <a:pt x="537" y="630"/>
                  </a:lnTo>
                  <a:lnTo>
                    <a:pt x="537" y="628"/>
                  </a:lnTo>
                  <a:lnTo>
                    <a:pt x="535" y="628"/>
                  </a:lnTo>
                  <a:lnTo>
                    <a:pt x="535" y="630"/>
                  </a:lnTo>
                  <a:lnTo>
                    <a:pt x="535" y="628"/>
                  </a:lnTo>
                  <a:lnTo>
                    <a:pt x="535" y="630"/>
                  </a:lnTo>
                  <a:lnTo>
                    <a:pt x="533" y="630"/>
                  </a:lnTo>
                  <a:lnTo>
                    <a:pt x="533" y="628"/>
                  </a:lnTo>
                  <a:lnTo>
                    <a:pt x="533" y="630"/>
                  </a:lnTo>
                  <a:lnTo>
                    <a:pt x="533" y="628"/>
                  </a:lnTo>
                  <a:lnTo>
                    <a:pt x="532" y="628"/>
                  </a:lnTo>
                  <a:lnTo>
                    <a:pt x="533" y="628"/>
                  </a:lnTo>
                  <a:lnTo>
                    <a:pt x="532" y="628"/>
                  </a:lnTo>
                  <a:lnTo>
                    <a:pt x="532" y="630"/>
                  </a:lnTo>
                  <a:lnTo>
                    <a:pt x="532" y="628"/>
                  </a:lnTo>
                  <a:lnTo>
                    <a:pt x="532" y="626"/>
                  </a:lnTo>
                  <a:lnTo>
                    <a:pt x="532" y="628"/>
                  </a:lnTo>
                  <a:lnTo>
                    <a:pt x="533" y="628"/>
                  </a:lnTo>
                  <a:lnTo>
                    <a:pt x="532" y="628"/>
                  </a:lnTo>
                  <a:lnTo>
                    <a:pt x="533" y="628"/>
                  </a:lnTo>
                  <a:lnTo>
                    <a:pt x="533" y="626"/>
                  </a:lnTo>
                  <a:lnTo>
                    <a:pt x="532" y="626"/>
                  </a:lnTo>
                  <a:lnTo>
                    <a:pt x="533" y="626"/>
                  </a:lnTo>
                  <a:lnTo>
                    <a:pt x="532" y="626"/>
                  </a:lnTo>
                  <a:lnTo>
                    <a:pt x="533" y="626"/>
                  </a:lnTo>
                  <a:lnTo>
                    <a:pt x="532" y="626"/>
                  </a:lnTo>
                  <a:lnTo>
                    <a:pt x="533" y="626"/>
                  </a:lnTo>
                  <a:lnTo>
                    <a:pt x="532" y="626"/>
                  </a:lnTo>
                  <a:lnTo>
                    <a:pt x="530" y="626"/>
                  </a:lnTo>
                  <a:lnTo>
                    <a:pt x="530" y="625"/>
                  </a:lnTo>
                  <a:lnTo>
                    <a:pt x="530" y="623"/>
                  </a:lnTo>
                  <a:lnTo>
                    <a:pt x="530" y="621"/>
                  </a:lnTo>
                  <a:lnTo>
                    <a:pt x="528" y="621"/>
                  </a:lnTo>
                  <a:lnTo>
                    <a:pt x="528" y="619"/>
                  </a:lnTo>
                  <a:lnTo>
                    <a:pt x="528" y="617"/>
                  </a:lnTo>
                  <a:lnTo>
                    <a:pt x="528" y="615"/>
                  </a:lnTo>
                  <a:lnTo>
                    <a:pt x="530" y="615"/>
                  </a:lnTo>
                  <a:lnTo>
                    <a:pt x="530" y="613"/>
                  </a:lnTo>
                  <a:lnTo>
                    <a:pt x="532" y="613"/>
                  </a:lnTo>
                  <a:lnTo>
                    <a:pt x="532" y="611"/>
                  </a:lnTo>
                  <a:lnTo>
                    <a:pt x="530" y="611"/>
                  </a:lnTo>
                  <a:lnTo>
                    <a:pt x="530" y="609"/>
                  </a:lnTo>
                  <a:lnTo>
                    <a:pt x="530" y="611"/>
                  </a:lnTo>
                  <a:lnTo>
                    <a:pt x="528" y="611"/>
                  </a:lnTo>
                  <a:lnTo>
                    <a:pt x="530" y="611"/>
                  </a:lnTo>
                  <a:lnTo>
                    <a:pt x="528" y="611"/>
                  </a:lnTo>
                  <a:lnTo>
                    <a:pt x="528" y="609"/>
                  </a:lnTo>
                  <a:lnTo>
                    <a:pt x="528" y="607"/>
                  </a:lnTo>
                  <a:lnTo>
                    <a:pt x="526" y="607"/>
                  </a:lnTo>
                  <a:lnTo>
                    <a:pt x="528" y="607"/>
                  </a:lnTo>
                  <a:lnTo>
                    <a:pt x="528" y="605"/>
                  </a:lnTo>
                  <a:lnTo>
                    <a:pt x="528" y="607"/>
                  </a:lnTo>
                  <a:lnTo>
                    <a:pt x="526" y="607"/>
                  </a:lnTo>
                  <a:lnTo>
                    <a:pt x="526" y="605"/>
                  </a:lnTo>
                  <a:lnTo>
                    <a:pt x="526" y="607"/>
                  </a:lnTo>
                  <a:lnTo>
                    <a:pt x="526" y="605"/>
                  </a:lnTo>
                  <a:lnTo>
                    <a:pt x="526" y="607"/>
                  </a:lnTo>
                  <a:lnTo>
                    <a:pt x="526" y="609"/>
                  </a:lnTo>
                  <a:lnTo>
                    <a:pt x="528" y="609"/>
                  </a:lnTo>
                  <a:lnTo>
                    <a:pt x="526" y="609"/>
                  </a:lnTo>
                  <a:lnTo>
                    <a:pt x="528" y="609"/>
                  </a:lnTo>
                  <a:lnTo>
                    <a:pt x="526" y="609"/>
                  </a:lnTo>
                  <a:lnTo>
                    <a:pt x="528" y="609"/>
                  </a:lnTo>
                  <a:lnTo>
                    <a:pt x="526" y="609"/>
                  </a:lnTo>
                  <a:lnTo>
                    <a:pt x="526" y="611"/>
                  </a:lnTo>
                  <a:lnTo>
                    <a:pt x="524" y="611"/>
                  </a:lnTo>
                  <a:lnTo>
                    <a:pt x="522" y="611"/>
                  </a:lnTo>
                  <a:lnTo>
                    <a:pt x="520" y="611"/>
                  </a:lnTo>
                  <a:lnTo>
                    <a:pt x="518" y="611"/>
                  </a:lnTo>
                  <a:lnTo>
                    <a:pt x="520" y="611"/>
                  </a:lnTo>
                  <a:lnTo>
                    <a:pt x="520" y="609"/>
                  </a:lnTo>
                  <a:lnTo>
                    <a:pt x="518" y="609"/>
                  </a:lnTo>
                  <a:lnTo>
                    <a:pt x="516" y="609"/>
                  </a:lnTo>
                  <a:lnTo>
                    <a:pt x="516" y="607"/>
                  </a:lnTo>
                  <a:lnTo>
                    <a:pt x="516" y="605"/>
                  </a:lnTo>
                  <a:lnTo>
                    <a:pt x="516" y="607"/>
                  </a:lnTo>
                  <a:lnTo>
                    <a:pt x="516" y="605"/>
                  </a:lnTo>
                  <a:lnTo>
                    <a:pt x="516" y="607"/>
                  </a:lnTo>
                  <a:lnTo>
                    <a:pt x="516" y="609"/>
                  </a:lnTo>
                  <a:lnTo>
                    <a:pt x="516" y="607"/>
                  </a:lnTo>
                  <a:lnTo>
                    <a:pt x="514" y="607"/>
                  </a:lnTo>
                  <a:lnTo>
                    <a:pt x="514" y="609"/>
                  </a:lnTo>
                  <a:lnTo>
                    <a:pt x="514" y="607"/>
                  </a:lnTo>
                  <a:lnTo>
                    <a:pt x="514" y="609"/>
                  </a:lnTo>
                  <a:lnTo>
                    <a:pt x="514" y="607"/>
                  </a:lnTo>
                  <a:lnTo>
                    <a:pt x="514" y="609"/>
                  </a:lnTo>
                  <a:lnTo>
                    <a:pt x="514" y="607"/>
                  </a:lnTo>
                  <a:lnTo>
                    <a:pt x="514" y="609"/>
                  </a:lnTo>
                  <a:lnTo>
                    <a:pt x="514" y="607"/>
                  </a:lnTo>
                  <a:lnTo>
                    <a:pt x="514" y="605"/>
                  </a:lnTo>
                  <a:lnTo>
                    <a:pt x="514" y="607"/>
                  </a:lnTo>
                  <a:lnTo>
                    <a:pt x="514" y="609"/>
                  </a:lnTo>
                  <a:lnTo>
                    <a:pt x="514" y="607"/>
                  </a:lnTo>
                  <a:lnTo>
                    <a:pt x="512" y="607"/>
                  </a:lnTo>
                  <a:lnTo>
                    <a:pt x="514" y="607"/>
                  </a:lnTo>
                  <a:lnTo>
                    <a:pt x="512" y="607"/>
                  </a:lnTo>
                  <a:lnTo>
                    <a:pt x="512" y="605"/>
                  </a:lnTo>
                  <a:lnTo>
                    <a:pt x="512" y="607"/>
                  </a:lnTo>
                  <a:lnTo>
                    <a:pt x="512" y="605"/>
                  </a:lnTo>
                  <a:lnTo>
                    <a:pt x="512" y="603"/>
                  </a:lnTo>
                  <a:lnTo>
                    <a:pt x="512" y="605"/>
                  </a:lnTo>
                  <a:lnTo>
                    <a:pt x="512" y="603"/>
                  </a:lnTo>
                  <a:lnTo>
                    <a:pt x="510" y="603"/>
                  </a:lnTo>
                  <a:lnTo>
                    <a:pt x="510" y="605"/>
                  </a:lnTo>
                  <a:lnTo>
                    <a:pt x="510" y="603"/>
                  </a:lnTo>
                  <a:lnTo>
                    <a:pt x="510" y="605"/>
                  </a:lnTo>
                  <a:lnTo>
                    <a:pt x="512" y="605"/>
                  </a:lnTo>
                  <a:lnTo>
                    <a:pt x="512" y="607"/>
                  </a:lnTo>
                  <a:lnTo>
                    <a:pt x="510" y="607"/>
                  </a:lnTo>
                  <a:lnTo>
                    <a:pt x="512" y="607"/>
                  </a:lnTo>
                  <a:lnTo>
                    <a:pt x="510" y="607"/>
                  </a:lnTo>
                  <a:lnTo>
                    <a:pt x="510" y="609"/>
                  </a:lnTo>
                  <a:lnTo>
                    <a:pt x="509" y="609"/>
                  </a:lnTo>
                  <a:lnTo>
                    <a:pt x="510" y="609"/>
                  </a:lnTo>
                  <a:lnTo>
                    <a:pt x="510" y="607"/>
                  </a:lnTo>
                  <a:lnTo>
                    <a:pt x="509" y="607"/>
                  </a:lnTo>
                  <a:lnTo>
                    <a:pt x="509" y="605"/>
                  </a:lnTo>
                  <a:lnTo>
                    <a:pt x="509" y="607"/>
                  </a:lnTo>
                  <a:lnTo>
                    <a:pt x="509" y="609"/>
                  </a:lnTo>
                  <a:lnTo>
                    <a:pt x="509" y="607"/>
                  </a:lnTo>
                  <a:lnTo>
                    <a:pt x="509" y="609"/>
                  </a:lnTo>
                  <a:lnTo>
                    <a:pt x="507" y="609"/>
                  </a:lnTo>
                  <a:lnTo>
                    <a:pt x="509" y="609"/>
                  </a:lnTo>
                  <a:lnTo>
                    <a:pt x="507" y="609"/>
                  </a:lnTo>
                  <a:lnTo>
                    <a:pt x="507" y="607"/>
                  </a:lnTo>
                  <a:lnTo>
                    <a:pt x="507" y="609"/>
                  </a:lnTo>
                  <a:lnTo>
                    <a:pt x="505" y="609"/>
                  </a:lnTo>
                  <a:lnTo>
                    <a:pt x="507" y="609"/>
                  </a:lnTo>
                  <a:lnTo>
                    <a:pt x="505" y="609"/>
                  </a:lnTo>
                  <a:lnTo>
                    <a:pt x="507" y="609"/>
                  </a:lnTo>
                  <a:lnTo>
                    <a:pt x="505" y="609"/>
                  </a:lnTo>
                  <a:lnTo>
                    <a:pt x="503" y="609"/>
                  </a:lnTo>
                  <a:lnTo>
                    <a:pt x="503" y="607"/>
                  </a:lnTo>
                  <a:lnTo>
                    <a:pt x="501" y="607"/>
                  </a:lnTo>
                  <a:lnTo>
                    <a:pt x="499" y="607"/>
                  </a:lnTo>
                  <a:lnTo>
                    <a:pt x="499" y="609"/>
                  </a:lnTo>
                  <a:lnTo>
                    <a:pt x="497" y="609"/>
                  </a:lnTo>
                  <a:lnTo>
                    <a:pt x="497" y="607"/>
                  </a:lnTo>
                  <a:lnTo>
                    <a:pt x="495" y="607"/>
                  </a:lnTo>
                  <a:lnTo>
                    <a:pt x="497" y="607"/>
                  </a:lnTo>
                  <a:lnTo>
                    <a:pt x="495" y="607"/>
                  </a:lnTo>
                  <a:lnTo>
                    <a:pt x="495" y="609"/>
                  </a:lnTo>
                  <a:lnTo>
                    <a:pt x="495" y="607"/>
                  </a:lnTo>
                  <a:lnTo>
                    <a:pt x="493" y="607"/>
                  </a:lnTo>
                  <a:lnTo>
                    <a:pt x="493" y="605"/>
                  </a:lnTo>
                  <a:lnTo>
                    <a:pt x="493" y="607"/>
                  </a:lnTo>
                  <a:lnTo>
                    <a:pt x="491" y="607"/>
                  </a:lnTo>
                  <a:lnTo>
                    <a:pt x="491" y="605"/>
                  </a:lnTo>
                  <a:lnTo>
                    <a:pt x="489" y="605"/>
                  </a:lnTo>
                  <a:lnTo>
                    <a:pt x="489" y="603"/>
                  </a:lnTo>
                  <a:lnTo>
                    <a:pt x="487" y="603"/>
                  </a:lnTo>
                  <a:lnTo>
                    <a:pt x="485" y="603"/>
                  </a:lnTo>
                  <a:lnTo>
                    <a:pt x="485" y="601"/>
                  </a:lnTo>
                  <a:lnTo>
                    <a:pt x="485" y="603"/>
                  </a:lnTo>
                  <a:lnTo>
                    <a:pt x="484" y="603"/>
                  </a:lnTo>
                  <a:lnTo>
                    <a:pt x="484" y="601"/>
                  </a:lnTo>
                  <a:lnTo>
                    <a:pt x="485" y="601"/>
                  </a:lnTo>
                  <a:lnTo>
                    <a:pt x="484" y="601"/>
                  </a:lnTo>
                  <a:lnTo>
                    <a:pt x="485" y="601"/>
                  </a:lnTo>
                  <a:lnTo>
                    <a:pt x="484" y="601"/>
                  </a:lnTo>
                  <a:lnTo>
                    <a:pt x="485" y="601"/>
                  </a:lnTo>
                  <a:lnTo>
                    <a:pt x="484" y="600"/>
                  </a:lnTo>
                  <a:lnTo>
                    <a:pt x="485" y="600"/>
                  </a:lnTo>
                  <a:lnTo>
                    <a:pt x="484" y="600"/>
                  </a:lnTo>
                  <a:lnTo>
                    <a:pt x="485" y="600"/>
                  </a:lnTo>
                  <a:lnTo>
                    <a:pt x="484" y="600"/>
                  </a:lnTo>
                  <a:lnTo>
                    <a:pt x="484" y="598"/>
                  </a:lnTo>
                  <a:lnTo>
                    <a:pt x="482" y="598"/>
                  </a:lnTo>
                  <a:lnTo>
                    <a:pt x="482" y="596"/>
                  </a:lnTo>
                  <a:lnTo>
                    <a:pt x="484" y="596"/>
                  </a:lnTo>
                  <a:lnTo>
                    <a:pt x="482" y="596"/>
                  </a:lnTo>
                  <a:lnTo>
                    <a:pt x="484" y="596"/>
                  </a:lnTo>
                  <a:lnTo>
                    <a:pt x="482" y="596"/>
                  </a:lnTo>
                  <a:lnTo>
                    <a:pt x="484" y="596"/>
                  </a:lnTo>
                  <a:lnTo>
                    <a:pt x="482" y="596"/>
                  </a:lnTo>
                  <a:lnTo>
                    <a:pt x="484" y="596"/>
                  </a:lnTo>
                  <a:lnTo>
                    <a:pt x="484" y="594"/>
                  </a:lnTo>
                  <a:lnTo>
                    <a:pt x="484" y="596"/>
                  </a:lnTo>
                  <a:lnTo>
                    <a:pt x="484" y="594"/>
                  </a:lnTo>
                  <a:lnTo>
                    <a:pt x="484" y="592"/>
                  </a:lnTo>
                  <a:lnTo>
                    <a:pt x="484" y="594"/>
                  </a:lnTo>
                  <a:lnTo>
                    <a:pt x="485" y="594"/>
                  </a:lnTo>
                  <a:lnTo>
                    <a:pt x="485" y="592"/>
                  </a:lnTo>
                  <a:lnTo>
                    <a:pt x="485" y="590"/>
                  </a:lnTo>
                  <a:lnTo>
                    <a:pt x="487" y="590"/>
                  </a:lnTo>
                  <a:lnTo>
                    <a:pt x="485" y="590"/>
                  </a:lnTo>
                  <a:lnTo>
                    <a:pt x="485" y="588"/>
                  </a:lnTo>
                  <a:lnTo>
                    <a:pt x="484" y="588"/>
                  </a:lnTo>
                  <a:lnTo>
                    <a:pt x="482" y="588"/>
                  </a:lnTo>
                  <a:lnTo>
                    <a:pt x="480" y="588"/>
                  </a:lnTo>
                  <a:lnTo>
                    <a:pt x="478" y="588"/>
                  </a:lnTo>
                  <a:lnTo>
                    <a:pt x="478" y="586"/>
                  </a:lnTo>
                  <a:lnTo>
                    <a:pt x="476" y="586"/>
                  </a:lnTo>
                  <a:lnTo>
                    <a:pt x="474" y="586"/>
                  </a:lnTo>
                  <a:lnTo>
                    <a:pt x="474" y="588"/>
                  </a:lnTo>
                  <a:lnTo>
                    <a:pt x="472" y="588"/>
                  </a:lnTo>
                  <a:lnTo>
                    <a:pt x="472" y="586"/>
                  </a:lnTo>
                  <a:lnTo>
                    <a:pt x="470" y="586"/>
                  </a:lnTo>
                  <a:lnTo>
                    <a:pt x="470" y="584"/>
                  </a:lnTo>
                  <a:lnTo>
                    <a:pt x="468" y="584"/>
                  </a:lnTo>
                  <a:lnTo>
                    <a:pt x="468" y="586"/>
                  </a:lnTo>
                  <a:lnTo>
                    <a:pt x="468" y="584"/>
                  </a:lnTo>
                  <a:lnTo>
                    <a:pt x="468" y="586"/>
                  </a:lnTo>
                  <a:lnTo>
                    <a:pt x="468" y="584"/>
                  </a:lnTo>
                  <a:lnTo>
                    <a:pt x="466" y="584"/>
                  </a:lnTo>
                  <a:lnTo>
                    <a:pt x="466" y="582"/>
                  </a:lnTo>
                  <a:lnTo>
                    <a:pt x="464" y="582"/>
                  </a:lnTo>
                  <a:lnTo>
                    <a:pt x="464" y="580"/>
                  </a:lnTo>
                  <a:lnTo>
                    <a:pt x="462" y="580"/>
                  </a:lnTo>
                  <a:lnTo>
                    <a:pt x="464" y="580"/>
                  </a:lnTo>
                  <a:lnTo>
                    <a:pt x="464" y="582"/>
                  </a:lnTo>
                  <a:lnTo>
                    <a:pt x="462" y="582"/>
                  </a:lnTo>
                  <a:lnTo>
                    <a:pt x="461" y="582"/>
                  </a:lnTo>
                  <a:lnTo>
                    <a:pt x="459" y="582"/>
                  </a:lnTo>
                  <a:lnTo>
                    <a:pt x="459" y="584"/>
                  </a:lnTo>
                  <a:lnTo>
                    <a:pt x="457" y="584"/>
                  </a:lnTo>
                  <a:lnTo>
                    <a:pt x="457" y="586"/>
                  </a:lnTo>
                  <a:lnTo>
                    <a:pt x="459" y="586"/>
                  </a:lnTo>
                  <a:lnTo>
                    <a:pt x="457" y="586"/>
                  </a:lnTo>
                  <a:lnTo>
                    <a:pt x="459" y="586"/>
                  </a:lnTo>
                  <a:lnTo>
                    <a:pt x="457" y="586"/>
                  </a:lnTo>
                  <a:lnTo>
                    <a:pt x="459" y="586"/>
                  </a:lnTo>
                  <a:lnTo>
                    <a:pt x="457" y="586"/>
                  </a:lnTo>
                  <a:lnTo>
                    <a:pt x="459" y="586"/>
                  </a:lnTo>
                  <a:lnTo>
                    <a:pt x="459" y="588"/>
                  </a:lnTo>
                  <a:lnTo>
                    <a:pt x="457" y="588"/>
                  </a:lnTo>
                  <a:lnTo>
                    <a:pt x="455" y="588"/>
                  </a:lnTo>
                  <a:lnTo>
                    <a:pt x="457" y="588"/>
                  </a:lnTo>
                  <a:lnTo>
                    <a:pt x="457" y="590"/>
                  </a:lnTo>
                  <a:lnTo>
                    <a:pt x="455" y="590"/>
                  </a:lnTo>
                  <a:lnTo>
                    <a:pt x="455" y="588"/>
                  </a:lnTo>
                  <a:lnTo>
                    <a:pt x="455" y="590"/>
                  </a:lnTo>
                  <a:lnTo>
                    <a:pt x="455" y="588"/>
                  </a:lnTo>
                  <a:lnTo>
                    <a:pt x="455" y="590"/>
                  </a:lnTo>
                  <a:lnTo>
                    <a:pt x="453" y="590"/>
                  </a:lnTo>
                  <a:lnTo>
                    <a:pt x="455" y="590"/>
                  </a:lnTo>
                  <a:lnTo>
                    <a:pt x="453" y="590"/>
                  </a:lnTo>
                  <a:lnTo>
                    <a:pt x="455" y="590"/>
                  </a:lnTo>
                  <a:lnTo>
                    <a:pt x="455" y="588"/>
                  </a:lnTo>
                  <a:lnTo>
                    <a:pt x="453" y="588"/>
                  </a:lnTo>
                  <a:lnTo>
                    <a:pt x="455" y="588"/>
                  </a:lnTo>
                  <a:lnTo>
                    <a:pt x="453" y="588"/>
                  </a:lnTo>
                  <a:lnTo>
                    <a:pt x="453" y="590"/>
                  </a:lnTo>
                  <a:lnTo>
                    <a:pt x="451" y="590"/>
                  </a:lnTo>
                  <a:lnTo>
                    <a:pt x="451" y="592"/>
                  </a:lnTo>
                  <a:lnTo>
                    <a:pt x="451" y="590"/>
                  </a:lnTo>
                  <a:lnTo>
                    <a:pt x="449" y="590"/>
                  </a:lnTo>
                  <a:lnTo>
                    <a:pt x="449" y="588"/>
                  </a:lnTo>
                  <a:lnTo>
                    <a:pt x="449" y="590"/>
                  </a:lnTo>
                  <a:lnTo>
                    <a:pt x="447" y="590"/>
                  </a:lnTo>
                  <a:lnTo>
                    <a:pt x="445" y="590"/>
                  </a:lnTo>
                  <a:lnTo>
                    <a:pt x="445" y="592"/>
                  </a:lnTo>
                  <a:lnTo>
                    <a:pt x="445" y="594"/>
                  </a:lnTo>
                  <a:lnTo>
                    <a:pt x="443" y="594"/>
                  </a:lnTo>
                  <a:lnTo>
                    <a:pt x="443" y="592"/>
                  </a:lnTo>
                  <a:lnTo>
                    <a:pt x="441" y="592"/>
                  </a:lnTo>
                  <a:lnTo>
                    <a:pt x="441" y="590"/>
                  </a:lnTo>
                  <a:lnTo>
                    <a:pt x="439" y="590"/>
                  </a:lnTo>
                  <a:lnTo>
                    <a:pt x="439" y="592"/>
                  </a:lnTo>
                  <a:lnTo>
                    <a:pt x="437" y="592"/>
                  </a:lnTo>
                  <a:lnTo>
                    <a:pt x="437" y="590"/>
                  </a:lnTo>
                  <a:lnTo>
                    <a:pt x="436" y="590"/>
                  </a:lnTo>
                  <a:lnTo>
                    <a:pt x="434" y="590"/>
                  </a:lnTo>
                  <a:lnTo>
                    <a:pt x="436" y="590"/>
                  </a:lnTo>
                  <a:lnTo>
                    <a:pt x="434" y="590"/>
                  </a:lnTo>
                  <a:lnTo>
                    <a:pt x="436" y="590"/>
                  </a:lnTo>
                  <a:lnTo>
                    <a:pt x="436" y="592"/>
                  </a:lnTo>
                  <a:lnTo>
                    <a:pt x="434" y="592"/>
                  </a:lnTo>
                  <a:lnTo>
                    <a:pt x="434" y="594"/>
                  </a:lnTo>
                  <a:lnTo>
                    <a:pt x="432" y="594"/>
                  </a:lnTo>
                  <a:lnTo>
                    <a:pt x="432" y="596"/>
                  </a:lnTo>
                  <a:lnTo>
                    <a:pt x="430" y="596"/>
                  </a:lnTo>
                  <a:lnTo>
                    <a:pt x="430" y="594"/>
                  </a:lnTo>
                  <a:lnTo>
                    <a:pt x="428" y="594"/>
                  </a:lnTo>
                  <a:lnTo>
                    <a:pt x="430" y="594"/>
                  </a:lnTo>
                  <a:lnTo>
                    <a:pt x="428" y="594"/>
                  </a:lnTo>
                  <a:lnTo>
                    <a:pt x="428" y="592"/>
                  </a:lnTo>
                  <a:lnTo>
                    <a:pt x="426" y="592"/>
                  </a:lnTo>
                  <a:lnTo>
                    <a:pt x="424" y="592"/>
                  </a:lnTo>
                  <a:lnTo>
                    <a:pt x="424" y="590"/>
                  </a:lnTo>
                  <a:lnTo>
                    <a:pt x="424" y="592"/>
                  </a:lnTo>
                  <a:lnTo>
                    <a:pt x="424" y="590"/>
                  </a:lnTo>
                  <a:lnTo>
                    <a:pt x="422" y="590"/>
                  </a:lnTo>
                  <a:lnTo>
                    <a:pt x="422" y="592"/>
                  </a:lnTo>
                  <a:lnTo>
                    <a:pt x="422" y="594"/>
                  </a:lnTo>
                  <a:lnTo>
                    <a:pt x="420" y="594"/>
                  </a:lnTo>
                  <a:lnTo>
                    <a:pt x="420" y="592"/>
                  </a:lnTo>
                  <a:lnTo>
                    <a:pt x="420" y="594"/>
                  </a:lnTo>
                  <a:lnTo>
                    <a:pt x="420" y="596"/>
                  </a:lnTo>
                  <a:lnTo>
                    <a:pt x="418" y="596"/>
                  </a:lnTo>
                  <a:lnTo>
                    <a:pt x="416" y="596"/>
                  </a:lnTo>
                  <a:lnTo>
                    <a:pt x="414" y="596"/>
                  </a:lnTo>
                  <a:lnTo>
                    <a:pt x="413" y="596"/>
                  </a:lnTo>
                  <a:lnTo>
                    <a:pt x="413" y="594"/>
                  </a:lnTo>
                  <a:lnTo>
                    <a:pt x="411" y="594"/>
                  </a:lnTo>
                  <a:lnTo>
                    <a:pt x="411" y="596"/>
                  </a:lnTo>
                  <a:lnTo>
                    <a:pt x="411" y="598"/>
                  </a:lnTo>
                  <a:lnTo>
                    <a:pt x="409" y="598"/>
                  </a:lnTo>
                  <a:lnTo>
                    <a:pt x="409" y="600"/>
                  </a:lnTo>
                  <a:lnTo>
                    <a:pt x="411" y="600"/>
                  </a:lnTo>
                  <a:lnTo>
                    <a:pt x="409" y="600"/>
                  </a:lnTo>
                  <a:lnTo>
                    <a:pt x="409" y="601"/>
                  </a:lnTo>
                  <a:lnTo>
                    <a:pt x="411" y="601"/>
                  </a:lnTo>
                  <a:lnTo>
                    <a:pt x="411" y="603"/>
                  </a:lnTo>
                  <a:lnTo>
                    <a:pt x="413" y="603"/>
                  </a:lnTo>
                  <a:lnTo>
                    <a:pt x="413" y="605"/>
                  </a:lnTo>
                  <a:lnTo>
                    <a:pt x="413" y="607"/>
                  </a:lnTo>
                  <a:lnTo>
                    <a:pt x="413" y="609"/>
                  </a:lnTo>
                  <a:lnTo>
                    <a:pt x="413" y="611"/>
                  </a:lnTo>
                  <a:lnTo>
                    <a:pt x="413" y="613"/>
                  </a:lnTo>
                  <a:lnTo>
                    <a:pt x="413" y="615"/>
                  </a:lnTo>
                  <a:lnTo>
                    <a:pt x="411" y="615"/>
                  </a:lnTo>
                  <a:lnTo>
                    <a:pt x="409" y="615"/>
                  </a:lnTo>
                  <a:lnTo>
                    <a:pt x="409" y="613"/>
                  </a:lnTo>
                  <a:lnTo>
                    <a:pt x="409" y="615"/>
                  </a:lnTo>
                  <a:lnTo>
                    <a:pt x="407" y="615"/>
                  </a:lnTo>
                  <a:lnTo>
                    <a:pt x="405" y="615"/>
                  </a:lnTo>
                  <a:lnTo>
                    <a:pt x="405" y="613"/>
                  </a:lnTo>
                  <a:lnTo>
                    <a:pt x="403" y="613"/>
                  </a:lnTo>
                  <a:lnTo>
                    <a:pt x="403" y="611"/>
                  </a:lnTo>
                  <a:lnTo>
                    <a:pt x="405" y="611"/>
                  </a:lnTo>
                  <a:lnTo>
                    <a:pt x="405" y="609"/>
                  </a:lnTo>
                  <a:lnTo>
                    <a:pt x="403" y="609"/>
                  </a:lnTo>
                  <a:lnTo>
                    <a:pt x="403" y="607"/>
                  </a:lnTo>
                  <a:lnTo>
                    <a:pt x="403" y="605"/>
                  </a:lnTo>
                  <a:lnTo>
                    <a:pt x="401" y="605"/>
                  </a:lnTo>
                  <a:lnTo>
                    <a:pt x="401" y="607"/>
                  </a:lnTo>
                  <a:lnTo>
                    <a:pt x="399" y="607"/>
                  </a:lnTo>
                  <a:lnTo>
                    <a:pt x="399" y="609"/>
                  </a:lnTo>
                  <a:lnTo>
                    <a:pt x="397" y="609"/>
                  </a:lnTo>
                  <a:lnTo>
                    <a:pt x="397" y="611"/>
                  </a:lnTo>
                  <a:lnTo>
                    <a:pt x="395" y="611"/>
                  </a:lnTo>
                  <a:lnTo>
                    <a:pt x="393" y="611"/>
                  </a:lnTo>
                  <a:lnTo>
                    <a:pt x="393" y="609"/>
                  </a:lnTo>
                  <a:lnTo>
                    <a:pt x="391" y="609"/>
                  </a:lnTo>
                  <a:lnTo>
                    <a:pt x="391" y="611"/>
                  </a:lnTo>
                  <a:lnTo>
                    <a:pt x="390" y="611"/>
                  </a:lnTo>
                  <a:lnTo>
                    <a:pt x="390" y="609"/>
                  </a:lnTo>
                  <a:lnTo>
                    <a:pt x="390" y="611"/>
                  </a:lnTo>
                  <a:lnTo>
                    <a:pt x="390" y="609"/>
                  </a:lnTo>
                  <a:lnTo>
                    <a:pt x="388" y="609"/>
                  </a:lnTo>
                  <a:lnTo>
                    <a:pt x="388" y="607"/>
                  </a:lnTo>
                  <a:lnTo>
                    <a:pt x="390" y="607"/>
                  </a:lnTo>
                  <a:lnTo>
                    <a:pt x="388" y="607"/>
                  </a:lnTo>
                  <a:lnTo>
                    <a:pt x="390" y="607"/>
                  </a:lnTo>
                  <a:lnTo>
                    <a:pt x="388" y="607"/>
                  </a:lnTo>
                  <a:lnTo>
                    <a:pt x="386" y="607"/>
                  </a:lnTo>
                  <a:lnTo>
                    <a:pt x="386" y="605"/>
                  </a:lnTo>
                  <a:lnTo>
                    <a:pt x="386" y="603"/>
                  </a:lnTo>
                  <a:lnTo>
                    <a:pt x="386" y="601"/>
                  </a:lnTo>
                  <a:lnTo>
                    <a:pt x="384" y="601"/>
                  </a:lnTo>
                  <a:lnTo>
                    <a:pt x="386" y="601"/>
                  </a:lnTo>
                  <a:lnTo>
                    <a:pt x="384" y="601"/>
                  </a:lnTo>
                  <a:lnTo>
                    <a:pt x="382" y="601"/>
                  </a:lnTo>
                  <a:lnTo>
                    <a:pt x="380" y="601"/>
                  </a:lnTo>
                  <a:lnTo>
                    <a:pt x="380" y="600"/>
                  </a:lnTo>
                  <a:lnTo>
                    <a:pt x="380" y="601"/>
                  </a:lnTo>
                  <a:lnTo>
                    <a:pt x="380" y="600"/>
                  </a:lnTo>
                  <a:lnTo>
                    <a:pt x="380" y="601"/>
                  </a:lnTo>
                  <a:lnTo>
                    <a:pt x="380" y="600"/>
                  </a:lnTo>
                  <a:lnTo>
                    <a:pt x="380" y="601"/>
                  </a:lnTo>
                  <a:lnTo>
                    <a:pt x="380" y="600"/>
                  </a:lnTo>
                  <a:lnTo>
                    <a:pt x="378" y="600"/>
                  </a:lnTo>
                  <a:lnTo>
                    <a:pt x="378" y="601"/>
                  </a:lnTo>
                  <a:lnTo>
                    <a:pt x="378" y="600"/>
                  </a:lnTo>
                  <a:lnTo>
                    <a:pt x="378" y="601"/>
                  </a:lnTo>
                  <a:lnTo>
                    <a:pt x="376" y="601"/>
                  </a:lnTo>
                  <a:lnTo>
                    <a:pt x="376" y="600"/>
                  </a:lnTo>
                  <a:lnTo>
                    <a:pt x="376" y="601"/>
                  </a:lnTo>
                  <a:lnTo>
                    <a:pt x="376" y="600"/>
                  </a:lnTo>
                  <a:lnTo>
                    <a:pt x="374" y="600"/>
                  </a:lnTo>
                  <a:lnTo>
                    <a:pt x="374" y="598"/>
                  </a:lnTo>
                  <a:lnTo>
                    <a:pt x="376" y="598"/>
                  </a:lnTo>
                  <a:lnTo>
                    <a:pt x="376" y="596"/>
                  </a:lnTo>
                  <a:lnTo>
                    <a:pt x="378" y="596"/>
                  </a:lnTo>
                  <a:lnTo>
                    <a:pt x="378" y="594"/>
                  </a:lnTo>
                  <a:lnTo>
                    <a:pt x="378" y="592"/>
                  </a:lnTo>
                  <a:lnTo>
                    <a:pt x="376" y="592"/>
                  </a:lnTo>
                  <a:lnTo>
                    <a:pt x="376" y="590"/>
                  </a:lnTo>
                  <a:lnTo>
                    <a:pt x="378" y="590"/>
                  </a:lnTo>
                  <a:lnTo>
                    <a:pt x="378" y="588"/>
                  </a:lnTo>
                  <a:lnTo>
                    <a:pt x="380" y="588"/>
                  </a:lnTo>
                  <a:lnTo>
                    <a:pt x="380" y="586"/>
                  </a:lnTo>
                  <a:lnTo>
                    <a:pt x="380" y="584"/>
                  </a:lnTo>
                  <a:lnTo>
                    <a:pt x="378" y="584"/>
                  </a:lnTo>
                  <a:lnTo>
                    <a:pt x="376" y="584"/>
                  </a:lnTo>
                  <a:lnTo>
                    <a:pt x="374" y="584"/>
                  </a:lnTo>
                  <a:lnTo>
                    <a:pt x="372" y="584"/>
                  </a:lnTo>
                  <a:lnTo>
                    <a:pt x="370" y="584"/>
                  </a:lnTo>
                  <a:lnTo>
                    <a:pt x="370" y="582"/>
                  </a:lnTo>
                  <a:lnTo>
                    <a:pt x="370" y="580"/>
                  </a:lnTo>
                  <a:lnTo>
                    <a:pt x="370" y="578"/>
                  </a:lnTo>
                  <a:lnTo>
                    <a:pt x="368" y="578"/>
                  </a:lnTo>
                  <a:lnTo>
                    <a:pt x="370" y="578"/>
                  </a:lnTo>
                  <a:lnTo>
                    <a:pt x="370" y="577"/>
                  </a:lnTo>
                  <a:lnTo>
                    <a:pt x="370" y="575"/>
                  </a:lnTo>
                  <a:lnTo>
                    <a:pt x="368" y="575"/>
                  </a:lnTo>
                  <a:lnTo>
                    <a:pt x="370" y="575"/>
                  </a:lnTo>
                  <a:lnTo>
                    <a:pt x="368" y="575"/>
                  </a:lnTo>
                  <a:lnTo>
                    <a:pt x="366" y="575"/>
                  </a:lnTo>
                  <a:lnTo>
                    <a:pt x="366" y="573"/>
                  </a:lnTo>
                  <a:lnTo>
                    <a:pt x="368" y="573"/>
                  </a:lnTo>
                  <a:lnTo>
                    <a:pt x="366" y="573"/>
                  </a:lnTo>
                  <a:lnTo>
                    <a:pt x="368" y="573"/>
                  </a:lnTo>
                  <a:lnTo>
                    <a:pt x="366" y="573"/>
                  </a:lnTo>
                  <a:lnTo>
                    <a:pt x="366" y="571"/>
                  </a:lnTo>
                  <a:lnTo>
                    <a:pt x="368" y="571"/>
                  </a:lnTo>
                  <a:lnTo>
                    <a:pt x="366" y="571"/>
                  </a:lnTo>
                  <a:lnTo>
                    <a:pt x="368" y="571"/>
                  </a:lnTo>
                  <a:lnTo>
                    <a:pt x="368" y="569"/>
                  </a:lnTo>
                  <a:lnTo>
                    <a:pt x="370" y="569"/>
                  </a:lnTo>
                  <a:lnTo>
                    <a:pt x="368" y="569"/>
                  </a:lnTo>
                  <a:lnTo>
                    <a:pt x="366" y="569"/>
                  </a:lnTo>
                  <a:lnTo>
                    <a:pt x="365" y="569"/>
                  </a:lnTo>
                  <a:lnTo>
                    <a:pt x="363" y="569"/>
                  </a:lnTo>
                  <a:lnTo>
                    <a:pt x="361" y="569"/>
                  </a:lnTo>
                  <a:lnTo>
                    <a:pt x="359" y="569"/>
                  </a:lnTo>
                  <a:lnTo>
                    <a:pt x="361" y="569"/>
                  </a:lnTo>
                  <a:lnTo>
                    <a:pt x="359" y="569"/>
                  </a:lnTo>
                  <a:lnTo>
                    <a:pt x="357" y="569"/>
                  </a:lnTo>
                  <a:lnTo>
                    <a:pt x="357" y="571"/>
                  </a:lnTo>
                  <a:lnTo>
                    <a:pt x="355" y="571"/>
                  </a:lnTo>
                  <a:lnTo>
                    <a:pt x="353" y="571"/>
                  </a:lnTo>
                  <a:lnTo>
                    <a:pt x="353" y="573"/>
                  </a:lnTo>
                  <a:lnTo>
                    <a:pt x="351" y="573"/>
                  </a:lnTo>
                  <a:lnTo>
                    <a:pt x="351" y="571"/>
                  </a:lnTo>
                  <a:lnTo>
                    <a:pt x="351" y="569"/>
                  </a:lnTo>
                  <a:lnTo>
                    <a:pt x="353" y="569"/>
                  </a:lnTo>
                  <a:lnTo>
                    <a:pt x="353" y="567"/>
                  </a:lnTo>
                  <a:lnTo>
                    <a:pt x="353" y="565"/>
                  </a:lnTo>
                  <a:lnTo>
                    <a:pt x="353" y="567"/>
                  </a:lnTo>
                  <a:lnTo>
                    <a:pt x="353" y="565"/>
                  </a:lnTo>
                  <a:lnTo>
                    <a:pt x="353" y="563"/>
                  </a:lnTo>
                  <a:lnTo>
                    <a:pt x="351" y="563"/>
                  </a:lnTo>
                  <a:lnTo>
                    <a:pt x="351" y="561"/>
                  </a:lnTo>
                  <a:lnTo>
                    <a:pt x="351" y="559"/>
                  </a:lnTo>
                  <a:lnTo>
                    <a:pt x="351" y="557"/>
                  </a:lnTo>
                  <a:lnTo>
                    <a:pt x="353" y="557"/>
                  </a:lnTo>
                  <a:lnTo>
                    <a:pt x="355" y="557"/>
                  </a:lnTo>
                  <a:lnTo>
                    <a:pt x="355" y="555"/>
                  </a:lnTo>
                  <a:lnTo>
                    <a:pt x="353" y="555"/>
                  </a:lnTo>
                  <a:lnTo>
                    <a:pt x="353" y="553"/>
                  </a:lnTo>
                  <a:lnTo>
                    <a:pt x="353" y="552"/>
                  </a:lnTo>
                  <a:lnTo>
                    <a:pt x="355" y="552"/>
                  </a:lnTo>
                  <a:lnTo>
                    <a:pt x="355" y="550"/>
                  </a:lnTo>
                  <a:lnTo>
                    <a:pt x="355" y="552"/>
                  </a:lnTo>
                  <a:lnTo>
                    <a:pt x="357" y="552"/>
                  </a:lnTo>
                  <a:lnTo>
                    <a:pt x="357" y="550"/>
                  </a:lnTo>
                  <a:lnTo>
                    <a:pt x="359" y="550"/>
                  </a:lnTo>
                  <a:lnTo>
                    <a:pt x="359" y="548"/>
                  </a:lnTo>
                  <a:lnTo>
                    <a:pt x="359" y="546"/>
                  </a:lnTo>
                  <a:lnTo>
                    <a:pt x="361" y="546"/>
                  </a:lnTo>
                  <a:lnTo>
                    <a:pt x="361" y="544"/>
                  </a:lnTo>
                  <a:lnTo>
                    <a:pt x="359" y="544"/>
                  </a:lnTo>
                  <a:lnTo>
                    <a:pt x="361" y="544"/>
                  </a:lnTo>
                  <a:lnTo>
                    <a:pt x="361" y="546"/>
                  </a:lnTo>
                  <a:lnTo>
                    <a:pt x="363" y="546"/>
                  </a:lnTo>
                  <a:lnTo>
                    <a:pt x="363" y="544"/>
                  </a:lnTo>
                  <a:lnTo>
                    <a:pt x="365" y="544"/>
                  </a:lnTo>
                  <a:lnTo>
                    <a:pt x="365" y="542"/>
                  </a:lnTo>
                  <a:lnTo>
                    <a:pt x="365" y="540"/>
                  </a:lnTo>
                  <a:lnTo>
                    <a:pt x="366" y="540"/>
                  </a:lnTo>
                  <a:lnTo>
                    <a:pt x="366" y="542"/>
                  </a:lnTo>
                  <a:lnTo>
                    <a:pt x="366" y="540"/>
                  </a:lnTo>
                  <a:lnTo>
                    <a:pt x="368" y="540"/>
                  </a:lnTo>
                  <a:lnTo>
                    <a:pt x="366" y="540"/>
                  </a:lnTo>
                  <a:lnTo>
                    <a:pt x="366" y="538"/>
                  </a:lnTo>
                  <a:lnTo>
                    <a:pt x="366" y="536"/>
                  </a:lnTo>
                  <a:lnTo>
                    <a:pt x="368" y="536"/>
                  </a:lnTo>
                  <a:lnTo>
                    <a:pt x="368" y="534"/>
                  </a:lnTo>
                  <a:lnTo>
                    <a:pt x="366" y="534"/>
                  </a:lnTo>
                  <a:lnTo>
                    <a:pt x="366" y="532"/>
                  </a:lnTo>
                  <a:lnTo>
                    <a:pt x="368" y="532"/>
                  </a:lnTo>
                  <a:lnTo>
                    <a:pt x="368" y="530"/>
                  </a:lnTo>
                  <a:lnTo>
                    <a:pt x="368" y="528"/>
                  </a:lnTo>
                  <a:lnTo>
                    <a:pt x="368" y="527"/>
                  </a:lnTo>
                  <a:lnTo>
                    <a:pt x="368" y="525"/>
                  </a:lnTo>
                  <a:lnTo>
                    <a:pt x="368" y="523"/>
                  </a:lnTo>
                  <a:lnTo>
                    <a:pt x="368" y="521"/>
                  </a:lnTo>
                  <a:lnTo>
                    <a:pt x="368" y="519"/>
                  </a:lnTo>
                  <a:lnTo>
                    <a:pt x="366" y="519"/>
                  </a:lnTo>
                  <a:lnTo>
                    <a:pt x="368" y="519"/>
                  </a:lnTo>
                  <a:lnTo>
                    <a:pt x="368" y="517"/>
                  </a:lnTo>
                  <a:lnTo>
                    <a:pt x="368" y="515"/>
                  </a:lnTo>
                  <a:lnTo>
                    <a:pt x="366" y="515"/>
                  </a:lnTo>
                  <a:lnTo>
                    <a:pt x="368" y="515"/>
                  </a:lnTo>
                  <a:lnTo>
                    <a:pt x="368" y="513"/>
                  </a:lnTo>
                  <a:lnTo>
                    <a:pt x="366" y="513"/>
                  </a:lnTo>
                  <a:lnTo>
                    <a:pt x="368" y="513"/>
                  </a:lnTo>
                  <a:lnTo>
                    <a:pt x="366" y="513"/>
                  </a:lnTo>
                  <a:lnTo>
                    <a:pt x="366" y="511"/>
                  </a:lnTo>
                  <a:lnTo>
                    <a:pt x="366" y="513"/>
                  </a:lnTo>
                  <a:lnTo>
                    <a:pt x="366" y="511"/>
                  </a:lnTo>
                  <a:lnTo>
                    <a:pt x="365" y="511"/>
                  </a:lnTo>
                  <a:lnTo>
                    <a:pt x="363" y="511"/>
                  </a:lnTo>
                  <a:lnTo>
                    <a:pt x="365" y="511"/>
                  </a:lnTo>
                  <a:lnTo>
                    <a:pt x="363" y="511"/>
                  </a:lnTo>
                  <a:lnTo>
                    <a:pt x="365" y="511"/>
                  </a:lnTo>
                  <a:lnTo>
                    <a:pt x="363" y="511"/>
                  </a:lnTo>
                  <a:lnTo>
                    <a:pt x="365" y="511"/>
                  </a:lnTo>
                  <a:lnTo>
                    <a:pt x="365" y="513"/>
                  </a:lnTo>
                  <a:lnTo>
                    <a:pt x="363" y="513"/>
                  </a:lnTo>
                  <a:lnTo>
                    <a:pt x="363" y="511"/>
                  </a:lnTo>
                  <a:lnTo>
                    <a:pt x="361" y="511"/>
                  </a:lnTo>
                  <a:lnTo>
                    <a:pt x="363" y="511"/>
                  </a:lnTo>
                  <a:lnTo>
                    <a:pt x="361" y="511"/>
                  </a:lnTo>
                  <a:lnTo>
                    <a:pt x="361" y="509"/>
                  </a:lnTo>
                  <a:lnTo>
                    <a:pt x="361" y="507"/>
                  </a:lnTo>
                  <a:lnTo>
                    <a:pt x="359" y="507"/>
                  </a:lnTo>
                  <a:lnTo>
                    <a:pt x="361" y="507"/>
                  </a:lnTo>
                  <a:lnTo>
                    <a:pt x="361" y="505"/>
                  </a:lnTo>
                  <a:lnTo>
                    <a:pt x="359" y="505"/>
                  </a:lnTo>
                  <a:lnTo>
                    <a:pt x="359" y="504"/>
                  </a:lnTo>
                  <a:lnTo>
                    <a:pt x="359" y="502"/>
                  </a:lnTo>
                  <a:lnTo>
                    <a:pt x="357" y="502"/>
                  </a:lnTo>
                  <a:lnTo>
                    <a:pt x="357" y="500"/>
                  </a:lnTo>
                  <a:lnTo>
                    <a:pt x="355" y="500"/>
                  </a:lnTo>
                  <a:lnTo>
                    <a:pt x="353" y="500"/>
                  </a:lnTo>
                  <a:lnTo>
                    <a:pt x="353" y="498"/>
                  </a:lnTo>
                  <a:lnTo>
                    <a:pt x="353" y="496"/>
                  </a:lnTo>
                  <a:lnTo>
                    <a:pt x="351" y="496"/>
                  </a:lnTo>
                  <a:lnTo>
                    <a:pt x="351" y="498"/>
                  </a:lnTo>
                  <a:lnTo>
                    <a:pt x="349" y="498"/>
                  </a:lnTo>
                  <a:lnTo>
                    <a:pt x="351" y="498"/>
                  </a:lnTo>
                  <a:lnTo>
                    <a:pt x="349" y="498"/>
                  </a:lnTo>
                  <a:lnTo>
                    <a:pt x="349" y="500"/>
                  </a:lnTo>
                  <a:lnTo>
                    <a:pt x="351" y="500"/>
                  </a:lnTo>
                  <a:lnTo>
                    <a:pt x="349" y="500"/>
                  </a:lnTo>
                  <a:lnTo>
                    <a:pt x="349" y="502"/>
                  </a:lnTo>
                  <a:lnTo>
                    <a:pt x="349" y="500"/>
                  </a:lnTo>
                  <a:lnTo>
                    <a:pt x="349" y="502"/>
                  </a:lnTo>
                  <a:lnTo>
                    <a:pt x="347" y="502"/>
                  </a:lnTo>
                  <a:lnTo>
                    <a:pt x="345" y="502"/>
                  </a:lnTo>
                  <a:lnTo>
                    <a:pt x="345" y="500"/>
                  </a:lnTo>
                  <a:lnTo>
                    <a:pt x="343" y="500"/>
                  </a:lnTo>
                  <a:lnTo>
                    <a:pt x="342" y="500"/>
                  </a:lnTo>
                  <a:lnTo>
                    <a:pt x="340" y="500"/>
                  </a:lnTo>
                  <a:lnTo>
                    <a:pt x="340" y="498"/>
                  </a:lnTo>
                  <a:lnTo>
                    <a:pt x="338" y="498"/>
                  </a:lnTo>
                  <a:lnTo>
                    <a:pt x="336" y="498"/>
                  </a:lnTo>
                  <a:lnTo>
                    <a:pt x="336" y="500"/>
                  </a:lnTo>
                  <a:lnTo>
                    <a:pt x="334" y="500"/>
                  </a:lnTo>
                  <a:lnTo>
                    <a:pt x="332" y="500"/>
                  </a:lnTo>
                  <a:lnTo>
                    <a:pt x="332" y="498"/>
                  </a:lnTo>
                  <a:lnTo>
                    <a:pt x="334" y="498"/>
                  </a:lnTo>
                  <a:lnTo>
                    <a:pt x="334" y="496"/>
                  </a:lnTo>
                  <a:lnTo>
                    <a:pt x="336" y="496"/>
                  </a:lnTo>
                  <a:lnTo>
                    <a:pt x="336" y="494"/>
                  </a:lnTo>
                  <a:lnTo>
                    <a:pt x="338" y="494"/>
                  </a:lnTo>
                  <a:lnTo>
                    <a:pt x="338" y="492"/>
                  </a:lnTo>
                  <a:lnTo>
                    <a:pt x="336" y="492"/>
                  </a:lnTo>
                  <a:lnTo>
                    <a:pt x="336" y="490"/>
                  </a:lnTo>
                  <a:lnTo>
                    <a:pt x="336" y="488"/>
                  </a:lnTo>
                  <a:lnTo>
                    <a:pt x="334" y="488"/>
                  </a:lnTo>
                  <a:lnTo>
                    <a:pt x="332" y="488"/>
                  </a:lnTo>
                  <a:lnTo>
                    <a:pt x="332" y="490"/>
                  </a:lnTo>
                  <a:lnTo>
                    <a:pt x="330" y="490"/>
                  </a:lnTo>
                  <a:lnTo>
                    <a:pt x="332" y="490"/>
                  </a:lnTo>
                  <a:lnTo>
                    <a:pt x="330" y="488"/>
                  </a:lnTo>
                  <a:lnTo>
                    <a:pt x="332" y="488"/>
                  </a:lnTo>
                  <a:lnTo>
                    <a:pt x="332" y="486"/>
                  </a:lnTo>
                  <a:lnTo>
                    <a:pt x="334" y="486"/>
                  </a:lnTo>
                  <a:lnTo>
                    <a:pt x="334" y="484"/>
                  </a:lnTo>
                  <a:lnTo>
                    <a:pt x="332" y="484"/>
                  </a:lnTo>
                  <a:lnTo>
                    <a:pt x="332" y="482"/>
                  </a:lnTo>
                  <a:lnTo>
                    <a:pt x="330" y="482"/>
                  </a:lnTo>
                  <a:lnTo>
                    <a:pt x="330" y="480"/>
                  </a:lnTo>
                  <a:lnTo>
                    <a:pt x="330" y="482"/>
                  </a:lnTo>
                  <a:lnTo>
                    <a:pt x="328" y="482"/>
                  </a:lnTo>
                  <a:lnTo>
                    <a:pt x="326" y="482"/>
                  </a:lnTo>
                  <a:lnTo>
                    <a:pt x="324" y="482"/>
                  </a:lnTo>
                  <a:lnTo>
                    <a:pt x="324" y="484"/>
                  </a:lnTo>
                  <a:lnTo>
                    <a:pt x="322" y="484"/>
                  </a:lnTo>
                  <a:lnTo>
                    <a:pt x="322" y="486"/>
                  </a:lnTo>
                  <a:lnTo>
                    <a:pt x="320" y="486"/>
                  </a:lnTo>
                  <a:lnTo>
                    <a:pt x="320" y="488"/>
                  </a:lnTo>
                  <a:lnTo>
                    <a:pt x="318" y="488"/>
                  </a:lnTo>
                  <a:lnTo>
                    <a:pt x="317" y="488"/>
                  </a:lnTo>
                  <a:lnTo>
                    <a:pt x="317" y="486"/>
                  </a:lnTo>
                  <a:lnTo>
                    <a:pt x="315" y="486"/>
                  </a:lnTo>
                  <a:lnTo>
                    <a:pt x="313" y="486"/>
                  </a:lnTo>
                  <a:lnTo>
                    <a:pt x="315" y="486"/>
                  </a:lnTo>
                  <a:lnTo>
                    <a:pt x="313" y="486"/>
                  </a:lnTo>
                  <a:lnTo>
                    <a:pt x="311" y="486"/>
                  </a:lnTo>
                  <a:lnTo>
                    <a:pt x="311" y="484"/>
                  </a:lnTo>
                  <a:lnTo>
                    <a:pt x="309" y="484"/>
                  </a:lnTo>
                  <a:lnTo>
                    <a:pt x="309" y="482"/>
                  </a:lnTo>
                  <a:lnTo>
                    <a:pt x="309" y="484"/>
                  </a:lnTo>
                  <a:lnTo>
                    <a:pt x="307" y="484"/>
                  </a:lnTo>
                  <a:lnTo>
                    <a:pt x="305" y="484"/>
                  </a:lnTo>
                  <a:lnTo>
                    <a:pt x="305" y="486"/>
                  </a:lnTo>
                  <a:lnTo>
                    <a:pt x="303" y="486"/>
                  </a:lnTo>
                  <a:lnTo>
                    <a:pt x="303" y="488"/>
                  </a:lnTo>
                  <a:lnTo>
                    <a:pt x="301" y="488"/>
                  </a:lnTo>
                  <a:lnTo>
                    <a:pt x="301" y="490"/>
                  </a:lnTo>
                  <a:lnTo>
                    <a:pt x="299" y="490"/>
                  </a:lnTo>
                  <a:lnTo>
                    <a:pt x="299" y="492"/>
                  </a:lnTo>
                  <a:lnTo>
                    <a:pt x="299" y="494"/>
                  </a:lnTo>
                  <a:lnTo>
                    <a:pt x="297" y="494"/>
                  </a:lnTo>
                  <a:lnTo>
                    <a:pt x="295" y="494"/>
                  </a:lnTo>
                  <a:lnTo>
                    <a:pt x="294" y="494"/>
                  </a:lnTo>
                  <a:lnTo>
                    <a:pt x="292" y="494"/>
                  </a:lnTo>
                  <a:lnTo>
                    <a:pt x="290" y="494"/>
                  </a:lnTo>
                  <a:lnTo>
                    <a:pt x="290" y="496"/>
                  </a:lnTo>
                  <a:lnTo>
                    <a:pt x="288" y="496"/>
                  </a:lnTo>
                  <a:lnTo>
                    <a:pt x="288" y="498"/>
                  </a:lnTo>
                  <a:lnTo>
                    <a:pt x="288" y="500"/>
                  </a:lnTo>
                  <a:lnTo>
                    <a:pt x="286" y="500"/>
                  </a:lnTo>
                  <a:lnTo>
                    <a:pt x="284" y="500"/>
                  </a:lnTo>
                  <a:lnTo>
                    <a:pt x="284" y="502"/>
                  </a:lnTo>
                  <a:lnTo>
                    <a:pt x="282" y="502"/>
                  </a:lnTo>
                  <a:lnTo>
                    <a:pt x="280" y="502"/>
                  </a:lnTo>
                  <a:lnTo>
                    <a:pt x="280" y="504"/>
                  </a:lnTo>
                  <a:lnTo>
                    <a:pt x="280" y="505"/>
                  </a:lnTo>
                  <a:lnTo>
                    <a:pt x="280" y="507"/>
                  </a:lnTo>
                  <a:lnTo>
                    <a:pt x="278" y="507"/>
                  </a:lnTo>
                  <a:lnTo>
                    <a:pt x="276" y="507"/>
                  </a:lnTo>
                  <a:lnTo>
                    <a:pt x="274" y="507"/>
                  </a:lnTo>
                  <a:lnTo>
                    <a:pt x="274" y="509"/>
                  </a:lnTo>
                  <a:lnTo>
                    <a:pt x="274" y="507"/>
                  </a:lnTo>
                  <a:lnTo>
                    <a:pt x="272" y="507"/>
                  </a:lnTo>
                  <a:lnTo>
                    <a:pt x="271" y="507"/>
                  </a:lnTo>
                  <a:lnTo>
                    <a:pt x="271" y="509"/>
                  </a:lnTo>
                  <a:lnTo>
                    <a:pt x="269" y="509"/>
                  </a:lnTo>
                  <a:lnTo>
                    <a:pt x="267" y="509"/>
                  </a:lnTo>
                  <a:lnTo>
                    <a:pt x="267" y="507"/>
                  </a:lnTo>
                  <a:lnTo>
                    <a:pt x="267" y="509"/>
                  </a:lnTo>
                  <a:lnTo>
                    <a:pt x="265" y="509"/>
                  </a:lnTo>
                  <a:lnTo>
                    <a:pt x="265" y="507"/>
                  </a:lnTo>
                  <a:lnTo>
                    <a:pt x="263" y="507"/>
                  </a:lnTo>
                  <a:lnTo>
                    <a:pt x="263" y="505"/>
                  </a:lnTo>
                  <a:lnTo>
                    <a:pt x="261" y="505"/>
                  </a:lnTo>
                  <a:lnTo>
                    <a:pt x="261" y="504"/>
                  </a:lnTo>
                  <a:lnTo>
                    <a:pt x="259" y="504"/>
                  </a:lnTo>
                  <a:lnTo>
                    <a:pt x="259" y="505"/>
                  </a:lnTo>
                  <a:lnTo>
                    <a:pt x="257" y="505"/>
                  </a:lnTo>
                  <a:lnTo>
                    <a:pt x="255" y="505"/>
                  </a:lnTo>
                  <a:lnTo>
                    <a:pt x="253" y="505"/>
                  </a:lnTo>
                  <a:lnTo>
                    <a:pt x="253" y="504"/>
                  </a:lnTo>
                  <a:lnTo>
                    <a:pt x="253" y="505"/>
                  </a:lnTo>
                  <a:lnTo>
                    <a:pt x="253" y="504"/>
                  </a:lnTo>
                  <a:lnTo>
                    <a:pt x="253" y="505"/>
                  </a:lnTo>
                  <a:lnTo>
                    <a:pt x="251" y="505"/>
                  </a:lnTo>
                  <a:lnTo>
                    <a:pt x="251" y="504"/>
                  </a:lnTo>
                  <a:lnTo>
                    <a:pt x="251" y="505"/>
                  </a:lnTo>
                  <a:lnTo>
                    <a:pt x="251" y="504"/>
                  </a:lnTo>
                  <a:lnTo>
                    <a:pt x="251" y="505"/>
                  </a:lnTo>
                  <a:lnTo>
                    <a:pt x="251" y="504"/>
                  </a:lnTo>
                  <a:lnTo>
                    <a:pt x="249" y="504"/>
                  </a:lnTo>
                  <a:lnTo>
                    <a:pt x="249" y="505"/>
                  </a:lnTo>
                  <a:lnTo>
                    <a:pt x="249" y="504"/>
                  </a:lnTo>
                  <a:lnTo>
                    <a:pt x="247" y="504"/>
                  </a:lnTo>
                  <a:lnTo>
                    <a:pt x="246" y="504"/>
                  </a:lnTo>
                  <a:lnTo>
                    <a:pt x="244" y="504"/>
                  </a:lnTo>
                  <a:lnTo>
                    <a:pt x="244" y="502"/>
                  </a:lnTo>
                  <a:lnTo>
                    <a:pt x="242" y="502"/>
                  </a:lnTo>
                  <a:lnTo>
                    <a:pt x="242" y="504"/>
                  </a:lnTo>
                  <a:lnTo>
                    <a:pt x="240" y="504"/>
                  </a:lnTo>
                  <a:lnTo>
                    <a:pt x="240" y="502"/>
                  </a:lnTo>
                  <a:lnTo>
                    <a:pt x="238" y="502"/>
                  </a:lnTo>
                  <a:lnTo>
                    <a:pt x="236" y="502"/>
                  </a:lnTo>
                  <a:lnTo>
                    <a:pt x="238" y="502"/>
                  </a:lnTo>
                  <a:lnTo>
                    <a:pt x="236" y="502"/>
                  </a:lnTo>
                  <a:lnTo>
                    <a:pt x="234" y="502"/>
                  </a:lnTo>
                  <a:lnTo>
                    <a:pt x="234" y="504"/>
                  </a:lnTo>
                  <a:lnTo>
                    <a:pt x="232" y="504"/>
                  </a:lnTo>
                  <a:lnTo>
                    <a:pt x="232" y="505"/>
                  </a:lnTo>
                  <a:lnTo>
                    <a:pt x="232" y="507"/>
                  </a:lnTo>
                  <a:lnTo>
                    <a:pt x="230" y="507"/>
                  </a:lnTo>
                  <a:lnTo>
                    <a:pt x="230" y="509"/>
                  </a:lnTo>
                  <a:lnTo>
                    <a:pt x="228" y="509"/>
                  </a:lnTo>
                  <a:lnTo>
                    <a:pt x="228" y="511"/>
                  </a:lnTo>
                  <a:lnTo>
                    <a:pt x="226" y="511"/>
                  </a:lnTo>
                  <a:lnTo>
                    <a:pt x="226" y="513"/>
                  </a:lnTo>
                  <a:lnTo>
                    <a:pt x="224" y="513"/>
                  </a:lnTo>
                  <a:lnTo>
                    <a:pt x="226" y="513"/>
                  </a:lnTo>
                  <a:lnTo>
                    <a:pt x="224" y="513"/>
                  </a:lnTo>
                  <a:lnTo>
                    <a:pt x="224" y="515"/>
                  </a:lnTo>
                  <a:lnTo>
                    <a:pt x="226" y="515"/>
                  </a:lnTo>
                  <a:lnTo>
                    <a:pt x="226" y="517"/>
                  </a:lnTo>
                  <a:lnTo>
                    <a:pt x="224" y="517"/>
                  </a:lnTo>
                  <a:lnTo>
                    <a:pt x="224" y="515"/>
                  </a:lnTo>
                  <a:lnTo>
                    <a:pt x="223" y="515"/>
                  </a:lnTo>
                  <a:lnTo>
                    <a:pt x="223" y="513"/>
                  </a:lnTo>
                  <a:lnTo>
                    <a:pt x="223" y="511"/>
                  </a:lnTo>
                  <a:lnTo>
                    <a:pt x="224" y="511"/>
                  </a:lnTo>
                  <a:lnTo>
                    <a:pt x="224" y="509"/>
                  </a:lnTo>
                  <a:lnTo>
                    <a:pt x="224" y="507"/>
                  </a:lnTo>
                  <a:lnTo>
                    <a:pt x="223" y="507"/>
                  </a:lnTo>
                  <a:lnTo>
                    <a:pt x="224" y="507"/>
                  </a:lnTo>
                  <a:lnTo>
                    <a:pt x="224" y="505"/>
                  </a:lnTo>
                  <a:lnTo>
                    <a:pt x="223" y="505"/>
                  </a:lnTo>
                  <a:lnTo>
                    <a:pt x="223" y="504"/>
                  </a:lnTo>
                  <a:lnTo>
                    <a:pt x="221" y="504"/>
                  </a:lnTo>
                  <a:lnTo>
                    <a:pt x="221" y="505"/>
                  </a:lnTo>
                  <a:lnTo>
                    <a:pt x="221" y="504"/>
                  </a:lnTo>
                  <a:lnTo>
                    <a:pt x="219" y="504"/>
                  </a:lnTo>
                  <a:lnTo>
                    <a:pt x="219" y="505"/>
                  </a:lnTo>
                  <a:lnTo>
                    <a:pt x="217" y="505"/>
                  </a:lnTo>
                  <a:lnTo>
                    <a:pt x="215" y="505"/>
                  </a:lnTo>
                  <a:lnTo>
                    <a:pt x="215" y="507"/>
                  </a:lnTo>
                  <a:lnTo>
                    <a:pt x="215" y="505"/>
                  </a:lnTo>
                  <a:lnTo>
                    <a:pt x="215" y="507"/>
                  </a:lnTo>
                  <a:lnTo>
                    <a:pt x="213" y="507"/>
                  </a:lnTo>
                  <a:lnTo>
                    <a:pt x="213" y="505"/>
                  </a:lnTo>
                  <a:lnTo>
                    <a:pt x="213" y="507"/>
                  </a:lnTo>
                  <a:lnTo>
                    <a:pt x="211" y="507"/>
                  </a:lnTo>
                  <a:lnTo>
                    <a:pt x="209" y="507"/>
                  </a:lnTo>
                  <a:lnTo>
                    <a:pt x="209" y="505"/>
                  </a:lnTo>
                  <a:lnTo>
                    <a:pt x="209" y="507"/>
                  </a:lnTo>
                  <a:lnTo>
                    <a:pt x="207" y="507"/>
                  </a:lnTo>
                  <a:lnTo>
                    <a:pt x="207" y="509"/>
                  </a:lnTo>
                  <a:lnTo>
                    <a:pt x="205" y="509"/>
                  </a:lnTo>
                  <a:lnTo>
                    <a:pt x="205" y="507"/>
                  </a:lnTo>
                  <a:lnTo>
                    <a:pt x="205" y="509"/>
                  </a:lnTo>
                  <a:lnTo>
                    <a:pt x="205" y="507"/>
                  </a:lnTo>
                  <a:lnTo>
                    <a:pt x="203" y="507"/>
                  </a:lnTo>
                  <a:lnTo>
                    <a:pt x="201" y="507"/>
                  </a:lnTo>
                  <a:lnTo>
                    <a:pt x="203" y="507"/>
                  </a:lnTo>
                  <a:lnTo>
                    <a:pt x="201" y="507"/>
                  </a:lnTo>
                  <a:lnTo>
                    <a:pt x="199" y="507"/>
                  </a:lnTo>
                  <a:lnTo>
                    <a:pt x="198" y="507"/>
                  </a:lnTo>
                  <a:lnTo>
                    <a:pt x="198" y="505"/>
                  </a:lnTo>
                  <a:lnTo>
                    <a:pt x="196" y="505"/>
                  </a:lnTo>
                  <a:lnTo>
                    <a:pt x="194" y="505"/>
                  </a:lnTo>
                  <a:lnTo>
                    <a:pt x="192" y="505"/>
                  </a:lnTo>
                  <a:lnTo>
                    <a:pt x="192" y="504"/>
                  </a:lnTo>
                  <a:lnTo>
                    <a:pt x="194" y="504"/>
                  </a:lnTo>
                  <a:lnTo>
                    <a:pt x="192" y="504"/>
                  </a:lnTo>
                  <a:lnTo>
                    <a:pt x="190" y="504"/>
                  </a:lnTo>
                  <a:lnTo>
                    <a:pt x="190" y="505"/>
                  </a:lnTo>
                  <a:lnTo>
                    <a:pt x="188" y="505"/>
                  </a:lnTo>
                  <a:lnTo>
                    <a:pt x="188" y="507"/>
                  </a:lnTo>
                  <a:lnTo>
                    <a:pt x="188" y="505"/>
                  </a:lnTo>
                  <a:lnTo>
                    <a:pt x="186" y="505"/>
                  </a:lnTo>
                  <a:lnTo>
                    <a:pt x="184" y="505"/>
                  </a:lnTo>
                  <a:lnTo>
                    <a:pt x="184" y="504"/>
                  </a:lnTo>
                  <a:lnTo>
                    <a:pt x="184" y="502"/>
                  </a:lnTo>
                  <a:lnTo>
                    <a:pt x="184" y="504"/>
                  </a:lnTo>
                  <a:lnTo>
                    <a:pt x="182" y="504"/>
                  </a:lnTo>
                  <a:lnTo>
                    <a:pt x="182" y="505"/>
                  </a:lnTo>
                  <a:lnTo>
                    <a:pt x="184" y="505"/>
                  </a:lnTo>
                  <a:lnTo>
                    <a:pt x="184" y="507"/>
                  </a:lnTo>
                  <a:lnTo>
                    <a:pt x="182" y="507"/>
                  </a:lnTo>
                  <a:lnTo>
                    <a:pt x="180" y="505"/>
                  </a:lnTo>
                  <a:lnTo>
                    <a:pt x="182" y="505"/>
                  </a:lnTo>
                  <a:lnTo>
                    <a:pt x="180" y="505"/>
                  </a:lnTo>
                  <a:lnTo>
                    <a:pt x="180" y="504"/>
                  </a:lnTo>
                  <a:lnTo>
                    <a:pt x="180" y="502"/>
                  </a:lnTo>
                  <a:lnTo>
                    <a:pt x="178" y="502"/>
                  </a:lnTo>
                  <a:lnTo>
                    <a:pt x="178" y="500"/>
                  </a:lnTo>
                  <a:lnTo>
                    <a:pt x="176" y="500"/>
                  </a:lnTo>
                  <a:lnTo>
                    <a:pt x="176" y="502"/>
                  </a:lnTo>
                  <a:lnTo>
                    <a:pt x="176" y="500"/>
                  </a:lnTo>
                  <a:lnTo>
                    <a:pt x="175" y="500"/>
                  </a:lnTo>
                  <a:lnTo>
                    <a:pt x="173" y="500"/>
                  </a:lnTo>
                  <a:lnTo>
                    <a:pt x="171" y="500"/>
                  </a:lnTo>
                  <a:lnTo>
                    <a:pt x="169" y="500"/>
                  </a:lnTo>
                  <a:lnTo>
                    <a:pt x="169" y="498"/>
                  </a:lnTo>
                  <a:lnTo>
                    <a:pt x="169" y="496"/>
                  </a:lnTo>
                  <a:lnTo>
                    <a:pt x="171" y="496"/>
                  </a:lnTo>
                  <a:lnTo>
                    <a:pt x="169" y="496"/>
                  </a:lnTo>
                  <a:lnTo>
                    <a:pt x="171" y="496"/>
                  </a:lnTo>
                  <a:lnTo>
                    <a:pt x="171" y="494"/>
                  </a:lnTo>
                  <a:lnTo>
                    <a:pt x="169" y="494"/>
                  </a:lnTo>
                  <a:lnTo>
                    <a:pt x="167" y="494"/>
                  </a:lnTo>
                  <a:lnTo>
                    <a:pt x="167" y="496"/>
                  </a:lnTo>
                  <a:lnTo>
                    <a:pt x="165" y="496"/>
                  </a:lnTo>
                  <a:lnTo>
                    <a:pt x="163" y="496"/>
                  </a:lnTo>
                  <a:lnTo>
                    <a:pt x="163" y="494"/>
                  </a:lnTo>
                  <a:lnTo>
                    <a:pt x="161" y="494"/>
                  </a:lnTo>
                  <a:lnTo>
                    <a:pt x="161" y="492"/>
                  </a:lnTo>
                  <a:lnTo>
                    <a:pt x="159" y="492"/>
                  </a:lnTo>
                  <a:lnTo>
                    <a:pt x="159" y="494"/>
                  </a:lnTo>
                  <a:lnTo>
                    <a:pt x="159" y="492"/>
                  </a:lnTo>
                  <a:lnTo>
                    <a:pt x="159" y="490"/>
                  </a:lnTo>
                  <a:lnTo>
                    <a:pt x="157" y="490"/>
                  </a:lnTo>
                  <a:lnTo>
                    <a:pt x="155" y="490"/>
                  </a:lnTo>
                  <a:lnTo>
                    <a:pt x="155" y="488"/>
                  </a:lnTo>
                  <a:lnTo>
                    <a:pt x="155" y="486"/>
                  </a:lnTo>
                  <a:lnTo>
                    <a:pt x="155" y="484"/>
                  </a:lnTo>
                  <a:lnTo>
                    <a:pt x="153" y="484"/>
                  </a:lnTo>
                  <a:lnTo>
                    <a:pt x="152" y="484"/>
                  </a:lnTo>
                  <a:lnTo>
                    <a:pt x="153" y="484"/>
                  </a:lnTo>
                  <a:lnTo>
                    <a:pt x="153" y="482"/>
                  </a:lnTo>
                  <a:lnTo>
                    <a:pt x="152" y="482"/>
                  </a:lnTo>
                  <a:lnTo>
                    <a:pt x="152" y="484"/>
                  </a:lnTo>
                  <a:lnTo>
                    <a:pt x="150" y="484"/>
                  </a:lnTo>
                  <a:lnTo>
                    <a:pt x="148" y="484"/>
                  </a:lnTo>
                  <a:lnTo>
                    <a:pt x="148" y="486"/>
                  </a:lnTo>
                  <a:lnTo>
                    <a:pt x="146" y="486"/>
                  </a:lnTo>
                  <a:lnTo>
                    <a:pt x="146" y="484"/>
                  </a:lnTo>
                  <a:lnTo>
                    <a:pt x="144" y="484"/>
                  </a:lnTo>
                  <a:lnTo>
                    <a:pt x="144" y="482"/>
                  </a:lnTo>
                  <a:lnTo>
                    <a:pt x="144" y="480"/>
                  </a:lnTo>
                  <a:lnTo>
                    <a:pt x="142" y="480"/>
                  </a:lnTo>
                  <a:lnTo>
                    <a:pt x="142" y="479"/>
                  </a:lnTo>
                  <a:lnTo>
                    <a:pt x="140" y="479"/>
                  </a:lnTo>
                  <a:lnTo>
                    <a:pt x="138" y="479"/>
                  </a:lnTo>
                  <a:lnTo>
                    <a:pt x="138" y="477"/>
                  </a:lnTo>
                  <a:lnTo>
                    <a:pt x="136" y="477"/>
                  </a:lnTo>
                  <a:lnTo>
                    <a:pt x="138" y="477"/>
                  </a:lnTo>
                  <a:lnTo>
                    <a:pt x="136" y="477"/>
                  </a:lnTo>
                  <a:lnTo>
                    <a:pt x="134" y="477"/>
                  </a:lnTo>
                  <a:lnTo>
                    <a:pt x="134" y="475"/>
                  </a:lnTo>
                  <a:lnTo>
                    <a:pt x="134" y="477"/>
                  </a:lnTo>
                  <a:lnTo>
                    <a:pt x="134" y="475"/>
                  </a:lnTo>
                  <a:lnTo>
                    <a:pt x="132" y="475"/>
                  </a:lnTo>
                  <a:lnTo>
                    <a:pt x="132" y="473"/>
                  </a:lnTo>
                  <a:lnTo>
                    <a:pt x="130" y="473"/>
                  </a:lnTo>
                  <a:lnTo>
                    <a:pt x="130" y="471"/>
                  </a:lnTo>
                  <a:lnTo>
                    <a:pt x="128" y="471"/>
                  </a:lnTo>
                  <a:lnTo>
                    <a:pt x="127" y="471"/>
                  </a:lnTo>
                  <a:lnTo>
                    <a:pt x="127" y="469"/>
                  </a:lnTo>
                  <a:lnTo>
                    <a:pt x="125" y="469"/>
                  </a:lnTo>
                  <a:lnTo>
                    <a:pt x="125" y="467"/>
                  </a:lnTo>
                  <a:lnTo>
                    <a:pt x="125" y="465"/>
                  </a:lnTo>
                  <a:lnTo>
                    <a:pt x="125" y="467"/>
                  </a:lnTo>
                  <a:lnTo>
                    <a:pt x="125" y="465"/>
                  </a:lnTo>
                  <a:lnTo>
                    <a:pt x="123" y="465"/>
                  </a:lnTo>
                  <a:lnTo>
                    <a:pt x="123" y="467"/>
                  </a:lnTo>
                  <a:lnTo>
                    <a:pt x="123" y="465"/>
                  </a:lnTo>
                  <a:lnTo>
                    <a:pt x="121" y="465"/>
                  </a:lnTo>
                  <a:lnTo>
                    <a:pt x="119" y="465"/>
                  </a:lnTo>
                  <a:lnTo>
                    <a:pt x="117" y="465"/>
                  </a:lnTo>
                  <a:lnTo>
                    <a:pt x="115" y="465"/>
                  </a:lnTo>
                  <a:lnTo>
                    <a:pt x="115" y="467"/>
                  </a:lnTo>
                  <a:lnTo>
                    <a:pt x="115" y="469"/>
                  </a:lnTo>
                  <a:lnTo>
                    <a:pt x="113" y="469"/>
                  </a:lnTo>
                  <a:lnTo>
                    <a:pt x="113" y="471"/>
                  </a:lnTo>
                  <a:lnTo>
                    <a:pt x="111" y="471"/>
                  </a:lnTo>
                  <a:lnTo>
                    <a:pt x="109" y="471"/>
                  </a:lnTo>
                  <a:lnTo>
                    <a:pt x="109" y="469"/>
                  </a:lnTo>
                  <a:lnTo>
                    <a:pt x="109" y="467"/>
                  </a:lnTo>
                  <a:lnTo>
                    <a:pt x="107" y="467"/>
                  </a:lnTo>
                  <a:lnTo>
                    <a:pt x="105" y="467"/>
                  </a:lnTo>
                  <a:lnTo>
                    <a:pt x="105" y="465"/>
                  </a:lnTo>
                  <a:lnTo>
                    <a:pt x="104" y="465"/>
                  </a:lnTo>
                  <a:lnTo>
                    <a:pt x="104" y="463"/>
                  </a:lnTo>
                  <a:lnTo>
                    <a:pt x="102" y="463"/>
                  </a:lnTo>
                  <a:lnTo>
                    <a:pt x="100" y="463"/>
                  </a:lnTo>
                  <a:lnTo>
                    <a:pt x="98" y="463"/>
                  </a:lnTo>
                  <a:lnTo>
                    <a:pt x="98" y="461"/>
                  </a:lnTo>
                  <a:lnTo>
                    <a:pt x="98" y="459"/>
                  </a:lnTo>
                  <a:lnTo>
                    <a:pt x="98" y="457"/>
                  </a:lnTo>
                  <a:lnTo>
                    <a:pt x="96" y="457"/>
                  </a:lnTo>
                  <a:lnTo>
                    <a:pt x="96" y="459"/>
                  </a:lnTo>
                  <a:lnTo>
                    <a:pt x="96" y="457"/>
                  </a:lnTo>
                  <a:lnTo>
                    <a:pt x="94" y="457"/>
                  </a:lnTo>
                  <a:lnTo>
                    <a:pt x="92" y="457"/>
                  </a:lnTo>
                  <a:lnTo>
                    <a:pt x="92" y="456"/>
                  </a:lnTo>
                  <a:lnTo>
                    <a:pt x="90" y="456"/>
                  </a:lnTo>
                  <a:lnTo>
                    <a:pt x="88" y="456"/>
                  </a:lnTo>
                  <a:lnTo>
                    <a:pt x="86" y="454"/>
                  </a:lnTo>
                  <a:lnTo>
                    <a:pt x="84" y="454"/>
                  </a:lnTo>
                  <a:lnTo>
                    <a:pt x="84" y="452"/>
                  </a:lnTo>
                  <a:lnTo>
                    <a:pt x="82" y="452"/>
                  </a:lnTo>
                  <a:lnTo>
                    <a:pt x="82" y="450"/>
                  </a:lnTo>
                  <a:lnTo>
                    <a:pt x="82" y="448"/>
                  </a:lnTo>
                  <a:lnTo>
                    <a:pt x="80" y="448"/>
                  </a:lnTo>
                  <a:lnTo>
                    <a:pt x="79" y="448"/>
                  </a:lnTo>
                  <a:lnTo>
                    <a:pt x="79" y="450"/>
                  </a:lnTo>
                  <a:lnTo>
                    <a:pt x="77" y="450"/>
                  </a:lnTo>
                  <a:lnTo>
                    <a:pt x="77" y="448"/>
                  </a:lnTo>
                  <a:lnTo>
                    <a:pt x="77" y="446"/>
                  </a:lnTo>
                  <a:lnTo>
                    <a:pt x="75" y="446"/>
                  </a:lnTo>
                  <a:lnTo>
                    <a:pt x="77" y="446"/>
                  </a:lnTo>
                  <a:lnTo>
                    <a:pt x="77" y="444"/>
                  </a:lnTo>
                  <a:lnTo>
                    <a:pt x="75" y="442"/>
                  </a:lnTo>
                  <a:lnTo>
                    <a:pt x="75" y="440"/>
                  </a:lnTo>
                  <a:lnTo>
                    <a:pt x="75" y="438"/>
                  </a:lnTo>
                  <a:lnTo>
                    <a:pt x="77" y="438"/>
                  </a:lnTo>
                  <a:lnTo>
                    <a:pt x="75" y="438"/>
                  </a:lnTo>
                  <a:lnTo>
                    <a:pt x="75" y="436"/>
                  </a:lnTo>
                  <a:lnTo>
                    <a:pt x="73" y="436"/>
                  </a:lnTo>
                  <a:lnTo>
                    <a:pt x="73" y="434"/>
                  </a:lnTo>
                  <a:lnTo>
                    <a:pt x="73" y="432"/>
                  </a:lnTo>
                  <a:lnTo>
                    <a:pt x="73" y="434"/>
                  </a:lnTo>
                  <a:lnTo>
                    <a:pt x="71" y="434"/>
                  </a:lnTo>
                  <a:lnTo>
                    <a:pt x="71" y="432"/>
                  </a:lnTo>
                  <a:lnTo>
                    <a:pt x="71" y="431"/>
                  </a:lnTo>
                  <a:lnTo>
                    <a:pt x="73" y="431"/>
                  </a:lnTo>
                  <a:lnTo>
                    <a:pt x="71" y="431"/>
                  </a:lnTo>
                  <a:lnTo>
                    <a:pt x="71" y="429"/>
                  </a:lnTo>
                  <a:lnTo>
                    <a:pt x="71" y="427"/>
                  </a:lnTo>
                  <a:lnTo>
                    <a:pt x="73" y="427"/>
                  </a:lnTo>
                  <a:lnTo>
                    <a:pt x="75" y="427"/>
                  </a:lnTo>
                  <a:lnTo>
                    <a:pt x="75" y="425"/>
                  </a:lnTo>
                  <a:lnTo>
                    <a:pt x="77" y="425"/>
                  </a:lnTo>
                  <a:lnTo>
                    <a:pt x="77" y="427"/>
                  </a:lnTo>
                  <a:lnTo>
                    <a:pt x="77" y="429"/>
                  </a:lnTo>
                  <a:lnTo>
                    <a:pt x="77" y="431"/>
                  </a:lnTo>
                  <a:lnTo>
                    <a:pt x="79" y="431"/>
                  </a:lnTo>
                  <a:lnTo>
                    <a:pt x="80" y="431"/>
                  </a:lnTo>
                  <a:lnTo>
                    <a:pt x="80" y="429"/>
                  </a:lnTo>
                  <a:lnTo>
                    <a:pt x="82" y="429"/>
                  </a:lnTo>
                  <a:lnTo>
                    <a:pt x="84" y="429"/>
                  </a:lnTo>
                  <a:lnTo>
                    <a:pt x="84" y="427"/>
                  </a:lnTo>
                  <a:lnTo>
                    <a:pt x="84" y="429"/>
                  </a:lnTo>
                  <a:lnTo>
                    <a:pt x="86" y="429"/>
                  </a:lnTo>
                  <a:lnTo>
                    <a:pt x="86" y="427"/>
                  </a:lnTo>
                  <a:lnTo>
                    <a:pt x="88" y="427"/>
                  </a:lnTo>
                  <a:lnTo>
                    <a:pt x="88" y="425"/>
                  </a:lnTo>
                  <a:lnTo>
                    <a:pt x="88" y="423"/>
                  </a:lnTo>
                  <a:lnTo>
                    <a:pt x="86" y="423"/>
                  </a:lnTo>
                  <a:lnTo>
                    <a:pt x="86" y="421"/>
                  </a:lnTo>
                  <a:lnTo>
                    <a:pt x="84" y="421"/>
                  </a:lnTo>
                  <a:lnTo>
                    <a:pt x="84" y="419"/>
                  </a:lnTo>
                  <a:lnTo>
                    <a:pt x="84" y="417"/>
                  </a:lnTo>
                  <a:lnTo>
                    <a:pt x="86" y="417"/>
                  </a:lnTo>
                  <a:lnTo>
                    <a:pt x="86" y="415"/>
                  </a:lnTo>
                  <a:lnTo>
                    <a:pt x="84" y="415"/>
                  </a:lnTo>
                  <a:lnTo>
                    <a:pt x="82" y="415"/>
                  </a:lnTo>
                  <a:lnTo>
                    <a:pt x="80" y="415"/>
                  </a:lnTo>
                  <a:lnTo>
                    <a:pt x="79" y="415"/>
                  </a:lnTo>
                  <a:lnTo>
                    <a:pt x="79" y="413"/>
                  </a:lnTo>
                  <a:lnTo>
                    <a:pt x="79" y="411"/>
                  </a:lnTo>
                  <a:lnTo>
                    <a:pt x="79" y="409"/>
                  </a:lnTo>
                  <a:lnTo>
                    <a:pt x="80" y="409"/>
                  </a:lnTo>
                  <a:lnTo>
                    <a:pt x="80" y="407"/>
                  </a:lnTo>
                  <a:lnTo>
                    <a:pt x="80" y="406"/>
                  </a:lnTo>
                  <a:lnTo>
                    <a:pt x="79" y="406"/>
                  </a:lnTo>
                  <a:lnTo>
                    <a:pt x="79" y="404"/>
                  </a:lnTo>
                  <a:lnTo>
                    <a:pt x="79" y="402"/>
                  </a:lnTo>
                  <a:lnTo>
                    <a:pt x="80" y="402"/>
                  </a:lnTo>
                  <a:lnTo>
                    <a:pt x="82" y="402"/>
                  </a:lnTo>
                  <a:lnTo>
                    <a:pt x="84" y="402"/>
                  </a:lnTo>
                  <a:lnTo>
                    <a:pt x="86" y="402"/>
                  </a:lnTo>
                  <a:lnTo>
                    <a:pt x="86" y="400"/>
                  </a:lnTo>
                  <a:lnTo>
                    <a:pt x="88" y="400"/>
                  </a:lnTo>
                  <a:lnTo>
                    <a:pt x="88" y="398"/>
                  </a:lnTo>
                  <a:lnTo>
                    <a:pt x="88" y="396"/>
                  </a:lnTo>
                  <a:lnTo>
                    <a:pt x="86" y="394"/>
                  </a:lnTo>
                  <a:lnTo>
                    <a:pt x="88" y="394"/>
                  </a:lnTo>
                  <a:lnTo>
                    <a:pt x="90" y="394"/>
                  </a:lnTo>
                  <a:lnTo>
                    <a:pt x="92" y="394"/>
                  </a:lnTo>
                  <a:lnTo>
                    <a:pt x="90" y="392"/>
                  </a:lnTo>
                  <a:lnTo>
                    <a:pt x="90" y="390"/>
                  </a:lnTo>
                  <a:lnTo>
                    <a:pt x="92" y="390"/>
                  </a:lnTo>
                  <a:lnTo>
                    <a:pt x="94" y="390"/>
                  </a:lnTo>
                  <a:lnTo>
                    <a:pt x="96" y="390"/>
                  </a:lnTo>
                  <a:lnTo>
                    <a:pt x="94" y="388"/>
                  </a:lnTo>
                  <a:lnTo>
                    <a:pt x="96" y="388"/>
                  </a:lnTo>
                  <a:lnTo>
                    <a:pt x="96" y="386"/>
                  </a:lnTo>
                  <a:lnTo>
                    <a:pt x="96" y="384"/>
                  </a:lnTo>
                  <a:lnTo>
                    <a:pt x="96" y="383"/>
                  </a:lnTo>
                  <a:lnTo>
                    <a:pt x="98" y="381"/>
                  </a:lnTo>
                  <a:lnTo>
                    <a:pt x="98" y="379"/>
                  </a:lnTo>
                  <a:lnTo>
                    <a:pt x="98" y="377"/>
                  </a:lnTo>
                  <a:lnTo>
                    <a:pt x="100" y="377"/>
                  </a:lnTo>
                  <a:lnTo>
                    <a:pt x="100" y="375"/>
                  </a:lnTo>
                  <a:lnTo>
                    <a:pt x="98" y="375"/>
                  </a:lnTo>
                  <a:lnTo>
                    <a:pt x="98" y="373"/>
                  </a:lnTo>
                  <a:lnTo>
                    <a:pt x="96" y="373"/>
                  </a:lnTo>
                  <a:lnTo>
                    <a:pt x="96" y="371"/>
                  </a:lnTo>
                  <a:lnTo>
                    <a:pt x="94" y="371"/>
                  </a:lnTo>
                  <a:lnTo>
                    <a:pt x="92" y="371"/>
                  </a:lnTo>
                  <a:lnTo>
                    <a:pt x="90" y="371"/>
                  </a:lnTo>
                  <a:lnTo>
                    <a:pt x="88" y="369"/>
                  </a:lnTo>
                  <a:lnTo>
                    <a:pt x="86" y="369"/>
                  </a:lnTo>
                  <a:lnTo>
                    <a:pt x="84" y="367"/>
                  </a:lnTo>
                  <a:lnTo>
                    <a:pt x="82" y="367"/>
                  </a:lnTo>
                  <a:lnTo>
                    <a:pt x="82" y="369"/>
                  </a:lnTo>
                  <a:lnTo>
                    <a:pt x="80" y="369"/>
                  </a:lnTo>
                  <a:lnTo>
                    <a:pt x="79" y="369"/>
                  </a:lnTo>
                  <a:lnTo>
                    <a:pt x="77" y="369"/>
                  </a:lnTo>
                  <a:lnTo>
                    <a:pt x="75" y="369"/>
                  </a:lnTo>
                  <a:lnTo>
                    <a:pt x="75" y="371"/>
                  </a:lnTo>
                  <a:lnTo>
                    <a:pt x="73" y="371"/>
                  </a:lnTo>
                  <a:lnTo>
                    <a:pt x="71" y="371"/>
                  </a:lnTo>
                  <a:lnTo>
                    <a:pt x="71" y="373"/>
                  </a:lnTo>
                  <a:lnTo>
                    <a:pt x="69" y="373"/>
                  </a:lnTo>
                  <a:lnTo>
                    <a:pt x="67" y="373"/>
                  </a:lnTo>
                  <a:lnTo>
                    <a:pt x="67" y="375"/>
                  </a:lnTo>
                  <a:lnTo>
                    <a:pt x="65" y="375"/>
                  </a:lnTo>
                  <a:lnTo>
                    <a:pt x="63" y="375"/>
                  </a:lnTo>
                  <a:lnTo>
                    <a:pt x="65" y="375"/>
                  </a:lnTo>
                  <a:lnTo>
                    <a:pt x="63" y="375"/>
                  </a:lnTo>
                  <a:lnTo>
                    <a:pt x="63" y="377"/>
                  </a:lnTo>
                  <a:lnTo>
                    <a:pt x="61" y="377"/>
                  </a:lnTo>
                  <a:lnTo>
                    <a:pt x="59" y="377"/>
                  </a:lnTo>
                  <a:lnTo>
                    <a:pt x="57" y="377"/>
                  </a:lnTo>
                  <a:lnTo>
                    <a:pt x="56" y="377"/>
                  </a:lnTo>
                  <a:lnTo>
                    <a:pt x="56" y="375"/>
                  </a:lnTo>
                  <a:lnTo>
                    <a:pt x="54" y="375"/>
                  </a:lnTo>
                  <a:lnTo>
                    <a:pt x="52" y="375"/>
                  </a:lnTo>
                  <a:lnTo>
                    <a:pt x="52" y="373"/>
                  </a:lnTo>
                  <a:lnTo>
                    <a:pt x="50" y="373"/>
                  </a:lnTo>
                  <a:lnTo>
                    <a:pt x="50" y="375"/>
                  </a:lnTo>
                  <a:lnTo>
                    <a:pt x="50" y="373"/>
                  </a:lnTo>
                  <a:lnTo>
                    <a:pt x="48" y="373"/>
                  </a:lnTo>
                  <a:lnTo>
                    <a:pt x="46" y="373"/>
                  </a:lnTo>
                  <a:lnTo>
                    <a:pt x="46" y="371"/>
                  </a:lnTo>
                  <a:lnTo>
                    <a:pt x="44" y="371"/>
                  </a:lnTo>
                  <a:lnTo>
                    <a:pt x="44" y="369"/>
                  </a:lnTo>
                  <a:lnTo>
                    <a:pt x="44" y="367"/>
                  </a:lnTo>
                  <a:lnTo>
                    <a:pt x="44" y="369"/>
                  </a:lnTo>
                  <a:lnTo>
                    <a:pt x="42" y="369"/>
                  </a:lnTo>
                  <a:lnTo>
                    <a:pt x="40" y="369"/>
                  </a:lnTo>
                  <a:lnTo>
                    <a:pt x="38" y="369"/>
                  </a:lnTo>
                  <a:lnTo>
                    <a:pt x="38" y="367"/>
                  </a:lnTo>
                  <a:lnTo>
                    <a:pt x="36" y="367"/>
                  </a:lnTo>
                  <a:lnTo>
                    <a:pt x="36" y="365"/>
                  </a:lnTo>
                  <a:lnTo>
                    <a:pt x="34" y="365"/>
                  </a:lnTo>
                  <a:lnTo>
                    <a:pt x="34" y="363"/>
                  </a:lnTo>
                  <a:lnTo>
                    <a:pt x="36" y="363"/>
                  </a:lnTo>
                  <a:lnTo>
                    <a:pt x="36" y="361"/>
                  </a:lnTo>
                  <a:lnTo>
                    <a:pt x="34" y="361"/>
                  </a:lnTo>
                  <a:lnTo>
                    <a:pt x="36" y="361"/>
                  </a:lnTo>
                  <a:lnTo>
                    <a:pt x="36" y="359"/>
                  </a:lnTo>
                  <a:lnTo>
                    <a:pt x="36" y="358"/>
                  </a:lnTo>
                  <a:lnTo>
                    <a:pt x="34" y="358"/>
                  </a:lnTo>
                  <a:lnTo>
                    <a:pt x="34" y="356"/>
                  </a:lnTo>
                  <a:lnTo>
                    <a:pt x="33" y="356"/>
                  </a:lnTo>
                  <a:lnTo>
                    <a:pt x="33" y="354"/>
                  </a:lnTo>
                  <a:lnTo>
                    <a:pt x="31" y="354"/>
                  </a:lnTo>
                  <a:lnTo>
                    <a:pt x="29" y="354"/>
                  </a:lnTo>
                  <a:lnTo>
                    <a:pt x="27" y="354"/>
                  </a:lnTo>
                  <a:lnTo>
                    <a:pt x="27" y="352"/>
                  </a:lnTo>
                  <a:lnTo>
                    <a:pt x="27" y="350"/>
                  </a:lnTo>
                  <a:lnTo>
                    <a:pt x="25" y="350"/>
                  </a:lnTo>
                  <a:lnTo>
                    <a:pt x="23" y="350"/>
                  </a:lnTo>
                  <a:lnTo>
                    <a:pt x="23" y="348"/>
                  </a:lnTo>
                  <a:lnTo>
                    <a:pt x="21" y="348"/>
                  </a:lnTo>
                  <a:lnTo>
                    <a:pt x="21" y="350"/>
                  </a:lnTo>
                  <a:lnTo>
                    <a:pt x="19" y="350"/>
                  </a:lnTo>
                  <a:lnTo>
                    <a:pt x="19" y="348"/>
                  </a:lnTo>
                  <a:lnTo>
                    <a:pt x="17" y="348"/>
                  </a:lnTo>
                  <a:lnTo>
                    <a:pt x="15" y="348"/>
                  </a:lnTo>
                  <a:lnTo>
                    <a:pt x="13" y="348"/>
                  </a:lnTo>
                  <a:lnTo>
                    <a:pt x="13" y="346"/>
                  </a:lnTo>
                  <a:lnTo>
                    <a:pt x="13" y="344"/>
                  </a:lnTo>
                  <a:lnTo>
                    <a:pt x="15" y="344"/>
                  </a:lnTo>
                  <a:lnTo>
                    <a:pt x="17" y="344"/>
                  </a:lnTo>
                  <a:lnTo>
                    <a:pt x="19" y="344"/>
                  </a:lnTo>
                  <a:lnTo>
                    <a:pt x="21" y="344"/>
                  </a:lnTo>
                  <a:lnTo>
                    <a:pt x="21" y="342"/>
                  </a:lnTo>
                  <a:lnTo>
                    <a:pt x="21" y="344"/>
                  </a:lnTo>
                  <a:lnTo>
                    <a:pt x="21" y="342"/>
                  </a:lnTo>
                  <a:lnTo>
                    <a:pt x="23" y="342"/>
                  </a:lnTo>
                  <a:lnTo>
                    <a:pt x="23" y="340"/>
                  </a:lnTo>
                  <a:lnTo>
                    <a:pt x="21" y="340"/>
                  </a:lnTo>
                  <a:lnTo>
                    <a:pt x="21" y="338"/>
                  </a:lnTo>
                  <a:lnTo>
                    <a:pt x="21" y="340"/>
                  </a:lnTo>
                  <a:lnTo>
                    <a:pt x="21" y="338"/>
                  </a:lnTo>
                  <a:lnTo>
                    <a:pt x="19" y="338"/>
                  </a:lnTo>
                  <a:lnTo>
                    <a:pt x="19" y="336"/>
                  </a:lnTo>
                  <a:lnTo>
                    <a:pt x="21" y="336"/>
                  </a:lnTo>
                  <a:lnTo>
                    <a:pt x="21" y="334"/>
                  </a:lnTo>
                  <a:lnTo>
                    <a:pt x="19" y="334"/>
                  </a:lnTo>
                  <a:lnTo>
                    <a:pt x="19" y="333"/>
                  </a:lnTo>
                  <a:lnTo>
                    <a:pt x="19" y="331"/>
                  </a:lnTo>
                  <a:lnTo>
                    <a:pt x="19" y="329"/>
                  </a:lnTo>
                  <a:lnTo>
                    <a:pt x="19" y="331"/>
                  </a:lnTo>
                  <a:lnTo>
                    <a:pt x="19" y="329"/>
                  </a:lnTo>
                  <a:lnTo>
                    <a:pt x="19" y="331"/>
                  </a:lnTo>
                  <a:lnTo>
                    <a:pt x="19" y="329"/>
                  </a:lnTo>
                  <a:lnTo>
                    <a:pt x="19" y="327"/>
                  </a:lnTo>
                  <a:lnTo>
                    <a:pt x="17" y="327"/>
                  </a:lnTo>
                  <a:lnTo>
                    <a:pt x="19" y="327"/>
                  </a:lnTo>
                  <a:lnTo>
                    <a:pt x="17" y="327"/>
                  </a:lnTo>
                  <a:lnTo>
                    <a:pt x="17" y="325"/>
                  </a:lnTo>
                  <a:lnTo>
                    <a:pt x="17" y="323"/>
                  </a:lnTo>
                  <a:lnTo>
                    <a:pt x="19" y="323"/>
                  </a:lnTo>
                  <a:lnTo>
                    <a:pt x="19" y="321"/>
                  </a:lnTo>
                  <a:lnTo>
                    <a:pt x="17" y="321"/>
                  </a:lnTo>
                  <a:lnTo>
                    <a:pt x="17" y="319"/>
                  </a:lnTo>
                  <a:lnTo>
                    <a:pt x="15" y="319"/>
                  </a:lnTo>
                  <a:lnTo>
                    <a:pt x="13" y="319"/>
                  </a:lnTo>
                  <a:lnTo>
                    <a:pt x="11" y="319"/>
                  </a:lnTo>
                  <a:lnTo>
                    <a:pt x="11" y="317"/>
                  </a:lnTo>
                  <a:lnTo>
                    <a:pt x="9" y="317"/>
                  </a:lnTo>
                  <a:lnTo>
                    <a:pt x="8" y="317"/>
                  </a:lnTo>
                  <a:lnTo>
                    <a:pt x="8" y="319"/>
                  </a:lnTo>
                  <a:lnTo>
                    <a:pt x="8" y="321"/>
                  </a:lnTo>
                  <a:lnTo>
                    <a:pt x="6" y="321"/>
                  </a:lnTo>
                  <a:lnTo>
                    <a:pt x="6" y="319"/>
                  </a:lnTo>
                  <a:lnTo>
                    <a:pt x="4" y="319"/>
                  </a:lnTo>
                  <a:lnTo>
                    <a:pt x="4" y="317"/>
                  </a:lnTo>
                  <a:lnTo>
                    <a:pt x="2" y="317"/>
                  </a:lnTo>
                  <a:lnTo>
                    <a:pt x="2" y="315"/>
                  </a:lnTo>
                  <a:lnTo>
                    <a:pt x="4" y="315"/>
                  </a:lnTo>
                  <a:lnTo>
                    <a:pt x="2" y="315"/>
                  </a:lnTo>
                  <a:lnTo>
                    <a:pt x="2" y="313"/>
                  </a:lnTo>
                  <a:lnTo>
                    <a:pt x="4" y="313"/>
                  </a:lnTo>
                  <a:lnTo>
                    <a:pt x="4" y="311"/>
                  </a:lnTo>
                  <a:lnTo>
                    <a:pt x="2" y="311"/>
                  </a:lnTo>
                  <a:lnTo>
                    <a:pt x="2" y="310"/>
                  </a:lnTo>
                  <a:lnTo>
                    <a:pt x="2" y="308"/>
                  </a:lnTo>
                  <a:lnTo>
                    <a:pt x="0" y="308"/>
                  </a:lnTo>
                  <a:lnTo>
                    <a:pt x="0" y="306"/>
                  </a:lnTo>
                  <a:lnTo>
                    <a:pt x="0" y="304"/>
                  </a:lnTo>
                  <a:lnTo>
                    <a:pt x="0" y="302"/>
                  </a:lnTo>
                  <a:lnTo>
                    <a:pt x="2" y="302"/>
                  </a:lnTo>
                  <a:lnTo>
                    <a:pt x="2" y="304"/>
                  </a:lnTo>
                  <a:lnTo>
                    <a:pt x="2" y="302"/>
                  </a:lnTo>
                  <a:lnTo>
                    <a:pt x="2" y="304"/>
                  </a:lnTo>
                  <a:lnTo>
                    <a:pt x="4" y="304"/>
                  </a:lnTo>
                  <a:lnTo>
                    <a:pt x="4" y="302"/>
                  </a:lnTo>
                  <a:lnTo>
                    <a:pt x="6" y="302"/>
                  </a:lnTo>
                  <a:lnTo>
                    <a:pt x="6" y="300"/>
                  </a:lnTo>
                  <a:lnTo>
                    <a:pt x="6" y="298"/>
                  </a:lnTo>
                  <a:lnTo>
                    <a:pt x="4" y="298"/>
                  </a:lnTo>
                  <a:lnTo>
                    <a:pt x="4" y="296"/>
                  </a:lnTo>
                  <a:lnTo>
                    <a:pt x="6" y="296"/>
                  </a:lnTo>
                  <a:lnTo>
                    <a:pt x="6" y="294"/>
                  </a:lnTo>
                  <a:lnTo>
                    <a:pt x="6" y="292"/>
                  </a:lnTo>
                  <a:lnTo>
                    <a:pt x="6" y="290"/>
                  </a:lnTo>
                  <a:lnTo>
                    <a:pt x="8" y="290"/>
                  </a:lnTo>
                  <a:lnTo>
                    <a:pt x="9" y="290"/>
                  </a:lnTo>
                  <a:lnTo>
                    <a:pt x="11" y="290"/>
                  </a:lnTo>
                  <a:lnTo>
                    <a:pt x="13" y="290"/>
                  </a:lnTo>
                  <a:lnTo>
                    <a:pt x="13" y="288"/>
                  </a:lnTo>
                  <a:lnTo>
                    <a:pt x="15" y="288"/>
                  </a:lnTo>
                  <a:lnTo>
                    <a:pt x="15" y="286"/>
                  </a:lnTo>
                  <a:lnTo>
                    <a:pt x="17" y="286"/>
                  </a:lnTo>
                  <a:lnTo>
                    <a:pt x="15" y="286"/>
                  </a:lnTo>
                  <a:lnTo>
                    <a:pt x="17" y="286"/>
                  </a:lnTo>
                  <a:lnTo>
                    <a:pt x="19" y="286"/>
                  </a:lnTo>
                  <a:lnTo>
                    <a:pt x="19" y="285"/>
                  </a:lnTo>
                  <a:lnTo>
                    <a:pt x="17" y="285"/>
                  </a:lnTo>
                  <a:lnTo>
                    <a:pt x="19" y="285"/>
                  </a:lnTo>
                  <a:lnTo>
                    <a:pt x="19" y="283"/>
                  </a:lnTo>
                  <a:lnTo>
                    <a:pt x="21" y="283"/>
                  </a:lnTo>
                  <a:lnTo>
                    <a:pt x="21" y="285"/>
                  </a:lnTo>
                  <a:lnTo>
                    <a:pt x="23" y="285"/>
                  </a:lnTo>
                  <a:lnTo>
                    <a:pt x="25" y="285"/>
                  </a:lnTo>
                  <a:lnTo>
                    <a:pt x="25" y="283"/>
                  </a:lnTo>
                  <a:lnTo>
                    <a:pt x="27" y="283"/>
                  </a:lnTo>
                  <a:lnTo>
                    <a:pt x="27" y="281"/>
                  </a:lnTo>
                  <a:lnTo>
                    <a:pt x="29" y="281"/>
                  </a:lnTo>
                  <a:lnTo>
                    <a:pt x="31" y="281"/>
                  </a:lnTo>
                  <a:lnTo>
                    <a:pt x="31" y="283"/>
                  </a:lnTo>
                  <a:lnTo>
                    <a:pt x="31" y="285"/>
                  </a:lnTo>
                  <a:lnTo>
                    <a:pt x="31" y="286"/>
                  </a:lnTo>
                  <a:lnTo>
                    <a:pt x="33" y="286"/>
                  </a:lnTo>
                  <a:lnTo>
                    <a:pt x="34" y="286"/>
                  </a:lnTo>
                  <a:lnTo>
                    <a:pt x="34" y="285"/>
                  </a:lnTo>
                  <a:lnTo>
                    <a:pt x="36" y="285"/>
                  </a:lnTo>
                  <a:lnTo>
                    <a:pt x="36" y="286"/>
                  </a:lnTo>
                  <a:lnTo>
                    <a:pt x="36" y="285"/>
                  </a:lnTo>
                  <a:lnTo>
                    <a:pt x="38" y="285"/>
                  </a:lnTo>
                  <a:lnTo>
                    <a:pt x="40" y="285"/>
                  </a:lnTo>
                  <a:lnTo>
                    <a:pt x="40" y="286"/>
                  </a:lnTo>
                  <a:lnTo>
                    <a:pt x="40" y="285"/>
                  </a:lnTo>
                  <a:lnTo>
                    <a:pt x="42" y="285"/>
                  </a:lnTo>
                  <a:lnTo>
                    <a:pt x="44" y="285"/>
                  </a:lnTo>
                  <a:lnTo>
                    <a:pt x="44" y="283"/>
                  </a:lnTo>
                  <a:lnTo>
                    <a:pt x="44" y="281"/>
                  </a:lnTo>
                  <a:lnTo>
                    <a:pt x="46" y="281"/>
                  </a:lnTo>
                  <a:lnTo>
                    <a:pt x="46" y="279"/>
                  </a:lnTo>
                  <a:lnTo>
                    <a:pt x="44" y="279"/>
                  </a:lnTo>
                  <a:lnTo>
                    <a:pt x="46" y="277"/>
                  </a:lnTo>
                  <a:lnTo>
                    <a:pt x="46" y="275"/>
                  </a:lnTo>
                  <a:lnTo>
                    <a:pt x="48" y="275"/>
                  </a:lnTo>
                  <a:lnTo>
                    <a:pt x="48" y="273"/>
                  </a:lnTo>
                  <a:lnTo>
                    <a:pt x="50" y="273"/>
                  </a:lnTo>
                  <a:lnTo>
                    <a:pt x="50" y="271"/>
                  </a:lnTo>
                  <a:lnTo>
                    <a:pt x="50" y="273"/>
                  </a:lnTo>
                  <a:lnTo>
                    <a:pt x="52" y="273"/>
                  </a:lnTo>
                  <a:lnTo>
                    <a:pt x="54" y="273"/>
                  </a:lnTo>
                  <a:lnTo>
                    <a:pt x="56" y="273"/>
                  </a:lnTo>
                  <a:lnTo>
                    <a:pt x="57" y="273"/>
                  </a:lnTo>
                  <a:lnTo>
                    <a:pt x="59" y="273"/>
                  </a:lnTo>
                  <a:lnTo>
                    <a:pt x="61" y="273"/>
                  </a:lnTo>
                  <a:lnTo>
                    <a:pt x="61" y="271"/>
                  </a:lnTo>
                  <a:lnTo>
                    <a:pt x="63" y="271"/>
                  </a:lnTo>
                  <a:lnTo>
                    <a:pt x="63" y="269"/>
                  </a:lnTo>
                  <a:lnTo>
                    <a:pt x="65" y="269"/>
                  </a:lnTo>
                  <a:lnTo>
                    <a:pt x="67" y="269"/>
                  </a:lnTo>
                  <a:lnTo>
                    <a:pt x="67" y="267"/>
                  </a:lnTo>
                  <a:lnTo>
                    <a:pt x="67" y="265"/>
                  </a:lnTo>
                  <a:lnTo>
                    <a:pt x="69" y="265"/>
                  </a:lnTo>
                  <a:lnTo>
                    <a:pt x="71" y="265"/>
                  </a:lnTo>
                  <a:lnTo>
                    <a:pt x="73" y="265"/>
                  </a:lnTo>
                  <a:lnTo>
                    <a:pt x="73" y="263"/>
                  </a:lnTo>
                  <a:lnTo>
                    <a:pt x="75" y="263"/>
                  </a:lnTo>
                  <a:lnTo>
                    <a:pt x="77" y="263"/>
                  </a:lnTo>
                  <a:lnTo>
                    <a:pt x="77" y="261"/>
                  </a:lnTo>
                  <a:lnTo>
                    <a:pt x="77" y="263"/>
                  </a:lnTo>
                  <a:lnTo>
                    <a:pt x="77" y="261"/>
                  </a:lnTo>
                  <a:lnTo>
                    <a:pt x="79" y="261"/>
                  </a:lnTo>
                  <a:lnTo>
                    <a:pt x="79" y="260"/>
                  </a:lnTo>
                  <a:lnTo>
                    <a:pt x="79" y="261"/>
                  </a:lnTo>
                  <a:lnTo>
                    <a:pt x="80" y="261"/>
                  </a:lnTo>
                  <a:lnTo>
                    <a:pt x="80" y="260"/>
                  </a:lnTo>
                  <a:lnTo>
                    <a:pt x="82" y="260"/>
                  </a:lnTo>
                  <a:lnTo>
                    <a:pt x="82" y="258"/>
                  </a:lnTo>
                  <a:lnTo>
                    <a:pt x="84" y="258"/>
                  </a:lnTo>
                  <a:lnTo>
                    <a:pt x="82" y="258"/>
                  </a:lnTo>
                  <a:lnTo>
                    <a:pt x="84" y="258"/>
                  </a:lnTo>
                  <a:lnTo>
                    <a:pt x="86" y="258"/>
                  </a:lnTo>
                  <a:lnTo>
                    <a:pt x="88" y="258"/>
                  </a:lnTo>
                  <a:lnTo>
                    <a:pt x="88" y="256"/>
                  </a:lnTo>
                  <a:lnTo>
                    <a:pt x="90" y="256"/>
                  </a:lnTo>
                  <a:lnTo>
                    <a:pt x="92" y="256"/>
                  </a:lnTo>
                  <a:lnTo>
                    <a:pt x="92" y="254"/>
                  </a:lnTo>
                  <a:lnTo>
                    <a:pt x="94" y="254"/>
                  </a:lnTo>
                  <a:lnTo>
                    <a:pt x="96" y="254"/>
                  </a:lnTo>
                  <a:lnTo>
                    <a:pt x="96" y="252"/>
                  </a:lnTo>
                  <a:lnTo>
                    <a:pt x="98" y="252"/>
                  </a:lnTo>
                  <a:lnTo>
                    <a:pt x="96" y="252"/>
                  </a:lnTo>
                  <a:lnTo>
                    <a:pt x="96" y="250"/>
                  </a:lnTo>
                  <a:lnTo>
                    <a:pt x="98" y="250"/>
                  </a:lnTo>
                  <a:lnTo>
                    <a:pt x="98" y="248"/>
                  </a:lnTo>
                  <a:lnTo>
                    <a:pt x="98" y="246"/>
                  </a:lnTo>
                  <a:lnTo>
                    <a:pt x="98" y="244"/>
                  </a:lnTo>
                  <a:lnTo>
                    <a:pt x="98" y="242"/>
                  </a:lnTo>
                  <a:lnTo>
                    <a:pt x="96" y="242"/>
                  </a:lnTo>
                  <a:lnTo>
                    <a:pt x="96" y="240"/>
                  </a:lnTo>
                  <a:lnTo>
                    <a:pt x="98" y="240"/>
                  </a:lnTo>
                  <a:lnTo>
                    <a:pt x="98" y="238"/>
                  </a:lnTo>
                  <a:lnTo>
                    <a:pt x="98" y="237"/>
                  </a:lnTo>
                  <a:lnTo>
                    <a:pt x="100" y="237"/>
                  </a:lnTo>
                  <a:lnTo>
                    <a:pt x="98" y="237"/>
                  </a:lnTo>
                  <a:lnTo>
                    <a:pt x="100" y="237"/>
                  </a:lnTo>
                  <a:lnTo>
                    <a:pt x="100" y="238"/>
                  </a:lnTo>
                  <a:lnTo>
                    <a:pt x="100" y="237"/>
                  </a:lnTo>
                  <a:lnTo>
                    <a:pt x="102" y="237"/>
                  </a:lnTo>
                  <a:lnTo>
                    <a:pt x="104" y="237"/>
                  </a:lnTo>
                  <a:lnTo>
                    <a:pt x="102" y="235"/>
                  </a:lnTo>
                  <a:lnTo>
                    <a:pt x="100" y="235"/>
                  </a:lnTo>
                  <a:lnTo>
                    <a:pt x="100" y="233"/>
                  </a:lnTo>
                  <a:lnTo>
                    <a:pt x="102" y="233"/>
                  </a:lnTo>
                  <a:lnTo>
                    <a:pt x="102" y="231"/>
                  </a:lnTo>
                  <a:lnTo>
                    <a:pt x="104" y="231"/>
                  </a:lnTo>
                  <a:lnTo>
                    <a:pt x="105" y="231"/>
                  </a:lnTo>
                  <a:lnTo>
                    <a:pt x="105" y="229"/>
                  </a:lnTo>
                  <a:lnTo>
                    <a:pt x="105" y="227"/>
                  </a:lnTo>
                  <a:lnTo>
                    <a:pt x="104" y="227"/>
                  </a:lnTo>
                  <a:lnTo>
                    <a:pt x="105" y="227"/>
                  </a:lnTo>
                  <a:lnTo>
                    <a:pt x="105" y="225"/>
                  </a:lnTo>
                  <a:lnTo>
                    <a:pt x="104" y="223"/>
                  </a:lnTo>
                  <a:lnTo>
                    <a:pt x="104" y="221"/>
                  </a:lnTo>
                  <a:lnTo>
                    <a:pt x="102" y="219"/>
                  </a:lnTo>
                  <a:lnTo>
                    <a:pt x="102" y="217"/>
                  </a:lnTo>
                  <a:lnTo>
                    <a:pt x="102" y="215"/>
                  </a:lnTo>
                  <a:lnTo>
                    <a:pt x="102" y="213"/>
                  </a:lnTo>
                  <a:lnTo>
                    <a:pt x="100" y="213"/>
                  </a:lnTo>
                  <a:lnTo>
                    <a:pt x="102" y="213"/>
                  </a:lnTo>
                  <a:lnTo>
                    <a:pt x="100" y="213"/>
                  </a:lnTo>
                  <a:lnTo>
                    <a:pt x="100" y="212"/>
                  </a:lnTo>
                  <a:lnTo>
                    <a:pt x="100" y="210"/>
                  </a:lnTo>
                  <a:lnTo>
                    <a:pt x="100" y="208"/>
                  </a:lnTo>
                  <a:lnTo>
                    <a:pt x="100" y="206"/>
                  </a:lnTo>
                  <a:lnTo>
                    <a:pt x="100" y="204"/>
                  </a:lnTo>
                  <a:lnTo>
                    <a:pt x="100" y="202"/>
                  </a:lnTo>
                  <a:lnTo>
                    <a:pt x="100" y="200"/>
                  </a:lnTo>
                  <a:lnTo>
                    <a:pt x="98" y="200"/>
                  </a:lnTo>
                  <a:lnTo>
                    <a:pt x="98" y="198"/>
                  </a:lnTo>
                  <a:lnTo>
                    <a:pt x="96" y="198"/>
                  </a:lnTo>
                  <a:lnTo>
                    <a:pt x="96" y="196"/>
                  </a:lnTo>
                  <a:lnTo>
                    <a:pt x="96" y="198"/>
                  </a:lnTo>
                  <a:lnTo>
                    <a:pt x="96" y="196"/>
                  </a:lnTo>
                  <a:lnTo>
                    <a:pt x="96" y="198"/>
                  </a:lnTo>
                  <a:lnTo>
                    <a:pt x="94" y="198"/>
                  </a:lnTo>
                  <a:lnTo>
                    <a:pt x="94" y="196"/>
                  </a:lnTo>
                  <a:lnTo>
                    <a:pt x="92" y="196"/>
                  </a:lnTo>
                  <a:lnTo>
                    <a:pt x="92" y="194"/>
                  </a:lnTo>
                  <a:lnTo>
                    <a:pt x="94" y="194"/>
                  </a:lnTo>
                  <a:lnTo>
                    <a:pt x="94" y="192"/>
                  </a:lnTo>
                  <a:lnTo>
                    <a:pt x="96" y="192"/>
                  </a:lnTo>
                  <a:lnTo>
                    <a:pt x="98" y="192"/>
                  </a:lnTo>
                  <a:lnTo>
                    <a:pt x="100" y="192"/>
                  </a:lnTo>
                  <a:lnTo>
                    <a:pt x="100" y="190"/>
                  </a:lnTo>
                  <a:lnTo>
                    <a:pt x="102" y="190"/>
                  </a:lnTo>
                  <a:lnTo>
                    <a:pt x="104" y="190"/>
                  </a:lnTo>
                  <a:lnTo>
                    <a:pt x="105" y="190"/>
                  </a:lnTo>
                  <a:lnTo>
                    <a:pt x="104" y="190"/>
                  </a:lnTo>
                  <a:lnTo>
                    <a:pt x="105" y="190"/>
                  </a:lnTo>
                  <a:lnTo>
                    <a:pt x="107" y="190"/>
                  </a:lnTo>
                  <a:lnTo>
                    <a:pt x="109" y="190"/>
                  </a:lnTo>
                  <a:lnTo>
                    <a:pt x="109" y="189"/>
                  </a:lnTo>
                  <a:lnTo>
                    <a:pt x="111" y="189"/>
                  </a:lnTo>
                  <a:lnTo>
                    <a:pt x="109" y="189"/>
                  </a:lnTo>
                  <a:lnTo>
                    <a:pt x="111" y="189"/>
                  </a:lnTo>
                  <a:lnTo>
                    <a:pt x="113" y="189"/>
                  </a:lnTo>
                  <a:lnTo>
                    <a:pt x="115" y="189"/>
                  </a:lnTo>
                  <a:lnTo>
                    <a:pt x="115" y="187"/>
                  </a:lnTo>
                  <a:lnTo>
                    <a:pt x="115" y="189"/>
                  </a:lnTo>
                  <a:lnTo>
                    <a:pt x="115" y="187"/>
                  </a:lnTo>
                  <a:lnTo>
                    <a:pt x="117" y="187"/>
                  </a:lnTo>
                  <a:lnTo>
                    <a:pt x="119" y="187"/>
                  </a:lnTo>
                  <a:lnTo>
                    <a:pt x="119" y="185"/>
                  </a:lnTo>
                  <a:lnTo>
                    <a:pt x="121" y="185"/>
                  </a:lnTo>
                  <a:lnTo>
                    <a:pt x="121" y="187"/>
                  </a:lnTo>
                  <a:lnTo>
                    <a:pt x="121" y="189"/>
                  </a:lnTo>
                  <a:lnTo>
                    <a:pt x="123" y="189"/>
                  </a:lnTo>
                  <a:lnTo>
                    <a:pt x="125" y="189"/>
                  </a:lnTo>
                  <a:lnTo>
                    <a:pt x="127" y="189"/>
                  </a:lnTo>
                  <a:lnTo>
                    <a:pt x="128" y="189"/>
                  </a:lnTo>
                  <a:lnTo>
                    <a:pt x="130" y="189"/>
                  </a:lnTo>
                  <a:lnTo>
                    <a:pt x="130" y="190"/>
                  </a:lnTo>
                  <a:lnTo>
                    <a:pt x="132" y="189"/>
                  </a:lnTo>
                  <a:lnTo>
                    <a:pt x="132" y="187"/>
                  </a:lnTo>
                  <a:lnTo>
                    <a:pt x="130" y="185"/>
                  </a:lnTo>
                  <a:lnTo>
                    <a:pt x="130" y="183"/>
                  </a:lnTo>
                  <a:lnTo>
                    <a:pt x="128" y="183"/>
                  </a:lnTo>
                  <a:lnTo>
                    <a:pt x="127" y="183"/>
                  </a:lnTo>
                  <a:lnTo>
                    <a:pt x="127" y="181"/>
                  </a:lnTo>
                  <a:lnTo>
                    <a:pt x="127" y="179"/>
                  </a:lnTo>
                  <a:lnTo>
                    <a:pt x="128" y="179"/>
                  </a:lnTo>
                  <a:lnTo>
                    <a:pt x="128" y="177"/>
                  </a:lnTo>
                  <a:lnTo>
                    <a:pt x="128" y="175"/>
                  </a:lnTo>
                  <a:lnTo>
                    <a:pt x="128" y="173"/>
                  </a:lnTo>
                  <a:lnTo>
                    <a:pt x="130" y="173"/>
                  </a:lnTo>
                  <a:lnTo>
                    <a:pt x="130" y="171"/>
                  </a:lnTo>
                  <a:lnTo>
                    <a:pt x="128" y="171"/>
                  </a:lnTo>
                  <a:lnTo>
                    <a:pt x="130" y="171"/>
                  </a:lnTo>
                  <a:lnTo>
                    <a:pt x="128" y="171"/>
                  </a:lnTo>
                  <a:lnTo>
                    <a:pt x="130" y="171"/>
                  </a:lnTo>
                  <a:lnTo>
                    <a:pt x="130" y="169"/>
                  </a:lnTo>
                  <a:lnTo>
                    <a:pt x="130" y="167"/>
                  </a:lnTo>
                  <a:lnTo>
                    <a:pt x="130" y="165"/>
                  </a:lnTo>
                  <a:lnTo>
                    <a:pt x="132" y="165"/>
                  </a:lnTo>
                  <a:lnTo>
                    <a:pt x="132" y="164"/>
                  </a:lnTo>
                  <a:lnTo>
                    <a:pt x="132" y="162"/>
                  </a:lnTo>
                  <a:lnTo>
                    <a:pt x="134" y="162"/>
                  </a:lnTo>
                  <a:lnTo>
                    <a:pt x="134" y="160"/>
                  </a:lnTo>
                  <a:lnTo>
                    <a:pt x="134" y="158"/>
                  </a:lnTo>
                  <a:lnTo>
                    <a:pt x="134" y="156"/>
                  </a:lnTo>
                  <a:lnTo>
                    <a:pt x="136" y="156"/>
                  </a:lnTo>
                  <a:lnTo>
                    <a:pt x="136" y="154"/>
                  </a:lnTo>
                  <a:lnTo>
                    <a:pt x="136" y="152"/>
                  </a:lnTo>
                  <a:lnTo>
                    <a:pt x="136" y="150"/>
                  </a:lnTo>
                  <a:lnTo>
                    <a:pt x="138" y="150"/>
                  </a:lnTo>
                  <a:lnTo>
                    <a:pt x="138" y="148"/>
                  </a:lnTo>
                  <a:lnTo>
                    <a:pt x="138" y="146"/>
                  </a:lnTo>
                  <a:lnTo>
                    <a:pt x="140" y="146"/>
                  </a:lnTo>
                  <a:lnTo>
                    <a:pt x="142" y="146"/>
                  </a:lnTo>
                  <a:lnTo>
                    <a:pt x="142" y="148"/>
                  </a:lnTo>
                  <a:lnTo>
                    <a:pt x="144" y="148"/>
                  </a:lnTo>
                  <a:lnTo>
                    <a:pt x="146" y="148"/>
                  </a:lnTo>
                  <a:lnTo>
                    <a:pt x="146" y="150"/>
                  </a:lnTo>
                  <a:lnTo>
                    <a:pt x="148" y="150"/>
                  </a:lnTo>
                  <a:lnTo>
                    <a:pt x="150" y="150"/>
                  </a:lnTo>
                  <a:lnTo>
                    <a:pt x="150" y="152"/>
                  </a:lnTo>
                  <a:lnTo>
                    <a:pt x="152" y="152"/>
                  </a:lnTo>
                  <a:lnTo>
                    <a:pt x="153" y="152"/>
                  </a:lnTo>
                  <a:lnTo>
                    <a:pt x="155" y="152"/>
                  </a:lnTo>
                  <a:lnTo>
                    <a:pt x="157" y="152"/>
                  </a:lnTo>
                  <a:lnTo>
                    <a:pt x="159" y="152"/>
                  </a:lnTo>
                  <a:lnTo>
                    <a:pt x="159" y="150"/>
                  </a:lnTo>
                  <a:lnTo>
                    <a:pt x="159" y="152"/>
                  </a:lnTo>
                  <a:lnTo>
                    <a:pt x="161" y="152"/>
                  </a:lnTo>
                  <a:lnTo>
                    <a:pt x="163" y="152"/>
                  </a:lnTo>
                  <a:lnTo>
                    <a:pt x="163" y="150"/>
                  </a:lnTo>
                  <a:lnTo>
                    <a:pt x="163" y="152"/>
                  </a:lnTo>
                  <a:lnTo>
                    <a:pt x="165" y="152"/>
                  </a:lnTo>
                  <a:lnTo>
                    <a:pt x="165" y="154"/>
                  </a:lnTo>
                  <a:lnTo>
                    <a:pt x="167" y="154"/>
                  </a:lnTo>
                  <a:lnTo>
                    <a:pt x="167" y="152"/>
                  </a:lnTo>
                  <a:lnTo>
                    <a:pt x="169" y="152"/>
                  </a:lnTo>
                  <a:lnTo>
                    <a:pt x="169" y="150"/>
                  </a:lnTo>
                  <a:lnTo>
                    <a:pt x="171" y="150"/>
                  </a:lnTo>
                  <a:lnTo>
                    <a:pt x="173" y="150"/>
                  </a:lnTo>
                  <a:lnTo>
                    <a:pt x="175" y="150"/>
                  </a:lnTo>
                  <a:lnTo>
                    <a:pt x="175" y="148"/>
                  </a:lnTo>
                  <a:lnTo>
                    <a:pt x="176" y="148"/>
                  </a:lnTo>
                  <a:lnTo>
                    <a:pt x="176" y="146"/>
                  </a:lnTo>
                  <a:lnTo>
                    <a:pt x="176" y="144"/>
                  </a:lnTo>
                  <a:lnTo>
                    <a:pt x="176" y="142"/>
                  </a:lnTo>
                  <a:lnTo>
                    <a:pt x="176" y="140"/>
                  </a:lnTo>
                  <a:lnTo>
                    <a:pt x="176" y="139"/>
                  </a:lnTo>
                  <a:lnTo>
                    <a:pt x="176" y="135"/>
                  </a:lnTo>
                  <a:lnTo>
                    <a:pt x="175" y="131"/>
                  </a:lnTo>
                  <a:lnTo>
                    <a:pt x="175" y="129"/>
                  </a:lnTo>
                  <a:lnTo>
                    <a:pt x="175" y="127"/>
                  </a:lnTo>
                  <a:lnTo>
                    <a:pt x="175" y="125"/>
                  </a:lnTo>
                  <a:lnTo>
                    <a:pt x="176" y="125"/>
                  </a:lnTo>
                  <a:lnTo>
                    <a:pt x="176" y="123"/>
                  </a:lnTo>
                  <a:lnTo>
                    <a:pt x="176" y="121"/>
                  </a:lnTo>
                  <a:lnTo>
                    <a:pt x="178" y="121"/>
                  </a:lnTo>
                  <a:lnTo>
                    <a:pt x="178" y="119"/>
                  </a:lnTo>
                  <a:lnTo>
                    <a:pt x="180" y="119"/>
                  </a:lnTo>
                  <a:lnTo>
                    <a:pt x="182" y="119"/>
                  </a:lnTo>
                  <a:lnTo>
                    <a:pt x="184" y="119"/>
                  </a:lnTo>
                  <a:lnTo>
                    <a:pt x="186" y="119"/>
                  </a:lnTo>
                  <a:lnTo>
                    <a:pt x="188" y="119"/>
                  </a:lnTo>
                  <a:lnTo>
                    <a:pt x="190" y="117"/>
                  </a:lnTo>
                  <a:lnTo>
                    <a:pt x="190" y="116"/>
                  </a:lnTo>
                  <a:lnTo>
                    <a:pt x="192" y="116"/>
                  </a:lnTo>
                  <a:lnTo>
                    <a:pt x="192" y="114"/>
                  </a:lnTo>
                  <a:lnTo>
                    <a:pt x="194" y="114"/>
                  </a:lnTo>
                  <a:lnTo>
                    <a:pt x="194" y="112"/>
                  </a:lnTo>
                  <a:lnTo>
                    <a:pt x="192" y="112"/>
                  </a:lnTo>
                  <a:lnTo>
                    <a:pt x="194" y="112"/>
                  </a:lnTo>
                  <a:lnTo>
                    <a:pt x="194" y="110"/>
                  </a:lnTo>
                  <a:lnTo>
                    <a:pt x="192" y="110"/>
                  </a:lnTo>
                  <a:lnTo>
                    <a:pt x="192" y="108"/>
                  </a:lnTo>
                  <a:lnTo>
                    <a:pt x="194" y="108"/>
                  </a:lnTo>
                  <a:lnTo>
                    <a:pt x="194" y="106"/>
                  </a:lnTo>
                  <a:lnTo>
                    <a:pt x="194" y="104"/>
                  </a:lnTo>
                  <a:lnTo>
                    <a:pt x="196" y="104"/>
                  </a:lnTo>
                  <a:lnTo>
                    <a:pt x="198" y="104"/>
                  </a:lnTo>
                  <a:lnTo>
                    <a:pt x="199" y="104"/>
                  </a:lnTo>
                  <a:lnTo>
                    <a:pt x="201" y="104"/>
                  </a:lnTo>
                  <a:lnTo>
                    <a:pt x="201" y="106"/>
                  </a:lnTo>
                  <a:lnTo>
                    <a:pt x="203" y="106"/>
                  </a:lnTo>
                  <a:lnTo>
                    <a:pt x="203" y="104"/>
                  </a:lnTo>
                  <a:lnTo>
                    <a:pt x="205" y="104"/>
                  </a:lnTo>
                  <a:lnTo>
                    <a:pt x="207" y="104"/>
                  </a:lnTo>
                  <a:lnTo>
                    <a:pt x="209" y="104"/>
                  </a:lnTo>
                  <a:lnTo>
                    <a:pt x="209" y="106"/>
                  </a:lnTo>
                  <a:lnTo>
                    <a:pt x="209" y="108"/>
                  </a:lnTo>
                  <a:lnTo>
                    <a:pt x="207" y="108"/>
                  </a:lnTo>
                  <a:lnTo>
                    <a:pt x="207" y="110"/>
                  </a:lnTo>
                  <a:lnTo>
                    <a:pt x="207" y="112"/>
                  </a:lnTo>
                  <a:lnTo>
                    <a:pt x="209" y="112"/>
                  </a:lnTo>
                  <a:lnTo>
                    <a:pt x="207" y="112"/>
                  </a:lnTo>
                  <a:lnTo>
                    <a:pt x="209" y="112"/>
                  </a:lnTo>
                  <a:lnTo>
                    <a:pt x="209" y="114"/>
                  </a:lnTo>
                  <a:lnTo>
                    <a:pt x="211" y="114"/>
                  </a:lnTo>
                  <a:lnTo>
                    <a:pt x="211" y="112"/>
                  </a:lnTo>
                  <a:lnTo>
                    <a:pt x="211" y="114"/>
                  </a:lnTo>
                  <a:lnTo>
                    <a:pt x="213" y="114"/>
                  </a:lnTo>
                  <a:lnTo>
                    <a:pt x="211" y="114"/>
                  </a:lnTo>
                  <a:lnTo>
                    <a:pt x="211" y="116"/>
                  </a:lnTo>
                  <a:lnTo>
                    <a:pt x="211" y="117"/>
                  </a:lnTo>
                  <a:lnTo>
                    <a:pt x="213" y="117"/>
                  </a:lnTo>
                  <a:lnTo>
                    <a:pt x="213" y="119"/>
                  </a:lnTo>
                  <a:lnTo>
                    <a:pt x="215" y="119"/>
                  </a:lnTo>
                  <a:lnTo>
                    <a:pt x="217" y="119"/>
                  </a:lnTo>
                  <a:lnTo>
                    <a:pt x="217" y="121"/>
                  </a:lnTo>
                  <a:lnTo>
                    <a:pt x="219" y="121"/>
                  </a:lnTo>
                  <a:lnTo>
                    <a:pt x="221" y="121"/>
                  </a:lnTo>
                  <a:lnTo>
                    <a:pt x="221" y="123"/>
                  </a:lnTo>
                  <a:lnTo>
                    <a:pt x="219" y="123"/>
                  </a:lnTo>
                  <a:lnTo>
                    <a:pt x="221" y="123"/>
                  </a:lnTo>
                  <a:lnTo>
                    <a:pt x="221" y="125"/>
                  </a:lnTo>
                  <a:lnTo>
                    <a:pt x="219" y="125"/>
                  </a:lnTo>
                  <a:lnTo>
                    <a:pt x="221" y="125"/>
                  </a:lnTo>
                  <a:lnTo>
                    <a:pt x="223" y="125"/>
                  </a:lnTo>
                  <a:lnTo>
                    <a:pt x="223" y="127"/>
                  </a:lnTo>
                  <a:lnTo>
                    <a:pt x="224" y="127"/>
                  </a:lnTo>
                  <a:lnTo>
                    <a:pt x="226" y="127"/>
                  </a:lnTo>
                  <a:lnTo>
                    <a:pt x="226" y="129"/>
                  </a:lnTo>
                  <a:lnTo>
                    <a:pt x="228" y="129"/>
                  </a:lnTo>
                  <a:lnTo>
                    <a:pt x="228" y="131"/>
                  </a:lnTo>
                  <a:lnTo>
                    <a:pt x="228" y="129"/>
                  </a:lnTo>
                  <a:lnTo>
                    <a:pt x="230" y="129"/>
                  </a:lnTo>
                  <a:lnTo>
                    <a:pt x="232" y="129"/>
                  </a:lnTo>
                  <a:lnTo>
                    <a:pt x="234" y="129"/>
                  </a:lnTo>
                  <a:lnTo>
                    <a:pt x="234" y="131"/>
                  </a:lnTo>
                  <a:lnTo>
                    <a:pt x="236" y="131"/>
                  </a:lnTo>
                  <a:lnTo>
                    <a:pt x="234" y="131"/>
                  </a:lnTo>
                  <a:lnTo>
                    <a:pt x="236" y="131"/>
                  </a:lnTo>
                  <a:lnTo>
                    <a:pt x="236" y="133"/>
                  </a:lnTo>
                  <a:lnTo>
                    <a:pt x="238" y="133"/>
                  </a:lnTo>
                  <a:lnTo>
                    <a:pt x="240" y="133"/>
                  </a:lnTo>
                  <a:lnTo>
                    <a:pt x="242" y="133"/>
                  </a:lnTo>
                  <a:lnTo>
                    <a:pt x="242" y="135"/>
                  </a:lnTo>
                  <a:lnTo>
                    <a:pt x="244" y="135"/>
                  </a:lnTo>
                  <a:lnTo>
                    <a:pt x="244" y="137"/>
                  </a:lnTo>
                  <a:lnTo>
                    <a:pt x="246" y="137"/>
                  </a:lnTo>
                  <a:lnTo>
                    <a:pt x="246" y="139"/>
                  </a:lnTo>
                  <a:lnTo>
                    <a:pt x="246" y="140"/>
                  </a:lnTo>
                  <a:lnTo>
                    <a:pt x="247" y="140"/>
                  </a:lnTo>
                  <a:lnTo>
                    <a:pt x="247" y="142"/>
                  </a:lnTo>
                  <a:lnTo>
                    <a:pt x="247" y="144"/>
                  </a:lnTo>
                  <a:lnTo>
                    <a:pt x="247" y="146"/>
                  </a:lnTo>
                  <a:lnTo>
                    <a:pt x="249" y="146"/>
                  </a:lnTo>
                  <a:lnTo>
                    <a:pt x="249" y="148"/>
                  </a:lnTo>
                  <a:lnTo>
                    <a:pt x="249" y="150"/>
                  </a:lnTo>
                  <a:lnTo>
                    <a:pt x="251" y="150"/>
                  </a:lnTo>
                  <a:lnTo>
                    <a:pt x="251" y="152"/>
                  </a:lnTo>
                  <a:lnTo>
                    <a:pt x="253" y="152"/>
                  </a:lnTo>
                  <a:lnTo>
                    <a:pt x="253" y="154"/>
                  </a:lnTo>
                  <a:lnTo>
                    <a:pt x="255" y="154"/>
                  </a:lnTo>
                  <a:lnTo>
                    <a:pt x="253" y="154"/>
                  </a:lnTo>
                  <a:lnTo>
                    <a:pt x="253" y="156"/>
                  </a:lnTo>
                  <a:lnTo>
                    <a:pt x="255" y="156"/>
                  </a:lnTo>
                  <a:lnTo>
                    <a:pt x="255" y="158"/>
                  </a:lnTo>
                  <a:lnTo>
                    <a:pt x="255" y="160"/>
                  </a:lnTo>
                  <a:lnTo>
                    <a:pt x="255" y="162"/>
                  </a:lnTo>
                  <a:lnTo>
                    <a:pt x="255" y="164"/>
                  </a:lnTo>
                  <a:lnTo>
                    <a:pt x="255" y="165"/>
                  </a:lnTo>
                  <a:lnTo>
                    <a:pt x="253" y="165"/>
                  </a:lnTo>
                  <a:lnTo>
                    <a:pt x="253" y="167"/>
                  </a:lnTo>
                  <a:lnTo>
                    <a:pt x="255" y="167"/>
                  </a:lnTo>
                  <a:lnTo>
                    <a:pt x="255" y="169"/>
                  </a:lnTo>
                  <a:lnTo>
                    <a:pt x="255" y="171"/>
                  </a:lnTo>
                  <a:lnTo>
                    <a:pt x="255" y="173"/>
                  </a:lnTo>
                  <a:lnTo>
                    <a:pt x="253" y="173"/>
                  </a:lnTo>
                  <a:lnTo>
                    <a:pt x="253" y="175"/>
                  </a:lnTo>
                  <a:lnTo>
                    <a:pt x="251" y="175"/>
                  </a:lnTo>
                  <a:lnTo>
                    <a:pt x="251" y="177"/>
                  </a:lnTo>
                  <a:lnTo>
                    <a:pt x="251" y="179"/>
                  </a:lnTo>
                  <a:lnTo>
                    <a:pt x="249" y="181"/>
                  </a:lnTo>
                  <a:lnTo>
                    <a:pt x="249" y="183"/>
                  </a:lnTo>
                  <a:lnTo>
                    <a:pt x="251" y="183"/>
                  </a:lnTo>
                  <a:lnTo>
                    <a:pt x="251" y="185"/>
                  </a:lnTo>
                  <a:lnTo>
                    <a:pt x="251" y="187"/>
                  </a:lnTo>
                  <a:lnTo>
                    <a:pt x="253" y="187"/>
                  </a:lnTo>
                  <a:lnTo>
                    <a:pt x="253" y="189"/>
                  </a:lnTo>
                  <a:lnTo>
                    <a:pt x="255" y="189"/>
                  </a:lnTo>
                  <a:lnTo>
                    <a:pt x="257" y="189"/>
                  </a:lnTo>
                  <a:lnTo>
                    <a:pt x="257" y="190"/>
                  </a:lnTo>
                  <a:lnTo>
                    <a:pt x="259" y="190"/>
                  </a:lnTo>
                  <a:lnTo>
                    <a:pt x="261" y="190"/>
                  </a:lnTo>
                  <a:lnTo>
                    <a:pt x="263" y="190"/>
                  </a:lnTo>
                  <a:lnTo>
                    <a:pt x="263" y="192"/>
                  </a:lnTo>
                  <a:lnTo>
                    <a:pt x="265" y="192"/>
                  </a:lnTo>
                  <a:lnTo>
                    <a:pt x="267" y="192"/>
                  </a:lnTo>
                  <a:lnTo>
                    <a:pt x="269" y="192"/>
                  </a:lnTo>
                  <a:lnTo>
                    <a:pt x="271" y="192"/>
                  </a:lnTo>
                  <a:lnTo>
                    <a:pt x="272" y="192"/>
                  </a:lnTo>
                  <a:lnTo>
                    <a:pt x="274" y="192"/>
                  </a:lnTo>
                  <a:lnTo>
                    <a:pt x="276" y="192"/>
                  </a:lnTo>
                  <a:lnTo>
                    <a:pt x="278" y="192"/>
                  </a:lnTo>
                  <a:lnTo>
                    <a:pt x="280" y="192"/>
                  </a:lnTo>
                  <a:lnTo>
                    <a:pt x="282" y="192"/>
                  </a:lnTo>
                  <a:lnTo>
                    <a:pt x="284" y="192"/>
                  </a:lnTo>
                  <a:lnTo>
                    <a:pt x="286" y="192"/>
                  </a:lnTo>
                  <a:lnTo>
                    <a:pt x="288" y="192"/>
                  </a:lnTo>
                  <a:lnTo>
                    <a:pt x="288" y="194"/>
                  </a:lnTo>
                  <a:lnTo>
                    <a:pt x="290" y="194"/>
                  </a:lnTo>
                  <a:lnTo>
                    <a:pt x="292" y="194"/>
                  </a:lnTo>
                  <a:lnTo>
                    <a:pt x="294" y="194"/>
                  </a:lnTo>
                  <a:lnTo>
                    <a:pt x="294" y="196"/>
                  </a:lnTo>
                  <a:lnTo>
                    <a:pt x="295" y="196"/>
                  </a:lnTo>
                  <a:lnTo>
                    <a:pt x="297" y="198"/>
                  </a:lnTo>
                  <a:lnTo>
                    <a:pt x="299" y="198"/>
                  </a:lnTo>
                  <a:lnTo>
                    <a:pt x="299" y="200"/>
                  </a:lnTo>
                  <a:lnTo>
                    <a:pt x="301" y="200"/>
                  </a:lnTo>
                  <a:lnTo>
                    <a:pt x="303" y="200"/>
                  </a:lnTo>
                  <a:lnTo>
                    <a:pt x="303" y="202"/>
                  </a:lnTo>
                  <a:lnTo>
                    <a:pt x="303" y="204"/>
                  </a:lnTo>
                  <a:lnTo>
                    <a:pt x="305" y="204"/>
                  </a:lnTo>
                  <a:lnTo>
                    <a:pt x="307" y="204"/>
                  </a:lnTo>
                  <a:lnTo>
                    <a:pt x="309" y="206"/>
                  </a:lnTo>
                  <a:lnTo>
                    <a:pt x="309" y="208"/>
                  </a:lnTo>
                  <a:lnTo>
                    <a:pt x="311" y="208"/>
                  </a:lnTo>
                  <a:lnTo>
                    <a:pt x="313" y="208"/>
                  </a:lnTo>
                  <a:lnTo>
                    <a:pt x="313" y="210"/>
                  </a:lnTo>
                  <a:lnTo>
                    <a:pt x="315" y="208"/>
                  </a:lnTo>
                  <a:lnTo>
                    <a:pt x="317" y="208"/>
                  </a:lnTo>
                  <a:lnTo>
                    <a:pt x="318" y="208"/>
                  </a:lnTo>
                  <a:lnTo>
                    <a:pt x="320" y="208"/>
                  </a:lnTo>
                  <a:lnTo>
                    <a:pt x="318" y="210"/>
                  </a:lnTo>
                  <a:lnTo>
                    <a:pt x="318" y="212"/>
                  </a:lnTo>
                  <a:lnTo>
                    <a:pt x="318" y="213"/>
                  </a:lnTo>
                  <a:lnTo>
                    <a:pt x="320" y="213"/>
                  </a:lnTo>
                  <a:lnTo>
                    <a:pt x="322" y="215"/>
                  </a:lnTo>
                  <a:lnTo>
                    <a:pt x="322" y="217"/>
                  </a:lnTo>
                  <a:lnTo>
                    <a:pt x="322" y="219"/>
                  </a:lnTo>
                  <a:lnTo>
                    <a:pt x="324" y="219"/>
                  </a:lnTo>
                  <a:lnTo>
                    <a:pt x="324" y="221"/>
                  </a:lnTo>
                  <a:lnTo>
                    <a:pt x="324" y="223"/>
                  </a:lnTo>
                  <a:lnTo>
                    <a:pt x="326" y="225"/>
                  </a:lnTo>
                  <a:lnTo>
                    <a:pt x="326" y="227"/>
                  </a:lnTo>
                  <a:lnTo>
                    <a:pt x="326" y="229"/>
                  </a:lnTo>
                  <a:lnTo>
                    <a:pt x="328" y="231"/>
                  </a:lnTo>
                  <a:lnTo>
                    <a:pt x="330" y="233"/>
                  </a:lnTo>
                  <a:lnTo>
                    <a:pt x="332" y="235"/>
                  </a:lnTo>
                  <a:lnTo>
                    <a:pt x="334" y="237"/>
                  </a:lnTo>
                  <a:lnTo>
                    <a:pt x="334" y="240"/>
                  </a:lnTo>
                  <a:lnTo>
                    <a:pt x="334" y="238"/>
                  </a:lnTo>
                  <a:lnTo>
                    <a:pt x="336" y="238"/>
                  </a:lnTo>
                  <a:lnTo>
                    <a:pt x="338" y="238"/>
                  </a:lnTo>
                  <a:lnTo>
                    <a:pt x="340" y="238"/>
                  </a:lnTo>
                  <a:lnTo>
                    <a:pt x="342" y="238"/>
                  </a:lnTo>
                  <a:lnTo>
                    <a:pt x="343" y="238"/>
                  </a:lnTo>
                  <a:lnTo>
                    <a:pt x="345" y="238"/>
                  </a:lnTo>
                  <a:lnTo>
                    <a:pt x="347" y="238"/>
                  </a:lnTo>
                  <a:lnTo>
                    <a:pt x="349" y="238"/>
                  </a:lnTo>
                  <a:lnTo>
                    <a:pt x="351" y="238"/>
                  </a:lnTo>
                  <a:lnTo>
                    <a:pt x="353" y="240"/>
                  </a:lnTo>
                  <a:lnTo>
                    <a:pt x="355" y="240"/>
                  </a:lnTo>
                  <a:lnTo>
                    <a:pt x="357" y="240"/>
                  </a:lnTo>
                  <a:lnTo>
                    <a:pt x="359" y="240"/>
                  </a:lnTo>
                  <a:lnTo>
                    <a:pt x="361" y="240"/>
                  </a:lnTo>
                  <a:lnTo>
                    <a:pt x="363" y="240"/>
                  </a:lnTo>
                  <a:lnTo>
                    <a:pt x="365" y="240"/>
                  </a:lnTo>
                  <a:lnTo>
                    <a:pt x="366" y="242"/>
                  </a:lnTo>
                  <a:lnTo>
                    <a:pt x="368" y="242"/>
                  </a:lnTo>
                  <a:lnTo>
                    <a:pt x="370" y="242"/>
                  </a:lnTo>
                  <a:lnTo>
                    <a:pt x="372" y="242"/>
                  </a:lnTo>
                  <a:lnTo>
                    <a:pt x="374" y="242"/>
                  </a:lnTo>
                  <a:lnTo>
                    <a:pt x="376" y="242"/>
                  </a:lnTo>
                  <a:lnTo>
                    <a:pt x="378" y="242"/>
                  </a:lnTo>
                  <a:lnTo>
                    <a:pt x="380" y="242"/>
                  </a:lnTo>
                  <a:lnTo>
                    <a:pt x="382" y="242"/>
                  </a:lnTo>
                  <a:lnTo>
                    <a:pt x="384" y="242"/>
                  </a:lnTo>
                  <a:lnTo>
                    <a:pt x="386" y="240"/>
                  </a:lnTo>
                  <a:lnTo>
                    <a:pt x="388" y="240"/>
                  </a:lnTo>
                  <a:lnTo>
                    <a:pt x="390" y="240"/>
                  </a:lnTo>
                  <a:lnTo>
                    <a:pt x="391" y="240"/>
                  </a:lnTo>
                  <a:lnTo>
                    <a:pt x="393" y="240"/>
                  </a:lnTo>
                  <a:lnTo>
                    <a:pt x="395" y="240"/>
                  </a:lnTo>
                  <a:lnTo>
                    <a:pt x="397" y="240"/>
                  </a:lnTo>
                  <a:lnTo>
                    <a:pt x="399" y="240"/>
                  </a:lnTo>
                  <a:lnTo>
                    <a:pt x="401" y="240"/>
                  </a:lnTo>
                  <a:lnTo>
                    <a:pt x="403" y="242"/>
                  </a:lnTo>
                  <a:lnTo>
                    <a:pt x="405" y="242"/>
                  </a:lnTo>
                  <a:lnTo>
                    <a:pt x="407" y="242"/>
                  </a:lnTo>
                  <a:lnTo>
                    <a:pt x="409" y="242"/>
                  </a:lnTo>
                  <a:lnTo>
                    <a:pt x="409" y="244"/>
                  </a:lnTo>
                  <a:lnTo>
                    <a:pt x="413" y="244"/>
                  </a:lnTo>
                  <a:lnTo>
                    <a:pt x="414" y="246"/>
                  </a:lnTo>
                  <a:lnTo>
                    <a:pt x="414" y="248"/>
                  </a:lnTo>
                  <a:lnTo>
                    <a:pt x="416" y="248"/>
                  </a:lnTo>
                  <a:lnTo>
                    <a:pt x="416" y="250"/>
                  </a:lnTo>
                  <a:lnTo>
                    <a:pt x="418" y="250"/>
                  </a:lnTo>
                  <a:lnTo>
                    <a:pt x="420" y="250"/>
                  </a:lnTo>
                  <a:lnTo>
                    <a:pt x="422" y="250"/>
                  </a:lnTo>
                  <a:lnTo>
                    <a:pt x="422" y="252"/>
                  </a:lnTo>
                  <a:lnTo>
                    <a:pt x="422" y="250"/>
                  </a:lnTo>
                  <a:lnTo>
                    <a:pt x="424" y="250"/>
                  </a:lnTo>
                  <a:lnTo>
                    <a:pt x="426" y="250"/>
                  </a:lnTo>
                  <a:lnTo>
                    <a:pt x="426" y="252"/>
                  </a:lnTo>
                  <a:lnTo>
                    <a:pt x="428" y="252"/>
                  </a:lnTo>
                  <a:lnTo>
                    <a:pt x="430" y="252"/>
                  </a:lnTo>
                  <a:lnTo>
                    <a:pt x="430" y="254"/>
                  </a:lnTo>
                  <a:lnTo>
                    <a:pt x="432" y="254"/>
                  </a:lnTo>
                  <a:lnTo>
                    <a:pt x="434" y="256"/>
                  </a:lnTo>
                  <a:lnTo>
                    <a:pt x="436" y="256"/>
                  </a:lnTo>
                  <a:lnTo>
                    <a:pt x="437" y="256"/>
                  </a:lnTo>
                  <a:lnTo>
                    <a:pt x="439" y="258"/>
                  </a:lnTo>
                  <a:lnTo>
                    <a:pt x="441" y="258"/>
                  </a:lnTo>
                  <a:lnTo>
                    <a:pt x="443" y="258"/>
                  </a:lnTo>
                  <a:lnTo>
                    <a:pt x="445" y="258"/>
                  </a:lnTo>
                  <a:lnTo>
                    <a:pt x="447" y="258"/>
                  </a:lnTo>
                  <a:lnTo>
                    <a:pt x="449" y="258"/>
                  </a:lnTo>
                  <a:lnTo>
                    <a:pt x="451" y="258"/>
                  </a:lnTo>
                  <a:lnTo>
                    <a:pt x="451" y="256"/>
                  </a:lnTo>
                  <a:lnTo>
                    <a:pt x="453" y="256"/>
                  </a:lnTo>
                  <a:lnTo>
                    <a:pt x="453" y="258"/>
                  </a:lnTo>
                  <a:lnTo>
                    <a:pt x="453" y="260"/>
                  </a:lnTo>
                  <a:lnTo>
                    <a:pt x="453" y="261"/>
                  </a:lnTo>
                  <a:lnTo>
                    <a:pt x="455" y="261"/>
                  </a:lnTo>
                  <a:lnTo>
                    <a:pt x="457" y="261"/>
                  </a:lnTo>
                  <a:lnTo>
                    <a:pt x="459" y="261"/>
                  </a:lnTo>
                  <a:lnTo>
                    <a:pt x="461" y="261"/>
                  </a:lnTo>
                  <a:lnTo>
                    <a:pt x="462" y="260"/>
                  </a:lnTo>
                  <a:lnTo>
                    <a:pt x="464" y="260"/>
                  </a:lnTo>
                  <a:lnTo>
                    <a:pt x="464" y="258"/>
                  </a:lnTo>
                  <a:lnTo>
                    <a:pt x="466" y="258"/>
                  </a:lnTo>
                  <a:lnTo>
                    <a:pt x="468" y="258"/>
                  </a:lnTo>
                  <a:lnTo>
                    <a:pt x="468" y="256"/>
                  </a:lnTo>
                  <a:lnTo>
                    <a:pt x="470" y="256"/>
                  </a:lnTo>
                  <a:lnTo>
                    <a:pt x="470" y="254"/>
                  </a:lnTo>
                  <a:lnTo>
                    <a:pt x="472" y="254"/>
                  </a:lnTo>
                  <a:lnTo>
                    <a:pt x="474" y="254"/>
                  </a:lnTo>
                  <a:lnTo>
                    <a:pt x="476" y="252"/>
                  </a:lnTo>
                  <a:lnTo>
                    <a:pt x="478" y="252"/>
                  </a:lnTo>
                  <a:lnTo>
                    <a:pt x="480" y="250"/>
                  </a:lnTo>
                  <a:lnTo>
                    <a:pt x="482" y="250"/>
                  </a:lnTo>
                  <a:lnTo>
                    <a:pt x="484" y="250"/>
                  </a:lnTo>
                  <a:lnTo>
                    <a:pt x="484" y="248"/>
                  </a:lnTo>
                  <a:lnTo>
                    <a:pt x="485" y="248"/>
                  </a:lnTo>
                  <a:lnTo>
                    <a:pt x="487" y="248"/>
                  </a:lnTo>
                  <a:lnTo>
                    <a:pt x="489" y="248"/>
                  </a:lnTo>
                  <a:lnTo>
                    <a:pt x="491" y="248"/>
                  </a:lnTo>
                  <a:lnTo>
                    <a:pt x="491" y="246"/>
                  </a:lnTo>
                  <a:lnTo>
                    <a:pt x="493" y="246"/>
                  </a:lnTo>
                  <a:lnTo>
                    <a:pt x="495" y="246"/>
                  </a:lnTo>
                  <a:lnTo>
                    <a:pt x="495" y="244"/>
                  </a:lnTo>
                  <a:lnTo>
                    <a:pt x="497" y="244"/>
                  </a:lnTo>
                  <a:lnTo>
                    <a:pt x="497" y="246"/>
                  </a:lnTo>
                  <a:lnTo>
                    <a:pt x="499" y="246"/>
                  </a:lnTo>
                  <a:lnTo>
                    <a:pt x="501" y="246"/>
                  </a:lnTo>
                  <a:lnTo>
                    <a:pt x="503" y="246"/>
                  </a:lnTo>
                  <a:lnTo>
                    <a:pt x="505" y="246"/>
                  </a:lnTo>
                  <a:lnTo>
                    <a:pt x="505" y="244"/>
                  </a:lnTo>
                  <a:lnTo>
                    <a:pt x="507" y="244"/>
                  </a:lnTo>
                  <a:lnTo>
                    <a:pt x="509" y="244"/>
                  </a:lnTo>
                  <a:lnTo>
                    <a:pt x="509" y="246"/>
                  </a:lnTo>
                  <a:lnTo>
                    <a:pt x="509" y="244"/>
                  </a:lnTo>
                  <a:lnTo>
                    <a:pt x="510" y="244"/>
                  </a:lnTo>
                  <a:lnTo>
                    <a:pt x="512" y="244"/>
                  </a:lnTo>
                  <a:lnTo>
                    <a:pt x="512" y="246"/>
                  </a:lnTo>
                  <a:lnTo>
                    <a:pt x="514" y="246"/>
                  </a:lnTo>
                  <a:lnTo>
                    <a:pt x="516" y="246"/>
                  </a:lnTo>
                  <a:lnTo>
                    <a:pt x="518" y="246"/>
                  </a:lnTo>
                  <a:lnTo>
                    <a:pt x="518" y="244"/>
                  </a:lnTo>
                  <a:lnTo>
                    <a:pt x="520" y="244"/>
                  </a:lnTo>
                  <a:lnTo>
                    <a:pt x="522" y="244"/>
                  </a:lnTo>
                  <a:lnTo>
                    <a:pt x="522" y="246"/>
                  </a:lnTo>
                  <a:lnTo>
                    <a:pt x="522" y="244"/>
                  </a:lnTo>
                  <a:lnTo>
                    <a:pt x="524" y="244"/>
                  </a:lnTo>
                  <a:lnTo>
                    <a:pt x="526" y="244"/>
                  </a:lnTo>
                  <a:lnTo>
                    <a:pt x="528" y="244"/>
                  </a:lnTo>
                  <a:lnTo>
                    <a:pt x="528" y="242"/>
                  </a:lnTo>
                  <a:lnTo>
                    <a:pt x="530" y="242"/>
                  </a:lnTo>
                  <a:lnTo>
                    <a:pt x="532" y="242"/>
                  </a:lnTo>
                  <a:lnTo>
                    <a:pt x="532" y="240"/>
                  </a:lnTo>
                  <a:lnTo>
                    <a:pt x="533" y="240"/>
                  </a:lnTo>
                  <a:lnTo>
                    <a:pt x="535" y="240"/>
                  </a:lnTo>
                  <a:lnTo>
                    <a:pt x="537" y="238"/>
                  </a:lnTo>
                  <a:lnTo>
                    <a:pt x="539" y="238"/>
                  </a:lnTo>
                  <a:lnTo>
                    <a:pt x="539" y="237"/>
                  </a:lnTo>
                  <a:lnTo>
                    <a:pt x="541" y="237"/>
                  </a:lnTo>
                  <a:lnTo>
                    <a:pt x="541" y="235"/>
                  </a:lnTo>
                  <a:lnTo>
                    <a:pt x="543" y="235"/>
                  </a:lnTo>
                  <a:lnTo>
                    <a:pt x="543" y="233"/>
                  </a:lnTo>
                  <a:lnTo>
                    <a:pt x="545" y="231"/>
                  </a:lnTo>
                  <a:lnTo>
                    <a:pt x="547" y="227"/>
                  </a:lnTo>
                  <a:lnTo>
                    <a:pt x="549" y="227"/>
                  </a:lnTo>
                  <a:lnTo>
                    <a:pt x="551" y="227"/>
                  </a:lnTo>
                  <a:lnTo>
                    <a:pt x="551" y="225"/>
                  </a:lnTo>
                  <a:lnTo>
                    <a:pt x="553" y="225"/>
                  </a:lnTo>
                  <a:lnTo>
                    <a:pt x="555" y="225"/>
                  </a:lnTo>
                  <a:lnTo>
                    <a:pt x="556" y="225"/>
                  </a:lnTo>
                  <a:lnTo>
                    <a:pt x="556" y="223"/>
                  </a:lnTo>
                  <a:lnTo>
                    <a:pt x="558" y="223"/>
                  </a:lnTo>
                  <a:lnTo>
                    <a:pt x="558" y="221"/>
                  </a:lnTo>
                  <a:lnTo>
                    <a:pt x="560" y="221"/>
                  </a:lnTo>
                  <a:lnTo>
                    <a:pt x="560" y="219"/>
                  </a:lnTo>
                  <a:lnTo>
                    <a:pt x="562" y="219"/>
                  </a:lnTo>
                  <a:lnTo>
                    <a:pt x="562" y="217"/>
                  </a:lnTo>
                  <a:lnTo>
                    <a:pt x="560" y="217"/>
                  </a:lnTo>
                  <a:lnTo>
                    <a:pt x="560" y="215"/>
                  </a:lnTo>
                  <a:lnTo>
                    <a:pt x="560" y="213"/>
                  </a:lnTo>
                  <a:lnTo>
                    <a:pt x="558" y="213"/>
                  </a:lnTo>
                  <a:lnTo>
                    <a:pt x="556" y="213"/>
                  </a:lnTo>
                  <a:lnTo>
                    <a:pt x="556" y="212"/>
                  </a:lnTo>
                  <a:lnTo>
                    <a:pt x="556" y="210"/>
                  </a:lnTo>
                  <a:lnTo>
                    <a:pt x="555" y="210"/>
                  </a:lnTo>
                  <a:lnTo>
                    <a:pt x="555" y="208"/>
                  </a:lnTo>
                  <a:lnTo>
                    <a:pt x="553" y="208"/>
                  </a:lnTo>
                  <a:lnTo>
                    <a:pt x="553" y="206"/>
                  </a:lnTo>
                  <a:lnTo>
                    <a:pt x="555" y="206"/>
                  </a:lnTo>
                  <a:lnTo>
                    <a:pt x="555" y="204"/>
                  </a:lnTo>
                  <a:lnTo>
                    <a:pt x="555" y="202"/>
                  </a:lnTo>
                  <a:lnTo>
                    <a:pt x="556" y="202"/>
                  </a:lnTo>
                  <a:lnTo>
                    <a:pt x="556" y="200"/>
                  </a:lnTo>
                  <a:lnTo>
                    <a:pt x="556" y="198"/>
                  </a:lnTo>
                  <a:lnTo>
                    <a:pt x="556" y="196"/>
                  </a:lnTo>
                  <a:lnTo>
                    <a:pt x="558" y="196"/>
                  </a:lnTo>
                  <a:lnTo>
                    <a:pt x="558" y="194"/>
                  </a:lnTo>
                  <a:lnTo>
                    <a:pt x="558" y="192"/>
                  </a:lnTo>
                  <a:lnTo>
                    <a:pt x="560" y="192"/>
                  </a:lnTo>
                  <a:lnTo>
                    <a:pt x="562" y="192"/>
                  </a:lnTo>
                  <a:lnTo>
                    <a:pt x="562" y="190"/>
                  </a:lnTo>
                  <a:lnTo>
                    <a:pt x="562" y="192"/>
                  </a:lnTo>
                  <a:lnTo>
                    <a:pt x="564" y="192"/>
                  </a:lnTo>
                  <a:lnTo>
                    <a:pt x="566" y="192"/>
                  </a:lnTo>
                  <a:lnTo>
                    <a:pt x="568" y="192"/>
                  </a:lnTo>
                  <a:lnTo>
                    <a:pt x="570" y="192"/>
                  </a:lnTo>
                  <a:lnTo>
                    <a:pt x="570" y="194"/>
                  </a:lnTo>
                  <a:lnTo>
                    <a:pt x="572" y="194"/>
                  </a:lnTo>
                  <a:lnTo>
                    <a:pt x="572" y="196"/>
                  </a:lnTo>
                  <a:lnTo>
                    <a:pt x="574" y="196"/>
                  </a:lnTo>
                  <a:lnTo>
                    <a:pt x="576" y="196"/>
                  </a:lnTo>
                  <a:lnTo>
                    <a:pt x="578" y="196"/>
                  </a:lnTo>
                  <a:lnTo>
                    <a:pt x="578" y="198"/>
                  </a:lnTo>
                  <a:lnTo>
                    <a:pt x="580" y="198"/>
                  </a:lnTo>
                  <a:lnTo>
                    <a:pt x="581" y="198"/>
                  </a:lnTo>
                  <a:lnTo>
                    <a:pt x="583" y="198"/>
                  </a:lnTo>
                  <a:lnTo>
                    <a:pt x="585" y="198"/>
                  </a:lnTo>
                  <a:lnTo>
                    <a:pt x="587" y="198"/>
                  </a:lnTo>
                  <a:lnTo>
                    <a:pt x="587" y="196"/>
                  </a:lnTo>
                  <a:lnTo>
                    <a:pt x="589" y="196"/>
                  </a:lnTo>
                  <a:lnTo>
                    <a:pt x="589" y="194"/>
                  </a:lnTo>
                  <a:lnTo>
                    <a:pt x="591" y="194"/>
                  </a:lnTo>
                  <a:lnTo>
                    <a:pt x="593" y="194"/>
                  </a:lnTo>
                  <a:lnTo>
                    <a:pt x="593" y="192"/>
                  </a:lnTo>
                  <a:lnTo>
                    <a:pt x="595" y="192"/>
                  </a:lnTo>
                  <a:lnTo>
                    <a:pt x="595" y="190"/>
                  </a:lnTo>
                  <a:lnTo>
                    <a:pt x="597" y="190"/>
                  </a:lnTo>
                  <a:lnTo>
                    <a:pt x="597" y="189"/>
                  </a:lnTo>
                  <a:lnTo>
                    <a:pt x="599" y="189"/>
                  </a:lnTo>
                  <a:lnTo>
                    <a:pt x="599" y="187"/>
                  </a:lnTo>
                  <a:lnTo>
                    <a:pt x="599" y="185"/>
                  </a:lnTo>
                  <a:lnTo>
                    <a:pt x="601" y="185"/>
                  </a:lnTo>
                  <a:lnTo>
                    <a:pt x="603" y="185"/>
                  </a:lnTo>
                  <a:lnTo>
                    <a:pt x="604" y="185"/>
                  </a:lnTo>
                  <a:lnTo>
                    <a:pt x="606" y="185"/>
                  </a:lnTo>
                  <a:lnTo>
                    <a:pt x="608" y="185"/>
                  </a:lnTo>
                  <a:lnTo>
                    <a:pt x="610" y="185"/>
                  </a:lnTo>
                  <a:lnTo>
                    <a:pt x="612" y="185"/>
                  </a:lnTo>
                  <a:lnTo>
                    <a:pt x="614" y="185"/>
                  </a:lnTo>
                  <a:lnTo>
                    <a:pt x="616" y="185"/>
                  </a:lnTo>
                  <a:lnTo>
                    <a:pt x="616" y="183"/>
                  </a:lnTo>
                  <a:lnTo>
                    <a:pt x="618" y="183"/>
                  </a:lnTo>
                  <a:lnTo>
                    <a:pt x="618" y="181"/>
                  </a:lnTo>
                  <a:lnTo>
                    <a:pt x="620" y="181"/>
                  </a:lnTo>
                  <a:lnTo>
                    <a:pt x="620" y="179"/>
                  </a:lnTo>
                  <a:lnTo>
                    <a:pt x="622" y="179"/>
                  </a:lnTo>
                  <a:lnTo>
                    <a:pt x="624" y="179"/>
                  </a:lnTo>
                  <a:lnTo>
                    <a:pt x="624" y="177"/>
                  </a:lnTo>
                  <a:lnTo>
                    <a:pt x="626" y="177"/>
                  </a:lnTo>
                  <a:lnTo>
                    <a:pt x="624" y="177"/>
                  </a:lnTo>
                  <a:lnTo>
                    <a:pt x="624" y="175"/>
                  </a:lnTo>
                  <a:lnTo>
                    <a:pt x="626" y="175"/>
                  </a:lnTo>
                  <a:lnTo>
                    <a:pt x="624" y="175"/>
                  </a:lnTo>
                  <a:lnTo>
                    <a:pt x="624" y="173"/>
                  </a:lnTo>
                  <a:lnTo>
                    <a:pt x="626" y="173"/>
                  </a:lnTo>
                  <a:lnTo>
                    <a:pt x="626" y="171"/>
                  </a:lnTo>
                  <a:lnTo>
                    <a:pt x="626" y="169"/>
                  </a:lnTo>
                  <a:lnTo>
                    <a:pt x="627" y="169"/>
                  </a:lnTo>
                  <a:lnTo>
                    <a:pt x="627" y="167"/>
                  </a:lnTo>
                  <a:lnTo>
                    <a:pt x="629" y="167"/>
                  </a:lnTo>
                  <a:lnTo>
                    <a:pt x="629" y="165"/>
                  </a:lnTo>
                  <a:lnTo>
                    <a:pt x="631" y="165"/>
                  </a:lnTo>
                  <a:lnTo>
                    <a:pt x="633" y="165"/>
                  </a:lnTo>
                  <a:lnTo>
                    <a:pt x="633" y="164"/>
                  </a:lnTo>
                  <a:lnTo>
                    <a:pt x="633" y="165"/>
                  </a:lnTo>
                  <a:lnTo>
                    <a:pt x="633" y="164"/>
                  </a:lnTo>
                  <a:lnTo>
                    <a:pt x="633" y="165"/>
                  </a:lnTo>
                  <a:lnTo>
                    <a:pt x="635" y="165"/>
                  </a:lnTo>
                  <a:lnTo>
                    <a:pt x="637" y="165"/>
                  </a:lnTo>
                  <a:lnTo>
                    <a:pt x="639" y="165"/>
                  </a:lnTo>
                  <a:lnTo>
                    <a:pt x="641" y="165"/>
                  </a:lnTo>
                  <a:lnTo>
                    <a:pt x="641" y="164"/>
                  </a:lnTo>
                  <a:lnTo>
                    <a:pt x="641" y="162"/>
                  </a:lnTo>
                  <a:lnTo>
                    <a:pt x="641" y="160"/>
                  </a:lnTo>
                  <a:lnTo>
                    <a:pt x="643" y="160"/>
                  </a:lnTo>
                  <a:lnTo>
                    <a:pt x="645" y="160"/>
                  </a:lnTo>
                  <a:lnTo>
                    <a:pt x="645" y="162"/>
                  </a:lnTo>
                  <a:lnTo>
                    <a:pt x="647" y="162"/>
                  </a:lnTo>
                  <a:lnTo>
                    <a:pt x="649" y="162"/>
                  </a:lnTo>
                  <a:lnTo>
                    <a:pt x="649" y="160"/>
                  </a:lnTo>
                  <a:lnTo>
                    <a:pt x="651" y="160"/>
                  </a:lnTo>
                  <a:lnTo>
                    <a:pt x="649" y="160"/>
                  </a:lnTo>
                  <a:lnTo>
                    <a:pt x="651" y="160"/>
                  </a:lnTo>
                  <a:lnTo>
                    <a:pt x="651" y="158"/>
                  </a:lnTo>
                  <a:lnTo>
                    <a:pt x="652" y="158"/>
                  </a:lnTo>
                  <a:lnTo>
                    <a:pt x="654" y="158"/>
                  </a:lnTo>
                  <a:lnTo>
                    <a:pt x="654" y="156"/>
                  </a:lnTo>
                  <a:lnTo>
                    <a:pt x="654" y="158"/>
                  </a:lnTo>
                  <a:lnTo>
                    <a:pt x="656" y="158"/>
                  </a:lnTo>
                  <a:lnTo>
                    <a:pt x="658" y="158"/>
                  </a:lnTo>
                  <a:lnTo>
                    <a:pt x="660" y="158"/>
                  </a:lnTo>
                  <a:lnTo>
                    <a:pt x="662" y="158"/>
                  </a:lnTo>
                  <a:lnTo>
                    <a:pt x="662" y="156"/>
                  </a:lnTo>
                  <a:lnTo>
                    <a:pt x="664" y="156"/>
                  </a:lnTo>
                  <a:lnTo>
                    <a:pt x="664" y="158"/>
                  </a:lnTo>
                  <a:lnTo>
                    <a:pt x="662" y="158"/>
                  </a:lnTo>
                  <a:lnTo>
                    <a:pt x="664" y="158"/>
                  </a:lnTo>
                  <a:lnTo>
                    <a:pt x="664" y="156"/>
                  </a:lnTo>
                  <a:lnTo>
                    <a:pt x="664" y="158"/>
                  </a:lnTo>
                  <a:lnTo>
                    <a:pt x="666" y="158"/>
                  </a:lnTo>
                  <a:lnTo>
                    <a:pt x="668" y="158"/>
                  </a:lnTo>
                  <a:lnTo>
                    <a:pt x="668" y="160"/>
                  </a:lnTo>
                  <a:lnTo>
                    <a:pt x="668" y="158"/>
                  </a:lnTo>
                  <a:lnTo>
                    <a:pt x="668" y="160"/>
                  </a:lnTo>
                  <a:lnTo>
                    <a:pt x="670" y="160"/>
                  </a:lnTo>
                  <a:lnTo>
                    <a:pt x="672" y="160"/>
                  </a:lnTo>
                  <a:lnTo>
                    <a:pt x="674" y="160"/>
                  </a:lnTo>
                  <a:lnTo>
                    <a:pt x="675" y="160"/>
                  </a:lnTo>
                  <a:lnTo>
                    <a:pt x="675" y="158"/>
                  </a:lnTo>
                  <a:lnTo>
                    <a:pt x="677" y="158"/>
                  </a:lnTo>
                  <a:lnTo>
                    <a:pt x="677" y="156"/>
                  </a:lnTo>
                  <a:lnTo>
                    <a:pt x="677" y="154"/>
                  </a:lnTo>
                  <a:lnTo>
                    <a:pt x="677" y="152"/>
                  </a:lnTo>
                  <a:lnTo>
                    <a:pt x="675" y="152"/>
                  </a:lnTo>
                  <a:lnTo>
                    <a:pt x="675" y="150"/>
                  </a:lnTo>
                  <a:lnTo>
                    <a:pt x="675" y="148"/>
                  </a:lnTo>
                  <a:lnTo>
                    <a:pt x="675" y="146"/>
                  </a:lnTo>
                  <a:lnTo>
                    <a:pt x="674" y="146"/>
                  </a:lnTo>
                  <a:lnTo>
                    <a:pt x="672" y="146"/>
                  </a:lnTo>
                  <a:lnTo>
                    <a:pt x="674" y="146"/>
                  </a:lnTo>
                  <a:lnTo>
                    <a:pt x="672" y="146"/>
                  </a:lnTo>
                  <a:lnTo>
                    <a:pt x="674" y="146"/>
                  </a:lnTo>
                  <a:lnTo>
                    <a:pt x="674" y="144"/>
                  </a:lnTo>
                  <a:lnTo>
                    <a:pt x="672" y="144"/>
                  </a:lnTo>
                  <a:lnTo>
                    <a:pt x="674" y="144"/>
                  </a:lnTo>
                  <a:lnTo>
                    <a:pt x="672" y="144"/>
                  </a:lnTo>
                  <a:lnTo>
                    <a:pt x="674" y="144"/>
                  </a:lnTo>
                  <a:lnTo>
                    <a:pt x="672" y="144"/>
                  </a:lnTo>
                  <a:lnTo>
                    <a:pt x="672" y="142"/>
                  </a:lnTo>
                  <a:lnTo>
                    <a:pt x="670" y="142"/>
                  </a:lnTo>
                  <a:lnTo>
                    <a:pt x="670" y="140"/>
                  </a:lnTo>
                  <a:lnTo>
                    <a:pt x="668" y="140"/>
                  </a:lnTo>
                  <a:lnTo>
                    <a:pt x="666" y="139"/>
                  </a:lnTo>
                  <a:lnTo>
                    <a:pt x="666" y="137"/>
                  </a:lnTo>
                  <a:lnTo>
                    <a:pt x="664" y="137"/>
                  </a:lnTo>
                  <a:lnTo>
                    <a:pt x="664" y="135"/>
                  </a:lnTo>
                  <a:lnTo>
                    <a:pt x="662" y="135"/>
                  </a:lnTo>
                  <a:lnTo>
                    <a:pt x="660" y="135"/>
                  </a:lnTo>
                  <a:lnTo>
                    <a:pt x="660" y="133"/>
                  </a:lnTo>
                  <a:lnTo>
                    <a:pt x="660" y="131"/>
                  </a:lnTo>
                  <a:lnTo>
                    <a:pt x="658" y="131"/>
                  </a:lnTo>
                  <a:lnTo>
                    <a:pt x="658" y="129"/>
                  </a:lnTo>
                  <a:lnTo>
                    <a:pt x="656" y="129"/>
                  </a:lnTo>
                  <a:lnTo>
                    <a:pt x="654" y="129"/>
                  </a:lnTo>
                  <a:lnTo>
                    <a:pt x="652" y="129"/>
                  </a:lnTo>
                  <a:lnTo>
                    <a:pt x="651" y="129"/>
                  </a:lnTo>
                  <a:lnTo>
                    <a:pt x="649" y="129"/>
                  </a:lnTo>
                  <a:lnTo>
                    <a:pt x="651" y="129"/>
                  </a:lnTo>
                  <a:lnTo>
                    <a:pt x="649" y="129"/>
                  </a:lnTo>
                  <a:lnTo>
                    <a:pt x="647" y="129"/>
                  </a:lnTo>
                  <a:lnTo>
                    <a:pt x="647" y="131"/>
                  </a:lnTo>
                  <a:lnTo>
                    <a:pt x="645" y="131"/>
                  </a:lnTo>
                  <a:lnTo>
                    <a:pt x="645" y="133"/>
                  </a:lnTo>
                  <a:lnTo>
                    <a:pt x="643" y="133"/>
                  </a:lnTo>
                  <a:lnTo>
                    <a:pt x="643" y="135"/>
                  </a:lnTo>
                  <a:lnTo>
                    <a:pt x="641" y="135"/>
                  </a:lnTo>
                  <a:lnTo>
                    <a:pt x="641" y="137"/>
                  </a:lnTo>
                  <a:lnTo>
                    <a:pt x="639" y="137"/>
                  </a:lnTo>
                  <a:lnTo>
                    <a:pt x="639" y="135"/>
                  </a:lnTo>
                  <a:lnTo>
                    <a:pt x="637" y="135"/>
                  </a:lnTo>
                  <a:lnTo>
                    <a:pt x="637" y="133"/>
                  </a:lnTo>
                  <a:lnTo>
                    <a:pt x="635" y="133"/>
                  </a:lnTo>
                  <a:lnTo>
                    <a:pt x="633" y="133"/>
                  </a:lnTo>
                  <a:lnTo>
                    <a:pt x="633" y="131"/>
                  </a:lnTo>
                  <a:lnTo>
                    <a:pt x="631" y="131"/>
                  </a:lnTo>
                  <a:lnTo>
                    <a:pt x="629" y="133"/>
                  </a:lnTo>
                  <a:lnTo>
                    <a:pt x="627" y="133"/>
                  </a:lnTo>
                  <a:lnTo>
                    <a:pt x="626" y="133"/>
                  </a:lnTo>
                  <a:lnTo>
                    <a:pt x="624" y="133"/>
                  </a:lnTo>
                  <a:lnTo>
                    <a:pt x="622" y="133"/>
                  </a:lnTo>
                  <a:lnTo>
                    <a:pt x="622" y="135"/>
                  </a:lnTo>
                  <a:lnTo>
                    <a:pt x="620" y="135"/>
                  </a:lnTo>
                  <a:lnTo>
                    <a:pt x="620" y="137"/>
                  </a:lnTo>
                  <a:lnTo>
                    <a:pt x="618" y="135"/>
                  </a:lnTo>
                  <a:lnTo>
                    <a:pt x="616" y="133"/>
                  </a:lnTo>
                  <a:lnTo>
                    <a:pt x="614" y="133"/>
                  </a:lnTo>
                  <a:lnTo>
                    <a:pt x="614" y="131"/>
                  </a:lnTo>
                  <a:lnTo>
                    <a:pt x="614" y="129"/>
                  </a:lnTo>
                  <a:lnTo>
                    <a:pt x="614" y="127"/>
                  </a:lnTo>
                  <a:lnTo>
                    <a:pt x="614" y="125"/>
                  </a:lnTo>
                  <a:lnTo>
                    <a:pt x="616" y="125"/>
                  </a:lnTo>
                  <a:lnTo>
                    <a:pt x="618" y="123"/>
                  </a:lnTo>
                  <a:lnTo>
                    <a:pt x="618" y="121"/>
                  </a:lnTo>
                  <a:lnTo>
                    <a:pt x="618" y="119"/>
                  </a:lnTo>
                  <a:lnTo>
                    <a:pt x="618" y="117"/>
                  </a:lnTo>
                  <a:lnTo>
                    <a:pt x="618" y="116"/>
                  </a:lnTo>
                  <a:lnTo>
                    <a:pt x="620" y="116"/>
                  </a:lnTo>
                  <a:lnTo>
                    <a:pt x="620" y="114"/>
                  </a:lnTo>
                  <a:lnTo>
                    <a:pt x="622" y="112"/>
                  </a:lnTo>
                  <a:lnTo>
                    <a:pt x="622" y="110"/>
                  </a:lnTo>
                  <a:lnTo>
                    <a:pt x="622" y="108"/>
                  </a:lnTo>
                  <a:lnTo>
                    <a:pt x="622" y="106"/>
                  </a:lnTo>
                  <a:lnTo>
                    <a:pt x="624" y="104"/>
                  </a:lnTo>
                  <a:lnTo>
                    <a:pt x="624" y="102"/>
                  </a:lnTo>
                  <a:lnTo>
                    <a:pt x="626" y="102"/>
                  </a:lnTo>
                  <a:lnTo>
                    <a:pt x="626" y="100"/>
                  </a:lnTo>
                  <a:lnTo>
                    <a:pt x="627" y="98"/>
                  </a:lnTo>
                  <a:lnTo>
                    <a:pt x="627" y="96"/>
                  </a:lnTo>
                  <a:lnTo>
                    <a:pt x="627" y="94"/>
                  </a:lnTo>
                  <a:lnTo>
                    <a:pt x="629" y="92"/>
                  </a:lnTo>
                  <a:lnTo>
                    <a:pt x="629" y="91"/>
                  </a:lnTo>
                  <a:lnTo>
                    <a:pt x="631" y="89"/>
                  </a:lnTo>
                  <a:lnTo>
                    <a:pt x="633" y="91"/>
                  </a:lnTo>
                  <a:lnTo>
                    <a:pt x="635" y="91"/>
                  </a:lnTo>
                  <a:lnTo>
                    <a:pt x="635" y="92"/>
                  </a:lnTo>
                  <a:lnTo>
                    <a:pt x="637" y="92"/>
                  </a:lnTo>
                  <a:lnTo>
                    <a:pt x="639" y="92"/>
                  </a:lnTo>
                  <a:lnTo>
                    <a:pt x="641" y="92"/>
                  </a:lnTo>
                  <a:lnTo>
                    <a:pt x="643" y="92"/>
                  </a:lnTo>
                  <a:lnTo>
                    <a:pt x="643" y="94"/>
                  </a:lnTo>
                  <a:lnTo>
                    <a:pt x="645" y="94"/>
                  </a:lnTo>
                  <a:lnTo>
                    <a:pt x="647" y="96"/>
                  </a:lnTo>
                  <a:lnTo>
                    <a:pt x="647" y="94"/>
                  </a:lnTo>
                  <a:lnTo>
                    <a:pt x="649" y="94"/>
                  </a:lnTo>
                  <a:lnTo>
                    <a:pt x="649" y="92"/>
                  </a:lnTo>
                  <a:lnTo>
                    <a:pt x="651" y="92"/>
                  </a:lnTo>
                  <a:lnTo>
                    <a:pt x="651" y="94"/>
                  </a:lnTo>
                  <a:lnTo>
                    <a:pt x="651" y="92"/>
                  </a:lnTo>
                  <a:lnTo>
                    <a:pt x="652" y="92"/>
                  </a:lnTo>
                  <a:lnTo>
                    <a:pt x="652" y="91"/>
                  </a:lnTo>
                  <a:lnTo>
                    <a:pt x="654" y="91"/>
                  </a:lnTo>
                  <a:lnTo>
                    <a:pt x="656" y="91"/>
                  </a:lnTo>
                  <a:lnTo>
                    <a:pt x="654" y="91"/>
                  </a:lnTo>
                  <a:lnTo>
                    <a:pt x="656" y="89"/>
                  </a:lnTo>
                  <a:lnTo>
                    <a:pt x="656" y="87"/>
                  </a:lnTo>
                  <a:lnTo>
                    <a:pt x="658" y="87"/>
                  </a:lnTo>
                  <a:lnTo>
                    <a:pt x="660" y="87"/>
                  </a:lnTo>
                  <a:lnTo>
                    <a:pt x="662" y="87"/>
                  </a:lnTo>
                  <a:lnTo>
                    <a:pt x="662" y="85"/>
                  </a:lnTo>
                  <a:lnTo>
                    <a:pt x="664" y="85"/>
                  </a:lnTo>
                  <a:lnTo>
                    <a:pt x="666" y="85"/>
                  </a:lnTo>
                  <a:lnTo>
                    <a:pt x="668" y="85"/>
                  </a:lnTo>
                  <a:lnTo>
                    <a:pt x="668" y="83"/>
                  </a:lnTo>
                  <a:lnTo>
                    <a:pt x="668" y="81"/>
                  </a:lnTo>
                  <a:lnTo>
                    <a:pt x="670" y="81"/>
                  </a:lnTo>
                  <a:lnTo>
                    <a:pt x="670" y="79"/>
                  </a:lnTo>
                  <a:lnTo>
                    <a:pt x="670" y="77"/>
                  </a:lnTo>
                  <a:lnTo>
                    <a:pt x="668" y="77"/>
                  </a:lnTo>
                  <a:lnTo>
                    <a:pt x="666" y="77"/>
                  </a:lnTo>
                  <a:lnTo>
                    <a:pt x="668" y="77"/>
                  </a:lnTo>
                  <a:lnTo>
                    <a:pt x="666" y="77"/>
                  </a:lnTo>
                  <a:lnTo>
                    <a:pt x="666" y="75"/>
                  </a:lnTo>
                  <a:lnTo>
                    <a:pt x="666" y="77"/>
                  </a:lnTo>
                  <a:lnTo>
                    <a:pt x="666" y="75"/>
                  </a:lnTo>
                  <a:lnTo>
                    <a:pt x="668" y="75"/>
                  </a:lnTo>
                  <a:lnTo>
                    <a:pt x="668" y="73"/>
                  </a:lnTo>
                  <a:lnTo>
                    <a:pt x="668" y="71"/>
                  </a:lnTo>
                  <a:lnTo>
                    <a:pt x="670" y="71"/>
                  </a:lnTo>
                  <a:lnTo>
                    <a:pt x="670" y="69"/>
                  </a:lnTo>
                  <a:lnTo>
                    <a:pt x="670" y="71"/>
                  </a:lnTo>
                  <a:lnTo>
                    <a:pt x="670" y="69"/>
                  </a:lnTo>
                  <a:lnTo>
                    <a:pt x="672" y="69"/>
                  </a:lnTo>
                  <a:lnTo>
                    <a:pt x="672" y="67"/>
                  </a:lnTo>
                  <a:lnTo>
                    <a:pt x="672" y="66"/>
                  </a:lnTo>
                  <a:lnTo>
                    <a:pt x="672" y="64"/>
                  </a:lnTo>
                  <a:lnTo>
                    <a:pt x="674" y="64"/>
                  </a:lnTo>
                  <a:lnTo>
                    <a:pt x="674" y="62"/>
                  </a:lnTo>
                  <a:lnTo>
                    <a:pt x="675" y="62"/>
                  </a:lnTo>
                  <a:lnTo>
                    <a:pt x="675" y="60"/>
                  </a:lnTo>
                  <a:lnTo>
                    <a:pt x="675" y="58"/>
                  </a:lnTo>
                  <a:lnTo>
                    <a:pt x="675" y="56"/>
                  </a:lnTo>
                  <a:lnTo>
                    <a:pt x="677" y="56"/>
                  </a:lnTo>
                  <a:lnTo>
                    <a:pt x="675" y="56"/>
                  </a:lnTo>
                  <a:lnTo>
                    <a:pt x="677" y="56"/>
                  </a:lnTo>
                  <a:lnTo>
                    <a:pt x="677" y="54"/>
                  </a:lnTo>
                  <a:lnTo>
                    <a:pt x="677" y="52"/>
                  </a:lnTo>
                  <a:lnTo>
                    <a:pt x="679" y="52"/>
                  </a:lnTo>
                  <a:lnTo>
                    <a:pt x="679" y="50"/>
                  </a:lnTo>
                  <a:lnTo>
                    <a:pt x="679" y="48"/>
                  </a:lnTo>
                  <a:lnTo>
                    <a:pt x="679" y="46"/>
                  </a:lnTo>
                  <a:lnTo>
                    <a:pt x="681" y="46"/>
                  </a:lnTo>
                  <a:lnTo>
                    <a:pt x="679" y="46"/>
                  </a:lnTo>
                  <a:lnTo>
                    <a:pt x="681" y="46"/>
                  </a:lnTo>
                  <a:lnTo>
                    <a:pt x="681" y="44"/>
                  </a:lnTo>
                  <a:lnTo>
                    <a:pt x="683" y="44"/>
                  </a:lnTo>
                  <a:lnTo>
                    <a:pt x="683" y="43"/>
                  </a:lnTo>
                  <a:lnTo>
                    <a:pt x="685" y="43"/>
                  </a:lnTo>
                  <a:lnTo>
                    <a:pt x="685" y="41"/>
                  </a:lnTo>
                  <a:lnTo>
                    <a:pt x="687" y="41"/>
                  </a:lnTo>
                  <a:lnTo>
                    <a:pt x="689" y="41"/>
                  </a:lnTo>
                  <a:lnTo>
                    <a:pt x="689" y="39"/>
                  </a:lnTo>
                  <a:lnTo>
                    <a:pt x="689" y="37"/>
                  </a:lnTo>
                  <a:lnTo>
                    <a:pt x="691" y="37"/>
                  </a:lnTo>
                  <a:lnTo>
                    <a:pt x="689" y="37"/>
                  </a:lnTo>
                  <a:lnTo>
                    <a:pt x="691" y="37"/>
                  </a:lnTo>
                  <a:lnTo>
                    <a:pt x="691" y="35"/>
                  </a:lnTo>
                  <a:lnTo>
                    <a:pt x="691" y="33"/>
                  </a:lnTo>
                  <a:lnTo>
                    <a:pt x="689" y="33"/>
                  </a:lnTo>
                  <a:lnTo>
                    <a:pt x="691" y="33"/>
                  </a:lnTo>
                  <a:lnTo>
                    <a:pt x="689" y="33"/>
                  </a:lnTo>
                  <a:lnTo>
                    <a:pt x="689" y="31"/>
                  </a:lnTo>
                  <a:lnTo>
                    <a:pt x="689" y="29"/>
                  </a:lnTo>
                  <a:lnTo>
                    <a:pt x="689" y="27"/>
                  </a:lnTo>
                  <a:lnTo>
                    <a:pt x="689" y="25"/>
                  </a:lnTo>
                  <a:lnTo>
                    <a:pt x="687" y="25"/>
                  </a:lnTo>
                  <a:lnTo>
                    <a:pt x="687" y="23"/>
                  </a:lnTo>
                  <a:lnTo>
                    <a:pt x="685" y="23"/>
                  </a:lnTo>
                  <a:lnTo>
                    <a:pt x="683" y="23"/>
                  </a:lnTo>
                  <a:lnTo>
                    <a:pt x="681" y="23"/>
                  </a:lnTo>
                  <a:lnTo>
                    <a:pt x="681" y="25"/>
                  </a:lnTo>
                  <a:lnTo>
                    <a:pt x="679" y="25"/>
                  </a:lnTo>
                  <a:lnTo>
                    <a:pt x="679" y="23"/>
                  </a:lnTo>
                  <a:lnTo>
                    <a:pt x="679" y="21"/>
                  </a:lnTo>
                  <a:lnTo>
                    <a:pt x="679" y="19"/>
                  </a:lnTo>
                  <a:lnTo>
                    <a:pt x="681" y="19"/>
                  </a:lnTo>
                  <a:lnTo>
                    <a:pt x="681" y="18"/>
                  </a:lnTo>
                  <a:lnTo>
                    <a:pt x="683" y="18"/>
                  </a:lnTo>
                  <a:lnTo>
                    <a:pt x="683" y="16"/>
                  </a:lnTo>
                  <a:lnTo>
                    <a:pt x="685" y="16"/>
                  </a:lnTo>
                  <a:lnTo>
                    <a:pt x="685" y="14"/>
                  </a:lnTo>
                  <a:lnTo>
                    <a:pt x="687" y="14"/>
                  </a:lnTo>
                  <a:lnTo>
                    <a:pt x="687" y="12"/>
                  </a:lnTo>
                  <a:lnTo>
                    <a:pt x="689" y="12"/>
                  </a:lnTo>
                  <a:lnTo>
                    <a:pt x="689" y="10"/>
                  </a:lnTo>
                  <a:lnTo>
                    <a:pt x="691" y="10"/>
                  </a:lnTo>
                  <a:lnTo>
                    <a:pt x="691" y="8"/>
                  </a:lnTo>
                  <a:lnTo>
                    <a:pt x="693" y="8"/>
                  </a:lnTo>
                  <a:lnTo>
                    <a:pt x="695" y="8"/>
                  </a:lnTo>
                  <a:lnTo>
                    <a:pt x="695" y="6"/>
                  </a:lnTo>
                  <a:lnTo>
                    <a:pt x="695" y="8"/>
                  </a:lnTo>
                  <a:lnTo>
                    <a:pt x="697" y="8"/>
                  </a:lnTo>
                  <a:lnTo>
                    <a:pt x="699" y="8"/>
                  </a:lnTo>
                  <a:lnTo>
                    <a:pt x="699" y="6"/>
                  </a:lnTo>
                  <a:lnTo>
                    <a:pt x="700" y="6"/>
                  </a:lnTo>
                  <a:lnTo>
                    <a:pt x="702" y="6"/>
                  </a:lnTo>
                  <a:lnTo>
                    <a:pt x="704" y="6"/>
                  </a:lnTo>
                  <a:lnTo>
                    <a:pt x="704" y="4"/>
                  </a:lnTo>
                  <a:lnTo>
                    <a:pt x="706" y="4"/>
                  </a:lnTo>
                  <a:lnTo>
                    <a:pt x="708" y="4"/>
                  </a:lnTo>
                  <a:lnTo>
                    <a:pt x="710" y="4"/>
                  </a:lnTo>
                  <a:lnTo>
                    <a:pt x="710" y="2"/>
                  </a:lnTo>
                  <a:lnTo>
                    <a:pt x="712" y="2"/>
                  </a:lnTo>
                  <a:lnTo>
                    <a:pt x="714" y="2"/>
                  </a:lnTo>
                  <a:lnTo>
                    <a:pt x="714" y="4"/>
                  </a:lnTo>
                  <a:lnTo>
                    <a:pt x="716" y="4"/>
                  </a:lnTo>
                  <a:lnTo>
                    <a:pt x="716" y="2"/>
                  </a:lnTo>
                  <a:lnTo>
                    <a:pt x="716" y="4"/>
                  </a:lnTo>
                  <a:lnTo>
                    <a:pt x="716" y="2"/>
                  </a:lnTo>
                  <a:lnTo>
                    <a:pt x="718" y="2"/>
                  </a:lnTo>
                  <a:lnTo>
                    <a:pt x="720" y="2"/>
                  </a:lnTo>
                  <a:lnTo>
                    <a:pt x="722" y="2"/>
                  </a:lnTo>
                  <a:lnTo>
                    <a:pt x="723" y="2"/>
                  </a:lnTo>
                  <a:lnTo>
                    <a:pt x="725" y="2"/>
                  </a:lnTo>
                  <a:lnTo>
                    <a:pt x="725" y="0"/>
                  </a:lnTo>
                  <a:lnTo>
                    <a:pt x="727" y="0"/>
                  </a:lnTo>
                  <a:lnTo>
                    <a:pt x="729" y="0"/>
                  </a:lnTo>
                  <a:lnTo>
                    <a:pt x="729" y="2"/>
                  </a:lnTo>
                  <a:lnTo>
                    <a:pt x="731" y="2"/>
                  </a:lnTo>
                  <a:lnTo>
                    <a:pt x="729" y="2"/>
                  </a:lnTo>
                  <a:lnTo>
                    <a:pt x="729" y="0"/>
                  </a:lnTo>
                  <a:lnTo>
                    <a:pt x="731" y="0"/>
                  </a:lnTo>
                  <a:lnTo>
                    <a:pt x="731" y="2"/>
                  </a:lnTo>
                  <a:lnTo>
                    <a:pt x="731" y="0"/>
                  </a:lnTo>
                  <a:lnTo>
                    <a:pt x="733" y="0"/>
                  </a:lnTo>
                  <a:lnTo>
                    <a:pt x="733" y="2"/>
                  </a:lnTo>
                  <a:lnTo>
                    <a:pt x="735" y="2"/>
                  </a:lnTo>
                  <a:lnTo>
                    <a:pt x="737" y="2"/>
                  </a:lnTo>
                  <a:lnTo>
                    <a:pt x="737" y="4"/>
                  </a:lnTo>
                  <a:lnTo>
                    <a:pt x="739" y="4"/>
                  </a:lnTo>
                  <a:lnTo>
                    <a:pt x="739" y="6"/>
                  </a:lnTo>
                  <a:lnTo>
                    <a:pt x="741" y="6"/>
                  </a:lnTo>
                  <a:lnTo>
                    <a:pt x="741" y="4"/>
                  </a:lnTo>
                  <a:lnTo>
                    <a:pt x="741" y="6"/>
                  </a:lnTo>
                  <a:lnTo>
                    <a:pt x="743" y="6"/>
                  </a:lnTo>
                  <a:lnTo>
                    <a:pt x="743" y="8"/>
                  </a:lnTo>
                  <a:lnTo>
                    <a:pt x="745" y="8"/>
                  </a:lnTo>
                  <a:lnTo>
                    <a:pt x="745" y="10"/>
                  </a:lnTo>
                  <a:lnTo>
                    <a:pt x="746" y="10"/>
                  </a:lnTo>
                  <a:lnTo>
                    <a:pt x="748" y="10"/>
                  </a:lnTo>
                  <a:lnTo>
                    <a:pt x="748" y="12"/>
                  </a:lnTo>
                  <a:lnTo>
                    <a:pt x="748" y="10"/>
                  </a:lnTo>
                  <a:lnTo>
                    <a:pt x="750" y="10"/>
                  </a:lnTo>
                  <a:lnTo>
                    <a:pt x="750" y="12"/>
                  </a:lnTo>
                  <a:lnTo>
                    <a:pt x="750" y="10"/>
                  </a:lnTo>
                  <a:lnTo>
                    <a:pt x="752" y="10"/>
                  </a:lnTo>
                  <a:lnTo>
                    <a:pt x="754" y="10"/>
                  </a:lnTo>
                  <a:lnTo>
                    <a:pt x="756" y="10"/>
                  </a:lnTo>
                  <a:lnTo>
                    <a:pt x="758" y="12"/>
                  </a:lnTo>
                  <a:lnTo>
                    <a:pt x="760" y="12"/>
                  </a:lnTo>
                  <a:lnTo>
                    <a:pt x="760" y="14"/>
                  </a:lnTo>
                  <a:lnTo>
                    <a:pt x="760" y="12"/>
                  </a:lnTo>
                  <a:lnTo>
                    <a:pt x="762" y="12"/>
                  </a:lnTo>
                  <a:lnTo>
                    <a:pt x="762" y="14"/>
                  </a:lnTo>
                  <a:lnTo>
                    <a:pt x="764" y="14"/>
                  </a:lnTo>
                  <a:lnTo>
                    <a:pt x="764" y="16"/>
                  </a:lnTo>
                  <a:lnTo>
                    <a:pt x="762" y="16"/>
                  </a:lnTo>
                  <a:lnTo>
                    <a:pt x="764" y="16"/>
                  </a:lnTo>
                  <a:lnTo>
                    <a:pt x="762" y="16"/>
                  </a:lnTo>
                  <a:lnTo>
                    <a:pt x="762" y="18"/>
                  </a:lnTo>
                  <a:lnTo>
                    <a:pt x="764" y="18"/>
                  </a:lnTo>
                  <a:lnTo>
                    <a:pt x="766" y="18"/>
                  </a:lnTo>
                  <a:lnTo>
                    <a:pt x="766" y="19"/>
                  </a:lnTo>
                  <a:lnTo>
                    <a:pt x="768" y="19"/>
                  </a:lnTo>
                  <a:lnTo>
                    <a:pt x="768" y="21"/>
                  </a:lnTo>
                  <a:lnTo>
                    <a:pt x="766" y="21"/>
                  </a:lnTo>
                  <a:lnTo>
                    <a:pt x="766" y="23"/>
                  </a:lnTo>
                  <a:lnTo>
                    <a:pt x="768" y="23"/>
                  </a:lnTo>
                  <a:lnTo>
                    <a:pt x="768" y="25"/>
                  </a:lnTo>
                  <a:lnTo>
                    <a:pt x="768" y="23"/>
                  </a:lnTo>
                  <a:lnTo>
                    <a:pt x="768" y="25"/>
                  </a:lnTo>
                  <a:lnTo>
                    <a:pt x="770" y="25"/>
                  </a:lnTo>
                  <a:lnTo>
                    <a:pt x="770" y="27"/>
                  </a:lnTo>
                  <a:lnTo>
                    <a:pt x="771" y="27"/>
                  </a:lnTo>
                  <a:lnTo>
                    <a:pt x="771" y="29"/>
                  </a:lnTo>
                  <a:lnTo>
                    <a:pt x="771" y="31"/>
                  </a:lnTo>
                  <a:lnTo>
                    <a:pt x="773" y="31"/>
                  </a:lnTo>
                  <a:lnTo>
                    <a:pt x="771" y="31"/>
                  </a:lnTo>
                  <a:lnTo>
                    <a:pt x="771" y="33"/>
                  </a:lnTo>
                  <a:lnTo>
                    <a:pt x="773" y="35"/>
                  </a:lnTo>
                  <a:lnTo>
                    <a:pt x="775" y="35"/>
                  </a:lnTo>
                  <a:lnTo>
                    <a:pt x="775" y="37"/>
                  </a:lnTo>
                  <a:lnTo>
                    <a:pt x="773" y="37"/>
                  </a:lnTo>
                  <a:lnTo>
                    <a:pt x="773" y="39"/>
                  </a:lnTo>
                  <a:lnTo>
                    <a:pt x="773" y="41"/>
                  </a:lnTo>
                  <a:lnTo>
                    <a:pt x="775" y="41"/>
                  </a:lnTo>
                  <a:lnTo>
                    <a:pt x="775" y="43"/>
                  </a:lnTo>
                  <a:lnTo>
                    <a:pt x="775" y="44"/>
                  </a:lnTo>
                  <a:lnTo>
                    <a:pt x="777" y="44"/>
                  </a:lnTo>
                  <a:lnTo>
                    <a:pt x="777" y="46"/>
                  </a:lnTo>
                  <a:lnTo>
                    <a:pt x="777" y="48"/>
                  </a:lnTo>
                  <a:lnTo>
                    <a:pt x="779" y="48"/>
                  </a:lnTo>
                  <a:lnTo>
                    <a:pt x="779" y="50"/>
                  </a:lnTo>
                  <a:lnTo>
                    <a:pt x="779" y="52"/>
                  </a:lnTo>
                  <a:lnTo>
                    <a:pt x="781" y="52"/>
                  </a:lnTo>
                  <a:lnTo>
                    <a:pt x="781" y="54"/>
                  </a:lnTo>
                  <a:lnTo>
                    <a:pt x="779" y="54"/>
                  </a:lnTo>
                  <a:lnTo>
                    <a:pt x="779" y="56"/>
                  </a:lnTo>
                  <a:lnTo>
                    <a:pt x="781" y="56"/>
                  </a:lnTo>
                  <a:lnTo>
                    <a:pt x="779" y="56"/>
                  </a:lnTo>
                  <a:lnTo>
                    <a:pt x="779" y="54"/>
                  </a:lnTo>
                  <a:lnTo>
                    <a:pt x="781" y="54"/>
                  </a:lnTo>
                  <a:lnTo>
                    <a:pt x="781" y="56"/>
                  </a:lnTo>
                  <a:lnTo>
                    <a:pt x="779" y="56"/>
                  </a:lnTo>
                  <a:lnTo>
                    <a:pt x="779" y="58"/>
                  </a:lnTo>
                  <a:lnTo>
                    <a:pt x="781" y="58"/>
                  </a:lnTo>
                  <a:lnTo>
                    <a:pt x="781" y="60"/>
                  </a:lnTo>
                  <a:lnTo>
                    <a:pt x="781" y="62"/>
                  </a:lnTo>
                  <a:lnTo>
                    <a:pt x="783" y="62"/>
                  </a:lnTo>
                  <a:lnTo>
                    <a:pt x="783" y="64"/>
                  </a:lnTo>
                  <a:lnTo>
                    <a:pt x="783" y="66"/>
                  </a:lnTo>
                  <a:lnTo>
                    <a:pt x="785" y="66"/>
                  </a:lnTo>
                  <a:lnTo>
                    <a:pt x="785" y="67"/>
                  </a:lnTo>
                  <a:lnTo>
                    <a:pt x="787" y="67"/>
                  </a:lnTo>
                  <a:lnTo>
                    <a:pt x="785" y="67"/>
                  </a:lnTo>
                  <a:lnTo>
                    <a:pt x="785" y="69"/>
                  </a:lnTo>
                  <a:lnTo>
                    <a:pt x="787" y="69"/>
                  </a:lnTo>
                  <a:lnTo>
                    <a:pt x="787" y="71"/>
                  </a:lnTo>
                  <a:lnTo>
                    <a:pt x="787" y="73"/>
                  </a:lnTo>
                  <a:lnTo>
                    <a:pt x="785" y="73"/>
                  </a:lnTo>
                  <a:lnTo>
                    <a:pt x="785" y="75"/>
                  </a:lnTo>
                  <a:lnTo>
                    <a:pt x="787" y="75"/>
                  </a:lnTo>
                  <a:lnTo>
                    <a:pt x="787" y="77"/>
                  </a:lnTo>
                  <a:lnTo>
                    <a:pt x="787" y="79"/>
                  </a:lnTo>
                  <a:lnTo>
                    <a:pt x="789" y="79"/>
                  </a:lnTo>
                  <a:lnTo>
                    <a:pt x="791" y="79"/>
                  </a:lnTo>
                  <a:lnTo>
                    <a:pt x="791" y="81"/>
                  </a:lnTo>
                  <a:lnTo>
                    <a:pt x="791" y="83"/>
                  </a:lnTo>
                  <a:lnTo>
                    <a:pt x="789" y="83"/>
                  </a:lnTo>
                  <a:lnTo>
                    <a:pt x="789" y="85"/>
                  </a:lnTo>
                  <a:lnTo>
                    <a:pt x="789" y="87"/>
                  </a:lnTo>
                  <a:lnTo>
                    <a:pt x="789" y="89"/>
                  </a:lnTo>
                  <a:lnTo>
                    <a:pt x="789" y="91"/>
                  </a:lnTo>
                  <a:lnTo>
                    <a:pt x="791" y="91"/>
                  </a:lnTo>
                  <a:lnTo>
                    <a:pt x="791" y="92"/>
                  </a:lnTo>
                  <a:lnTo>
                    <a:pt x="793" y="92"/>
                  </a:lnTo>
                  <a:lnTo>
                    <a:pt x="793" y="94"/>
                  </a:lnTo>
                  <a:lnTo>
                    <a:pt x="794" y="94"/>
                  </a:lnTo>
                  <a:lnTo>
                    <a:pt x="796" y="94"/>
                  </a:lnTo>
                  <a:lnTo>
                    <a:pt x="798" y="94"/>
                  </a:lnTo>
                  <a:lnTo>
                    <a:pt x="800" y="94"/>
                  </a:lnTo>
                  <a:lnTo>
                    <a:pt x="802" y="94"/>
                  </a:lnTo>
                  <a:lnTo>
                    <a:pt x="804" y="94"/>
                  </a:lnTo>
                  <a:lnTo>
                    <a:pt x="806" y="94"/>
                  </a:lnTo>
                  <a:lnTo>
                    <a:pt x="808" y="94"/>
                  </a:lnTo>
                  <a:lnTo>
                    <a:pt x="808" y="96"/>
                  </a:lnTo>
                  <a:lnTo>
                    <a:pt x="806" y="96"/>
                  </a:lnTo>
                  <a:lnTo>
                    <a:pt x="808" y="96"/>
                  </a:lnTo>
                  <a:lnTo>
                    <a:pt x="810" y="96"/>
                  </a:lnTo>
                  <a:lnTo>
                    <a:pt x="810" y="98"/>
                  </a:lnTo>
                  <a:lnTo>
                    <a:pt x="812" y="98"/>
                  </a:lnTo>
                  <a:lnTo>
                    <a:pt x="812" y="100"/>
                  </a:lnTo>
                  <a:lnTo>
                    <a:pt x="814" y="100"/>
                  </a:lnTo>
                  <a:lnTo>
                    <a:pt x="814" y="98"/>
                  </a:lnTo>
                  <a:lnTo>
                    <a:pt x="816" y="98"/>
                  </a:lnTo>
                  <a:lnTo>
                    <a:pt x="816" y="100"/>
                  </a:lnTo>
                  <a:lnTo>
                    <a:pt x="816" y="98"/>
                  </a:lnTo>
                  <a:lnTo>
                    <a:pt x="818" y="98"/>
                  </a:lnTo>
                  <a:lnTo>
                    <a:pt x="819" y="98"/>
                  </a:lnTo>
                  <a:lnTo>
                    <a:pt x="819" y="100"/>
                  </a:lnTo>
                  <a:lnTo>
                    <a:pt x="819" y="102"/>
                  </a:lnTo>
                  <a:lnTo>
                    <a:pt x="819" y="100"/>
                  </a:lnTo>
                  <a:lnTo>
                    <a:pt x="821" y="100"/>
                  </a:lnTo>
                  <a:lnTo>
                    <a:pt x="821" y="102"/>
                  </a:lnTo>
                  <a:lnTo>
                    <a:pt x="821" y="104"/>
                  </a:lnTo>
                  <a:lnTo>
                    <a:pt x="823" y="104"/>
                  </a:lnTo>
                  <a:lnTo>
                    <a:pt x="823" y="106"/>
                  </a:lnTo>
                  <a:lnTo>
                    <a:pt x="825" y="106"/>
                  </a:lnTo>
                  <a:lnTo>
                    <a:pt x="823" y="106"/>
                  </a:lnTo>
                  <a:lnTo>
                    <a:pt x="825" y="106"/>
                  </a:lnTo>
                  <a:lnTo>
                    <a:pt x="825" y="108"/>
                  </a:lnTo>
                  <a:lnTo>
                    <a:pt x="827" y="108"/>
                  </a:lnTo>
                  <a:lnTo>
                    <a:pt x="827" y="110"/>
                  </a:lnTo>
                  <a:lnTo>
                    <a:pt x="829" y="110"/>
                  </a:lnTo>
                  <a:lnTo>
                    <a:pt x="831" y="110"/>
                  </a:lnTo>
                  <a:lnTo>
                    <a:pt x="833" y="110"/>
                  </a:lnTo>
                  <a:lnTo>
                    <a:pt x="835" y="110"/>
                  </a:lnTo>
                  <a:lnTo>
                    <a:pt x="835" y="112"/>
                  </a:lnTo>
                  <a:lnTo>
                    <a:pt x="835" y="114"/>
                  </a:lnTo>
                  <a:lnTo>
                    <a:pt x="833" y="114"/>
                  </a:lnTo>
                  <a:lnTo>
                    <a:pt x="833" y="116"/>
                  </a:lnTo>
                  <a:lnTo>
                    <a:pt x="835" y="116"/>
                  </a:lnTo>
                  <a:lnTo>
                    <a:pt x="835" y="117"/>
                  </a:lnTo>
                  <a:lnTo>
                    <a:pt x="835" y="119"/>
                  </a:lnTo>
                  <a:lnTo>
                    <a:pt x="835" y="117"/>
                  </a:lnTo>
                  <a:lnTo>
                    <a:pt x="837" y="117"/>
                  </a:lnTo>
                  <a:lnTo>
                    <a:pt x="837" y="119"/>
                  </a:lnTo>
                  <a:lnTo>
                    <a:pt x="837" y="121"/>
                  </a:lnTo>
                  <a:lnTo>
                    <a:pt x="837" y="123"/>
                  </a:lnTo>
                  <a:lnTo>
                    <a:pt x="837" y="125"/>
                  </a:lnTo>
                  <a:lnTo>
                    <a:pt x="835" y="125"/>
                  </a:lnTo>
                  <a:lnTo>
                    <a:pt x="835" y="127"/>
                  </a:lnTo>
                  <a:lnTo>
                    <a:pt x="835" y="129"/>
                  </a:lnTo>
                  <a:lnTo>
                    <a:pt x="837" y="129"/>
                  </a:lnTo>
                  <a:lnTo>
                    <a:pt x="837" y="131"/>
                  </a:lnTo>
                  <a:lnTo>
                    <a:pt x="839" y="131"/>
                  </a:lnTo>
                  <a:lnTo>
                    <a:pt x="839" y="133"/>
                  </a:lnTo>
                  <a:lnTo>
                    <a:pt x="839" y="135"/>
                  </a:lnTo>
                  <a:lnTo>
                    <a:pt x="839" y="137"/>
                  </a:lnTo>
                  <a:lnTo>
                    <a:pt x="841" y="137"/>
                  </a:lnTo>
                  <a:lnTo>
                    <a:pt x="842" y="137"/>
                  </a:lnTo>
                  <a:lnTo>
                    <a:pt x="842" y="135"/>
                  </a:lnTo>
                  <a:lnTo>
                    <a:pt x="844" y="135"/>
                  </a:lnTo>
                  <a:lnTo>
                    <a:pt x="846" y="135"/>
                  </a:lnTo>
                  <a:lnTo>
                    <a:pt x="848" y="135"/>
                  </a:lnTo>
                  <a:lnTo>
                    <a:pt x="848" y="137"/>
                  </a:lnTo>
                  <a:lnTo>
                    <a:pt x="850" y="137"/>
                  </a:lnTo>
                  <a:lnTo>
                    <a:pt x="852" y="137"/>
                  </a:lnTo>
                  <a:lnTo>
                    <a:pt x="854" y="137"/>
                  </a:lnTo>
                  <a:lnTo>
                    <a:pt x="856" y="137"/>
                  </a:lnTo>
                  <a:lnTo>
                    <a:pt x="858" y="137"/>
                  </a:lnTo>
                  <a:lnTo>
                    <a:pt x="858" y="135"/>
                  </a:lnTo>
                  <a:lnTo>
                    <a:pt x="860" y="135"/>
                  </a:lnTo>
                  <a:lnTo>
                    <a:pt x="862" y="135"/>
                  </a:lnTo>
                  <a:lnTo>
                    <a:pt x="862" y="137"/>
                  </a:lnTo>
                  <a:lnTo>
                    <a:pt x="864" y="135"/>
                  </a:lnTo>
                  <a:lnTo>
                    <a:pt x="864" y="133"/>
                  </a:lnTo>
                  <a:lnTo>
                    <a:pt x="864" y="131"/>
                  </a:lnTo>
                  <a:lnTo>
                    <a:pt x="865" y="131"/>
                  </a:lnTo>
                  <a:lnTo>
                    <a:pt x="867" y="131"/>
                  </a:lnTo>
                  <a:lnTo>
                    <a:pt x="867" y="129"/>
                  </a:lnTo>
                  <a:lnTo>
                    <a:pt x="869" y="129"/>
                  </a:lnTo>
                  <a:lnTo>
                    <a:pt x="869" y="127"/>
                  </a:lnTo>
                  <a:lnTo>
                    <a:pt x="871" y="127"/>
                  </a:lnTo>
                  <a:lnTo>
                    <a:pt x="873" y="127"/>
                  </a:lnTo>
                  <a:lnTo>
                    <a:pt x="875" y="127"/>
                  </a:lnTo>
                  <a:lnTo>
                    <a:pt x="877" y="127"/>
                  </a:lnTo>
                  <a:lnTo>
                    <a:pt x="877" y="125"/>
                  </a:lnTo>
                  <a:lnTo>
                    <a:pt x="879" y="125"/>
                  </a:lnTo>
                  <a:lnTo>
                    <a:pt x="881" y="125"/>
                  </a:lnTo>
                  <a:lnTo>
                    <a:pt x="883" y="125"/>
                  </a:lnTo>
                  <a:lnTo>
                    <a:pt x="883" y="123"/>
                  </a:lnTo>
                  <a:lnTo>
                    <a:pt x="885" y="123"/>
                  </a:lnTo>
                  <a:lnTo>
                    <a:pt x="885" y="121"/>
                  </a:lnTo>
                  <a:lnTo>
                    <a:pt x="887" y="121"/>
                  </a:lnTo>
                  <a:lnTo>
                    <a:pt x="889" y="121"/>
                  </a:lnTo>
                  <a:lnTo>
                    <a:pt x="890" y="121"/>
                  </a:lnTo>
                  <a:lnTo>
                    <a:pt x="890" y="119"/>
                  </a:lnTo>
                  <a:lnTo>
                    <a:pt x="892" y="121"/>
                  </a:lnTo>
                  <a:lnTo>
                    <a:pt x="894" y="121"/>
                  </a:lnTo>
                  <a:lnTo>
                    <a:pt x="894" y="123"/>
                  </a:lnTo>
                  <a:lnTo>
                    <a:pt x="894" y="125"/>
                  </a:lnTo>
                  <a:lnTo>
                    <a:pt x="894" y="127"/>
                  </a:lnTo>
                  <a:lnTo>
                    <a:pt x="892" y="127"/>
                  </a:lnTo>
                  <a:lnTo>
                    <a:pt x="892" y="129"/>
                  </a:lnTo>
                  <a:lnTo>
                    <a:pt x="892" y="131"/>
                  </a:lnTo>
                  <a:lnTo>
                    <a:pt x="894" y="131"/>
                  </a:lnTo>
                  <a:lnTo>
                    <a:pt x="894" y="133"/>
                  </a:lnTo>
                  <a:lnTo>
                    <a:pt x="894" y="135"/>
                  </a:lnTo>
                  <a:lnTo>
                    <a:pt x="894" y="137"/>
                  </a:lnTo>
                  <a:lnTo>
                    <a:pt x="894" y="139"/>
                  </a:lnTo>
                  <a:lnTo>
                    <a:pt x="892" y="139"/>
                  </a:lnTo>
                  <a:lnTo>
                    <a:pt x="892" y="140"/>
                  </a:lnTo>
                  <a:lnTo>
                    <a:pt x="890" y="140"/>
                  </a:lnTo>
                  <a:lnTo>
                    <a:pt x="890" y="142"/>
                  </a:lnTo>
                  <a:lnTo>
                    <a:pt x="889" y="142"/>
                  </a:lnTo>
                  <a:lnTo>
                    <a:pt x="887" y="142"/>
                  </a:lnTo>
                  <a:lnTo>
                    <a:pt x="887" y="144"/>
                  </a:lnTo>
                  <a:lnTo>
                    <a:pt x="887" y="146"/>
                  </a:lnTo>
                  <a:lnTo>
                    <a:pt x="887" y="148"/>
                  </a:lnTo>
                  <a:lnTo>
                    <a:pt x="887" y="150"/>
                  </a:lnTo>
                  <a:lnTo>
                    <a:pt x="885" y="150"/>
                  </a:lnTo>
                  <a:lnTo>
                    <a:pt x="885" y="152"/>
                  </a:lnTo>
                  <a:lnTo>
                    <a:pt x="885" y="154"/>
                  </a:lnTo>
                  <a:lnTo>
                    <a:pt x="885" y="156"/>
                  </a:lnTo>
                  <a:lnTo>
                    <a:pt x="885" y="158"/>
                  </a:lnTo>
                  <a:lnTo>
                    <a:pt x="885" y="160"/>
                  </a:lnTo>
                  <a:lnTo>
                    <a:pt x="883" y="160"/>
                  </a:lnTo>
                  <a:lnTo>
                    <a:pt x="883" y="162"/>
                  </a:lnTo>
                  <a:lnTo>
                    <a:pt x="881" y="162"/>
                  </a:lnTo>
                  <a:lnTo>
                    <a:pt x="881" y="164"/>
                  </a:lnTo>
                  <a:lnTo>
                    <a:pt x="883" y="164"/>
                  </a:lnTo>
                  <a:lnTo>
                    <a:pt x="883" y="165"/>
                  </a:lnTo>
                  <a:lnTo>
                    <a:pt x="883" y="167"/>
                  </a:lnTo>
                  <a:lnTo>
                    <a:pt x="881" y="167"/>
                  </a:lnTo>
                  <a:lnTo>
                    <a:pt x="883" y="167"/>
                  </a:lnTo>
                  <a:lnTo>
                    <a:pt x="881" y="167"/>
                  </a:lnTo>
                  <a:lnTo>
                    <a:pt x="881" y="169"/>
                  </a:lnTo>
                  <a:lnTo>
                    <a:pt x="879" y="169"/>
                  </a:lnTo>
                  <a:lnTo>
                    <a:pt x="879" y="171"/>
                  </a:lnTo>
                  <a:lnTo>
                    <a:pt x="881" y="171"/>
                  </a:lnTo>
                  <a:lnTo>
                    <a:pt x="879" y="171"/>
                  </a:lnTo>
                  <a:lnTo>
                    <a:pt x="879" y="173"/>
                  </a:lnTo>
                  <a:lnTo>
                    <a:pt x="877" y="173"/>
                  </a:lnTo>
                  <a:lnTo>
                    <a:pt x="879" y="173"/>
                  </a:lnTo>
                  <a:lnTo>
                    <a:pt x="879" y="175"/>
                  </a:lnTo>
                  <a:lnTo>
                    <a:pt x="877" y="175"/>
                  </a:lnTo>
                  <a:lnTo>
                    <a:pt x="875" y="175"/>
                  </a:lnTo>
                  <a:lnTo>
                    <a:pt x="875" y="177"/>
                  </a:lnTo>
                  <a:lnTo>
                    <a:pt x="877" y="177"/>
                  </a:lnTo>
                  <a:lnTo>
                    <a:pt x="875" y="177"/>
                  </a:lnTo>
                  <a:lnTo>
                    <a:pt x="877" y="177"/>
                  </a:lnTo>
                  <a:lnTo>
                    <a:pt x="875" y="177"/>
                  </a:lnTo>
                  <a:lnTo>
                    <a:pt x="875" y="179"/>
                  </a:lnTo>
                  <a:lnTo>
                    <a:pt x="877" y="179"/>
                  </a:lnTo>
                  <a:lnTo>
                    <a:pt x="875" y="179"/>
                  </a:lnTo>
                  <a:lnTo>
                    <a:pt x="875" y="181"/>
                  </a:lnTo>
                  <a:lnTo>
                    <a:pt x="877" y="181"/>
                  </a:lnTo>
                  <a:lnTo>
                    <a:pt x="875" y="181"/>
                  </a:lnTo>
                  <a:lnTo>
                    <a:pt x="873" y="181"/>
                  </a:lnTo>
                  <a:lnTo>
                    <a:pt x="873" y="183"/>
                  </a:lnTo>
                  <a:lnTo>
                    <a:pt x="873" y="181"/>
                  </a:lnTo>
                  <a:lnTo>
                    <a:pt x="873" y="183"/>
                  </a:lnTo>
                  <a:lnTo>
                    <a:pt x="871" y="183"/>
                  </a:lnTo>
                  <a:lnTo>
                    <a:pt x="873" y="183"/>
                  </a:lnTo>
                  <a:lnTo>
                    <a:pt x="871" y="183"/>
                  </a:lnTo>
                  <a:lnTo>
                    <a:pt x="871" y="185"/>
                  </a:lnTo>
                  <a:lnTo>
                    <a:pt x="871" y="187"/>
                  </a:lnTo>
                  <a:lnTo>
                    <a:pt x="871" y="185"/>
                  </a:lnTo>
                  <a:lnTo>
                    <a:pt x="871" y="187"/>
                  </a:lnTo>
                  <a:lnTo>
                    <a:pt x="871" y="189"/>
                  </a:lnTo>
                  <a:lnTo>
                    <a:pt x="871" y="190"/>
                  </a:lnTo>
                  <a:lnTo>
                    <a:pt x="869" y="190"/>
                  </a:lnTo>
                  <a:lnTo>
                    <a:pt x="869" y="192"/>
                  </a:lnTo>
                  <a:lnTo>
                    <a:pt x="867" y="192"/>
                  </a:lnTo>
                  <a:lnTo>
                    <a:pt x="864" y="190"/>
                  </a:lnTo>
                  <a:lnTo>
                    <a:pt x="854" y="189"/>
                  </a:lnTo>
                  <a:lnTo>
                    <a:pt x="854" y="187"/>
                  </a:lnTo>
                  <a:lnTo>
                    <a:pt x="854" y="189"/>
                  </a:lnTo>
                  <a:lnTo>
                    <a:pt x="854" y="187"/>
                  </a:lnTo>
                  <a:lnTo>
                    <a:pt x="852" y="187"/>
                  </a:lnTo>
                  <a:lnTo>
                    <a:pt x="852" y="189"/>
                  </a:lnTo>
                  <a:lnTo>
                    <a:pt x="850" y="189"/>
                  </a:lnTo>
                  <a:lnTo>
                    <a:pt x="850" y="190"/>
                  </a:lnTo>
                  <a:lnTo>
                    <a:pt x="850" y="192"/>
                  </a:lnTo>
                  <a:lnTo>
                    <a:pt x="848" y="192"/>
                  </a:lnTo>
                  <a:lnTo>
                    <a:pt x="846" y="192"/>
                  </a:lnTo>
                  <a:lnTo>
                    <a:pt x="846" y="194"/>
                  </a:lnTo>
                  <a:lnTo>
                    <a:pt x="844" y="194"/>
                  </a:lnTo>
                  <a:lnTo>
                    <a:pt x="842" y="194"/>
                  </a:lnTo>
                  <a:lnTo>
                    <a:pt x="841" y="194"/>
                  </a:lnTo>
                  <a:lnTo>
                    <a:pt x="841" y="196"/>
                  </a:lnTo>
                  <a:lnTo>
                    <a:pt x="839" y="196"/>
                  </a:lnTo>
                  <a:lnTo>
                    <a:pt x="841" y="196"/>
                  </a:lnTo>
                  <a:lnTo>
                    <a:pt x="841" y="198"/>
                  </a:lnTo>
                  <a:lnTo>
                    <a:pt x="841" y="200"/>
                  </a:lnTo>
                  <a:lnTo>
                    <a:pt x="842" y="200"/>
                  </a:lnTo>
                  <a:lnTo>
                    <a:pt x="842" y="202"/>
                  </a:lnTo>
                  <a:lnTo>
                    <a:pt x="842" y="206"/>
                  </a:lnTo>
                  <a:lnTo>
                    <a:pt x="842" y="208"/>
                  </a:lnTo>
                  <a:lnTo>
                    <a:pt x="844" y="210"/>
                  </a:lnTo>
                  <a:lnTo>
                    <a:pt x="844" y="213"/>
                  </a:lnTo>
                  <a:lnTo>
                    <a:pt x="842" y="213"/>
                  </a:lnTo>
                  <a:lnTo>
                    <a:pt x="844" y="213"/>
                  </a:lnTo>
                  <a:lnTo>
                    <a:pt x="844" y="215"/>
                  </a:lnTo>
                  <a:lnTo>
                    <a:pt x="842" y="215"/>
                  </a:lnTo>
                  <a:lnTo>
                    <a:pt x="844" y="215"/>
                  </a:lnTo>
                  <a:lnTo>
                    <a:pt x="842" y="215"/>
                  </a:lnTo>
                  <a:lnTo>
                    <a:pt x="842" y="217"/>
                  </a:lnTo>
                  <a:lnTo>
                    <a:pt x="842" y="219"/>
                  </a:lnTo>
                  <a:lnTo>
                    <a:pt x="842" y="221"/>
                  </a:lnTo>
                  <a:lnTo>
                    <a:pt x="844" y="221"/>
                  </a:lnTo>
                  <a:lnTo>
                    <a:pt x="842" y="221"/>
                  </a:lnTo>
                  <a:lnTo>
                    <a:pt x="842" y="223"/>
                  </a:lnTo>
                  <a:lnTo>
                    <a:pt x="842" y="221"/>
                  </a:lnTo>
                  <a:lnTo>
                    <a:pt x="842" y="223"/>
                  </a:lnTo>
                  <a:lnTo>
                    <a:pt x="844" y="223"/>
                  </a:lnTo>
                  <a:lnTo>
                    <a:pt x="844" y="225"/>
                  </a:lnTo>
                  <a:lnTo>
                    <a:pt x="844" y="227"/>
                  </a:lnTo>
                  <a:lnTo>
                    <a:pt x="844" y="229"/>
                  </a:lnTo>
                  <a:lnTo>
                    <a:pt x="842" y="229"/>
                  </a:lnTo>
                  <a:lnTo>
                    <a:pt x="842" y="231"/>
                  </a:lnTo>
                  <a:lnTo>
                    <a:pt x="842" y="233"/>
                  </a:lnTo>
                  <a:lnTo>
                    <a:pt x="841" y="233"/>
                  </a:lnTo>
                  <a:lnTo>
                    <a:pt x="841" y="235"/>
                  </a:lnTo>
                  <a:lnTo>
                    <a:pt x="842" y="235"/>
                  </a:lnTo>
                  <a:lnTo>
                    <a:pt x="841" y="235"/>
                  </a:lnTo>
                  <a:lnTo>
                    <a:pt x="842" y="235"/>
                  </a:lnTo>
                  <a:lnTo>
                    <a:pt x="842" y="237"/>
                  </a:lnTo>
                  <a:lnTo>
                    <a:pt x="841" y="237"/>
                  </a:lnTo>
                  <a:lnTo>
                    <a:pt x="841" y="235"/>
                  </a:lnTo>
                  <a:lnTo>
                    <a:pt x="841" y="237"/>
                  </a:lnTo>
                  <a:lnTo>
                    <a:pt x="841" y="235"/>
                  </a:lnTo>
                  <a:lnTo>
                    <a:pt x="841" y="237"/>
                  </a:lnTo>
                  <a:lnTo>
                    <a:pt x="841" y="235"/>
                  </a:lnTo>
                  <a:lnTo>
                    <a:pt x="841" y="237"/>
                  </a:lnTo>
                  <a:lnTo>
                    <a:pt x="839" y="237"/>
                  </a:lnTo>
                  <a:lnTo>
                    <a:pt x="837" y="237"/>
                  </a:lnTo>
                  <a:lnTo>
                    <a:pt x="835" y="237"/>
                  </a:lnTo>
                  <a:lnTo>
                    <a:pt x="835" y="238"/>
                  </a:lnTo>
                  <a:lnTo>
                    <a:pt x="833" y="238"/>
                  </a:lnTo>
                  <a:lnTo>
                    <a:pt x="831" y="238"/>
                  </a:lnTo>
                  <a:lnTo>
                    <a:pt x="831" y="240"/>
                  </a:lnTo>
                  <a:lnTo>
                    <a:pt x="831" y="238"/>
                  </a:lnTo>
                  <a:lnTo>
                    <a:pt x="831" y="240"/>
                  </a:lnTo>
                  <a:lnTo>
                    <a:pt x="831" y="238"/>
                  </a:lnTo>
                  <a:lnTo>
                    <a:pt x="831" y="240"/>
                  </a:lnTo>
                  <a:lnTo>
                    <a:pt x="833" y="240"/>
                  </a:lnTo>
                  <a:lnTo>
                    <a:pt x="835" y="240"/>
                  </a:lnTo>
                  <a:lnTo>
                    <a:pt x="835" y="242"/>
                  </a:lnTo>
                  <a:lnTo>
                    <a:pt x="833" y="242"/>
                  </a:lnTo>
                  <a:lnTo>
                    <a:pt x="833" y="244"/>
                  </a:lnTo>
                  <a:lnTo>
                    <a:pt x="835" y="244"/>
                  </a:lnTo>
                  <a:lnTo>
                    <a:pt x="835" y="246"/>
                  </a:lnTo>
                  <a:close/>
                  <a:moveTo>
                    <a:pt x="543" y="630"/>
                  </a:moveTo>
                  <a:lnTo>
                    <a:pt x="543" y="632"/>
                  </a:lnTo>
                  <a:lnTo>
                    <a:pt x="545" y="632"/>
                  </a:lnTo>
                  <a:lnTo>
                    <a:pt x="545" y="634"/>
                  </a:lnTo>
                  <a:lnTo>
                    <a:pt x="547" y="634"/>
                  </a:lnTo>
                  <a:lnTo>
                    <a:pt x="547" y="636"/>
                  </a:lnTo>
                  <a:lnTo>
                    <a:pt x="547" y="638"/>
                  </a:lnTo>
                  <a:lnTo>
                    <a:pt x="549" y="638"/>
                  </a:lnTo>
                  <a:lnTo>
                    <a:pt x="547" y="638"/>
                  </a:lnTo>
                  <a:lnTo>
                    <a:pt x="549" y="638"/>
                  </a:lnTo>
                  <a:lnTo>
                    <a:pt x="547" y="638"/>
                  </a:lnTo>
                  <a:lnTo>
                    <a:pt x="547" y="640"/>
                  </a:lnTo>
                  <a:lnTo>
                    <a:pt x="549" y="640"/>
                  </a:lnTo>
                  <a:lnTo>
                    <a:pt x="547" y="640"/>
                  </a:lnTo>
                  <a:lnTo>
                    <a:pt x="545" y="640"/>
                  </a:lnTo>
                  <a:lnTo>
                    <a:pt x="545" y="642"/>
                  </a:lnTo>
                  <a:lnTo>
                    <a:pt x="545" y="640"/>
                  </a:lnTo>
                  <a:lnTo>
                    <a:pt x="545" y="642"/>
                  </a:lnTo>
                  <a:lnTo>
                    <a:pt x="545" y="640"/>
                  </a:lnTo>
                  <a:lnTo>
                    <a:pt x="545" y="642"/>
                  </a:lnTo>
                  <a:lnTo>
                    <a:pt x="543" y="642"/>
                  </a:lnTo>
                  <a:lnTo>
                    <a:pt x="545" y="642"/>
                  </a:lnTo>
                  <a:lnTo>
                    <a:pt x="543" y="642"/>
                  </a:lnTo>
                  <a:lnTo>
                    <a:pt x="543" y="644"/>
                  </a:lnTo>
                  <a:lnTo>
                    <a:pt x="543" y="642"/>
                  </a:lnTo>
                  <a:lnTo>
                    <a:pt x="543" y="644"/>
                  </a:lnTo>
                  <a:lnTo>
                    <a:pt x="543" y="642"/>
                  </a:lnTo>
                  <a:lnTo>
                    <a:pt x="543" y="644"/>
                  </a:lnTo>
                  <a:lnTo>
                    <a:pt x="541" y="644"/>
                  </a:lnTo>
                  <a:lnTo>
                    <a:pt x="543" y="644"/>
                  </a:lnTo>
                  <a:lnTo>
                    <a:pt x="543" y="646"/>
                  </a:lnTo>
                  <a:lnTo>
                    <a:pt x="541" y="646"/>
                  </a:lnTo>
                  <a:lnTo>
                    <a:pt x="541" y="648"/>
                  </a:lnTo>
                  <a:lnTo>
                    <a:pt x="541" y="650"/>
                  </a:lnTo>
                  <a:lnTo>
                    <a:pt x="541" y="651"/>
                  </a:lnTo>
                  <a:lnTo>
                    <a:pt x="541" y="653"/>
                  </a:lnTo>
                  <a:lnTo>
                    <a:pt x="541" y="651"/>
                  </a:lnTo>
                  <a:lnTo>
                    <a:pt x="541" y="653"/>
                  </a:lnTo>
                  <a:lnTo>
                    <a:pt x="539" y="653"/>
                  </a:lnTo>
                  <a:lnTo>
                    <a:pt x="539" y="655"/>
                  </a:lnTo>
                  <a:lnTo>
                    <a:pt x="539" y="653"/>
                  </a:lnTo>
                  <a:lnTo>
                    <a:pt x="537" y="653"/>
                  </a:lnTo>
                  <a:lnTo>
                    <a:pt x="537" y="655"/>
                  </a:lnTo>
                  <a:lnTo>
                    <a:pt x="537" y="653"/>
                  </a:lnTo>
                  <a:lnTo>
                    <a:pt x="537" y="655"/>
                  </a:lnTo>
                  <a:lnTo>
                    <a:pt x="537" y="653"/>
                  </a:lnTo>
                  <a:lnTo>
                    <a:pt x="537" y="655"/>
                  </a:lnTo>
                  <a:lnTo>
                    <a:pt x="537" y="653"/>
                  </a:lnTo>
                  <a:lnTo>
                    <a:pt x="537" y="655"/>
                  </a:lnTo>
                  <a:lnTo>
                    <a:pt x="535" y="655"/>
                  </a:lnTo>
                  <a:lnTo>
                    <a:pt x="533" y="657"/>
                  </a:lnTo>
                  <a:lnTo>
                    <a:pt x="533" y="659"/>
                  </a:lnTo>
                  <a:lnTo>
                    <a:pt x="532" y="659"/>
                  </a:lnTo>
                  <a:lnTo>
                    <a:pt x="532" y="657"/>
                  </a:lnTo>
                  <a:lnTo>
                    <a:pt x="532" y="659"/>
                  </a:lnTo>
                  <a:lnTo>
                    <a:pt x="530" y="659"/>
                  </a:lnTo>
                  <a:lnTo>
                    <a:pt x="530" y="661"/>
                  </a:lnTo>
                  <a:lnTo>
                    <a:pt x="528" y="661"/>
                  </a:lnTo>
                  <a:lnTo>
                    <a:pt x="526" y="661"/>
                  </a:lnTo>
                  <a:lnTo>
                    <a:pt x="526" y="663"/>
                  </a:lnTo>
                  <a:lnTo>
                    <a:pt x="526" y="661"/>
                  </a:lnTo>
                  <a:lnTo>
                    <a:pt x="524" y="661"/>
                  </a:lnTo>
                  <a:lnTo>
                    <a:pt x="524" y="659"/>
                  </a:lnTo>
                  <a:lnTo>
                    <a:pt x="522" y="659"/>
                  </a:lnTo>
                  <a:lnTo>
                    <a:pt x="522" y="661"/>
                  </a:lnTo>
                  <a:lnTo>
                    <a:pt x="520" y="661"/>
                  </a:lnTo>
                  <a:lnTo>
                    <a:pt x="520" y="659"/>
                  </a:lnTo>
                  <a:lnTo>
                    <a:pt x="518" y="659"/>
                  </a:lnTo>
                  <a:lnTo>
                    <a:pt x="516" y="659"/>
                  </a:lnTo>
                  <a:lnTo>
                    <a:pt x="516" y="657"/>
                  </a:lnTo>
                  <a:lnTo>
                    <a:pt x="514" y="657"/>
                  </a:lnTo>
                  <a:lnTo>
                    <a:pt x="514" y="655"/>
                  </a:lnTo>
                  <a:lnTo>
                    <a:pt x="514" y="653"/>
                  </a:lnTo>
                  <a:lnTo>
                    <a:pt x="514" y="651"/>
                  </a:lnTo>
                  <a:lnTo>
                    <a:pt x="512" y="651"/>
                  </a:lnTo>
                  <a:lnTo>
                    <a:pt x="512" y="650"/>
                  </a:lnTo>
                  <a:lnTo>
                    <a:pt x="512" y="648"/>
                  </a:lnTo>
                  <a:lnTo>
                    <a:pt x="514" y="648"/>
                  </a:lnTo>
                  <a:lnTo>
                    <a:pt x="514" y="646"/>
                  </a:lnTo>
                  <a:lnTo>
                    <a:pt x="514" y="648"/>
                  </a:lnTo>
                  <a:lnTo>
                    <a:pt x="514" y="646"/>
                  </a:lnTo>
                  <a:lnTo>
                    <a:pt x="512" y="646"/>
                  </a:lnTo>
                  <a:lnTo>
                    <a:pt x="512" y="644"/>
                  </a:lnTo>
                  <a:lnTo>
                    <a:pt x="514" y="644"/>
                  </a:lnTo>
                  <a:lnTo>
                    <a:pt x="512" y="644"/>
                  </a:lnTo>
                  <a:lnTo>
                    <a:pt x="514" y="644"/>
                  </a:lnTo>
                  <a:lnTo>
                    <a:pt x="512" y="644"/>
                  </a:lnTo>
                  <a:lnTo>
                    <a:pt x="514" y="644"/>
                  </a:lnTo>
                  <a:lnTo>
                    <a:pt x="514" y="642"/>
                  </a:lnTo>
                  <a:lnTo>
                    <a:pt x="516" y="642"/>
                  </a:lnTo>
                  <a:lnTo>
                    <a:pt x="518" y="642"/>
                  </a:lnTo>
                  <a:lnTo>
                    <a:pt x="518" y="640"/>
                  </a:lnTo>
                  <a:lnTo>
                    <a:pt x="520" y="640"/>
                  </a:lnTo>
                  <a:lnTo>
                    <a:pt x="520" y="638"/>
                  </a:lnTo>
                  <a:lnTo>
                    <a:pt x="522" y="638"/>
                  </a:lnTo>
                  <a:lnTo>
                    <a:pt x="522" y="636"/>
                  </a:lnTo>
                  <a:lnTo>
                    <a:pt x="522" y="638"/>
                  </a:lnTo>
                  <a:lnTo>
                    <a:pt x="522" y="636"/>
                  </a:lnTo>
                  <a:lnTo>
                    <a:pt x="522" y="638"/>
                  </a:lnTo>
                  <a:lnTo>
                    <a:pt x="520" y="638"/>
                  </a:lnTo>
                  <a:lnTo>
                    <a:pt x="520" y="636"/>
                  </a:lnTo>
                  <a:lnTo>
                    <a:pt x="522" y="636"/>
                  </a:lnTo>
                  <a:lnTo>
                    <a:pt x="522" y="634"/>
                  </a:lnTo>
                  <a:lnTo>
                    <a:pt x="524" y="634"/>
                  </a:lnTo>
                  <a:lnTo>
                    <a:pt x="524" y="636"/>
                  </a:lnTo>
                  <a:lnTo>
                    <a:pt x="522" y="636"/>
                  </a:lnTo>
                  <a:lnTo>
                    <a:pt x="524" y="636"/>
                  </a:lnTo>
                  <a:lnTo>
                    <a:pt x="526" y="636"/>
                  </a:lnTo>
                  <a:lnTo>
                    <a:pt x="526" y="634"/>
                  </a:lnTo>
                  <a:lnTo>
                    <a:pt x="528" y="634"/>
                  </a:lnTo>
                  <a:lnTo>
                    <a:pt x="530" y="634"/>
                  </a:lnTo>
                  <a:lnTo>
                    <a:pt x="532" y="634"/>
                  </a:lnTo>
                  <a:lnTo>
                    <a:pt x="533" y="634"/>
                  </a:lnTo>
                  <a:lnTo>
                    <a:pt x="532" y="634"/>
                  </a:lnTo>
                  <a:lnTo>
                    <a:pt x="533" y="634"/>
                  </a:lnTo>
                  <a:lnTo>
                    <a:pt x="532" y="634"/>
                  </a:lnTo>
                  <a:lnTo>
                    <a:pt x="533" y="634"/>
                  </a:lnTo>
                  <a:lnTo>
                    <a:pt x="535" y="634"/>
                  </a:lnTo>
                  <a:lnTo>
                    <a:pt x="535" y="632"/>
                  </a:lnTo>
                  <a:lnTo>
                    <a:pt x="537" y="632"/>
                  </a:lnTo>
                  <a:lnTo>
                    <a:pt x="537" y="634"/>
                  </a:lnTo>
                  <a:lnTo>
                    <a:pt x="537" y="632"/>
                  </a:lnTo>
                  <a:lnTo>
                    <a:pt x="539" y="632"/>
                  </a:lnTo>
                  <a:lnTo>
                    <a:pt x="539" y="634"/>
                  </a:lnTo>
                  <a:lnTo>
                    <a:pt x="539" y="632"/>
                  </a:lnTo>
                  <a:lnTo>
                    <a:pt x="537" y="632"/>
                  </a:lnTo>
                  <a:lnTo>
                    <a:pt x="539" y="632"/>
                  </a:lnTo>
                  <a:lnTo>
                    <a:pt x="539" y="634"/>
                  </a:lnTo>
                  <a:lnTo>
                    <a:pt x="541" y="634"/>
                  </a:lnTo>
                  <a:lnTo>
                    <a:pt x="541" y="632"/>
                  </a:lnTo>
                  <a:lnTo>
                    <a:pt x="543" y="632"/>
                  </a:lnTo>
                  <a:lnTo>
                    <a:pt x="543" y="630"/>
                  </a:lnTo>
                  <a:close/>
                  <a:moveTo>
                    <a:pt x="699" y="440"/>
                  </a:moveTo>
                  <a:lnTo>
                    <a:pt x="700" y="440"/>
                  </a:lnTo>
                  <a:lnTo>
                    <a:pt x="700" y="442"/>
                  </a:lnTo>
                  <a:lnTo>
                    <a:pt x="702" y="442"/>
                  </a:lnTo>
                  <a:lnTo>
                    <a:pt x="702" y="444"/>
                  </a:lnTo>
                  <a:lnTo>
                    <a:pt x="704" y="444"/>
                  </a:lnTo>
                  <a:lnTo>
                    <a:pt x="706" y="444"/>
                  </a:lnTo>
                  <a:lnTo>
                    <a:pt x="708" y="446"/>
                  </a:lnTo>
                  <a:lnTo>
                    <a:pt x="708" y="448"/>
                  </a:lnTo>
                  <a:lnTo>
                    <a:pt x="706" y="448"/>
                  </a:lnTo>
                  <a:lnTo>
                    <a:pt x="704" y="448"/>
                  </a:lnTo>
                  <a:lnTo>
                    <a:pt x="704" y="446"/>
                  </a:lnTo>
                  <a:lnTo>
                    <a:pt x="702" y="446"/>
                  </a:lnTo>
                  <a:lnTo>
                    <a:pt x="700" y="446"/>
                  </a:lnTo>
                  <a:lnTo>
                    <a:pt x="700" y="444"/>
                  </a:lnTo>
                  <a:lnTo>
                    <a:pt x="699" y="444"/>
                  </a:lnTo>
                  <a:lnTo>
                    <a:pt x="699" y="442"/>
                  </a:lnTo>
                  <a:lnTo>
                    <a:pt x="697" y="442"/>
                  </a:lnTo>
                  <a:lnTo>
                    <a:pt x="697" y="440"/>
                  </a:lnTo>
                  <a:lnTo>
                    <a:pt x="699" y="440"/>
                  </a:lnTo>
                  <a:close/>
                  <a:moveTo>
                    <a:pt x="708" y="469"/>
                  </a:moveTo>
                  <a:lnTo>
                    <a:pt x="710" y="469"/>
                  </a:lnTo>
                  <a:lnTo>
                    <a:pt x="712" y="469"/>
                  </a:lnTo>
                  <a:lnTo>
                    <a:pt x="712" y="471"/>
                  </a:lnTo>
                  <a:lnTo>
                    <a:pt x="712" y="469"/>
                  </a:lnTo>
                  <a:lnTo>
                    <a:pt x="712" y="471"/>
                  </a:lnTo>
                  <a:lnTo>
                    <a:pt x="714" y="471"/>
                  </a:lnTo>
                  <a:lnTo>
                    <a:pt x="714" y="473"/>
                  </a:lnTo>
                  <a:lnTo>
                    <a:pt x="712" y="473"/>
                  </a:lnTo>
                  <a:lnTo>
                    <a:pt x="710" y="473"/>
                  </a:lnTo>
                  <a:lnTo>
                    <a:pt x="710" y="471"/>
                  </a:lnTo>
                  <a:lnTo>
                    <a:pt x="708" y="471"/>
                  </a:lnTo>
                  <a:lnTo>
                    <a:pt x="708" y="473"/>
                  </a:lnTo>
                  <a:lnTo>
                    <a:pt x="708" y="471"/>
                  </a:lnTo>
                  <a:lnTo>
                    <a:pt x="708" y="469"/>
                  </a:lnTo>
                  <a:lnTo>
                    <a:pt x="708" y="471"/>
                  </a:lnTo>
                  <a:lnTo>
                    <a:pt x="708" y="469"/>
                  </a:lnTo>
                  <a:close/>
                  <a:moveTo>
                    <a:pt x="675" y="544"/>
                  </a:moveTo>
                  <a:lnTo>
                    <a:pt x="677" y="544"/>
                  </a:lnTo>
                  <a:lnTo>
                    <a:pt x="677" y="546"/>
                  </a:lnTo>
                  <a:lnTo>
                    <a:pt x="675" y="546"/>
                  </a:lnTo>
                  <a:lnTo>
                    <a:pt x="677" y="546"/>
                  </a:lnTo>
                  <a:lnTo>
                    <a:pt x="677" y="548"/>
                  </a:lnTo>
                  <a:lnTo>
                    <a:pt x="677" y="546"/>
                  </a:lnTo>
                  <a:lnTo>
                    <a:pt x="677" y="548"/>
                  </a:lnTo>
                  <a:lnTo>
                    <a:pt x="677" y="546"/>
                  </a:lnTo>
                  <a:lnTo>
                    <a:pt x="677" y="548"/>
                  </a:lnTo>
                  <a:lnTo>
                    <a:pt x="677" y="546"/>
                  </a:lnTo>
                  <a:lnTo>
                    <a:pt x="677" y="548"/>
                  </a:lnTo>
                  <a:lnTo>
                    <a:pt x="675" y="548"/>
                  </a:lnTo>
                  <a:lnTo>
                    <a:pt x="674" y="548"/>
                  </a:lnTo>
                  <a:lnTo>
                    <a:pt x="675" y="548"/>
                  </a:lnTo>
                  <a:lnTo>
                    <a:pt x="674" y="548"/>
                  </a:lnTo>
                  <a:lnTo>
                    <a:pt x="675" y="548"/>
                  </a:lnTo>
                  <a:lnTo>
                    <a:pt x="675" y="546"/>
                  </a:lnTo>
                  <a:lnTo>
                    <a:pt x="675" y="548"/>
                  </a:lnTo>
                  <a:lnTo>
                    <a:pt x="675" y="546"/>
                  </a:lnTo>
                  <a:lnTo>
                    <a:pt x="674" y="546"/>
                  </a:lnTo>
                  <a:lnTo>
                    <a:pt x="675" y="546"/>
                  </a:lnTo>
                  <a:lnTo>
                    <a:pt x="674" y="546"/>
                  </a:lnTo>
                  <a:lnTo>
                    <a:pt x="675" y="546"/>
                  </a:lnTo>
                  <a:lnTo>
                    <a:pt x="674" y="546"/>
                  </a:lnTo>
                  <a:lnTo>
                    <a:pt x="674" y="544"/>
                  </a:lnTo>
                  <a:lnTo>
                    <a:pt x="675" y="546"/>
                  </a:lnTo>
                  <a:lnTo>
                    <a:pt x="675" y="544"/>
                  </a:lnTo>
                  <a:lnTo>
                    <a:pt x="674" y="544"/>
                  </a:lnTo>
                  <a:lnTo>
                    <a:pt x="675" y="544"/>
                  </a:lnTo>
                  <a:close/>
                  <a:moveTo>
                    <a:pt x="639" y="575"/>
                  </a:moveTo>
                  <a:lnTo>
                    <a:pt x="643" y="575"/>
                  </a:lnTo>
                  <a:lnTo>
                    <a:pt x="643" y="577"/>
                  </a:lnTo>
                  <a:lnTo>
                    <a:pt x="639" y="577"/>
                  </a:lnTo>
                  <a:lnTo>
                    <a:pt x="639" y="575"/>
                  </a:lnTo>
                  <a:close/>
                  <a:moveTo>
                    <a:pt x="589" y="598"/>
                  </a:moveTo>
                  <a:lnTo>
                    <a:pt x="593" y="598"/>
                  </a:lnTo>
                  <a:lnTo>
                    <a:pt x="593" y="600"/>
                  </a:lnTo>
                  <a:lnTo>
                    <a:pt x="589" y="600"/>
                  </a:lnTo>
                  <a:lnTo>
                    <a:pt x="589" y="598"/>
                  </a:lnTo>
                  <a:close/>
                  <a:moveTo>
                    <a:pt x="651" y="561"/>
                  </a:moveTo>
                  <a:lnTo>
                    <a:pt x="652" y="561"/>
                  </a:lnTo>
                  <a:lnTo>
                    <a:pt x="652" y="563"/>
                  </a:lnTo>
                  <a:lnTo>
                    <a:pt x="651" y="563"/>
                  </a:lnTo>
                  <a:lnTo>
                    <a:pt x="651" y="561"/>
                  </a:lnTo>
                  <a:close/>
                  <a:moveTo>
                    <a:pt x="583" y="590"/>
                  </a:moveTo>
                  <a:lnTo>
                    <a:pt x="587" y="590"/>
                  </a:lnTo>
                  <a:lnTo>
                    <a:pt x="587" y="594"/>
                  </a:lnTo>
                  <a:lnTo>
                    <a:pt x="583" y="594"/>
                  </a:lnTo>
                  <a:lnTo>
                    <a:pt x="583" y="590"/>
                  </a:lnTo>
                  <a:close/>
                  <a:moveTo>
                    <a:pt x="572" y="605"/>
                  </a:moveTo>
                  <a:lnTo>
                    <a:pt x="576" y="605"/>
                  </a:lnTo>
                  <a:lnTo>
                    <a:pt x="576" y="609"/>
                  </a:lnTo>
                  <a:lnTo>
                    <a:pt x="572" y="609"/>
                  </a:lnTo>
                  <a:lnTo>
                    <a:pt x="572" y="605"/>
                  </a:lnTo>
                  <a:close/>
                  <a:moveTo>
                    <a:pt x="539" y="615"/>
                  </a:moveTo>
                  <a:lnTo>
                    <a:pt x="541" y="615"/>
                  </a:lnTo>
                  <a:lnTo>
                    <a:pt x="541" y="617"/>
                  </a:lnTo>
                  <a:lnTo>
                    <a:pt x="539" y="617"/>
                  </a:lnTo>
                  <a:lnTo>
                    <a:pt x="539" y="615"/>
                  </a:lnTo>
                  <a:close/>
                  <a:moveTo>
                    <a:pt x="708" y="465"/>
                  </a:moveTo>
                  <a:lnTo>
                    <a:pt x="712" y="465"/>
                  </a:lnTo>
                  <a:lnTo>
                    <a:pt x="712" y="467"/>
                  </a:lnTo>
                  <a:lnTo>
                    <a:pt x="708" y="467"/>
                  </a:lnTo>
                  <a:lnTo>
                    <a:pt x="708" y="465"/>
                  </a:lnTo>
                  <a:close/>
                  <a:moveTo>
                    <a:pt x="702" y="448"/>
                  </a:moveTo>
                  <a:lnTo>
                    <a:pt x="704" y="448"/>
                  </a:lnTo>
                  <a:lnTo>
                    <a:pt x="704" y="450"/>
                  </a:lnTo>
                  <a:lnTo>
                    <a:pt x="704" y="448"/>
                  </a:lnTo>
                  <a:lnTo>
                    <a:pt x="702" y="448"/>
                  </a:lnTo>
                  <a:lnTo>
                    <a:pt x="702" y="446"/>
                  </a:lnTo>
                  <a:lnTo>
                    <a:pt x="700" y="446"/>
                  </a:lnTo>
                  <a:lnTo>
                    <a:pt x="702" y="446"/>
                  </a:lnTo>
                  <a:lnTo>
                    <a:pt x="702" y="448"/>
                  </a:lnTo>
                  <a:close/>
                  <a:moveTo>
                    <a:pt x="708" y="475"/>
                  </a:moveTo>
                  <a:lnTo>
                    <a:pt x="712" y="475"/>
                  </a:lnTo>
                  <a:lnTo>
                    <a:pt x="712" y="479"/>
                  </a:lnTo>
                  <a:lnTo>
                    <a:pt x="708" y="479"/>
                  </a:lnTo>
                  <a:lnTo>
                    <a:pt x="708" y="475"/>
                  </a:lnTo>
                  <a:close/>
                  <a:moveTo>
                    <a:pt x="635" y="578"/>
                  </a:moveTo>
                  <a:lnTo>
                    <a:pt x="637" y="578"/>
                  </a:lnTo>
                  <a:lnTo>
                    <a:pt x="637" y="580"/>
                  </a:lnTo>
                  <a:lnTo>
                    <a:pt x="635" y="580"/>
                  </a:lnTo>
                  <a:lnTo>
                    <a:pt x="635" y="578"/>
                  </a:lnTo>
                  <a:close/>
                  <a:moveTo>
                    <a:pt x="706" y="486"/>
                  </a:moveTo>
                  <a:lnTo>
                    <a:pt x="708" y="486"/>
                  </a:lnTo>
                  <a:lnTo>
                    <a:pt x="708" y="488"/>
                  </a:lnTo>
                  <a:lnTo>
                    <a:pt x="706" y="488"/>
                  </a:lnTo>
                  <a:lnTo>
                    <a:pt x="706" y="486"/>
                  </a:lnTo>
                  <a:close/>
                  <a:moveTo>
                    <a:pt x="629" y="580"/>
                  </a:moveTo>
                  <a:lnTo>
                    <a:pt x="633" y="580"/>
                  </a:lnTo>
                  <a:lnTo>
                    <a:pt x="633" y="582"/>
                  </a:lnTo>
                  <a:lnTo>
                    <a:pt x="629" y="582"/>
                  </a:lnTo>
                  <a:lnTo>
                    <a:pt x="629" y="580"/>
                  </a:lnTo>
                  <a:close/>
                  <a:moveTo>
                    <a:pt x="583" y="600"/>
                  </a:moveTo>
                  <a:lnTo>
                    <a:pt x="585" y="600"/>
                  </a:lnTo>
                  <a:lnTo>
                    <a:pt x="585" y="601"/>
                  </a:lnTo>
                  <a:lnTo>
                    <a:pt x="583" y="601"/>
                  </a:lnTo>
                  <a:lnTo>
                    <a:pt x="583" y="600"/>
                  </a:lnTo>
                  <a:close/>
                  <a:moveTo>
                    <a:pt x="706" y="471"/>
                  </a:moveTo>
                  <a:lnTo>
                    <a:pt x="708" y="471"/>
                  </a:lnTo>
                  <a:lnTo>
                    <a:pt x="708" y="473"/>
                  </a:lnTo>
                  <a:lnTo>
                    <a:pt x="706" y="473"/>
                  </a:lnTo>
                  <a:lnTo>
                    <a:pt x="706" y="471"/>
                  </a:lnTo>
                  <a:close/>
                  <a:moveTo>
                    <a:pt x="570" y="607"/>
                  </a:moveTo>
                  <a:lnTo>
                    <a:pt x="572" y="607"/>
                  </a:lnTo>
                  <a:lnTo>
                    <a:pt x="572" y="609"/>
                  </a:lnTo>
                  <a:lnTo>
                    <a:pt x="570" y="609"/>
                  </a:lnTo>
                  <a:lnTo>
                    <a:pt x="570" y="607"/>
                  </a:lnTo>
                  <a:close/>
                  <a:moveTo>
                    <a:pt x="593" y="598"/>
                  </a:moveTo>
                  <a:lnTo>
                    <a:pt x="595" y="598"/>
                  </a:lnTo>
                  <a:lnTo>
                    <a:pt x="595" y="600"/>
                  </a:lnTo>
                  <a:lnTo>
                    <a:pt x="593" y="600"/>
                  </a:lnTo>
                  <a:lnTo>
                    <a:pt x="593" y="598"/>
                  </a:lnTo>
                  <a:close/>
                  <a:moveTo>
                    <a:pt x="706" y="448"/>
                  </a:moveTo>
                  <a:lnTo>
                    <a:pt x="706" y="450"/>
                  </a:lnTo>
                  <a:lnTo>
                    <a:pt x="706" y="448"/>
                  </a:lnTo>
                  <a:close/>
                  <a:moveTo>
                    <a:pt x="714" y="473"/>
                  </a:moveTo>
                  <a:lnTo>
                    <a:pt x="714" y="475"/>
                  </a:lnTo>
                  <a:lnTo>
                    <a:pt x="714" y="473"/>
                  </a:lnTo>
                  <a:close/>
                  <a:moveTo>
                    <a:pt x="712" y="463"/>
                  </a:moveTo>
                  <a:lnTo>
                    <a:pt x="714" y="463"/>
                  </a:lnTo>
                  <a:lnTo>
                    <a:pt x="714" y="465"/>
                  </a:lnTo>
                  <a:lnTo>
                    <a:pt x="712" y="465"/>
                  </a:lnTo>
                  <a:lnTo>
                    <a:pt x="712" y="463"/>
                  </a:lnTo>
                  <a:close/>
                  <a:moveTo>
                    <a:pt x="672" y="536"/>
                  </a:moveTo>
                  <a:lnTo>
                    <a:pt x="674" y="536"/>
                  </a:lnTo>
                  <a:lnTo>
                    <a:pt x="674" y="538"/>
                  </a:lnTo>
                  <a:lnTo>
                    <a:pt x="672" y="538"/>
                  </a:lnTo>
                  <a:lnTo>
                    <a:pt x="672" y="536"/>
                  </a:lnTo>
                  <a:close/>
                  <a:moveTo>
                    <a:pt x="687" y="436"/>
                  </a:moveTo>
                  <a:lnTo>
                    <a:pt x="689" y="436"/>
                  </a:lnTo>
                  <a:lnTo>
                    <a:pt x="689" y="438"/>
                  </a:lnTo>
                  <a:lnTo>
                    <a:pt x="687" y="438"/>
                  </a:lnTo>
                  <a:lnTo>
                    <a:pt x="687" y="436"/>
                  </a:lnTo>
                  <a:close/>
                  <a:moveTo>
                    <a:pt x="541" y="619"/>
                  </a:moveTo>
                  <a:lnTo>
                    <a:pt x="543" y="619"/>
                  </a:lnTo>
                  <a:lnTo>
                    <a:pt x="543" y="621"/>
                  </a:lnTo>
                  <a:lnTo>
                    <a:pt x="541" y="621"/>
                  </a:lnTo>
                  <a:lnTo>
                    <a:pt x="541" y="619"/>
                  </a:lnTo>
                  <a:close/>
                  <a:moveTo>
                    <a:pt x="585" y="590"/>
                  </a:moveTo>
                  <a:lnTo>
                    <a:pt x="587" y="590"/>
                  </a:lnTo>
                  <a:lnTo>
                    <a:pt x="587" y="594"/>
                  </a:lnTo>
                  <a:lnTo>
                    <a:pt x="585" y="594"/>
                  </a:lnTo>
                  <a:lnTo>
                    <a:pt x="585" y="590"/>
                  </a:lnTo>
                  <a:close/>
                  <a:moveTo>
                    <a:pt x="672" y="550"/>
                  </a:moveTo>
                  <a:lnTo>
                    <a:pt x="674" y="550"/>
                  </a:lnTo>
                  <a:lnTo>
                    <a:pt x="674" y="552"/>
                  </a:lnTo>
                  <a:lnTo>
                    <a:pt x="672" y="552"/>
                  </a:lnTo>
                  <a:lnTo>
                    <a:pt x="672" y="550"/>
                  </a:lnTo>
                  <a:close/>
                  <a:moveTo>
                    <a:pt x="691" y="505"/>
                  </a:moveTo>
                  <a:lnTo>
                    <a:pt x="693" y="505"/>
                  </a:lnTo>
                  <a:lnTo>
                    <a:pt x="693" y="507"/>
                  </a:lnTo>
                  <a:lnTo>
                    <a:pt x="691" y="507"/>
                  </a:lnTo>
                  <a:lnTo>
                    <a:pt x="691" y="505"/>
                  </a:lnTo>
                  <a:close/>
                  <a:moveTo>
                    <a:pt x="704" y="486"/>
                  </a:moveTo>
                  <a:lnTo>
                    <a:pt x="706" y="486"/>
                  </a:lnTo>
                  <a:lnTo>
                    <a:pt x="704" y="486"/>
                  </a:lnTo>
                  <a:close/>
                  <a:moveTo>
                    <a:pt x="712" y="475"/>
                  </a:moveTo>
                  <a:lnTo>
                    <a:pt x="714" y="475"/>
                  </a:lnTo>
                  <a:lnTo>
                    <a:pt x="712" y="475"/>
                  </a:lnTo>
                  <a:close/>
                  <a:moveTo>
                    <a:pt x="708" y="475"/>
                  </a:moveTo>
                  <a:lnTo>
                    <a:pt x="708" y="477"/>
                  </a:lnTo>
                  <a:lnTo>
                    <a:pt x="708" y="475"/>
                  </a:lnTo>
                  <a:close/>
                  <a:moveTo>
                    <a:pt x="722" y="302"/>
                  </a:moveTo>
                  <a:lnTo>
                    <a:pt x="723" y="302"/>
                  </a:lnTo>
                  <a:lnTo>
                    <a:pt x="722" y="302"/>
                  </a:lnTo>
                  <a:close/>
                  <a:moveTo>
                    <a:pt x="712" y="467"/>
                  </a:moveTo>
                  <a:lnTo>
                    <a:pt x="714" y="467"/>
                  </a:lnTo>
                  <a:lnTo>
                    <a:pt x="712" y="467"/>
                  </a:lnTo>
                  <a:close/>
                  <a:moveTo>
                    <a:pt x="583" y="586"/>
                  </a:moveTo>
                  <a:lnTo>
                    <a:pt x="585" y="586"/>
                  </a:lnTo>
                  <a:lnTo>
                    <a:pt x="585" y="588"/>
                  </a:lnTo>
                  <a:lnTo>
                    <a:pt x="583" y="588"/>
                  </a:lnTo>
                  <a:lnTo>
                    <a:pt x="583" y="586"/>
                  </a:lnTo>
                  <a:close/>
                  <a:moveTo>
                    <a:pt x="509" y="607"/>
                  </a:moveTo>
                  <a:lnTo>
                    <a:pt x="509" y="609"/>
                  </a:lnTo>
                  <a:lnTo>
                    <a:pt x="509" y="607"/>
                  </a:lnTo>
                  <a:close/>
                  <a:moveTo>
                    <a:pt x="695" y="507"/>
                  </a:moveTo>
                  <a:lnTo>
                    <a:pt x="697" y="507"/>
                  </a:lnTo>
                  <a:lnTo>
                    <a:pt x="697" y="509"/>
                  </a:lnTo>
                  <a:lnTo>
                    <a:pt x="695" y="509"/>
                  </a:lnTo>
                  <a:lnTo>
                    <a:pt x="695" y="507"/>
                  </a:lnTo>
                  <a:close/>
                  <a:moveTo>
                    <a:pt x="647" y="563"/>
                  </a:moveTo>
                  <a:lnTo>
                    <a:pt x="649" y="563"/>
                  </a:lnTo>
                  <a:lnTo>
                    <a:pt x="647" y="563"/>
                  </a:lnTo>
                  <a:close/>
                  <a:moveTo>
                    <a:pt x="714" y="459"/>
                  </a:moveTo>
                  <a:lnTo>
                    <a:pt x="716" y="459"/>
                  </a:lnTo>
                  <a:lnTo>
                    <a:pt x="716" y="461"/>
                  </a:lnTo>
                  <a:lnTo>
                    <a:pt x="714" y="461"/>
                  </a:lnTo>
                  <a:lnTo>
                    <a:pt x="714" y="459"/>
                  </a:lnTo>
                  <a:close/>
                  <a:moveTo>
                    <a:pt x="716" y="306"/>
                  </a:moveTo>
                  <a:lnTo>
                    <a:pt x="718" y="306"/>
                  </a:lnTo>
                  <a:lnTo>
                    <a:pt x="718" y="308"/>
                  </a:lnTo>
                  <a:lnTo>
                    <a:pt x="716" y="308"/>
                  </a:lnTo>
                  <a:lnTo>
                    <a:pt x="716" y="306"/>
                  </a:lnTo>
                  <a:close/>
                  <a:moveTo>
                    <a:pt x="712" y="308"/>
                  </a:moveTo>
                  <a:lnTo>
                    <a:pt x="714" y="308"/>
                  </a:lnTo>
                  <a:lnTo>
                    <a:pt x="714" y="310"/>
                  </a:lnTo>
                  <a:lnTo>
                    <a:pt x="712" y="310"/>
                  </a:lnTo>
                  <a:lnTo>
                    <a:pt x="712" y="308"/>
                  </a:lnTo>
                  <a:close/>
                  <a:moveTo>
                    <a:pt x="674" y="527"/>
                  </a:moveTo>
                  <a:lnTo>
                    <a:pt x="675" y="527"/>
                  </a:lnTo>
                  <a:lnTo>
                    <a:pt x="675" y="528"/>
                  </a:lnTo>
                  <a:lnTo>
                    <a:pt x="674" y="528"/>
                  </a:lnTo>
                  <a:lnTo>
                    <a:pt x="674" y="527"/>
                  </a:lnTo>
                  <a:close/>
                  <a:moveTo>
                    <a:pt x="695" y="505"/>
                  </a:moveTo>
                  <a:lnTo>
                    <a:pt x="697" y="505"/>
                  </a:lnTo>
                  <a:lnTo>
                    <a:pt x="695" y="505"/>
                  </a:lnTo>
                  <a:close/>
                  <a:moveTo>
                    <a:pt x="633" y="577"/>
                  </a:moveTo>
                  <a:lnTo>
                    <a:pt x="635" y="577"/>
                  </a:lnTo>
                  <a:lnTo>
                    <a:pt x="635" y="578"/>
                  </a:lnTo>
                  <a:lnTo>
                    <a:pt x="633" y="578"/>
                  </a:lnTo>
                  <a:lnTo>
                    <a:pt x="633" y="577"/>
                  </a:lnTo>
                  <a:close/>
                  <a:moveTo>
                    <a:pt x="660" y="310"/>
                  </a:moveTo>
                  <a:lnTo>
                    <a:pt x="662" y="310"/>
                  </a:lnTo>
                  <a:lnTo>
                    <a:pt x="662" y="311"/>
                  </a:lnTo>
                  <a:lnTo>
                    <a:pt x="660" y="311"/>
                  </a:lnTo>
                  <a:lnTo>
                    <a:pt x="660" y="310"/>
                  </a:lnTo>
                  <a:close/>
                  <a:moveTo>
                    <a:pt x="710" y="469"/>
                  </a:moveTo>
                  <a:lnTo>
                    <a:pt x="712" y="469"/>
                  </a:lnTo>
                  <a:lnTo>
                    <a:pt x="710" y="469"/>
                  </a:lnTo>
                  <a:close/>
                  <a:moveTo>
                    <a:pt x="689" y="331"/>
                  </a:moveTo>
                  <a:lnTo>
                    <a:pt x="691" y="331"/>
                  </a:lnTo>
                  <a:lnTo>
                    <a:pt x="691" y="333"/>
                  </a:lnTo>
                  <a:lnTo>
                    <a:pt x="689" y="333"/>
                  </a:lnTo>
                  <a:lnTo>
                    <a:pt x="689" y="331"/>
                  </a:lnTo>
                  <a:close/>
                  <a:moveTo>
                    <a:pt x="520" y="617"/>
                  </a:moveTo>
                  <a:lnTo>
                    <a:pt x="520" y="619"/>
                  </a:lnTo>
                  <a:lnTo>
                    <a:pt x="520" y="617"/>
                  </a:lnTo>
                  <a:close/>
                  <a:moveTo>
                    <a:pt x="685" y="436"/>
                  </a:moveTo>
                  <a:lnTo>
                    <a:pt x="685" y="438"/>
                  </a:lnTo>
                  <a:lnTo>
                    <a:pt x="685" y="436"/>
                  </a:lnTo>
                  <a:close/>
                  <a:moveTo>
                    <a:pt x="695" y="507"/>
                  </a:moveTo>
                  <a:lnTo>
                    <a:pt x="697" y="507"/>
                  </a:lnTo>
                  <a:lnTo>
                    <a:pt x="695" y="507"/>
                  </a:lnTo>
                  <a:close/>
                  <a:moveTo>
                    <a:pt x="585" y="596"/>
                  </a:moveTo>
                  <a:lnTo>
                    <a:pt x="587" y="596"/>
                  </a:lnTo>
                  <a:lnTo>
                    <a:pt x="585" y="596"/>
                  </a:lnTo>
                  <a:close/>
                  <a:moveTo>
                    <a:pt x="683" y="523"/>
                  </a:moveTo>
                  <a:lnTo>
                    <a:pt x="685" y="523"/>
                  </a:lnTo>
                  <a:lnTo>
                    <a:pt x="683" y="523"/>
                  </a:lnTo>
                  <a:close/>
                  <a:moveTo>
                    <a:pt x="725" y="310"/>
                  </a:moveTo>
                  <a:lnTo>
                    <a:pt x="725" y="311"/>
                  </a:lnTo>
                  <a:lnTo>
                    <a:pt x="725" y="310"/>
                  </a:lnTo>
                  <a:close/>
                  <a:moveTo>
                    <a:pt x="718" y="308"/>
                  </a:moveTo>
                  <a:lnTo>
                    <a:pt x="720" y="308"/>
                  </a:lnTo>
                  <a:lnTo>
                    <a:pt x="718" y="308"/>
                  </a:lnTo>
                  <a:close/>
                  <a:moveTo>
                    <a:pt x="585" y="588"/>
                  </a:moveTo>
                  <a:lnTo>
                    <a:pt x="587" y="588"/>
                  </a:lnTo>
                  <a:lnTo>
                    <a:pt x="587" y="590"/>
                  </a:lnTo>
                  <a:lnTo>
                    <a:pt x="585" y="590"/>
                  </a:lnTo>
                  <a:lnTo>
                    <a:pt x="585" y="588"/>
                  </a:lnTo>
                  <a:close/>
                  <a:moveTo>
                    <a:pt x="712" y="475"/>
                  </a:moveTo>
                  <a:lnTo>
                    <a:pt x="712" y="477"/>
                  </a:lnTo>
                  <a:lnTo>
                    <a:pt x="712" y="475"/>
                  </a:lnTo>
                  <a:close/>
                  <a:moveTo>
                    <a:pt x="583" y="590"/>
                  </a:moveTo>
                  <a:lnTo>
                    <a:pt x="585" y="590"/>
                  </a:lnTo>
                  <a:lnTo>
                    <a:pt x="583" y="590"/>
                  </a:lnTo>
                  <a:close/>
                  <a:moveTo>
                    <a:pt x="708" y="461"/>
                  </a:moveTo>
                  <a:lnTo>
                    <a:pt x="710" y="461"/>
                  </a:lnTo>
                  <a:lnTo>
                    <a:pt x="708" y="461"/>
                  </a:lnTo>
                  <a:close/>
                  <a:moveTo>
                    <a:pt x="704" y="486"/>
                  </a:moveTo>
                  <a:lnTo>
                    <a:pt x="706" y="486"/>
                  </a:lnTo>
                  <a:lnTo>
                    <a:pt x="706" y="488"/>
                  </a:lnTo>
                  <a:lnTo>
                    <a:pt x="704" y="488"/>
                  </a:lnTo>
                  <a:lnTo>
                    <a:pt x="704" y="486"/>
                  </a:lnTo>
                  <a:close/>
                  <a:moveTo>
                    <a:pt x="578" y="603"/>
                  </a:moveTo>
                  <a:lnTo>
                    <a:pt x="580" y="603"/>
                  </a:lnTo>
                  <a:lnTo>
                    <a:pt x="580" y="605"/>
                  </a:lnTo>
                  <a:lnTo>
                    <a:pt x="578" y="605"/>
                  </a:lnTo>
                  <a:lnTo>
                    <a:pt x="578" y="603"/>
                  </a:lnTo>
                  <a:close/>
                  <a:moveTo>
                    <a:pt x="706" y="450"/>
                  </a:moveTo>
                  <a:lnTo>
                    <a:pt x="708" y="450"/>
                  </a:lnTo>
                  <a:lnTo>
                    <a:pt x="708" y="452"/>
                  </a:lnTo>
                  <a:lnTo>
                    <a:pt x="706" y="452"/>
                  </a:lnTo>
                  <a:lnTo>
                    <a:pt x="706" y="450"/>
                  </a:lnTo>
                  <a:close/>
                  <a:moveTo>
                    <a:pt x="664" y="329"/>
                  </a:moveTo>
                  <a:lnTo>
                    <a:pt x="664" y="331"/>
                  </a:lnTo>
                  <a:lnTo>
                    <a:pt x="664" y="329"/>
                  </a:lnTo>
                  <a:close/>
                  <a:moveTo>
                    <a:pt x="706" y="469"/>
                  </a:moveTo>
                  <a:lnTo>
                    <a:pt x="708" y="469"/>
                  </a:lnTo>
                  <a:lnTo>
                    <a:pt x="708" y="471"/>
                  </a:lnTo>
                  <a:lnTo>
                    <a:pt x="706" y="471"/>
                  </a:lnTo>
                  <a:lnTo>
                    <a:pt x="706" y="469"/>
                  </a:lnTo>
                  <a:close/>
                  <a:moveTo>
                    <a:pt x="712" y="473"/>
                  </a:moveTo>
                  <a:lnTo>
                    <a:pt x="714" y="473"/>
                  </a:lnTo>
                  <a:lnTo>
                    <a:pt x="714" y="475"/>
                  </a:lnTo>
                  <a:lnTo>
                    <a:pt x="712" y="475"/>
                  </a:lnTo>
                  <a:lnTo>
                    <a:pt x="712" y="473"/>
                  </a:lnTo>
                  <a:close/>
                  <a:moveTo>
                    <a:pt x="589" y="598"/>
                  </a:moveTo>
                  <a:lnTo>
                    <a:pt x="591" y="598"/>
                  </a:lnTo>
                  <a:lnTo>
                    <a:pt x="589" y="598"/>
                  </a:lnTo>
                  <a:close/>
                  <a:moveTo>
                    <a:pt x="647" y="563"/>
                  </a:moveTo>
                  <a:lnTo>
                    <a:pt x="649" y="563"/>
                  </a:lnTo>
                  <a:lnTo>
                    <a:pt x="647" y="563"/>
                  </a:lnTo>
                  <a:close/>
                  <a:moveTo>
                    <a:pt x="708" y="444"/>
                  </a:moveTo>
                  <a:lnTo>
                    <a:pt x="710" y="444"/>
                  </a:lnTo>
                  <a:lnTo>
                    <a:pt x="708" y="444"/>
                  </a:lnTo>
                  <a:close/>
                  <a:moveTo>
                    <a:pt x="593" y="598"/>
                  </a:moveTo>
                  <a:lnTo>
                    <a:pt x="593" y="600"/>
                  </a:lnTo>
                  <a:lnTo>
                    <a:pt x="593" y="598"/>
                  </a:lnTo>
                  <a:close/>
                  <a:moveTo>
                    <a:pt x="595" y="601"/>
                  </a:moveTo>
                  <a:lnTo>
                    <a:pt x="597" y="601"/>
                  </a:lnTo>
                  <a:lnTo>
                    <a:pt x="595" y="601"/>
                  </a:lnTo>
                  <a:close/>
                  <a:moveTo>
                    <a:pt x="714" y="471"/>
                  </a:moveTo>
                  <a:lnTo>
                    <a:pt x="714" y="473"/>
                  </a:lnTo>
                  <a:lnTo>
                    <a:pt x="714" y="471"/>
                  </a:lnTo>
                  <a:close/>
                  <a:moveTo>
                    <a:pt x="708" y="484"/>
                  </a:moveTo>
                  <a:lnTo>
                    <a:pt x="710" y="484"/>
                  </a:lnTo>
                  <a:lnTo>
                    <a:pt x="710" y="486"/>
                  </a:lnTo>
                  <a:lnTo>
                    <a:pt x="708" y="486"/>
                  </a:lnTo>
                  <a:lnTo>
                    <a:pt x="708" y="484"/>
                  </a:lnTo>
                  <a:close/>
                  <a:moveTo>
                    <a:pt x="708" y="469"/>
                  </a:moveTo>
                  <a:lnTo>
                    <a:pt x="710" y="469"/>
                  </a:lnTo>
                  <a:lnTo>
                    <a:pt x="708" y="469"/>
                  </a:lnTo>
                  <a:close/>
                  <a:moveTo>
                    <a:pt x="674" y="544"/>
                  </a:moveTo>
                  <a:lnTo>
                    <a:pt x="675" y="544"/>
                  </a:lnTo>
                  <a:lnTo>
                    <a:pt x="674" y="544"/>
                  </a:lnTo>
                  <a:close/>
                  <a:moveTo>
                    <a:pt x="593" y="596"/>
                  </a:moveTo>
                  <a:lnTo>
                    <a:pt x="593" y="598"/>
                  </a:lnTo>
                  <a:lnTo>
                    <a:pt x="593" y="596"/>
                  </a:lnTo>
                  <a:close/>
                  <a:moveTo>
                    <a:pt x="583" y="588"/>
                  </a:moveTo>
                  <a:lnTo>
                    <a:pt x="585" y="588"/>
                  </a:lnTo>
                  <a:lnTo>
                    <a:pt x="585" y="590"/>
                  </a:lnTo>
                  <a:lnTo>
                    <a:pt x="583" y="590"/>
                  </a:lnTo>
                  <a:lnTo>
                    <a:pt x="583" y="588"/>
                  </a:lnTo>
                  <a:close/>
                  <a:moveTo>
                    <a:pt x="718" y="311"/>
                  </a:moveTo>
                  <a:lnTo>
                    <a:pt x="720" y="311"/>
                  </a:lnTo>
                  <a:lnTo>
                    <a:pt x="718" y="311"/>
                  </a:lnTo>
                  <a:close/>
                  <a:moveTo>
                    <a:pt x="578" y="603"/>
                  </a:moveTo>
                  <a:lnTo>
                    <a:pt x="578" y="605"/>
                  </a:lnTo>
                  <a:lnTo>
                    <a:pt x="578" y="603"/>
                  </a:lnTo>
                  <a:close/>
                  <a:moveTo>
                    <a:pt x="687" y="331"/>
                  </a:moveTo>
                  <a:lnTo>
                    <a:pt x="689" y="331"/>
                  </a:lnTo>
                  <a:lnTo>
                    <a:pt x="687" y="331"/>
                  </a:lnTo>
                  <a:close/>
                  <a:moveTo>
                    <a:pt x="702" y="446"/>
                  </a:moveTo>
                  <a:lnTo>
                    <a:pt x="702" y="448"/>
                  </a:lnTo>
                  <a:lnTo>
                    <a:pt x="702" y="446"/>
                  </a:lnTo>
                  <a:close/>
                  <a:moveTo>
                    <a:pt x="537" y="632"/>
                  </a:moveTo>
                  <a:lnTo>
                    <a:pt x="539" y="632"/>
                  </a:lnTo>
                  <a:lnTo>
                    <a:pt x="537" y="632"/>
                  </a:lnTo>
                  <a:close/>
                  <a:moveTo>
                    <a:pt x="593" y="601"/>
                  </a:moveTo>
                  <a:lnTo>
                    <a:pt x="595" y="601"/>
                  </a:lnTo>
                  <a:lnTo>
                    <a:pt x="593" y="601"/>
                  </a:lnTo>
                  <a:close/>
                  <a:moveTo>
                    <a:pt x="672" y="544"/>
                  </a:moveTo>
                  <a:lnTo>
                    <a:pt x="674" y="544"/>
                  </a:lnTo>
                  <a:lnTo>
                    <a:pt x="672" y="544"/>
                  </a:lnTo>
                  <a:close/>
                  <a:moveTo>
                    <a:pt x="587" y="601"/>
                  </a:moveTo>
                  <a:lnTo>
                    <a:pt x="587" y="603"/>
                  </a:lnTo>
                  <a:lnTo>
                    <a:pt x="587" y="601"/>
                  </a:lnTo>
                  <a:close/>
                  <a:moveTo>
                    <a:pt x="710" y="473"/>
                  </a:moveTo>
                  <a:lnTo>
                    <a:pt x="712" y="473"/>
                  </a:lnTo>
                  <a:lnTo>
                    <a:pt x="710" y="473"/>
                  </a:lnTo>
                  <a:close/>
                  <a:moveTo>
                    <a:pt x="695" y="513"/>
                  </a:moveTo>
                  <a:lnTo>
                    <a:pt x="695" y="515"/>
                  </a:lnTo>
                  <a:lnTo>
                    <a:pt x="695" y="513"/>
                  </a:lnTo>
                  <a:close/>
                  <a:moveTo>
                    <a:pt x="706" y="496"/>
                  </a:moveTo>
                  <a:lnTo>
                    <a:pt x="706" y="498"/>
                  </a:lnTo>
                  <a:lnTo>
                    <a:pt x="706" y="496"/>
                  </a:lnTo>
                  <a:close/>
                  <a:moveTo>
                    <a:pt x="702" y="490"/>
                  </a:moveTo>
                  <a:lnTo>
                    <a:pt x="704" y="490"/>
                  </a:lnTo>
                  <a:lnTo>
                    <a:pt x="702" y="490"/>
                  </a:lnTo>
                  <a:close/>
                  <a:moveTo>
                    <a:pt x="689" y="327"/>
                  </a:moveTo>
                  <a:lnTo>
                    <a:pt x="691" y="327"/>
                  </a:lnTo>
                  <a:lnTo>
                    <a:pt x="689" y="327"/>
                  </a:lnTo>
                  <a:close/>
                  <a:moveTo>
                    <a:pt x="708" y="465"/>
                  </a:moveTo>
                  <a:lnTo>
                    <a:pt x="708" y="467"/>
                  </a:lnTo>
                  <a:lnTo>
                    <a:pt x="708" y="465"/>
                  </a:lnTo>
                  <a:close/>
                  <a:moveTo>
                    <a:pt x="708" y="473"/>
                  </a:moveTo>
                  <a:lnTo>
                    <a:pt x="710" y="473"/>
                  </a:lnTo>
                  <a:lnTo>
                    <a:pt x="708" y="473"/>
                  </a:lnTo>
                  <a:close/>
                  <a:moveTo>
                    <a:pt x="595" y="596"/>
                  </a:moveTo>
                  <a:lnTo>
                    <a:pt x="597" y="596"/>
                  </a:lnTo>
                  <a:lnTo>
                    <a:pt x="597" y="598"/>
                  </a:lnTo>
                  <a:lnTo>
                    <a:pt x="595" y="598"/>
                  </a:lnTo>
                  <a:lnTo>
                    <a:pt x="595" y="596"/>
                  </a:lnTo>
                  <a:close/>
                  <a:moveTo>
                    <a:pt x="716" y="459"/>
                  </a:moveTo>
                  <a:lnTo>
                    <a:pt x="718" y="459"/>
                  </a:lnTo>
                  <a:lnTo>
                    <a:pt x="718" y="461"/>
                  </a:lnTo>
                  <a:lnTo>
                    <a:pt x="716" y="461"/>
                  </a:lnTo>
                  <a:lnTo>
                    <a:pt x="716" y="459"/>
                  </a:lnTo>
                  <a:close/>
                  <a:moveTo>
                    <a:pt x="706" y="492"/>
                  </a:moveTo>
                  <a:lnTo>
                    <a:pt x="706" y="494"/>
                  </a:lnTo>
                  <a:lnTo>
                    <a:pt x="706" y="492"/>
                  </a:lnTo>
                  <a:close/>
                  <a:moveTo>
                    <a:pt x="697" y="442"/>
                  </a:moveTo>
                  <a:lnTo>
                    <a:pt x="699" y="442"/>
                  </a:lnTo>
                  <a:lnTo>
                    <a:pt x="697" y="442"/>
                  </a:lnTo>
                  <a:close/>
                  <a:moveTo>
                    <a:pt x="574" y="609"/>
                  </a:moveTo>
                  <a:lnTo>
                    <a:pt x="576" y="609"/>
                  </a:lnTo>
                  <a:lnTo>
                    <a:pt x="574" y="609"/>
                  </a:lnTo>
                  <a:close/>
                  <a:moveTo>
                    <a:pt x="706" y="498"/>
                  </a:moveTo>
                  <a:lnTo>
                    <a:pt x="708" y="498"/>
                  </a:lnTo>
                  <a:lnTo>
                    <a:pt x="706" y="498"/>
                  </a:lnTo>
                  <a:close/>
                  <a:moveTo>
                    <a:pt x="677" y="544"/>
                  </a:moveTo>
                  <a:lnTo>
                    <a:pt x="677" y="546"/>
                  </a:lnTo>
                  <a:lnTo>
                    <a:pt x="677" y="544"/>
                  </a:lnTo>
                  <a:close/>
                  <a:moveTo>
                    <a:pt x="687" y="286"/>
                  </a:moveTo>
                  <a:lnTo>
                    <a:pt x="687" y="288"/>
                  </a:lnTo>
                  <a:lnTo>
                    <a:pt x="687" y="286"/>
                  </a:lnTo>
                  <a:close/>
                  <a:moveTo>
                    <a:pt x="535" y="617"/>
                  </a:moveTo>
                  <a:lnTo>
                    <a:pt x="535" y="619"/>
                  </a:lnTo>
                  <a:lnTo>
                    <a:pt x="535" y="617"/>
                  </a:lnTo>
                  <a:close/>
                  <a:moveTo>
                    <a:pt x="587" y="596"/>
                  </a:moveTo>
                  <a:lnTo>
                    <a:pt x="589" y="596"/>
                  </a:lnTo>
                  <a:lnTo>
                    <a:pt x="587" y="596"/>
                  </a:lnTo>
                  <a:close/>
                  <a:moveTo>
                    <a:pt x="708" y="461"/>
                  </a:moveTo>
                  <a:lnTo>
                    <a:pt x="710" y="461"/>
                  </a:lnTo>
                  <a:lnTo>
                    <a:pt x="708" y="461"/>
                  </a:lnTo>
                  <a:close/>
                  <a:moveTo>
                    <a:pt x="601" y="594"/>
                  </a:moveTo>
                  <a:lnTo>
                    <a:pt x="601" y="596"/>
                  </a:lnTo>
                  <a:lnTo>
                    <a:pt x="601" y="594"/>
                  </a:lnTo>
                  <a:close/>
                  <a:moveTo>
                    <a:pt x="593" y="601"/>
                  </a:moveTo>
                  <a:lnTo>
                    <a:pt x="593" y="603"/>
                  </a:lnTo>
                  <a:lnTo>
                    <a:pt x="593" y="601"/>
                  </a:lnTo>
                  <a:close/>
                  <a:moveTo>
                    <a:pt x="591" y="600"/>
                  </a:moveTo>
                  <a:lnTo>
                    <a:pt x="593" y="600"/>
                  </a:lnTo>
                  <a:lnTo>
                    <a:pt x="593" y="601"/>
                  </a:lnTo>
                  <a:lnTo>
                    <a:pt x="591" y="601"/>
                  </a:lnTo>
                  <a:lnTo>
                    <a:pt x="591" y="600"/>
                  </a:lnTo>
                  <a:close/>
                  <a:moveTo>
                    <a:pt x="539" y="619"/>
                  </a:moveTo>
                  <a:lnTo>
                    <a:pt x="541" y="619"/>
                  </a:lnTo>
                  <a:lnTo>
                    <a:pt x="539" y="619"/>
                  </a:lnTo>
                  <a:close/>
                  <a:moveTo>
                    <a:pt x="539" y="653"/>
                  </a:moveTo>
                  <a:lnTo>
                    <a:pt x="539" y="655"/>
                  </a:lnTo>
                  <a:lnTo>
                    <a:pt x="539" y="653"/>
                  </a:lnTo>
                  <a:close/>
                  <a:moveTo>
                    <a:pt x="710" y="471"/>
                  </a:moveTo>
                  <a:lnTo>
                    <a:pt x="710" y="473"/>
                  </a:lnTo>
                  <a:lnTo>
                    <a:pt x="710" y="471"/>
                  </a:lnTo>
                  <a:close/>
                  <a:moveTo>
                    <a:pt x="704" y="494"/>
                  </a:moveTo>
                  <a:lnTo>
                    <a:pt x="706" y="494"/>
                  </a:lnTo>
                  <a:lnTo>
                    <a:pt x="704" y="494"/>
                  </a:lnTo>
                  <a:close/>
                  <a:moveTo>
                    <a:pt x="710" y="480"/>
                  </a:moveTo>
                  <a:lnTo>
                    <a:pt x="712" y="480"/>
                  </a:lnTo>
                  <a:lnTo>
                    <a:pt x="712" y="482"/>
                  </a:lnTo>
                  <a:lnTo>
                    <a:pt x="710" y="482"/>
                  </a:lnTo>
                  <a:lnTo>
                    <a:pt x="710" y="480"/>
                  </a:lnTo>
                  <a:close/>
                  <a:moveTo>
                    <a:pt x="604" y="590"/>
                  </a:moveTo>
                  <a:lnTo>
                    <a:pt x="604" y="592"/>
                  </a:lnTo>
                  <a:lnTo>
                    <a:pt x="604" y="590"/>
                  </a:lnTo>
                  <a:close/>
                  <a:moveTo>
                    <a:pt x="714" y="465"/>
                  </a:moveTo>
                  <a:lnTo>
                    <a:pt x="716" y="465"/>
                  </a:lnTo>
                  <a:lnTo>
                    <a:pt x="714" y="465"/>
                  </a:lnTo>
                  <a:close/>
                  <a:moveTo>
                    <a:pt x="591" y="603"/>
                  </a:moveTo>
                  <a:lnTo>
                    <a:pt x="593" y="603"/>
                  </a:lnTo>
                  <a:lnTo>
                    <a:pt x="591" y="603"/>
                  </a:lnTo>
                  <a:close/>
                  <a:moveTo>
                    <a:pt x="710" y="340"/>
                  </a:moveTo>
                  <a:lnTo>
                    <a:pt x="712" y="340"/>
                  </a:lnTo>
                  <a:lnTo>
                    <a:pt x="710" y="340"/>
                  </a:lnTo>
                  <a:close/>
                  <a:moveTo>
                    <a:pt x="710" y="467"/>
                  </a:moveTo>
                  <a:lnTo>
                    <a:pt x="712" y="467"/>
                  </a:lnTo>
                  <a:lnTo>
                    <a:pt x="712" y="469"/>
                  </a:lnTo>
                  <a:lnTo>
                    <a:pt x="710" y="469"/>
                  </a:lnTo>
                  <a:lnTo>
                    <a:pt x="710" y="467"/>
                  </a:lnTo>
                  <a:close/>
                  <a:moveTo>
                    <a:pt x="674" y="550"/>
                  </a:moveTo>
                  <a:lnTo>
                    <a:pt x="675" y="550"/>
                  </a:lnTo>
                  <a:lnTo>
                    <a:pt x="674" y="550"/>
                  </a:lnTo>
                  <a:close/>
                  <a:moveTo>
                    <a:pt x="672" y="548"/>
                  </a:moveTo>
                  <a:lnTo>
                    <a:pt x="672" y="550"/>
                  </a:lnTo>
                  <a:lnTo>
                    <a:pt x="672" y="548"/>
                  </a:lnTo>
                  <a:close/>
                  <a:moveTo>
                    <a:pt x="568" y="603"/>
                  </a:moveTo>
                  <a:lnTo>
                    <a:pt x="570" y="603"/>
                  </a:lnTo>
                  <a:lnTo>
                    <a:pt x="568" y="603"/>
                  </a:lnTo>
                  <a:close/>
                  <a:moveTo>
                    <a:pt x="668" y="336"/>
                  </a:moveTo>
                  <a:lnTo>
                    <a:pt x="670" y="336"/>
                  </a:lnTo>
                  <a:lnTo>
                    <a:pt x="668" y="336"/>
                  </a:lnTo>
                  <a:close/>
                  <a:moveTo>
                    <a:pt x="581" y="600"/>
                  </a:moveTo>
                  <a:lnTo>
                    <a:pt x="583" y="600"/>
                  </a:lnTo>
                  <a:lnTo>
                    <a:pt x="581" y="600"/>
                  </a:lnTo>
                  <a:close/>
                  <a:moveTo>
                    <a:pt x="704" y="482"/>
                  </a:moveTo>
                  <a:lnTo>
                    <a:pt x="706" y="482"/>
                  </a:lnTo>
                  <a:lnTo>
                    <a:pt x="706" y="484"/>
                  </a:lnTo>
                  <a:lnTo>
                    <a:pt x="704" y="484"/>
                  </a:lnTo>
                  <a:lnTo>
                    <a:pt x="704" y="482"/>
                  </a:lnTo>
                  <a:close/>
                  <a:moveTo>
                    <a:pt x="700" y="504"/>
                  </a:moveTo>
                  <a:lnTo>
                    <a:pt x="702" y="504"/>
                  </a:lnTo>
                  <a:lnTo>
                    <a:pt x="700" y="504"/>
                  </a:lnTo>
                  <a:close/>
                  <a:moveTo>
                    <a:pt x="547" y="609"/>
                  </a:moveTo>
                  <a:lnTo>
                    <a:pt x="549" y="609"/>
                  </a:lnTo>
                  <a:lnTo>
                    <a:pt x="549" y="611"/>
                  </a:lnTo>
                  <a:lnTo>
                    <a:pt x="547" y="611"/>
                  </a:lnTo>
                  <a:lnTo>
                    <a:pt x="547" y="609"/>
                  </a:lnTo>
                  <a:close/>
                  <a:moveTo>
                    <a:pt x="716" y="467"/>
                  </a:moveTo>
                  <a:lnTo>
                    <a:pt x="716" y="469"/>
                  </a:lnTo>
                  <a:lnTo>
                    <a:pt x="716" y="467"/>
                  </a:lnTo>
                  <a:close/>
                  <a:moveTo>
                    <a:pt x="595" y="594"/>
                  </a:moveTo>
                  <a:lnTo>
                    <a:pt x="597" y="594"/>
                  </a:lnTo>
                  <a:lnTo>
                    <a:pt x="595" y="594"/>
                  </a:lnTo>
                  <a:close/>
                  <a:moveTo>
                    <a:pt x="712" y="467"/>
                  </a:moveTo>
                  <a:lnTo>
                    <a:pt x="712" y="469"/>
                  </a:lnTo>
                  <a:lnTo>
                    <a:pt x="712" y="467"/>
                  </a:lnTo>
                  <a:close/>
                  <a:moveTo>
                    <a:pt x="689" y="331"/>
                  </a:moveTo>
                  <a:lnTo>
                    <a:pt x="689" y="333"/>
                  </a:lnTo>
                  <a:lnTo>
                    <a:pt x="689" y="331"/>
                  </a:lnTo>
                  <a:close/>
                  <a:moveTo>
                    <a:pt x="635" y="577"/>
                  </a:moveTo>
                  <a:lnTo>
                    <a:pt x="637" y="577"/>
                  </a:lnTo>
                  <a:lnTo>
                    <a:pt x="635" y="577"/>
                  </a:lnTo>
                  <a:close/>
                  <a:moveTo>
                    <a:pt x="675" y="527"/>
                  </a:moveTo>
                  <a:lnTo>
                    <a:pt x="677" y="527"/>
                  </a:lnTo>
                  <a:lnTo>
                    <a:pt x="675" y="527"/>
                  </a:lnTo>
                  <a:close/>
                  <a:moveTo>
                    <a:pt x="595" y="594"/>
                  </a:moveTo>
                  <a:lnTo>
                    <a:pt x="597" y="594"/>
                  </a:lnTo>
                  <a:lnTo>
                    <a:pt x="595" y="594"/>
                  </a:lnTo>
                  <a:close/>
                  <a:moveTo>
                    <a:pt x="706" y="494"/>
                  </a:moveTo>
                  <a:lnTo>
                    <a:pt x="708" y="494"/>
                  </a:lnTo>
                  <a:lnTo>
                    <a:pt x="706" y="494"/>
                  </a:lnTo>
                  <a:close/>
                  <a:moveTo>
                    <a:pt x="708" y="484"/>
                  </a:moveTo>
                  <a:lnTo>
                    <a:pt x="708" y="486"/>
                  </a:lnTo>
                  <a:lnTo>
                    <a:pt x="708" y="484"/>
                  </a:lnTo>
                  <a:close/>
                  <a:moveTo>
                    <a:pt x="710" y="467"/>
                  </a:moveTo>
                  <a:lnTo>
                    <a:pt x="710" y="469"/>
                  </a:lnTo>
                  <a:lnTo>
                    <a:pt x="710" y="467"/>
                  </a:lnTo>
                  <a:close/>
                  <a:moveTo>
                    <a:pt x="591" y="598"/>
                  </a:moveTo>
                  <a:lnTo>
                    <a:pt x="593" y="598"/>
                  </a:lnTo>
                  <a:lnTo>
                    <a:pt x="591" y="598"/>
                  </a:lnTo>
                  <a:close/>
                  <a:moveTo>
                    <a:pt x="710" y="475"/>
                  </a:moveTo>
                  <a:lnTo>
                    <a:pt x="712" y="475"/>
                  </a:lnTo>
                  <a:lnTo>
                    <a:pt x="710" y="475"/>
                  </a:lnTo>
                  <a:close/>
                  <a:moveTo>
                    <a:pt x="718" y="469"/>
                  </a:moveTo>
                  <a:lnTo>
                    <a:pt x="720" y="469"/>
                  </a:lnTo>
                  <a:lnTo>
                    <a:pt x="718" y="469"/>
                  </a:lnTo>
                  <a:close/>
                  <a:moveTo>
                    <a:pt x="589" y="601"/>
                  </a:moveTo>
                  <a:lnTo>
                    <a:pt x="591" y="601"/>
                  </a:lnTo>
                  <a:lnTo>
                    <a:pt x="589" y="601"/>
                  </a:lnTo>
                  <a:close/>
                  <a:moveTo>
                    <a:pt x="685" y="519"/>
                  </a:moveTo>
                  <a:lnTo>
                    <a:pt x="687" y="519"/>
                  </a:lnTo>
                  <a:lnTo>
                    <a:pt x="685" y="519"/>
                  </a:lnTo>
                  <a:close/>
                  <a:moveTo>
                    <a:pt x="683" y="527"/>
                  </a:moveTo>
                  <a:lnTo>
                    <a:pt x="685" y="527"/>
                  </a:lnTo>
                  <a:lnTo>
                    <a:pt x="683" y="527"/>
                  </a:lnTo>
                  <a:close/>
                  <a:moveTo>
                    <a:pt x="597" y="594"/>
                  </a:moveTo>
                  <a:lnTo>
                    <a:pt x="597" y="596"/>
                  </a:lnTo>
                  <a:lnTo>
                    <a:pt x="597" y="594"/>
                  </a:lnTo>
                  <a:close/>
                  <a:moveTo>
                    <a:pt x="591" y="603"/>
                  </a:moveTo>
                  <a:lnTo>
                    <a:pt x="591" y="605"/>
                  </a:lnTo>
                  <a:lnTo>
                    <a:pt x="591" y="603"/>
                  </a:lnTo>
                  <a:close/>
                  <a:moveTo>
                    <a:pt x="710" y="475"/>
                  </a:moveTo>
                  <a:lnTo>
                    <a:pt x="712" y="475"/>
                  </a:lnTo>
                  <a:lnTo>
                    <a:pt x="710" y="475"/>
                  </a:lnTo>
                  <a:close/>
                  <a:moveTo>
                    <a:pt x="693" y="329"/>
                  </a:moveTo>
                  <a:lnTo>
                    <a:pt x="693" y="331"/>
                  </a:lnTo>
                  <a:lnTo>
                    <a:pt x="693" y="329"/>
                  </a:lnTo>
                  <a:close/>
                  <a:moveTo>
                    <a:pt x="722" y="310"/>
                  </a:moveTo>
                  <a:lnTo>
                    <a:pt x="722" y="311"/>
                  </a:lnTo>
                  <a:lnTo>
                    <a:pt x="722" y="310"/>
                  </a:lnTo>
                  <a:close/>
                  <a:moveTo>
                    <a:pt x="723" y="300"/>
                  </a:moveTo>
                  <a:lnTo>
                    <a:pt x="723" y="302"/>
                  </a:lnTo>
                  <a:lnTo>
                    <a:pt x="723" y="300"/>
                  </a:lnTo>
                  <a:close/>
                  <a:moveTo>
                    <a:pt x="702" y="488"/>
                  </a:moveTo>
                  <a:lnTo>
                    <a:pt x="704" y="488"/>
                  </a:lnTo>
                  <a:lnTo>
                    <a:pt x="702" y="488"/>
                  </a:lnTo>
                  <a:close/>
                  <a:moveTo>
                    <a:pt x="714" y="306"/>
                  </a:moveTo>
                  <a:lnTo>
                    <a:pt x="716" y="306"/>
                  </a:lnTo>
                  <a:lnTo>
                    <a:pt x="716" y="308"/>
                  </a:lnTo>
                  <a:lnTo>
                    <a:pt x="714" y="308"/>
                  </a:lnTo>
                  <a:lnTo>
                    <a:pt x="714" y="306"/>
                  </a:lnTo>
                  <a:close/>
                  <a:moveTo>
                    <a:pt x="720" y="457"/>
                  </a:moveTo>
                  <a:lnTo>
                    <a:pt x="720" y="459"/>
                  </a:lnTo>
                  <a:lnTo>
                    <a:pt x="720" y="457"/>
                  </a:lnTo>
                  <a:close/>
                  <a:moveTo>
                    <a:pt x="687" y="515"/>
                  </a:moveTo>
                  <a:lnTo>
                    <a:pt x="687" y="517"/>
                  </a:lnTo>
                  <a:lnTo>
                    <a:pt x="687" y="515"/>
                  </a:lnTo>
                  <a:close/>
                  <a:moveTo>
                    <a:pt x="593" y="598"/>
                  </a:moveTo>
                  <a:lnTo>
                    <a:pt x="593" y="600"/>
                  </a:lnTo>
                  <a:lnTo>
                    <a:pt x="593" y="598"/>
                  </a:lnTo>
                  <a:close/>
                  <a:moveTo>
                    <a:pt x="681" y="523"/>
                  </a:moveTo>
                  <a:lnTo>
                    <a:pt x="683" y="523"/>
                  </a:lnTo>
                  <a:lnTo>
                    <a:pt x="683" y="525"/>
                  </a:lnTo>
                  <a:lnTo>
                    <a:pt x="681" y="525"/>
                  </a:lnTo>
                  <a:lnTo>
                    <a:pt x="681" y="523"/>
                  </a:lnTo>
                  <a:close/>
                  <a:moveTo>
                    <a:pt x="639" y="577"/>
                  </a:moveTo>
                  <a:lnTo>
                    <a:pt x="641" y="577"/>
                  </a:lnTo>
                  <a:lnTo>
                    <a:pt x="639" y="577"/>
                  </a:lnTo>
                  <a:close/>
                  <a:moveTo>
                    <a:pt x="691" y="323"/>
                  </a:moveTo>
                  <a:lnTo>
                    <a:pt x="691" y="325"/>
                  </a:lnTo>
                  <a:lnTo>
                    <a:pt x="691" y="323"/>
                  </a:lnTo>
                  <a:close/>
                  <a:moveTo>
                    <a:pt x="551" y="611"/>
                  </a:moveTo>
                  <a:lnTo>
                    <a:pt x="551" y="613"/>
                  </a:lnTo>
                  <a:lnTo>
                    <a:pt x="551" y="611"/>
                  </a:lnTo>
                  <a:close/>
                  <a:moveTo>
                    <a:pt x="589" y="600"/>
                  </a:moveTo>
                  <a:lnTo>
                    <a:pt x="591" y="600"/>
                  </a:lnTo>
                  <a:lnTo>
                    <a:pt x="589" y="600"/>
                  </a:lnTo>
                  <a:close/>
                  <a:moveTo>
                    <a:pt x="597" y="594"/>
                  </a:moveTo>
                  <a:lnTo>
                    <a:pt x="599" y="594"/>
                  </a:lnTo>
                  <a:lnTo>
                    <a:pt x="597" y="594"/>
                  </a:lnTo>
                  <a:close/>
                  <a:moveTo>
                    <a:pt x="585" y="586"/>
                  </a:moveTo>
                  <a:lnTo>
                    <a:pt x="585" y="588"/>
                  </a:lnTo>
                  <a:lnTo>
                    <a:pt x="585" y="586"/>
                  </a:lnTo>
                  <a:close/>
                  <a:moveTo>
                    <a:pt x="702" y="498"/>
                  </a:moveTo>
                  <a:lnTo>
                    <a:pt x="704" y="498"/>
                  </a:lnTo>
                  <a:lnTo>
                    <a:pt x="702" y="498"/>
                  </a:lnTo>
                  <a:close/>
                  <a:moveTo>
                    <a:pt x="689" y="521"/>
                  </a:moveTo>
                  <a:lnTo>
                    <a:pt x="689" y="523"/>
                  </a:lnTo>
                  <a:lnTo>
                    <a:pt x="689" y="521"/>
                  </a:lnTo>
                  <a:close/>
                  <a:moveTo>
                    <a:pt x="704" y="500"/>
                  </a:moveTo>
                  <a:lnTo>
                    <a:pt x="704" y="502"/>
                  </a:lnTo>
                  <a:lnTo>
                    <a:pt x="704" y="500"/>
                  </a:lnTo>
                  <a:close/>
                  <a:moveTo>
                    <a:pt x="654" y="561"/>
                  </a:moveTo>
                  <a:lnTo>
                    <a:pt x="656" y="561"/>
                  </a:lnTo>
                  <a:lnTo>
                    <a:pt x="654" y="561"/>
                  </a:lnTo>
                  <a:close/>
                  <a:moveTo>
                    <a:pt x="702" y="498"/>
                  </a:moveTo>
                  <a:lnTo>
                    <a:pt x="704" y="498"/>
                  </a:lnTo>
                  <a:lnTo>
                    <a:pt x="702" y="498"/>
                  </a:lnTo>
                  <a:close/>
                  <a:moveTo>
                    <a:pt x="583" y="584"/>
                  </a:moveTo>
                  <a:lnTo>
                    <a:pt x="583" y="586"/>
                  </a:lnTo>
                  <a:lnTo>
                    <a:pt x="583" y="584"/>
                  </a:lnTo>
                  <a:close/>
                  <a:moveTo>
                    <a:pt x="645" y="575"/>
                  </a:moveTo>
                  <a:lnTo>
                    <a:pt x="647" y="575"/>
                  </a:lnTo>
                  <a:lnTo>
                    <a:pt x="645" y="575"/>
                  </a:lnTo>
                  <a:close/>
                  <a:moveTo>
                    <a:pt x="695" y="509"/>
                  </a:moveTo>
                  <a:lnTo>
                    <a:pt x="697" y="509"/>
                  </a:lnTo>
                  <a:lnTo>
                    <a:pt x="695" y="509"/>
                  </a:lnTo>
                  <a:close/>
                  <a:moveTo>
                    <a:pt x="591" y="598"/>
                  </a:moveTo>
                  <a:lnTo>
                    <a:pt x="593" y="598"/>
                  </a:lnTo>
                  <a:lnTo>
                    <a:pt x="591" y="598"/>
                  </a:lnTo>
                  <a:close/>
                  <a:moveTo>
                    <a:pt x="685" y="527"/>
                  </a:moveTo>
                  <a:lnTo>
                    <a:pt x="685" y="528"/>
                  </a:lnTo>
                  <a:lnTo>
                    <a:pt x="685" y="527"/>
                  </a:lnTo>
                  <a:close/>
                  <a:moveTo>
                    <a:pt x="595" y="594"/>
                  </a:moveTo>
                  <a:lnTo>
                    <a:pt x="597" y="594"/>
                  </a:lnTo>
                  <a:lnTo>
                    <a:pt x="595" y="594"/>
                  </a:lnTo>
                  <a:close/>
                  <a:moveTo>
                    <a:pt x="593" y="596"/>
                  </a:moveTo>
                  <a:lnTo>
                    <a:pt x="593" y="598"/>
                  </a:lnTo>
                  <a:lnTo>
                    <a:pt x="593" y="596"/>
                  </a:lnTo>
                  <a:close/>
                  <a:moveTo>
                    <a:pt x="714" y="473"/>
                  </a:moveTo>
                  <a:lnTo>
                    <a:pt x="716" y="473"/>
                  </a:lnTo>
                  <a:lnTo>
                    <a:pt x="714" y="473"/>
                  </a:lnTo>
                  <a:close/>
                  <a:moveTo>
                    <a:pt x="677" y="530"/>
                  </a:moveTo>
                  <a:lnTo>
                    <a:pt x="677" y="532"/>
                  </a:lnTo>
                  <a:lnTo>
                    <a:pt x="677" y="530"/>
                  </a:lnTo>
                  <a:close/>
                  <a:moveTo>
                    <a:pt x="695" y="509"/>
                  </a:moveTo>
                  <a:lnTo>
                    <a:pt x="697" y="509"/>
                  </a:lnTo>
                  <a:lnTo>
                    <a:pt x="695" y="509"/>
                  </a:lnTo>
                  <a:close/>
                  <a:moveTo>
                    <a:pt x="691" y="505"/>
                  </a:moveTo>
                  <a:lnTo>
                    <a:pt x="693" y="505"/>
                  </a:lnTo>
                  <a:lnTo>
                    <a:pt x="691" y="505"/>
                  </a:lnTo>
                  <a:close/>
                  <a:moveTo>
                    <a:pt x="710" y="480"/>
                  </a:moveTo>
                  <a:lnTo>
                    <a:pt x="712" y="480"/>
                  </a:lnTo>
                  <a:lnTo>
                    <a:pt x="710" y="480"/>
                  </a:lnTo>
                  <a:close/>
                  <a:moveTo>
                    <a:pt x="660" y="557"/>
                  </a:moveTo>
                  <a:lnTo>
                    <a:pt x="662" y="557"/>
                  </a:lnTo>
                  <a:lnTo>
                    <a:pt x="660" y="557"/>
                  </a:lnTo>
                  <a:close/>
                  <a:moveTo>
                    <a:pt x="704" y="486"/>
                  </a:moveTo>
                  <a:lnTo>
                    <a:pt x="704" y="488"/>
                  </a:lnTo>
                  <a:lnTo>
                    <a:pt x="704" y="486"/>
                  </a:lnTo>
                  <a:close/>
                  <a:moveTo>
                    <a:pt x="601" y="590"/>
                  </a:moveTo>
                  <a:lnTo>
                    <a:pt x="601" y="592"/>
                  </a:lnTo>
                  <a:lnTo>
                    <a:pt x="601" y="590"/>
                  </a:lnTo>
                  <a:close/>
                  <a:moveTo>
                    <a:pt x="712" y="463"/>
                  </a:moveTo>
                  <a:lnTo>
                    <a:pt x="714" y="463"/>
                  </a:lnTo>
                  <a:lnTo>
                    <a:pt x="712" y="463"/>
                  </a:lnTo>
                  <a:close/>
                  <a:moveTo>
                    <a:pt x="589" y="600"/>
                  </a:moveTo>
                  <a:lnTo>
                    <a:pt x="591" y="600"/>
                  </a:lnTo>
                  <a:lnTo>
                    <a:pt x="589" y="600"/>
                  </a:lnTo>
                  <a:close/>
                  <a:moveTo>
                    <a:pt x="706" y="469"/>
                  </a:moveTo>
                  <a:lnTo>
                    <a:pt x="706" y="471"/>
                  </a:lnTo>
                  <a:lnTo>
                    <a:pt x="706" y="469"/>
                  </a:lnTo>
                  <a:close/>
                  <a:moveTo>
                    <a:pt x="702" y="479"/>
                  </a:moveTo>
                  <a:lnTo>
                    <a:pt x="704" y="479"/>
                  </a:lnTo>
                  <a:lnTo>
                    <a:pt x="704" y="480"/>
                  </a:lnTo>
                  <a:lnTo>
                    <a:pt x="702" y="480"/>
                  </a:lnTo>
                  <a:lnTo>
                    <a:pt x="702" y="479"/>
                  </a:lnTo>
                  <a:close/>
                  <a:moveTo>
                    <a:pt x="695" y="502"/>
                  </a:moveTo>
                  <a:lnTo>
                    <a:pt x="697" y="502"/>
                  </a:lnTo>
                  <a:lnTo>
                    <a:pt x="695" y="502"/>
                  </a:lnTo>
                  <a:close/>
                  <a:moveTo>
                    <a:pt x="697" y="504"/>
                  </a:moveTo>
                  <a:lnTo>
                    <a:pt x="697" y="505"/>
                  </a:lnTo>
                  <a:lnTo>
                    <a:pt x="697" y="504"/>
                  </a:lnTo>
                  <a:close/>
                  <a:moveTo>
                    <a:pt x="702" y="500"/>
                  </a:moveTo>
                  <a:lnTo>
                    <a:pt x="704" y="500"/>
                  </a:lnTo>
                  <a:lnTo>
                    <a:pt x="702" y="500"/>
                  </a:lnTo>
                  <a:close/>
                  <a:moveTo>
                    <a:pt x="677" y="544"/>
                  </a:moveTo>
                  <a:lnTo>
                    <a:pt x="677" y="546"/>
                  </a:lnTo>
                  <a:lnTo>
                    <a:pt x="677" y="544"/>
                  </a:lnTo>
                  <a:close/>
                  <a:moveTo>
                    <a:pt x="708" y="473"/>
                  </a:moveTo>
                  <a:lnTo>
                    <a:pt x="710" y="473"/>
                  </a:lnTo>
                  <a:lnTo>
                    <a:pt x="708" y="473"/>
                  </a:lnTo>
                  <a:close/>
                  <a:moveTo>
                    <a:pt x="702" y="498"/>
                  </a:moveTo>
                  <a:lnTo>
                    <a:pt x="704" y="498"/>
                  </a:lnTo>
                  <a:lnTo>
                    <a:pt x="702" y="498"/>
                  </a:lnTo>
                  <a:close/>
                  <a:moveTo>
                    <a:pt x="645" y="573"/>
                  </a:moveTo>
                  <a:lnTo>
                    <a:pt x="645" y="575"/>
                  </a:lnTo>
                  <a:lnTo>
                    <a:pt x="645" y="573"/>
                  </a:lnTo>
                  <a:close/>
                  <a:moveTo>
                    <a:pt x="699" y="504"/>
                  </a:moveTo>
                  <a:lnTo>
                    <a:pt x="700" y="504"/>
                  </a:lnTo>
                  <a:lnTo>
                    <a:pt x="699" y="504"/>
                  </a:lnTo>
                  <a:close/>
                  <a:moveTo>
                    <a:pt x="693" y="509"/>
                  </a:moveTo>
                  <a:lnTo>
                    <a:pt x="693" y="511"/>
                  </a:lnTo>
                  <a:lnTo>
                    <a:pt x="693" y="509"/>
                  </a:lnTo>
                  <a:close/>
                  <a:moveTo>
                    <a:pt x="714" y="467"/>
                  </a:moveTo>
                  <a:lnTo>
                    <a:pt x="714" y="469"/>
                  </a:lnTo>
                  <a:lnTo>
                    <a:pt x="714" y="467"/>
                  </a:lnTo>
                  <a:close/>
                  <a:moveTo>
                    <a:pt x="706" y="467"/>
                  </a:moveTo>
                  <a:lnTo>
                    <a:pt x="708" y="467"/>
                  </a:lnTo>
                  <a:lnTo>
                    <a:pt x="706" y="467"/>
                  </a:lnTo>
                  <a:close/>
                  <a:moveTo>
                    <a:pt x="658" y="555"/>
                  </a:moveTo>
                  <a:lnTo>
                    <a:pt x="658" y="557"/>
                  </a:lnTo>
                  <a:lnTo>
                    <a:pt x="658" y="555"/>
                  </a:lnTo>
                  <a:close/>
                  <a:moveTo>
                    <a:pt x="677" y="527"/>
                  </a:moveTo>
                  <a:lnTo>
                    <a:pt x="677" y="528"/>
                  </a:lnTo>
                  <a:lnTo>
                    <a:pt x="677" y="527"/>
                  </a:lnTo>
                  <a:close/>
                  <a:moveTo>
                    <a:pt x="689" y="327"/>
                  </a:moveTo>
                  <a:lnTo>
                    <a:pt x="689" y="329"/>
                  </a:lnTo>
                  <a:lnTo>
                    <a:pt x="689" y="327"/>
                  </a:lnTo>
                  <a:close/>
                  <a:moveTo>
                    <a:pt x="681" y="525"/>
                  </a:moveTo>
                  <a:lnTo>
                    <a:pt x="681" y="527"/>
                  </a:lnTo>
                  <a:lnTo>
                    <a:pt x="681" y="525"/>
                  </a:lnTo>
                  <a:close/>
                  <a:moveTo>
                    <a:pt x="710" y="471"/>
                  </a:moveTo>
                  <a:lnTo>
                    <a:pt x="710" y="473"/>
                  </a:lnTo>
                  <a:lnTo>
                    <a:pt x="710" y="471"/>
                  </a:lnTo>
                  <a:close/>
                  <a:moveTo>
                    <a:pt x="706" y="498"/>
                  </a:moveTo>
                  <a:lnTo>
                    <a:pt x="706" y="500"/>
                  </a:lnTo>
                  <a:lnTo>
                    <a:pt x="706" y="498"/>
                  </a:lnTo>
                  <a:close/>
                  <a:moveTo>
                    <a:pt x="539" y="615"/>
                  </a:moveTo>
                  <a:lnTo>
                    <a:pt x="541" y="615"/>
                  </a:lnTo>
                  <a:lnTo>
                    <a:pt x="539" y="615"/>
                  </a:lnTo>
                  <a:close/>
                  <a:moveTo>
                    <a:pt x="702" y="500"/>
                  </a:moveTo>
                  <a:lnTo>
                    <a:pt x="704" y="500"/>
                  </a:lnTo>
                  <a:lnTo>
                    <a:pt x="702" y="500"/>
                  </a:lnTo>
                  <a:close/>
                  <a:moveTo>
                    <a:pt x="668" y="548"/>
                  </a:moveTo>
                  <a:lnTo>
                    <a:pt x="668" y="550"/>
                  </a:lnTo>
                  <a:lnTo>
                    <a:pt x="668" y="548"/>
                  </a:lnTo>
                  <a:close/>
                  <a:moveTo>
                    <a:pt x="674" y="550"/>
                  </a:moveTo>
                  <a:lnTo>
                    <a:pt x="674" y="552"/>
                  </a:lnTo>
                  <a:lnTo>
                    <a:pt x="674" y="550"/>
                  </a:lnTo>
                  <a:close/>
                  <a:moveTo>
                    <a:pt x="723" y="302"/>
                  </a:moveTo>
                  <a:lnTo>
                    <a:pt x="725" y="302"/>
                  </a:lnTo>
                  <a:lnTo>
                    <a:pt x="723" y="302"/>
                  </a:lnTo>
                  <a:close/>
                  <a:moveTo>
                    <a:pt x="714" y="473"/>
                  </a:moveTo>
                  <a:lnTo>
                    <a:pt x="716" y="473"/>
                  </a:lnTo>
                  <a:lnTo>
                    <a:pt x="714" y="473"/>
                  </a:lnTo>
                  <a:close/>
                  <a:moveTo>
                    <a:pt x="512" y="605"/>
                  </a:moveTo>
                  <a:lnTo>
                    <a:pt x="512" y="607"/>
                  </a:lnTo>
                  <a:lnTo>
                    <a:pt x="512" y="605"/>
                  </a:lnTo>
                  <a:close/>
                  <a:moveTo>
                    <a:pt x="589" y="601"/>
                  </a:moveTo>
                  <a:lnTo>
                    <a:pt x="589" y="603"/>
                  </a:lnTo>
                  <a:lnTo>
                    <a:pt x="589" y="601"/>
                  </a:lnTo>
                  <a:close/>
                  <a:moveTo>
                    <a:pt x="645" y="575"/>
                  </a:moveTo>
                  <a:lnTo>
                    <a:pt x="647" y="575"/>
                  </a:lnTo>
                  <a:lnTo>
                    <a:pt x="645" y="575"/>
                  </a:lnTo>
                  <a:close/>
                  <a:moveTo>
                    <a:pt x="718" y="457"/>
                  </a:moveTo>
                  <a:lnTo>
                    <a:pt x="718" y="459"/>
                  </a:lnTo>
                  <a:lnTo>
                    <a:pt x="718" y="457"/>
                  </a:lnTo>
                  <a:close/>
                  <a:moveTo>
                    <a:pt x="720" y="457"/>
                  </a:moveTo>
                  <a:lnTo>
                    <a:pt x="720" y="459"/>
                  </a:lnTo>
                  <a:lnTo>
                    <a:pt x="720" y="457"/>
                  </a:lnTo>
                  <a:close/>
                  <a:moveTo>
                    <a:pt x="681" y="523"/>
                  </a:moveTo>
                  <a:lnTo>
                    <a:pt x="681" y="525"/>
                  </a:lnTo>
                  <a:lnTo>
                    <a:pt x="681" y="523"/>
                  </a:lnTo>
                  <a:close/>
                  <a:moveTo>
                    <a:pt x="691" y="331"/>
                  </a:moveTo>
                  <a:lnTo>
                    <a:pt x="693" y="331"/>
                  </a:lnTo>
                  <a:lnTo>
                    <a:pt x="691" y="331"/>
                  </a:lnTo>
                  <a:close/>
                  <a:moveTo>
                    <a:pt x="708" y="477"/>
                  </a:moveTo>
                  <a:lnTo>
                    <a:pt x="710" y="477"/>
                  </a:lnTo>
                  <a:lnTo>
                    <a:pt x="708" y="477"/>
                  </a:lnTo>
                  <a:close/>
                  <a:moveTo>
                    <a:pt x="710" y="465"/>
                  </a:moveTo>
                  <a:lnTo>
                    <a:pt x="710" y="467"/>
                  </a:lnTo>
                  <a:lnTo>
                    <a:pt x="710" y="465"/>
                  </a:lnTo>
                  <a:close/>
                  <a:moveTo>
                    <a:pt x="702" y="308"/>
                  </a:moveTo>
                  <a:lnTo>
                    <a:pt x="702" y="310"/>
                  </a:lnTo>
                  <a:lnTo>
                    <a:pt x="702" y="308"/>
                  </a:lnTo>
                  <a:close/>
                  <a:moveTo>
                    <a:pt x="710" y="473"/>
                  </a:moveTo>
                  <a:lnTo>
                    <a:pt x="712" y="473"/>
                  </a:lnTo>
                  <a:lnTo>
                    <a:pt x="710" y="473"/>
                  </a:lnTo>
                  <a:close/>
                  <a:moveTo>
                    <a:pt x="704" y="482"/>
                  </a:moveTo>
                  <a:lnTo>
                    <a:pt x="706" y="482"/>
                  </a:lnTo>
                  <a:lnTo>
                    <a:pt x="706" y="484"/>
                  </a:lnTo>
                  <a:lnTo>
                    <a:pt x="704" y="484"/>
                  </a:lnTo>
                  <a:lnTo>
                    <a:pt x="704" y="482"/>
                  </a:lnTo>
                  <a:close/>
                  <a:moveTo>
                    <a:pt x="706" y="465"/>
                  </a:moveTo>
                  <a:lnTo>
                    <a:pt x="706" y="467"/>
                  </a:lnTo>
                  <a:lnTo>
                    <a:pt x="706" y="465"/>
                  </a:lnTo>
                  <a:close/>
                  <a:moveTo>
                    <a:pt x="716" y="467"/>
                  </a:moveTo>
                  <a:lnTo>
                    <a:pt x="716" y="469"/>
                  </a:lnTo>
                  <a:lnTo>
                    <a:pt x="716" y="467"/>
                  </a:lnTo>
                  <a:close/>
                  <a:moveTo>
                    <a:pt x="668" y="386"/>
                  </a:moveTo>
                  <a:lnTo>
                    <a:pt x="668" y="388"/>
                  </a:lnTo>
                  <a:lnTo>
                    <a:pt x="668" y="386"/>
                  </a:lnTo>
                  <a:close/>
                  <a:moveTo>
                    <a:pt x="677" y="525"/>
                  </a:moveTo>
                  <a:lnTo>
                    <a:pt x="679" y="525"/>
                  </a:lnTo>
                  <a:lnTo>
                    <a:pt x="677" y="525"/>
                  </a:lnTo>
                  <a:close/>
                  <a:moveTo>
                    <a:pt x="512" y="605"/>
                  </a:moveTo>
                  <a:lnTo>
                    <a:pt x="512" y="607"/>
                  </a:lnTo>
                  <a:lnTo>
                    <a:pt x="512" y="605"/>
                  </a:lnTo>
                  <a:close/>
                  <a:moveTo>
                    <a:pt x="679" y="528"/>
                  </a:moveTo>
                  <a:lnTo>
                    <a:pt x="679" y="530"/>
                  </a:lnTo>
                  <a:lnTo>
                    <a:pt x="679" y="528"/>
                  </a:lnTo>
                  <a:close/>
                  <a:moveTo>
                    <a:pt x="578" y="603"/>
                  </a:moveTo>
                  <a:lnTo>
                    <a:pt x="580" y="603"/>
                  </a:lnTo>
                  <a:lnTo>
                    <a:pt x="578" y="603"/>
                  </a:lnTo>
                  <a:close/>
                  <a:moveTo>
                    <a:pt x="595" y="594"/>
                  </a:moveTo>
                  <a:lnTo>
                    <a:pt x="597" y="594"/>
                  </a:lnTo>
                  <a:lnTo>
                    <a:pt x="595" y="594"/>
                  </a:lnTo>
                  <a:close/>
                  <a:moveTo>
                    <a:pt x="723" y="302"/>
                  </a:moveTo>
                  <a:lnTo>
                    <a:pt x="723" y="304"/>
                  </a:lnTo>
                  <a:lnTo>
                    <a:pt x="723" y="302"/>
                  </a:lnTo>
                  <a:close/>
                  <a:moveTo>
                    <a:pt x="710" y="471"/>
                  </a:moveTo>
                  <a:lnTo>
                    <a:pt x="710" y="473"/>
                  </a:lnTo>
                  <a:lnTo>
                    <a:pt x="710" y="471"/>
                  </a:lnTo>
                  <a:close/>
                  <a:moveTo>
                    <a:pt x="674" y="548"/>
                  </a:moveTo>
                  <a:lnTo>
                    <a:pt x="675" y="548"/>
                  </a:lnTo>
                  <a:lnTo>
                    <a:pt x="675" y="550"/>
                  </a:lnTo>
                  <a:lnTo>
                    <a:pt x="674" y="550"/>
                  </a:lnTo>
                  <a:lnTo>
                    <a:pt x="674" y="548"/>
                  </a:lnTo>
                  <a:close/>
                  <a:moveTo>
                    <a:pt x="695" y="502"/>
                  </a:moveTo>
                  <a:lnTo>
                    <a:pt x="695" y="504"/>
                  </a:lnTo>
                  <a:lnTo>
                    <a:pt x="695" y="502"/>
                  </a:lnTo>
                  <a:close/>
                  <a:moveTo>
                    <a:pt x="714" y="473"/>
                  </a:moveTo>
                  <a:lnTo>
                    <a:pt x="714" y="475"/>
                  </a:lnTo>
                  <a:lnTo>
                    <a:pt x="714" y="473"/>
                  </a:lnTo>
                  <a:close/>
                  <a:moveTo>
                    <a:pt x="706" y="496"/>
                  </a:moveTo>
                  <a:lnTo>
                    <a:pt x="708" y="496"/>
                  </a:lnTo>
                  <a:lnTo>
                    <a:pt x="706" y="496"/>
                  </a:lnTo>
                  <a:close/>
                  <a:moveTo>
                    <a:pt x="641" y="577"/>
                  </a:moveTo>
                  <a:lnTo>
                    <a:pt x="643" y="577"/>
                  </a:lnTo>
                  <a:lnTo>
                    <a:pt x="641" y="577"/>
                  </a:lnTo>
                  <a:close/>
                  <a:moveTo>
                    <a:pt x="512" y="605"/>
                  </a:moveTo>
                  <a:lnTo>
                    <a:pt x="512" y="607"/>
                  </a:lnTo>
                  <a:lnTo>
                    <a:pt x="512" y="605"/>
                  </a:lnTo>
                  <a:close/>
                  <a:moveTo>
                    <a:pt x="712" y="471"/>
                  </a:moveTo>
                  <a:lnTo>
                    <a:pt x="714" y="471"/>
                  </a:lnTo>
                  <a:lnTo>
                    <a:pt x="712" y="471"/>
                  </a:lnTo>
                  <a:close/>
                  <a:moveTo>
                    <a:pt x="712" y="467"/>
                  </a:moveTo>
                  <a:lnTo>
                    <a:pt x="712" y="469"/>
                  </a:lnTo>
                  <a:lnTo>
                    <a:pt x="712" y="467"/>
                  </a:lnTo>
                  <a:close/>
                  <a:moveTo>
                    <a:pt x="714" y="459"/>
                  </a:moveTo>
                  <a:lnTo>
                    <a:pt x="716" y="459"/>
                  </a:lnTo>
                  <a:lnTo>
                    <a:pt x="714" y="459"/>
                  </a:lnTo>
                  <a:close/>
                  <a:moveTo>
                    <a:pt x="674" y="542"/>
                  </a:moveTo>
                  <a:lnTo>
                    <a:pt x="675" y="542"/>
                  </a:lnTo>
                  <a:lnTo>
                    <a:pt x="674" y="542"/>
                  </a:lnTo>
                  <a:close/>
                  <a:moveTo>
                    <a:pt x="700" y="504"/>
                  </a:moveTo>
                  <a:lnTo>
                    <a:pt x="702" y="504"/>
                  </a:lnTo>
                  <a:lnTo>
                    <a:pt x="700" y="504"/>
                  </a:lnTo>
                  <a:close/>
                  <a:moveTo>
                    <a:pt x="516" y="605"/>
                  </a:moveTo>
                  <a:lnTo>
                    <a:pt x="516" y="607"/>
                  </a:lnTo>
                  <a:lnTo>
                    <a:pt x="516" y="605"/>
                  </a:lnTo>
                  <a:close/>
                  <a:moveTo>
                    <a:pt x="702" y="306"/>
                  </a:moveTo>
                  <a:lnTo>
                    <a:pt x="702" y="308"/>
                  </a:lnTo>
                  <a:lnTo>
                    <a:pt x="702" y="306"/>
                  </a:lnTo>
                  <a:close/>
                  <a:moveTo>
                    <a:pt x="706" y="467"/>
                  </a:moveTo>
                  <a:lnTo>
                    <a:pt x="708" y="467"/>
                  </a:lnTo>
                  <a:lnTo>
                    <a:pt x="706" y="467"/>
                  </a:lnTo>
                  <a:close/>
                  <a:moveTo>
                    <a:pt x="683" y="527"/>
                  </a:moveTo>
                  <a:lnTo>
                    <a:pt x="683" y="528"/>
                  </a:lnTo>
                  <a:lnTo>
                    <a:pt x="683" y="527"/>
                  </a:lnTo>
                  <a:close/>
                  <a:moveTo>
                    <a:pt x="562" y="607"/>
                  </a:moveTo>
                  <a:lnTo>
                    <a:pt x="562" y="609"/>
                  </a:lnTo>
                  <a:lnTo>
                    <a:pt x="562" y="607"/>
                  </a:lnTo>
                  <a:close/>
                  <a:moveTo>
                    <a:pt x="716" y="467"/>
                  </a:moveTo>
                  <a:lnTo>
                    <a:pt x="716" y="469"/>
                  </a:lnTo>
                  <a:lnTo>
                    <a:pt x="716" y="467"/>
                  </a:lnTo>
                  <a:close/>
                  <a:moveTo>
                    <a:pt x="708" y="486"/>
                  </a:moveTo>
                  <a:lnTo>
                    <a:pt x="710" y="486"/>
                  </a:lnTo>
                  <a:lnTo>
                    <a:pt x="708" y="486"/>
                  </a:lnTo>
                  <a:close/>
                  <a:moveTo>
                    <a:pt x="672" y="552"/>
                  </a:moveTo>
                  <a:lnTo>
                    <a:pt x="674" y="552"/>
                  </a:lnTo>
                  <a:lnTo>
                    <a:pt x="672" y="552"/>
                  </a:lnTo>
                  <a:close/>
                  <a:moveTo>
                    <a:pt x="512" y="605"/>
                  </a:moveTo>
                  <a:lnTo>
                    <a:pt x="512" y="607"/>
                  </a:lnTo>
                  <a:lnTo>
                    <a:pt x="512" y="605"/>
                  </a:lnTo>
                  <a:close/>
                  <a:moveTo>
                    <a:pt x="683" y="527"/>
                  </a:moveTo>
                  <a:lnTo>
                    <a:pt x="683" y="528"/>
                  </a:lnTo>
                  <a:lnTo>
                    <a:pt x="683" y="527"/>
                  </a:lnTo>
                  <a:close/>
                  <a:moveTo>
                    <a:pt x="637" y="580"/>
                  </a:moveTo>
                  <a:lnTo>
                    <a:pt x="637" y="582"/>
                  </a:lnTo>
                  <a:lnTo>
                    <a:pt x="637" y="580"/>
                  </a:lnTo>
                  <a:close/>
                  <a:moveTo>
                    <a:pt x="708" y="477"/>
                  </a:moveTo>
                  <a:lnTo>
                    <a:pt x="708" y="479"/>
                  </a:lnTo>
                  <a:lnTo>
                    <a:pt x="708" y="477"/>
                  </a:lnTo>
                  <a:close/>
                  <a:moveTo>
                    <a:pt x="702" y="313"/>
                  </a:moveTo>
                  <a:lnTo>
                    <a:pt x="702" y="315"/>
                  </a:lnTo>
                  <a:lnTo>
                    <a:pt x="702" y="313"/>
                  </a:lnTo>
                  <a:close/>
                  <a:moveTo>
                    <a:pt x="675" y="544"/>
                  </a:moveTo>
                  <a:lnTo>
                    <a:pt x="677" y="544"/>
                  </a:lnTo>
                  <a:lnTo>
                    <a:pt x="675" y="544"/>
                  </a:lnTo>
                  <a:close/>
                  <a:moveTo>
                    <a:pt x="601" y="592"/>
                  </a:moveTo>
                  <a:lnTo>
                    <a:pt x="601" y="594"/>
                  </a:lnTo>
                  <a:lnTo>
                    <a:pt x="601" y="592"/>
                  </a:lnTo>
                  <a:close/>
                  <a:moveTo>
                    <a:pt x="697" y="507"/>
                  </a:moveTo>
                  <a:lnTo>
                    <a:pt x="697" y="509"/>
                  </a:lnTo>
                  <a:lnTo>
                    <a:pt x="697" y="507"/>
                  </a:lnTo>
                  <a:close/>
                  <a:moveTo>
                    <a:pt x="675" y="544"/>
                  </a:moveTo>
                  <a:lnTo>
                    <a:pt x="677" y="544"/>
                  </a:lnTo>
                  <a:lnTo>
                    <a:pt x="675" y="544"/>
                  </a:lnTo>
                  <a:close/>
                  <a:moveTo>
                    <a:pt x="697" y="505"/>
                  </a:moveTo>
                  <a:lnTo>
                    <a:pt x="699" y="505"/>
                  </a:lnTo>
                  <a:lnTo>
                    <a:pt x="697" y="505"/>
                  </a:lnTo>
                  <a:close/>
                  <a:moveTo>
                    <a:pt x="708" y="465"/>
                  </a:moveTo>
                  <a:lnTo>
                    <a:pt x="708" y="467"/>
                  </a:lnTo>
                  <a:lnTo>
                    <a:pt x="708" y="465"/>
                  </a:lnTo>
                  <a:close/>
                  <a:moveTo>
                    <a:pt x="603" y="594"/>
                  </a:moveTo>
                  <a:lnTo>
                    <a:pt x="604" y="594"/>
                  </a:lnTo>
                  <a:lnTo>
                    <a:pt x="603" y="594"/>
                  </a:lnTo>
                  <a:close/>
                  <a:moveTo>
                    <a:pt x="699" y="504"/>
                  </a:moveTo>
                  <a:lnTo>
                    <a:pt x="700" y="504"/>
                  </a:lnTo>
                  <a:lnTo>
                    <a:pt x="699" y="504"/>
                  </a:lnTo>
                  <a:close/>
                  <a:moveTo>
                    <a:pt x="708" y="486"/>
                  </a:moveTo>
                  <a:lnTo>
                    <a:pt x="710" y="486"/>
                  </a:lnTo>
                  <a:lnTo>
                    <a:pt x="708" y="486"/>
                  </a:lnTo>
                  <a:close/>
                  <a:moveTo>
                    <a:pt x="714" y="473"/>
                  </a:moveTo>
                  <a:lnTo>
                    <a:pt x="714" y="475"/>
                  </a:lnTo>
                  <a:lnTo>
                    <a:pt x="714" y="473"/>
                  </a:lnTo>
                  <a:close/>
                  <a:moveTo>
                    <a:pt x="675" y="546"/>
                  </a:moveTo>
                  <a:lnTo>
                    <a:pt x="677" y="546"/>
                  </a:lnTo>
                  <a:lnTo>
                    <a:pt x="675" y="546"/>
                  </a:lnTo>
                  <a:close/>
                  <a:moveTo>
                    <a:pt x="714" y="459"/>
                  </a:moveTo>
                  <a:lnTo>
                    <a:pt x="716" y="459"/>
                  </a:lnTo>
                  <a:lnTo>
                    <a:pt x="714" y="459"/>
                  </a:lnTo>
                  <a:close/>
                  <a:moveTo>
                    <a:pt x="693" y="507"/>
                  </a:moveTo>
                  <a:lnTo>
                    <a:pt x="695" y="507"/>
                  </a:lnTo>
                  <a:lnTo>
                    <a:pt x="693" y="507"/>
                  </a:lnTo>
                  <a:close/>
                  <a:moveTo>
                    <a:pt x="712" y="467"/>
                  </a:moveTo>
                  <a:lnTo>
                    <a:pt x="712" y="469"/>
                  </a:lnTo>
                  <a:lnTo>
                    <a:pt x="712" y="467"/>
                  </a:lnTo>
                  <a:close/>
                  <a:moveTo>
                    <a:pt x="672" y="552"/>
                  </a:moveTo>
                  <a:lnTo>
                    <a:pt x="674" y="552"/>
                  </a:lnTo>
                  <a:lnTo>
                    <a:pt x="672" y="552"/>
                  </a:lnTo>
                  <a:close/>
                  <a:moveTo>
                    <a:pt x="637" y="580"/>
                  </a:moveTo>
                  <a:lnTo>
                    <a:pt x="637" y="582"/>
                  </a:lnTo>
                  <a:lnTo>
                    <a:pt x="637" y="580"/>
                  </a:lnTo>
                  <a:close/>
                  <a:moveTo>
                    <a:pt x="675" y="530"/>
                  </a:moveTo>
                  <a:lnTo>
                    <a:pt x="675" y="532"/>
                  </a:lnTo>
                  <a:lnTo>
                    <a:pt x="675" y="530"/>
                  </a:lnTo>
                  <a:close/>
                  <a:moveTo>
                    <a:pt x="702" y="479"/>
                  </a:moveTo>
                  <a:lnTo>
                    <a:pt x="702" y="480"/>
                  </a:lnTo>
                  <a:lnTo>
                    <a:pt x="702" y="479"/>
                  </a:lnTo>
                  <a:close/>
                  <a:moveTo>
                    <a:pt x="512" y="605"/>
                  </a:moveTo>
                  <a:lnTo>
                    <a:pt x="512" y="607"/>
                  </a:lnTo>
                  <a:lnTo>
                    <a:pt x="512" y="605"/>
                  </a:lnTo>
                  <a:close/>
                  <a:moveTo>
                    <a:pt x="670" y="548"/>
                  </a:moveTo>
                  <a:lnTo>
                    <a:pt x="672" y="548"/>
                  </a:lnTo>
                  <a:lnTo>
                    <a:pt x="670" y="548"/>
                  </a:lnTo>
                  <a:close/>
                  <a:moveTo>
                    <a:pt x="510" y="605"/>
                  </a:moveTo>
                  <a:lnTo>
                    <a:pt x="512" y="605"/>
                  </a:lnTo>
                  <a:lnTo>
                    <a:pt x="510" y="605"/>
                  </a:lnTo>
                  <a:close/>
                  <a:moveTo>
                    <a:pt x="695" y="513"/>
                  </a:moveTo>
                  <a:lnTo>
                    <a:pt x="695" y="515"/>
                  </a:lnTo>
                  <a:lnTo>
                    <a:pt x="695" y="513"/>
                  </a:lnTo>
                  <a:close/>
                  <a:moveTo>
                    <a:pt x="710" y="475"/>
                  </a:moveTo>
                  <a:lnTo>
                    <a:pt x="712" y="475"/>
                  </a:lnTo>
                  <a:lnTo>
                    <a:pt x="710" y="475"/>
                  </a:lnTo>
                  <a:close/>
                  <a:moveTo>
                    <a:pt x="674" y="550"/>
                  </a:moveTo>
                  <a:lnTo>
                    <a:pt x="674" y="552"/>
                  </a:lnTo>
                  <a:lnTo>
                    <a:pt x="674" y="550"/>
                  </a:lnTo>
                  <a:close/>
                  <a:moveTo>
                    <a:pt x="708" y="467"/>
                  </a:moveTo>
                  <a:lnTo>
                    <a:pt x="710" y="467"/>
                  </a:lnTo>
                  <a:lnTo>
                    <a:pt x="708" y="467"/>
                  </a:lnTo>
                  <a:close/>
                  <a:moveTo>
                    <a:pt x="712" y="475"/>
                  </a:moveTo>
                  <a:lnTo>
                    <a:pt x="712" y="477"/>
                  </a:lnTo>
                  <a:lnTo>
                    <a:pt x="712" y="475"/>
                  </a:lnTo>
                  <a:close/>
                  <a:moveTo>
                    <a:pt x="614" y="592"/>
                  </a:moveTo>
                  <a:lnTo>
                    <a:pt x="616" y="592"/>
                  </a:lnTo>
                  <a:lnTo>
                    <a:pt x="614" y="592"/>
                  </a:lnTo>
                  <a:close/>
                  <a:moveTo>
                    <a:pt x="516" y="605"/>
                  </a:moveTo>
                  <a:lnTo>
                    <a:pt x="516" y="607"/>
                  </a:lnTo>
                  <a:lnTo>
                    <a:pt x="516" y="605"/>
                  </a:lnTo>
                  <a:close/>
                  <a:moveTo>
                    <a:pt x="712" y="477"/>
                  </a:moveTo>
                  <a:lnTo>
                    <a:pt x="712" y="479"/>
                  </a:lnTo>
                  <a:lnTo>
                    <a:pt x="712" y="477"/>
                  </a:lnTo>
                  <a:close/>
                  <a:moveTo>
                    <a:pt x="672" y="546"/>
                  </a:moveTo>
                  <a:lnTo>
                    <a:pt x="674" y="546"/>
                  </a:lnTo>
                  <a:lnTo>
                    <a:pt x="672" y="546"/>
                  </a:lnTo>
                  <a:close/>
                  <a:moveTo>
                    <a:pt x="674" y="540"/>
                  </a:moveTo>
                  <a:lnTo>
                    <a:pt x="675" y="540"/>
                  </a:lnTo>
                  <a:lnTo>
                    <a:pt x="674" y="540"/>
                  </a:lnTo>
                  <a:close/>
                  <a:moveTo>
                    <a:pt x="672" y="552"/>
                  </a:moveTo>
                  <a:lnTo>
                    <a:pt x="674" y="552"/>
                  </a:lnTo>
                  <a:lnTo>
                    <a:pt x="672" y="552"/>
                  </a:lnTo>
                  <a:close/>
                  <a:moveTo>
                    <a:pt x="677" y="532"/>
                  </a:moveTo>
                  <a:lnTo>
                    <a:pt x="677" y="534"/>
                  </a:lnTo>
                  <a:lnTo>
                    <a:pt x="677" y="532"/>
                  </a:lnTo>
                  <a:close/>
                  <a:moveTo>
                    <a:pt x="672" y="550"/>
                  </a:moveTo>
                  <a:lnTo>
                    <a:pt x="674" y="550"/>
                  </a:lnTo>
                  <a:lnTo>
                    <a:pt x="672" y="550"/>
                  </a:lnTo>
                  <a:close/>
                  <a:moveTo>
                    <a:pt x="677" y="532"/>
                  </a:moveTo>
                  <a:lnTo>
                    <a:pt x="677" y="534"/>
                  </a:lnTo>
                  <a:lnTo>
                    <a:pt x="677" y="532"/>
                  </a:lnTo>
                  <a:close/>
                  <a:moveTo>
                    <a:pt x="706" y="477"/>
                  </a:moveTo>
                  <a:lnTo>
                    <a:pt x="706" y="479"/>
                  </a:lnTo>
                  <a:lnTo>
                    <a:pt x="706" y="477"/>
                  </a:lnTo>
                  <a:close/>
                  <a:moveTo>
                    <a:pt x="710" y="467"/>
                  </a:moveTo>
                  <a:lnTo>
                    <a:pt x="710" y="469"/>
                  </a:lnTo>
                  <a:lnTo>
                    <a:pt x="710" y="467"/>
                  </a:lnTo>
                  <a:close/>
                  <a:moveTo>
                    <a:pt x="674" y="544"/>
                  </a:moveTo>
                  <a:lnTo>
                    <a:pt x="675" y="544"/>
                  </a:lnTo>
                  <a:lnTo>
                    <a:pt x="674" y="544"/>
                  </a:lnTo>
                  <a:close/>
                  <a:moveTo>
                    <a:pt x="708" y="471"/>
                  </a:moveTo>
                  <a:lnTo>
                    <a:pt x="708" y="473"/>
                  </a:lnTo>
                  <a:lnTo>
                    <a:pt x="708" y="471"/>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8" name="Freeform 408">
              <a:extLst>
                <a:ext uri="{FF2B5EF4-FFF2-40B4-BE49-F238E27FC236}">
                  <a16:creationId xmlns:a16="http://schemas.microsoft.com/office/drawing/2014/main" id="{5484C33E-3126-4030-B76D-4DB0FEBC6760}"/>
                </a:ext>
              </a:extLst>
            </p:cNvPr>
            <p:cNvSpPr>
              <a:spLocks/>
            </p:cNvSpPr>
            <p:nvPr/>
          </p:nvSpPr>
          <p:spPr bwMode="gray">
            <a:xfrm>
              <a:off x="4802552" y="3839198"/>
              <a:ext cx="58866" cy="30660"/>
            </a:xfrm>
            <a:custGeom>
              <a:avLst/>
              <a:gdLst>
                <a:gd name="T0" fmla="*/ 40 w 48"/>
                <a:gd name="T1" fmla="*/ 5 h 25"/>
                <a:gd name="T2" fmla="*/ 40 w 48"/>
                <a:gd name="T3" fmla="*/ 5 h 25"/>
                <a:gd name="T4" fmla="*/ 42 w 48"/>
                <a:gd name="T5" fmla="*/ 7 h 25"/>
                <a:gd name="T6" fmla="*/ 40 w 48"/>
                <a:gd name="T7" fmla="*/ 9 h 25"/>
                <a:gd name="T8" fmla="*/ 42 w 48"/>
                <a:gd name="T9" fmla="*/ 11 h 25"/>
                <a:gd name="T10" fmla="*/ 44 w 48"/>
                <a:gd name="T11" fmla="*/ 13 h 25"/>
                <a:gd name="T12" fmla="*/ 46 w 48"/>
                <a:gd name="T13" fmla="*/ 11 h 25"/>
                <a:gd name="T14" fmla="*/ 46 w 48"/>
                <a:gd name="T15" fmla="*/ 11 h 25"/>
                <a:gd name="T16" fmla="*/ 46 w 48"/>
                <a:gd name="T17" fmla="*/ 11 h 25"/>
                <a:gd name="T18" fmla="*/ 48 w 48"/>
                <a:gd name="T19" fmla="*/ 13 h 25"/>
                <a:gd name="T20" fmla="*/ 48 w 48"/>
                <a:gd name="T21" fmla="*/ 17 h 25"/>
                <a:gd name="T22" fmla="*/ 48 w 48"/>
                <a:gd name="T23" fmla="*/ 21 h 25"/>
                <a:gd name="T24" fmla="*/ 46 w 48"/>
                <a:gd name="T25" fmla="*/ 23 h 25"/>
                <a:gd name="T26" fmla="*/ 44 w 48"/>
                <a:gd name="T27" fmla="*/ 21 h 25"/>
                <a:gd name="T28" fmla="*/ 42 w 48"/>
                <a:gd name="T29" fmla="*/ 23 h 25"/>
                <a:gd name="T30" fmla="*/ 38 w 48"/>
                <a:gd name="T31" fmla="*/ 23 h 25"/>
                <a:gd name="T32" fmla="*/ 34 w 48"/>
                <a:gd name="T33" fmla="*/ 23 h 25"/>
                <a:gd name="T34" fmla="*/ 30 w 48"/>
                <a:gd name="T35" fmla="*/ 23 h 25"/>
                <a:gd name="T36" fmla="*/ 26 w 48"/>
                <a:gd name="T37" fmla="*/ 23 h 25"/>
                <a:gd name="T38" fmla="*/ 24 w 48"/>
                <a:gd name="T39" fmla="*/ 21 h 25"/>
                <a:gd name="T40" fmla="*/ 23 w 48"/>
                <a:gd name="T41" fmla="*/ 23 h 25"/>
                <a:gd name="T42" fmla="*/ 21 w 48"/>
                <a:gd name="T43" fmla="*/ 25 h 25"/>
                <a:gd name="T44" fmla="*/ 17 w 48"/>
                <a:gd name="T45" fmla="*/ 25 h 25"/>
                <a:gd name="T46" fmla="*/ 13 w 48"/>
                <a:gd name="T47" fmla="*/ 25 h 25"/>
                <a:gd name="T48" fmla="*/ 13 w 48"/>
                <a:gd name="T49" fmla="*/ 25 h 25"/>
                <a:gd name="T50" fmla="*/ 11 w 48"/>
                <a:gd name="T51" fmla="*/ 23 h 25"/>
                <a:gd name="T52" fmla="*/ 7 w 48"/>
                <a:gd name="T53" fmla="*/ 23 h 25"/>
                <a:gd name="T54" fmla="*/ 3 w 48"/>
                <a:gd name="T55" fmla="*/ 23 h 25"/>
                <a:gd name="T56" fmla="*/ 1 w 48"/>
                <a:gd name="T57" fmla="*/ 21 h 25"/>
                <a:gd name="T58" fmla="*/ 0 w 48"/>
                <a:gd name="T59" fmla="*/ 19 h 25"/>
                <a:gd name="T60" fmla="*/ 0 w 48"/>
                <a:gd name="T61" fmla="*/ 19 h 25"/>
                <a:gd name="T62" fmla="*/ 0 w 48"/>
                <a:gd name="T63" fmla="*/ 15 h 25"/>
                <a:gd name="T64" fmla="*/ 3 w 48"/>
                <a:gd name="T65" fmla="*/ 15 h 25"/>
                <a:gd name="T66" fmla="*/ 1 w 48"/>
                <a:gd name="T67" fmla="*/ 13 h 25"/>
                <a:gd name="T68" fmla="*/ 3 w 48"/>
                <a:gd name="T69" fmla="*/ 11 h 25"/>
                <a:gd name="T70" fmla="*/ 3 w 48"/>
                <a:gd name="T71" fmla="*/ 11 h 25"/>
                <a:gd name="T72" fmla="*/ 5 w 48"/>
                <a:gd name="T73" fmla="*/ 9 h 25"/>
                <a:gd name="T74" fmla="*/ 7 w 48"/>
                <a:gd name="T75" fmla="*/ 7 h 25"/>
                <a:gd name="T76" fmla="*/ 9 w 48"/>
                <a:gd name="T77" fmla="*/ 5 h 25"/>
                <a:gd name="T78" fmla="*/ 9 w 48"/>
                <a:gd name="T79" fmla="*/ 2 h 25"/>
                <a:gd name="T80" fmla="*/ 11 w 48"/>
                <a:gd name="T81" fmla="*/ 0 h 25"/>
                <a:gd name="T82" fmla="*/ 15 w 48"/>
                <a:gd name="T83" fmla="*/ 0 h 25"/>
                <a:gd name="T84" fmla="*/ 15 w 48"/>
                <a:gd name="T85" fmla="*/ 0 h 25"/>
                <a:gd name="T86" fmla="*/ 17 w 48"/>
                <a:gd name="T87" fmla="*/ 2 h 25"/>
                <a:gd name="T88" fmla="*/ 19 w 48"/>
                <a:gd name="T89" fmla="*/ 0 h 25"/>
                <a:gd name="T90" fmla="*/ 21 w 48"/>
                <a:gd name="T91" fmla="*/ 2 h 25"/>
                <a:gd name="T92" fmla="*/ 24 w 48"/>
                <a:gd name="T93" fmla="*/ 2 h 25"/>
                <a:gd name="T94" fmla="*/ 26 w 48"/>
                <a:gd name="T95" fmla="*/ 3 h 25"/>
                <a:gd name="T96" fmla="*/ 28 w 48"/>
                <a:gd name="T97" fmla="*/ 2 h 25"/>
                <a:gd name="T98" fmla="*/ 28 w 48"/>
                <a:gd name="T99" fmla="*/ 2 h 25"/>
                <a:gd name="T100" fmla="*/ 28 w 48"/>
                <a:gd name="T101" fmla="*/ 2 h 25"/>
                <a:gd name="T102" fmla="*/ 30 w 48"/>
                <a:gd name="T103" fmla="*/ 3 h 25"/>
                <a:gd name="T104" fmla="*/ 30 w 48"/>
                <a:gd name="T105" fmla="*/ 3 h 25"/>
                <a:gd name="T106" fmla="*/ 30 w 48"/>
                <a:gd name="T107" fmla="*/ 3 h 25"/>
                <a:gd name="T108" fmla="*/ 34 w 48"/>
                <a:gd name="T109" fmla="*/ 3 h 25"/>
                <a:gd name="T110" fmla="*/ 36 w 48"/>
                <a:gd name="T111" fmla="*/ 2 h 25"/>
                <a:gd name="T112" fmla="*/ 38 w 48"/>
                <a:gd name="T113" fmla="*/ 3 h 25"/>
                <a:gd name="T114" fmla="*/ 40 w 48"/>
                <a:gd name="T115"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 h="25">
                  <a:moveTo>
                    <a:pt x="42" y="5"/>
                  </a:moveTo>
                  <a:lnTo>
                    <a:pt x="40" y="5"/>
                  </a:lnTo>
                  <a:lnTo>
                    <a:pt x="40" y="7"/>
                  </a:lnTo>
                  <a:lnTo>
                    <a:pt x="40" y="5"/>
                  </a:lnTo>
                  <a:lnTo>
                    <a:pt x="42" y="5"/>
                  </a:lnTo>
                  <a:lnTo>
                    <a:pt x="42" y="7"/>
                  </a:lnTo>
                  <a:lnTo>
                    <a:pt x="42" y="9"/>
                  </a:lnTo>
                  <a:lnTo>
                    <a:pt x="40" y="9"/>
                  </a:lnTo>
                  <a:lnTo>
                    <a:pt x="40" y="11"/>
                  </a:lnTo>
                  <a:lnTo>
                    <a:pt x="42" y="11"/>
                  </a:lnTo>
                  <a:lnTo>
                    <a:pt x="44" y="11"/>
                  </a:lnTo>
                  <a:lnTo>
                    <a:pt x="44" y="13"/>
                  </a:lnTo>
                  <a:lnTo>
                    <a:pt x="44" y="11"/>
                  </a:lnTo>
                  <a:lnTo>
                    <a:pt x="46" y="11"/>
                  </a:lnTo>
                  <a:lnTo>
                    <a:pt x="46" y="13"/>
                  </a:lnTo>
                  <a:lnTo>
                    <a:pt x="46" y="11"/>
                  </a:lnTo>
                  <a:lnTo>
                    <a:pt x="46" y="13"/>
                  </a:lnTo>
                  <a:lnTo>
                    <a:pt x="46" y="11"/>
                  </a:lnTo>
                  <a:lnTo>
                    <a:pt x="48" y="11"/>
                  </a:lnTo>
                  <a:lnTo>
                    <a:pt x="48" y="13"/>
                  </a:lnTo>
                  <a:lnTo>
                    <a:pt x="48" y="15"/>
                  </a:lnTo>
                  <a:lnTo>
                    <a:pt x="48" y="17"/>
                  </a:lnTo>
                  <a:lnTo>
                    <a:pt x="48" y="19"/>
                  </a:lnTo>
                  <a:lnTo>
                    <a:pt x="48" y="21"/>
                  </a:lnTo>
                  <a:lnTo>
                    <a:pt x="48" y="23"/>
                  </a:lnTo>
                  <a:lnTo>
                    <a:pt x="46" y="23"/>
                  </a:lnTo>
                  <a:lnTo>
                    <a:pt x="46" y="21"/>
                  </a:lnTo>
                  <a:lnTo>
                    <a:pt x="44" y="21"/>
                  </a:lnTo>
                  <a:lnTo>
                    <a:pt x="44" y="23"/>
                  </a:lnTo>
                  <a:lnTo>
                    <a:pt x="42" y="23"/>
                  </a:lnTo>
                  <a:lnTo>
                    <a:pt x="40" y="23"/>
                  </a:lnTo>
                  <a:lnTo>
                    <a:pt x="38" y="23"/>
                  </a:lnTo>
                  <a:lnTo>
                    <a:pt x="36" y="23"/>
                  </a:lnTo>
                  <a:lnTo>
                    <a:pt x="34" y="23"/>
                  </a:lnTo>
                  <a:lnTo>
                    <a:pt x="32" y="23"/>
                  </a:lnTo>
                  <a:lnTo>
                    <a:pt x="30" y="23"/>
                  </a:lnTo>
                  <a:lnTo>
                    <a:pt x="28" y="23"/>
                  </a:lnTo>
                  <a:lnTo>
                    <a:pt x="26" y="23"/>
                  </a:lnTo>
                  <a:lnTo>
                    <a:pt x="24" y="23"/>
                  </a:lnTo>
                  <a:lnTo>
                    <a:pt x="24" y="21"/>
                  </a:lnTo>
                  <a:lnTo>
                    <a:pt x="23" y="21"/>
                  </a:lnTo>
                  <a:lnTo>
                    <a:pt x="23" y="23"/>
                  </a:lnTo>
                  <a:lnTo>
                    <a:pt x="21" y="23"/>
                  </a:lnTo>
                  <a:lnTo>
                    <a:pt x="21" y="25"/>
                  </a:lnTo>
                  <a:lnTo>
                    <a:pt x="19" y="25"/>
                  </a:lnTo>
                  <a:lnTo>
                    <a:pt x="17" y="25"/>
                  </a:lnTo>
                  <a:lnTo>
                    <a:pt x="15" y="25"/>
                  </a:lnTo>
                  <a:lnTo>
                    <a:pt x="13" y="25"/>
                  </a:lnTo>
                  <a:lnTo>
                    <a:pt x="11" y="25"/>
                  </a:lnTo>
                  <a:lnTo>
                    <a:pt x="13" y="25"/>
                  </a:lnTo>
                  <a:lnTo>
                    <a:pt x="13" y="23"/>
                  </a:lnTo>
                  <a:lnTo>
                    <a:pt x="11" y="23"/>
                  </a:lnTo>
                  <a:lnTo>
                    <a:pt x="9" y="23"/>
                  </a:lnTo>
                  <a:lnTo>
                    <a:pt x="7" y="23"/>
                  </a:lnTo>
                  <a:lnTo>
                    <a:pt x="5" y="23"/>
                  </a:lnTo>
                  <a:lnTo>
                    <a:pt x="3" y="23"/>
                  </a:lnTo>
                  <a:lnTo>
                    <a:pt x="3" y="21"/>
                  </a:lnTo>
                  <a:lnTo>
                    <a:pt x="1" y="21"/>
                  </a:lnTo>
                  <a:lnTo>
                    <a:pt x="1" y="19"/>
                  </a:lnTo>
                  <a:lnTo>
                    <a:pt x="0" y="19"/>
                  </a:lnTo>
                  <a:lnTo>
                    <a:pt x="0" y="17"/>
                  </a:lnTo>
                  <a:lnTo>
                    <a:pt x="0" y="19"/>
                  </a:lnTo>
                  <a:lnTo>
                    <a:pt x="0" y="17"/>
                  </a:lnTo>
                  <a:lnTo>
                    <a:pt x="0" y="15"/>
                  </a:lnTo>
                  <a:lnTo>
                    <a:pt x="1" y="15"/>
                  </a:lnTo>
                  <a:lnTo>
                    <a:pt x="3" y="15"/>
                  </a:lnTo>
                  <a:lnTo>
                    <a:pt x="3" y="13"/>
                  </a:lnTo>
                  <a:lnTo>
                    <a:pt x="1" y="13"/>
                  </a:lnTo>
                  <a:lnTo>
                    <a:pt x="1" y="11"/>
                  </a:lnTo>
                  <a:lnTo>
                    <a:pt x="3" y="11"/>
                  </a:lnTo>
                  <a:lnTo>
                    <a:pt x="1" y="11"/>
                  </a:lnTo>
                  <a:lnTo>
                    <a:pt x="3" y="11"/>
                  </a:lnTo>
                  <a:lnTo>
                    <a:pt x="3" y="9"/>
                  </a:lnTo>
                  <a:lnTo>
                    <a:pt x="5" y="9"/>
                  </a:lnTo>
                  <a:lnTo>
                    <a:pt x="5" y="7"/>
                  </a:lnTo>
                  <a:lnTo>
                    <a:pt x="7" y="7"/>
                  </a:lnTo>
                  <a:lnTo>
                    <a:pt x="7" y="5"/>
                  </a:lnTo>
                  <a:lnTo>
                    <a:pt x="9" y="5"/>
                  </a:lnTo>
                  <a:lnTo>
                    <a:pt x="9" y="3"/>
                  </a:lnTo>
                  <a:lnTo>
                    <a:pt x="9" y="2"/>
                  </a:lnTo>
                  <a:lnTo>
                    <a:pt x="11" y="2"/>
                  </a:lnTo>
                  <a:lnTo>
                    <a:pt x="11" y="0"/>
                  </a:lnTo>
                  <a:lnTo>
                    <a:pt x="13" y="0"/>
                  </a:lnTo>
                  <a:lnTo>
                    <a:pt x="15" y="0"/>
                  </a:lnTo>
                  <a:lnTo>
                    <a:pt x="13" y="0"/>
                  </a:lnTo>
                  <a:lnTo>
                    <a:pt x="15" y="0"/>
                  </a:lnTo>
                  <a:lnTo>
                    <a:pt x="17" y="0"/>
                  </a:lnTo>
                  <a:lnTo>
                    <a:pt x="17" y="2"/>
                  </a:lnTo>
                  <a:lnTo>
                    <a:pt x="19" y="2"/>
                  </a:lnTo>
                  <a:lnTo>
                    <a:pt x="19" y="0"/>
                  </a:lnTo>
                  <a:lnTo>
                    <a:pt x="21" y="0"/>
                  </a:lnTo>
                  <a:lnTo>
                    <a:pt x="21" y="2"/>
                  </a:lnTo>
                  <a:lnTo>
                    <a:pt x="23" y="2"/>
                  </a:lnTo>
                  <a:lnTo>
                    <a:pt x="24" y="2"/>
                  </a:lnTo>
                  <a:lnTo>
                    <a:pt x="26" y="2"/>
                  </a:lnTo>
                  <a:lnTo>
                    <a:pt x="26" y="3"/>
                  </a:lnTo>
                  <a:lnTo>
                    <a:pt x="26" y="2"/>
                  </a:lnTo>
                  <a:lnTo>
                    <a:pt x="28" y="2"/>
                  </a:lnTo>
                  <a:lnTo>
                    <a:pt x="28" y="3"/>
                  </a:lnTo>
                  <a:lnTo>
                    <a:pt x="28" y="2"/>
                  </a:lnTo>
                  <a:lnTo>
                    <a:pt x="28" y="3"/>
                  </a:lnTo>
                  <a:lnTo>
                    <a:pt x="28" y="2"/>
                  </a:lnTo>
                  <a:lnTo>
                    <a:pt x="28" y="3"/>
                  </a:lnTo>
                  <a:lnTo>
                    <a:pt x="30" y="3"/>
                  </a:lnTo>
                  <a:lnTo>
                    <a:pt x="30" y="2"/>
                  </a:lnTo>
                  <a:lnTo>
                    <a:pt x="30" y="3"/>
                  </a:lnTo>
                  <a:lnTo>
                    <a:pt x="30" y="2"/>
                  </a:lnTo>
                  <a:lnTo>
                    <a:pt x="30" y="3"/>
                  </a:lnTo>
                  <a:lnTo>
                    <a:pt x="32" y="3"/>
                  </a:lnTo>
                  <a:lnTo>
                    <a:pt x="34" y="3"/>
                  </a:lnTo>
                  <a:lnTo>
                    <a:pt x="36" y="3"/>
                  </a:lnTo>
                  <a:lnTo>
                    <a:pt x="36" y="2"/>
                  </a:lnTo>
                  <a:lnTo>
                    <a:pt x="38" y="2"/>
                  </a:lnTo>
                  <a:lnTo>
                    <a:pt x="38" y="3"/>
                  </a:lnTo>
                  <a:lnTo>
                    <a:pt x="40" y="3"/>
                  </a:lnTo>
                  <a:lnTo>
                    <a:pt x="40" y="5"/>
                  </a:lnTo>
                  <a:lnTo>
                    <a:pt x="42" y="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9" name="Freeform 409">
              <a:extLst>
                <a:ext uri="{FF2B5EF4-FFF2-40B4-BE49-F238E27FC236}">
                  <a16:creationId xmlns:a16="http://schemas.microsoft.com/office/drawing/2014/main" id="{A64816D5-50A8-4FBC-9882-C9D733678879}"/>
                </a:ext>
              </a:extLst>
            </p:cNvPr>
            <p:cNvSpPr>
              <a:spLocks noEditPoints="1"/>
            </p:cNvSpPr>
            <p:nvPr/>
          </p:nvSpPr>
          <p:spPr bwMode="gray">
            <a:xfrm>
              <a:off x="4787835" y="3871084"/>
              <a:ext cx="84620" cy="116506"/>
            </a:xfrm>
            <a:custGeom>
              <a:avLst/>
              <a:gdLst>
                <a:gd name="T0" fmla="*/ 67 w 69"/>
                <a:gd name="T1" fmla="*/ 85 h 95"/>
                <a:gd name="T2" fmla="*/ 63 w 69"/>
                <a:gd name="T3" fmla="*/ 83 h 95"/>
                <a:gd name="T4" fmla="*/ 61 w 69"/>
                <a:gd name="T5" fmla="*/ 91 h 95"/>
                <a:gd name="T6" fmla="*/ 60 w 69"/>
                <a:gd name="T7" fmla="*/ 87 h 95"/>
                <a:gd name="T8" fmla="*/ 58 w 69"/>
                <a:gd name="T9" fmla="*/ 79 h 95"/>
                <a:gd name="T10" fmla="*/ 56 w 69"/>
                <a:gd name="T11" fmla="*/ 72 h 95"/>
                <a:gd name="T12" fmla="*/ 50 w 69"/>
                <a:gd name="T13" fmla="*/ 64 h 95"/>
                <a:gd name="T14" fmla="*/ 44 w 69"/>
                <a:gd name="T15" fmla="*/ 64 h 95"/>
                <a:gd name="T16" fmla="*/ 40 w 69"/>
                <a:gd name="T17" fmla="*/ 73 h 95"/>
                <a:gd name="T18" fmla="*/ 29 w 69"/>
                <a:gd name="T19" fmla="*/ 75 h 95"/>
                <a:gd name="T20" fmla="*/ 27 w 69"/>
                <a:gd name="T21" fmla="*/ 75 h 95"/>
                <a:gd name="T22" fmla="*/ 21 w 69"/>
                <a:gd name="T23" fmla="*/ 75 h 95"/>
                <a:gd name="T24" fmla="*/ 15 w 69"/>
                <a:gd name="T25" fmla="*/ 75 h 95"/>
                <a:gd name="T26" fmla="*/ 13 w 69"/>
                <a:gd name="T27" fmla="*/ 64 h 95"/>
                <a:gd name="T28" fmla="*/ 13 w 69"/>
                <a:gd name="T29" fmla="*/ 54 h 95"/>
                <a:gd name="T30" fmla="*/ 12 w 69"/>
                <a:gd name="T31" fmla="*/ 50 h 95"/>
                <a:gd name="T32" fmla="*/ 8 w 69"/>
                <a:gd name="T33" fmla="*/ 45 h 95"/>
                <a:gd name="T34" fmla="*/ 12 w 69"/>
                <a:gd name="T35" fmla="*/ 39 h 95"/>
                <a:gd name="T36" fmla="*/ 0 w 69"/>
                <a:gd name="T37" fmla="*/ 33 h 95"/>
                <a:gd name="T38" fmla="*/ 6 w 69"/>
                <a:gd name="T39" fmla="*/ 29 h 95"/>
                <a:gd name="T40" fmla="*/ 10 w 69"/>
                <a:gd name="T41" fmla="*/ 24 h 95"/>
                <a:gd name="T42" fmla="*/ 10 w 69"/>
                <a:gd name="T43" fmla="*/ 18 h 95"/>
                <a:gd name="T44" fmla="*/ 2 w 69"/>
                <a:gd name="T45" fmla="*/ 12 h 95"/>
                <a:gd name="T46" fmla="*/ 6 w 69"/>
                <a:gd name="T47" fmla="*/ 2 h 95"/>
                <a:gd name="T48" fmla="*/ 10 w 69"/>
                <a:gd name="T49" fmla="*/ 4 h 95"/>
                <a:gd name="T50" fmla="*/ 12 w 69"/>
                <a:gd name="T51" fmla="*/ 4 h 95"/>
                <a:gd name="T52" fmla="*/ 13 w 69"/>
                <a:gd name="T53" fmla="*/ 4 h 95"/>
                <a:gd name="T54" fmla="*/ 13 w 69"/>
                <a:gd name="T55" fmla="*/ 2 h 95"/>
                <a:gd name="T56" fmla="*/ 17 w 69"/>
                <a:gd name="T57" fmla="*/ 8 h 95"/>
                <a:gd name="T58" fmla="*/ 23 w 69"/>
                <a:gd name="T59" fmla="*/ 8 h 95"/>
                <a:gd name="T60" fmla="*/ 25 w 69"/>
                <a:gd name="T61" fmla="*/ 8 h 95"/>
                <a:gd name="T62" fmla="*/ 27 w 69"/>
                <a:gd name="T63" fmla="*/ 20 h 95"/>
                <a:gd name="T64" fmla="*/ 40 w 69"/>
                <a:gd name="T65" fmla="*/ 24 h 95"/>
                <a:gd name="T66" fmla="*/ 54 w 69"/>
                <a:gd name="T67" fmla="*/ 24 h 95"/>
                <a:gd name="T68" fmla="*/ 65 w 69"/>
                <a:gd name="T69" fmla="*/ 29 h 95"/>
                <a:gd name="T70" fmla="*/ 61 w 69"/>
                <a:gd name="T71" fmla="*/ 35 h 95"/>
                <a:gd name="T72" fmla="*/ 58 w 69"/>
                <a:gd name="T73" fmla="*/ 41 h 95"/>
                <a:gd name="T74" fmla="*/ 54 w 69"/>
                <a:gd name="T75" fmla="*/ 39 h 95"/>
                <a:gd name="T76" fmla="*/ 46 w 69"/>
                <a:gd name="T77" fmla="*/ 49 h 95"/>
                <a:gd name="T78" fmla="*/ 48 w 69"/>
                <a:gd name="T79" fmla="*/ 56 h 95"/>
                <a:gd name="T80" fmla="*/ 52 w 69"/>
                <a:gd name="T81" fmla="*/ 58 h 95"/>
                <a:gd name="T82" fmla="*/ 54 w 69"/>
                <a:gd name="T83" fmla="*/ 58 h 95"/>
                <a:gd name="T84" fmla="*/ 58 w 69"/>
                <a:gd name="T85" fmla="*/ 52 h 95"/>
                <a:gd name="T86" fmla="*/ 61 w 69"/>
                <a:gd name="T87" fmla="*/ 47 h 95"/>
                <a:gd name="T88" fmla="*/ 63 w 69"/>
                <a:gd name="T89" fmla="*/ 54 h 95"/>
                <a:gd name="T90" fmla="*/ 67 w 69"/>
                <a:gd name="T91" fmla="*/ 64 h 95"/>
                <a:gd name="T92" fmla="*/ 67 w 69"/>
                <a:gd name="T93" fmla="*/ 70 h 95"/>
                <a:gd name="T94" fmla="*/ 46 w 69"/>
                <a:gd name="T95" fmla="*/ 68 h 95"/>
                <a:gd name="T96" fmla="*/ 25 w 69"/>
                <a:gd name="T97" fmla="*/ 75 h 95"/>
                <a:gd name="T98" fmla="*/ 44 w 69"/>
                <a:gd name="T99" fmla="*/ 72 h 95"/>
                <a:gd name="T100" fmla="*/ 44 w 69"/>
                <a:gd name="T101" fmla="*/ 66 h 95"/>
                <a:gd name="T102" fmla="*/ 23 w 69"/>
                <a:gd name="T103" fmla="*/ 77 h 95"/>
                <a:gd name="T104" fmla="*/ 17 w 69"/>
                <a:gd name="T105" fmla="*/ 77 h 95"/>
                <a:gd name="T106" fmla="*/ 17 w 69"/>
                <a:gd name="T107" fmla="*/ 77 h 95"/>
                <a:gd name="T108" fmla="*/ 46 w 69"/>
                <a:gd name="T109" fmla="*/ 68 h 95"/>
                <a:gd name="T110" fmla="*/ 44 w 69"/>
                <a:gd name="T111" fmla="*/ 70 h 95"/>
                <a:gd name="T112" fmla="*/ 42 w 69"/>
                <a:gd name="T113" fmla="*/ 68 h 95"/>
                <a:gd name="T114" fmla="*/ 38 w 69"/>
                <a:gd name="T115" fmla="*/ 75 h 95"/>
                <a:gd name="T116" fmla="*/ 40 w 69"/>
                <a:gd name="T117" fmla="*/ 7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 h="95">
                  <a:moveTo>
                    <a:pt x="67" y="73"/>
                  </a:moveTo>
                  <a:lnTo>
                    <a:pt x="67" y="75"/>
                  </a:lnTo>
                  <a:lnTo>
                    <a:pt x="67" y="77"/>
                  </a:lnTo>
                  <a:lnTo>
                    <a:pt x="67" y="79"/>
                  </a:lnTo>
                  <a:lnTo>
                    <a:pt x="67" y="81"/>
                  </a:lnTo>
                  <a:lnTo>
                    <a:pt x="67" y="83"/>
                  </a:lnTo>
                  <a:lnTo>
                    <a:pt x="67" y="85"/>
                  </a:lnTo>
                  <a:lnTo>
                    <a:pt x="69" y="85"/>
                  </a:lnTo>
                  <a:lnTo>
                    <a:pt x="67" y="85"/>
                  </a:lnTo>
                  <a:lnTo>
                    <a:pt x="67" y="87"/>
                  </a:lnTo>
                  <a:lnTo>
                    <a:pt x="67" y="85"/>
                  </a:lnTo>
                  <a:lnTo>
                    <a:pt x="67" y="83"/>
                  </a:lnTo>
                  <a:lnTo>
                    <a:pt x="67" y="85"/>
                  </a:lnTo>
                  <a:lnTo>
                    <a:pt x="65" y="85"/>
                  </a:lnTo>
                  <a:lnTo>
                    <a:pt x="65" y="83"/>
                  </a:lnTo>
                  <a:lnTo>
                    <a:pt x="65" y="85"/>
                  </a:lnTo>
                  <a:lnTo>
                    <a:pt x="65" y="83"/>
                  </a:lnTo>
                  <a:lnTo>
                    <a:pt x="63" y="83"/>
                  </a:lnTo>
                  <a:lnTo>
                    <a:pt x="61" y="83"/>
                  </a:lnTo>
                  <a:lnTo>
                    <a:pt x="63" y="83"/>
                  </a:lnTo>
                  <a:lnTo>
                    <a:pt x="61" y="83"/>
                  </a:lnTo>
                  <a:lnTo>
                    <a:pt x="61" y="85"/>
                  </a:lnTo>
                  <a:lnTo>
                    <a:pt x="61" y="87"/>
                  </a:lnTo>
                  <a:lnTo>
                    <a:pt x="61" y="89"/>
                  </a:lnTo>
                  <a:lnTo>
                    <a:pt x="63" y="89"/>
                  </a:lnTo>
                  <a:lnTo>
                    <a:pt x="61" y="89"/>
                  </a:lnTo>
                  <a:lnTo>
                    <a:pt x="61" y="91"/>
                  </a:lnTo>
                  <a:lnTo>
                    <a:pt x="63" y="91"/>
                  </a:lnTo>
                  <a:lnTo>
                    <a:pt x="63" y="93"/>
                  </a:lnTo>
                  <a:lnTo>
                    <a:pt x="63" y="95"/>
                  </a:lnTo>
                  <a:lnTo>
                    <a:pt x="63" y="93"/>
                  </a:lnTo>
                  <a:lnTo>
                    <a:pt x="61" y="93"/>
                  </a:lnTo>
                  <a:lnTo>
                    <a:pt x="61" y="91"/>
                  </a:lnTo>
                  <a:lnTo>
                    <a:pt x="61" y="89"/>
                  </a:lnTo>
                  <a:lnTo>
                    <a:pt x="60" y="89"/>
                  </a:lnTo>
                  <a:lnTo>
                    <a:pt x="60" y="87"/>
                  </a:lnTo>
                  <a:lnTo>
                    <a:pt x="60" y="85"/>
                  </a:lnTo>
                  <a:lnTo>
                    <a:pt x="60" y="83"/>
                  </a:lnTo>
                  <a:lnTo>
                    <a:pt x="58" y="83"/>
                  </a:lnTo>
                  <a:lnTo>
                    <a:pt x="58" y="81"/>
                  </a:lnTo>
                  <a:lnTo>
                    <a:pt x="58" y="83"/>
                  </a:lnTo>
                  <a:lnTo>
                    <a:pt x="58" y="81"/>
                  </a:lnTo>
                  <a:lnTo>
                    <a:pt x="56" y="81"/>
                  </a:lnTo>
                  <a:lnTo>
                    <a:pt x="58" y="81"/>
                  </a:lnTo>
                  <a:lnTo>
                    <a:pt x="58" y="79"/>
                  </a:lnTo>
                  <a:lnTo>
                    <a:pt x="56" y="79"/>
                  </a:lnTo>
                  <a:lnTo>
                    <a:pt x="58" y="79"/>
                  </a:lnTo>
                  <a:lnTo>
                    <a:pt x="58" y="77"/>
                  </a:lnTo>
                  <a:lnTo>
                    <a:pt x="58" y="75"/>
                  </a:lnTo>
                  <a:lnTo>
                    <a:pt x="58" y="73"/>
                  </a:lnTo>
                  <a:lnTo>
                    <a:pt x="56" y="73"/>
                  </a:lnTo>
                  <a:lnTo>
                    <a:pt x="58" y="73"/>
                  </a:lnTo>
                  <a:lnTo>
                    <a:pt x="56" y="73"/>
                  </a:lnTo>
                  <a:lnTo>
                    <a:pt x="56" y="72"/>
                  </a:lnTo>
                  <a:lnTo>
                    <a:pt x="56" y="70"/>
                  </a:lnTo>
                  <a:lnTo>
                    <a:pt x="56" y="72"/>
                  </a:lnTo>
                  <a:lnTo>
                    <a:pt x="56" y="70"/>
                  </a:lnTo>
                  <a:lnTo>
                    <a:pt x="56" y="68"/>
                  </a:lnTo>
                  <a:lnTo>
                    <a:pt x="54" y="68"/>
                  </a:lnTo>
                  <a:lnTo>
                    <a:pt x="54" y="66"/>
                  </a:lnTo>
                  <a:lnTo>
                    <a:pt x="54" y="64"/>
                  </a:lnTo>
                  <a:lnTo>
                    <a:pt x="52" y="64"/>
                  </a:lnTo>
                  <a:lnTo>
                    <a:pt x="50" y="64"/>
                  </a:lnTo>
                  <a:lnTo>
                    <a:pt x="50" y="62"/>
                  </a:lnTo>
                  <a:lnTo>
                    <a:pt x="48" y="62"/>
                  </a:lnTo>
                  <a:lnTo>
                    <a:pt x="48" y="64"/>
                  </a:lnTo>
                  <a:lnTo>
                    <a:pt x="48" y="62"/>
                  </a:lnTo>
                  <a:lnTo>
                    <a:pt x="48" y="64"/>
                  </a:lnTo>
                  <a:lnTo>
                    <a:pt x="48" y="66"/>
                  </a:lnTo>
                  <a:lnTo>
                    <a:pt x="46" y="66"/>
                  </a:lnTo>
                  <a:lnTo>
                    <a:pt x="44" y="66"/>
                  </a:lnTo>
                  <a:lnTo>
                    <a:pt x="44" y="64"/>
                  </a:lnTo>
                  <a:lnTo>
                    <a:pt x="42" y="64"/>
                  </a:lnTo>
                  <a:lnTo>
                    <a:pt x="40" y="64"/>
                  </a:lnTo>
                  <a:lnTo>
                    <a:pt x="40" y="66"/>
                  </a:lnTo>
                  <a:lnTo>
                    <a:pt x="42" y="66"/>
                  </a:lnTo>
                  <a:lnTo>
                    <a:pt x="42" y="68"/>
                  </a:lnTo>
                  <a:lnTo>
                    <a:pt x="42" y="70"/>
                  </a:lnTo>
                  <a:lnTo>
                    <a:pt x="42" y="72"/>
                  </a:lnTo>
                  <a:lnTo>
                    <a:pt x="40" y="72"/>
                  </a:lnTo>
                  <a:lnTo>
                    <a:pt x="40" y="73"/>
                  </a:lnTo>
                  <a:lnTo>
                    <a:pt x="38" y="73"/>
                  </a:lnTo>
                  <a:lnTo>
                    <a:pt x="36" y="73"/>
                  </a:lnTo>
                  <a:lnTo>
                    <a:pt x="36" y="75"/>
                  </a:lnTo>
                  <a:lnTo>
                    <a:pt x="35" y="75"/>
                  </a:lnTo>
                  <a:lnTo>
                    <a:pt x="35" y="77"/>
                  </a:lnTo>
                  <a:lnTo>
                    <a:pt x="33" y="77"/>
                  </a:lnTo>
                  <a:lnTo>
                    <a:pt x="31" y="77"/>
                  </a:lnTo>
                  <a:lnTo>
                    <a:pt x="31" y="75"/>
                  </a:lnTo>
                  <a:lnTo>
                    <a:pt x="29" y="75"/>
                  </a:lnTo>
                  <a:lnTo>
                    <a:pt x="31" y="75"/>
                  </a:lnTo>
                  <a:lnTo>
                    <a:pt x="29" y="75"/>
                  </a:lnTo>
                  <a:lnTo>
                    <a:pt x="29" y="73"/>
                  </a:lnTo>
                  <a:lnTo>
                    <a:pt x="29" y="75"/>
                  </a:lnTo>
                  <a:lnTo>
                    <a:pt x="29" y="73"/>
                  </a:lnTo>
                  <a:lnTo>
                    <a:pt x="27" y="73"/>
                  </a:lnTo>
                  <a:lnTo>
                    <a:pt x="29" y="73"/>
                  </a:lnTo>
                  <a:lnTo>
                    <a:pt x="27" y="73"/>
                  </a:lnTo>
                  <a:lnTo>
                    <a:pt x="27" y="75"/>
                  </a:lnTo>
                  <a:lnTo>
                    <a:pt x="27" y="77"/>
                  </a:lnTo>
                  <a:lnTo>
                    <a:pt x="25" y="77"/>
                  </a:lnTo>
                  <a:lnTo>
                    <a:pt x="27" y="77"/>
                  </a:lnTo>
                  <a:lnTo>
                    <a:pt x="25" y="77"/>
                  </a:lnTo>
                  <a:lnTo>
                    <a:pt x="25" y="75"/>
                  </a:lnTo>
                  <a:lnTo>
                    <a:pt x="23" y="75"/>
                  </a:lnTo>
                  <a:lnTo>
                    <a:pt x="23" y="73"/>
                  </a:lnTo>
                  <a:lnTo>
                    <a:pt x="21" y="73"/>
                  </a:lnTo>
                  <a:lnTo>
                    <a:pt x="21" y="75"/>
                  </a:lnTo>
                  <a:lnTo>
                    <a:pt x="23" y="75"/>
                  </a:lnTo>
                  <a:lnTo>
                    <a:pt x="21" y="75"/>
                  </a:lnTo>
                  <a:lnTo>
                    <a:pt x="21" y="77"/>
                  </a:lnTo>
                  <a:lnTo>
                    <a:pt x="21" y="79"/>
                  </a:lnTo>
                  <a:lnTo>
                    <a:pt x="19" y="79"/>
                  </a:lnTo>
                  <a:lnTo>
                    <a:pt x="19" y="77"/>
                  </a:lnTo>
                  <a:lnTo>
                    <a:pt x="17" y="77"/>
                  </a:lnTo>
                  <a:lnTo>
                    <a:pt x="15" y="77"/>
                  </a:lnTo>
                  <a:lnTo>
                    <a:pt x="15" y="75"/>
                  </a:lnTo>
                  <a:lnTo>
                    <a:pt x="15" y="73"/>
                  </a:lnTo>
                  <a:lnTo>
                    <a:pt x="15" y="72"/>
                  </a:lnTo>
                  <a:lnTo>
                    <a:pt x="15" y="70"/>
                  </a:lnTo>
                  <a:lnTo>
                    <a:pt x="15" y="68"/>
                  </a:lnTo>
                  <a:lnTo>
                    <a:pt x="13" y="68"/>
                  </a:lnTo>
                  <a:lnTo>
                    <a:pt x="15" y="68"/>
                  </a:lnTo>
                  <a:lnTo>
                    <a:pt x="15" y="66"/>
                  </a:lnTo>
                  <a:lnTo>
                    <a:pt x="13" y="66"/>
                  </a:lnTo>
                  <a:lnTo>
                    <a:pt x="13" y="64"/>
                  </a:lnTo>
                  <a:lnTo>
                    <a:pt x="13" y="62"/>
                  </a:lnTo>
                  <a:lnTo>
                    <a:pt x="13" y="60"/>
                  </a:lnTo>
                  <a:lnTo>
                    <a:pt x="13" y="58"/>
                  </a:lnTo>
                  <a:lnTo>
                    <a:pt x="12" y="58"/>
                  </a:lnTo>
                  <a:lnTo>
                    <a:pt x="13" y="58"/>
                  </a:lnTo>
                  <a:lnTo>
                    <a:pt x="13" y="56"/>
                  </a:lnTo>
                  <a:lnTo>
                    <a:pt x="13" y="54"/>
                  </a:lnTo>
                  <a:lnTo>
                    <a:pt x="15" y="54"/>
                  </a:lnTo>
                  <a:lnTo>
                    <a:pt x="13" y="54"/>
                  </a:lnTo>
                  <a:lnTo>
                    <a:pt x="12" y="54"/>
                  </a:lnTo>
                  <a:lnTo>
                    <a:pt x="10" y="54"/>
                  </a:lnTo>
                  <a:lnTo>
                    <a:pt x="12" y="54"/>
                  </a:lnTo>
                  <a:lnTo>
                    <a:pt x="10" y="54"/>
                  </a:lnTo>
                  <a:lnTo>
                    <a:pt x="12" y="54"/>
                  </a:lnTo>
                  <a:lnTo>
                    <a:pt x="12" y="52"/>
                  </a:lnTo>
                  <a:lnTo>
                    <a:pt x="12" y="54"/>
                  </a:lnTo>
                  <a:lnTo>
                    <a:pt x="12" y="52"/>
                  </a:lnTo>
                  <a:lnTo>
                    <a:pt x="12" y="50"/>
                  </a:lnTo>
                  <a:lnTo>
                    <a:pt x="10" y="50"/>
                  </a:lnTo>
                  <a:lnTo>
                    <a:pt x="10" y="49"/>
                  </a:lnTo>
                  <a:lnTo>
                    <a:pt x="8" y="49"/>
                  </a:lnTo>
                  <a:lnTo>
                    <a:pt x="10" y="49"/>
                  </a:lnTo>
                  <a:lnTo>
                    <a:pt x="8" y="49"/>
                  </a:lnTo>
                  <a:lnTo>
                    <a:pt x="8" y="47"/>
                  </a:lnTo>
                  <a:lnTo>
                    <a:pt x="10" y="47"/>
                  </a:lnTo>
                  <a:lnTo>
                    <a:pt x="10" y="45"/>
                  </a:lnTo>
                  <a:lnTo>
                    <a:pt x="8" y="45"/>
                  </a:lnTo>
                  <a:lnTo>
                    <a:pt x="10" y="45"/>
                  </a:lnTo>
                  <a:lnTo>
                    <a:pt x="8" y="45"/>
                  </a:lnTo>
                  <a:lnTo>
                    <a:pt x="10" y="45"/>
                  </a:lnTo>
                  <a:lnTo>
                    <a:pt x="12" y="45"/>
                  </a:lnTo>
                  <a:lnTo>
                    <a:pt x="12" y="43"/>
                  </a:lnTo>
                  <a:lnTo>
                    <a:pt x="12" y="41"/>
                  </a:lnTo>
                  <a:lnTo>
                    <a:pt x="10" y="41"/>
                  </a:lnTo>
                  <a:lnTo>
                    <a:pt x="10" y="39"/>
                  </a:lnTo>
                  <a:lnTo>
                    <a:pt x="12" y="39"/>
                  </a:lnTo>
                  <a:lnTo>
                    <a:pt x="12" y="37"/>
                  </a:lnTo>
                  <a:lnTo>
                    <a:pt x="10" y="37"/>
                  </a:lnTo>
                  <a:lnTo>
                    <a:pt x="8" y="37"/>
                  </a:lnTo>
                  <a:lnTo>
                    <a:pt x="6" y="37"/>
                  </a:lnTo>
                  <a:lnTo>
                    <a:pt x="6" y="35"/>
                  </a:lnTo>
                  <a:lnTo>
                    <a:pt x="4" y="35"/>
                  </a:lnTo>
                  <a:lnTo>
                    <a:pt x="2" y="35"/>
                  </a:lnTo>
                  <a:lnTo>
                    <a:pt x="2" y="33"/>
                  </a:lnTo>
                  <a:lnTo>
                    <a:pt x="0" y="33"/>
                  </a:lnTo>
                  <a:lnTo>
                    <a:pt x="0" y="31"/>
                  </a:lnTo>
                  <a:lnTo>
                    <a:pt x="2" y="31"/>
                  </a:lnTo>
                  <a:lnTo>
                    <a:pt x="0" y="31"/>
                  </a:lnTo>
                  <a:lnTo>
                    <a:pt x="2" y="31"/>
                  </a:lnTo>
                  <a:lnTo>
                    <a:pt x="2" y="29"/>
                  </a:lnTo>
                  <a:lnTo>
                    <a:pt x="2" y="27"/>
                  </a:lnTo>
                  <a:lnTo>
                    <a:pt x="4" y="27"/>
                  </a:lnTo>
                  <a:lnTo>
                    <a:pt x="4" y="29"/>
                  </a:lnTo>
                  <a:lnTo>
                    <a:pt x="6" y="29"/>
                  </a:lnTo>
                  <a:lnTo>
                    <a:pt x="6" y="27"/>
                  </a:lnTo>
                  <a:lnTo>
                    <a:pt x="4" y="27"/>
                  </a:lnTo>
                  <a:lnTo>
                    <a:pt x="6" y="27"/>
                  </a:lnTo>
                  <a:lnTo>
                    <a:pt x="6" y="25"/>
                  </a:lnTo>
                  <a:lnTo>
                    <a:pt x="6" y="24"/>
                  </a:lnTo>
                  <a:lnTo>
                    <a:pt x="8" y="24"/>
                  </a:lnTo>
                  <a:lnTo>
                    <a:pt x="6" y="24"/>
                  </a:lnTo>
                  <a:lnTo>
                    <a:pt x="8" y="24"/>
                  </a:lnTo>
                  <a:lnTo>
                    <a:pt x="10" y="24"/>
                  </a:lnTo>
                  <a:lnTo>
                    <a:pt x="12" y="24"/>
                  </a:lnTo>
                  <a:lnTo>
                    <a:pt x="13" y="24"/>
                  </a:lnTo>
                  <a:lnTo>
                    <a:pt x="13" y="22"/>
                  </a:lnTo>
                  <a:lnTo>
                    <a:pt x="15" y="22"/>
                  </a:lnTo>
                  <a:lnTo>
                    <a:pt x="13" y="22"/>
                  </a:lnTo>
                  <a:lnTo>
                    <a:pt x="13" y="20"/>
                  </a:lnTo>
                  <a:lnTo>
                    <a:pt x="12" y="20"/>
                  </a:lnTo>
                  <a:lnTo>
                    <a:pt x="12" y="18"/>
                  </a:lnTo>
                  <a:lnTo>
                    <a:pt x="10" y="18"/>
                  </a:lnTo>
                  <a:lnTo>
                    <a:pt x="8" y="18"/>
                  </a:lnTo>
                  <a:lnTo>
                    <a:pt x="8" y="16"/>
                  </a:lnTo>
                  <a:lnTo>
                    <a:pt x="6" y="16"/>
                  </a:lnTo>
                  <a:lnTo>
                    <a:pt x="6" y="14"/>
                  </a:lnTo>
                  <a:lnTo>
                    <a:pt x="4" y="14"/>
                  </a:lnTo>
                  <a:lnTo>
                    <a:pt x="2" y="14"/>
                  </a:lnTo>
                  <a:lnTo>
                    <a:pt x="4" y="14"/>
                  </a:lnTo>
                  <a:lnTo>
                    <a:pt x="2" y="14"/>
                  </a:lnTo>
                  <a:lnTo>
                    <a:pt x="2" y="12"/>
                  </a:lnTo>
                  <a:lnTo>
                    <a:pt x="2" y="10"/>
                  </a:lnTo>
                  <a:lnTo>
                    <a:pt x="2" y="8"/>
                  </a:lnTo>
                  <a:lnTo>
                    <a:pt x="4" y="8"/>
                  </a:lnTo>
                  <a:lnTo>
                    <a:pt x="4" y="6"/>
                  </a:lnTo>
                  <a:lnTo>
                    <a:pt x="6" y="6"/>
                  </a:lnTo>
                  <a:lnTo>
                    <a:pt x="6" y="4"/>
                  </a:lnTo>
                  <a:lnTo>
                    <a:pt x="8" y="4"/>
                  </a:lnTo>
                  <a:lnTo>
                    <a:pt x="8" y="2"/>
                  </a:lnTo>
                  <a:lnTo>
                    <a:pt x="6" y="2"/>
                  </a:lnTo>
                  <a:lnTo>
                    <a:pt x="4" y="2"/>
                  </a:lnTo>
                  <a:lnTo>
                    <a:pt x="6" y="2"/>
                  </a:lnTo>
                  <a:lnTo>
                    <a:pt x="6" y="0"/>
                  </a:lnTo>
                  <a:lnTo>
                    <a:pt x="8" y="0"/>
                  </a:lnTo>
                  <a:lnTo>
                    <a:pt x="8" y="2"/>
                  </a:lnTo>
                  <a:lnTo>
                    <a:pt x="10" y="2"/>
                  </a:lnTo>
                  <a:lnTo>
                    <a:pt x="10" y="4"/>
                  </a:lnTo>
                  <a:lnTo>
                    <a:pt x="10" y="2"/>
                  </a:lnTo>
                  <a:lnTo>
                    <a:pt x="10" y="4"/>
                  </a:lnTo>
                  <a:lnTo>
                    <a:pt x="10" y="2"/>
                  </a:lnTo>
                  <a:lnTo>
                    <a:pt x="10" y="4"/>
                  </a:lnTo>
                  <a:lnTo>
                    <a:pt x="12" y="4"/>
                  </a:lnTo>
                  <a:lnTo>
                    <a:pt x="10" y="4"/>
                  </a:lnTo>
                  <a:lnTo>
                    <a:pt x="10" y="6"/>
                  </a:lnTo>
                  <a:lnTo>
                    <a:pt x="10" y="4"/>
                  </a:lnTo>
                  <a:lnTo>
                    <a:pt x="10" y="6"/>
                  </a:lnTo>
                  <a:lnTo>
                    <a:pt x="12" y="6"/>
                  </a:lnTo>
                  <a:lnTo>
                    <a:pt x="12" y="4"/>
                  </a:lnTo>
                  <a:lnTo>
                    <a:pt x="12" y="6"/>
                  </a:lnTo>
                  <a:lnTo>
                    <a:pt x="13" y="6"/>
                  </a:lnTo>
                  <a:lnTo>
                    <a:pt x="15" y="6"/>
                  </a:lnTo>
                  <a:lnTo>
                    <a:pt x="15" y="4"/>
                  </a:lnTo>
                  <a:lnTo>
                    <a:pt x="15" y="6"/>
                  </a:lnTo>
                  <a:lnTo>
                    <a:pt x="15" y="4"/>
                  </a:lnTo>
                  <a:lnTo>
                    <a:pt x="13" y="4"/>
                  </a:lnTo>
                  <a:lnTo>
                    <a:pt x="15" y="4"/>
                  </a:lnTo>
                  <a:lnTo>
                    <a:pt x="13" y="4"/>
                  </a:lnTo>
                  <a:lnTo>
                    <a:pt x="15" y="4"/>
                  </a:lnTo>
                  <a:lnTo>
                    <a:pt x="13" y="4"/>
                  </a:lnTo>
                  <a:lnTo>
                    <a:pt x="15" y="4"/>
                  </a:lnTo>
                  <a:lnTo>
                    <a:pt x="13" y="4"/>
                  </a:lnTo>
                  <a:lnTo>
                    <a:pt x="13" y="2"/>
                  </a:lnTo>
                  <a:lnTo>
                    <a:pt x="15" y="2"/>
                  </a:lnTo>
                  <a:lnTo>
                    <a:pt x="13" y="2"/>
                  </a:lnTo>
                  <a:lnTo>
                    <a:pt x="15" y="2"/>
                  </a:lnTo>
                  <a:lnTo>
                    <a:pt x="13" y="2"/>
                  </a:lnTo>
                  <a:lnTo>
                    <a:pt x="15" y="2"/>
                  </a:lnTo>
                  <a:lnTo>
                    <a:pt x="15" y="4"/>
                  </a:lnTo>
                  <a:lnTo>
                    <a:pt x="17" y="4"/>
                  </a:lnTo>
                  <a:lnTo>
                    <a:pt x="17" y="6"/>
                  </a:lnTo>
                  <a:lnTo>
                    <a:pt x="17" y="4"/>
                  </a:lnTo>
                  <a:lnTo>
                    <a:pt x="15" y="4"/>
                  </a:lnTo>
                  <a:lnTo>
                    <a:pt x="15" y="6"/>
                  </a:lnTo>
                  <a:lnTo>
                    <a:pt x="17" y="6"/>
                  </a:lnTo>
                  <a:lnTo>
                    <a:pt x="17" y="8"/>
                  </a:lnTo>
                  <a:lnTo>
                    <a:pt x="19" y="8"/>
                  </a:lnTo>
                  <a:lnTo>
                    <a:pt x="19" y="10"/>
                  </a:lnTo>
                  <a:lnTo>
                    <a:pt x="21" y="10"/>
                  </a:lnTo>
                  <a:lnTo>
                    <a:pt x="23" y="10"/>
                  </a:lnTo>
                  <a:lnTo>
                    <a:pt x="23" y="8"/>
                  </a:lnTo>
                  <a:lnTo>
                    <a:pt x="23" y="10"/>
                  </a:lnTo>
                  <a:lnTo>
                    <a:pt x="23" y="8"/>
                  </a:lnTo>
                  <a:lnTo>
                    <a:pt x="25" y="8"/>
                  </a:lnTo>
                  <a:lnTo>
                    <a:pt x="23" y="8"/>
                  </a:lnTo>
                  <a:lnTo>
                    <a:pt x="23" y="6"/>
                  </a:lnTo>
                  <a:lnTo>
                    <a:pt x="23" y="8"/>
                  </a:lnTo>
                  <a:lnTo>
                    <a:pt x="25" y="8"/>
                  </a:lnTo>
                  <a:lnTo>
                    <a:pt x="23" y="8"/>
                  </a:lnTo>
                  <a:lnTo>
                    <a:pt x="25" y="8"/>
                  </a:lnTo>
                  <a:lnTo>
                    <a:pt x="25" y="6"/>
                  </a:lnTo>
                  <a:lnTo>
                    <a:pt x="23" y="6"/>
                  </a:lnTo>
                  <a:lnTo>
                    <a:pt x="25" y="6"/>
                  </a:lnTo>
                  <a:lnTo>
                    <a:pt x="25" y="8"/>
                  </a:lnTo>
                  <a:lnTo>
                    <a:pt x="27" y="8"/>
                  </a:lnTo>
                  <a:lnTo>
                    <a:pt x="27" y="10"/>
                  </a:lnTo>
                  <a:lnTo>
                    <a:pt x="27" y="12"/>
                  </a:lnTo>
                  <a:lnTo>
                    <a:pt x="27" y="10"/>
                  </a:lnTo>
                  <a:lnTo>
                    <a:pt x="27" y="12"/>
                  </a:lnTo>
                  <a:lnTo>
                    <a:pt x="27" y="14"/>
                  </a:lnTo>
                  <a:lnTo>
                    <a:pt x="27" y="16"/>
                  </a:lnTo>
                  <a:lnTo>
                    <a:pt x="27" y="18"/>
                  </a:lnTo>
                  <a:lnTo>
                    <a:pt x="27" y="20"/>
                  </a:lnTo>
                  <a:lnTo>
                    <a:pt x="27" y="22"/>
                  </a:lnTo>
                  <a:lnTo>
                    <a:pt x="29" y="22"/>
                  </a:lnTo>
                  <a:lnTo>
                    <a:pt x="31" y="22"/>
                  </a:lnTo>
                  <a:lnTo>
                    <a:pt x="31" y="24"/>
                  </a:lnTo>
                  <a:lnTo>
                    <a:pt x="33" y="24"/>
                  </a:lnTo>
                  <a:lnTo>
                    <a:pt x="35" y="24"/>
                  </a:lnTo>
                  <a:lnTo>
                    <a:pt x="36" y="24"/>
                  </a:lnTo>
                  <a:lnTo>
                    <a:pt x="38" y="24"/>
                  </a:lnTo>
                  <a:lnTo>
                    <a:pt x="40" y="24"/>
                  </a:lnTo>
                  <a:lnTo>
                    <a:pt x="42" y="24"/>
                  </a:lnTo>
                  <a:lnTo>
                    <a:pt x="44" y="24"/>
                  </a:lnTo>
                  <a:lnTo>
                    <a:pt x="46" y="24"/>
                  </a:lnTo>
                  <a:lnTo>
                    <a:pt x="48" y="24"/>
                  </a:lnTo>
                  <a:lnTo>
                    <a:pt x="50" y="24"/>
                  </a:lnTo>
                  <a:lnTo>
                    <a:pt x="52" y="24"/>
                  </a:lnTo>
                  <a:lnTo>
                    <a:pt x="54" y="24"/>
                  </a:lnTo>
                  <a:lnTo>
                    <a:pt x="52" y="24"/>
                  </a:lnTo>
                  <a:lnTo>
                    <a:pt x="54" y="24"/>
                  </a:lnTo>
                  <a:lnTo>
                    <a:pt x="56" y="24"/>
                  </a:lnTo>
                  <a:lnTo>
                    <a:pt x="58" y="24"/>
                  </a:lnTo>
                  <a:lnTo>
                    <a:pt x="60" y="24"/>
                  </a:lnTo>
                  <a:lnTo>
                    <a:pt x="61" y="24"/>
                  </a:lnTo>
                  <a:lnTo>
                    <a:pt x="61" y="25"/>
                  </a:lnTo>
                  <a:lnTo>
                    <a:pt x="63" y="25"/>
                  </a:lnTo>
                  <a:lnTo>
                    <a:pt x="65" y="25"/>
                  </a:lnTo>
                  <a:lnTo>
                    <a:pt x="65" y="27"/>
                  </a:lnTo>
                  <a:lnTo>
                    <a:pt x="65" y="29"/>
                  </a:lnTo>
                  <a:lnTo>
                    <a:pt x="63" y="29"/>
                  </a:lnTo>
                  <a:lnTo>
                    <a:pt x="63" y="27"/>
                  </a:lnTo>
                  <a:lnTo>
                    <a:pt x="61" y="27"/>
                  </a:lnTo>
                  <a:lnTo>
                    <a:pt x="61" y="29"/>
                  </a:lnTo>
                  <a:lnTo>
                    <a:pt x="63" y="29"/>
                  </a:lnTo>
                  <a:lnTo>
                    <a:pt x="63" y="31"/>
                  </a:lnTo>
                  <a:lnTo>
                    <a:pt x="61" y="31"/>
                  </a:lnTo>
                  <a:lnTo>
                    <a:pt x="61" y="33"/>
                  </a:lnTo>
                  <a:lnTo>
                    <a:pt x="61" y="35"/>
                  </a:lnTo>
                  <a:lnTo>
                    <a:pt x="61" y="33"/>
                  </a:lnTo>
                  <a:lnTo>
                    <a:pt x="61" y="35"/>
                  </a:lnTo>
                  <a:lnTo>
                    <a:pt x="60" y="35"/>
                  </a:lnTo>
                  <a:lnTo>
                    <a:pt x="60" y="37"/>
                  </a:lnTo>
                  <a:lnTo>
                    <a:pt x="58" y="37"/>
                  </a:lnTo>
                  <a:lnTo>
                    <a:pt x="58" y="39"/>
                  </a:lnTo>
                  <a:lnTo>
                    <a:pt x="58" y="37"/>
                  </a:lnTo>
                  <a:lnTo>
                    <a:pt x="58" y="39"/>
                  </a:lnTo>
                  <a:lnTo>
                    <a:pt x="58" y="41"/>
                  </a:lnTo>
                  <a:lnTo>
                    <a:pt x="58" y="39"/>
                  </a:lnTo>
                  <a:lnTo>
                    <a:pt x="56" y="39"/>
                  </a:lnTo>
                  <a:lnTo>
                    <a:pt x="56" y="41"/>
                  </a:lnTo>
                  <a:lnTo>
                    <a:pt x="54" y="41"/>
                  </a:lnTo>
                  <a:lnTo>
                    <a:pt x="54" y="39"/>
                  </a:lnTo>
                  <a:lnTo>
                    <a:pt x="54" y="41"/>
                  </a:lnTo>
                  <a:lnTo>
                    <a:pt x="54" y="39"/>
                  </a:lnTo>
                  <a:lnTo>
                    <a:pt x="54" y="41"/>
                  </a:lnTo>
                  <a:lnTo>
                    <a:pt x="54" y="39"/>
                  </a:lnTo>
                  <a:lnTo>
                    <a:pt x="54" y="41"/>
                  </a:lnTo>
                  <a:lnTo>
                    <a:pt x="52" y="41"/>
                  </a:lnTo>
                  <a:lnTo>
                    <a:pt x="50" y="41"/>
                  </a:lnTo>
                  <a:lnTo>
                    <a:pt x="50" y="43"/>
                  </a:lnTo>
                  <a:lnTo>
                    <a:pt x="48" y="43"/>
                  </a:lnTo>
                  <a:lnTo>
                    <a:pt x="48" y="45"/>
                  </a:lnTo>
                  <a:lnTo>
                    <a:pt x="48" y="47"/>
                  </a:lnTo>
                  <a:lnTo>
                    <a:pt x="46" y="47"/>
                  </a:lnTo>
                  <a:lnTo>
                    <a:pt x="46" y="49"/>
                  </a:lnTo>
                  <a:lnTo>
                    <a:pt x="46" y="50"/>
                  </a:lnTo>
                  <a:lnTo>
                    <a:pt x="48" y="50"/>
                  </a:lnTo>
                  <a:lnTo>
                    <a:pt x="46" y="50"/>
                  </a:lnTo>
                  <a:lnTo>
                    <a:pt x="48" y="50"/>
                  </a:lnTo>
                  <a:lnTo>
                    <a:pt x="46" y="50"/>
                  </a:lnTo>
                  <a:lnTo>
                    <a:pt x="48" y="50"/>
                  </a:lnTo>
                  <a:lnTo>
                    <a:pt x="48" y="52"/>
                  </a:lnTo>
                  <a:lnTo>
                    <a:pt x="48" y="54"/>
                  </a:lnTo>
                  <a:lnTo>
                    <a:pt x="48" y="56"/>
                  </a:lnTo>
                  <a:lnTo>
                    <a:pt x="50" y="56"/>
                  </a:lnTo>
                  <a:lnTo>
                    <a:pt x="50" y="58"/>
                  </a:lnTo>
                  <a:lnTo>
                    <a:pt x="50" y="56"/>
                  </a:lnTo>
                  <a:lnTo>
                    <a:pt x="50" y="54"/>
                  </a:lnTo>
                  <a:lnTo>
                    <a:pt x="52" y="54"/>
                  </a:lnTo>
                  <a:lnTo>
                    <a:pt x="52" y="56"/>
                  </a:lnTo>
                  <a:lnTo>
                    <a:pt x="50" y="56"/>
                  </a:lnTo>
                  <a:lnTo>
                    <a:pt x="52" y="56"/>
                  </a:lnTo>
                  <a:lnTo>
                    <a:pt x="52" y="58"/>
                  </a:lnTo>
                  <a:lnTo>
                    <a:pt x="54" y="58"/>
                  </a:lnTo>
                  <a:lnTo>
                    <a:pt x="52" y="58"/>
                  </a:lnTo>
                  <a:lnTo>
                    <a:pt x="52" y="60"/>
                  </a:lnTo>
                  <a:lnTo>
                    <a:pt x="52" y="58"/>
                  </a:lnTo>
                  <a:lnTo>
                    <a:pt x="54" y="58"/>
                  </a:lnTo>
                  <a:lnTo>
                    <a:pt x="54" y="60"/>
                  </a:lnTo>
                  <a:lnTo>
                    <a:pt x="52" y="60"/>
                  </a:lnTo>
                  <a:lnTo>
                    <a:pt x="54" y="60"/>
                  </a:lnTo>
                  <a:lnTo>
                    <a:pt x="54" y="58"/>
                  </a:lnTo>
                  <a:lnTo>
                    <a:pt x="56" y="58"/>
                  </a:lnTo>
                  <a:lnTo>
                    <a:pt x="56" y="56"/>
                  </a:lnTo>
                  <a:lnTo>
                    <a:pt x="56" y="54"/>
                  </a:lnTo>
                  <a:lnTo>
                    <a:pt x="56" y="52"/>
                  </a:lnTo>
                  <a:lnTo>
                    <a:pt x="58" y="52"/>
                  </a:lnTo>
                  <a:lnTo>
                    <a:pt x="58" y="50"/>
                  </a:lnTo>
                  <a:lnTo>
                    <a:pt x="58" y="52"/>
                  </a:lnTo>
                  <a:lnTo>
                    <a:pt x="58" y="50"/>
                  </a:lnTo>
                  <a:lnTo>
                    <a:pt x="58" y="52"/>
                  </a:lnTo>
                  <a:lnTo>
                    <a:pt x="58" y="50"/>
                  </a:lnTo>
                  <a:lnTo>
                    <a:pt x="58" y="49"/>
                  </a:lnTo>
                  <a:lnTo>
                    <a:pt x="58" y="47"/>
                  </a:lnTo>
                  <a:lnTo>
                    <a:pt x="58" y="49"/>
                  </a:lnTo>
                  <a:lnTo>
                    <a:pt x="60" y="49"/>
                  </a:lnTo>
                  <a:lnTo>
                    <a:pt x="60" y="47"/>
                  </a:lnTo>
                  <a:lnTo>
                    <a:pt x="61" y="47"/>
                  </a:lnTo>
                  <a:lnTo>
                    <a:pt x="61" y="49"/>
                  </a:lnTo>
                  <a:lnTo>
                    <a:pt x="61" y="47"/>
                  </a:lnTo>
                  <a:lnTo>
                    <a:pt x="63" y="47"/>
                  </a:lnTo>
                  <a:lnTo>
                    <a:pt x="63" y="49"/>
                  </a:lnTo>
                  <a:lnTo>
                    <a:pt x="63" y="50"/>
                  </a:lnTo>
                  <a:lnTo>
                    <a:pt x="63" y="52"/>
                  </a:lnTo>
                  <a:lnTo>
                    <a:pt x="63" y="54"/>
                  </a:lnTo>
                  <a:lnTo>
                    <a:pt x="63" y="52"/>
                  </a:lnTo>
                  <a:lnTo>
                    <a:pt x="63" y="54"/>
                  </a:lnTo>
                  <a:lnTo>
                    <a:pt x="65" y="54"/>
                  </a:lnTo>
                  <a:lnTo>
                    <a:pt x="63" y="54"/>
                  </a:lnTo>
                  <a:lnTo>
                    <a:pt x="63" y="56"/>
                  </a:lnTo>
                  <a:lnTo>
                    <a:pt x="63" y="58"/>
                  </a:lnTo>
                  <a:lnTo>
                    <a:pt x="63" y="60"/>
                  </a:lnTo>
                  <a:lnTo>
                    <a:pt x="65" y="60"/>
                  </a:lnTo>
                  <a:lnTo>
                    <a:pt x="65" y="62"/>
                  </a:lnTo>
                  <a:lnTo>
                    <a:pt x="65" y="64"/>
                  </a:lnTo>
                  <a:lnTo>
                    <a:pt x="67" y="64"/>
                  </a:lnTo>
                  <a:lnTo>
                    <a:pt x="65" y="64"/>
                  </a:lnTo>
                  <a:lnTo>
                    <a:pt x="67" y="64"/>
                  </a:lnTo>
                  <a:lnTo>
                    <a:pt x="65" y="64"/>
                  </a:lnTo>
                  <a:lnTo>
                    <a:pt x="67" y="64"/>
                  </a:lnTo>
                  <a:lnTo>
                    <a:pt x="65" y="64"/>
                  </a:lnTo>
                  <a:lnTo>
                    <a:pt x="67" y="64"/>
                  </a:lnTo>
                  <a:lnTo>
                    <a:pt x="67" y="66"/>
                  </a:lnTo>
                  <a:lnTo>
                    <a:pt x="65" y="66"/>
                  </a:lnTo>
                  <a:lnTo>
                    <a:pt x="67" y="66"/>
                  </a:lnTo>
                  <a:lnTo>
                    <a:pt x="67" y="68"/>
                  </a:lnTo>
                  <a:lnTo>
                    <a:pt x="67" y="70"/>
                  </a:lnTo>
                  <a:lnTo>
                    <a:pt x="67" y="72"/>
                  </a:lnTo>
                  <a:lnTo>
                    <a:pt x="67" y="73"/>
                  </a:lnTo>
                  <a:close/>
                  <a:moveTo>
                    <a:pt x="46" y="72"/>
                  </a:moveTo>
                  <a:lnTo>
                    <a:pt x="46" y="73"/>
                  </a:lnTo>
                  <a:lnTo>
                    <a:pt x="44" y="73"/>
                  </a:lnTo>
                  <a:lnTo>
                    <a:pt x="44" y="72"/>
                  </a:lnTo>
                  <a:lnTo>
                    <a:pt x="44" y="70"/>
                  </a:lnTo>
                  <a:lnTo>
                    <a:pt x="44" y="68"/>
                  </a:lnTo>
                  <a:lnTo>
                    <a:pt x="46" y="68"/>
                  </a:lnTo>
                  <a:lnTo>
                    <a:pt x="46" y="70"/>
                  </a:lnTo>
                  <a:lnTo>
                    <a:pt x="46" y="72"/>
                  </a:lnTo>
                  <a:close/>
                  <a:moveTo>
                    <a:pt x="50" y="64"/>
                  </a:moveTo>
                  <a:lnTo>
                    <a:pt x="52" y="64"/>
                  </a:lnTo>
                  <a:lnTo>
                    <a:pt x="52" y="68"/>
                  </a:lnTo>
                  <a:lnTo>
                    <a:pt x="50" y="68"/>
                  </a:lnTo>
                  <a:lnTo>
                    <a:pt x="50" y="64"/>
                  </a:lnTo>
                  <a:close/>
                  <a:moveTo>
                    <a:pt x="23" y="75"/>
                  </a:moveTo>
                  <a:lnTo>
                    <a:pt x="25" y="75"/>
                  </a:lnTo>
                  <a:lnTo>
                    <a:pt x="25" y="77"/>
                  </a:lnTo>
                  <a:lnTo>
                    <a:pt x="23" y="77"/>
                  </a:lnTo>
                  <a:lnTo>
                    <a:pt x="23" y="75"/>
                  </a:lnTo>
                  <a:close/>
                  <a:moveTo>
                    <a:pt x="42" y="73"/>
                  </a:moveTo>
                  <a:lnTo>
                    <a:pt x="42" y="72"/>
                  </a:lnTo>
                  <a:lnTo>
                    <a:pt x="44" y="70"/>
                  </a:lnTo>
                  <a:lnTo>
                    <a:pt x="44" y="68"/>
                  </a:lnTo>
                  <a:lnTo>
                    <a:pt x="44" y="70"/>
                  </a:lnTo>
                  <a:lnTo>
                    <a:pt x="44" y="72"/>
                  </a:lnTo>
                  <a:lnTo>
                    <a:pt x="42" y="72"/>
                  </a:lnTo>
                  <a:lnTo>
                    <a:pt x="42" y="73"/>
                  </a:lnTo>
                  <a:close/>
                  <a:moveTo>
                    <a:pt x="48" y="62"/>
                  </a:moveTo>
                  <a:lnTo>
                    <a:pt x="50" y="62"/>
                  </a:lnTo>
                  <a:lnTo>
                    <a:pt x="50" y="64"/>
                  </a:lnTo>
                  <a:lnTo>
                    <a:pt x="48" y="64"/>
                  </a:lnTo>
                  <a:lnTo>
                    <a:pt x="48" y="62"/>
                  </a:lnTo>
                  <a:close/>
                  <a:moveTo>
                    <a:pt x="42" y="66"/>
                  </a:moveTo>
                  <a:lnTo>
                    <a:pt x="44" y="66"/>
                  </a:lnTo>
                  <a:lnTo>
                    <a:pt x="42" y="66"/>
                  </a:lnTo>
                  <a:close/>
                  <a:moveTo>
                    <a:pt x="15" y="75"/>
                  </a:moveTo>
                  <a:lnTo>
                    <a:pt x="17" y="75"/>
                  </a:lnTo>
                  <a:lnTo>
                    <a:pt x="17" y="79"/>
                  </a:lnTo>
                  <a:lnTo>
                    <a:pt x="15" y="79"/>
                  </a:lnTo>
                  <a:lnTo>
                    <a:pt x="15" y="75"/>
                  </a:lnTo>
                  <a:close/>
                  <a:moveTo>
                    <a:pt x="23" y="77"/>
                  </a:moveTo>
                  <a:lnTo>
                    <a:pt x="23" y="79"/>
                  </a:lnTo>
                  <a:lnTo>
                    <a:pt x="23" y="77"/>
                  </a:lnTo>
                  <a:close/>
                  <a:moveTo>
                    <a:pt x="56" y="75"/>
                  </a:moveTo>
                  <a:lnTo>
                    <a:pt x="58" y="75"/>
                  </a:lnTo>
                  <a:lnTo>
                    <a:pt x="58" y="79"/>
                  </a:lnTo>
                  <a:lnTo>
                    <a:pt x="56" y="79"/>
                  </a:lnTo>
                  <a:lnTo>
                    <a:pt x="56" y="75"/>
                  </a:lnTo>
                  <a:close/>
                  <a:moveTo>
                    <a:pt x="27" y="73"/>
                  </a:moveTo>
                  <a:lnTo>
                    <a:pt x="27" y="75"/>
                  </a:lnTo>
                  <a:lnTo>
                    <a:pt x="27" y="73"/>
                  </a:lnTo>
                  <a:close/>
                  <a:moveTo>
                    <a:pt x="17" y="77"/>
                  </a:moveTo>
                  <a:lnTo>
                    <a:pt x="19" y="77"/>
                  </a:lnTo>
                  <a:lnTo>
                    <a:pt x="17" y="77"/>
                  </a:lnTo>
                  <a:close/>
                  <a:moveTo>
                    <a:pt x="36" y="75"/>
                  </a:moveTo>
                  <a:lnTo>
                    <a:pt x="38" y="75"/>
                  </a:lnTo>
                  <a:lnTo>
                    <a:pt x="36" y="75"/>
                  </a:lnTo>
                  <a:close/>
                  <a:moveTo>
                    <a:pt x="38" y="75"/>
                  </a:moveTo>
                  <a:lnTo>
                    <a:pt x="40" y="75"/>
                  </a:lnTo>
                  <a:lnTo>
                    <a:pt x="38" y="75"/>
                  </a:lnTo>
                  <a:close/>
                  <a:moveTo>
                    <a:pt x="17" y="77"/>
                  </a:moveTo>
                  <a:lnTo>
                    <a:pt x="19" y="77"/>
                  </a:lnTo>
                  <a:lnTo>
                    <a:pt x="19" y="79"/>
                  </a:lnTo>
                  <a:lnTo>
                    <a:pt x="17" y="79"/>
                  </a:lnTo>
                  <a:lnTo>
                    <a:pt x="17" y="77"/>
                  </a:lnTo>
                  <a:close/>
                  <a:moveTo>
                    <a:pt x="17" y="79"/>
                  </a:moveTo>
                  <a:lnTo>
                    <a:pt x="19" y="79"/>
                  </a:lnTo>
                  <a:lnTo>
                    <a:pt x="17" y="79"/>
                  </a:lnTo>
                  <a:close/>
                  <a:moveTo>
                    <a:pt x="46" y="66"/>
                  </a:moveTo>
                  <a:lnTo>
                    <a:pt x="46" y="68"/>
                  </a:lnTo>
                  <a:lnTo>
                    <a:pt x="46" y="66"/>
                  </a:lnTo>
                  <a:close/>
                  <a:moveTo>
                    <a:pt x="38" y="73"/>
                  </a:moveTo>
                  <a:lnTo>
                    <a:pt x="38" y="75"/>
                  </a:lnTo>
                  <a:lnTo>
                    <a:pt x="38" y="73"/>
                  </a:lnTo>
                  <a:close/>
                  <a:moveTo>
                    <a:pt x="40" y="75"/>
                  </a:moveTo>
                  <a:lnTo>
                    <a:pt x="40" y="77"/>
                  </a:lnTo>
                  <a:lnTo>
                    <a:pt x="40" y="75"/>
                  </a:lnTo>
                  <a:close/>
                  <a:moveTo>
                    <a:pt x="44" y="68"/>
                  </a:moveTo>
                  <a:lnTo>
                    <a:pt x="44" y="70"/>
                  </a:lnTo>
                  <a:lnTo>
                    <a:pt x="44" y="68"/>
                  </a:lnTo>
                  <a:close/>
                  <a:moveTo>
                    <a:pt x="23" y="75"/>
                  </a:moveTo>
                  <a:lnTo>
                    <a:pt x="25" y="75"/>
                  </a:lnTo>
                  <a:lnTo>
                    <a:pt x="25" y="77"/>
                  </a:lnTo>
                  <a:lnTo>
                    <a:pt x="23" y="77"/>
                  </a:lnTo>
                  <a:lnTo>
                    <a:pt x="23" y="75"/>
                  </a:lnTo>
                  <a:close/>
                  <a:moveTo>
                    <a:pt x="42" y="68"/>
                  </a:moveTo>
                  <a:lnTo>
                    <a:pt x="42" y="70"/>
                  </a:lnTo>
                  <a:lnTo>
                    <a:pt x="42" y="68"/>
                  </a:lnTo>
                  <a:close/>
                  <a:moveTo>
                    <a:pt x="35" y="75"/>
                  </a:moveTo>
                  <a:lnTo>
                    <a:pt x="36" y="75"/>
                  </a:lnTo>
                  <a:lnTo>
                    <a:pt x="35" y="75"/>
                  </a:lnTo>
                  <a:close/>
                  <a:moveTo>
                    <a:pt x="44" y="73"/>
                  </a:moveTo>
                  <a:lnTo>
                    <a:pt x="46" y="73"/>
                  </a:lnTo>
                  <a:lnTo>
                    <a:pt x="44" y="73"/>
                  </a:lnTo>
                  <a:close/>
                  <a:moveTo>
                    <a:pt x="36" y="73"/>
                  </a:moveTo>
                  <a:lnTo>
                    <a:pt x="38" y="73"/>
                  </a:lnTo>
                  <a:lnTo>
                    <a:pt x="38" y="75"/>
                  </a:lnTo>
                  <a:lnTo>
                    <a:pt x="36" y="75"/>
                  </a:lnTo>
                  <a:lnTo>
                    <a:pt x="36" y="73"/>
                  </a:lnTo>
                  <a:close/>
                  <a:moveTo>
                    <a:pt x="36" y="75"/>
                  </a:moveTo>
                  <a:lnTo>
                    <a:pt x="36" y="77"/>
                  </a:lnTo>
                  <a:lnTo>
                    <a:pt x="36" y="75"/>
                  </a:lnTo>
                  <a:close/>
                  <a:moveTo>
                    <a:pt x="40" y="75"/>
                  </a:moveTo>
                  <a:lnTo>
                    <a:pt x="42" y="75"/>
                  </a:lnTo>
                  <a:lnTo>
                    <a:pt x="42" y="77"/>
                  </a:lnTo>
                  <a:lnTo>
                    <a:pt x="40" y="77"/>
                  </a:lnTo>
                  <a:lnTo>
                    <a:pt x="40" y="75"/>
                  </a:lnTo>
                  <a:close/>
                  <a:moveTo>
                    <a:pt x="36" y="73"/>
                  </a:moveTo>
                  <a:lnTo>
                    <a:pt x="38" y="73"/>
                  </a:lnTo>
                  <a:lnTo>
                    <a:pt x="36" y="7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 name="Freeform 410">
              <a:extLst>
                <a:ext uri="{FF2B5EF4-FFF2-40B4-BE49-F238E27FC236}">
                  <a16:creationId xmlns:a16="http://schemas.microsoft.com/office/drawing/2014/main" id="{5327C1F2-DD7C-4D59-9859-04E0C0693CDC}"/>
                </a:ext>
              </a:extLst>
            </p:cNvPr>
            <p:cNvSpPr>
              <a:spLocks noEditPoints="1"/>
            </p:cNvSpPr>
            <p:nvPr/>
          </p:nvSpPr>
          <p:spPr bwMode="gray">
            <a:xfrm>
              <a:off x="5350743" y="3898064"/>
              <a:ext cx="46602" cy="64998"/>
            </a:xfrm>
            <a:custGeom>
              <a:avLst/>
              <a:gdLst>
                <a:gd name="T0" fmla="*/ 32 w 38"/>
                <a:gd name="T1" fmla="*/ 0 h 53"/>
                <a:gd name="T2" fmla="*/ 32 w 38"/>
                <a:gd name="T3" fmla="*/ 2 h 53"/>
                <a:gd name="T4" fmla="*/ 34 w 38"/>
                <a:gd name="T5" fmla="*/ 2 h 53"/>
                <a:gd name="T6" fmla="*/ 36 w 38"/>
                <a:gd name="T7" fmla="*/ 2 h 53"/>
                <a:gd name="T8" fmla="*/ 38 w 38"/>
                <a:gd name="T9" fmla="*/ 2 h 53"/>
                <a:gd name="T10" fmla="*/ 38 w 38"/>
                <a:gd name="T11" fmla="*/ 3 h 53"/>
                <a:gd name="T12" fmla="*/ 38 w 38"/>
                <a:gd name="T13" fmla="*/ 5 h 53"/>
                <a:gd name="T14" fmla="*/ 36 w 38"/>
                <a:gd name="T15" fmla="*/ 5 h 53"/>
                <a:gd name="T16" fmla="*/ 36 w 38"/>
                <a:gd name="T17" fmla="*/ 11 h 53"/>
                <a:gd name="T18" fmla="*/ 34 w 38"/>
                <a:gd name="T19" fmla="*/ 17 h 53"/>
                <a:gd name="T20" fmla="*/ 32 w 38"/>
                <a:gd name="T21" fmla="*/ 21 h 53"/>
                <a:gd name="T22" fmla="*/ 32 w 38"/>
                <a:gd name="T23" fmla="*/ 27 h 53"/>
                <a:gd name="T24" fmla="*/ 30 w 38"/>
                <a:gd name="T25" fmla="*/ 30 h 53"/>
                <a:gd name="T26" fmla="*/ 29 w 38"/>
                <a:gd name="T27" fmla="*/ 34 h 53"/>
                <a:gd name="T28" fmla="*/ 27 w 38"/>
                <a:gd name="T29" fmla="*/ 38 h 53"/>
                <a:gd name="T30" fmla="*/ 25 w 38"/>
                <a:gd name="T31" fmla="*/ 42 h 53"/>
                <a:gd name="T32" fmla="*/ 23 w 38"/>
                <a:gd name="T33" fmla="*/ 46 h 53"/>
                <a:gd name="T34" fmla="*/ 23 w 38"/>
                <a:gd name="T35" fmla="*/ 51 h 53"/>
                <a:gd name="T36" fmla="*/ 19 w 38"/>
                <a:gd name="T37" fmla="*/ 53 h 53"/>
                <a:gd name="T38" fmla="*/ 19 w 38"/>
                <a:gd name="T39" fmla="*/ 48 h 53"/>
                <a:gd name="T40" fmla="*/ 15 w 38"/>
                <a:gd name="T41" fmla="*/ 46 h 53"/>
                <a:gd name="T42" fmla="*/ 15 w 38"/>
                <a:gd name="T43" fmla="*/ 44 h 53"/>
                <a:gd name="T44" fmla="*/ 13 w 38"/>
                <a:gd name="T45" fmla="*/ 44 h 53"/>
                <a:gd name="T46" fmla="*/ 13 w 38"/>
                <a:gd name="T47" fmla="*/ 42 h 53"/>
                <a:gd name="T48" fmla="*/ 13 w 38"/>
                <a:gd name="T49" fmla="*/ 40 h 53"/>
                <a:gd name="T50" fmla="*/ 11 w 38"/>
                <a:gd name="T51" fmla="*/ 36 h 53"/>
                <a:gd name="T52" fmla="*/ 9 w 38"/>
                <a:gd name="T53" fmla="*/ 32 h 53"/>
                <a:gd name="T54" fmla="*/ 11 w 38"/>
                <a:gd name="T55" fmla="*/ 32 h 53"/>
                <a:gd name="T56" fmla="*/ 11 w 38"/>
                <a:gd name="T57" fmla="*/ 30 h 53"/>
                <a:gd name="T58" fmla="*/ 11 w 38"/>
                <a:gd name="T59" fmla="*/ 28 h 53"/>
                <a:gd name="T60" fmla="*/ 13 w 38"/>
                <a:gd name="T61" fmla="*/ 25 h 53"/>
                <a:gd name="T62" fmla="*/ 13 w 38"/>
                <a:gd name="T63" fmla="*/ 23 h 53"/>
                <a:gd name="T64" fmla="*/ 15 w 38"/>
                <a:gd name="T65" fmla="*/ 19 h 53"/>
                <a:gd name="T66" fmla="*/ 15 w 38"/>
                <a:gd name="T67" fmla="*/ 17 h 53"/>
                <a:gd name="T68" fmla="*/ 17 w 38"/>
                <a:gd name="T69" fmla="*/ 17 h 53"/>
                <a:gd name="T70" fmla="*/ 19 w 38"/>
                <a:gd name="T71" fmla="*/ 13 h 53"/>
                <a:gd name="T72" fmla="*/ 21 w 38"/>
                <a:gd name="T73" fmla="*/ 9 h 53"/>
                <a:gd name="T74" fmla="*/ 23 w 38"/>
                <a:gd name="T75" fmla="*/ 5 h 53"/>
                <a:gd name="T76" fmla="*/ 27 w 38"/>
                <a:gd name="T77" fmla="*/ 3 h 53"/>
                <a:gd name="T78" fmla="*/ 30 w 38"/>
                <a:gd name="T79" fmla="*/ 2 h 53"/>
                <a:gd name="T80" fmla="*/ 2 w 38"/>
                <a:gd name="T81" fmla="*/ 27 h 53"/>
                <a:gd name="T82" fmla="*/ 2 w 38"/>
                <a:gd name="T83" fmla="*/ 28 h 53"/>
                <a:gd name="T84" fmla="*/ 32 w 38"/>
                <a:gd name="T85" fmla="*/ 51 h 53"/>
                <a:gd name="T86" fmla="*/ 11 w 38"/>
                <a:gd name="T87" fmla="*/ 28 h 53"/>
                <a:gd name="T88" fmla="*/ 9 w 38"/>
                <a:gd name="T89" fmla="*/ 28 h 53"/>
                <a:gd name="T90" fmla="*/ 2 w 38"/>
                <a:gd name="T91" fmla="*/ 34 h 53"/>
                <a:gd name="T92" fmla="*/ 15 w 38"/>
                <a:gd name="T93" fmla="*/ 46 h 53"/>
                <a:gd name="T94" fmla="*/ 13 w 38"/>
                <a:gd name="T95" fmla="*/ 42 h 53"/>
                <a:gd name="T96" fmla="*/ 11 w 38"/>
                <a:gd name="T97" fmla="*/ 27 h 53"/>
                <a:gd name="T98" fmla="*/ 2 w 38"/>
                <a:gd name="T99" fmla="*/ 25 h 53"/>
                <a:gd name="T100" fmla="*/ 34 w 38"/>
                <a:gd name="T101" fmla="*/ 2 h 53"/>
                <a:gd name="T102" fmla="*/ 4 w 38"/>
                <a:gd name="T103" fmla="*/ 25 h 53"/>
                <a:gd name="T104" fmla="*/ 0 w 38"/>
                <a:gd name="T105" fmla="*/ 30 h 53"/>
                <a:gd name="T106" fmla="*/ 5 w 38"/>
                <a:gd name="T107" fmla="*/ 27 h 53"/>
                <a:gd name="T108" fmla="*/ 2 w 38"/>
                <a:gd name="T109" fmla="*/ 25 h 53"/>
                <a:gd name="T110" fmla="*/ 4 w 38"/>
                <a:gd name="T111" fmla="*/ 27 h 53"/>
                <a:gd name="T112" fmla="*/ 4 w 38"/>
                <a:gd name="T113" fmla="*/ 27 h 53"/>
                <a:gd name="T114" fmla="*/ 4 w 38"/>
                <a:gd name="T115" fmla="*/ 27 h 53"/>
                <a:gd name="T116" fmla="*/ 2 w 38"/>
                <a:gd name="T117" fmla="*/ 25 h 53"/>
                <a:gd name="T118" fmla="*/ 4 w 38"/>
                <a:gd name="T119"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 h="53">
                  <a:moveTo>
                    <a:pt x="32" y="0"/>
                  </a:moveTo>
                  <a:lnTo>
                    <a:pt x="32" y="2"/>
                  </a:lnTo>
                  <a:lnTo>
                    <a:pt x="32" y="0"/>
                  </a:lnTo>
                  <a:lnTo>
                    <a:pt x="32" y="2"/>
                  </a:lnTo>
                  <a:lnTo>
                    <a:pt x="32" y="0"/>
                  </a:lnTo>
                  <a:lnTo>
                    <a:pt x="32" y="2"/>
                  </a:lnTo>
                  <a:lnTo>
                    <a:pt x="34" y="2"/>
                  </a:lnTo>
                  <a:lnTo>
                    <a:pt x="36" y="2"/>
                  </a:lnTo>
                  <a:lnTo>
                    <a:pt x="34" y="2"/>
                  </a:lnTo>
                  <a:lnTo>
                    <a:pt x="36" y="2"/>
                  </a:lnTo>
                  <a:lnTo>
                    <a:pt x="38" y="2"/>
                  </a:lnTo>
                  <a:lnTo>
                    <a:pt x="36" y="2"/>
                  </a:lnTo>
                  <a:lnTo>
                    <a:pt x="36" y="3"/>
                  </a:lnTo>
                  <a:lnTo>
                    <a:pt x="38" y="3"/>
                  </a:lnTo>
                  <a:lnTo>
                    <a:pt x="38" y="2"/>
                  </a:lnTo>
                  <a:lnTo>
                    <a:pt x="38" y="3"/>
                  </a:lnTo>
                  <a:lnTo>
                    <a:pt x="36" y="3"/>
                  </a:lnTo>
                  <a:lnTo>
                    <a:pt x="38" y="3"/>
                  </a:lnTo>
                  <a:lnTo>
                    <a:pt x="36" y="3"/>
                  </a:lnTo>
                  <a:lnTo>
                    <a:pt x="38" y="3"/>
                  </a:lnTo>
                  <a:lnTo>
                    <a:pt x="38" y="5"/>
                  </a:lnTo>
                  <a:lnTo>
                    <a:pt x="36" y="5"/>
                  </a:lnTo>
                  <a:lnTo>
                    <a:pt x="38" y="5"/>
                  </a:lnTo>
                  <a:lnTo>
                    <a:pt x="36" y="5"/>
                  </a:lnTo>
                  <a:lnTo>
                    <a:pt x="36" y="7"/>
                  </a:lnTo>
                  <a:lnTo>
                    <a:pt x="36" y="9"/>
                  </a:lnTo>
                  <a:lnTo>
                    <a:pt x="36" y="11"/>
                  </a:lnTo>
                  <a:lnTo>
                    <a:pt x="36" y="13"/>
                  </a:lnTo>
                  <a:lnTo>
                    <a:pt x="34" y="15"/>
                  </a:lnTo>
                  <a:lnTo>
                    <a:pt x="34" y="17"/>
                  </a:lnTo>
                  <a:lnTo>
                    <a:pt x="34" y="19"/>
                  </a:lnTo>
                  <a:lnTo>
                    <a:pt x="32" y="19"/>
                  </a:lnTo>
                  <a:lnTo>
                    <a:pt x="32" y="21"/>
                  </a:lnTo>
                  <a:lnTo>
                    <a:pt x="32" y="23"/>
                  </a:lnTo>
                  <a:lnTo>
                    <a:pt x="32" y="25"/>
                  </a:lnTo>
                  <a:lnTo>
                    <a:pt x="32" y="27"/>
                  </a:lnTo>
                  <a:lnTo>
                    <a:pt x="30" y="27"/>
                  </a:lnTo>
                  <a:lnTo>
                    <a:pt x="30" y="28"/>
                  </a:lnTo>
                  <a:lnTo>
                    <a:pt x="30" y="30"/>
                  </a:lnTo>
                  <a:lnTo>
                    <a:pt x="30" y="32"/>
                  </a:lnTo>
                  <a:lnTo>
                    <a:pt x="30" y="34"/>
                  </a:lnTo>
                  <a:lnTo>
                    <a:pt x="29" y="34"/>
                  </a:lnTo>
                  <a:lnTo>
                    <a:pt x="29" y="36"/>
                  </a:lnTo>
                  <a:lnTo>
                    <a:pt x="29" y="38"/>
                  </a:lnTo>
                  <a:lnTo>
                    <a:pt x="27" y="38"/>
                  </a:lnTo>
                  <a:lnTo>
                    <a:pt x="27" y="40"/>
                  </a:lnTo>
                  <a:lnTo>
                    <a:pt x="25" y="40"/>
                  </a:lnTo>
                  <a:lnTo>
                    <a:pt x="25" y="42"/>
                  </a:lnTo>
                  <a:lnTo>
                    <a:pt x="25" y="44"/>
                  </a:lnTo>
                  <a:lnTo>
                    <a:pt x="23" y="44"/>
                  </a:lnTo>
                  <a:lnTo>
                    <a:pt x="23" y="46"/>
                  </a:lnTo>
                  <a:lnTo>
                    <a:pt x="23" y="48"/>
                  </a:lnTo>
                  <a:lnTo>
                    <a:pt x="23" y="50"/>
                  </a:lnTo>
                  <a:lnTo>
                    <a:pt x="23" y="51"/>
                  </a:lnTo>
                  <a:lnTo>
                    <a:pt x="21" y="51"/>
                  </a:lnTo>
                  <a:lnTo>
                    <a:pt x="21" y="53"/>
                  </a:lnTo>
                  <a:lnTo>
                    <a:pt x="19" y="53"/>
                  </a:lnTo>
                  <a:lnTo>
                    <a:pt x="19" y="51"/>
                  </a:lnTo>
                  <a:lnTo>
                    <a:pt x="19" y="50"/>
                  </a:lnTo>
                  <a:lnTo>
                    <a:pt x="19" y="48"/>
                  </a:lnTo>
                  <a:lnTo>
                    <a:pt x="17" y="48"/>
                  </a:lnTo>
                  <a:lnTo>
                    <a:pt x="17" y="46"/>
                  </a:lnTo>
                  <a:lnTo>
                    <a:pt x="15" y="46"/>
                  </a:lnTo>
                  <a:lnTo>
                    <a:pt x="15" y="44"/>
                  </a:lnTo>
                  <a:lnTo>
                    <a:pt x="13" y="44"/>
                  </a:lnTo>
                  <a:lnTo>
                    <a:pt x="15" y="44"/>
                  </a:lnTo>
                  <a:lnTo>
                    <a:pt x="13" y="44"/>
                  </a:lnTo>
                  <a:lnTo>
                    <a:pt x="15" y="44"/>
                  </a:lnTo>
                  <a:lnTo>
                    <a:pt x="13" y="44"/>
                  </a:lnTo>
                  <a:lnTo>
                    <a:pt x="13" y="42"/>
                  </a:lnTo>
                  <a:lnTo>
                    <a:pt x="13" y="44"/>
                  </a:lnTo>
                  <a:lnTo>
                    <a:pt x="13" y="42"/>
                  </a:lnTo>
                  <a:lnTo>
                    <a:pt x="13" y="40"/>
                  </a:lnTo>
                  <a:lnTo>
                    <a:pt x="13" y="42"/>
                  </a:lnTo>
                  <a:lnTo>
                    <a:pt x="13" y="40"/>
                  </a:lnTo>
                  <a:lnTo>
                    <a:pt x="11" y="40"/>
                  </a:lnTo>
                  <a:lnTo>
                    <a:pt x="11" y="38"/>
                  </a:lnTo>
                  <a:lnTo>
                    <a:pt x="11" y="36"/>
                  </a:lnTo>
                  <a:lnTo>
                    <a:pt x="9" y="36"/>
                  </a:lnTo>
                  <a:lnTo>
                    <a:pt x="9" y="34"/>
                  </a:lnTo>
                  <a:lnTo>
                    <a:pt x="9" y="32"/>
                  </a:lnTo>
                  <a:lnTo>
                    <a:pt x="11" y="32"/>
                  </a:lnTo>
                  <a:lnTo>
                    <a:pt x="9" y="32"/>
                  </a:lnTo>
                  <a:lnTo>
                    <a:pt x="11" y="32"/>
                  </a:lnTo>
                  <a:lnTo>
                    <a:pt x="9" y="32"/>
                  </a:lnTo>
                  <a:lnTo>
                    <a:pt x="11" y="32"/>
                  </a:lnTo>
                  <a:lnTo>
                    <a:pt x="11" y="30"/>
                  </a:lnTo>
                  <a:lnTo>
                    <a:pt x="11" y="28"/>
                  </a:lnTo>
                  <a:lnTo>
                    <a:pt x="11" y="30"/>
                  </a:lnTo>
                  <a:lnTo>
                    <a:pt x="11" y="28"/>
                  </a:lnTo>
                  <a:lnTo>
                    <a:pt x="11" y="27"/>
                  </a:lnTo>
                  <a:lnTo>
                    <a:pt x="11" y="25"/>
                  </a:lnTo>
                  <a:lnTo>
                    <a:pt x="13" y="25"/>
                  </a:lnTo>
                  <a:lnTo>
                    <a:pt x="11" y="25"/>
                  </a:lnTo>
                  <a:lnTo>
                    <a:pt x="11" y="23"/>
                  </a:lnTo>
                  <a:lnTo>
                    <a:pt x="13" y="23"/>
                  </a:lnTo>
                  <a:lnTo>
                    <a:pt x="13" y="21"/>
                  </a:lnTo>
                  <a:lnTo>
                    <a:pt x="15" y="21"/>
                  </a:lnTo>
                  <a:lnTo>
                    <a:pt x="15" y="19"/>
                  </a:lnTo>
                  <a:lnTo>
                    <a:pt x="15" y="17"/>
                  </a:lnTo>
                  <a:lnTo>
                    <a:pt x="17" y="17"/>
                  </a:lnTo>
                  <a:lnTo>
                    <a:pt x="15" y="17"/>
                  </a:lnTo>
                  <a:lnTo>
                    <a:pt x="17" y="17"/>
                  </a:lnTo>
                  <a:lnTo>
                    <a:pt x="17" y="15"/>
                  </a:lnTo>
                  <a:lnTo>
                    <a:pt x="17" y="17"/>
                  </a:lnTo>
                  <a:lnTo>
                    <a:pt x="17" y="15"/>
                  </a:lnTo>
                  <a:lnTo>
                    <a:pt x="17" y="13"/>
                  </a:lnTo>
                  <a:lnTo>
                    <a:pt x="19" y="13"/>
                  </a:lnTo>
                  <a:lnTo>
                    <a:pt x="19" y="11"/>
                  </a:lnTo>
                  <a:lnTo>
                    <a:pt x="21" y="11"/>
                  </a:lnTo>
                  <a:lnTo>
                    <a:pt x="21" y="9"/>
                  </a:lnTo>
                  <a:lnTo>
                    <a:pt x="23" y="9"/>
                  </a:lnTo>
                  <a:lnTo>
                    <a:pt x="23" y="7"/>
                  </a:lnTo>
                  <a:lnTo>
                    <a:pt x="23" y="5"/>
                  </a:lnTo>
                  <a:lnTo>
                    <a:pt x="25" y="5"/>
                  </a:lnTo>
                  <a:lnTo>
                    <a:pt x="25" y="3"/>
                  </a:lnTo>
                  <a:lnTo>
                    <a:pt x="27" y="3"/>
                  </a:lnTo>
                  <a:lnTo>
                    <a:pt x="27" y="2"/>
                  </a:lnTo>
                  <a:lnTo>
                    <a:pt x="29" y="2"/>
                  </a:lnTo>
                  <a:lnTo>
                    <a:pt x="30" y="2"/>
                  </a:lnTo>
                  <a:lnTo>
                    <a:pt x="30" y="0"/>
                  </a:lnTo>
                  <a:lnTo>
                    <a:pt x="32" y="0"/>
                  </a:lnTo>
                  <a:close/>
                  <a:moveTo>
                    <a:pt x="2" y="27"/>
                  </a:moveTo>
                  <a:lnTo>
                    <a:pt x="5" y="27"/>
                  </a:lnTo>
                  <a:lnTo>
                    <a:pt x="5" y="28"/>
                  </a:lnTo>
                  <a:lnTo>
                    <a:pt x="2" y="28"/>
                  </a:lnTo>
                  <a:lnTo>
                    <a:pt x="2" y="27"/>
                  </a:lnTo>
                  <a:close/>
                  <a:moveTo>
                    <a:pt x="30" y="51"/>
                  </a:moveTo>
                  <a:lnTo>
                    <a:pt x="32" y="51"/>
                  </a:lnTo>
                  <a:lnTo>
                    <a:pt x="30" y="51"/>
                  </a:lnTo>
                  <a:close/>
                  <a:moveTo>
                    <a:pt x="9" y="28"/>
                  </a:moveTo>
                  <a:lnTo>
                    <a:pt x="11" y="28"/>
                  </a:lnTo>
                  <a:lnTo>
                    <a:pt x="11" y="30"/>
                  </a:lnTo>
                  <a:lnTo>
                    <a:pt x="9" y="30"/>
                  </a:lnTo>
                  <a:lnTo>
                    <a:pt x="9" y="28"/>
                  </a:lnTo>
                  <a:close/>
                  <a:moveTo>
                    <a:pt x="0" y="32"/>
                  </a:moveTo>
                  <a:lnTo>
                    <a:pt x="2" y="32"/>
                  </a:lnTo>
                  <a:lnTo>
                    <a:pt x="2" y="34"/>
                  </a:lnTo>
                  <a:lnTo>
                    <a:pt x="0" y="34"/>
                  </a:lnTo>
                  <a:lnTo>
                    <a:pt x="0" y="32"/>
                  </a:lnTo>
                  <a:close/>
                  <a:moveTo>
                    <a:pt x="15" y="46"/>
                  </a:moveTo>
                  <a:lnTo>
                    <a:pt x="15" y="48"/>
                  </a:lnTo>
                  <a:lnTo>
                    <a:pt x="15" y="46"/>
                  </a:lnTo>
                  <a:close/>
                  <a:moveTo>
                    <a:pt x="13" y="42"/>
                  </a:moveTo>
                  <a:lnTo>
                    <a:pt x="13" y="44"/>
                  </a:lnTo>
                  <a:lnTo>
                    <a:pt x="13" y="42"/>
                  </a:lnTo>
                  <a:close/>
                  <a:moveTo>
                    <a:pt x="11" y="27"/>
                  </a:moveTo>
                  <a:lnTo>
                    <a:pt x="11" y="28"/>
                  </a:lnTo>
                  <a:lnTo>
                    <a:pt x="11" y="27"/>
                  </a:lnTo>
                  <a:close/>
                  <a:moveTo>
                    <a:pt x="2" y="25"/>
                  </a:moveTo>
                  <a:lnTo>
                    <a:pt x="4" y="25"/>
                  </a:lnTo>
                  <a:lnTo>
                    <a:pt x="2" y="25"/>
                  </a:lnTo>
                  <a:close/>
                  <a:moveTo>
                    <a:pt x="34" y="2"/>
                  </a:moveTo>
                  <a:lnTo>
                    <a:pt x="36" y="2"/>
                  </a:lnTo>
                  <a:lnTo>
                    <a:pt x="34" y="2"/>
                  </a:lnTo>
                  <a:close/>
                  <a:moveTo>
                    <a:pt x="4" y="25"/>
                  </a:moveTo>
                  <a:lnTo>
                    <a:pt x="4" y="27"/>
                  </a:lnTo>
                  <a:lnTo>
                    <a:pt x="4" y="25"/>
                  </a:lnTo>
                  <a:close/>
                  <a:moveTo>
                    <a:pt x="0" y="30"/>
                  </a:moveTo>
                  <a:lnTo>
                    <a:pt x="0" y="32"/>
                  </a:lnTo>
                  <a:lnTo>
                    <a:pt x="0" y="30"/>
                  </a:lnTo>
                  <a:close/>
                  <a:moveTo>
                    <a:pt x="5" y="27"/>
                  </a:moveTo>
                  <a:lnTo>
                    <a:pt x="5" y="28"/>
                  </a:lnTo>
                  <a:lnTo>
                    <a:pt x="5" y="27"/>
                  </a:lnTo>
                  <a:close/>
                  <a:moveTo>
                    <a:pt x="2" y="25"/>
                  </a:moveTo>
                  <a:lnTo>
                    <a:pt x="4" y="25"/>
                  </a:lnTo>
                  <a:lnTo>
                    <a:pt x="2" y="25"/>
                  </a:lnTo>
                  <a:close/>
                  <a:moveTo>
                    <a:pt x="4" y="27"/>
                  </a:moveTo>
                  <a:lnTo>
                    <a:pt x="4" y="28"/>
                  </a:lnTo>
                  <a:lnTo>
                    <a:pt x="4" y="27"/>
                  </a:lnTo>
                  <a:close/>
                  <a:moveTo>
                    <a:pt x="4" y="27"/>
                  </a:moveTo>
                  <a:lnTo>
                    <a:pt x="4" y="28"/>
                  </a:lnTo>
                  <a:lnTo>
                    <a:pt x="4" y="27"/>
                  </a:lnTo>
                  <a:close/>
                  <a:moveTo>
                    <a:pt x="4" y="27"/>
                  </a:moveTo>
                  <a:lnTo>
                    <a:pt x="4" y="28"/>
                  </a:lnTo>
                  <a:lnTo>
                    <a:pt x="4" y="27"/>
                  </a:lnTo>
                  <a:close/>
                  <a:moveTo>
                    <a:pt x="2" y="25"/>
                  </a:moveTo>
                  <a:lnTo>
                    <a:pt x="4" y="25"/>
                  </a:lnTo>
                  <a:lnTo>
                    <a:pt x="2" y="25"/>
                  </a:lnTo>
                  <a:close/>
                  <a:moveTo>
                    <a:pt x="4" y="27"/>
                  </a:moveTo>
                  <a:lnTo>
                    <a:pt x="5" y="27"/>
                  </a:lnTo>
                  <a:lnTo>
                    <a:pt x="4" y="2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 name="Freeform 411">
              <a:extLst>
                <a:ext uri="{FF2B5EF4-FFF2-40B4-BE49-F238E27FC236}">
                  <a16:creationId xmlns:a16="http://schemas.microsoft.com/office/drawing/2014/main" id="{33D72DC1-89C3-4B01-A8F8-370A38560115}"/>
                </a:ext>
              </a:extLst>
            </p:cNvPr>
            <p:cNvSpPr>
              <a:spLocks noEditPoints="1"/>
            </p:cNvSpPr>
            <p:nvPr/>
          </p:nvSpPr>
          <p:spPr bwMode="gray">
            <a:xfrm>
              <a:off x="5328668" y="3875989"/>
              <a:ext cx="42924" cy="40471"/>
            </a:xfrm>
            <a:custGeom>
              <a:avLst/>
              <a:gdLst>
                <a:gd name="T0" fmla="*/ 2 w 35"/>
                <a:gd name="T1" fmla="*/ 29 h 33"/>
                <a:gd name="T2" fmla="*/ 4 w 35"/>
                <a:gd name="T3" fmla="*/ 29 h 33"/>
                <a:gd name="T4" fmla="*/ 4 w 35"/>
                <a:gd name="T5" fmla="*/ 33 h 33"/>
                <a:gd name="T6" fmla="*/ 2 w 35"/>
                <a:gd name="T7" fmla="*/ 33 h 33"/>
                <a:gd name="T8" fmla="*/ 2 w 35"/>
                <a:gd name="T9" fmla="*/ 29 h 33"/>
                <a:gd name="T10" fmla="*/ 0 w 35"/>
                <a:gd name="T11" fmla="*/ 31 h 33"/>
                <a:gd name="T12" fmla="*/ 2 w 35"/>
                <a:gd name="T13" fmla="*/ 31 h 33"/>
                <a:gd name="T14" fmla="*/ 0 w 35"/>
                <a:gd name="T15" fmla="*/ 31 h 33"/>
                <a:gd name="T16" fmla="*/ 25 w 35"/>
                <a:gd name="T17" fmla="*/ 4 h 33"/>
                <a:gd name="T18" fmla="*/ 27 w 35"/>
                <a:gd name="T19" fmla="*/ 4 h 33"/>
                <a:gd name="T20" fmla="*/ 25 w 35"/>
                <a:gd name="T21" fmla="*/ 4 h 33"/>
                <a:gd name="T22" fmla="*/ 33 w 35"/>
                <a:gd name="T23" fmla="*/ 0 h 33"/>
                <a:gd name="T24" fmla="*/ 35 w 35"/>
                <a:gd name="T25" fmla="*/ 0 h 33"/>
                <a:gd name="T26" fmla="*/ 33 w 35"/>
                <a:gd name="T27" fmla="*/ 0 h 33"/>
                <a:gd name="T28" fmla="*/ 20 w 35"/>
                <a:gd name="T29" fmla="*/ 21 h 33"/>
                <a:gd name="T30" fmla="*/ 20 w 35"/>
                <a:gd name="T31" fmla="*/ 23 h 33"/>
                <a:gd name="T32" fmla="*/ 20 w 35"/>
                <a:gd name="T33" fmla="*/ 21 h 33"/>
                <a:gd name="T34" fmla="*/ 27 w 35"/>
                <a:gd name="T35" fmla="*/ 6 h 33"/>
                <a:gd name="T36" fmla="*/ 27 w 35"/>
                <a:gd name="T37" fmla="*/ 8 h 33"/>
                <a:gd name="T38" fmla="*/ 27 w 35"/>
                <a:gd name="T39" fmla="*/ 6 h 33"/>
                <a:gd name="T40" fmla="*/ 0 w 35"/>
                <a:gd name="T41" fmla="*/ 31 h 33"/>
                <a:gd name="T42" fmla="*/ 0 w 35"/>
                <a:gd name="T43" fmla="*/ 33 h 33"/>
                <a:gd name="T44" fmla="*/ 0 w 35"/>
                <a:gd name="T45" fmla="*/ 31 h 33"/>
                <a:gd name="T46" fmla="*/ 29 w 35"/>
                <a:gd name="T47" fmla="*/ 0 h 33"/>
                <a:gd name="T48" fmla="*/ 31 w 35"/>
                <a:gd name="T49" fmla="*/ 0 h 33"/>
                <a:gd name="T50" fmla="*/ 29 w 35"/>
                <a:gd name="T51" fmla="*/ 0 h 33"/>
                <a:gd name="T52" fmla="*/ 27 w 35"/>
                <a:gd name="T53" fmla="*/ 0 h 33"/>
                <a:gd name="T54" fmla="*/ 29 w 35"/>
                <a:gd name="T55" fmla="*/ 0 h 33"/>
                <a:gd name="T56" fmla="*/ 27 w 35"/>
                <a:gd name="T5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33">
                  <a:moveTo>
                    <a:pt x="2" y="29"/>
                  </a:moveTo>
                  <a:lnTo>
                    <a:pt x="4" y="29"/>
                  </a:lnTo>
                  <a:lnTo>
                    <a:pt x="4" y="33"/>
                  </a:lnTo>
                  <a:lnTo>
                    <a:pt x="2" y="33"/>
                  </a:lnTo>
                  <a:lnTo>
                    <a:pt x="2" y="29"/>
                  </a:lnTo>
                  <a:close/>
                  <a:moveTo>
                    <a:pt x="0" y="31"/>
                  </a:moveTo>
                  <a:lnTo>
                    <a:pt x="2" y="31"/>
                  </a:lnTo>
                  <a:lnTo>
                    <a:pt x="0" y="31"/>
                  </a:lnTo>
                  <a:close/>
                  <a:moveTo>
                    <a:pt x="25" y="4"/>
                  </a:moveTo>
                  <a:lnTo>
                    <a:pt x="27" y="4"/>
                  </a:lnTo>
                  <a:lnTo>
                    <a:pt x="25" y="4"/>
                  </a:lnTo>
                  <a:close/>
                  <a:moveTo>
                    <a:pt x="33" y="0"/>
                  </a:moveTo>
                  <a:lnTo>
                    <a:pt x="35" y="0"/>
                  </a:lnTo>
                  <a:lnTo>
                    <a:pt x="33" y="0"/>
                  </a:lnTo>
                  <a:close/>
                  <a:moveTo>
                    <a:pt x="20" y="21"/>
                  </a:moveTo>
                  <a:lnTo>
                    <a:pt x="20" y="23"/>
                  </a:lnTo>
                  <a:lnTo>
                    <a:pt x="20" y="21"/>
                  </a:lnTo>
                  <a:close/>
                  <a:moveTo>
                    <a:pt x="27" y="6"/>
                  </a:moveTo>
                  <a:lnTo>
                    <a:pt x="27" y="8"/>
                  </a:lnTo>
                  <a:lnTo>
                    <a:pt x="27" y="6"/>
                  </a:lnTo>
                  <a:close/>
                  <a:moveTo>
                    <a:pt x="0" y="31"/>
                  </a:moveTo>
                  <a:lnTo>
                    <a:pt x="0" y="33"/>
                  </a:lnTo>
                  <a:lnTo>
                    <a:pt x="0" y="31"/>
                  </a:lnTo>
                  <a:close/>
                  <a:moveTo>
                    <a:pt x="29" y="0"/>
                  </a:moveTo>
                  <a:lnTo>
                    <a:pt x="31" y="0"/>
                  </a:lnTo>
                  <a:lnTo>
                    <a:pt x="29" y="0"/>
                  </a:lnTo>
                  <a:close/>
                  <a:moveTo>
                    <a:pt x="27" y="0"/>
                  </a:moveTo>
                  <a:lnTo>
                    <a:pt x="29" y="0"/>
                  </a:lnTo>
                  <a:lnTo>
                    <a:pt x="27"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 name="Freeform 412">
              <a:extLst>
                <a:ext uri="{FF2B5EF4-FFF2-40B4-BE49-F238E27FC236}">
                  <a16:creationId xmlns:a16="http://schemas.microsoft.com/office/drawing/2014/main" id="{D80652D8-194E-4D78-9645-B121ADB69D36}"/>
                </a:ext>
              </a:extLst>
            </p:cNvPr>
            <p:cNvSpPr>
              <a:spLocks noEditPoints="1"/>
            </p:cNvSpPr>
            <p:nvPr/>
          </p:nvSpPr>
          <p:spPr bwMode="gray">
            <a:xfrm>
              <a:off x="5305366" y="3982685"/>
              <a:ext cx="174146" cy="301689"/>
            </a:xfrm>
            <a:custGeom>
              <a:avLst/>
              <a:gdLst>
                <a:gd name="T0" fmla="*/ 79 w 142"/>
                <a:gd name="T1" fmla="*/ 54 h 246"/>
                <a:gd name="T2" fmla="*/ 67 w 142"/>
                <a:gd name="T3" fmla="*/ 90 h 246"/>
                <a:gd name="T4" fmla="*/ 90 w 142"/>
                <a:gd name="T5" fmla="*/ 107 h 246"/>
                <a:gd name="T6" fmla="*/ 102 w 142"/>
                <a:gd name="T7" fmla="*/ 117 h 246"/>
                <a:gd name="T8" fmla="*/ 106 w 142"/>
                <a:gd name="T9" fmla="*/ 123 h 246"/>
                <a:gd name="T10" fmla="*/ 79 w 142"/>
                <a:gd name="T11" fmla="*/ 113 h 246"/>
                <a:gd name="T12" fmla="*/ 60 w 142"/>
                <a:gd name="T13" fmla="*/ 96 h 246"/>
                <a:gd name="T14" fmla="*/ 44 w 142"/>
                <a:gd name="T15" fmla="*/ 86 h 246"/>
                <a:gd name="T16" fmla="*/ 56 w 142"/>
                <a:gd name="T17" fmla="*/ 38 h 246"/>
                <a:gd name="T18" fmla="*/ 137 w 142"/>
                <a:gd name="T19" fmla="*/ 180 h 246"/>
                <a:gd name="T20" fmla="*/ 138 w 142"/>
                <a:gd name="T21" fmla="*/ 211 h 246"/>
                <a:gd name="T22" fmla="*/ 127 w 142"/>
                <a:gd name="T23" fmla="*/ 217 h 246"/>
                <a:gd name="T24" fmla="*/ 108 w 142"/>
                <a:gd name="T25" fmla="*/ 207 h 246"/>
                <a:gd name="T26" fmla="*/ 81 w 142"/>
                <a:gd name="T27" fmla="*/ 201 h 246"/>
                <a:gd name="T28" fmla="*/ 81 w 142"/>
                <a:gd name="T29" fmla="*/ 196 h 246"/>
                <a:gd name="T30" fmla="*/ 102 w 142"/>
                <a:gd name="T31" fmla="*/ 196 h 246"/>
                <a:gd name="T32" fmla="*/ 125 w 142"/>
                <a:gd name="T33" fmla="*/ 171 h 246"/>
                <a:gd name="T34" fmla="*/ 85 w 142"/>
                <a:gd name="T35" fmla="*/ 176 h 246"/>
                <a:gd name="T36" fmla="*/ 123 w 142"/>
                <a:gd name="T37" fmla="*/ 132 h 246"/>
                <a:gd name="T38" fmla="*/ 127 w 142"/>
                <a:gd name="T39" fmla="*/ 150 h 246"/>
                <a:gd name="T40" fmla="*/ 115 w 142"/>
                <a:gd name="T41" fmla="*/ 136 h 246"/>
                <a:gd name="T42" fmla="*/ 92 w 142"/>
                <a:gd name="T43" fmla="*/ 142 h 246"/>
                <a:gd name="T44" fmla="*/ 75 w 142"/>
                <a:gd name="T45" fmla="*/ 146 h 246"/>
                <a:gd name="T46" fmla="*/ 29 w 142"/>
                <a:gd name="T47" fmla="*/ 171 h 246"/>
                <a:gd name="T48" fmla="*/ 8 w 142"/>
                <a:gd name="T49" fmla="*/ 186 h 246"/>
                <a:gd name="T50" fmla="*/ 27 w 142"/>
                <a:gd name="T51" fmla="*/ 165 h 246"/>
                <a:gd name="T52" fmla="*/ 37 w 142"/>
                <a:gd name="T53" fmla="*/ 150 h 246"/>
                <a:gd name="T54" fmla="*/ 66 w 142"/>
                <a:gd name="T55" fmla="*/ 132 h 246"/>
                <a:gd name="T56" fmla="*/ 119 w 142"/>
                <a:gd name="T57" fmla="*/ 155 h 246"/>
                <a:gd name="T58" fmla="*/ 106 w 142"/>
                <a:gd name="T59" fmla="*/ 157 h 246"/>
                <a:gd name="T60" fmla="*/ 106 w 142"/>
                <a:gd name="T61" fmla="*/ 148 h 246"/>
                <a:gd name="T62" fmla="*/ 98 w 142"/>
                <a:gd name="T63" fmla="*/ 130 h 246"/>
                <a:gd name="T64" fmla="*/ 92 w 142"/>
                <a:gd name="T65" fmla="*/ 132 h 246"/>
                <a:gd name="T66" fmla="*/ 77 w 142"/>
                <a:gd name="T67" fmla="*/ 219 h 246"/>
                <a:gd name="T68" fmla="*/ 77 w 142"/>
                <a:gd name="T69" fmla="*/ 115 h 246"/>
                <a:gd name="T70" fmla="*/ 129 w 142"/>
                <a:gd name="T71" fmla="*/ 163 h 246"/>
                <a:gd name="T72" fmla="*/ 75 w 142"/>
                <a:gd name="T73" fmla="*/ 128 h 246"/>
                <a:gd name="T74" fmla="*/ 42 w 142"/>
                <a:gd name="T75" fmla="*/ 238 h 246"/>
                <a:gd name="T76" fmla="*/ 135 w 142"/>
                <a:gd name="T77" fmla="*/ 169 h 246"/>
                <a:gd name="T78" fmla="*/ 44 w 142"/>
                <a:gd name="T79" fmla="*/ 157 h 246"/>
                <a:gd name="T80" fmla="*/ 131 w 142"/>
                <a:gd name="T81" fmla="*/ 207 h 246"/>
                <a:gd name="T82" fmla="*/ 79 w 142"/>
                <a:gd name="T83" fmla="*/ 107 h 246"/>
                <a:gd name="T84" fmla="*/ 115 w 142"/>
                <a:gd name="T85" fmla="*/ 140 h 246"/>
                <a:gd name="T86" fmla="*/ 50 w 142"/>
                <a:gd name="T87" fmla="*/ 140 h 246"/>
                <a:gd name="T88" fmla="*/ 71 w 142"/>
                <a:gd name="T89" fmla="*/ 225 h 246"/>
                <a:gd name="T90" fmla="*/ 119 w 142"/>
                <a:gd name="T91" fmla="*/ 127 h 246"/>
                <a:gd name="T92" fmla="*/ 44 w 142"/>
                <a:gd name="T93" fmla="*/ 69 h 246"/>
                <a:gd name="T94" fmla="*/ 42 w 142"/>
                <a:gd name="T95" fmla="*/ 146 h 246"/>
                <a:gd name="T96" fmla="*/ 67 w 142"/>
                <a:gd name="T97" fmla="*/ 225 h 246"/>
                <a:gd name="T98" fmla="*/ 54 w 142"/>
                <a:gd name="T99" fmla="*/ 225 h 246"/>
                <a:gd name="T100" fmla="*/ 54 w 142"/>
                <a:gd name="T101" fmla="*/ 102 h 246"/>
                <a:gd name="T102" fmla="*/ 44 w 142"/>
                <a:gd name="T103" fmla="*/ 84 h 246"/>
                <a:gd name="T104" fmla="*/ 87 w 142"/>
                <a:gd name="T105" fmla="*/ 102 h 246"/>
                <a:gd name="T106" fmla="*/ 46 w 142"/>
                <a:gd name="T107" fmla="*/ 238 h 246"/>
                <a:gd name="T108" fmla="*/ 35 w 142"/>
                <a:gd name="T109" fmla="*/ 148 h 246"/>
                <a:gd name="T110" fmla="*/ 102 w 142"/>
                <a:gd name="T111" fmla="*/ 109 h 246"/>
                <a:gd name="T112" fmla="*/ 67 w 142"/>
                <a:gd name="T113" fmla="*/ 130 h 246"/>
                <a:gd name="T114" fmla="*/ 35 w 142"/>
                <a:gd name="T115" fmla="*/ 153 h 246"/>
                <a:gd name="T116" fmla="*/ 29 w 142"/>
                <a:gd name="T117" fmla="*/ 167 h 246"/>
                <a:gd name="T118" fmla="*/ 46 w 142"/>
                <a:gd name="T119" fmla="*/ 140 h 246"/>
                <a:gd name="T120" fmla="*/ 35 w 142"/>
                <a:gd name="T121" fmla="*/ 155 h 246"/>
                <a:gd name="T122" fmla="*/ 81 w 142"/>
                <a:gd name="T123" fmla="*/ 201 h 246"/>
                <a:gd name="T124" fmla="*/ 127 w 142"/>
                <a:gd name="T125" fmla="*/ 17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2" h="246">
                  <a:moveTo>
                    <a:pt x="58" y="36"/>
                  </a:moveTo>
                  <a:lnTo>
                    <a:pt x="60" y="36"/>
                  </a:lnTo>
                  <a:lnTo>
                    <a:pt x="62" y="36"/>
                  </a:lnTo>
                  <a:lnTo>
                    <a:pt x="60" y="36"/>
                  </a:lnTo>
                  <a:lnTo>
                    <a:pt x="62" y="36"/>
                  </a:lnTo>
                  <a:lnTo>
                    <a:pt x="64" y="36"/>
                  </a:lnTo>
                  <a:lnTo>
                    <a:pt x="66" y="36"/>
                  </a:lnTo>
                  <a:lnTo>
                    <a:pt x="66" y="38"/>
                  </a:lnTo>
                  <a:lnTo>
                    <a:pt x="67" y="38"/>
                  </a:lnTo>
                  <a:lnTo>
                    <a:pt x="67" y="40"/>
                  </a:lnTo>
                  <a:lnTo>
                    <a:pt x="69" y="40"/>
                  </a:lnTo>
                  <a:lnTo>
                    <a:pt x="71" y="40"/>
                  </a:lnTo>
                  <a:lnTo>
                    <a:pt x="73" y="40"/>
                  </a:lnTo>
                  <a:lnTo>
                    <a:pt x="73" y="42"/>
                  </a:lnTo>
                  <a:lnTo>
                    <a:pt x="75" y="42"/>
                  </a:lnTo>
                  <a:lnTo>
                    <a:pt x="75" y="40"/>
                  </a:lnTo>
                  <a:lnTo>
                    <a:pt x="77" y="40"/>
                  </a:lnTo>
                  <a:lnTo>
                    <a:pt x="77" y="38"/>
                  </a:lnTo>
                  <a:lnTo>
                    <a:pt x="79" y="38"/>
                  </a:lnTo>
                  <a:lnTo>
                    <a:pt x="77" y="38"/>
                  </a:lnTo>
                  <a:lnTo>
                    <a:pt x="79" y="38"/>
                  </a:lnTo>
                  <a:lnTo>
                    <a:pt x="79" y="40"/>
                  </a:lnTo>
                  <a:lnTo>
                    <a:pt x="79" y="38"/>
                  </a:lnTo>
                  <a:lnTo>
                    <a:pt x="79" y="40"/>
                  </a:lnTo>
                  <a:lnTo>
                    <a:pt x="81" y="40"/>
                  </a:lnTo>
                  <a:lnTo>
                    <a:pt x="81" y="42"/>
                  </a:lnTo>
                  <a:lnTo>
                    <a:pt x="79" y="42"/>
                  </a:lnTo>
                  <a:lnTo>
                    <a:pt x="79" y="44"/>
                  </a:lnTo>
                  <a:lnTo>
                    <a:pt x="77" y="44"/>
                  </a:lnTo>
                  <a:lnTo>
                    <a:pt x="79" y="44"/>
                  </a:lnTo>
                  <a:lnTo>
                    <a:pt x="77" y="44"/>
                  </a:lnTo>
                  <a:lnTo>
                    <a:pt x="77" y="46"/>
                  </a:lnTo>
                  <a:lnTo>
                    <a:pt x="79" y="46"/>
                  </a:lnTo>
                  <a:lnTo>
                    <a:pt x="77" y="46"/>
                  </a:lnTo>
                  <a:lnTo>
                    <a:pt x="79" y="46"/>
                  </a:lnTo>
                  <a:lnTo>
                    <a:pt x="77" y="46"/>
                  </a:lnTo>
                  <a:lnTo>
                    <a:pt x="79" y="46"/>
                  </a:lnTo>
                  <a:lnTo>
                    <a:pt x="77" y="46"/>
                  </a:lnTo>
                  <a:lnTo>
                    <a:pt x="79" y="46"/>
                  </a:lnTo>
                  <a:lnTo>
                    <a:pt x="77" y="46"/>
                  </a:lnTo>
                  <a:lnTo>
                    <a:pt x="79" y="46"/>
                  </a:lnTo>
                  <a:lnTo>
                    <a:pt x="77" y="46"/>
                  </a:lnTo>
                  <a:lnTo>
                    <a:pt x="79" y="46"/>
                  </a:lnTo>
                  <a:lnTo>
                    <a:pt x="77" y="46"/>
                  </a:lnTo>
                  <a:lnTo>
                    <a:pt x="79" y="46"/>
                  </a:lnTo>
                  <a:lnTo>
                    <a:pt x="79" y="48"/>
                  </a:lnTo>
                  <a:lnTo>
                    <a:pt x="79" y="46"/>
                  </a:lnTo>
                  <a:lnTo>
                    <a:pt x="79" y="48"/>
                  </a:lnTo>
                  <a:lnTo>
                    <a:pt x="77" y="48"/>
                  </a:lnTo>
                  <a:lnTo>
                    <a:pt x="79" y="48"/>
                  </a:lnTo>
                  <a:lnTo>
                    <a:pt x="77" y="48"/>
                  </a:lnTo>
                  <a:lnTo>
                    <a:pt x="77" y="50"/>
                  </a:lnTo>
                  <a:lnTo>
                    <a:pt x="77" y="52"/>
                  </a:lnTo>
                  <a:lnTo>
                    <a:pt x="79" y="52"/>
                  </a:lnTo>
                  <a:lnTo>
                    <a:pt x="79" y="54"/>
                  </a:lnTo>
                  <a:lnTo>
                    <a:pt x="79" y="55"/>
                  </a:lnTo>
                  <a:lnTo>
                    <a:pt x="81" y="55"/>
                  </a:lnTo>
                  <a:lnTo>
                    <a:pt x="81" y="57"/>
                  </a:lnTo>
                  <a:lnTo>
                    <a:pt x="81" y="55"/>
                  </a:lnTo>
                  <a:lnTo>
                    <a:pt x="81" y="57"/>
                  </a:lnTo>
                  <a:lnTo>
                    <a:pt x="81" y="59"/>
                  </a:lnTo>
                  <a:lnTo>
                    <a:pt x="83" y="59"/>
                  </a:lnTo>
                  <a:lnTo>
                    <a:pt x="81" y="59"/>
                  </a:lnTo>
                  <a:lnTo>
                    <a:pt x="83" y="59"/>
                  </a:lnTo>
                  <a:lnTo>
                    <a:pt x="81" y="59"/>
                  </a:lnTo>
                  <a:lnTo>
                    <a:pt x="83" y="59"/>
                  </a:lnTo>
                  <a:lnTo>
                    <a:pt x="83" y="61"/>
                  </a:lnTo>
                  <a:lnTo>
                    <a:pt x="83" y="63"/>
                  </a:lnTo>
                  <a:lnTo>
                    <a:pt x="81" y="63"/>
                  </a:lnTo>
                  <a:lnTo>
                    <a:pt x="81" y="65"/>
                  </a:lnTo>
                  <a:lnTo>
                    <a:pt x="81" y="67"/>
                  </a:lnTo>
                  <a:lnTo>
                    <a:pt x="79" y="67"/>
                  </a:lnTo>
                  <a:lnTo>
                    <a:pt x="79" y="69"/>
                  </a:lnTo>
                  <a:lnTo>
                    <a:pt x="79" y="71"/>
                  </a:lnTo>
                  <a:lnTo>
                    <a:pt x="79" y="69"/>
                  </a:lnTo>
                  <a:lnTo>
                    <a:pt x="79" y="71"/>
                  </a:lnTo>
                  <a:lnTo>
                    <a:pt x="77" y="71"/>
                  </a:lnTo>
                  <a:lnTo>
                    <a:pt x="79" y="71"/>
                  </a:lnTo>
                  <a:lnTo>
                    <a:pt x="79" y="73"/>
                  </a:lnTo>
                  <a:lnTo>
                    <a:pt x="77" y="73"/>
                  </a:lnTo>
                  <a:lnTo>
                    <a:pt x="77" y="75"/>
                  </a:lnTo>
                  <a:lnTo>
                    <a:pt x="75" y="75"/>
                  </a:lnTo>
                  <a:lnTo>
                    <a:pt x="77" y="75"/>
                  </a:lnTo>
                  <a:lnTo>
                    <a:pt x="75" y="75"/>
                  </a:lnTo>
                  <a:lnTo>
                    <a:pt x="75" y="77"/>
                  </a:lnTo>
                  <a:lnTo>
                    <a:pt x="75" y="75"/>
                  </a:lnTo>
                  <a:lnTo>
                    <a:pt x="75" y="77"/>
                  </a:lnTo>
                  <a:lnTo>
                    <a:pt x="75" y="75"/>
                  </a:lnTo>
                  <a:lnTo>
                    <a:pt x="77" y="75"/>
                  </a:lnTo>
                  <a:lnTo>
                    <a:pt x="77" y="73"/>
                  </a:lnTo>
                  <a:lnTo>
                    <a:pt x="75" y="73"/>
                  </a:lnTo>
                  <a:lnTo>
                    <a:pt x="77" y="73"/>
                  </a:lnTo>
                  <a:lnTo>
                    <a:pt x="75" y="73"/>
                  </a:lnTo>
                  <a:lnTo>
                    <a:pt x="75" y="75"/>
                  </a:lnTo>
                  <a:lnTo>
                    <a:pt x="73" y="75"/>
                  </a:lnTo>
                  <a:lnTo>
                    <a:pt x="71" y="75"/>
                  </a:lnTo>
                  <a:lnTo>
                    <a:pt x="71" y="77"/>
                  </a:lnTo>
                  <a:lnTo>
                    <a:pt x="69" y="77"/>
                  </a:lnTo>
                  <a:lnTo>
                    <a:pt x="69" y="79"/>
                  </a:lnTo>
                  <a:lnTo>
                    <a:pt x="69" y="80"/>
                  </a:lnTo>
                  <a:lnTo>
                    <a:pt x="69" y="82"/>
                  </a:lnTo>
                  <a:lnTo>
                    <a:pt x="67" y="82"/>
                  </a:lnTo>
                  <a:lnTo>
                    <a:pt x="67" y="84"/>
                  </a:lnTo>
                  <a:lnTo>
                    <a:pt x="67" y="86"/>
                  </a:lnTo>
                  <a:lnTo>
                    <a:pt x="66" y="86"/>
                  </a:lnTo>
                  <a:lnTo>
                    <a:pt x="66" y="88"/>
                  </a:lnTo>
                  <a:lnTo>
                    <a:pt x="67" y="88"/>
                  </a:lnTo>
                  <a:lnTo>
                    <a:pt x="67" y="90"/>
                  </a:lnTo>
                  <a:lnTo>
                    <a:pt x="69" y="90"/>
                  </a:lnTo>
                  <a:lnTo>
                    <a:pt x="67" y="90"/>
                  </a:lnTo>
                  <a:lnTo>
                    <a:pt x="69" y="90"/>
                  </a:lnTo>
                  <a:lnTo>
                    <a:pt x="69" y="92"/>
                  </a:lnTo>
                  <a:lnTo>
                    <a:pt x="69" y="94"/>
                  </a:lnTo>
                  <a:lnTo>
                    <a:pt x="71" y="94"/>
                  </a:lnTo>
                  <a:lnTo>
                    <a:pt x="71" y="96"/>
                  </a:lnTo>
                  <a:lnTo>
                    <a:pt x="69" y="96"/>
                  </a:lnTo>
                  <a:lnTo>
                    <a:pt x="69" y="98"/>
                  </a:lnTo>
                  <a:lnTo>
                    <a:pt x="69" y="100"/>
                  </a:lnTo>
                  <a:lnTo>
                    <a:pt x="71" y="100"/>
                  </a:lnTo>
                  <a:lnTo>
                    <a:pt x="69" y="100"/>
                  </a:lnTo>
                  <a:lnTo>
                    <a:pt x="71" y="100"/>
                  </a:lnTo>
                  <a:lnTo>
                    <a:pt x="71" y="102"/>
                  </a:lnTo>
                  <a:lnTo>
                    <a:pt x="71" y="103"/>
                  </a:lnTo>
                  <a:lnTo>
                    <a:pt x="71" y="105"/>
                  </a:lnTo>
                  <a:lnTo>
                    <a:pt x="73" y="105"/>
                  </a:lnTo>
                  <a:lnTo>
                    <a:pt x="73" y="107"/>
                  </a:lnTo>
                  <a:lnTo>
                    <a:pt x="75" y="107"/>
                  </a:lnTo>
                  <a:lnTo>
                    <a:pt x="77" y="107"/>
                  </a:lnTo>
                  <a:lnTo>
                    <a:pt x="79" y="107"/>
                  </a:lnTo>
                  <a:lnTo>
                    <a:pt x="77" y="107"/>
                  </a:lnTo>
                  <a:lnTo>
                    <a:pt x="79" y="107"/>
                  </a:lnTo>
                  <a:lnTo>
                    <a:pt x="77" y="107"/>
                  </a:lnTo>
                  <a:lnTo>
                    <a:pt x="79" y="107"/>
                  </a:lnTo>
                  <a:lnTo>
                    <a:pt x="77" y="107"/>
                  </a:lnTo>
                  <a:lnTo>
                    <a:pt x="79" y="107"/>
                  </a:lnTo>
                  <a:lnTo>
                    <a:pt x="81" y="107"/>
                  </a:lnTo>
                  <a:lnTo>
                    <a:pt x="79" y="107"/>
                  </a:lnTo>
                  <a:lnTo>
                    <a:pt x="79" y="105"/>
                  </a:lnTo>
                  <a:lnTo>
                    <a:pt x="81" y="105"/>
                  </a:lnTo>
                  <a:lnTo>
                    <a:pt x="79" y="105"/>
                  </a:lnTo>
                  <a:lnTo>
                    <a:pt x="77" y="105"/>
                  </a:lnTo>
                  <a:lnTo>
                    <a:pt x="77" y="103"/>
                  </a:lnTo>
                  <a:lnTo>
                    <a:pt x="79" y="103"/>
                  </a:lnTo>
                  <a:lnTo>
                    <a:pt x="79" y="105"/>
                  </a:lnTo>
                  <a:lnTo>
                    <a:pt x="79" y="103"/>
                  </a:lnTo>
                  <a:lnTo>
                    <a:pt x="79" y="105"/>
                  </a:lnTo>
                  <a:lnTo>
                    <a:pt x="81" y="105"/>
                  </a:lnTo>
                  <a:lnTo>
                    <a:pt x="81" y="103"/>
                  </a:lnTo>
                  <a:lnTo>
                    <a:pt x="81" y="102"/>
                  </a:lnTo>
                  <a:lnTo>
                    <a:pt x="83" y="102"/>
                  </a:lnTo>
                  <a:lnTo>
                    <a:pt x="85" y="102"/>
                  </a:lnTo>
                  <a:lnTo>
                    <a:pt x="87" y="102"/>
                  </a:lnTo>
                  <a:lnTo>
                    <a:pt x="89" y="102"/>
                  </a:lnTo>
                  <a:lnTo>
                    <a:pt x="89" y="103"/>
                  </a:lnTo>
                  <a:lnTo>
                    <a:pt x="90" y="103"/>
                  </a:lnTo>
                  <a:lnTo>
                    <a:pt x="89" y="103"/>
                  </a:lnTo>
                  <a:lnTo>
                    <a:pt x="90" y="103"/>
                  </a:lnTo>
                  <a:lnTo>
                    <a:pt x="90" y="105"/>
                  </a:lnTo>
                  <a:lnTo>
                    <a:pt x="90" y="107"/>
                  </a:lnTo>
                  <a:lnTo>
                    <a:pt x="90" y="109"/>
                  </a:lnTo>
                  <a:lnTo>
                    <a:pt x="90" y="107"/>
                  </a:lnTo>
                  <a:lnTo>
                    <a:pt x="90" y="109"/>
                  </a:lnTo>
                  <a:lnTo>
                    <a:pt x="90" y="107"/>
                  </a:lnTo>
                  <a:lnTo>
                    <a:pt x="90" y="109"/>
                  </a:lnTo>
                  <a:lnTo>
                    <a:pt x="90" y="107"/>
                  </a:lnTo>
                  <a:lnTo>
                    <a:pt x="90" y="109"/>
                  </a:lnTo>
                  <a:lnTo>
                    <a:pt x="90" y="107"/>
                  </a:lnTo>
                  <a:lnTo>
                    <a:pt x="90" y="109"/>
                  </a:lnTo>
                  <a:lnTo>
                    <a:pt x="90" y="111"/>
                  </a:lnTo>
                  <a:lnTo>
                    <a:pt x="92" y="111"/>
                  </a:lnTo>
                  <a:lnTo>
                    <a:pt x="94" y="111"/>
                  </a:lnTo>
                  <a:lnTo>
                    <a:pt x="94" y="109"/>
                  </a:lnTo>
                  <a:lnTo>
                    <a:pt x="94" y="107"/>
                  </a:lnTo>
                  <a:lnTo>
                    <a:pt x="92" y="107"/>
                  </a:lnTo>
                  <a:lnTo>
                    <a:pt x="94" y="107"/>
                  </a:lnTo>
                  <a:lnTo>
                    <a:pt x="92" y="107"/>
                  </a:lnTo>
                  <a:lnTo>
                    <a:pt x="94" y="107"/>
                  </a:lnTo>
                  <a:lnTo>
                    <a:pt x="92" y="107"/>
                  </a:lnTo>
                  <a:lnTo>
                    <a:pt x="94" y="107"/>
                  </a:lnTo>
                  <a:lnTo>
                    <a:pt x="94" y="105"/>
                  </a:lnTo>
                  <a:lnTo>
                    <a:pt x="94" y="107"/>
                  </a:lnTo>
                  <a:lnTo>
                    <a:pt x="94" y="105"/>
                  </a:lnTo>
                  <a:lnTo>
                    <a:pt x="92" y="105"/>
                  </a:lnTo>
                  <a:lnTo>
                    <a:pt x="94" y="105"/>
                  </a:lnTo>
                  <a:lnTo>
                    <a:pt x="96" y="105"/>
                  </a:lnTo>
                  <a:lnTo>
                    <a:pt x="94" y="105"/>
                  </a:lnTo>
                  <a:lnTo>
                    <a:pt x="94" y="107"/>
                  </a:lnTo>
                  <a:lnTo>
                    <a:pt x="94" y="105"/>
                  </a:lnTo>
                  <a:lnTo>
                    <a:pt x="94" y="107"/>
                  </a:lnTo>
                  <a:lnTo>
                    <a:pt x="94" y="105"/>
                  </a:lnTo>
                  <a:lnTo>
                    <a:pt x="96" y="105"/>
                  </a:lnTo>
                  <a:lnTo>
                    <a:pt x="94" y="105"/>
                  </a:lnTo>
                  <a:lnTo>
                    <a:pt x="96" y="105"/>
                  </a:lnTo>
                  <a:lnTo>
                    <a:pt x="94" y="105"/>
                  </a:lnTo>
                  <a:lnTo>
                    <a:pt x="96" y="105"/>
                  </a:lnTo>
                  <a:lnTo>
                    <a:pt x="96" y="107"/>
                  </a:lnTo>
                  <a:lnTo>
                    <a:pt x="98" y="107"/>
                  </a:lnTo>
                  <a:lnTo>
                    <a:pt x="96" y="107"/>
                  </a:lnTo>
                  <a:lnTo>
                    <a:pt x="98" y="107"/>
                  </a:lnTo>
                  <a:lnTo>
                    <a:pt x="96" y="107"/>
                  </a:lnTo>
                  <a:lnTo>
                    <a:pt x="98" y="107"/>
                  </a:lnTo>
                  <a:lnTo>
                    <a:pt x="100" y="107"/>
                  </a:lnTo>
                  <a:lnTo>
                    <a:pt x="100" y="109"/>
                  </a:lnTo>
                  <a:lnTo>
                    <a:pt x="100" y="107"/>
                  </a:lnTo>
                  <a:lnTo>
                    <a:pt x="100" y="109"/>
                  </a:lnTo>
                  <a:lnTo>
                    <a:pt x="102" y="109"/>
                  </a:lnTo>
                  <a:lnTo>
                    <a:pt x="104" y="109"/>
                  </a:lnTo>
                  <a:lnTo>
                    <a:pt x="102" y="109"/>
                  </a:lnTo>
                  <a:lnTo>
                    <a:pt x="104" y="109"/>
                  </a:lnTo>
                  <a:lnTo>
                    <a:pt x="104" y="111"/>
                  </a:lnTo>
                  <a:lnTo>
                    <a:pt x="102" y="111"/>
                  </a:lnTo>
                  <a:lnTo>
                    <a:pt x="100" y="111"/>
                  </a:lnTo>
                  <a:lnTo>
                    <a:pt x="98" y="111"/>
                  </a:lnTo>
                  <a:lnTo>
                    <a:pt x="98" y="113"/>
                  </a:lnTo>
                  <a:lnTo>
                    <a:pt x="98" y="115"/>
                  </a:lnTo>
                  <a:lnTo>
                    <a:pt x="100" y="115"/>
                  </a:lnTo>
                  <a:lnTo>
                    <a:pt x="100" y="117"/>
                  </a:lnTo>
                  <a:lnTo>
                    <a:pt x="100" y="115"/>
                  </a:lnTo>
                  <a:lnTo>
                    <a:pt x="100" y="117"/>
                  </a:lnTo>
                  <a:lnTo>
                    <a:pt x="102" y="117"/>
                  </a:lnTo>
                  <a:lnTo>
                    <a:pt x="102" y="119"/>
                  </a:lnTo>
                  <a:lnTo>
                    <a:pt x="102" y="117"/>
                  </a:lnTo>
                  <a:lnTo>
                    <a:pt x="102" y="119"/>
                  </a:lnTo>
                  <a:lnTo>
                    <a:pt x="102" y="117"/>
                  </a:lnTo>
                  <a:lnTo>
                    <a:pt x="102" y="119"/>
                  </a:lnTo>
                  <a:lnTo>
                    <a:pt x="100" y="119"/>
                  </a:lnTo>
                  <a:lnTo>
                    <a:pt x="102" y="119"/>
                  </a:lnTo>
                  <a:lnTo>
                    <a:pt x="100" y="119"/>
                  </a:lnTo>
                  <a:lnTo>
                    <a:pt x="102" y="119"/>
                  </a:lnTo>
                  <a:lnTo>
                    <a:pt x="100" y="119"/>
                  </a:lnTo>
                  <a:lnTo>
                    <a:pt x="102" y="119"/>
                  </a:lnTo>
                  <a:lnTo>
                    <a:pt x="102" y="121"/>
                  </a:lnTo>
                  <a:lnTo>
                    <a:pt x="100" y="121"/>
                  </a:lnTo>
                  <a:lnTo>
                    <a:pt x="102" y="121"/>
                  </a:lnTo>
                  <a:lnTo>
                    <a:pt x="100" y="121"/>
                  </a:lnTo>
                  <a:lnTo>
                    <a:pt x="102" y="121"/>
                  </a:lnTo>
                  <a:lnTo>
                    <a:pt x="102" y="119"/>
                  </a:lnTo>
                  <a:lnTo>
                    <a:pt x="104" y="119"/>
                  </a:lnTo>
                  <a:lnTo>
                    <a:pt x="104" y="121"/>
                  </a:lnTo>
                  <a:lnTo>
                    <a:pt x="106" y="121"/>
                  </a:lnTo>
                  <a:lnTo>
                    <a:pt x="108" y="121"/>
                  </a:lnTo>
                  <a:lnTo>
                    <a:pt x="106" y="121"/>
                  </a:lnTo>
                  <a:lnTo>
                    <a:pt x="108" y="121"/>
                  </a:lnTo>
                  <a:lnTo>
                    <a:pt x="106" y="121"/>
                  </a:lnTo>
                  <a:lnTo>
                    <a:pt x="106" y="123"/>
                  </a:lnTo>
                  <a:lnTo>
                    <a:pt x="108" y="123"/>
                  </a:lnTo>
                  <a:lnTo>
                    <a:pt x="106" y="123"/>
                  </a:lnTo>
                  <a:lnTo>
                    <a:pt x="108" y="123"/>
                  </a:lnTo>
                  <a:lnTo>
                    <a:pt x="108" y="125"/>
                  </a:lnTo>
                  <a:lnTo>
                    <a:pt x="106" y="125"/>
                  </a:lnTo>
                  <a:lnTo>
                    <a:pt x="108" y="125"/>
                  </a:lnTo>
                  <a:lnTo>
                    <a:pt x="106" y="125"/>
                  </a:lnTo>
                  <a:lnTo>
                    <a:pt x="108" y="125"/>
                  </a:lnTo>
                  <a:lnTo>
                    <a:pt x="106" y="125"/>
                  </a:lnTo>
                  <a:lnTo>
                    <a:pt x="108" y="125"/>
                  </a:lnTo>
                  <a:lnTo>
                    <a:pt x="106" y="125"/>
                  </a:lnTo>
                  <a:lnTo>
                    <a:pt x="108" y="125"/>
                  </a:lnTo>
                  <a:lnTo>
                    <a:pt x="106" y="125"/>
                  </a:lnTo>
                  <a:lnTo>
                    <a:pt x="106" y="127"/>
                  </a:lnTo>
                  <a:lnTo>
                    <a:pt x="106" y="128"/>
                  </a:lnTo>
                  <a:lnTo>
                    <a:pt x="104" y="128"/>
                  </a:lnTo>
                  <a:lnTo>
                    <a:pt x="104" y="127"/>
                  </a:lnTo>
                  <a:lnTo>
                    <a:pt x="104" y="128"/>
                  </a:lnTo>
                  <a:lnTo>
                    <a:pt x="104" y="127"/>
                  </a:lnTo>
                  <a:lnTo>
                    <a:pt x="102" y="127"/>
                  </a:lnTo>
                  <a:lnTo>
                    <a:pt x="102" y="125"/>
                  </a:lnTo>
                  <a:lnTo>
                    <a:pt x="102" y="123"/>
                  </a:lnTo>
                  <a:lnTo>
                    <a:pt x="102" y="125"/>
                  </a:lnTo>
                  <a:lnTo>
                    <a:pt x="102" y="123"/>
                  </a:lnTo>
                  <a:lnTo>
                    <a:pt x="104" y="123"/>
                  </a:lnTo>
                  <a:lnTo>
                    <a:pt x="104" y="125"/>
                  </a:lnTo>
                  <a:lnTo>
                    <a:pt x="104" y="123"/>
                  </a:lnTo>
                  <a:lnTo>
                    <a:pt x="104" y="125"/>
                  </a:lnTo>
                  <a:lnTo>
                    <a:pt x="104" y="123"/>
                  </a:lnTo>
                  <a:lnTo>
                    <a:pt x="106" y="123"/>
                  </a:lnTo>
                  <a:lnTo>
                    <a:pt x="104" y="123"/>
                  </a:lnTo>
                  <a:lnTo>
                    <a:pt x="102" y="123"/>
                  </a:lnTo>
                  <a:lnTo>
                    <a:pt x="100" y="123"/>
                  </a:lnTo>
                  <a:lnTo>
                    <a:pt x="100" y="125"/>
                  </a:lnTo>
                  <a:lnTo>
                    <a:pt x="100" y="123"/>
                  </a:lnTo>
                  <a:lnTo>
                    <a:pt x="100" y="125"/>
                  </a:lnTo>
                  <a:lnTo>
                    <a:pt x="100" y="123"/>
                  </a:lnTo>
                  <a:lnTo>
                    <a:pt x="98" y="123"/>
                  </a:lnTo>
                  <a:lnTo>
                    <a:pt x="100" y="123"/>
                  </a:lnTo>
                  <a:lnTo>
                    <a:pt x="98" y="123"/>
                  </a:lnTo>
                  <a:lnTo>
                    <a:pt x="96" y="123"/>
                  </a:lnTo>
                  <a:lnTo>
                    <a:pt x="96" y="121"/>
                  </a:lnTo>
                  <a:lnTo>
                    <a:pt x="94" y="121"/>
                  </a:lnTo>
                  <a:lnTo>
                    <a:pt x="94" y="119"/>
                  </a:lnTo>
                  <a:lnTo>
                    <a:pt x="94" y="117"/>
                  </a:lnTo>
                  <a:lnTo>
                    <a:pt x="92" y="117"/>
                  </a:lnTo>
                  <a:lnTo>
                    <a:pt x="94" y="117"/>
                  </a:lnTo>
                  <a:lnTo>
                    <a:pt x="92" y="117"/>
                  </a:lnTo>
                  <a:lnTo>
                    <a:pt x="92" y="115"/>
                  </a:lnTo>
                  <a:lnTo>
                    <a:pt x="90" y="115"/>
                  </a:lnTo>
                  <a:lnTo>
                    <a:pt x="90" y="113"/>
                  </a:lnTo>
                  <a:lnTo>
                    <a:pt x="89" y="113"/>
                  </a:lnTo>
                  <a:lnTo>
                    <a:pt x="89" y="111"/>
                  </a:lnTo>
                  <a:lnTo>
                    <a:pt x="87" y="111"/>
                  </a:lnTo>
                  <a:lnTo>
                    <a:pt x="89" y="111"/>
                  </a:lnTo>
                  <a:lnTo>
                    <a:pt x="87" y="111"/>
                  </a:lnTo>
                  <a:lnTo>
                    <a:pt x="87" y="109"/>
                  </a:lnTo>
                  <a:lnTo>
                    <a:pt x="85" y="109"/>
                  </a:lnTo>
                  <a:lnTo>
                    <a:pt x="85" y="107"/>
                  </a:lnTo>
                  <a:lnTo>
                    <a:pt x="83" y="107"/>
                  </a:lnTo>
                  <a:lnTo>
                    <a:pt x="81" y="107"/>
                  </a:lnTo>
                  <a:lnTo>
                    <a:pt x="83" y="107"/>
                  </a:lnTo>
                  <a:lnTo>
                    <a:pt x="81" y="107"/>
                  </a:lnTo>
                  <a:lnTo>
                    <a:pt x="83" y="107"/>
                  </a:lnTo>
                  <a:lnTo>
                    <a:pt x="83" y="109"/>
                  </a:lnTo>
                  <a:lnTo>
                    <a:pt x="83" y="111"/>
                  </a:lnTo>
                  <a:lnTo>
                    <a:pt x="83" y="113"/>
                  </a:lnTo>
                  <a:lnTo>
                    <a:pt x="85" y="113"/>
                  </a:lnTo>
                  <a:lnTo>
                    <a:pt x="83" y="113"/>
                  </a:lnTo>
                  <a:lnTo>
                    <a:pt x="85" y="113"/>
                  </a:lnTo>
                  <a:lnTo>
                    <a:pt x="85" y="115"/>
                  </a:lnTo>
                  <a:lnTo>
                    <a:pt x="85" y="117"/>
                  </a:lnTo>
                  <a:lnTo>
                    <a:pt x="85" y="119"/>
                  </a:lnTo>
                  <a:lnTo>
                    <a:pt x="83" y="119"/>
                  </a:lnTo>
                  <a:lnTo>
                    <a:pt x="83" y="117"/>
                  </a:lnTo>
                  <a:lnTo>
                    <a:pt x="83" y="115"/>
                  </a:lnTo>
                  <a:lnTo>
                    <a:pt x="83" y="117"/>
                  </a:lnTo>
                  <a:lnTo>
                    <a:pt x="83" y="115"/>
                  </a:lnTo>
                  <a:lnTo>
                    <a:pt x="83" y="117"/>
                  </a:lnTo>
                  <a:lnTo>
                    <a:pt x="83" y="115"/>
                  </a:lnTo>
                  <a:lnTo>
                    <a:pt x="83" y="117"/>
                  </a:lnTo>
                  <a:lnTo>
                    <a:pt x="83" y="115"/>
                  </a:lnTo>
                  <a:lnTo>
                    <a:pt x="81" y="115"/>
                  </a:lnTo>
                  <a:lnTo>
                    <a:pt x="81" y="113"/>
                  </a:lnTo>
                  <a:lnTo>
                    <a:pt x="79" y="113"/>
                  </a:lnTo>
                  <a:lnTo>
                    <a:pt x="79" y="111"/>
                  </a:lnTo>
                  <a:lnTo>
                    <a:pt x="77" y="111"/>
                  </a:lnTo>
                  <a:lnTo>
                    <a:pt x="79" y="111"/>
                  </a:lnTo>
                  <a:lnTo>
                    <a:pt x="77" y="111"/>
                  </a:lnTo>
                  <a:lnTo>
                    <a:pt x="77" y="109"/>
                  </a:lnTo>
                  <a:lnTo>
                    <a:pt x="75" y="109"/>
                  </a:lnTo>
                  <a:lnTo>
                    <a:pt x="73" y="109"/>
                  </a:lnTo>
                  <a:lnTo>
                    <a:pt x="73" y="107"/>
                  </a:lnTo>
                  <a:lnTo>
                    <a:pt x="71" y="107"/>
                  </a:lnTo>
                  <a:lnTo>
                    <a:pt x="69" y="107"/>
                  </a:lnTo>
                  <a:lnTo>
                    <a:pt x="69" y="109"/>
                  </a:lnTo>
                  <a:lnTo>
                    <a:pt x="69" y="107"/>
                  </a:lnTo>
                  <a:lnTo>
                    <a:pt x="69" y="109"/>
                  </a:lnTo>
                  <a:lnTo>
                    <a:pt x="67" y="109"/>
                  </a:lnTo>
                  <a:lnTo>
                    <a:pt x="67" y="111"/>
                  </a:lnTo>
                  <a:lnTo>
                    <a:pt x="66" y="111"/>
                  </a:lnTo>
                  <a:lnTo>
                    <a:pt x="66" y="113"/>
                  </a:lnTo>
                  <a:lnTo>
                    <a:pt x="64" y="113"/>
                  </a:lnTo>
                  <a:lnTo>
                    <a:pt x="64" y="111"/>
                  </a:lnTo>
                  <a:lnTo>
                    <a:pt x="62" y="111"/>
                  </a:lnTo>
                  <a:lnTo>
                    <a:pt x="62" y="113"/>
                  </a:lnTo>
                  <a:lnTo>
                    <a:pt x="62" y="111"/>
                  </a:lnTo>
                  <a:lnTo>
                    <a:pt x="62" y="109"/>
                  </a:lnTo>
                  <a:lnTo>
                    <a:pt x="62" y="111"/>
                  </a:lnTo>
                  <a:lnTo>
                    <a:pt x="62" y="109"/>
                  </a:lnTo>
                  <a:lnTo>
                    <a:pt x="62" y="111"/>
                  </a:lnTo>
                  <a:lnTo>
                    <a:pt x="62" y="109"/>
                  </a:lnTo>
                  <a:lnTo>
                    <a:pt x="60" y="109"/>
                  </a:lnTo>
                  <a:lnTo>
                    <a:pt x="60" y="111"/>
                  </a:lnTo>
                  <a:lnTo>
                    <a:pt x="60" y="109"/>
                  </a:lnTo>
                  <a:lnTo>
                    <a:pt x="60" y="107"/>
                  </a:lnTo>
                  <a:lnTo>
                    <a:pt x="58" y="107"/>
                  </a:lnTo>
                  <a:lnTo>
                    <a:pt x="56" y="107"/>
                  </a:lnTo>
                  <a:lnTo>
                    <a:pt x="56" y="109"/>
                  </a:lnTo>
                  <a:lnTo>
                    <a:pt x="56" y="107"/>
                  </a:lnTo>
                  <a:lnTo>
                    <a:pt x="54" y="107"/>
                  </a:lnTo>
                  <a:lnTo>
                    <a:pt x="56" y="107"/>
                  </a:lnTo>
                  <a:lnTo>
                    <a:pt x="56" y="105"/>
                  </a:lnTo>
                  <a:lnTo>
                    <a:pt x="56" y="107"/>
                  </a:lnTo>
                  <a:lnTo>
                    <a:pt x="56" y="105"/>
                  </a:lnTo>
                  <a:lnTo>
                    <a:pt x="54" y="105"/>
                  </a:lnTo>
                  <a:lnTo>
                    <a:pt x="54" y="103"/>
                  </a:lnTo>
                  <a:lnTo>
                    <a:pt x="54" y="105"/>
                  </a:lnTo>
                  <a:lnTo>
                    <a:pt x="54" y="103"/>
                  </a:lnTo>
                  <a:lnTo>
                    <a:pt x="56" y="103"/>
                  </a:lnTo>
                  <a:lnTo>
                    <a:pt x="54" y="103"/>
                  </a:lnTo>
                  <a:lnTo>
                    <a:pt x="56" y="103"/>
                  </a:lnTo>
                  <a:lnTo>
                    <a:pt x="54" y="103"/>
                  </a:lnTo>
                  <a:lnTo>
                    <a:pt x="56" y="103"/>
                  </a:lnTo>
                  <a:lnTo>
                    <a:pt x="56" y="102"/>
                  </a:lnTo>
                  <a:lnTo>
                    <a:pt x="58" y="102"/>
                  </a:lnTo>
                  <a:lnTo>
                    <a:pt x="58" y="100"/>
                  </a:lnTo>
                  <a:lnTo>
                    <a:pt x="60" y="100"/>
                  </a:lnTo>
                  <a:lnTo>
                    <a:pt x="60" y="98"/>
                  </a:lnTo>
                  <a:lnTo>
                    <a:pt x="60" y="96"/>
                  </a:lnTo>
                  <a:lnTo>
                    <a:pt x="58" y="96"/>
                  </a:lnTo>
                  <a:lnTo>
                    <a:pt x="58" y="94"/>
                  </a:lnTo>
                  <a:lnTo>
                    <a:pt x="58" y="96"/>
                  </a:lnTo>
                  <a:lnTo>
                    <a:pt x="58" y="94"/>
                  </a:lnTo>
                  <a:lnTo>
                    <a:pt x="58" y="96"/>
                  </a:lnTo>
                  <a:lnTo>
                    <a:pt x="58" y="94"/>
                  </a:lnTo>
                  <a:lnTo>
                    <a:pt x="58" y="96"/>
                  </a:lnTo>
                  <a:lnTo>
                    <a:pt x="58" y="94"/>
                  </a:lnTo>
                  <a:lnTo>
                    <a:pt x="56" y="94"/>
                  </a:lnTo>
                  <a:lnTo>
                    <a:pt x="56" y="96"/>
                  </a:lnTo>
                  <a:lnTo>
                    <a:pt x="56" y="94"/>
                  </a:lnTo>
                  <a:lnTo>
                    <a:pt x="56" y="96"/>
                  </a:lnTo>
                  <a:lnTo>
                    <a:pt x="56" y="94"/>
                  </a:lnTo>
                  <a:lnTo>
                    <a:pt x="56" y="96"/>
                  </a:lnTo>
                  <a:lnTo>
                    <a:pt x="56" y="94"/>
                  </a:lnTo>
                  <a:lnTo>
                    <a:pt x="54" y="94"/>
                  </a:lnTo>
                  <a:lnTo>
                    <a:pt x="54" y="96"/>
                  </a:lnTo>
                  <a:lnTo>
                    <a:pt x="54" y="98"/>
                  </a:lnTo>
                  <a:lnTo>
                    <a:pt x="56" y="98"/>
                  </a:lnTo>
                  <a:lnTo>
                    <a:pt x="54" y="98"/>
                  </a:lnTo>
                  <a:lnTo>
                    <a:pt x="56" y="98"/>
                  </a:lnTo>
                  <a:lnTo>
                    <a:pt x="56" y="100"/>
                  </a:lnTo>
                  <a:lnTo>
                    <a:pt x="54" y="100"/>
                  </a:lnTo>
                  <a:lnTo>
                    <a:pt x="56" y="100"/>
                  </a:lnTo>
                  <a:lnTo>
                    <a:pt x="54" y="100"/>
                  </a:lnTo>
                  <a:lnTo>
                    <a:pt x="52" y="100"/>
                  </a:lnTo>
                  <a:lnTo>
                    <a:pt x="54" y="100"/>
                  </a:lnTo>
                  <a:lnTo>
                    <a:pt x="52" y="100"/>
                  </a:lnTo>
                  <a:lnTo>
                    <a:pt x="54" y="100"/>
                  </a:lnTo>
                  <a:lnTo>
                    <a:pt x="52" y="100"/>
                  </a:lnTo>
                  <a:lnTo>
                    <a:pt x="52" y="98"/>
                  </a:lnTo>
                  <a:lnTo>
                    <a:pt x="50" y="98"/>
                  </a:lnTo>
                  <a:lnTo>
                    <a:pt x="50" y="96"/>
                  </a:lnTo>
                  <a:lnTo>
                    <a:pt x="50" y="94"/>
                  </a:lnTo>
                  <a:lnTo>
                    <a:pt x="50" y="96"/>
                  </a:lnTo>
                  <a:lnTo>
                    <a:pt x="50" y="94"/>
                  </a:lnTo>
                  <a:lnTo>
                    <a:pt x="48" y="94"/>
                  </a:lnTo>
                  <a:lnTo>
                    <a:pt x="50" y="94"/>
                  </a:lnTo>
                  <a:lnTo>
                    <a:pt x="48" y="94"/>
                  </a:lnTo>
                  <a:lnTo>
                    <a:pt x="50" y="94"/>
                  </a:lnTo>
                  <a:lnTo>
                    <a:pt x="48" y="94"/>
                  </a:lnTo>
                  <a:lnTo>
                    <a:pt x="50" y="94"/>
                  </a:lnTo>
                  <a:lnTo>
                    <a:pt x="48" y="94"/>
                  </a:lnTo>
                  <a:lnTo>
                    <a:pt x="50" y="94"/>
                  </a:lnTo>
                  <a:lnTo>
                    <a:pt x="48" y="94"/>
                  </a:lnTo>
                  <a:lnTo>
                    <a:pt x="48" y="96"/>
                  </a:lnTo>
                  <a:lnTo>
                    <a:pt x="48" y="94"/>
                  </a:lnTo>
                  <a:lnTo>
                    <a:pt x="46" y="94"/>
                  </a:lnTo>
                  <a:lnTo>
                    <a:pt x="48" y="94"/>
                  </a:lnTo>
                  <a:lnTo>
                    <a:pt x="46" y="94"/>
                  </a:lnTo>
                  <a:lnTo>
                    <a:pt x="46" y="92"/>
                  </a:lnTo>
                  <a:lnTo>
                    <a:pt x="46" y="90"/>
                  </a:lnTo>
                  <a:lnTo>
                    <a:pt x="46" y="88"/>
                  </a:lnTo>
                  <a:lnTo>
                    <a:pt x="46" y="86"/>
                  </a:lnTo>
                  <a:lnTo>
                    <a:pt x="44" y="86"/>
                  </a:lnTo>
                  <a:lnTo>
                    <a:pt x="46" y="86"/>
                  </a:lnTo>
                  <a:lnTo>
                    <a:pt x="44" y="86"/>
                  </a:lnTo>
                  <a:lnTo>
                    <a:pt x="44" y="84"/>
                  </a:lnTo>
                  <a:lnTo>
                    <a:pt x="46" y="84"/>
                  </a:lnTo>
                  <a:lnTo>
                    <a:pt x="46" y="82"/>
                  </a:lnTo>
                  <a:lnTo>
                    <a:pt x="44" y="82"/>
                  </a:lnTo>
                  <a:lnTo>
                    <a:pt x="46" y="82"/>
                  </a:lnTo>
                  <a:lnTo>
                    <a:pt x="44" y="82"/>
                  </a:lnTo>
                  <a:lnTo>
                    <a:pt x="44" y="80"/>
                  </a:lnTo>
                  <a:lnTo>
                    <a:pt x="44" y="79"/>
                  </a:lnTo>
                  <a:lnTo>
                    <a:pt x="44" y="77"/>
                  </a:lnTo>
                  <a:lnTo>
                    <a:pt x="42" y="77"/>
                  </a:lnTo>
                  <a:lnTo>
                    <a:pt x="42" y="75"/>
                  </a:lnTo>
                  <a:lnTo>
                    <a:pt x="42" y="73"/>
                  </a:lnTo>
                  <a:lnTo>
                    <a:pt x="42" y="71"/>
                  </a:lnTo>
                  <a:lnTo>
                    <a:pt x="44" y="71"/>
                  </a:lnTo>
                  <a:lnTo>
                    <a:pt x="44" y="73"/>
                  </a:lnTo>
                  <a:lnTo>
                    <a:pt x="46" y="73"/>
                  </a:lnTo>
                  <a:lnTo>
                    <a:pt x="48" y="73"/>
                  </a:lnTo>
                  <a:lnTo>
                    <a:pt x="48" y="75"/>
                  </a:lnTo>
                  <a:lnTo>
                    <a:pt x="48" y="73"/>
                  </a:lnTo>
                  <a:lnTo>
                    <a:pt x="48" y="75"/>
                  </a:lnTo>
                  <a:lnTo>
                    <a:pt x="50" y="75"/>
                  </a:lnTo>
                  <a:lnTo>
                    <a:pt x="52" y="75"/>
                  </a:lnTo>
                  <a:lnTo>
                    <a:pt x="52" y="73"/>
                  </a:lnTo>
                  <a:lnTo>
                    <a:pt x="52" y="71"/>
                  </a:lnTo>
                  <a:lnTo>
                    <a:pt x="50" y="71"/>
                  </a:lnTo>
                  <a:lnTo>
                    <a:pt x="50" y="69"/>
                  </a:lnTo>
                  <a:lnTo>
                    <a:pt x="50" y="67"/>
                  </a:lnTo>
                  <a:lnTo>
                    <a:pt x="50" y="65"/>
                  </a:lnTo>
                  <a:lnTo>
                    <a:pt x="50" y="63"/>
                  </a:lnTo>
                  <a:lnTo>
                    <a:pt x="52" y="63"/>
                  </a:lnTo>
                  <a:lnTo>
                    <a:pt x="52" y="61"/>
                  </a:lnTo>
                  <a:lnTo>
                    <a:pt x="52" y="59"/>
                  </a:lnTo>
                  <a:lnTo>
                    <a:pt x="52" y="57"/>
                  </a:lnTo>
                  <a:lnTo>
                    <a:pt x="52" y="55"/>
                  </a:lnTo>
                  <a:lnTo>
                    <a:pt x="52" y="54"/>
                  </a:lnTo>
                  <a:lnTo>
                    <a:pt x="52" y="52"/>
                  </a:lnTo>
                  <a:lnTo>
                    <a:pt x="50" y="52"/>
                  </a:lnTo>
                  <a:lnTo>
                    <a:pt x="52" y="52"/>
                  </a:lnTo>
                  <a:lnTo>
                    <a:pt x="52" y="50"/>
                  </a:lnTo>
                  <a:lnTo>
                    <a:pt x="52" y="48"/>
                  </a:lnTo>
                  <a:lnTo>
                    <a:pt x="52" y="46"/>
                  </a:lnTo>
                  <a:lnTo>
                    <a:pt x="54" y="46"/>
                  </a:lnTo>
                  <a:lnTo>
                    <a:pt x="52" y="46"/>
                  </a:lnTo>
                  <a:lnTo>
                    <a:pt x="54" y="46"/>
                  </a:lnTo>
                  <a:lnTo>
                    <a:pt x="52" y="46"/>
                  </a:lnTo>
                  <a:lnTo>
                    <a:pt x="54" y="46"/>
                  </a:lnTo>
                  <a:lnTo>
                    <a:pt x="54" y="44"/>
                  </a:lnTo>
                  <a:lnTo>
                    <a:pt x="52" y="44"/>
                  </a:lnTo>
                  <a:lnTo>
                    <a:pt x="54" y="44"/>
                  </a:lnTo>
                  <a:lnTo>
                    <a:pt x="54" y="42"/>
                  </a:lnTo>
                  <a:lnTo>
                    <a:pt x="54" y="40"/>
                  </a:lnTo>
                  <a:lnTo>
                    <a:pt x="54" y="38"/>
                  </a:lnTo>
                  <a:lnTo>
                    <a:pt x="56" y="38"/>
                  </a:lnTo>
                  <a:lnTo>
                    <a:pt x="56" y="36"/>
                  </a:lnTo>
                  <a:lnTo>
                    <a:pt x="56" y="38"/>
                  </a:lnTo>
                  <a:lnTo>
                    <a:pt x="56" y="36"/>
                  </a:lnTo>
                  <a:lnTo>
                    <a:pt x="56" y="38"/>
                  </a:lnTo>
                  <a:lnTo>
                    <a:pt x="58" y="38"/>
                  </a:lnTo>
                  <a:lnTo>
                    <a:pt x="58" y="36"/>
                  </a:lnTo>
                  <a:close/>
                  <a:moveTo>
                    <a:pt x="125" y="169"/>
                  </a:moveTo>
                  <a:lnTo>
                    <a:pt x="127" y="169"/>
                  </a:lnTo>
                  <a:lnTo>
                    <a:pt x="127" y="171"/>
                  </a:lnTo>
                  <a:lnTo>
                    <a:pt x="127" y="169"/>
                  </a:lnTo>
                  <a:lnTo>
                    <a:pt x="127" y="171"/>
                  </a:lnTo>
                  <a:lnTo>
                    <a:pt x="127" y="169"/>
                  </a:lnTo>
                  <a:lnTo>
                    <a:pt x="127" y="171"/>
                  </a:lnTo>
                  <a:lnTo>
                    <a:pt x="127" y="169"/>
                  </a:lnTo>
                  <a:lnTo>
                    <a:pt x="127" y="171"/>
                  </a:lnTo>
                  <a:lnTo>
                    <a:pt x="127" y="169"/>
                  </a:lnTo>
                  <a:lnTo>
                    <a:pt x="127" y="171"/>
                  </a:lnTo>
                  <a:lnTo>
                    <a:pt x="127" y="169"/>
                  </a:lnTo>
                  <a:lnTo>
                    <a:pt x="127" y="171"/>
                  </a:lnTo>
                  <a:lnTo>
                    <a:pt x="129" y="171"/>
                  </a:lnTo>
                  <a:lnTo>
                    <a:pt x="127" y="171"/>
                  </a:lnTo>
                  <a:lnTo>
                    <a:pt x="129" y="171"/>
                  </a:lnTo>
                  <a:lnTo>
                    <a:pt x="127" y="171"/>
                  </a:lnTo>
                  <a:lnTo>
                    <a:pt x="129" y="171"/>
                  </a:lnTo>
                  <a:lnTo>
                    <a:pt x="127" y="171"/>
                  </a:lnTo>
                  <a:lnTo>
                    <a:pt x="129" y="171"/>
                  </a:lnTo>
                  <a:lnTo>
                    <a:pt x="127" y="171"/>
                  </a:lnTo>
                  <a:lnTo>
                    <a:pt x="129" y="171"/>
                  </a:lnTo>
                  <a:lnTo>
                    <a:pt x="127" y="171"/>
                  </a:lnTo>
                  <a:lnTo>
                    <a:pt x="129" y="171"/>
                  </a:lnTo>
                  <a:lnTo>
                    <a:pt x="127" y="171"/>
                  </a:lnTo>
                  <a:lnTo>
                    <a:pt x="129" y="171"/>
                  </a:lnTo>
                  <a:lnTo>
                    <a:pt x="127" y="171"/>
                  </a:lnTo>
                  <a:lnTo>
                    <a:pt x="129" y="171"/>
                  </a:lnTo>
                  <a:lnTo>
                    <a:pt x="127" y="171"/>
                  </a:lnTo>
                  <a:lnTo>
                    <a:pt x="129" y="171"/>
                  </a:lnTo>
                  <a:lnTo>
                    <a:pt x="129" y="173"/>
                  </a:lnTo>
                  <a:lnTo>
                    <a:pt x="131" y="173"/>
                  </a:lnTo>
                  <a:lnTo>
                    <a:pt x="129" y="173"/>
                  </a:lnTo>
                  <a:lnTo>
                    <a:pt x="131" y="173"/>
                  </a:lnTo>
                  <a:lnTo>
                    <a:pt x="133" y="173"/>
                  </a:lnTo>
                  <a:lnTo>
                    <a:pt x="133" y="175"/>
                  </a:lnTo>
                  <a:lnTo>
                    <a:pt x="133" y="176"/>
                  </a:lnTo>
                  <a:lnTo>
                    <a:pt x="133" y="175"/>
                  </a:lnTo>
                  <a:lnTo>
                    <a:pt x="135" y="175"/>
                  </a:lnTo>
                  <a:lnTo>
                    <a:pt x="133" y="175"/>
                  </a:lnTo>
                  <a:lnTo>
                    <a:pt x="133" y="176"/>
                  </a:lnTo>
                  <a:lnTo>
                    <a:pt x="135" y="176"/>
                  </a:lnTo>
                  <a:lnTo>
                    <a:pt x="133" y="176"/>
                  </a:lnTo>
                  <a:lnTo>
                    <a:pt x="135" y="176"/>
                  </a:lnTo>
                  <a:lnTo>
                    <a:pt x="135" y="178"/>
                  </a:lnTo>
                  <a:lnTo>
                    <a:pt x="135" y="176"/>
                  </a:lnTo>
                  <a:lnTo>
                    <a:pt x="137" y="176"/>
                  </a:lnTo>
                  <a:lnTo>
                    <a:pt x="137" y="178"/>
                  </a:lnTo>
                  <a:lnTo>
                    <a:pt x="137" y="180"/>
                  </a:lnTo>
                  <a:lnTo>
                    <a:pt x="138" y="180"/>
                  </a:lnTo>
                  <a:lnTo>
                    <a:pt x="138" y="182"/>
                  </a:lnTo>
                  <a:lnTo>
                    <a:pt x="138" y="184"/>
                  </a:lnTo>
                  <a:lnTo>
                    <a:pt x="137" y="184"/>
                  </a:lnTo>
                  <a:lnTo>
                    <a:pt x="137" y="186"/>
                  </a:lnTo>
                  <a:lnTo>
                    <a:pt x="135" y="186"/>
                  </a:lnTo>
                  <a:lnTo>
                    <a:pt x="135" y="188"/>
                  </a:lnTo>
                  <a:lnTo>
                    <a:pt x="137" y="188"/>
                  </a:lnTo>
                  <a:lnTo>
                    <a:pt x="135" y="188"/>
                  </a:lnTo>
                  <a:lnTo>
                    <a:pt x="137" y="188"/>
                  </a:lnTo>
                  <a:lnTo>
                    <a:pt x="135" y="188"/>
                  </a:lnTo>
                  <a:lnTo>
                    <a:pt x="137" y="188"/>
                  </a:lnTo>
                  <a:lnTo>
                    <a:pt x="135" y="188"/>
                  </a:lnTo>
                  <a:lnTo>
                    <a:pt x="137" y="188"/>
                  </a:lnTo>
                  <a:lnTo>
                    <a:pt x="135" y="188"/>
                  </a:lnTo>
                  <a:lnTo>
                    <a:pt x="137" y="188"/>
                  </a:lnTo>
                  <a:lnTo>
                    <a:pt x="135" y="188"/>
                  </a:lnTo>
                  <a:lnTo>
                    <a:pt x="137" y="188"/>
                  </a:lnTo>
                  <a:lnTo>
                    <a:pt x="138" y="188"/>
                  </a:lnTo>
                  <a:lnTo>
                    <a:pt x="140" y="188"/>
                  </a:lnTo>
                  <a:lnTo>
                    <a:pt x="140" y="190"/>
                  </a:lnTo>
                  <a:lnTo>
                    <a:pt x="138" y="190"/>
                  </a:lnTo>
                  <a:lnTo>
                    <a:pt x="138" y="192"/>
                  </a:lnTo>
                  <a:lnTo>
                    <a:pt x="138" y="190"/>
                  </a:lnTo>
                  <a:lnTo>
                    <a:pt x="138" y="192"/>
                  </a:lnTo>
                  <a:lnTo>
                    <a:pt x="140" y="192"/>
                  </a:lnTo>
                  <a:lnTo>
                    <a:pt x="138" y="192"/>
                  </a:lnTo>
                  <a:lnTo>
                    <a:pt x="140" y="192"/>
                  </a:lnTo>
                  <a:lnTo>
                    <a:pt x="138" y="192"/>
                  </a:lnTo>
                  <a:lnTo>
                    <a:pt x="138" y="194"/>
                  </a:lnTo>
                  <a:lnTo>
                    <a:pt x="140" y="194"/>
                  </a:lnTo>
                  <a:lnTo>
                    <a:pt x="140" y="192"/>
                  </a:lnTo>
                  <a:lnTo>
                    <a:pt x="140" y="194"/>
                  </a:lnTo>
                  <a:lnTo>
                    <a:pt x="140" y="196"/>
                  </a:lnTo>
                  <a:lnTo>
                    <a:pt x="140" y="198"/>
                  </a:lnTo>
                  <a:lnTo>
                    <a:pt x="140" y="196"/>
                  </a:lnTo>
                  <a:lnTo>
                    <a:pt x="140" y="198"/>
                  </a:lnTo>
                  <a:lnTo>
                    <a:pt x="138" y="198"/>
                  </a:lnTo>
                  <a:lnTo>
                    <a:pt x="140" y="198"/>
                  </a:lnTo>
                  <a:lnTo>
                    <a:pt x="138" y="198"/>
                  </a:lnTo>
                  <a:lnTo>
                    <a:pt x="140" y="198"/>
                  </a:lnTo>
                  <a:lnTo>
                    <a:pt x="140" y="200"/>
                  </a:lnTo>
                  <a:lnTo>
                    <a:pt x="142" y="200"/>
                  </a:lnTo>
                  <a:lnTo>
                    <a:pt x="142" y="201"/>
                  </a:lnTo>
                  <a:lnTo>
                    <a:pt x="142" y="203"/>
                  </a:lnTo>
                  <a:lnTo>
                    <a:pt x="142" y="205"/>
                  </a:lnTo>
                  <a:lnTo>
                    <a:pt x="142" y="207"/>
                  </a:lnTo>
                  <a:lnTo>
                    <a:pt x="142" y="209"/>
                  </a:lnTo>
                  <a:lnTo>
                    <a:pt x="140" y="209"/>
                  </a:lnTo>
                  <a:lnTo>
                    <a:pt x="140" y="211"/>
                  </a:lnTo>
                  <a:lnTo>
                    <a:pt x="138" y="211"/>
                  </a:lnTo>
                  <a:lnTo>
                    <a:pt x="138" y="213"/>
                  </a:lnTo>
                  <a:lnTo>
                    <a:pt x="138" y="211"/>
                  </a:lnTo>
                  <a:lnTo>
                    <a:pt x="138" y="213"/>
                  </a:lnTo>
                  <a:lnTo>
                    <a:pt x="138" y="211"/>
                  </a:lnTo>
                  <a:lnTo>
                    <a:pt x="138" y="213"/>
                  </a:lnTo>
                  <a:lnTo>
                    <a:pt x="138" y="211"/>
                  </a:lnTo>
                  <a:lnTo>
                    <a:pt x="137" y="211"/>
                  </a:lnTo>
                  <a:lnTo>
                    <a:pt x="137" y="213"/>
                  </a:lnTo>
                  <a:lnTo>
                    <a:pt x="137" y="215"/>
                  </a:lnTo>
                  <a:lnTo>
                    <a:pt x="138" y="215"/>
                  </a:lnTo>
                  <a:lnTo>
                    <a:pt x="137" y="215"/>
                  </a:lnTo>
                  <a:lnTo>
                    <a:pt x="137" y="217"/>
                  </a:lnTo>
                  <a:lnTo>
                    <a:pt x="137" y="219"/>
                  </a:lnTo>
                  <a:lnTo>
                    <a:pt x="137" y="217"/>
                  </a:lnTo>
                  <a:lnTo>
                    <a:pt x="137" y="219"/>
                  </a:lnTo>
                  <a:lnTo>
                    <a:pt x="137" y="221"/>
                  </a:lnTo>
                  <a:lnTo>
                    <a:pt x="137" y="219"/>
                  </a:lnTo>
                  <a:lnTo>
                    <a:pt x="135" y="219"/>
                  </a:lnTo>
                  <a:lnTo>
                    <a:pt x="137" y="219"/>
                  </a:lnTo>
                  <a:lnTo>
                    <a:pt x="135" y="219"/>
                  </a:lnTo>
                  <a:lnTo>
                    <a:pt x="135" y="217"/>
                  </a:lnTo>
                  <a:lnTo>
                    <a:pt x="135" y="215"/>
                  </a:lnTo>
                  <a:lnTo>
                    <a:pt x="135" y="213"/>
                  </a:lnTo>
                  <a:lnTo>
                    <a:pt x="133" y="213"/>
                  </a:lnTo>
                  <a:lnTo>
                    <a:pt x="133" y="211"/>
                  </a:lnTo>
                  <a:lnTo>
                    <a:pt x="135" y="211"/>
                  </a:lnTo>
                  <a:lnTo>
                    <a:pt x="133" y="211"/>
                  </a:lnTo>
                  <a:lnTo>
                    <a:pt x="135" y="211"/>
                  </a:lnTo>
                  <a:lnTo>
                    <a:pt x="133" y="211"/>
                  </a:lnTo>
                  <a:lnTo>
                    <a:pt x="135" y="211"/>
                  </a:lnTo>
                  <a:lnTo>
                    <a:pt x="133" y="211"/>
                  </a:lnTo>
                  <a:lnTo>
                    <a:pt x="135" y="211"/>
                  </a:lnTo>
                  <a:lnTo>
                    <a:pt x="133" y="211"/>
                  </a:lnTo>
                  <a:lnTo>
                    <a:pt x="135" y="211"/>
                  </a:lnTo>
                  <a:lnTo>
                    <a:pt x="133" y="211"/>
                  </a:lnTo>
                  <a:lnTo>
                    <a:pt x="133" y="209"/>
                  </a:lnTo>
                  <a:lnTo>
                    <a:pt x="133" y="207"/>
                  </a:lnTo>
                  <a:lnTo>
                    <a:pt x="131" y="207"/>
                  </a:lnTo>
                  <a:lnTo>
                    <a:pt x="131" y="205"/>
                  </a:lnTo>
                  <a:lnTo>
                    <a:pt x="129" y="205"/>
                  </a:lnTo>
                  <a:lnTo>
                    <a:pt x="129" y="207"/>
                  </a:lnTo>
                  <a:lnTo>
                    <a:pt x="129" y="205"/>
                  </a:lnTo>
                  <a:lnTo>
                    <a:pt x="129" y="207"/>
                  </a:lnTo>
                  <a:lnTo>
                    <a:pt x="129" y="205"/>
                  </a:lnTo>
                  <a:lnTo>
                    <a:pt x="129" y="207"/>
                  </a:lnTo>
                  <a:lnTo>
                    <a:pt x="129" y="209"/>
                  </a:lnTo>
                  <a:lnTo>
                    <a:pt x="129" y="211"/>
                  </a:lnTo>
                  <a:lnTo>
                    <a:pt x="129" y="209"/>
                  </a:lnTo>
                  <a:lnTo>
                    <a:pt x="129" y="211"/>
                  </a:lnTo>
                  <a:lnTo>
                    <a:pt x="127" y="211"/>
                  </a:lnTo>
                  <a:lnTo>
                    <a:pt x="127" y="209"/>
                  </a:lnTo>
                  <a:lnTo>
                    <a:pt x="127" y="211"/>
                  </a:lnTo>
                  <a:lnTo>
                    <a:pt x="127" y="213"/>
                  </a:lnTo>
                  <a:lnTo>
                    <a:pt x="125" y="213"/>
                  </a:lnTo>
                  <a:lnTo>
                    <a:pt x="125" y="215"/>
                  </a:lnTo>
                  <a:lnTo>
                    <a:pt x="125" y="217"/>
                  </a:lnTo>
                  <a:lnTo>
                    <a:pt x="127" y="217"/>
                  </a:lnTo>
                  <a:lnTo>
                    <a:pt x="127" y="219"/>
                  </a:lnTo>
                  <a:lnTo>
                    <a:pt x="127" y="217"/>
                  </a:lnTo>
                  <a:lnTo>
                    <a:pt x="127" y="219"/>
                  </a:lnTo>
                  <a:lnTo>
                    <a:pt x="129" y="219"/>
                  </a:lnTo>
                  <a:lnTo>
                    <a:pt x="127" y="219"/>
                  </a:lnTo>
                  <a:lnTo>
                    <a:pt x="129" y="219"/>
                  </a:lnTo>
                  <a:lnTo>
                    <a:pt x="129" y="221"/>
                  </a:lnTo>
                  <a:lnTo>
                    <a:pt x="129" y="223"/>
                  </a:lnTo>
                  <a:lnTo>
                    <a:pt x="129" y="225"/>
                  </a:lnTo>
                  <a:lnTo>
                    <a:pt x="129" y="226"/>
                  </a:lnTo>
                  <a:lnTo>
                    <a:pt x="129" y="228"/>
                  </a:lnTo>
                  <a:lnTo>
                    <a:pt x="127" y="228"/>
                  </a:lnTo>
                  <a:lnTo>
                    <a:pt x="127" y="230"/>
                  </a:lnTo>
                  <a:lnTo>
                    <a:pt x="125" y="230"/>
                  </a:lnTo>
                  <a:lnTo>
                    <a:pt x="125" y="232"/>
                  </a:lnTo>
                  <a:lnTo>
                    <a:pt x="123" y="232"/>
                  </a:lnTo>
                  <a:lnTo>
                    <a:pt x="123" y="230"/>
                  </a:lnTo>
                  <a:lnTo>
                    <a:pt x="123" y="228"/>
                  </a:lnTo>
                  <a:lnTo>
                    <a:pt x="121" y="228"/>
                  </a:lnTo>
                  <a:lnTo>
                    <a:pt x="123" y="228"/>
                  </a:lnTo>
                  <a:lnTo>
                    <a:pt x="123" y="226"/>
                  </a:lnTo>
                  <a:lnTo>
                    <a:pt x="123" y="225"/>
                  </a:lnTo>
                  <a:lnTo>
                    <a:pt x="121" y="225"/>
                  </a:lnTo>
                  <a:lnTo>
                    <a:pt x="121" y="226"/>
                  </a:lnTo>
                  <a:lnTo>
                    <a:pt x="121" y="228"/>
                  </a:lnTo>
                  <a:lnTo>
                    <a:pt x="119" y="228"/>
                  </a:lnTo>
                  <a:lnTo>
                    <a:pt x="117" y="228"/>
                  </a:lnTo>
                  <a:lnTo>
                    <a:pt x="117" y="226"/>
                  </a:lnTo>
                  <a:lnTo>
                    <a:pt x="115" y="226"/>
                  </a:lnTo>
                  <a:lnTo>
                    <a:pt x="113" y="226"/>
                  </a:lnTo>
                  <a:lnTo>
                    <a:pt x="113" y="225"/>
                  </a:lnTo>
                  <a:lnTo>
                    <a:pt x="112" y="225"/>
                  </a:lnTo>
                  <a:lnTo>
                    <a:pt x="110" y="225"/>
                  </a:lnTo>
                  <a:lnTo>
                    <a:pt x="110" y="223"/>
                  </a:lnTo>
                  <a:lnTo>
                    <a:pt x="108" y="223"/>
                  </a:lnTo>
                  <a:lnTo>
                    <a:pt x="108" y="221"/>
                  </a:lnTo>
                  <a:lnTo>
                    <a:pt x="106" y="221"/>
                  </a:lnTo>
                  <a:lnTo>
                    <a:pt x="106" y="219"/>
                  </a:lnTo>
                  <a:lnTo>
                    <a:pt x="106" y="221"/>
                  </a:lnTo>
                  <a:lnTo>
                    <a:pt x="106" y="219"/>
                  </a:lnTo>
                  <a:lnTo>
                    <a:pt x="106" y="217"/>
                  </a:lnTo>
                  <a:lnTo>
                    <a:pt x="106" y="219"/>
                  </a:lnTo>
                  <a:lnTo>
                    <a:pt x="106" y="217"/>
                  </a:lnTo>
                  <a:lnTo>
                    <a:pt x="106" y="215"/>
                  </a:lnTo>
                  <a:lnTo>
                    <a:pt x="104" y="215"/>
                  </a:lnTo>
                  <a:lnTo>
                    <a:pt x="106" y="215"/>
                  </a:lnTo>
                  <a:lnTo>
                    <a:pt x="104" y="215"/>
                  </a:lnTo>
                  <a:lnTo>
                    <a:pt x="106" y="215"/>
                  </a:lnTo>
                  <a:lnTo>
                    <a:pt x="106" y="213"/>
                  </a:lnTo>
                  <a:lnTo>
                    <a:pt x="104" y="213"/>
                  </a:lnTo>
                  <a:lnTo>
                    <a:pt x="104" y="215"/>
                  </a:lnTo>
                  <a:lnTo>
                    <a:pt x="104" y="213"/>
                  </a:lnTo>
                  <a:lnTo>
                    <a:pt x="104" y="211"/>
                  </a:lnTo>
                  <a:lnTo>
                    <a:pt x="104" y="209"/>
                  </a:lnTo>
                  <a:lnTo>
                    <a:pt x="106" y="209"/>
                  </a:lnTo>
                  <a:lnTo>
                    <a:pt x="108" y="209"/>
                  </a:lnTo>
                  <a:lnTo>
                    <a:pt x="108" y="207"/>
                  </a:lnTo>
                  <a:lnTo>
                    <a:pt x="108" y="205"/>
                  </a:lnTo>
                  <a:lnTo>
                    <a:pt x="106" y="205"/>
                  </a:lnTo>
                  <a:lnTo>
                    <a:pt x="106" y="203"/>
                  </a:lnTo>
                  <a:lnTo>
                    <a:pt x="106" y="201"/>
                  </a:lnTo>
                  <a:lnTo>
                    <a:pt x="104" y="201"/>
                  </a:lnTo>
                  <a:lnTo>
                    <a:pt x="104" y="200"/>
                  </a:lnTo>
                  <a:lnTo>
                    <a:pt x="102" y="200"/>
                  </a:lnTo>
                  <a:lnTo>
                    <a:pt x="100" y="200"/>
                  </a:lnTo>
                  <a:lnTo>
                    <a:pt x="100" y="198"/>
                  </a:lnTo>
                  <a:lnTo>
                    <a:pt x="98" y="198"/>
                  </a:lnTo>
                  <a:lnTo>
                    <a:pt x="96" y="198"/>
                  </a:lnTo>
                  <a:lnTo>
                    <a:pt x="96" y="200"/>
                  </a:lnTo>
                  <a:lnTo>
                    <a:pt x="96" y="201"/>
                  </a:lnTo>
                  <a:lnTo>
                    <a:pt x="96" y="200"/>
                  </a:lnTo>
                  <a:lnTo>
                    <a:pt x="96" y="201"/>
                  </a:lnTo>
                  <a:lnTo>
                    <a:pt x="96" y="203"/>
                  </a:lnTo>
                  <a:lnTo>
                    <a:pt x="96" y="201"/>
                  </a:lnTo>
                  <a:lnTo>
                    <a:pt x="94" y="201"/>
                  </a:lnTo>
                  <a:lnTo>
                    <a:pt x="96" y="201"/>
                  </a:lnTo>
                  <a:lnTo>
                    <a:pt x="94" y="201"/>
                  </a:lnTo>
                  <a:lnTo>
                    <a:pt x="94" y="203"/>
                  </a:lnTo>
                  <a:lnTo>
                    <a:pt x="94" y="201"/>
                  </a:lnTo>
                  <a:lnTo>
                    <a:pt x="94" y="203"/>
                  </a:lnTo>
                  <a:lnTo>
                    <a:pt x="96" y="203"/>
                  </a:lnTo>
                  <a:lnTo>
                    <a:pt x="96" y="205"/>
                  </a:lnTo>
                  <a:lnTo>
                    <a:pt x="96" y="203"/>
                  </a:lnTo>
                  <a:lnTo>
                    <a:pt x="96" y="205"/>
                  </a:lnTo>
                  <a:lnTo>
                    <a:pt x="94" y="205"/>
                  </a:lnTo>
                  <a:lnTo>
                    <a:pt x="94" y="203"/>
                  </a:lnTo>
                  <a:lnTo>
                    <a:pt x="92" y="203"/>
                  </a:lnTo>
                  <a:lnTo>
                    <a:pt x="92" y="201"/>
                  </a:lnTo>
                  <a:lnTo>
                    <a:pt x="90" y="201"/>
                  </a:lnTo>
                  <a:lnTo>
                    <a:pt x="92" y="201"/>
                  </a:lnTo>
                  <a:lnTo>
                    <a:pt x="92" y="200"/>
                  </a:lnTo>
                  <a:lnTo>
                    <a:pt x="90" y="200"/>
                  </a:lnTo>
                  <a:lnTo>
                    <a:pt x="90" y="201"/>
                  </a:lnTo>
                  <a:lnTo>
                    <a:pt x="90" y="203"/>
                  </a:lnTo>
                  <a:lnTo>
                    <a:pt x="89" y="203"/>
                  </a:lnTo>
                  <a:lnTo>
                    <a:pt x="87" y="203"/>
                  </a:lnTo>
                  <a:lnTo>
                    <a:pt x="87" y="205"/>
                  </a:lnTo>
                  <a:lnTo>
                    <a:pt x="87" y="203"/>
                  </a:lnTo>
                  <a:lnTo>
                    <a:pt x="87" y="201"/>
                  </a:lnTo>
                  <a:lnTo>
                    <a:pt x="87" y="203"/>
                  </a:lnTo>
                  <a:lnTo>
                    <a:pt x="87" y="201"/>
                  </a:lnTo>
                  <a:lnTo>
                    <a:pt x="87" y="200"/>
                  </a:lnTo>
                  <a:lnTo>
                    <a:pt x="85" y="200"/>
                  </a:lnTo>
                  <a:lnTo>
                    <a:pt x="83" y="200"/>
                  </a:lnTo>
                  <a:lnTo>
                    <a:pt x="85" y="200"/>
                  </a:lnTo>
                  <a:lnTo>
                    <a:pt x="83" y="200"/>
                  </a:lnTo>
                  <a:lnTo>
                    <a:pt x="83" y="201"/>
                  </a:lnTo>
                  <a:lnTo>
                    <a:pt x="83" y="200"/>
                  </a:lnTo>
                  <a:lnTo>
                    <a:pt x="83" y="201"/>
                  </a:lnTo>
                  <a:lnTo>
                    <a:pt x="81" y="201"/>
                  </a:lnTo>
                  <a:lnTo>
                    <a:pt x="83" y="201"/>
                  </a:lnTo>
                  <a:lnTo>
                    <a:pt x="81" y="201"/>
                  </a:lnTo>
                  <a:lnTo>
                    <a:pt x="83" y="201"/>
                  </a:lnTo>
                  <a:lnTo>
                    <a:pt x="81" y="201"/>
                  </a:lnTo>
                  <a:lnTo>
                    <a:pt x="83" y="201"/>
                  </a:lnTo>
                  <a:lnTo>
                    <a:pt x="83" y="203"/>
                  </a:lnTo>
                  <a:lnTo>
                    <a:pt x="83" y="201"/>
                  </a:lnTo>
                  <a:lnTo>
                    <a:pt x="83" y="203"/>
                  </a:lnTo>
                  <a:lnTo>
                    <a:pt x="81" y="203"/>
                  </a:lnTo>
                  <a:lnTo>
                    <a:pt x="83" y="203"/>
                  </a:lnTo>
                  <a:lnTo>
                    <a:pt x="81" y="203"/>
                  </a:lnTo>
                  <a:lnTo>
                    <a:pt x="83" y="203"/>
                  </a:lnTo>
                  <a:lnTo>
                    <a:pt x="81" y="203"/>
                  </a:lnTo>
                  <a:lnTo>
                    <a:pt x="83" y="203"/>
                  </a:lnTo>
                  <a:lnTo>
                    <a:pt x="81" y="203"/>
                  </a:lnTo>
                  <a:lnTo>
                    <a:pt x="81" y="205"/>
                  </a:lnTo>
                  <a:lnTo>
                    <a:pt x="79" y="205"/>
                  </a:lnTo>
                  <a:lnTo>
                    <a:pt x="81" y="205"/>
                  </a:lnTo>
                  <a:lnTo>
                    <a:pt x="79" y="205"/>
                  </a:lnTo>
                  <a:lnTo>
                    <a:pt x="81" y="205"/>
                  </a:lnTo>
                  <a:lnTo>
                    <a:pt x="79" y="205"/>
                  </a:lnTo>
                  <a:lnTo>
                    <a:pt x="79" y="207"/>
                  </a:lnTo>
                  <a:lnTo>
                    <a:pt x="79" y="209"/>
                  </a:lnTo>
                  <a:lnTo>
                    <a:pt x="79" y="207"/>
                  </a:lnTo>
                  <a:lnTo>
                    <a:pt x="79" y="209"/>
                  </a:lnTo>
                  <a:lnTo>
                    <a:pt x="79" y="207"/>
                  </a:lnTo>
                  <a:lnTo>
                    <a:pt x="79" y="209"/>
                  </a:lnTo>
                  <a:lnTo>
                    <a:pt x="79" y="211"/>
                  </a:lnTo>
                  <a:lnTo>
                    <a:pt x="79" y="209"/>
                  </a:lnTo>
                  <a:lnTo>
                    <a:pt x="79" y="211"/>
                  </a:lnTo>
                  <a:lnTo>
                    <a:pt x="77" y="211"/>
                  </a:lnTo>
                  <a:lnTo>
                    <a:pt x="79" y="211"/>
                  </a:lnTo>
                  <a:lnTo>
                    <a:pt x="77" y="211"/>
                  </a:lnTo>
                  <a:lnTo>
                    <a:pt x="79" y="211"/>
                  </a:lnTo>
                  <a:lnTo>
                    <a:pt x="77" y="211"/>
                  </a:lnTo>
                  <a:lnTo>
                    <a:pt x="79" y="211"/>
                  </a:lnTo>
                  <a:lnTo>
                    <a:pt x="77" y="211"/>
                  </a:lnTo>
                  <a:lnTo>
                    <a:pt x="77" y="213"/>
                  </a:lnTo>
                  <a:lnTo>
                    <a:pt x="75" y="213"/>
                  </a:lnTo>
                  <a:lnTo>
                    <a:pt x="75" y="211"/>
                  </a:lnTo>
                  <a:lnTo>
                    <a:pt x="73" y="211"/>
                  </a:lnTo>
                  <a:lnTo>
                    <a:pt x="73" y="209"/>
                  </a:lnTo>
                  <a:lnTo>
                    <a:pt x="73" y="207"/>
                  </a:lnTo>
                  <a:lnTo>
                    <a:pt x="75" y="207"/>
                  </a:lnTo>
                  <a:lnTo>
                    <a:pt x="77" y="207"/>
                  </a:lnTo>
                  <a:lnTo>
                    <a:pt x="77" y="205"/>
                  </a:lnTo>
                  <a:lnTo>
                    <a:pt x="75" y="205"/>
                  </a:lnTo>
                  <a:lnTo>
                    <a:pt x="77" y="205"/>
                  </a:lnTo>
                  <a:lnTo>
                    <a:pt x="75" y="205"/>
                  </a:lnTo>
                  <a:lnTo>
                    <a:pt x="77" y="205"/>
                  </a:lnTo>
                  <a:lnTo>
                    <a:pt x="77" y="203"/>
                  </a:lnTo>
                  <a:lnTo>
                    <a:pt x="77" y="201"/>
                  </a:lnTo>
                  <a:lnTo>
                    <a:pt x="77" y="200"/>
                  </a:lnTo>
                  <a:lnTo>
                    <a:pt x="77" y="198"/>
                  </a:lnTo>
                  <a:lnTo>
                    <a:pt x="79" y="198"/>
                  </a:lnTo>
                  <a:lnTo>
                    <a:pt x="79" y="196"/>
                  </a:lnTo>
                  <a:lnTo>
                    <a:pt x="81" y="196"/>
                  </a:lnTo>
                  <a:lnTo>
                    <a:pt x="83" y="196"/>
                  </a:lnTo>
                  <a:lnTo>
                    <a:pt x="85" y="196"/>
                  </a:lnTo>
                  <a:lnTo>
                    <a:pt x="85" y="194"/>
                  </a:lnTo>
                  <a:lnTo>
                    <a:pt x="87" y="194"/>
                  </a:lnTo>
                  <a:lnTo>
                    <a:pt x="89" y="194"/>
                  </a:lnTo>
                  <a:lnTo>
                    <a:pt x="90" y="194"/>
                  </a:lnTo>
                  <a:lnTo>
                    <a:pt x="90" y="192"/>
                  </a:lnTo>
                  <a:lnTo>
                    <a:pt x="89" y="192"/>
                  </a:lnTo>
                  <a:lnTo>
                    <a:pt x="90" y="192"/>
                  </a:lnTo>
                  <a:lnTo>
                    <a:pt x="90" y="190"/>
                  </a:lnTo>
                  <a:lnTo>
                    <a:pt x="90" y="188"/>
                  </a:lnTo>
                  <a:lnTo>
                    <a:pt x="92" y="188"/>
                  </a:lnTo>
                  <a:lnTo>
                    <a:pt x="94" y="188"/>
                  </a:lnTo>
                  <a:lnTo>
                    <a:pt x="94" y="186"/>
                  </a:lnTo>
                  <a:lnTo>
                    <a:pt x="96" y="186"/>
                  </a:lnTo>
                  <a:lnTo>
                    <a:pt x="98" y="186"/>
                  </a:lnTo>
                  <a:lnTo>
                    <a:pt x="96" y="186"/>
                  </a:lnTo>
                  <a:lnTo>
                    <a:pt x="98" y="186"/>
                  </a:lnTo>
                  <a:lnTo>
                    <a:pt x="98" y="188"/>
                  </a:lnTo>
                  <a:lnTo>
                    <a:pt x="98" y="186"/>
                  </a:lnTo>
                  <a:lnTo>
                    <a:pt x="100" y="186"/>
                  </a:lnTo>
                  <a:lnTo>
                    <a:pt x="100" y="188"/>
                  </a:lnTo>
                  <a:lnTo>
                    <a:pt x="100" y="186"/>
                  </a:lnTo>
                  <a:lnTo>
                    <a:pt x="100" y="188"/>
                  </a:lnTo>
                  <a:lnTo>
                    <a:pt x="100" y="186"/>
                  </a:lnTo>
                  <a:lnTo>
                    <a:pt x="100" y="188"/>
                  </a:lnTo>
                  <a:lnTo>
                    <a:pt x="100" y="186"/>
                  </a:lnTo>
                  <a:lnTo>
                    <a:pt x="100" y="188"/>
                  </a:lnTo>
                  <a:lnTo>
                    <a:pt x="100" y="186"/>
                  </a:lnTo>
                  <a:lnTo>
                    <a:pt x="100" y="188"/>
                  </a:lnTo>
                  <a:lnTo>
                    <a:pt x="100" y="186"/>
                  </a:lnTo>
                  <a:lnTo>
                    <a:pt x="100" y="188"/>
                  </a:lnTo>
                  <a:lnTo>
                    <a:pt x="102" y="188"/>
                  </a:lnTo>
                  <a:lnTo>
                    <a:pt x="102" y="190"/>
                  </a:lnTo>
                  <a:lnTo>
                    <a:pt x="102" y="192"/>
                  </a:lnTo>
                  <a:lnTo>
                    <a:pt x="102" y="194"/>
                  </a:lnTo>
                  <a:lnTo>
                    <a:pt x="102" y="196"/>
                  </a:lnTo>
                  <a:lnTo>
                    <a:pt x="100" y="196"/>
                  </a:lnTo>
                  <a:lnTo>
                    <a:pt x="100" y="198"/>
                  </a:lnTo>
                  <a:lnTo>
                    <a:pt x="100" y="196"/>
                  </a:lnTo>
                  <a:lnTo>
                    <a:pt x="102" y="196"/>
                  </a:lnTo>
                  <a:lnTo>
                    <a:pt x="102" y="194"/>
                  </a:lnTo>
                  <a:lnTo>
                    <a:pt x="102" y="196"/>
                  </a:lnTo>
                  <a:lnTo>
                    <a:pt x="102" y="194"/>
                  </a:lnTo>
                  <a:lnTo>
                    <a:pt x="102" y="196"/>
                  </a:lnTo>
                  <a:lnTo>
                    <a:pt x="102" y="194"/>
                  </a:lnTo>
                  <a:lnTo>
                    <a:pt x="102" y="196"/>
                  </a:lnTo>
                  <a:lnTo>
                    <a:pt x="102" y="194"/>
                  </a:lnTo>
                  <a:lnTo>
                    <a:pt x="102" y="196"/>
                  </a:lnTo>
                  <a:lnTo>
                    <a:pt x="102" y="194"/>
                  </a:lnTo>
                  <a:lnTo>
                    <a:pt x="102" y="196"/>
                  </a:lnTo>
                  <a:lnTo>
                    <a:pt x="102" y="194"/>
                  </a:lnTo>
                  <a:lnTo>
                    <a:pt x="102" y="196"/>
                  </a:lnTo>
                  <a:lnTo>
                    <a:pt x="102" y="194"/>
                  </a:lnTo>
                  <a:lnTo>
                    <a:pt x="102" y="196"/>
                  </a:lnTo>
                  <a:lnTo>
                    <a:pt x="102" y="194"/>
                  </a:lnTo>
                  <a:lnTo>
                    <a:pt x="102" y="196"/>
                  </a:lnTo>
                  <a:lnTo>
                    <a:pt x="102" y="194"/>
                  </a:lnTo>
                  <a:lnTo>
                    <a:pt x="102" y="196"/>
                  </a:lnTo>
                  <a:lnTo>
                    <a:pt x="102" y="194"/>
                  </a:lnTo>
                  <a:lnTo>
                    <a:pt x="104" y="194"/>
                  </a:lnTo>
                  <a:lnTo>
                    <a:pt x="106" y="194"/>
                  </a:lnTo>
                  <a:lnTo>
                    <a:pt x="108" y="194"/>
                  </a:lnTo>
                  <a:lnTo>
                    <a:pt x="108" y="192"/>
                  </a:lnTo>
                  <a:lnTo>
                    <a:pt x="108" y="190"/>
                  </a:lnTo>
                  <a:lnTo>
                    <a:pt x="110" y="190"/>
                  </a:lnTo>
                  <a:lnTo>
                    <a:pt x="110" y="188"/>
                  </a:lnTo>
                  <a:lnTo>
                    <a:pt x="112" y="188"/>
                  </a:lnTo>
                  <a:lnTo>
                    <a:pt x="112" y="186"/>
                  </a:lnTo>
                  <a:lnTo>
                    <a:pt x="112" y="188"/>
                  </a:lnTo>
                  <a:lnTo>
                    <a:pt x="113" y="188"/>
                  </a:lnTo>
                  <a:lnTo>
                    <a:pt x="115" y="188"/>
                  </a:lnTo>
                  <a:lnTo>
                    <a:pt x="115" y="190"/>
                  </a:lnTo>
                  <a:lnTo>
                    <a:pt x="115" y="188"/>
                  </a:lnTo>
                  <a:lnTo>
                    <a:pt x="115" y="190"/>
                  </a:lnTo>
                  <a:lnTo>
                    <a:pt x="115" y="188"/>
                  </a:lnTo>
                  <a:lnTo>
                    <a:pt x="115" y="186"/>
                  </a:lnTo>
                  <a:lnTo>
                    <a:pt x="115" y="184"/>
                  </a:lnTo>
                  <a:lnTo>
                    <a:pt x="115" y="182"/>
                  </a:lnTo>
                  <a:lnTo>
                    <a:pt x="115" y="180"/>
                  </a:lnTo>
                  <a:lnTo>
                    <a:pt x="117" y="180"/>
                  </a:lnTo>
                  <a:lnTo>
                    <a:pt x="117" y="182"/>
                  </a:lnTo>
                  <a:lnTo>
                    <a:pt x="119" y="182"/>
                  </a:lnTo>
                  <a:lnTo>
                    <a:pt x="119" y="184"/>
                  </a:lnTo>
                  <a:lnTo>
                    <a:pt x="121" y="184"/>
                  </a:lnTo>
                  <a:lnTo>
                    <a:pt x="119" y="184"/>
                  </a:lnTo>
                  <a:lnTo>
                    <a:pt x="121" y="184"/>
                  </a:lnTo>
                  <a:lnTo>
                    <a:pt x="121" y="182"/>
                  </a:lnTo>
                  <a:lnTo>
                    <a:pt x="121" y="180"/>
                  </a:lnTo>
                  <a:lnTo>
                    <a:pt x="123" y="180"/>
                  </a:lnTo>
                  <a:lnTo>
                    <a:pt x="123" y="182"/>
                  </a:lnTo>
                  <a:lnTo>
                    <a:pt x="125" y="182"/>
                  </a:lnTo>
                  <a:lnTo>
                    <a:pt x="123" y="182"/>
                  </a:lnTo>
                  <a:lnTo>
                    <a:pt x="125" y="182"/>
                  </a:lnTo>
                  <a:lnTo>
                    <a:pt x="123" y="182"/>
                  </a:lnTo>
                  <a:lnTo>
                    <a:pt x="125" y="182"/>
                  </a:lnTo>
                  <a:lnTo>
                    <a:pt x="123" y="182"/>
                  </a:lnTo>
                  <a:lnTo>
                    <a:pt x="125" y="182"/>
                  </a:lnTo>
                  <a:lnTo>
                    <a:pt x="123" y="182"/>
                  </a:lnTo>
                  <a:lnTo>
                    <a:pt x="125" y="182"/>
                  </a:lnTo>
                  <a:lnTo>
                    <a:pt x="127" y="182"/>
                  </a:lnTo>
                  <a:lnTo>
                    <a:pt x="127" y="180"/>
                  </a:lnTo>
                  <a:lnTo>
                    <a:pt x="127" y="178"/>
                  </a:lnTo>
                  <a:lnTo>
                    <a:pt x="127" y="176"/>
                  </a:lnTo>
                  <a:lnTo>
                    <a:pt x="127" y="175"/>
                  </a:lnTo>
                  <a:lnTo>
                    <a:pt x="125" y="175"/>
                  </a:lnTo>
                  <a:lnTo>
                    <a:pt x="127" y="175"/>
                  </a:lnTo>
                  <a:lnTo>
                    <a:pt x="125" y="175"/>
                  </a:lnTo>
                  <a:lnTo>
                    <a:pt x="125" y="173"/>
                  </a:lnTo>
                  <a:lnTo>
                    <a:pt x="125" y="171"/>
                  </a:lnTo>
                  <a:lnTo>
                    <a:pt x="125" y="169"/>
                  </a:lnTo>
                  <a:close/>
                  <a:moveTo>
                    <a:pt x="92" y="152"/>
                  </a:moveTo>
                  <a:lnTo>
                    <a:pt x="94" y="152"/>
                  </a:lnTo>
                  <a:lnTo>
                    <a:pt x="96" y="152"/>
                  </a:lnTo>
                  <a:lnTo>
                    <a:pt x="96" y="153"/>
                  </a:lnTo>
                  <a:lnTo>
                    <a:pt x="96" y="152"/>
                  </a:lnTo>
                  <a:lnTo>
                    <a:pt x="96" y="153"/>
                  </a:lnTo>
                  <a:lnTo>
                    <a:pt x="96" y="152"/>
                  </a:lnTo>
                  <a:lnTo>
                    <a:pt x="98" y="152"/>
                  </a:lnTo>
                  <a:lnTo>
                    <a:pt x="98" y="153"/>
                  </a:lnTo>
                  <a:lnTo>
                    <a:pt x="98" y="152"/>
                  </a:lnTo>
                  <a:lnTo>
                    <a:pt x="98" y="153"/>
                  </a:lnTo>
                  <a:lnTo>
                    <a:pt x="98" y="155"/>
                  </a:lnTo>
                  <a:lnTo>
                    <a:pt x="98" y="157"/>
                  </a:lnTo>
                  <a:lnTo>
                    <a:pt x="96" y="157"/>
                  </a:lnTo>
                  <a:lnTo>
                    <a:pt x="98" y="157"/>
                  </a:lnTo>
                  <a:lnTo>
                    <a:pt x="96" y="157"/>
                  </a:lnTo>
                  <a:lnTo>
                    <a:pt x="98" y="157"/>
                  </a:lnTo>
                  <a:lnTo>
                    <a:pt x="96" y="157"/>
                  </a:lnTo>
                  <a:lnTo>
                    <a:pt x="98" y="157"/>
                  </a:lnTo>
                  <a:lnTo>
                    <a:pt x="96" y="157"/>
                  </a:lnTo>
                  <a:lnTo>
                    <a:pt x="98" y="157"/>
                  </a:lnTo>
                  <a:lnTo>
                    <a:pt x="96" y="157"/>
                  </a:lnTo>
                  <a:lnTo>
                    <a:pt x="98" y="157"/>
                  </a:lnTo>
                  <a:lnTo>
                    <a:pt x="96" y="157"/>
                  </a:lnTo>
                  <a:lnTo>
                    <a:pt x="96" y="159"/>
                  </a:lnTo>
                  <a:lnTo>
                    <a:pt x="96" y="157"/>
                  </a:lnTo>
                  <a:lnTo>
                    <a:pt x="96" y="159"/>
                  </a:lnTo>
                  <a:lnTo>
                    <a:pt x="96" y="157"/>
                  </a:lnTo>
                  <a:lnTo>
                    <a:pt x="96" y="159"/>
                  </a:lnTo>
                  <a:lnTo>
                    <a:pt x="96" y="157"/>
                  </a:lnTo>
                  <a:lnTo>
                    <a:pt x="96" y="159"/>
                  </a:lnTo>
                  <a:lnTo>
                    <a:pt x="94" y="159"/>
                  </a:lnTo>
                  <a:lnTo>
                    <a:pt x="94" y="161"/>
                  </a:lnTo>
                  <a:lnTo>
                    <a:pt x="94" y="163"/>
                  </a:lnTo>
                  <a:lnTo>
                    <a:pt x="94" y="165"/>
                  </a:lnTo>
                  <a:lnTo>
                    <a:pt x="94" y="167"/>
                  </a:lnTo>
                  <a:lnTo>
                    <a:pt x="92" y="167"/>
                  </a:lnTo>
                  <a:lnTo>
                    <a:pt x="92" y="169"/>
                  </a:lnTo>
                  <a:lnTo>
                    <a:pt x="92" y="171"/>
                  </a:lnTo>
                  <a:lnTo>
                    <a:pt x="92" y="173"/>
                  </a:lnTo>
                  <a:lnTo>
                    <a:pt x="92" y="171"/>
                  </a:lnTo>
                  <a:lnTo>
                    <a:pt x="92" y="173"/>
                  </a:lnTo>
                  <a:lnTo>
                    <a:pt x="92" y="175"/>
                  </a:lnTo>
                  <a:lnTo>
                    <a:pt x="94" y="175"/>
                  </a:lnTo>
                  <a:lnTo>
                    <a:pt x="94" y="176"/>
                  </a:lnTo>
                  <a:lnTo>
                    <a:pt x="94" y="178"/>
                  </a:lnTo>
                  <a:lnTo>
                    <a:pt x="92" y="178"/>
                  </a:lnTo>
                  <a:lnTo>
                    <a:pt x="92" y="180"/>
                  </a:lnTo>
                  <a:lnTo>
                    <a:pt x="90" y="180"/>
                  </a:lnTo>
                  <a:lnTo>
                    <a:pt x="89" y="180"/>
                  </a:lnTo>
                  <a:lnTo>
                    <a:pt x="89" y="178"/>
                  </a:lnTo>
                  <a:lnTo>
                    <a:pt x="89" y="176"/>
                  </a:lnTo>
                  <a:lnTo>
                    <a:pt x="87" y="176"/>
                  </a:lnTo>
                  <a:lnTo>
                    <a:pt x="85" y="176"/>
                  </a:lnTo>
                  <a:lnTo>
                    <a:pt x="85" y="175"/>
                  </a:lnTo>
                  <a:lnTo>
                    <a:pt x="85" y="176"/>
                  </a:lnTo>
                  <a:lnTo>
                    <a:pt x="85" y="175"/>
                  </a:lnTo>
                  <a:lnTo>
                    <a:pt x="85" y="176"/>
                  </a:lnTo>
                  <a:lnTo>
                    <a:pt x="85" y="175"/>
                  </a:lnTo>
                  <a:lnTo>
                    <a:pt x="83" y="175"/>
                  </a:lnTo>
                  <a:lnTo>
                    <a:pt x="83" y="173"/>
                  </a:lnTo>
                  <a:lnTo>
                    <a:pt x="81" y="173"/>
                  </a:lnTo>
                  <a:lnTo>
                    <a:pt x="83" y="173"/>
                  </a:lnTo>
                  <a:lnTo>
                    <a:pt x="83" y="171"/>
                  </a:lnTo>
                  <a:lnTo>
                    <a:pt x="81" y="171"/>
                  </a:lnTo>
                  <a:lnTo>
                    <a:pt x="81" y="169"/>
                  </a:lnTo>
                  <a:lnTo>
                    <a:pt x="81" y="167"/>
                  </a:lnTo>
                  <a:lnTo>
                    <a:pt x="83" y="167"/>
                  </a:lnTo>
                  <a:lnTo>
                    <a:pt x="81" y="167"/>
                  </a:lnTo>
                  <a:lnTo>
                    <a:pt x="83" y="167"/>
                  </a:lnTo>
                  <a:lnTo>
                    <a:pt x="85" y="167"/>
                  </a:lnTo>
                  <a:lnTo>
                    <a:pt x="87" y="167"/>
                  </a:lnTo>
                  <a:lnTo>
                    <a:pt x="87" y="165"/>
                  </a:lnTo>
                  <a:lnTo>
                    <a:pt x="89" y="165"/>
                  </a:lnTo>
                  <a:lnTo>
                    <a:pt x="89" y="163"/>
                  </a:lnTo>
                  <a:lnTo>
                    <a:pt x="87" y="163"/>
                  </a:lnTo>
                  <a:lnTo>
                    <a:pt x="89" y="163"/>
                  </a:lnTo>
                  <a:lnTo>
                    <a:pt x="89" y="161"/>
                  </a:lnTo>
                  <a:lnTo>
                    <a:pt x="89" y="159"/>
                  </a:lnTo>
                  <a:lnTo>
                    <a:pt x="87" y="159"/>
                  </a:lnTo>
                  <a:lnTo>
                    <a:pt x="87" y="157"/>
                  </a:lnTo>
                  <a:lnTo>
                    <a:pt x="89" y="157"/>
                  </a:lnTo>
                  <a:lnTo>
                    <a:pt x="89" y="155"/>
                  </a:lnTo>
                  <a:lnTo>
                    <a:pt x="89" y="153"/>
                  </a:lnTo>
                  <a:lnTo>
                    <a:pt x="89" y="155"/>
                  </a:lnTo>
                  <a:lnTo>
                    <a:pt x="89" y="153"/>
                  </a:lnTo>
                  <a:lnTo>
                    <a:pt x="90" y="153"/>
                  </a:lnTo>
                  <a:lnTo>
                    <a:pt x="90" y="152"/>
                  </a:lnTo>
                  <a:lnTo>
                    <a:pt x="92" y="152"/>
                  </a:lnTo>
                  <a:close/>
                  <a:moveTo>
                    <a:pt x="121" y="128"/>
                  </a:moveTo>
                  <a:lnTo>
                    <a:pt x="123" y="128"/>
                  </a:lnTo>
                  <a:lnTo>
                    <a:pt x="123" y="130"/>
                  </a:lnTo>
                  <a:lnTo>
                    <a:pt x="123" y="128"/>
                  </a:lnTo>
                  <a:lnTo>
                    <a:pt x="123" y="130"/>
                  </a:lnTo>
                  <a:lnTo>
                    <a:pt x="125" y="130"/>
                  </a:lnTo>
                  <a:lnTo>
                    <a:pt x="123" y="130"/>
                  </a:lnTo>
                  <a:lnTo>
                    <a:pt x="125" y="130"/>
                  </a:lnTo>
                  <a:lnTo>
                    <a:pt x="123" y="130"/>
                  </a:lnTo>
                  <a:lnTo>
                    <a:pt x="123" y="132"/>
                  </a:lnTo>
                  <a:lnTo>
                    <a:pt x="125" y="132"/>
                  </a:lnTo>
                  <a:lnTo>
                    <a:pt x="123" y="132"/>
                  </a:lnTo>
                  <a:lnTo>
                    <a:pt x="125" y="132"/>
                  </a:lnTo>
                  <a:lnTo>
                    <a:pt x="123" y="132"/>
                  </a:lnTo>
                  <a:lnTo>
                    <a:pt x="125" y="132"/>
                  </a:lnTo>
                  <a:lnTo>
                    <a:pt x="123" y="132"/>
                  </a:lnTo>
                  <a:lnTo>
                    <a:pt x="125" y="132"/>
                  </a:lnTo>
                  <a:lnTo>
                    <a:pt x="123" y="132"/>
                  </a:lnTo>
                  <a:lnTo>
                    <a:pt x="125" y="132"/>
                  </a:lnTo>
                  <a:lnTo>
                    <a:pt x="123" y="132"/>
                  </a:lnTo>
                  <a:lnTo>
                    <a:pt x="125" y="132"/>
                  </a:lnTo>
                  <a:lnTo>
                    <a:pt x="127" y="132"/>
                  </a:lnTo>
                  <a:lnTo>
                    <a:pt x="125" y="132"/>
                  </a:lnTo>
                  <a:lnTo>
                    <a:pt x="127" y="132"/>
                  </a:lnTo>
                  <a:lnTo>
                    <a:pt x="127" y="134"/>
                  </a:lnTo>
                  <a:lnTo>
                    <a:pt x="127" y="132"/>
                  </a:lnTo>
                  <a:lnTo>
                    <a:pt x="127" y="134"/>
                  </a:lnTo>
                  <a:lnTo>
                    <a:pt x="127" y="132"/>
                  </a:lnTo>
                  <a:lnTo>
                    <a:pt x="127" y="134"/>
                  </a:lnTo>
                  <a:lnTo>
                    <a:pt x="127" y="132"/>
                  </a:lnTo>
                  <a:lnTo>
                    <a:pt x="127" y="134"/>
                  </a:lnTo>
                  <a:lnTo>
                    <a:pt x="125" y="134"/>
                  </a:lnTo>
                  <a:lnTo>
                    <a:pt x="127" y="134"/>
                  </a:lnTo>
                  <a:lnTo>
                    <a:pt x="125" y="134"/>
                  </a:lnTo>
                  <a:lnTo>
                    <a:pt x="127" y="134"/>
                  </a:lnTo>
                  <a:lnTo>
                    <a:pt x="125" y="134"/>
                  </a:lnTo>
                  <a:lnTo>
                    <a:pt x="127" y="134"/>
                  </a:lnTo>
                  <a:lnTo>
                    <a:pt x="127" y="136"/>
                  </a:lnTo>
                  <a:lnTo>
                    <a:pt x="127" y="134"/>
                  </a:lnTo>
                  <a:lnTo>
                    <a:pt x="127" y="136"/>
                  </a:lnTo>
                  <a:lnTo>
                    <a:pt x="127" y="134"/>
                  </a:lnTo>
                  <a:lnTo>
                    <a:pt x="127" y="136"/>
                  </a:lnTo>
                  <a:lnTo>
                    <a:pt x="127" y="134"/>
                  </a:lnTo>
                  <a:lnTo>
                    <a:pt x="127" y="136"/>
                  </a:lnTo>
                  <a:lnTo>
                    <a:pt x="127" y="134"/>
                  </a:lnTo>
                  <a:lnTo>
                    <a:pt x="127" y="136"/>
                  </a:lnTo>
                  <a:lnTo>
                    <a:pt x="125" y="136"/>
                  </a:lnTo>
                  <a:lnTo>
                    <a:pt x="125" y="138"/>
                  </a:lnTo>
                  <a:lnTo>
                    <a:pt x="125" y="140"/>
                  </a:lnTo>
                  <a:lnTo>
                    <a:pt x="127" y="140"/>
                  </a:lnTo>
                  <a:lnTo>
                    <a:pt x="125" y="140"/>
                  </a:lnTo>
                  <a:lnTo>
                    <a:pt x="127" y="140"/>
                  </a:lnTo>
                  <a:lnTo>
                    <a:pt x="125" y="140"/>
                  </a:lnTo>
                  <a:lnTo>
                    <a:pt x="127" y="140"/>
                  </a:lnTo>
                  <a:lnTo>
                    <a:pt x="125" y="140"/>
                  </a:lnTo>
                  <a:lnTo>
                    <a:pt x="127" y="140"/>
                  </a:lnTo>
                  <a:lnTo>
                    <a:pt x="127" y="142"/>
                  </a:lnTo>
                  <a:lnTo>
                    <a:pt x="125" y="142"/>
                  </a:lnTo>
                  <a:lnTo>
                    <a:pt x="127" y="142"/>
                  </a:lnTo>
                  <a:lnTo>
                    <a:pt x="125" y="142"/>
                  </a:lnTo>
                  <a:lnTo>
                    <a:pt x="127" y="142"/>
                  </a:lnTo>
                  <a:lnTo>
                    <a:pt x="127" y="144"/>
                  </a:lnTo>
                  <a:lnTo>
                    <a:pt x="127" y="146"/>
                  </a:lnTo>
                  <a:lnTo>
                    <a:pt x="129" y="146"/>
                  </a:lnTo>
                  <a:lnTo>
                    <a:pt x="129" y="148"/>
                  </a:lnTo>
                  <a:lnTo>
                    <a:pt x="127" y="148"/>
                  </a:lnTo>
                  <a:lnTo>
                    <a:pt x="127" y="150"/>
                  </a:lnTo>
                  <a:lnTo>
                    <a:pt x="127" y="148"/>
                  </a:lnTo>
                  <a:lnTo>
                    <a:pt x="127" y="150"/>
                  </a:lnTo>
                  <a:lnTo>
                    <a:pt x="127" y="148"/>
                  </a:lnTo>
                  <a:lnTo>
                    <a:pt x="127" y="150"/>
                  </a:lnTo>
                  <a:lnTo>
                    <a:pt x="127" y="148"/>
                  </a:lnTo>
                  <a:lnTo>
                    <a:pt x="127" y="150"/>
                  </a:lnTo>
                  <a:lnTo>
                    <a:pt x="129" y="150"/>
                  </a:lnTo>
                  <a:lnTo>
                    <a:pt x="127" y="150"/>
                  </a:lnTo>
                  <a:lnTo>
                    <a:pt x="129" y="150"/>
                  </a:lnTo>
                  <a:lnTo>
                    <a:pt x="129" y="148"/>
                  </a:lnTo>
                  <a:lnTo>
                    <a:pt x="129" y="150"/>
                  </a:lnTo>
                  <a:lnTo>
                    <a:pt x="129" y="148"/>
                  </a:lnTo>
                  <a:lnTo>
                    <a:pt x="129" y="150"/>
                  </a:lnTo>
                  <a:lnTo>
                    <a:pt x="129" y="148"/>
                  </a:lnTo>
                  <a:lnTo>
                    <a:pt x="127" y="148"/>
                  </a:lnTo>
                  <a:lnTo>
                    <a:pt x="129" y="148"/>
                  </a:lnTo>
                  <a:lnTo>
                    <a:pt x="127" y="148"/>
                  </a:lnTo>
                  <a:lnTo>
                    <a:pt x="129" y="148"/>
                  </a:lnTo>
                  <a:lnTo>
                    <a:pt x="129" y="150"/>
                  </a:lnTo>
                  <a:lnTo>
                    <a:pt x="131" y="150"/>
                  </a:lnTo>
                  <a:lnTo>
                    <a:pt x="131" y="152"/>
                  </a:lnTo>
                  <a:lnTo>
                    <a:pt x="129" y="152"/>
                  </a:lnTo>
                  <a:lnTo>
                    <a:pt x="131" y="152"/>
                  </a:lnTo>
                  <a:lnTo>
                    <a:pt x="129" y="152"/>
                  </a:lnTo>
                  <a:lnTo>
                    <a:pt x="129" y="150"/>
                  </a:lnTo>
                  <a:lnTo>
                    <a:pt x="127" y="150"/>
                  </a:lnTo>
                  <a:lnTo>
                    <a:pt x="125" y="150"/>
                  </a:lnTo>
                  <a:lnTo>
                    <a:pt x="123" y="150"/>
                  </a:lnTo>
                  <a:lnTo>
                    <a:pt x="121" y="150"/>
                  </a:lnTo>
                  <a:lnTo>
                    <a:pt x="123" y="150"/>
                  </a:lnTo>
                  <a:lnTo>
                    <a:pt x="121" y="150"/>
                  </a:lnTo>
                  <a:lnTo>
                    <a:pt x="123" y="150"/>
                  </a:lnTo>
                  <a:lnTo>
                    <a:pt x="121" y="150"/>
                  </a:lnTo>
                  <a:lnTo>
                    <a:pt x="121" y="148"/>
                  </a:lnTo>
                  <a:lnTo>
                    <a:pt x="119" y="148"/>
                  </a:lnTo>
                  <a:lnTo>
                    <a:pt x="121" y="148"/>
                  </a:lnTo>
                  <a:lnTo>
                    <a:pt x="119" y="148"/>
                  </a:lnTo>
                  <a:lnTo>
                    <a:pt x="119" y="146"/>
                  </a:lnTo>
                  <a:lnTo>
                    <a:pt x="119" y="144"/>
                  </a:lnTo>
                  <a:lnTo>
                    <a:pt x="117" y="144"/>
                  </a:lnTo>
                  <a:lnTo>
                    <a:pt x="117" y="142"/>
                  </a:lnTo>
                  <a:lnTo>
                    <a:pt x="117" y="144"/>
                  </a:lnTo>
                  <a:lnTo>
                    <a:pt x="117" y="142"/>
                  </a:lnTo>
                  <a:lnTo>
                    <a:pt x="117" y="144"/>
                  </a:lnTo>
                  <a:lnTo>
                    <a:pt x="117" y="142"/>
                  </a:lnTo>
                  <a:lnTo>
                    <a:pt x="117" y="144"/>
                  </a:lnTo>
                  <a:lnTo>
                    <a:pt x="117" y="142"/>
                  </a:lnTo>
                  <a:lnTo>
                    <a:pt x="117" y="144"/>
                  </a:lnTo>
                  <a:lnTo>
                    <a:pt x="119" y="144"/>
                  </a:lnTo>
                  <a:lnTo>
                    <a:pt x="119" y="142"/>
                  </a:lnTo>
                  <a:lnTo>
                    <a:pt x="119" y="140"/>
                  </a:lnTo>
                  <a:lnTo>
                    <a:pt x="117" y="140"/>
                  </a:lnTo>
                  <a:lnTo>
                    <a:pt x="117" y="138"/>
                  </a:lnTo>
                  <a:lnTo>
                    <a:pt x="115" y="138"/>
                  </a:lnTo>
                  <a:lnTo>
                    <a:pt x="117" y="138"/>
                  </a:lnTo>
                  <a:lnTo>
                    <a:pt x="115" y="138"/>
                  </a:lnTo>
                  <a:lnTo>
                    <a:pt x="117" y="138"/>
                  </a:lnTo>
                  <a:lnTo>
                    <a:pt x="115" y="138"/>
                  </a:lnTo>
                  <a:lnTo>
                    <a:pt x="117" y="138"/>
                  </a:lnTo>
                  <a:lnTo>
                    <a:pt x="115" y="138"/>
                  </a:lnTo>
                  <a:lnTo>
                    <a:pt x="115" y="136"/>
                  </a:lnTo>
                  <a:lnTo>
                    <a:pt x="113" y="136"/>
                  </a:lnTo>
                  <a:lnTo>
                    <a:pt x="115" y="136"/>
                  </a:lnTo>
                  <a:lnTo>
                    <a:pt x="113" y="136"/>
                  </a:lnTo>
                  <a:lnTo>
                    <a:pt x="112" y="136"/>
                  </a:lnTo>
                  <a:lnTo>
                    <a:pt x="112" y="134"/>
                  </a:lnTo>
                  <a:lnTo>
                    <a:pt x="110" y="134"/>
                  </a:lnTo>
                  <a:lnTo>
                    <a:pt x="110" y="132"/>
                  </a:lnTo>
                  <a:lnTo>
                    <a:pt x="110" y="130"/>
                  </a:lnTo>
                  <a:lnTo>
                    <a:pt x="110" y="128"/>
                  </a:lnTo>
                  <a:lnTo>
                    <a:pt x="108" y="128"/>
                  </a:lnTo>
                  <a:lnTo>
                    <a:pt x="110" y="128"/>
                  </a:lnTo>
                  <a:lnTo>
                    <a:pt x="108" y="128"/>
                  </a:lnTo>
                  <a:lnTo>
                    <a:pt x="110" y="128"/>
                  </a:lnTo>
                  <a:lnTo>
                    <a:pt x="108" y="128"/>
                  </a:lnTo>
                  <a:lnTo>
                    <a:pt x="110" y="128"/>
                  </a:lnTo>
                  <a:lnTo>
                    <a:pt x="112" y="128"/>
                  </a:lnTo>
                  <a:lnTo>
                    <a:pt x="113" y="128"/>
                  </a:lnTo>
                  <a:lnTo>
                    <a:pt x="115" y="128"/>
                  </a:lnTo>
                  <a:lnTo>
                    <a:pt x="117" y="128"/>
                  </a:lnTo>
                  <a:lnTo>
                    <a:pt x="119" y="128"/>
                  </a:lnTo>
                  <a:lnTo>
                    <a:pt x="121" y="128"/>
                  </a:lnTo>
                  <a:lnTo>
                    <a:pt x="119" y="128"/>
                  </a:lnTo>
                  <a:lnTo>
                    <a:pt x="121" y="128"/>
                  </a:lnTo>
                  <a:close/>
                  <a:moveTo>
                    <a:pt x="75" y="138"/>
                  </a:moveTo>
                  <a:lnTo>
                    <a:pt x="77" y="138"/>
                  </a:lnTo>
                  <a:lnTo>
                    <a:pt x="77" y="140"/>
                  </a:lnTo>
                  <a:lnTo>
                    <a:pt x="79" y="140"/>
                  </a:lnTo>
                  <a:lnTo>
                    <a:pt x="81" y="140"/>
                  </a:lnTo>
                  <a:lnTo>
                    <a:pt x="81" y="142"/>
                  </a:lnTo>
                  <a:lnTo>
                    <a:pt x="83" y="142"/>
                  </a:lnTo>
                  <a:lnTo>
                    <a:pt x="81" y="142"/>
                  </a:lnTo>
                  <a:lnTo>
                    <a:pt x="83" y="142"/>
                  </a:lnTo>
                  <a:lnTo>
                    <a:pt x="81" y="142"/>
                  </a:lnTo>
                  <a:lnTo>
                    <a:pt x="83" y="142"/>
                  </a:lnTo>
                  <a:lnTo>
                    <a:pt x="83" y="144"/>
                  </a:lnTo>
                  <a:lnTo>
                    <a:pt x="83" y="142"/>
                  </a:lnTo>
                  <a:lnTo>
                    <a:pt x="81" y="142"/>
                  </a:lnTo>
                  <a:lnTo>
                    <a:pt x="81" y="144"/>
                  </a:lnTo>
                  <a:lnTo>
                    <a:pt x="83" y="144"/>
                  </a:lnTo>
                  <a:lnTo>
                    <a:pt x="83" y="142"/>
                  </a:lnTo>
                  <a:lnTo>
                    <a:pt x="83" y="144"/>
                  </a:lnTo>
                  <a:lnTo>
                    <a:pt x="85" y="144"/>
                  </a:lnTo>
                  <a:lnTo>
                    <a:pt x="85" y="142"/>
                  </a:lnTo>
                  <a:lnTo>
                    <a:pt x="87" y="142"/>
                  </a:lnTo>
                  <a:lnTo>
                    <a:pt x="87" y="144"/>
                  </a:lnTo>
                  <a:lnTo>
                    <a:pt x="87" y="142"/>
                  </a:lnTo>
                  <a:lnTo>
                    <a:pt x="85" y="142"/>
                  </a:lnTo>
                  <a:lnTo>
                    <a:pt x="87" y="142"/>
                  </a:lnTo>
                  <a:lnTo>
                    <a:pt x="85" y="142"/>
                  </a:lnTo>
                  <a:lnTo>
                    <a:pt x="87" y="142"/>
                  </a:lnTo>
                  <a:lnTo>
                    <a:pt x="89" y="142"/>
                  </a:lnTo>
                  <a:lnTo>
                    <a:pt x="89" y="144"/>
                  </a:lnTo>
                  <a:lnTo>
                    <a:pt x="89" y="146"/>
                  </a:lnTo>
                  <a:lnTo>
                    <a:pt x="89" y="144"/>
                  </a:lnTo>
                  <a:lnTo>
                    <a:pt x="90" y="144"/>
                  </a:lnTo>
                  <a:lnTo>
                    <a:pt x="92" y="144"/>
                  </a:lnTo>
                  <a:lnTo>
                    <a:pt x="92" y="142"/>
                  </a:lnTo>
                  <a:lnTo>
                    <a:pt x="92" y="144"/>
                  </a:lnTo>
                  <a:lnTo>
                    <a:pt x="92" y="146"/>
                  </a:lnTo>
                  <a:lnTo>
                    <a:pt x="90" y="146"/>
                  </a:lnTo>
                  <a:lnTo>
                    <a:pt x="92" y="146"/>
                  </a:lnTo>
                  <a:lnTo>
                    <a:pt x="92" y="148"/>
                  </a:lnTo>
                  <a:lnTo>
                    <a:pt x="90" y="148"/>
                  </a:lnTo>
                  <a:lnTo>
                    <a:pt x="92" y="148"/>
                  </a:lnTo>
                  <a:lnTo>
                    <a:pt x="92" y="150"/>
                  </a:lnTo>
                  <a:lnTo>
                    <a:pt x="90" y="150"/>
                  </a:lnTo>
                  <a:lnTo>
                    <a:pt x="90" y="152"/>
                  </a:lnTo>
                  <a:lnTo>
                    <a:pt x="90" y="150"/>
                  </a:lnTo>
                  <a:lnTo>
                    <a:pt x="90" y="152"/>
                  </a:lnTo>
                  <a:lnTo>
                    <a:pt x="90" y="150"/>
                  </a:lnTo>
                  <a:lnTo>
                    <a:pt x="89" y="150"/>
                  </a:lnTo>
                  <a:lnTo>
                    <a:pt x="90" y="150"/>
                  </a:lnTo>
                  <a:lnTo>
                    <a:pt x="89" y="150"/>
                  </a:lnTo>
                  <a:lnTo>
                    <a:pt x="89" y="152"/>
                  </a:lnTo>
                  <a:lnTo>
                    <a:pt x="89" y="150"/>
                  </a:lnTo>
                  <a:lnTo>
                    <a:pt x="89" y="152"/>
                  </a:lnTo>
                  <a:lnTo>
                    <a:pt x="89" y="150"/>
                  </a:lnTo>
                  <a:lnTo>
                    <a:pt x="89" y="152"/>
                  </a:lnTo>
                  <a:lnTo>
                    <a:pt x="87" y="152"/>
                  </a:lnTo>
                  <a:lnTo>
                    <a:pt x="87" y="153"/>
                  </a:lnTo>
                  <a:lnTo>
                    <a:pt x="87" y="152"/>
                  </a:lnTo>
                  <a:lnTo>
                    <a:pt x="87" y="153"/>
                  </a:lnTo>
                  <a:lnTo>
                    <a:pt x="87" y="155"/>
                  </a:lnTo>
                  <a:lnTo>
                    <a:pt x="85" y="155"/>
                  </a:lnTo>
                  <a:lnTo>
                    <a:pt x="83" y="155"/>
                  </a:lnTo>
                  <a:lnTo>
                    <a:pt x="81" y="155"/>
                  </a:lnTo>
                  <a:lnTo>
                    <a:pt x="81" y="157"/>
                  </a:lnTo>
                  <a:lnTo>
                    <a:pt x="79" y="157"/>
                  </a:lnTo>
                  <a:lnTo>
                    <a:pt x="77" y="157"/>
                  </a:lnTo>
                  <a:lnTo>
                    <a:pt x="77" y="159"/>
                  </a:lnTo>
                  <a:lnTo>
                    <a:pt x="75" y="159"/>
                  </a:lnTo>
                  <a:lnTo>
                    <a:pt x="75" y="161"/>
                  </a:lnTo>
                  <a:lnTo>
                    <a:pt x="75" y="159"/>
                  </a:lnTo>
                  <a:lnTo>
                    <a:pt x="73" y="159"/>
                  </a:lnTo>
                  <a:lnTo>
                    <a:pt x="75" y="159"/>
                  </a:lnTo>
                  <a:lnTo>
                    <a:pt x="73" y="159"/>
                  </a:lnTo>
                  <a:lnTo>
                    <a:pt x="75" y="159"/>
                  </a:lnTo>
                  <a:lnTo>
                    <a:pt x="73" y="159"/>
                  </a:lnTo>
                  <a:lnTo>
                    <a:pt x="75" y="159"/>
                  </a:lnTo>
                  <a:lnTo>
                    <a:pt x="75" y="157"/>
                  </a:lnTo>
                  <a:lnTo>
                    <a:pt x="75" y="155"/>
                  </a:lnTo>
                  <a:lnTo>
                    <a:pt x="75" y="153"/>
                  </a:lnTo>
                  <a:lnTo>
                    <a:pt x="75" y="152"/>
                  </a:lnTo>
                  <a:lnTo>
                    <a:pt x="77" y="152"/>
                  </a:lnTo>
                  <a:lnTo>
                    <a:pt x="75" y="152"/>
                  </a:lnTo>
                  <a:lnTo>
                    <a:pt x="75" y="150"/>
                  </a:lnTo>
                  <a:lnTo>
                    <a:pt x="75" y="148"/>
                  </a:lnTo>
                  <a:lnTo>
                    <a:pt x="77" y="148"/>
                  </a:lnTo>
                  <a:lnTo>
                    <a:pt x="75" y="148"/>
                  </a:lnTo>
                  <a:lnTo>
                    <a:pt x="77" y="148"/>
                  </a:lnTo>
                  <a:lnTo>
                    <a:pt x="75" y="148"/>
                  </a:lnTo>
                  <a:lnTo>
                    <a:pt x="75" y="146"/>
                  </a:lnTo>
                  <a:lnTo>
                    <a:pt x="77" y="146"/>
                  </a:lnTo>
                  <a:lnTo>
                    <a:pt x="75" y="146"/>
                  </a:lnTo>
                  <a:lnTo>
                    <a:pt x="77" y="146"/>
                  </a:lnTo>
                  <a:lnTo>
                    <a:pt x="75" y="146"/>
                  </a:lnTo>
                  <a:lnTo>
                    <a:pt x="77" y="146"/>
                  </a:lnTo>
                  <a:lnTo>
                    <a:pt x="77" y="144"/>
                  </a:lnTo>
                  <a:lnTo>
                    <a:pt x="77" y="142"/>
                  </a:lnTo>
                  <a:lnTo>
                    <a:pt x="77" y="140"/>
                  </a:lnTo>
                  <a:lnTo>
                    <a:pt x="75" y="140"/>
                  </a:lnTo>
                  <a:lnTo>
                    <a:pt x="73" y="140"/>
                  </a:lnTo>
                  <a:lnTo>
                    <a:pt x="73" y="138"/>
                  </a:lnTo>
                  <a:lnTo>
                    <a:pt x="75" y="138"/>
                  </a:lnTo>
                  <a:close/>
                  <a:moveTo>
                    <a:pt x="39" y="146"/>
                  </a:moveTo>
                  <a:lnTo>
                    <a:pt x="39" y="148"/>
                  </a:lnTo>
                  <a:lnTo>
                    <a:pt x="41" y="148"/>
                  </a:lnTo>
                  <a:lnTo>
                    <a:pt x="39" y="148"/>
                  </a:lnTo>
                  <a:lnTo>
                    <a:pt x="39" y="150"/>
                  </a:lnTo>
                  <a:lnTo>
                    <a:pt x="41" y="150"/>
                  </a:lnTo>
                  <a:lnTo>
                    <a:pt x="39" y="150"/>
                  </a:lnTo>
                  <a:lnTo>
                    <a:pt x="39" y="152"/>
                  </a:lnTo>
                  <a:lnTo>
                    <a:pt x="41" y="152"/>
                  </a:lnTo>
                  <a:lnTo>
                    <a:pt x="39" y="152"/>
                  </a:lnTo>
                  <a:lnTo>
                    <a:pt x="41" y="152"/>
                  </a:lnTo>
                  <a:lnTo>
                    <a:pt x="39" y="152"/>
                  </a:lnTo>
                  <a:lnTo>
                    <a:pt x="41" y="152"/>
                  </a:lnTo>
                  <a:lnTo>
                    <a:pt x="39" y="152"/>
                  </a:lnTo>
                  <a:lnTo>
                    <a:pt x="39" y="153"/>
                  </a:lnTo>
                  <a:lnTo>
                    <a:pt x="41" y="153"/>
                  </a:lnTo>
                  <a:lnTo>
                    <a:pt x="41" y="155"/>
                  </a:lnTo>
                  <a:lnTo>
                    <a:pt x="41" y="157"/>
                  </a:lnTo>
                  <a:lnTo>
                    <a:pt x="41" y="155"/>
                  </a:lnTo>
                  <a:lnTo>
                    <a:pt x="41" y="157"/>
                  </a:lnTo>
                  <a:lnTo>
                    <a:pt x="41" y="155"/>
                  </a:lnTo>
                  <a:lnTo>
                    <a:pt x="41" y="157"/>
                  </a:lnTo>
                  <a:lnTo>
                    <a:pt x="41" y="159"/>
                  </a:lnTo>
                  <a:lnTo>
                    <a:pt x="41" y="157"/>
                  </a:lnTo>
                  <a:lnTo>
                    <a:pt x="41" y="159"/>
                  </a:lnTo>
                  <a:lnTo>
                    <a:pt x="41" y="157"/>
                  </a:lnTo>
                  <a:lnTo>
                    <a:pt x="41" y="159"/>
                  </a:lnTo>
                  <a:lnTo>
                    <a:pt x="42" y="159"/>
                  </a:lnTo>
                  <a:lnTo>
                    <a:pt x="41" y="159"/>
                  </a:lnTo>
                  <a:lnTo>
                    <a:pt x="41" y="161"/>
                  </a:lnTo>
                  <a:lnTo>
                    <a:pt x="39" y="161"/>
                  </a:lnTo>
                  <a:lnTo>
                    <a:pt x="37" y="161"/>
                  </a:lnTo>
                  <a:lnTo>
                    <a:pt x="37" y="163"/>
                  </a:lnTo>
                  <a:lnTo>
                    <a:pt x="35" y="163"/>
                  </a:lnTo>
                  <a:lnTo>
                    <a:pt x="35" y="165"/>
                  </a:lnTo>
                  <a:lnTo>
                    <a:pt x="33" y="165"/>
                  </a:lnTo>
                  <a:lnTo>
                    <a:pt x="33" y="167"/>
                  </a:lnTo>
                  <a:lnTo>
                    <a:pt x="31" y="167"/>
                  </a:lnTo>
                  <a:lnTo>
                    <a:pt x="29" y="167"/>
                  </a:lnTo>
                  <a:lnTo>
                    <a:pt x="27" y="167"/>
                  </a:lnTo>
                  <a:lnTo>
                    <a:pt x="27" y="169"/>
                  </a:lnTo>
                  <a:lnTo>
                    <a:pt x="29" y="169"/>
                  </a:lnTo>
                  <a:lnTo>
                    <a:pt x="29" y="171"/>
                  </a:lnTo>
                  <a:lnTo>
                    <a:pt x="27" y="171"/>
                  </a:lnTo>
                  <a:lnTo>
                    <a:pt x="29" y="171"/>
                  </a:lnTo>
                  <a:lnTo>
                    <a:pt x="27" y="171"/>
                  </a:lnTo>
                  <a:lnTo>
                    <a:pt x="27" y="169"/>
                  </a:lnTo>
                  <a:lnTo>
                    <a:pt x="27" y="171"/>
                  </a:lnTo>
                  <a:lnTo>
                    <a:pt x="27" y="169"/>
                  </a:lnTo>
                  <a:lnTo>
                    <a:pt x="27" y="171"/>
                  </a:lnTo>
                  <a:lnTo>
                    <a:pt x="27" y="169"/>
                  </a:lnTo>
                  <a:lnTo>
                    <a:pt x="27" y="171"/>
                  </a:lnTo>
                  <a:lnTo>
                    <a:pt x="27" y="173"/>
                  </a:lnTo>
                  <a:lnTo>
                    <a:pt x="27" y="175"/>
                  </a:lnTo>
                  <a:lnTo>
                    <a:pt x="25" y="175"/>
                  </a:lnTo>
                  <a:lnTo>
                    <a:pt x="25" y="176"/>
                  </a:lnTo>
                  <a:lnTo>
                    <a:pt x="23" y="176"/>
                  </a:lnTo>
                  <a:lnTo>
                    <a:pt x="23" y="178"/>
                  </a:lnTo>
                  <a:lnTo>
                    <a:pt x="21" y="178"/>
                  </a:lnTo>
                  <a:lnTo>
                    <a:pt x="23" y="178"/>
                  </a:lnTo>
                  <a:lnTo>
                    <a:pt x="21" y="178"/>
                  </a:lnTo>
                  <a:lnTo>
                    <a:pt x="19" y="178"/>
                  </a:lnTo>
                  <a:lnTo>
                    <a:pt x="19" y="180"/>
                  </a:lnTo>
                  <a:lnTo>
                    <a:pt x="18" y="180"/>
                  </a:lnTo>
                  <a:lnTo>
                    <a:pt x="19" y="180"/>
                  </a:lnTo>
                  <a:lnTo>
                    <a:pt x="18" y="180"/>
                  </a:lnTo>
                  <a:lnTo>
                    <a:pt x="18" y="182"/>
                  </a:lnTo>
                  <a:lnTo>
                    <a:pt x="16" y="182"/>
                  </a:lnTo>
                  <a:lnTo>
                    <a:pt x="18" y="182"/>
                  </a:lnTo>
                  <a:lnTo>
                    <a:pt x="16" y="182"/>
                  </a:lnTo>
                  <a:lnTo>
                    <a:pt x="16" y="184"/>
                  </a:lnTo>
                  <a:lnTo>
                    <a:pt x="14" y="184"/>
                  </a:lnTo>
                  <a:lnTo>
                    <a:pt x="14" y="186"/>
                  </a:lnTo>
                  <a:lnTo>
                    <a:pt x="12" y="186"/>
                  </a:lnTo>
                  <a:lnTo>
                    <a:pt x="10" y="186"/>
                  </a:lnTo>
                  <a:lnTo>
                    <a:pt x="10" y="188"/>
                  </a:lnTo>
                  <a:lnTo>
                    <a:pt x="8" y="188"/>
                  </a:lnTo>
                  <a:lnTo>
                    <a:pt x="8" y="190"/>
                  </a:lnTo>
                  <a:lnTo>
                    <a:pt x="8" y="188"/>
                  </a:lnTo>
                  <a:lnTo>
                    <a:pt x="8" y="190"/>
                  </a:lnTo>
                  <a:lnTo>
                    <a:pt x="6" y="190"/>
                  </a:lnTo>
                  <a:lnTo>
                    <a:pt x="6" y="192"/>
                  </a:lnTo>
                  <a:lnTo>
                    <a:pt x="4" y="192"/>
                  </a:lnTo>
                  <a:lnTo>
                    <a:pt x="4" y="190"/>
                  </a:lnTo>
                  <a:lnTo>
                    <a:pt x="4" y="192"/>
                  </a:lnTo>
                  <a:lnTo>
                    <a:pt x="4" y="190"/>
                  </a:lnTo>
                  <a:lnTo>
                    <a:pt x="4" y="192"/>
                  </a:lnTo>
                  <a:lnTo>
                    <a:pt x="4" y="190"/>
                  </a:lnTo>
                  <a:lnTo>
                    <a:pt x="6" y="190"/>
                  </a:lnTo>
                  <a:lnTo>
                    <a:pt x="4" y="190"/>
                  </a:lnTo>
                  <a:lnTo>
                    <a:pt x="6" y="190"/>
                  </a:lnTo>
                  <a:lnTo>
                    <a:pt x="6" y="188"/>
                  </a:lnTo>
                  <a:lnTo>
                    <a:pt x="6" y="186"/>
                  </a:lnTo>
                  <a:lnTo>
                    <a:pt x="6" y="188"/>
                  </a:lnTo>
                  <a:lnTo>
                    <a:pt x="6" y="186"/>
                  </a:lnTo>
                  <a:lnTo>
                    <a:pt x="8" y="186"/>
                  </a:lnTo>
                  <a:lnTo>
                    <a:pt x="6" y="186"/>
                  </a:lnTo>
                  <a:lnTo>
                    <a:pt x="8" y="186"/>
                  </a:lnTo>
                  <a:lnTo>
                    <a:pt x="8" y="184"/>
                  </a:lnTo>
                  <a:lnTo>
                    <a:pt x="10" y="184"/>
                  </a:lnTo>
                  <a:lnTo>
                    <a:pt x="10" y="182"/>
                  </a:lnTo>
                  <a:lnTo>
                    <a:pt x="12" y="182"/>
                  </a:lnTo>
                  <a:lnTo>
                    <a:pt x="12" y="180"/>
                  </a:lnTo>
                  <a:lnTo>
                    <a:pt x="12" y="182"/>
                  </a:lnTo>
                  <a:lnTo>
                    <a:pt x="12" y="180"/>
                  </a:lnTo>
                  <a:lnTo>
                    <a:pt x="12" y="182"/>
                  </a:lnTo>
                  <a:lnTo>
                    <a:pt x="12" y="180"/>
                  </a:lnTo>
                  <a:lnTo>
                    <a:pt x="12" y="182"/>
                  </a:lnTo>
                  <a:lnTo>
                    <a:pt x="12" y="180"/>
                  </a:lnTo>
                  <a:lnTo>
                    <a:pt x="14" y="180"/>
                  </a:lnTo>
                  <a:lnTo>
                    <a:pt x="14" y="178"/>
                  </a:lnTo>
                  <a:lnTo>
                    <a:pt x="16" y="178"/>
                  </a:lnTo>
                  <a:lnTo>
                    <a:pt x="16" y="176"/>
                  </a:lnTo>
                  <a:lnTo>
                    <a:pt x="16" y="178"/>
                  </a:lnTo>
                  <a:lnTo>
                    <a:pt x="16" y="176"/>
                  </a:lnTo>
                  <a:lnTo>
                    <a:pt x="16" y="178"/>
                  </a:lnTo>
                  <a:lnTo>
                    <a:pt x="16" y="176"/>
                  </a:lnTo>
                  <a:lnTo>
                    <a:pt x="16" y="178"/>
                  </a:lnTo>
                  <a:lnTo>
                    <a:pt x="16" y="176"/>
                  </a:lnTo>
                  <a:lnTo>
                    <a:pt x="16" y="178"/>
                  </a:lnTo>
                  <a:lnTo>
                    <a:pt x="16" y="176"/>
                  </a:lnTo>
                  <a:lnTo>
                    <a:pt x="16" y="178"/>
                  </a:lnTo>
                  <a:lnTo>
                    <a:pt x="16" y="176"/>
                  </a:lnTo>
                  <a:lnTo>
                    <a:pt x="16" y="178"/>
                  </a:lnTo>
                  <a:lnTo>
                    <a:pt x="16" y="176"/>
                  </a:lnTo>
                  <a:lnTo>
                    <a:pt x="16" y="178"/>
                  </a:lnTo>
                  <a:lnTo>
                    <a:pt x="16" y="176"/>
                  </a:lnTo>
                  <a:lnTo>
                    <a:pt x="18" y="176"/>
                  </a:lnTo>
                  <a:lnTo>
                    <a:pt x="16" y="176"/>
                  </a:lnTo>
                  <a:lnTo>
                    <a:pt x="16" y="178"/>
                  </a:lnTo>
                  <a:lnTo>
                    <a:pt x="18" y="178"/>
                  </a:lnTo>
                  <a:lnTo>
                    <a:pt x="18" y="176"/>
                  </a:lnTo>
                  <a:lnTo>
                    <a:pt x="19" y="176"/>
                  </a:lnTo>
                  <a:lnTo>
                    <a:pt x="19" y="175"/>
                  </a:lnTo>
                  <a:lnTo>
                    <a:pt x="21" y="175"/>
                  </a:lnTo>
                  <a:lnTo>
                    <a:pt x="21" y="173"/>
                  </a:lnTo>
                  <a:lnTo>
                    <a:pt x="21" y="171"/>
                  </a:lnTo>
                  <a:lnTo>
                    <a:pt x="23" y="171"/>
                  </a:lnTo>
                  <a:lnTo>
                    <a:pt x="25" y="171"/>
                  </a:lnTo>
                  <a:lnTo>
                    <a:pt x="25" y="169"/>
                  </a:lnTo>
                  <a:lnTo>
                    <a:pt x="25" y="167"/>
                  </a:lnTo>
                  <a:lnTo>
                    <a:pt x="27" y="167"/>
                  </a:lnTo>
                  <a:lnTo>
                    <a:pt x="27" y="165"/>
                  </a:lnTo>
                  <a:lnTo>
                    <a:pt x="29" y="165"/>
                  </a:lnTo>
                  <a:lnTo>
                    <a:pt x="27" y="165"/>
                  </a:lnTo>
                  <a:lnTo>
                    <a:pt x="29" y="165"/>
                  </a:lnTo>
                  <a:lnTo>
                    <a:pt x="27" y="165"/>
                  </a:lnTo>
                  <a:lnTo>
                    <a:pt x="29" y="165"/>
                  </a:lnTo>
                  <a:lnTo>
                    <a:pt x="27" y="165"/>
                  </a:lnTo>
                  <a:lnTo>
                    <a:pt x="29" y="165"/>
                  </a:lnTo>
                  <a:lnTo>
                    <a:pt x="27" y="165"/>
                  </a:lnTo>
                  <a:lnTo>
                    <a:pt x="29" y="165"/>
                  </a:lnTo>
                  <a:lnTo>
                    <a:pt x="27" y="165"/>
                  </a:lnTo>
                  <a:lnTo>
                    <a:pt x="29" y="165"/>
                  </a:lnTo>
                  <a:lnTo>
                    <a:pt x="27" y="165"/>
                  </a:lnTo>
                  <a:lnTo>
                    <a:pt x="29" y="165"/>
                  </a:lnTo>
                  <a:lnTo>
                    <a:pt x="29" y="167"/>
                  </a:lnTo>
                  <a:lnTo>
                    <a:pt x="29" y="165"/>
                  </a:lnTo>
                  <a:lnTo>
                    <a:pt x="29" y="167"/>
                  </a:lnTo>
                  <a:lnTo>
                    <a:pt x="29" y="165"/>
                  </a:lnTo>
                  <a:lnTo>
                    <a:pt x="29" y="163"/>
                  </a:lnTo>
                  <a:lnTo>
                    <a:pt x="31" y="163"/>
                  </a:lnTo>
                  <a:lnTo>
                    <a:pt x="31" y="161"/>
                  </a:lnTo>
                  <a:lnTo>
                    <a:pt x="31" y="163"/>
                  </a:lnTo>
                  <a:lnTo>
                    <a:pt x="31" y="161"/>
                  </a:lnTo>
                  <a:lnTo>
                    <a:pt x="31" y="163"/>
                  </a:lnTo>
                  <a:lnTo>
                    <a:pt x="31" y="161"/>
                  </a:lnTo>
                  <a:lnTo>
                    <a:pt x="31" y="159"/>
                  </a:lnTo>
                  <a:lnTo>
                    <a:pt x="31" y="161"/>
                  </a:lnTo>
                  <a:lnTo>
                    <a:pt x="31" y="159"/>
                  </a:lnTo>
                  <a:lnTo>
                    <a:pt x="31" y="161"/>
                  </a:lnTo>
                  <a:lnTo>
                    <a:pt x="33" y="161"/>
                  </a:lnTo>
                  <a:lnTo>
                    <a:pt x="33" y="159"/>
                  </a:lnTo>
                  <a:lnTo>
                    <a:pt x="33" y="161"/>
                  </a:lnTo>
                  <a:lnTo>
                    <a:pt x="35" y="161"/>
                  </a:lnTo>
                  <a:lnTo>
                    <a:pt x="35" y="159"/>
                  </a:lnTo>
                  <a:lnTo>
                    <a:pt x="35" y="157"/>
                  </a:lnTo>
                  <a:lnTo>
                    <a:pt x="35" y="159"/>
                  </a:lnTo>
                  <a:lnTo>
                    <a:pt x="35" y="157"/>
                  </a:lnTo>
                  <a:lnTo>
                    <a:pt x="35" y="159"/>
                  </a:lnTo>
                  <a:lnTo>
                    <a:pt x="35" y="157"/>
                  </a:lnTo>
                  <a:lnTo>
                    <a:pt x="37" y="157"/>
                  </a:lnTo>
                  <a:lnTo>
                    <a:pt x="37" y="155"/>
                  </a:lnTo>
                  <a:lnTo>
                    <a:pt x="35" y="155"/>
                  </a:lnTo>
                  <a:lnTo>
                    <a:pt x="35" y="153"/>
                  </a:lnTo>
                  <a:lnTo>
                    <a:pt x="35" y="152"/>
                  </a:lnTo>
                  <a:lnTo>
                    <a:pt x="35" y="153"/>
                  </a:lnTo>
                  <a:lnTo>
                    <a:pt x="35" y="152"/>
                  </a:lnTo>
                  <a:lnTo>
                    <a:pt x="35" y="153"/>
                  </a:lnTo>
                  <a:lnTo>
                    <a:pt x="37" y="153"/>
                  </a:lnTo>
                  <a:lnTo>
                    <a:pt x="35" y="153"/>
                  </a:lnTo>
                  <a:lnTo>
                    <a:pt x="37" y="153"/>
                  </a:lnTo>
                  <a:lnTo>
                    <a:pt x="35" y="153"/>
                  </a:lnTo>
                  <a:lnTo>
                    <a:pt x="37" y="153"/>
                  </a:lnTo>
                  <a:lnTo>
                    <a:pt x="37" y="155"/>
                  </a:lnTo>
                  <a:lnTo>
                    <a:pt x="37" y="153"/>
                  </a:lnTo>
                  <a:lnTo>
                    <a:pt x="37" y="155"/>
                  </a:lnTo>
                  <a:lnTo>
                    <a:pt x="39" y="155"/>
                  </a:lnTo>
                  <a:lnTo>
                    <a:pt x="37" y="155"/>
                  </a:lnTo>
                  <a:lnTo>
                    <a:pt x="39" y="155"/>
                  </a:lnTo>
                  <a:lnTo>
                    <a:pt x="37" y="155"/>
                  </a:lnTo>
                  <a:lnTo>
                    <a:pt x="39" y="155"/>
                  </a:lnTo>
                  <a:lnTo>
                    <a:pt x="39" y="153"/>
                  </a:lnTo>
                  <a:lnTo>
                    <a:pt x="37" y="153"/>
                  </a:lnTo>
                  <a:lnTo>
                    <a:pt x="37" y="152"/>
                  </a:lnTo>
                  <a:lnTo>
                    <a:pt x="37" y="150"/>
                  </a:lnTo>
                  <a:lnTo>
                    <a:pt x="37" y="152"/>
                  </a:lnTo>
                  <a:lnTo>
                    <a:pt x="37" y="150"/>
                  </a:lnTo>
                  <a:lnTo>
                    <a:pt x="37" y="152"/>
                  </a:lnTo>
                  <a:lnTo>
                    <a:pt x="37" y="150"/>
                  </a:lnTo>
                  <a:lnTo>
                    <a:pt x="39" y="150"/>
                  </a:lnTo>
                  <a:lnTo>
                    <a:pt x="37" y="150"/>
                  </a:lnTo>
                  <a:lnTo>
                    <a:pt x="37" y="148"/>
                  </a:lnTo>
                  <a:lnTo>
                    <a:pt x="37" y="146"/>
                  </a:lnTo>
                  <a:lnTo>
                    <a:pt x="39" y="146"/>
                  </a:lnTo>
                  <a:lnTo>
                    <a:pt x="37" y="146"/>
                  </a:lnTo>
                  <a:lnTo>
                    <a:pt x="39" y="146"/>
                  </a:lnTo>
                  <a:close/>
                  <a:moveTo>
                    <a:pt x="52" y="113"/>
                  </a:moveTo>
                  <a:lnTo>
                    <a:pt x="54" y="113"/>
                  </a:lnTo>
                  <a:lnTo>
                    <a:pt x="54" y="115"/>
                  </a:lnTo>
                  <a:lnTo>
                    <a:pt x="56" y="115"/>
                  </a:lnTo>
                  <a:lnTo>
                    <a:pt x="58" y="115"/>
                  </a:lnTo>
                  <a:lnTo>
                    <a:pt x="60" y="115"/>
                  </a:lnTo>
                  <a:lnTo>
                    <a:pt x="60" y="113"/>
                  </a:lnTo>
                  <a:lnTo>
                    <a:pt x="60" y="115"/>
                  </a:lnTo>
                  <a:lnTo>
                    <a:pt x="62" y="115"/>
                  </a:lnTo>
                  <a:lnTo>
                    <a:pt x="64" y="115"/>
                  </a:lnTo>
                  <a:lnTo>
                    <a:pt x="64" y="117"/>
                  </a:lnTo>
                  <a:lnTo>
                    <a:pt x="66" y="117"/>
                  </a:lnTo>
                  <a:lnTo>
                    <a:pt x="66" y="119"/>
                  </a:lnTo>
                  <a:lnTo>
                    <a:pt x="66" y="117"/>
                  </a:lnTo>
                  <a:lnTo>
                    <a:pt x="66" y="119"/>
                  </a:lnTo>
                  <a:lnTo>
                    <a:pt x="66" y="117"/>
                  </a:lnTo>
                  <a:lnTo>
                    <a:pt x="67" y="117"/>
                  </a:lnTo>
                  <a:lnTo>
                    <a:pt x="67" y="119"/>
                  </a:lnTo>
                  <a:lnTo>
                    <a:pt x="66" y="119"/>
                  </a:lnTo>
                  <a:lnTo>
                    <a:pt x="67" y="119"/>
                  </a:lnTo>
                  <a:lnTo>
                    <a:pt x="67" y="117"/>
                  </a:lnTo>
                  <a:lnTo>
                    <a:pt x="67" y="119"/>
                  </a:lnTo>
                  <a:lnTo>
                    <a:pt x="69" y="119"/>
                  </a:lnTo>
                  <a:lnTo>
                    <a:pt x="69" y="121"/>
                  </a:lnTo>
                  <a:lnTo>
                    <a:pt x="67" y="121"/>
                  </a:lnTo>
                  <a:lnTo>
                    <a:pt x="67" y="123"/>
                  </a:lnTo>
                  <a:lnTo>
                    <a:pt x="67" y="125"/>
                  </a:lnTo>
                  <a:lnTo>
                    <a:pt x="67" y="127"/>
                  </a:lnTo>
                  <a:lnTo>
                    <a:pt x="67" y="125"/>
                  </a:lnTo>
                  <a:lnTo>
                    <a:pt x="67" y="127"/>
                  </a:lnTo>
                  <a:lnTo>
                    <a:pt x="69" y="127"/>
                  </a:lnTo>
                  <a:lnTo>
                    <a:pt x="69" y="128"/>
                  </a:lnTo>
                  <a:lnTo>
                    <a:pt x="67" y="128"/>
                  </a:lnTo>
                  <a:lnTo>
                    <a:pt x="67" y="130"/>
                  </a:lnTo>
                  <a:lnTo>
                    <a:pt x="67" y="128"/>
                  </a:lnTo>
                  <a:lnTo>
                    <a:pt x="67" y="130"/>
                  </a:lnTo>
                  <a:lnTo>
                    <a:pt x="66" y="130"/>
                  </a:lnTo>
                  <a:lnTo>
                    <a:pt x="66" y="132"/>
                  </a:lnTo>
                  <a:lnTo>
                    <a:pt x="67" y="132"/>
                  </a:lnTo>
                  <a:lnTo>
                    <a:pt x="66" y="132"/>
                  </a:lnTo>
                  <a:lnTo>
                    <a:pt x="67" y="132"/>
                  </a:lnTo>
                  <a:lnTo>
                    <a:pt x="66" y="132"/>
                  </a:lnTo>
                  <a:lnTo>
                    <a:pt x="64" y="132"/>
                  </a:lnTo>
                  <a:lnTo>
                    <a:pt x="66" y="132"/>
                  </a:lnTo>
                  <a:lnTo>
                    <a:pt x="64" y="132"/>
                  </a:lnTo>
                  <a:lnTo>
                    <a:pt x="66" y="132"/>
                  </a:lnTo>
                  <a:lnTo>
                    <a:pt x="64" y="132"/>
                  </a:lnTo>
                  <a:lnTo>
                    <a:pt x="66" y="132"/>
                  </a:lnTo>
                  <a:lnTo>
                    <a:pt x="64" y="132"/>
                  </a:lnTo>
                  <a:lnTo>
                    <a:pt x="66" y="132"/>
                  </a:lnTo>
                  <a:lnTo>
                    <a:pt x="64" y="132"/>
                  </a:lnTo>
                  <a:lnTo>
                    <a:pt x="64" y="134"/>
                  </a:lnTo>
                  <a:lnTo>
                    <a:pt x="64" y="132"/>
                  </a:lnTo>
                  <a:lnTo>
                    <a:pt x="64" y="134"/>
                  </a:lnTo>
                  <a:lnTo>
                    <a:pt x="64" y="132"/>
                  </a:lnTo>
                  <a:lnTo>
                    <a:pt x="62" y="132"/>
                  </a:lnTo>
                  <a:lnTo>
                    <a:pt x="62" y="130"/>
                  </a:lnTo>
                  <a:lnTo>
                    <a:pt x="62" y="132"/>
                  </a:lnTo>
                  <a:lnTo>
                    <a:pt x="62" y="130"/>
                  </a:lnTo>
                  <a:lnTo>
                    <a:pt x="60" y="130"/>
                  </a:lnTo>
                  <a:lnTo>
                    <a:pt x="60" y="128"/>
                  </a:lnTo>
                  <a:lnTo>
                    <a:pt x="60" y="127"/>
                  </a:lnTo>
                  <a:lnTo>
                    <a:pt x="58" y="127"/>
                  </a:lnTo>
                  <a:lnTo>
                    <a:pt x="58" y="125"/>
                  </a:lnTo>
                  <a:lnTo>
                    <a:pt x="58" y="123"/>
                  </a:lnTo>
                  <a:lnTo>
                    <a:pt x="58" y="121"/>
                  </a:lnTo>
                  <a:lnTo>
                    <a:pt x="56" y="121"/>
                  </a:lnTo>
                  <a:lnTo>
                    <a:pt x="56" y="119"/>
                  </a:lnTo>
                  <a:lnTo>
                    <a:pt x="54" y="119"/>
                  </a:lnTo>
                  <a:lnTo>
                    <a:pt x="54" y="117"/>
                  </a:lnTo>
                  <a:lnTo>
                    <a:pt x="52" y="117"/>
                  </a:lnTo>
                  <a:lnTo>
                    <a:pt x="52" y="115"/>
                  </a:lnTo>
                  <a:lnTo>
                    <a:pt x="50" y="115"/>
                  </a:lnTo>
                  <a:lnTo>
                    <a:pt x="52" y="115"/>
                  </a:lnTo>
                  <a:lnTo>
                    <a:pt x="50" y="115"/>
                  </a:lnTo>
                  <a:lnTo>
                    <a:pt x="50" y="113"/>
                  </a:lnTo>
                  <a:lnTo>
                    <a:pt x="52" y="113"/>
                  </a:lnTo>
                  <a:close/>
                  <a:moveTo>
                    <a:pt x="110" y="144"/>
                  </a:moveTo>
                  <a:lnTo>
                    <a:pt x="112" y="144"/>
                  </a:lnTo>
                  <a:lnTo>
                    <a:pt x="112" y="146"/>
                  </a:lnTo>
                  <a:lnTo>
                    <a:pt x="112" y="144"/>
                  </a:lnTo>
                  <a:lnTo>
                    <a:pt x="112" y="146"/>
                  </a:lnTo>
                  <a:lnTo>
                    <a:pt x="112" y="144"/>
                  </a:lnTo>
                  <a:lnTo>
                    <a:pt x="112" y="146"/>
                  </a:lnTo>
                  <a:lnTo>
                    <a:pt x="113" y="146"/>
                  </a:lnTo>
                  <a:lnTo>
                    <a:pt x="113" y="148"/>
                  </a:lnTo>
                  <a:lnTo>
                    <a:pt x="115" y="148"/>
                  </a:lnTo>
                  <a:lnTo>
                    <a:pt x="115" y="146"/>
                  </a:lnTo>
                  <a:lnTo>
                    <a:pt x="117" y="146"/>
                  </a:lnTo>
                  <a:lnTo>
                    <a:pt x="115" y="146"/>
                  </a:lnTo>
                  <a:lnTo>
                    <a:pt x="117" y="146"/>
                  </a:lnTo>
                  <a:lnTo>
                    <a:pt x="115" y="146"/>
                  </a:lnTo>
                  <a:lnTo>
                    <a:pt x="117" y="146"/>
                  </a:lnTo>
                  <a:lnTo>
                    <a:pt x="119" y="146"/>
                  </a:lnTo>
                  <a:lnTo>
                    <a:pt x="119" y="148"/>
                  </a:lnTo>
                  <a:lnTo>
                    <a:pt x="119" y="150"/>
                  </a:lnTo>
                  <a:lnTo>
                    <a:pt x="119" y="152"/>
                  </a:lnTo>
                  <a:lnTo>
                    <a:pt x="119" y="153"/>
                  </a:lnTo>
                  <a:lnTo>
                    <a:pt x="119" y="152"/>
                  </a:lnTo>
                  <a:lnTo>
                    <a:pt x="119" y="153"/>
                  </a:lnTo>
                  <a:lnTo>
                    <a:pt x="119" y="155"/>
                  </a:lnTo>
                  <a:lnTo>
                    <a:pt x="121" y="155"/>
                  </a:lnTo>
                  <a:lnTo>
                    <a:pt x="121" y="157"/>
                  </a:lnTo>
                  <a:lnTo>
                    <a:pt x="121" y="159"/>
                  </a:lnTo>
                  <a:lnTo>
                    <a:pt x="121" y="161"/>
                  </a:lnTo>
                  <a:lnTo>
                    <a:pt x="123" y="161"/>
                  </a:lnTo>
                  <a:lnTo>
                    <a:pt x="123" y="163"/>
                  </a:lnTo>
                  <a:lnTo>
                    <a:pt x="121" y="163"/>
                  </a:lnTo>
                  <a:lnTo>
                    <a:pt x="119" y="163"/>
                  </a:lnTo>
                  <a:lnTo>
                    <a:pt x="119" y="161"/>
                  </a:lnTo>
                  <a:lnTo>
                    <a:pt x="119" y="163"/>
                  </a:lnTo>
                  <a:lnTo>
                    <a:pt x="119" y="165"/>
                  </a:lnTo>
                  <a:lnTo>
                    <a:pt x="119" y="167"/>
                  </a:lnTo>
                  <a:lnTo>
                    <a:pt x="119" y="165"/>
                  </a:lnTo>
                  <a:lnTo>
                    <a:pt x="117" y="165"/>
                  </a:lnTo>
                  <a:lnTo>
                    <a:pt x="115" y="165"/>
                  </a:lnTo>
                  <a:lnTo>
                    <a:pt x="115" y="163"/>
                  </a:lnTo>
                  <a:lnTo>
                    <a:pt x="115" y="161"/>
                  </a:lnTo>
                  <a:lnTo>
                    <a:pt x="115" y="159"/>
                  </a:lnTo>
                  <a:lnTo>
                    <a:pt x="115" y="157"/>
                  </a:lnTo>
                  <a:lnTo>
                    <a:pt x="115" y="155"/>
                  </a:lnTo>
                  <a:lnTo>
                    <a:pt x="115" y="157"/>
                  </a:lnTo>
                  <a:lnTo>
                    <a:pt x="115" y="155"/>
                  </a:lnTo>
                  <a:lnTo>
                    <a:pt x="115" y="153"/>
                  </a:lnTo>
                  <a:lnTo>
                    <a:pt x="115" y="152"/>
                  </a:lnTo>
                  <a:lnTo>
                    <a:pt x="113" y="152"/>
                  </a:lnTo>
                  <a:lnTo>
                    <a:pt x="112" y="152"/>
                  </a:lnTo>
                  <a:lnTo>
                    <a:pt x="113" y="152"/>
                  </a:lnTo>
                  <a:lnTo>
                    <a:pt x="113" y="153"/>
                  </a:lnTo>
                  <a:lnTo>
                    <a:pt x="112" y="153"/>
                  </a:lnTo>
                  <a:lnTo>
                    <a:pt x="112" y="152"/>
                  </a:lnTo>
                  <a:lnTo>
                    <a:pt x="110" y="152"/>
                  </a:lnTo>
                  <a:lnTo>
                    <a:pt x="112" y="152"/>
                  </a:lnTo>
                  <a:lnTo>
                    <a:pt x="112" y="153"/>
                  </a:lnTo>
                  <a:lnTo>
                    <a:pt x="110" y="153"/>
                  </a:lnTo>
                  <a:lnTo>
                    <a:pt x="110" y="152"/>
                  </a:lnTo>
                  <a:lnTo>
                    <a:pt x="112" y="152"/>
                  </a:lnTo>
                  <a:lnTo>
                    <a:pt x="110" y="152"/>
                  </a:lnTo>
                  <a:lnTo>
                    <a:pt x="110" y="150"/>
                  </a:lnTo>
                  <a:lnTo>
                    <a:pt x="110" y="152"/>
                  </a:lnTo>
                  <a:lnTo>
                    <a:pt x="110" y="150"/>
                  </a:lnTo>
                  <a:lnTo>
                    <a:pt x="110" y="152"/>
                  </a:lnTo>
                  <a:lnTo>
                    <a:pt x="110" y="150"/>
                  </a:lnTo>
                  <a:lnTo>
                    <a:pt x="110" y="148"/>
                  </a:lnTo>
                  <a:lnTo>
                    <a:pt x="110" y="146"/>
                  </a:lnTo>
                  <a:lnTo>
                    <a:pt x="110" y="144"/>
                  </a:lnTo>
                  <a:close/>
                  <a:moveTo>
                    <a:pt x="106" y="148"/>
                  </a:moveTo>
                  <a:lnTo>
                    <a:pt x="106" y="150"/>
                  </a:lnTo>
                  <a:lnTo>
                    <a:pt x="104" y="150"/>
                  </a:lnTo>
                  <a:lnTo>
                    <a:pt x="104" y="152"/>
                  </a:lnTo>
                  <a:lnTo>
                    <a:pt x="106" y="152"/>
                  </a:lnTo>
                  <a:lnTo>
                    <a:pt x="106" y="153"/>
                  </a:lnTo>
                  <a:lnTo>
                    <a:pt x="106" y="155"/>
                  </a:lnTo>
                  <a:lnTo>
                    <a:pt x="104" y="155"/>
                  </a:lnTo>
                  <a:lnTo>
                    <a:pt x="104" y="157"/>
                  </a:lnTo>
                  <a:lnTo>
                    <a:pt x="106" y="157"/>
                  </a:lnTo>
                  <a:lnTo>
                    <a:pt x="104" y="157"/>
                  </a:lnTo>
                  <a:lnTo>
                    <a:pt x="106" y="157"/>
                  </a:lnTo>
                  <a:lnTo>
                    <a:pt x="104" y="157"/>
                  </a:lnTo>
                  <a:lnTo>
                    <a:pt x="106" y="157"/>
                  </a:lnTo>
                  <a:lnTo>
                    <a:pt x="106" y="159"/>
                  </a:lnTo>
                  <a:lnTo>
                    <a:pt x="104" y="159"/>
                  </a:lnTo>
                  <a:lnTo>
                    <a:pt x="104" y="161"/>
                  </a:lnTo>
                  <a:lnTo>
                    <a:pt x="104" y="159"/>
                  </a:lnTo>
                  <a:lnTo>
                    <a:pt x="104" y="161"/>
                  </a:lnTo>
                  <a:lnTo>
                    <a:pt x="106" y="161"/>
                  </a:lnTo>
                  <a:lnTo>
                    <a:pt x="104" y="161"/>
                  </a:lnTo>
                  <a:lnTo>
                    <a:pt x="104" y="163"/>
                  </a:lnTo>
                  <a:lnTo>
                    <a:pt x="104" y="161"/>
                  </a:lnTo>
                  <a:lnTo>
                    <a:pt x="102" y="161"/>
                  </a:lnTo>
                  <a:lnTo>
                    <a:pt x="102" y="163"/>
                  </a:lnTo>
                  <a:lnTo>
                    <a:pt x="100" y="163"/>
                  </a:lnTo>
                  <a:lnTo>
                    <a:pt x="100" y="165"/>
                  </a:lnTo>
                  <a:lnTo>
                    <a:pt x="98" y="165"/>
                  </a:lnTo>
                  <a:lnTo>
                    <a:pt x="100" y="165"/>
                  </a:lnTo>
                  <a:lnTo>
                    <a:pt x="98" y="165"/>
                  </a:lnTo>
                  <a:lnTo>
                    <a:pt x="100" y="165"/>
                  </a:lnTo>
                  <a:lnTo>
                    <a:pt x="98" y="165"/>
                  </a:lnTo>
                  <a:lnTo>
                    <a:pt x="100" y="165"/>
                  </a:lnTo>
                  <a:lnTo>
                    <a:pt x="98" y="165"/>
                  </a:lnTo>
                  <a:lnTo>
                    <a:pt x="98" y="167"/>
                  </a:lnTo>
                  <a:lnTo>
                    <a:pt x="98" y="169"/>
                  </a:lnTo>
                  <a:lnTo>
                    <a:pt x="98" y="171"/>
                  </a:lnTo>
                  <a:lnTo>
                    <a:pt x="96" y="171"/>
                  </a:lnTo>
                  <a:lnTo>
                    <a:pt x="96" y="173"/>
                  </a:lnTo>
                  <a:lnTo>
                    <a:pt x="96" y="175"/>
                  </a:lnTo>
                  <a:lnTo>
                    <a:pt x="94" y="175"/>
                  </a:lnTo>
                  <a:lnTo>
                    <a:pt x="94" y="173"/>
                  </a:lnTo>
                  <a:lnTo>
                    <a:pt x="94" y="171"/>
                  </a:lnTo>
                  <a:lnTo>
                    <a:pt x="94" y="169"/>
                  </a:lnTo>
                  <a:lnTo>
                    <a:pt x="96" y="169"/>
                  </a:lnTo>
                  <a:lnTo>
                    <a:pt x="96" y="167"/>
                  </a:lnTo>
                  <a:lnTo>
                    <a:pt x="96" y="165"/>
                  </a:lnTo>
                  <a:lnTo>
                    <a:pt x="98" y="165"/>
                  </a:lnTo>
                  <a:lnTo>
                    <a:pt x="98" y="163"/>
                  </a:lnTo>
                  <a:lnTo>
                    <a:pt x="98" y="161"/>
                  </a:lnTo>
                  <a:lnTo>
                    <a:pt x="100" y="161"/>
                  </a:lnTo>
                  <a:lnTo>
                    <a:pt x="100" y="159"/>
                  </a:lnTo>
                  <a:lnTo>
                    <a:pt x="100" y="157"/>
                  </a:lnTo>
                  <a:lnTo>
                    <a:pt x="102" y="157"/>
                  </a:lnTo>
                  <a:lnTo>
                    <a:pt x="102" y="155"/>
                  </a:lnTo>
                  <a:lnTo>
                    <a:pt x="102" y="153"/>
                  </a:lnTo>
                  <a:lnTo>
                    <a:pt x="104" y="153"/>
                  </a:lnTo>
                  <a:lnTo>
                    <a:pt x="102" y="153"/>
                  </a:lnTo>
                  <a:lnTo>
                    <a:pt x="104" y="153"/>
                  </a:lnTo>
                  <a:lnTo>
                    <a:pt x="104" y="152"/>
                  </a:lnTo>
                  <a:lnTo>
                    <a:pt x="104" y="150"/>
                  </a:lnTo>
                  <a:lnTo>
                    <a:pt x="104" y="152"/>
                  </a:lnTo>
                  <a:lnTo>
                    <a:pt x="104" y="150"/>
                  </a:lnTo>
                  <a:lnTo>
                    <a:pt x="104" y="148"/>
                  </a:lnTo>
                  <a:lnTo>
                    <a:pt x="106" y="148"/>
                  </a:lnTo>
                  <a:close/>
                  <a:moveTo>
                    <a:pt x="110" y="163"/>
                  </a:moveTo>
                  <a:lnTo>
                    <a:pt x="110" y="165"/>
                  </a:lnTo>
                  <a:lnTo>
                    <a:pt x="112" y="165"/>
                  </a:lnTo>
                  <a:lnTo>
                    <a:pt x="113" y="165"/>
                  </a:lnTo>
                  <a:lnTo>
                    <a:pt x="113" y="167"/>
                  </a:lnTo>
                  <a:lnTo>
                    <a:pt x="112" y="167"/>
                  </a:lnTo>
                  <a:lnTo>
                    <a:pt x="113" y="167"/>
                  </a:lnTo>
                  <a:lnTo>
                    <a:pt x="112" y="167"/>
                  </a:lnTo>
                  <a:lnTo>
                    <a:pt x="113" y="167"/>
                  </a:lnTo>
                  <a:lnTo>
                    <a:pt x="112" y="167"/>
                  </a:lnTo>
                  <a:lnTo>
                    <a:pt x="113" y="167"/>
                  </a:lnTo>
                  <a:lnTo>
                    <a:pt x="113" y="169"/>
                  </a:lnTo>
                  <a:lnTo>
                    <a:pt x="112" y="169"/>
                  </a:lnTo>
                  <a:lnTo>
                    <a:pt x="113" y="169"/>
                  </a:lnTo>
                  <a:lnTo>
                    <a:pt x="113" y="171"/>
                  </a:lnTo>
                  <a:lnTo>
                    <a:pt x="113" y="169"/>
                  </a:lnTo>
                  <a:lnTo>
                    <a:pt x="113" y="171"/>
                  </a:lnTo>
                  <a:lnTo>
                    <a:pt x="112" y="171"/>
                  </a:lnTo>
                  <a:lnTo>
                    <a:pt x="110" y="171"/>
                  </a:lnTo>
                  <a:lnTo>
                    <a:pt x="110" y="173"/>
                  </a:lnTo>
                  <a:lnTo>
                    <a:pt x="108" y="173"/>
                  </a:lnTo>
                  <a:lnTo>
                    <a:pt x="106" y="173"/>
                  </a:lnTo>
                  <a:lnTo>
                    <a:pt x="104" y="173"/>
                  </a:lnTo>
                  <a:lnTo>
                    <a:pt x="102" y="173"/>
                  </a:lnTo>
                  <a:lnTo>
                    <a:pt x="102" y="171"/>
                  </a:lnTo>
                  <a:lnTo>
                    <a:pt x="102" y="173"/>
                  </a:lnTo>
                  <a:lnTo>
                    <a:pt x="102" y="171"/>
                  </a:lnTo>
                  <a:lnTo>
                    <a:pt x="102" y="173"/>
                  </a:lnTo>
                  <a:lnTo>
                    <a:pt x="102" y="171"/>
                  </a:lnTo>
                  <a:lnTo>
                    <a:pt x="102" y="169"/>
                  </a:lnTo>
                  <a:lnTo>
                    <a:pt x="102" y="167"/>
                  </a:lnTo>
                  <a:lnTo>
                    <a:pt x="104" y="167"/>
                  </a:lnTo>
                  <a:lnTo>
                    <a:pt x="102" y="167"/>
                  </a:lnTo>
                  <a:lnTo>
                    <a:pt x="104" y="167"/>
                  </a:lnTo>
                  <a:lnTo>
                    <a:pt x="102" y="167"/>
                  </a:lnTo>
                  <a:lnTo>
                    <a:pt x="104" y="167"/>
                  </a:lnTo>
                  <a:lnTo>
                    <a:pt x="106" y="167"/>
                  </a:lnTo>
                  <a:lnTo>
                    <a:pt x="106" y="165"/>
                  </a:lnTo>
                  <a:lnTo>
                    <a:pt x="108" y="165"/>
                  </a:lnTo>
                  <a:lnTo>
                    <a:pt x="108" y="163"/>
                  </a:lnTo>
                  <a:lnTo>
                    <a:pt x="108" y="165"/>
                  </a:lnTo>
                  <a:lnTo>
                    <a:pt x="110" y="165"/>
                  </a:lnTo>
                  <a:lnTo>
                    <a:pt x="110" y="163"/>
                  </a:lnTo>
                  <a:close/>
                  <a:moveTo>
                    <a:pt x="94" y="128"/>
                  </a:moveTo>
                  <a:lnTo>
                    <a:pt x="96" y="128"/>
                  </a:lnTo>
                  <a:lnTo>
                    <a:pt x="94" y="128"/>
                  </a:lnTo>
                  <a:lnTo>
                    <a:pt x="94" y="130"/>
                  </a:lnTo>
                  <a:lnTo>
                    <a:pt x="96" y="130"/>
                  </a:lnTo>
                  <a:lnTo>
                    <a:pt x="96" y="128"/>
                  </a:lnTo>
                  <a:lnTo>
                    <a:pt x="98" y="128"/>
                  </a:lnTo>
                  <a:lnTo>
                    <a:pt x="98" y="130"/>
                  </a:lnTo>
                  <a:lnTo>
                    <a:pt x="98" y="128"/>
                  </a:lnTo>
                  <a:lnTo>
                    <a:pt x="98" y="130"/>
                  </a:lnTo>
                  <a:lnTo>
                    <a:pt x="100" y="130"/>
                  </a:lnTo>
                  <a:lnTo>
                    <a:pt x="98" y="130"/>
                  </a:lnTo>
                  <a:lnTo>
                    <a:pt x="100" y="130"/>
                  </a:lnTo>
                  <a:lnTo>
                    <a:pt x="100" y="132"/>
                  </a:lnTo>
                  <a:lnTo>
                    <a:pt x="100" y="130"/>
                  </a:lnTo>
                  <a:lnTo>
                    <a:pt x="100" y="132"/>
                  </a:lnTo>
                  <a:lnTo>
                    <a:pt x="102" y="132"/>
                  </a:lnTo>
                  <a:lnTo>
                    <a:pt x="100" y="132"/>
                  </a:lnTo>
                  <a:lnTo>
                    <a:pt x="102" y="132"/>
                  </a:lnTo>
                  <a:lnTo>
                    <a:pt x="102" y="134"/>
                  </a:lnTo>
                  <a:lnTo>
                    <a:pt x="102" y="132"/>
                  </a:lnTo>
                  <a:lnTo>
                    <a:pt x="102" y="134"/>
                  </a:lnTo>
                  <a:lnTo>
                    <a:pt x="102" y="132"/>
                  </a:lnTo>
                  <a:lnTo>
                    <a:pt x="102" y="134"/>
                  </a:lnTo>
                  <a:lnTo>
                    <a:pt x="104" y="134"/>
                  </a:lnTo>
                  <a:lnTo>
                    <a:pt x="104" y="136"/>
                  </a:lnTo>
                  <a:lnTo>
                    <a:pt x="106" y="136"/>
                  </a:lnTo>
                  <a:lnTo>
                    <a:pt x="106" y="138"/>
                  </a:lnTo>
                  <a:lnTo>
                    <a:pt x="106" y="136"/>
                  </a:lnTo>
                  <a:lnTo>
                    <a:pt x="104" y="136"/>
                  </a:lnTo>
                  <a:lnTo>
                    <a:pt x="104" y="138"/>
                  </a:lnTo>
                  <a:lnTo>
                    <a:pt x="106" y="138"/>
                  </a:lnTo>
                  <a:lnTo>
                    <a:pt x="106" y="140"/>
                  </a:lnTo>
                  <a:lnTo>
                    <a:pt x="104" y="140"/>
                  </a:lnTo>
                  <a:lnTo>
                    <a:pt x="104" y="138"/>
                  </a:lnTo>
                  <a:lnTo>
                    <a:pt x="102" y="138"/>
                  </a:lnTo>
                  <a:lnTo>
                    <a:pt x="100" y="138"/>
                  </a:lnTo>
                  <a:lnTo>
                    <a:pt x="100" y="136"/>
                  </a:lnTo>
                  <a:lnTo>
                    <a:pt x="98" y="136"/>
                  </a:lnTo>
                  <a:lnTo>
                    <a:pt x="98" y="134"/>
                  </a:lnTo>
                  <a:lnTo>
                    <a:pt x="98" y="136"/>
                  </a:lnTo>
                  <a:lnTo>
                    <a:pt x="98" y="134"/>
                  </a:lnTo>
                  <a:lnTo>
                    <a:pt x="98" y="132"/>
                  </a:lnTo>
                  <a:lnTo>
                    <a:pt x="96" y="134"/>
                  </a:lnTo>
                  <a:lnTo>
                    <a:pt x="94" y="134"/>
                  </a:lnTo>
                  <a:lnTo>
                    <a:pt x="94" y="136"/>
                  </a:lnTo>
                  <a:lnTo>
                    <a:pt x="94" y="134"/>
                  </a:lnTo>
                  <a:lnTo>
                    <a:pt x="94" y="136"/>
                  </a:lnTo>
                  <a:lnTo>
                    <a:pt x="94" y="134"/>
                  </a:lnTo>
                  <a:lnTo>
                    <a:pt x="94" y="136"/>
                  </a:lnTo>
                  <a:lnTo>
                    <a:pt x="94" y="134"/>
                  </a:lnTo>
                  <a:lnTo>
                    <a:pt x="94" y="136"/>
                  </a:lnTo>
                  <a:lnTo>
                    <a:pt x="94" y="138"/>
                  </a:lnTo>
                  <a:lnTo>
                    <a:pt x="92" y="138"/>
                  </a:lnTo>
                  <a:lnTo>
                    <a:pt x="92" y="136"/>
                  </a:lnTo>
                  <a:lnTo>
                    <a:pt x="92" y="134"/>
                  </a:lnTo>
                  <a:lnTo>
                    <a:pt x="94" y="134"/>
                  </a:lnTo>
                  <a:lnTo>
                    <a:pt x="94" y="132"/>
                  </a:lnTo>
                  <a:lnTo>
                    <a:pt x="94" y="134"/>
                  </a:lnTo>
                  <a:lnTo>
                    <a:pt x="94" y="132"/>
                  </a:lnTo>
                  <a:lnTo>
                    <a:pt x="94" y="134"/>
                  </a:lnTo>
                  <a:lnTo>
                    <a:pt x="94" y="132"/>
                  </a:lnTo>
                  <a:lnTo>
                    <a:pt x="94" y="134"/>
                  </a:lnTo>
                  <a:lnTo>
                    <a:pt x="94" y="132"/>
                  </a:lnTo>
                  <a:lnTo>
                    <a:pt x="94" y="134"/>
                  </a:lnTo>
                  <a:lnTo>
                    <a:pt x="94" y="132"/>
                  </a:lnTo>
                  <a:lnTo>
                    <a:pt x="92" y="132"/>
                  </a:lnTo>
                  <a:lnTo>
                    <a:pt x="92" y="134"/>
                  </a:lnTo>
                  <a:lnTo>
                    <a:pt x="92" y="132"/>
                  </a:lnTo>
                  <a:lnTo>
                    <a:pt x="94" y="132"/>
                  </a:lnTo>
                  <a:lnTo>
                    <a:pt x="92" y="132"/>
                  </a:lnTo>
                  <a:lnTo>
                    <a:pt x="94" y="132"/>
                  </a:lnTo>
                  <a:lnTo>
                    <a:pt x="94" y="130"/>
                  </a:lnTo>
                  <a:lnTo>
                    <a:pt x="94" y="132"/>
                  </a:lnTo>
                  <a:lnTo>
                    <a:pt x="94" y="130"/>
                  </a:lnTo>
                  <a:lnTo>
                    <a:pt x="94" y="128"/>
                  </a:lnTo>
                  <a:close/>
                  <a:moveTo>
                    <a:pt x="108" y="105"/>
                  </a:moveTo>
                  <a:lnTo>
                    <a:pt x="108" y="107"/>
                  </a:lnTo>
                  <a:lnTo>
                    <a:pt x="110" y="107"/>
                  </a:lnTo>
                  <a:lnTo>
                    <a:pt x="108" y="107"/>
                  </a:lnTo>
                  <a:lnTo>
                    <a:pt x="110" y="107"/>
                  </a:lnTo>
                  <a:lnTo>
                    <a:pt x="110" y="109"/>
                  </a:lnTo>
                  <a:lnTo>
                    <a:pt x="110" y="107"/>
                  </a:lnTo>
                  <a:lnTo>
                    <a:pt x="110" y="109"/>
                  </a:lnTo>
                  <a:lnTo>
                    <a:pt x="110" y="107"/>
                  </a:lnTo>
                  <a:lnTo>
                    <a:pt x="110" y="109"/>
                  </a:lnTo>
                  <a:lnTo>
                    <a:pt x="112" y="109"/>
                  </a:lnTo>
                  <a:lnTo>
                    <a:pt x="110" y="109"/>
                  </a:lnTo>
                  <a:lnTo>
                    <a:pt x="112" y="109"/>
                  </a:lnTo>
                  <a:lnTo>
                    <a:pt x="110" y="109"/>
                  </a:lnTo>
                  <a:lnTo>
                    <a:pt x="112" y="109"/>
                  </a:lnTo>
                  <a:lnTo>
                    <a:pt x="110" y="109"/>
                  </a:lnTo>
                  <a:lnTo>
                    <a:pt x="112" y="109"/>
                  </a:lnTo>
                  <a:lnTo>
                    <a:pt x="110" y="109"/>
                  </a:lnTo>
                  <a:lnTo>
                    <a:pt x="112" y="109"/>
                  </a:lnTo>
                  <a:lnTo>
                    <a:pt x="110" y="109"/>
                  </a:lnTo>
                  <a:lnTo>
                    <a:pt x="112" y="109"/>
                  </a:lnTo>
                  <a:lnTo>
                    <a:pt x="110" y="109"/>
                  </a:lnTo>
                  <a:lnTo>
                    <a:pt x="112" y="109"/>
                  </a:lnTo>
                  <a:lnTo>
                    <a:pt x="110" y="109"/>
                  </a:lnTo>
                  <a:lnTo>
                    <a:pt x="110" y="111"/>
                  </a:lnTo>
                  <a:lnTo>
                    <a:pt x="112" y="111"/>
                  </a:lnTo>
                  <a:lnTo>
                    <a:pt x="110" y="111"/>
                  </a:lnTo>
                  <a:lnTo>
                    <a:pt x="110" y="113"/>
                  </a:lnTo>
                  <a:lnTo>
                    <a:pt x="108" y="113"/>
                  </a:lnTo>
                  <a:lnTo>
                    <a:pt x="106" y="113"/>
                  </a:lnTo>
                  <a:lnTo>
                    <a:pt x="106" y="111"/>
                  </a:lnTo>
                  <a:lnTo>
                    <a:pt x="106" y="109"/>
                  </a:lnTo>
                  <a:lnTo>
                    <a:pt x="106" y="107"/>
                  </a:lnTo>
                  <a:lnTo>
                    <a:pt x="106" y="105"/>
                  </a:lnTo>
                  <a:lnTo>
                    <a:pt x="108" y="105"/>
                  </a:lnTo>
                  <a:close/>
                  <a:moveTo>
                    <a:pt x="77" y="215"/>
                  </a:moveTo>
                  <a:lnTo>
                    <a:pt x="79" y="215"/>
                  </a:lnTo>
                  <a:lnTo>
                    <a:pt x="79" y="217"/>
                  </a:lnTo>
                  <a:lnTo>
                    <a:pt x="79" y="215"/>
                  </a:lnTo>
                  <a:lnTo>
                    <a:pt x="79" y="217"/>
                  </a:lnTo>
                  <a:lnTo>
                    <a:pt x="81" y="217"/>
                  </a:lnTo>
                  <a:lnTo>
                    <a:pt x="79" y="217"/>
                  </a:lnTo>
                  <a:lnTo>
                    <a:pt x="79" y="219"/>
                  </a:lnTo>
                  <a:lnTo>
                    <a:pt x="79" y="217"/>
                  </a:lnTo>
                  <a:lnTo>
                    <a:pt x="79" y="219"/>
                  </a:lnTo>
                  <a:lnTo>
                    <a:pt x="77" y="219"/>
                  </a:lnTo>
                  <a:lnTo>
                    <a:pt x="75" y="219"/>
                  </a:lnTo>
                  <a:lnTo>
                    <a:pt x="77" y="219"/>
                  </a:lnTo>
                  <a:lnTo>
                    <a:pt x="75" y="219"/>
                  </a:lnTo>
                  <a:lnTo>
                    <a:pt x="73" y="219"/>
                  </a:lnTo>
                  <a:lnTo>
                    <a:pt x="75" y="219"/>
                  </a:lnTo>
                  <a:lnTo>
                    <a:pt x="73" y="219"/>
                  </a:lnTo>
                  <a:lnTo>
                    <a:pt x="73" y="217"/>
                  </a:lnTo>
                  <a:lnTo>
                    <a:pt x="73" y="215"/>
                  </a:lnTo>
                  <a:lnTo>
                    <a:pt x="75" y="215"/>
                  </a:lnTo>
                  <a:lnTo>
                    <a:pt x="77" y="215"/>
                  </a:lnTo>
                  <a:close/>
                  <a:moveTo>
                    <a:pt x="44" y="132"/>
                  </a:moveTo>
                  <a:lnTo>
                    <a:pt x="46" y="132"/>
                  </a:lnTo>
                  <a:lnTo>
                    <a:pt x="46" y="134"/>
                  </a:lnTo>
                  <a:lnTo>
                    <a:pt x="48" y="134"/>
                  </a:lnTo>
                  <a:lnTo>
                    <a:pt x="46" y="134"/>
                  </a:lnTo>
                  <a:lnTo>
                    <a:pt x="48" y="134"/>
                  </a:lnTo>
                  <a:lnTo>
                    <a:pt x="46" y="134"/>
                  </a:lnTo>
                  <a:lnTo>
                    <a:pt x="48" y="134"/>
                  </a:lnTo>
                  <a:lnTo>
                    <a:pt x="50" y="134"/>
                  </a:lnTo>
                  <a:lnTo>
                    <a:pt x="48" y="134"/>
                  </a:lnTo>
                  <a:lnTo>
                    <a:pt x="50" y="134"/>
                  </a:lnTo>
                  <a:lnTo>
                    <a:pt x="48" y="134"/>
                  </a:lnTo>
                  <a:lnTo>
                    <a:pt x="50" y="134"/>
                  </a:lnTo>
                  <a:lnTo>
                    <a:pt x="48" y="134"/>
                  </a:lnTo>
                  <a:lnTo>
                    <a:pt x="50" y="134"/>
                  </a:lnTo>
                  <a:lnTo>
                    <a:pt x="48" y="134"/>
                  </a:lnTo>
                  <a:lnTo>
                    <a:pt x="50" y="134"/>
                  </a:lnTo>
                  <a:lnTo>
                    <a:pt x="48" y="134"/>
                  </a:lnTo>
                  <a:lnTo>
                    <a:pt x="48" y="132"/>
                  </a:lnTo>
                  <a:lnTo>
                    <a:pt x="50" y="132"/>
                  </a:lnTo>
                  <a:lnTo>
                    <a:pt x="50" y="134"/>
                  </a:lnTo>
                  <a:lnTo>
                    <a:pt x="50" y="136"/>
                  </a:lnTo>
                  <a:lnTo>
                    <a:pt x="48" y="136"/>
                  </a:lnTo>
                  <a:lnTo>
                    <a:pt x="48" y="138"/>
                  </a:lnTo>
                  <a:lnTo>
                    <a:pt x="48" y="136"/>
                  </a:lnTo>
                  <a:lnTo>
                    <a:pt x="46" y="136"/>
                  </a:lnTo>
                  <a:lnTo>
                    <a:pt x="48" y="136"/>
                  </a:lnTo>
                  <a:lnTo>
                    <a:pt x="46" y="136"/>
                  </a:lnTo>
                  <a:lnTo>
                    <a:pt x="44" y="136"/>
                  </a:lnTo>
                  <a:lnTo>
                    <a:pt x="44" y="134"/>
                  </a:lnTo>
                  <a:lnTo>
                    <a:pt x="44" y="132"/>
                  </a:lnTo>
                  <a:close/>
                  <a:moveTo>
                    <a:pt x="73" y="113"/>
                  </a:moveTo>
                  <a:lnTo>
                    <a:pt x="75" y="113"/>
                  </a:lnTo>
                  <a:lnTo>
                    <a:pt x="77" y="113"/>
                  </a:lnTo>
                  <a:lnTo>
                    <a:pt x="75" y="113"/>
                  </a:lnTo>
                  <a:lnTo>
                    <a:pt x="77" y="113"/>
                  </a:lnTo>
                  <a:lnTo>
                    <a:pt x="75" y="113"/>
                  </a:lnTo>
                  <a:lnTo>
                    <a:pt x="77" y="113"/>
                  </a:lnTo>
                  <a:lnTo>
                    <a:pt x="77" y="115"/>
                  </a:lnTo>
                  <a:lnTo>
                    <a:pt x="75" y="115"/>
                  </a:lnTo>
                  <a:lnTo>
                    <a:pt x="77" y="115"/>
                  </a:lnTo>
                  <a:lnTo>
                    <a:pt x="75" y="115"/>
                  </a:lnTo>
                  <a:lnTo>
                    <a:pt x="77" y="115"/>
                  </a:lnTo>
                  <a:lnTo>
                    <a:pt x="77" y="117"/>
                  </a:lnTo>
                  <a:lnTo>
                    <a:pt x="77" y="115"/>
                  </a:lnTo>
                  <a:lnTo>
                    <a:pt x="77" y="117"/>
                  </a:lnTo>
                  <a:lnTo>
                    <a:pt x="77" y="115"/>
                  </a:lnTo>
                  <a:lnTo>
                    <a:pt x="77" y="117"/>
                  </a:lnTo>
                  <a:lnTo>
                    <a:pt x="75" y="117"/>
                  </a:lnTo>
                  <a:lnTo>
                    <a:pt x="77" y="117"/>
                  </a:lnTo>
                  <a:lnTo>
                    <a:pt x="77" y="119"/>
                  </a:lnTo>
                  <a:lnTo>
                    <a:pt x="75" y="119"/>
                  </a:lnTo>
                  <a:lnTo>
                    <a:pt x="75" y="117"/>
                  </a:lnTo>
                  <a:lnTo>
                    <a:pt x="73" y="117"/>
                  </a:lnTo>
                  <a:lnTo>
                    <a:pt x="73" y="115"/>
                  </a:lnTo>
                  <a:lnTo>
                    <a:pt x="73" y="117"/>
                  </a:lnTo>
                  <a:lnTo>
                    <a:pt x="73" y="115"/>
                  </a:lnTo>
                  <a:lnTo>
                    <a:pt x="73" y="113"/>
                  </a:lnTo>
                  <a:close/>
                  <a:moveTo>
                    <a:pt x="62" y="225"/>
                  </a:moveTo>
                  <a:lnTo>
                    <a:pt x="64" y="225"/>
                  </a:lnTo>
                  <a:lnTo>
                    <a:pt x="64" y="226"/>
                  </a:lnTo>
                  <a:lnTo>
                    <a:pt x="64" y="225"/>
                  </a:lnTo>
                  <a:lnTo>
                    <a:pt x="66" y="225"/>
                  </a:lnTo>
                  <a:lnTo>
                    <a:pt x="66" y="226"/>
                  </a:lnTo>
                  <a:lnTo>
                    <a:pt x="66" y="225"/>
                  </a:lnTo>
                  <a:lnTo>
                    <a:pt x="66" y="226"/>
                  </a:lnTo>
                  <a:lnTo>
                    <a:pt x="66" y="225"/>
                  </a:lnTo>
                  <a:lnTo>
                    <a:pt x="67" y="225"/>
                  </a:lnTo>
                  <a:lnTo>
                    <a:pt x="66" y="225"/>
                  </a:lnTo>
                  <a:lnTo>
                    <a:pt x="67" y="225"/>
                  </a:lnTo>
                  <a:lnTo>
                    <a:pt x="66" y="225"/>
                  </a:lnTo>
                  <a:lnTo>
                    <a:pt x="67" y="225"/>
                  </a:lnTo>
                  <a:lnTo>
                    <a:pt x="67" y="226"/>
                  </a:lnTo>
                  <a:lnTo>
                    <a:pt x="66" y="226"/>
                  </a:lnTo>
                  <a:lnTo>
                    <a:pt x="67" y="226"/>
                  </a:lnTo>
                  <a:lnTo>
                    <a:pt x="66" y="226"/>
                  </a:lnTo>
                  <a:lnTo>
                    <a:pt x="66" y="228"/>
                  </a:lnTo>
                  <a:lnTo>
                    <a:pt x="66" y="226"/>
                  </a:lnTo>
                  <a:lnTo>
                    <a:pt x="66" y="228"/>
                  </a:lnTo>
                  <a:lnTo>
                    <a:pt x="66" y="226"/>
                  </a:lnTo>
                  <a:lnTo>
                    <a:pt x="66" y="228"/>
                  </a:lnTo>
                  <a:lnTo>
                    <a:pt x="66" y="226"/>
                  </a:lnTo>
                  <a:lnTo>
                    <a:pt x="64" y="226"/>
                  </a:lnTo>
                  <a:lnTo>
                    <a:pt x="62" y="226"/>
                  </a:lnTo>
                  <a:lnTo>
                    <a:pt x="64" y="226"/>
                  </a:lnTo>
                  <a:lnTo>
                    <a:pt x="62" y="226"/>
                  </a:lnTo>
                  <a:lnTo>
                    <a:pt x="64" y="226"/>
                  </a:lnTo>
                  <a:lnTo>
                    <a:pt x="62" y="226"/>
                  </a:lnTo>
                  <a:lnTo>
                    <a:pt x="64" y="226"/>
                  </a:lnTo>
                  <a:lnTo>
                    <a:pt x="62" y="226"/>
                  </a:lnTo>
                  <a:lnTo>
                    <a:pt x="64" y="226"/>
                  </a:lnTo>
                  <a:lnTo>
                    <a:pt x="62" y="226"/>
                  </a:lnTo>
                  <a:lnTo>
                    <a:pt x="60" y="226"/>
                  </a:lnTo>
                  <a:lnTo>
                    <a:pt x="62" y="226"/>
                  </a:lnTo>
                  <a:lnTo>
                    <a:pt x="60" y="226"/>
                  </a:lnTo>
                  <a:lnTo>
                    <a:pt x="60" y="225"/>
                  </a:lnTo>
                  <a:lnTo>
                    <a:pt x="62" y="225"/>
                  </a:lnTo>
                  <a:close/>
                  <a:moveTo>
                    <a:pt x="129" y="159"/>
                  </a:moveTo>
                  <a:lnTo>
                    <a:pt x="129" y="161"/>
                  </a:lnTo>
                  <a:lnTo>
                    <a:pt x="129" y="163"/>
                  </a:lnTo>
                  <a:lnTo>
                    <a:pt x="129" y="165"/>
                  </a:lnTo>
                  <a:lnTo>
                    <a:pt x="129" y="167"/>
                  </a:lnTo>
                  <a:lnTo>
                    <a:pt x="129" y="169"/>
                  </a:lnTo>
                  <a:lnTo>
                    <a:pt x="129" y="167"/>
                  </a:lnTo>
                  <a:lnTo>
                    <a:pt x="127" y="167"/>
                  </a:lnTo>
                  <a:lnTo>
                    <a:pt x="129" y="167"/>
                  </a:lnTo>
                  <a:lnTo>
                    <a:pt x="127" y="167"/>
                  </a:lnTo>
                  <a:lnTo>
                    <a:pt x="129" y="167"/>
                  </a:lnTo>
                  <a:lnTo>
                    <a:pt x="127" y="167"/>
                  </a:lnTo>
                  <a:lnTo>
                    <a:pt x="129" y="167"/>
                  </a:lnTo>
                  <a:lnTo>
                    <a:pt x="127" y="167"/>
                  </a:lnTo>
                  <a:lnTo>
                    <a:pt x="129" y="167"/>
                  </a:lnTo>
                  <a:lnTo>
                    <a:pt x="127" y="167"/>
                  </a:lnTo>
                  <a:lnTo>
                    <a:pt x="127" y="165"/>
                  </a:lnTo>
                  <a:lnTo>
                    <a:pt x="127" y="167"/>
                  </a:lnTo>
                  <a:lnTo>
                    <a:pt x="127" y="165"/>
                  </a:lnTo>
                  <a:lnTo>
                    <a:pt x="127" y="167"/>
                  </a:lnTo>
                  <a:lnTo>
                    <a:pt x="127" y="165"/>
                  </a:lnTo>
                  <a:lnTo>
                    <a:pt x="127" y="167"/>
                  </a:lnTo>
                  <a:lnTo>
                    <a:pt x="127" y="165"/>
                  </a:lnTo>
                  <a:lnTo>
                    <a:pt x="127" y="167"/>
                  </a:lnTo>
                  <a:lnTo>
                    <a:pt x="127" y="165"/>
                  </a:lnTo>
                  <a:lnTo>
                    <a:pt x="129" y="165"/>
                  </a:lnTo>
                  <a:lnTo>
                    <a:pt x="127" y="165"/>
                  </a:lnTo>
                  <a:lnTo>
                    <a:pt x="129" y="165"/>
                  </a:lnTo>
                  <a:lnTo>
                    <a:pt x="127" y="165"/>
                  </a:lnTo>
                  <a:lnTo>
                    <a:pt x="129" y="165"/>
                  </a:lnTo>
                  <a:lnTo>
                    <a:pt x="127" y="165"/>
                  </a:lnTo>
                  <a:lnTo>
                    <a:pt x="127" y="163"/>
                  </a:lnTo>
                  <a:lnTo>
                    <a:pt x="127" y="161"/>
                  </a:lnTo>
                  <a:lnTo>
                    <a:pt x="127" y="163"/>
                  </a:lnTo>
                  <a:lnTo>
                    <a:pt x="127" y="161"/>
                  </a:lnTo>
                  <a:lnTo>
                    <a:pt x="129" y="161"/>
                  </a:lnTo>
                  <a:lnTo>
                    <a:pt x="129" y="159"/>
                  </a:lnTo>
                  <a:close/>
                  <a:moveTo>
                    <a:pt x="77" y="127"/>
                  </a:moveTo>
                  <a:lnTo>
                    <a:pt x="77" y="128"/>
                  </a:lnTo>
                  <a:lnTo>
                    <a:pt x="77" y="130"/>
                  </a:lnTo>
                  <a:lnTo>
                    <a:pt x="77" y="132"/>
                  </a:lnTo>
                  <a:lnTo>
                    <a:pt x="75" y="132"/>
                  </a:lnTo>
                  <a:lnTo>
                    <a:pt x="75" y="134"/>
                  </a:lnTo>
                  <a:lnTo>
                    <a:pt x="77" y="134"/>
                  </a:lnTo>
                  <a:lnTo>
                    <a:pt x="75" y="134"/>
                  </a:lnTo>
                  <a:lnTo>
                    <a:pt x="75" y="132"/>
                  </a:lnTo>
                  <a:lnTo>
                    <a:pt x="75" y="134"/>
                  </a:lnTo>
                  <a:lnTo>
                    <a:pt x="75" y="132"/>
                  </a:lnTo>
                  <a:lnTo>
                    <a:pt x="75" y="134"/>
                  </a:lnTo>
                  <a:lnTo>
                    <a:pt x="75" y="132"/>
                  </a:lnTo>
                  <a:lnTo>
                    <a:pt x="75" y="134"/>
                  </a:lnTo>
                  <a:lnTo>
                    <a:pt x="75" y="132"/>
                  </a:lnTo>
                  <a:lnTo>
                    <a:pt x="73" y="132"/>
                  </a:lnTo>
                  <a:lnTo>
                    <a:pt x="75" y="132"/>
                  </a:lnTo>
                  <a:lnTo>
                    <a:pt x="75" y="130"/>
                  </a:lnTo>
                  <a:lnTo>
                    <a:pt x="75" y="128"/>
                  </a:lnTo>
                  <a:lnTo>
                    <a:pt x="75" y="127"/>
                  </a:lnTo>
                  <a:lnTo>
                    <a:pt x="75" y="128"/>
                  </a:lnTo>
                  <a:lnTo>
                    <a:pt x="75" y="127"/>
                  </a:lnTo>
                  <a:lnTo>
                    <a:pt x="77" y="127"/>
                  </a:lnTo>
                  <a:close/>
                  <a:moveTo>
                    <a:pt x="75" y="90"/>
                  </a:moveTo>
                  <a:lnTo>
                    <a:pt x="75" y="92"/>
                  </a:lnTo>
                  <a:lnTo>
                    <a:pt x="77" y="92"/>
                  </a:lnTo>
                  <a:lnTo>
                    <a:pt x="75" y="92"/>
                  </a:lnTo>
                  <a:lnTo>
                    <a:pt x="75" y="94"/>
                  </a:lnTo>
                  <a:lnTo>
                    <a:pt x="75" y="92"/>
                  </a:lnTo>
                  <a:lnTo>
                    <a:pt x="75" y="94"/>
                  </a:lnTo>
                  <a:lnTo>
                    <a:pt x="75" y="96"/>
                  </a:lnTo>
                  <a:lnTo>
                    <a:pt x="75" y="98"/>
                  </a:lnTo>
                  <a:lnTo>
                    <a:pt x="75" y="96"/>
                  </a:lnTo>
                  <a:lnTo>
                    <a:pt x="75" y="98"/>
                  </a:lnTo>
                  <a:lnTo>
                    <a:pt x="73" y="98"/>
                  </a:lnTo>
                  <a:lnTo>
                    <a:pt x="73" y="96"/>
                  </a:lnTo>
                  <a:lnTo>
                    <a:pt x="75" y="96"/>
                  </a:lnTo>
                  <a:lnTo>
                    <a:pt x="73" y="96"/>
                  </a:lnTo>
                  <a:lnTo>
                    <a:pt x="73" y="94"/>
                  </a:lnTo>
                  <a:lnTo>
                    <a:pt x="73" y="92"/>
                  </a:lnTo>
                  <a:lnTo>
                    <a:pt x="73" y="90"/>
                  </a:lnTo>
                  <a:lnTo>
                    <a:pt x="73" y="92"/>
                  </a:lnTo>
                  <a:lnTo>
                    <a:pt x="73" y="90"/>
                  </a:lnTo>
                  <a:lnTo>
                    <a:pt x="73" y="92"/>
                  </a:lnTo>
                  <a:lnTo>
                    <a:pt x="73" y="90"/>
                  </a:lnTo>
                  <a:lnTo>
                    <a:pt x="75" y="90"/>
                  </a:lnTo>
                  <a:close/>
                  <a:moveTo>
                    <a:pt x="48" y="234"/>
                  </a:moveTo>
                  <a:lnTo>
                    <a:pt x="48" y="236"/>
                  </a:lnTo>
                  <a:lnTo>
                    <a:pt x="50" y="236"/>
                  </a:lnTo>
                  <a:lnTo>
                    <a:pt x="50" y="238"/>
                  </a:lnTo>
                  <a:lnTo>
                    <a:pt x="48" y="238"/>
                  </a:lnTo>
                  <a:lnTo>
                    <a:pt x="46" y="238"/>
                  </a:lnTo>
                  <a:lnTo>
                    <a:pt x="46" y="240"/>
                  </a:lnTo>
                  <a:lnTo>
                    <a:pt x="44" y="240"/>
                  </a:lnTo>
                  <a:lnTo>
                    <a:pt x="44" y="238"/>
                  </a:lnTo>
                  <a:lnTo>
                    <a:pt x="44" y="240"/>
                  </a:lnTo>
                  <a:lnTo>
                    <a:pt x="44" y="238"/>
                  </a:lnTo>
                  <a:lnTo>
                    <a:pt x="44" y="240"/>
                  </a:lnTo>
                  <a:lnTo>
                    <a:pt x="44" y="238"/>
                  </a:lnTo>
                  <a:lnTo>
                    <a:pt x="44" y="240"/>
                  </a:lnTo>
                  <a:lnTo>
                    <a:pt x="44" y="238"/>
                  </a:lnTo>
                  <a:lnTo>
                    <a:pt x="44" y="240"/>
                  </a:lnTo>
                  <a:lnTo>
                    <a:pt x="42" y="240"/>
                  </a:lnTo>
                  <a:lnTo>
                    <a:pt x="44" y="240"/>
                  </a:lnTo>
                  <a:lnTo>
                    <a:pt x="42" y="240"/>
                  </a:lnTo>
                  <a:lnTo>
                    <a:pt x="44" y="240"/>
                  </a:lnTo>
                  <a:lnTo>
                    <a:pt x="42" y="240"/>
                  </a:lnTo>
                  <a:lnTo>
                    <a:pt x="44" y="240"/>
                  </a:lnTo>
                  <a:lnTo>
                    <a:pt x="42" y="240"/>
                  </a:lnTo>
                  <a:lnTo>
                    <a:pt x="42" y="238"/>
                  </a:lnTo>
                  <a:lnTo>
                    <a:pt x="44" y="238"/>
                  </a:lnTo>
                  <a:lnTo>
                    <a:pt x="42" y="238"/>
                  </a:lnTo>
                  <a:lnTo>
                    <a:pt x="44" y="238"/>
                  </a:lnTo>
                  <a:lnTo>
                    <a:pt x="42" y="238"/>
                  </a:lnTo>
                  <a:lnTo>
                    <a:pt x="44" y="238"/>
                  </a:lnTo>
                  <a:lnTo>
                    <a:pt x="42" y="238"/>
                  </a:lnTo>
                  <a:lnTo>
                    <a:pt x="44" y="238"/>
                  </a:lnTo>
                  <a:lnTo>
                    <a:pt x="46" y="238"/>
                  </a:lnTo>
                  <a:lnTo>
                    <a:pt x="46" y="236"/>
                  </a:lnTo>
                  <a:lnTo>
                    <a:pt x="48" y="236"/>
                  </a:lnTo>
                  <a:lnTo>
                    <a:pt x="48" y="234"/>
                  </a:lnTo>
                  <a:close/>
                  <a:moveTo>
                    <a:pt x="85" y="155"/>
                  </a:moveTo>
                  <a:lnTo>
                    <a:pt x="87" y="155"/>
                  </a:lnTo>
                  <a:lnTo>
                    <a:pt x="87" y="157"/>
                  </a:lnTo>
                  <a:lnTo>
                    <a:pt x="85" y="157"/>
                  </a:lnTo>
                  <a:lnTo>
                    <a:pt x="87" y="157"/>
                  </a:lnTo>
                  <a:lnTo>
                    <a:pt x="85" y="157"/>
                  </a:lnTo>
                  <a:lnTo>
                    <a:pt x="85" y="159"/>
                  </a:lnTo>
                  <a:lnTo>
                    <a:pt x="83" y="159"/>
                  </a:lnTo>
                  <a:lnTo>
                    <a:pt x="83" y="161"/>
                  </a:lnTo>
                  <a:lnTo>
                    <a:pt x="83" y="159"/>
                  </a:lnTo>
                  <a:lnTo>
                    <a:pt x="83" y="157"/>
                  </a:lnTo>
                  <a:lnTo>
                    <a:pt x="83" y="159"/>
                  </a:lnTo>
                  <a:lnTo>
                    <a:pt x="83" y="157"/>
                  </a:lnTo>
                  <a:lnTo>
                    <a:pt x="83" y="159"/>
                  </a:lnTo>
                  <a:lnTo>
                    <a:pt x="83" y="157"/>
                  </a:lnTo>
                  <a:lnTo>
                    <a:pt x="85" y="157"/>
                  </a:lnTo>
                  <a:lnTo>
                    <a:pt x="85" y="155"/>
                  </a:lnTo>
                  <a:lnTo>
                    <a:pt x="85" y="157"/>
                  </a:lnTo>
                  <a:lnTo>
                    <a:pt x="85" y="155"/>
                  </a:lnTo>
                  <a:lnTo>
                    <a:pt x="85" y="157"/>
                  </a:lnTo>
                  <a:lnTo>
                    <a:pt x="85" y="155"/>
                  </a:lnTo>
                  <a:close/>
                  <a:moveTo>
                    <a:pt x="112" y="140"/>
                  </a:moveTo>
                  <a:lnTo>
                    <a:pt x="112" y="142"/>
                  </a:lnTo>
                  <a:lnTo>
                    <a:pt x="112" y="140"/>
                  </a:lnTo>
                  <a:lnTo>
                    <a:pt x="112" y="142"/>
                  </a:lnTo>
                  <a:lnTo>
                    <a:pt x="113" y="142"/>
                  </a:lnTo>
                  <a:lnTo>
                    <a:pt x="113" y="144"/>
                  </a:lnTo>
                  <a:lnTo>
                    <a:pt x="112" y="144"/>
                  </a:lnTo>
                  <a:lnTo>
                    <a:pt x="110" y="144"/>
                  </a:lnTo>
                  <a:lnTo>
                    <a:pt x="110" y="142"/>
                  </a:lnTo>
                  <a:lnTo>
                    <a:pt x="110" y="140"/>
                  </a:lnTo>
                  <a:lnTo>
                    <a:pt x="112" y="140"/>
                  </a:lnTo>
                  <a:close/>
                  <a:moveTo>
                    <a:pt x="83" y="128"/>
                  </a:moveTo>
                  <a:lnTo>
                    <a:pt x="85" y="128"/>
                  </a:lnTo>
                  <a:lnTo>
                    <a:pt x="85" y="130"/>
                  </a:lnTo>
                  <a:lnTo>
                    <a:pt x="85" y="132"/>
                  </a:lnTo>
                  <a:lnTo>
                    <a:pt x="83" y="132"/>
                  </a:lnTo>
                  <a:lnTo>
                    <a:pt x="83" y="130"/>
                  </a:lnTo>
                  <a:lnTo>
                    <a:pt x="81" y="130"/>
                  </a:lnTo>
                  <a:lnTo>
                    <a:pt x="83" y="130"/>
                  </a:lnTo>
                  <a:lnTo>
                    <a:pt x="83" y="128"/>
                  </a:lnTo>
                  <a:close/>
                  <a:moveTo>
                    <a:pt x="135" y="165"/>
                  </a:moveTo>
                  <a:lnTo>
                    <a:pt x="135" y="167"/>
                  </a:lnTo>
                  <a:lnTo>
                    <a:pt x="135" y="169"/>
                  </a:lnTo>
                  <a:lnTo>
                    <a:pt x="137" y="169"/>
                  </a:lnTo>
                  <a:lnTo>
                    <a:pt x="135" y="169"/>
                  </a:lnTo>
                  <a:lnTo>
                    <a:pt x="137" y="169"/>
                  </a:lnTo>
                  <a:lnTo>
                    <a:pt x="137" y="171"/>
                  </a:lnTo>
                  <a:lnTo>
                    <a:pt x="135" y="171"/>
                  </a:lnTo>
                  <a:lnTo>
                    <a:pt x="135" y="169"/>
                  </a:lnTo>
                  <a:lnTo>
                    <a:pt x="133" y="169"/>
                  </a:lnTo>
                  <a:lnTo>
                    <a:pt x="133" y="167"/>
                  </a:lnTo>
                  <a:lnTo>
                    <a:pt x="135" y="167"/>
                  </a:lnTo>
                  <a:lnTo>
                    <a:pt x="135" y="165"/>
                  </a:lnTo>
                  <a:close/>
                  <a:moveTo>
                    <a:pt x="90" y="119"/>
                  </a:moveTo>
                  <a:lnTo>
                    <a:pt x="90" y="121"/>
                  </a:lnTo>
                  <a:lnTo>
                    <a:pt x="90" y="119"/>
                  </a:lnTo>
                  <a:lnTo>
                    <a:pt x="90" y="121"/>
                  </a:lnTo>
                  <a:lnTo>
                    <a:pt x="92" y="121"/>
                  </a:lnTo>
                  <a:lnTo>
                    <a:pt x="92" y="123"/>
                  </a:lnTo>
                  <a:lnTo>
                    <a:pt x="94" y="123"/>
                  </a:lnTo>
                  <a:lnTo>
                    <a:pt x="94" y="125"/>
                  </a:lnTo>
                  <a:lnTo>
                    <a:pt x="94" y="127"/>
                  </a:lnTo>
                  <a:lnTo>
                    <a:pt x="96" y="127"/>
                  </a:lnTo>
                  <a:lnTo>
                    <a:pt x="94" y="127"/>
                  </a:lnTo>
                  <a:lnTo>
                    <a:pt x="94" y="125"/>
                  </a:lnTo>
                  <a:lnTo>
                    <a:pt x="92" y="125"/>
                  </a:lnTo>
                  <a:lnTo>
                    <a:pt x="94" y="125"/>
                  </a:lnTo>
                  <a:lnTo>
                    <a:pt x="92" y="125"/>
                  </a:lnTo>
                  <a:lnTo>
                    <a:pt x="92" y="123"/>
                  </a:lnTo>
                  <a:lnTo>
                    <a:pt x="90" y="123"/>
                  </a:lnTo>
                  <a:lnTo>
                    <a:pt x="90" y="121"/>
                  </a:lnTo>
                  <a:lnTo>
                    <a:pt x="89" y="121"/>
                  </a:lnTo>
                  <a:lnTo>
                    <a:pt x="89" y="119"/>
                  </a:lnTo>
                  <a:lnTo>
                    <a:pt x="90" y="119"/>
                  </a:lnTo>
                  <a:close/>
                  <a:moveTo>
                    <a:pt x="44" y="136"/>
                  </a:moveTo>
                  <a:lnTo>
                    <a:pt x="44" y="138"/>
                  </a:lnTo>
                  <a:lnTo>
                    <a:pt x="46" y="138"/>
                  </a:lnTo>
                  <a:lnTo>
                    <a:pt x="44" y="138"/>
                  </a:lnTo>
                  <a:lnTo>
                    <a:pt x="46" y="138"/>
                  </a:lnTo>
                  <a:lnTo>
                    <a:pt x="44" y="138"/>
                  </a:lnTo>
                  <a:lnTo>
                    <a:pt x="46" y="138"/>
                  </a:lnTo>
                  <a:lnTo>
                    <a:pt x="46" y="140"/>
                  </a:lnTo>
                  <a:lnTo>
                    <a:pt x="46" y="138"/>
                  </a:lnTo>
                  <a:lnTo>
                    <a:pt x="46" y="140"/>
                  </a:lnTo>
                  <a:lnTo>
                    <a:pt x="46" y="142"/>
                  </a:lnTo>
                  <a:lnTo>
                    <a:pt x="44" y="142"/>
                  </a:lnTo>
                  <a:lnTo>
                    <a:pt x="46" y="142"/>
                  </a:lnTo>
                  <a:lnTo>
                    <a:pt x="44" y="142"/>
                  </a:lnTo>
                  <a:lnTo>
                    <a:pt x="44" y="140"/>
                  </a:lnTo>
                  <a:lnTo>
                    <a:pt x="46" y="140"/>
                  </a:lnTo>
                  <a:lnTo>
                    <a:pt x="44" y="140"/>
                  </a:lnTo>
                  <a:lnTo>
                    <a:pt x="44" y="138"/>
                  </a:lnTo>
                  <a:lnTo>
                    <a:pt x="44" y="140"/>
                  </a:lnTo>
                  <a:lnTo>
                    <a:pt x="44" y="138"/>
                  </a:lnTo>
                  <a:lnTo>
                    <a:pt x="44" y="136"/>
                  </a:lnTo>
                  <a:close/>
                  <a:moveTo>
                    <a:pt x="44" y="157"/>
                  </a:moveTo>
                  <a:lnTo>
                    <a:pt x="46" y="157"/>
                  </a:lnTo>
                  <a:lnTo>
                    <a:pt x="44" y="157"/>
                  </a:lnTo>
                  <a:lnTo>
                    <a:pt x="46" y="157"/>
                  </a:lnTo>
                  <a:lnTo>
                    <a:pt x="46" y="159"/>
                  </a:lnTo>
                  <a:lnTo>
                    <a:pt x="46" y="157"/>
                  </a:lnTo>
                  <a:lnTo>
                    <a:pt x="46" y="159"/>
                  </a:lnTo>
                  <a:lnTo>
                    <a:pt x="44" y="159"/>
                  </a:lnTo>
                  <a:lnTo>
                    <a:pt x="44" y="157"/>
                  </a:lnTo>
                  <a:lnTo>
                    <a:pt x="44" y="159"/>
                  </a:lnTo>
                  <a:lnTo>
                    <a:pt x="44" y="157"/>
                  </a:lnTo>
                  <a:lnTo>
                    <a:pt x="44" y="159"/>
                  </a:lnTo>
                  <a:lnTo>
                    <a:pt x="42" y="159"/>
                  </a:lnTo>
                  <a:lnTo>
                    <a:pt x="42" y="157"/>
                  </a:lnTo>
                  <a:lnTo>
                    <a:pt x="44" y="157"/>
                  </a:lnTo>
                  <a:close/>
                  <a:moveTo>
                    <a:pt x="98" y="127"/>
                  </a:moveTo>
                  <a:lnTo>
                    <a:pt x="100" y="127"/>
                  </a:lnTo>
                  <a:lnTo>
                    <a:pt x="100" y="128"/>
                  </a:lnTo>
                  <a:lnTo>
                    <a:pt x="102" y="128"/>
                  </a:lnTo>
                  <a:lnTo>
                    <a:pt x="102" y="130"/>
                  </a:lnTo>
                  <a:lnTo>
                    <a:pt x="102" y="132"/>
                  </a:lnTo>
                  <a:lnTo>
                    <a:pt x="102" y="130"/>
                  </a:lnTo>
                  <a:lnTo>
                    <a:pt x="100" y="130"/>
                  </a:lnTo>
                  <a:lnTo>
                    <a:pt x="100" y="128"/>
                  </a:lnTo>
                  <a:lnTo>
                    <a:pt x="98" y="128"/>
                  </a:lnTo>
                  <a:lnTo>
                    <a:pt x="98" y="127"/>
                  </a:lnTo>
                  <a:lnTo>
                    <a:pt x="98" y="128"/>
                  </a:lnTo>
                  <a:lnTo>
                    <a:pt x="98" y="127"/>
                  </a:lnTo>
                  <a:close/>
                  <a:moveTo>
                    <a:pt x="98" y="176"/>
                  </a:moveTo>
                  <a:lnTo>
                    <a:pt x="100" y="176"/>
                  </a:lnTo>
                  <a:lnTo>
                    <a:pt x="100" y="178"/>
                  </a:lnTo>
                  <a:lnTo>
                    <a:pt x="100" y="180"/>
                  </a:lnTo>
                  <a:lnTo>
                    <a:pt x="100" y="178"/>
                  </a:lnTo>
                  <a:lnTo>
                    <a:pt x="100" y="180"/>
                  </a:lnTo>
                  <a:lnTo>
                    <a:pt x="100" y="178"/>
                  </a:lnTo>
                  <a:lnTo>
                    <a:pt x="100" y="180"/>
                  </a:lnTo>
                  <a:lnTo>
                    <a:pt x="100" y="178"/>
                  </a:lnTo>
                  <a:lnTo>
                    <a:pt x="100" y="180"/>
                  </a:lnTo>
                  <a:lnTo>
                    <a:pt x="100" y="178"/>
                  </a:lnTo>
                  <a:lnTo>
                    <a:pt x="100" y="180"/>
                  </a:lnTo>
                  <a:lnTo>
                    <a:pt x="98" y="180"/>
                  </a:lnTo>
                  <a:lnTo>
                    <a:pt x="100" y="180"/>
                  </a:lnTo>
                  <a:lnTo>
                    <a:pt x="98" y="180"/>
                  </a:lnTo>
                  <a:lnTo>
                    <a:pt x="100" y="180"/>
                  </a:lnTo>
                  <a:lnTo>
                    <a:pt x="98" y="180"/>
                  </a:lnTo>
                  <a:lnTo>
                    <a:pt x="98" y="178"/>
                  </a:lnTo>
                  <a:lnTo>
                    <a:pt x="96" y="178"/>
                  </a:lnTo>
                  <a:lnTo>
                    <a:pt x="98" y="178"/>
                  </a:lnTo>
                  <a:lnTo>
                    <a:pt x="98" y="176"/>
                  </a:lnTo>
                  <a:close/>
                  <a:moveTo>
                    <a:pt x="4" y="196"/>
                  </a:moveTo>
                  <a:lnTo>
                    <a:pt x="2" y="196"/>
                  </a:lnTo>
                  <a:lnTo>
                    <a:pt x="4" y="196"/>
                  </a:lnTo>
                  <a:lnTo>
                    <a:pt x="4" y="198"/>
                  </a:lnTo>
                  <a:lnTo>
                    <a:pt x="2" y="198"/>
                  </a:lnTo>
                  <a:lnTo>
                    <a:pt x="2" y="200"/>
                  </a:lnTo>
                  <a:lnTo>
                    <a:pt x="2" y="198"/>
                  </a:lnTo>
                  <a:lnTo>
                    <a:pt x="2" y="200"/>
                  </a:lnTo>
                  <a:lnTo>
                    <a:pt x="2" y="198"/>
                  </a:lnTo>
                  <a:lnTo>
                    <a:pt x="0" y="198"/>
                  </a:lnTo>
                  <a:lnTo>
                    <a:pt x="2" y="198"/>
                  </a:lnTo>
                  <a:lnTo>
                    <a:pt x="2" y="196"/>
                  </a:lnTo>
                  <a:lnTo>
                    <a:pt x="4" y="196"/>
                  </a:lnTo>
                  <a:close/>
                  <a:moveTo>
                    <a:pt x="129" y="207"/>
                  </a:moveTo>
                  <a:lnTo>
                    <a:pt x="131" y="207"/>
                  </a:lnTo>
                  <a:lnTo>
                    <a:pt x="129" y="207"/>
                  </a:lnTo>
                  <a:lnTo>
                    <a:pt x="131" y="207"/>
                  </a:lnTo>
                  <a:lnTo>
                    <a:pt x="131" y="209"/>
                  </a:lnTo>
                  <a:lnTo>
                    <a:pt x="131" y="211"/>
                  </a:lnTo>
                  <a:lnTo>
                    <a:pt x="131" y="213"/>
                  </a:lnTo>
                  <a:lnTo>
                    <a:pt x="131" y="211"/>
                  </a:lnTo>
                  <a:lnTo>
                    <a:pt x="129" y="211"/>
                  </a:lnTo>
                  <a:lnTo>
                    <a:pt x="131" y="211"/>
                  </a:lnTo>
                  <a:lnTo>
                    <a:pt x="129" y="211"/>
                  </a:lnTo>
                  <a:lnTo>
                    <a:pt x="131" y="211"/>
                  </a:lnTo>
                  <a:lnTo>
                    <a:pt x="129" y="211"/>
                  </a:lnTo>
                  <a:lnTo>
                    <a:pt x="131" y="211"/>
                  </a:lnTo>
                  <a:lnTo>
                    <a:pt x="129" y="211"/>
                  </a:lnTo>
                  <a:lnTo>
                    <a:pt x="131" y="211"/>
                  </a:lnTo>
                  <a:lnTo>
                    <a:pt x="129" y="211"/>
                  </a:lnTo>
                  <a:lnTo>
                    <a:pt x="131" y="211"/>
                  </a:lnTo>
                  <a:lnTo>
                    <a:pt x="129" y="211"/>
                  </a:lnTo>
                  <a:lnTo>
                    <a:pt x="131" y="211"/>
                  </a:lnTo>
                  <a:lnTo>
                    <a:pt x="129" y="211"/>
                  </a:lnTo>
                  <a:lnTo>
                    <a:pt x="129" y="209"/>
                  </a:lnTo>
                  <a:lnTo>
                    <a:pt x="129" y="207"/>
                  </a:lnTo>
                  <a:close/>
                  <a:moveTo>
                    <a:pt x="113" y="176"/>
                  </a:moveTo>
                  <a:lnTo>
                    <a:pt x="115" y="176"/>
                  </a:lnTo>
                  <a:lnTo>
                    <a:pt x="115" y="180"/>
                  </a:lnTo>
                  <a:lnTo>
                    <a:pt x="113" y="180"/>
                  </a:lnTo>
                  <a:lnTo>
                    <a:pt x="113" y="176"/>
                  </a:lnTo>
                  <a:close/>
                  <a:moveTo>
                    <a:pt x="121" y="163"/>
                  </a:moveTo>
                  <a:lnTo>
                    <a:pt x="121" y="165"/>
                  </a:lnTo>
                  <a:lnTo>
                    <a:pt x="123" y="165"/>
                  </a:lnTo>
                  <a:lnTo>
                    <a:pt x="123" y="167"/>
                  </a:lnTo>
                  <a:lnTo>
                    <a:pt x="121" y="167"/>
                  </a:lnTo>
                  <a:lnTo>
                    <a:pt x="121" y="165"/>
                  </a:lnTo>
                  <a:lnTo>
                    <a:pt x="121" y="163"/>
                  </a:lnTo>
                  <a:lnTo>
                    <a:pt x="121" y="165"/>
                  </a:lnTo>
                  <a:lnTo>
                    <a:pt x="121" y="163"/>
                  </a:lnTo>
                  <a:close/>
                  <a:moveTo>
                    <a:pt x="66" y="25"/>
                  </a:moveTo>
                  <a:lnTo>
                    <a:pt x="69" y="25"/>
                  </a:lnTo>
                  <a:lnTo>
                    <a:pt x="69" y="27"/>
                  </a:lnTo>
                  <a:lnTo>
                    <a:pt x="66" y="27"/>
                  </a:lnTo>
                  <a:lnTo>
                    <a:pt x="66" y="25"/>
                  </a:lnTo>
                  <a:close/>
                  <a:moveTo>
                    <a:pt x="46" y="109"/>
                  </a:moveTo>
                  <a:lnTo>
                    <a:pt x="50" y="109"/>
                  </a:lnTo>
                  <a:lnTo>
                    <a:pt x="50" y="111"/>
                  </a:lnTo>
                  <a:lnTo>
                    <a:pt x="46" y="111"/>
                  </a:lnTo>
                  <a:lnTo>
                    <a:pt x="46" y="109"/>
                  </a:lnTo>
                  <a:close/>
                  <a:moveTo>
                    <a:pt x="108" y="155"/>
                  </a:moveTo>
                  <a:lnTo>
                    <a:pt x="112" y="155"/>
                  </a:lnTo>
                  <a:lnTo>
                    <a:pt x="112" y="157"/>
                  </a:lnTo>
                  <a:lnTo>
                    <a:pt x="108" y="157"/>
                  </a:lnTo>
                  <a:lnTo>
                    <a:pt x="108" y="155"/>
                  </a:lnTo>
                  <a:close/>
                  <a:moveTo>
                    <a:pt x="75" y="103"/>
                  </a:moveTo>
                  <a:lnTo>
                    <a:pt x="75" y="105"/>
                  </a:lnTo>
                  <a:lnTo>
                    <a:pt x="77" y="105"/>
                  </a:lnTo>
                  <a:lnTo>
                    <a:pt x="79" y="105"/>
                  </a:lnTo>
                  <a:lnTo>
                    <a:pt x="79" y="107"/>
                  </a:lnTo>
                  <a:lnTo>
                    <a:pt x="77" y="107"/>
                  </a:lnTo>
                  <a:lnTo>
                    <a:pt x="77" y="105"/>
                  </a:lnTo>
                  <a:lnTo>
                    <a:pt x="75" y="105"/>
                  </a:lnTo>
                  <a:lnTo>
                    <a:pt x="75" y="103"/>
                  </a:lnTo>
                  <a:lnTo>
                    <a:pt x="73" y="103"/>
                  </a:lnTo>
                  <a:lnTo>
                    <a:pt x="75" y="103"/>
                  </a:lnTo>
                  <a:close/>
                  <a:moveTo>
                    <a:pt x="87" y="203"/>
                  </a:moveTo>
                  <a:lnTo>
                    <a:pt x="90" y="203"/>
                  </a:lnTo>
                  <a:lnTo>
                    <a:pt x="90" y="207"/>
                  </a:lnTo>
                  <a:lnTo>
                    <a:pt x="87" y="207"/>
                  </a:lnTo>
                  <a:lnTo>
                    <a:pt x="87" y="203"/>
                  </a:lnTo>
                  <a:close/>
                  <a:moveTo>
                    <a:pt x="73" y="31"/>
                  </a:moveTo>
                  <a:lnTo>
                    <a:pt x="75" y="31"/>
                  </a:lnTo>
                  <a:lnTo>
                    <a:pt x="75" y="32"/>
                  </a:lnTo>
                  <a:lnTo>
                    <a:pt x="73" y="32"/>
                  </a:lnTo>
                  <a:lnTo>
                    <a:pt x="73" y="31"/>
                  </a:lnTo>
                  <a:close/>
                  <a:moveTo>
                    <a:pt x="133" y="171"/>
                  </a:moveTo>
                  <a:lnTo>
                    <a:pt x="135" y="171"/>
                  </a:lnTo>
                  <a:lnTo>
                    <a:pt x="135" y="173"/>
                  </a:lnTo>
                  <a:lnTo>
                    <a:pt x="133" y="173"/>
                  </a:lnTo>
                  <a:lnTo>
                    <a:pt x="133" y="171"/>
                  </a:lnTo>
                  <a:close/>
                  <a:moveTo>
                    <a:pt x="6" y="192"/>
                  </a:moveTo>
                  <a:lnTo>
                    <a:pt x="8" y="192"/>
                  </a:lnTo>
                  <a:lnTo>
                    <a:pt x="8" y="194"/>
                  </a:lnTo>
                  <a:lnTo>
                    <a:pt x="6" y="194"/>
                  </a:lnTo>
                  <a:lnTo>
                    <a:pt x="6" y="192"/>
                  </a:lnTo>
                  <a:close/>
                  <a:moveTo>
                    <a:pt x="100" y="148"/>
                  </a:moveTo>
                  <a:lnTo>
                    <a:pt x="102" y="148"/>
                  </a:lnTo>
                  <a:lnTo>
                    <a:pt x="102" y="150"/>
                  </a:lnTo>
                  <a:lnTo>
                    <a:pt x="100" y="150"/>
                  </a:lnTo>
                  <a:lnTo>
                    <a:pt x="100" y="148"/>
                  </a:lnTo>
                  <a:close/>
                  <a:moveTo>
                    <a:pt x="39" y="242"/>
                  </a:moveTo>
                  <a:lnTo>
                    <a:pt x="39" y="244"/>
                  </a:lnTo>
                  <a:lnTo>
                    <a:pt x="39" y="246"/>
                  </a:lnTo>
                  <a:lnTo>
                    <a:pt x="39" y="244"/>
                  </a:lnTo>
                  <a:lnTo>
                    <a:pt x="39" y="242"/>
                  </a:lnTo>
                  <a:close/>
                  <a:moveTo>
                    <a:pt x="129" y="153"/>
                  </a:moveTo>
                  <a:lnTo>
                    <a:pt x="131" y="153"/>
                  </a:lnTo>
                  <a:lnTo>
                    <a:pt x="131" y="155"/>
                  </a:lnTo>
                  <a:lnTo>
                    <a:pt x="129" y="155"/>
                  </a:lnTo>
                  <a:lnTo>
                    <a:pt x="129" y="153"/>
                  </a:lnTo>
                  <a:close/>
                  <a:moveTo>
                    <a:pt x="42" y="144"/>
                  </a:moveTo>
                  <a:lnTo>
                    <a:pt x="44" y="144"/>
                  </a:lnTo>
                  <a:lnTo>
                    <a:pt x="44" y="146"/>
                  </a:lnTo>
                  <a:lnTo>
                    <a:pt x="42" y="146"/>
                  </a:lnTo>
                  <a:lnTo>
                    <a:pt x="42" y="144"/>
                  </a:lnTo>
                  <a:close/>
                  <a:moveTo>
                    <a:pt x="66" y="32"/>
                  </a:moveTo>
                  <a:lnTo>
                    <a:pt x="67" y="32"/>
                  </a:lnTo>
                  <a:lnTo>
                    <a:pt x="66" y="32"/>
                  </a:lnTo>
                  <a:close/>
                  <a:moveTo>
                    <a:pt x="52" y="219"/>
                  </a:moveTo>
                  <a:lnTo>
                    <a:pt x="54" y="219"/>
                  </a:lnTo>
                  <a:lnTo>
                    <a:pt x="54" y="223"/>
                  </a:lnTo>
                  <a:lnTo>
                    <a:pt x="52" y="223"/>
                  </a:lnTo>
                  <a:lnTo>
                    <a:pt x="52" y="219"/>
                  </a:lnTo>
                  <a:close/>
                  <a:moveTo>
                    <a:pt x="115" y="140"/>
                  </a:moveTo>
                  <a:lnTo>
                    <a:pt x="117" y="140"/>
                  </a:lnTo>
                  <a:lnTo>
                    <a:pt x="117" y="144"/>
                  </a:lnTo>
                  <a:lnTo>
                    <a:pt x="115" y="144"/>
                  </a:lnTo>
                  <a:lnTo>
                    <a:pt x="115" y="140"/>
                  </a:lnTo>
                  <a:close/>
                  <a:moveTo>
                    <a:pt x="77" y="94"/>
                  </a:moveTo>
                  <a:lnTo>
                    <a:pt x="79" y="94"/>
                  </a:lnTo>
                  <a:lnTo>
                    <a:pt x="79" y="96"/>
                  </a:lnTo>
                  <a:lnTo>
                    <a:pt x="77" y="96"/>
                  </a:lnTo>
                  <a:lnTo>
                    <a:pt x="77" y="94"/>
                  </a:lnTo>
                  <a:close/>
                  <a:moveTo>
                    <a:pt x="100" y="171"/>
                  </a:moveTo>
                  <a:lnTo>
                    <a:pt x="102" y="171"/>
                  </a:lnTo>
                  <a:lnTo>
                    <a:pt x="102" y="173"/>
                  </a:lnTo>
                  <a:lnTo>
                    <a:pt x="100" y="173"/>
                  </a:lnTo>
                  <a:lnTo>
                    <a:pt x="100" y="171"/>
                  </a:lnTo>
                  <a:close/>
                  <a:moveTo>
                    <a:pt x="104" y="117"/>
                  </a:moveTo>
                  <a:lnTo>
                    <a:pt x="106" y="117"/>
                  </a:lnTo>
                  <a:lnTo>
                    <a:pt x="106" y="119"/>
                  </a:lnTo>
                  <a:lnTo>
                    <a:pt x="104" y="119"/>
                  </a:lnTo>
                  <a:lnTo>
                    <a:pt x="104" y="117"/>
                  </a:lnTo>
                  <a:close/>
                  <a:moveTo>
                    <a:pt x="71" y="2"/>
                  </a:moveTo>
                  <a:lnTo>
                    <a:pt x="73" y="2"/>
                  </a:lnTo>
                  <a:lnTo>
                    <a:pt x="73" y="4"/>
                  </a:lnTo>
                  <a:lnTo>
                    <a:pt x="71" y="4"/>
                  </a:lnTo>
                  <a:lnTo>
                    <a:pt x="71" y="2"/>
                  </a:lnTo>
                  <a:close/>
                  <a:moveTo>
                    <a:pt x="79" y="127"/>
                  </a:moveTo>
                  <a:lnTo>
                    <a:pt x="81" y="127"/>
                  </a:lnTo>
                  <a:lnTo>
                    <a:pt x="81" y="128"/>
                  </a:lnTo>
                  <a:lnTo>
                    <a:pt x="79" y="128"/>
                  </a:lnTo>
                  <a:lnTo>
                    <a:pt x="79" y="127"/>
                  </a:lnTo>
                  <a:close/>
                  <a:moveTo>
                    <a:pt x="44" y="71"/>
                  </a:moveTo>
                  <a:lnTo>
                    <a:pt x="46" y="71"/>
                  </a:lnTo>
                  <a:lnTo>
                    <a:pt x="46" y="73"/>
                  </a:lnTo>
                  <a:lnTo>
                    <a:pt x="44" y="73"/>
                  </a:lnTo>
                  <a:lnTo>
                    <a:pt x="44" y="71"/>
                  </a:lnTo>
                  <a:close/>
                  <a:moveTo>
                    <a:pt x="73" y="21"/>
                  </a:moveTo>
                  <a:lnTo>
                    <a:pt x="75" y="21"/>
                  </a:lnTo>
                  <a:lnTo>
                    <a:pt x="75" y="23"/>
                  </a:lnTo>
                  <a:lnTo>
                    <a:pt x="73" y="23"/>
                  </a:lnTo>
                  <a:lnTo>
                    <a:pt x="73" y="21"/>
                  </a:lnTo>
                  <a:close/>
                  <a:moveTo>
                    <a:pt x="62" y="132"/>
                  </a:moveTo>
                  <a:lnTo>
                    <a:pt x="64" y="132"/>
                  </a:lnTo>
                  <a:lnTo>
                    <a:pt x="64" y="134"/>
                  </a:lnTo>
                  <a:lnTo>
                    <a:pt x="62" y="134"/>
                  </a:lnTo>
                  <a:lnTo>
                    <a:pt x="62" y="132"/>
                  </a:lnTo>
                  <a:close/>
                  <a:moveTo>
                    <a:pt x="58" y="232"/>
                  </a:moveTo>
                  <a:lnTo>
                    <a:pt x="60" y="232"/>
                  </a:lnTo>
                  <a:lnTo>
                    <a:pt x="58" y="232"/>
                  </a:lnTo>
                  <a:close/>
                  <a:moveTo>
                    <a:pt x="73" y="7"/>
                  </a:moveTo>
                  <a:lnTo>
                    <a:pt x="75" y="7"/>
                  </a:lnTo>
                  <a:lnTo>
                    <a:pt x="75" y="9"/>
                  </a:lnTo>
                  <a:lnTo>
                    <a:pt x="73" y="9"/>
                  </a:lnTo>
                  <a:lnTo>
                    <a:pt x="73" y="7"/>
                  </a:lnTo>
                  <a:close/>
                  <a:moveTo>
                    <a:pt x="48" y="136"/>
                  </a:moveTo>
                  <a:lnTo>
                    <a:pt x="50" y="136"/>
                  </a:lnTo>
                  <a:lnTo>
                    <a:pt x="50" y="140"/>
                  </a:lnTo>
                  <a:lnTo>
                    <a:pt x="48" y="140"/>
                  </a:lnTo>
                  <a:lnTo>
                    <a:pt x="48" y="136"/>
                  </a:lnTo>
                  <a:close/>
                  <a:moveTo>
                    <a:pt x="102" y="117"/>
                  </a:moveTo>
                  <a:lnTo>
                    <a:pt x="104" y="117"/>
                  </a:lnTo>
                  <a:lnTo>
                    <a:pt x="104" y="119"/>
                  </a:lnTo>
                  <a:lnTo>
                    <a:pt x="102" y="119"/>
                  </a:lnTo>
                  <a:lnTo>
                    <a:pt x="102" y="117"/>
                  </a:lnTo>
                  <a:close/>
                  <a:moveTo>
                    <a:pt x="23" y="209"/>
                  </a:moveTo>
                  <a:lnTo>
                    <a:pt x="25" y="209"/>
                  </a:lnTo>
                  <a:lnTo>
                    <a:pt x="25" y="211"/>
                  </a:lnTo>
                  <a:lnTo>
                    <a:pt x="23" y="211"/>
                  </a:lnTo>
                  <a:lnTo>
                    <a:pt x="23" y="209"/>
                  </a:lnTo>
                  <a:close/>
                  <a:moveTo>
                    <a:pt x="64" y="27"/>
                  </a:moveTo>
                  <a:lnTo>
                    <a:pt x="64" y="31"/>
                  </a:lnTo>
                  <a:lnTo>
                    <a:pt x="64" y="27"/>
                  </a:lnTo>
                  <a:close/>
                  <a:moveTo>
                    <a:pt x="66" y="134"/>
                  </a:moveTo>
                  <a:lnTo>
                    <a:pt x="67" y="134"/>
                  </a:lnTo>
                  <a:lnTo>
                    <a:pt x="67" y="136"/>
                  </a:lnTo>
                  <a:lnTo>
                    <a:pt x="66" y="136"/>
                  </a:lnTo>
                  <a:lnTo>
                    <a:pt x="66" y="134"/>
                  </a:lnTo>
                  <a:close/>
                  <a:moveTo>
                    <a:pt x="106" y="119"/>
                  </a:moveTo>
                  <a:lnTo>
                    <a:pt x="108" y="119"/>
                  </a:lnTo>
                  <a:lnTo>
                    <a:pt x="106" y="119"/>
                  </a:lnTo>
                  <a:close/>
                  <a:moveTo>
                    <a:pt x="104" y="161"/>
                  </a:moveTo>
                  <a:lnTo>
                    <a:pt x="106" y="161"/>
                  </a:lnTo>
                  <a:lnTo>
                    <a:pt x="106" y="163"/>
                  </a:lnTo>
                  <a:lnTo>
                    <a:pt x="104" y="163"/>
                  </a:lnTo>
                  <a:lnTo>
                    <a:pt x="104" y="161"/>
                  </a:lnTo>
                  <a:close/>
                  <a:moveTo>
                    <a:pt x="127" y="167"/>
                  </a:moveTo>
                  <a:lnTo>
                    <a:pt x="129" y="167"/>
                  </a:lnTo>
                  <a:lnTo>
                    <a:pt x="129" y="169"/>
                  </a:lnTo>
                  <a:lnTo>
                    <a:pt x="127" y="169"/>
                  </a:lnTo>
                  <a:lnTo>
                    <a:pt x="127" y="167"/>
                  </a:lnTo>
                  <a:close/>
                  <a:moveTo>
                    <a:pt x="60" y="153"/>
                  </a:moveTo>
                  <a:lnTo>
                    <a:pt x="62" y="153"/>
                  </a:lnTo>
                  <a:lnTo>
                    <a:pt x="62" y="155"/>
                  </a:lnTo>
                  <a:lnTo>
                    <a:pt x="60" y="155"/>
                  </a:lnTo>
                  <a:lnTo>
                    <a:pt x="60" y="153"/>
                  </a:lnTo>
                  <a:close/>
                  <a:moveTo>
                    <a:pt x="123" y="234"/>
                  </a:moveTo>
                  <a:lnTo>
                    <a:pt x="125" y="234"/>
                  </a:lnTo>
                  <a:lnTo>
                    <a:pt x="123" y="234"/>
                  </a:lnTo>
                  <a:close/>
                  <a:moveTo>
                    <a:pt x="79" y="96"/>
                  </a:moveTo>
                  <a:lnTo>
                    <a:pt x="81" y="96"/>
                  </a:lnTo>
                  <a:lnTo>
                    <a:pt x="79" y="96"/>
                  </a:lnTo>
                  <a:close/>
                  <a:moveTo>
                    <a:pt x="41" y="150"/>
                  </a:moveTo>
                  <a:lnTo>
                    <a:pt x="41" y="152"/>
                  </a:lnTo>
                  <a:lnTo>
                    <a:pt x="41" y="150"/>
                  </a:lnTo>
                  <a:close/>
                  <a:moveTo>
                    <a:pt x="62" y="228"/>
                  </a:moveTo>
                  <a:lnTo>
                    <a:pt x="64" y="228"/>
                  </a:lnTo>
                  <a:lnTo>
                    <a:pt x="62" y="228"/>
                  </a:lnTo>
                  <a:close/>
                  <a:moveTo>
                    <a:pt x="71" y="225"/>
                  </a:moveTo>
                  <a:lnTo>
                    <a:pt x="75" y="225"/>
                  </a:lnTo>
                  <a:lnTo>
                    <a:pt x="75" y="226"/>
                  </a:lnTo>
                  <a:lnTo>
                    <a:pt x="71" y="226"/>
                  </a:lnTo>
                  <a:lnTo>
                    <a:pt x="71" y="225"/>
                  </a:lnTo>
                  <a:close/>
                  <a:moveTo>
                    <a:pt x="112" y="165"/>
                  </a:moveTo>
                  <a:lnTo>
                    <a:pt x="113" y="165"/>
                  </a:lnTo>
                  <a:lnTo>
                    <a:pt x="112" y="165"/>
                  </a:lnTo>
                  <a:close/>
                  <a:moveTo>
                    <a:pt x="42" y="238"/>
                  </a:moveTo>
                  <a:lnTo>
                    <a:pt x="44" y="238"/>
                  </a:lnTo>
                  <a:lnTo>
                    <a:pt x="44" y="240"/>
                  </a:lnTo>
                  <a:lnTo>
                    <a:pt x="42" y="240"/>
                  </a:lnTo>
                  <a:lnTo>
                    <a:pt x="42" y="238"/>
                  </a:lnTo>
                  <a:close/>
                  <a:moveTo>
                    <a:pt x="67" y="138"/>
                  </a:moveTo>
                  <a:lnTo>
                    <a:pt x="69" y="138"/>
                  </a:lnTo>
                  <a:lnTo>
                    <a:pt x="69" y="140"/>
                  </a:lnTo>
                  <a:lnTo>
                    <a:pt x="67" y="140"/>
                  </a:lnTo>
                  <a:lnTo>
                    <a:pt x="67" y="138"/>
                  </a:lnTo>
                  <a:close/>
                  <a:moveTo>
                    <a:pt x="50" y="236"/>
                  </a:moveTo>
                  <a:lnTo>
                    <a:pt x="50" y="238"/>
                  </a:lnTo>
                  <a:lnTo>
                    <a:pt x="50" y="236"/>
                  </a:lnTo>
                  <a:close/>
                  <a:moveTo>
                    <a:pt x="4" y="192"/>
                  </a:moveTo>
                  <a:lnTo>
                    <a:pt x="6" y="192"/>
                  </a:lnTo>
                  <a:lnTo>
                    <a:pt x="4" y="192"/>
                  </a:lnTo>
                  <a:close/>
                  <a:moveTo>
                    <a:pt x="42" y="242"/>
                  </a:moveTo>
                  <a:lnTo>
                    <a:pt x="44" y="242"/>
                  </a:lnTo>
                  <a:lnTo>
                    <a:pt x="42" y="242"/>
                  </a:lnTo>
                  <a:close/>
                  <a:moveTo>
                    <a:pt x="58" y="230"/>
                  </a:moveTo>
                  <a:lnTo>
                    <a:pt x="60" y="230"/>
                  </a:lnTo>
                  <a:lnTo>
                    <a:pt x="58" y="230"/>
                  </a:lnTo>
                  <a:close/>
                  <a:moveTo>
                    <a:pt x="73" y="9"/>
                  </a:moveTo>
                  <a:lnTo>
                    <a:pt x="73" y="11"/>
                  </a:lnTo>
                  <a:lnTo>
                    <a:pt x="73" y="9"/>
                  </a:lnTo>
                  <a:close/>
                  <a:moveTo>
                    <a:pt x="117" y="140"/>
                  </a:moveTo>
                  <a:lnTo>
                    <a:pt x="117" y="142"/>
                  </a:lnTo>
                  <a:lnTo>
                    <a:pt x="117" y="140"/>
                  </a:lnTo>
                  <a:close/>
                  <a:moveTo>
                    <a:pt x="125" y="232"/>
                  </a:moveTo>
                  <a:lnTo>
                    <a:pt x="127" y="232"/>
                  </a:lnTo>
                  <a:lnTo>
                    <a:pt x="127" y="234"/>
                  </a:lnTo>
                  <a:lnTo>
                    <a:pt x="125" y="234"/>
                  </a:lnTo>
                  <a:lnTo>
                    <a:pt x="125" y="232"/>
                  </a:lnTo>
                  <a:close/>
                  <a:moveTo>
                    <a:pt x="106" y="128"/>
                  </a:moveTo>
                  <a:lnTo>
                    <a:pt x="108" y="128"/>
                  </a:lnTo>
                  <a:lnTo>
                    <a:pt x="108" y="130"/>
                  </a:lnTo>
                  <a:lnTo>
                    <a:pt x="106" y="130"/>
                  </a:lnTo>
                  <a:lnTo>
                    <a:pt x="106" y="128"/>
                  </a:lnTo>
                  <a:close/>
                  <a:moveTo>
                    <a:pt x="112" y="153"/>
                  </a:moveTo>
                  <a:lnTo>
                    <a:pt x="113" y="153"/>
                  </a:lnTo>
                  <a:lnTo>
                    <a:pt x="113" y="155"/>
                  </a:lnTo>
                  <a:lnTo>
                    <a:pt x="112" y="155"/>
                  </a:lnTo>
                  <a:lnTo>
                    <a:pt x="112" y="153"/>
                  </a:lnTo>
                  <a:close/>
                  <a:moveTo>
                    <a:pt x="58" y="111"/>
                  </a:moveTo>
                  <a:lnTo>
                    <a:pt x="60" y="111"/>
                  </a:lnTo>
                  <a:lnTo>
                    <a:pt x="58" y="111"/>
                  </a:lnTo>
                  <a:close/>
                  <a:moveTo>
                    <a:pt x="98" y="107"/>
                  </a:moveTo>
                  <a:lnTo>
                    <a:pt x="100" y="107"/>
                  </a:lnTo>
                  <a:lnTo>
                    <a:pt x="98" y="107"/>
                  </a:lnTo>
                  <a:close/>
                  <a:moveTo>
                    <a:pt x="119" y="127"/>
                  </a:moveTo>
                  <a:lnTo>
                    <a:pt x="121" y="127"/>
                  </a:lnTo>
                  <a:lnTo>
                    <a:pt x="119" y="127"/>
                  </a:lnTo>
                  <a:close/>
                  <a:moveTo>
                    <a:pt x="60" y="228"/>
                  </a:moveTo>
                  <a:lnTo>
                    <a:pt x="60" y="230"/>
                  </a:lnTo>
                  <a:lnTo>
                    <a:pt x="60" y="228"/>
                  </a:lnTo>
                  <a:close/>
                  <a:moveTo>
                    <a:pt x="39" y="148"/>
                  </a:moveTo>
                  <a:lnTo>
                    <a:pt x="41" y="148"/>
                  </a:lnTo>
                  <a:lnTo>
                    <a:pt x="41" y="150"/>
                  </a:lnTo>
                  <a:lnTo>
                    <a:pt x="39" y="150"/>
                  </a:lnTo>
                  <a:lnTo>
                    <a:pt x="39" y="148"/>
                  </a:lnTo>
                  <a:close/>
                  <a:moveTo>
                    <a:pt x="2" y="194"/>
                  </a:moveTo>
                  <a:lnTo>
                    <a:pt x="2" y="196"/>
                  </a:lnTo>
                  <a:lnTo>
                    <a:pt x="2" y="194"/>
                  </a:lnTo>
                  <a:close/>
                  <a:moveTo>
                    <a:pt x="119" y="127"/>
                  </a:moveTo>
                  <a:lnTo>
                    <a:pt x="121" y="127"/>
                  </a:lnTo>
                  <a:lnTo>
                    <a:pt x="121" y="128"/>
                  </a:lnTo>
                  <a:lnTo>
                    <a:pt x="119" y="128"/>
                  </a:lnTo>
                  <a:lnTo>
                    <a:pt x="119" y="127"/>
                  </a:lnTo>
                  <a:close/>
                  <a:moveTo>
                    <a:pt x="75" y="123"/>
                  </a:moveTo>
                  <a:lnTo>
                    <a:pt x="77" y="123"/>
                  </a:lnTo>
                  <a:lnTo>
                    <a:pt x="75" y="123"/>
                  </a:lnTo>
                  <a:close/>
                  <a:moveTo>
                    <a:pt x="108" y="130"/>
                  </a:moveTo>
                  <a:lnTo>
                    <a:pt x="110" y="130"/>
                  </a:lnTo>
                  <a:lnTo>
                    <a:pt x="108" y="130"/>
                  </a:lnTo>
                  <a:close/>
                  <a:moveTo>
                    <a:pt x="106" y="136"/>
                  </a:moveTo>
                  <a:lnTo>
                    <a:pt x="108" y="136"/>
                  </a:lnTo>
                  <a:lnTo>
                    <a:pt x="106" y="136"/>
                  </a:lnTo>
                  <a:close/>
                  <a:moveTo>
                    <a:pt x="73" y="134"/>
                  </a:moveTo>
                  <a:lnTo>
                    <a:pt x="75" y="134"/>
                  </a:lnTo>
                  <a:lnTo>
                    <a:pt x="75" y="136"/>
                  </a:lnTo>
                  <a:lnTo>
                    <a:pt x="73" y="136"/>
                  </a:lnTo>
                  <a:lnTo>
                    <a:pt x="73" y="134"/>
                  </a:lnTo>
                  <a:close/>
                  <a:moveTo>
                    <a:pt x="129" y="211"/>
                  </a:moveTo>
                  <a:lnTo>
                    <a:pt x="129" y="213"/>
                  </a:lnTo>
                  <a:lnTo>
                    <a:pt x="129" y="211"/>
                  </a:lnTo>
                  <a:close/>
                  <a:moveTo>
                    <a:pt x="71" y="107"/>
                  </a:moveTo>
                  <a:lnTo>
                    <a:pt x="73" y="107"/>
                  </a:lnTo>
                  <a:lnTo>
                    <a:pt x="71" y="107"/>
                  </a:lnTo>
                  <a:close/>
                  <a:moveTo>
                    <a:pt x="77" y="36"/>
                  </a:moveTo>
                  <a:lnTo>
                    <a:pt x="77" y="38"/>
                  </a:lnTo>
                  <a:lnTo>
                    <a:pt x="77" y="36"/>
                  </a:lnTo>
                  <a:close/>
                  <a:moveTo>
                    <a:pt x="69" y="215"/>
                  </a:moveTo>
                  <a:lnTo>
                    <a:pt x="69" y="217"/>
                  </a:lnTo>
                  <a:lnTo>
                    <a:pt x="69" y="215"/>
                  </a:lnTo>
                  <a:close/>
                  <a:moveTo>
                    <a:pt x="69" y="225"/>
                  </a:moveTo>
                  <a:lnTo>
                    <a:pt x="71" y="225"/>
                  </a:lnTo>
                  <a:lnTo>
                    <a:pt x="71" y="226"/>
                  </a:lnTo>
                  <a:lnTo>
                    <a:pt x="69" y="226"/>
                  </a:lnTo>
                  <a:lnTo>
                    <a:pt x="69" y="225"/>
                  </a:lnTo>
                  <a:close/>
                  <a:moveTo>
                    <a:pt x="108" y="138"/>
                  </a:moveTo>
                  <a:lnTo>
                    <a:pt x="110" y="138"/>
                  </a:lnTo>
                  <a:lnTo>
                    <a:pt x="108" y="138"/>
                  </a:lnTo>
                  <a:close/>
                  <a:moveTo>
                    <a:pt x="44" y="69"/>
                  </a:moveTo>
                  <a:lnTo>
                    <a:pt x="46" y="69"/>
                  </a:lnTo>
                  <a:lnTo>
                    <a:pt x="46" y="71"/>
                  </a:lnTo>
                  <a:lnTo>
                    <a:pt x="44" y="71"/>
                  </a:lnTo>
                  <a:lnTo>
                    <a:pt x="44" y="69"/>
                  </a:lnTo>
                  <a:close/>
                  <a:moveTo>
                    <a:pt x="102" y="115"/>
                  </a:moveTo>
                  <a:lnTo>
                    <a:pt x="102" y="117"/>
                  </a:lnTo>
                  <a:lnTo>
                    <a:pt x="102" y="115"/>
                  </a:lnTo>
                  <a:close/>
                  <a:moveTo>
                    <a:pt x="50" y="111"/>
                  </a:moveTo>
                  <a:lnTo>
                    <a:pt x="52" y="111"/>
                  </a:lnTo>
                  <a:lnTo>
                    <a:pt x="50" y="111"/>
                  </a:lnTo>
                  <a:close/>
                  <a:moveTo>
                    <a:pt x="35" y="152"/>
                  </a:moveTo>
                  <a:lnTo>
                    <a:pt x="37" y="152"/>
                  </a:lnTo>
                  <a:lnTo>
                    <a:pt x="35" y="152"/>
                  </a:lnTo>
                  <a:close/>
                  <a:moveTo>
                    <a:pt x="4" y="194"/>
                  </a:moveTo>
                  <a:lnTo>
                    <a:pt x="6" y="194"/>
                  </a:lnTo>
                  <a:lnTo>
                    <a:pt x="4" y="194"/>
                  </a:lnTo>
                  <a:close/>
                  <a:moveTo>
                    <a:pt x="104" y="205"/>
                  </a:moveTo>
                  <a:lnTo>
                    <a:pt x="106" y="205"/>
                  </a:lnTo>
                  <a:lnTo>
                    <a:pt x="106" y="207"/>
                  </a:lnTo>
                  <a:lnTo>
                    <a:pt x="104" y="207"/>
                  </a:lnTo>
                  <a:lnTo>
                    <a:pt x="104" y="205"/>
                  </a:lnTo>
                  <a:close/>
                  <a:moveTo>
                    <a:pt x="110" y="138"/>
                  </a:moveTo>
                  <a:lnTo>
                    <a:pt x="112" y="138"/>
                  </a:lnTo>
                  <a:lnTo>
                    <a:pt x="110" y="138"/>
                  </a:lnTo>
                  <a:close/>
                  <a:moveTo>
                    <a:pt x="75" y="125"/>
                  </a:moveTo>
                  <a:lnTo>
                    <a:pt x="77" y="125"/>
                  </a:lnTo>
                  <a:lnTo>
                    <a:pt x="75" y="125"/>
                  </a:lnTo>
                  <a:close/>
                  <a:moveTo>
                    <a:pt x="66" y="225"/>
                  </a:moveTo>
                  <a:lnTo>
                    <a:pt x="67" y="225"/>
                  </a:lnTo>
                  <a:lnTo>
                    <a:pt x="66" y="225"/>
                  </a:lnTo>
                  <a:close/>
                  <a:moveTo>
                    <a:pt x="92" y="144"/>
                  </a:moveTo>
                  <a:lnTo>
                    <a:pt x="94" y="144"/>
                  </a:lnTo>
                  <a:lnTo>
                    <a:pt x="92" y="144"/>
                  </a:lnTo>
                  <a:close/>
                  <a:moveTo>
                    <a:pt x="133" y="167"/>
                  </a:moveTo>
                  <a:lnTo>
                    <a:pt x="133" y="169"/>
                  </a:lnTo>
                  <a:lnTo>
                    <a:pt x="133" y="167"/>
                  </a:lnTo>
                  <a:close/>
                  <a:moveTo>
                    <a:pt x="37" y="244"/>
                  </a:moveTo>
                  <a:lnTo>
                    <a:pt x="37" y="246"/>
                  </a:lnTo>
                  <a:lnTo>
                    <a:pt x="37" y="244"/>
                  </a:lnTo>
                  <a:close/>
                  <a:moveTo>
                    <a:pt x="56" y="221"/>
                  </a:moveTo>
                  <a:lnTo>
                    <a:pt x="56" y="223"/>
                  </a:lnTo>
                  <a:lnTo>
                    <a:pt x="56" y="221"/>
                  </a:lnTo>
                  <a:close/>
                  <a:moveTo>
                    <a:pt x="73" y="102"/>
                  </a:moveTo>
                  <a:lnTo>
                    <a:pt x="73" y="103"/>
                  </a:lnTo>
                  <a:lnTo>
                    <a:pt x="73" y="102"/>
                  </a:lnTo>
                  <a:close/>
                  <a:moveTo>
                    <a:pt x="75" y="94"/>
                  </a:moveTo>
                  <a:lnTo>
                    <a:pt x="77" y="94"/>
                  </a:lnTo>
                  <a:lnTo>
                    <a:pt x="75" y="94"/>
                  </a:lnTo>
                  <a:close/>
                  <a:moveTo>
                    <a:pt x="4" y="192"/>
                  </a:moveTo>
                  <a:lnTo>
                    <a:pt x="4" y="194"/>
                  </a:lnTo>
                  <a:lnTo>
                    <a:pt x="4" y="192"/>
                  </a:lnTo>
                  <a:close/>
                  <a:moveTo>
                    <a:pt x="46" y="240"/>
                  </a:moveTo>
                  <a:lnTo>
                    <a:pt x="46" y="242"/>
                  </a:lnTo>
                  <a:lnTo>
                    <a:pt x="46" y="240"/>
                  </a:lnTo>
                  <a:close/>
                  <a:moveTo>
                    <a:pt x="42" y="244"/>
                  </a:moveTo>
                  <a:lnTo>
                    <a:pt x="44" y="244"/>
                  </a:lnTo>
                  <a:lnTo>
                    <a:pt x="42" y="244"/>
                  </a:lnTo>
                  <a:close/>
                  <a:moveTo>
                    <a:pt x="41" y="146"/>
                  </a:moveTo>
                  <a:lnTo>
                    <a:pt x="42" y="146"/>
                  </a:lnTo>
                  <a:lnTo>
                    <a:pt x="42" y="148"/>
                  </a:lnTo>
                  <a:lnTo>
                    <a:pt x="41" y="148"/>
                  </a:lnTo>
                  <a:lnTo>
                    <a:pt x="41" y="146"/>
                  </a:lnTo>
                  <a:close/>
                  <a:moveTo>
                    <a:pt x="50" y="236"/>
                  </a:moveTo>
                  <a:lnTo>
                    <a:pt x="52" y="236"/>
                  </a:lnTo>
                  <a:lnTo>
                    <a:pt x="52" y="238"/>
                  </a:lnTo>
                  <a:lnTo>
                    <a:pt x="50" y="238"/>
                  </a:lnTo>
                  <a:lnTo>
                    <a:pt x="50" y="236"/>
                  </a:lnTo>
                  <a:close/>
                  <a:moveTo>
                    <a:pt x="50" y="238"/>
                  </a:moveTo>
                  <a:lnTo>
                    <a:pt x="50" y="240"/>
                  </a:lnTo>
                  <a:lnTo>
                    <a:pt x="50" y="238"/>
                  </a:lnTo>
                  <a:close/>
                  <a:moveTo>
                    <a:pt x="33" y="157"/>
                  </a:moveTo>
                  <a:lnTo>
                    <a:pt x="35" y="157"/>
                  </a:lnTo>
                  <a:lnTo>
                    <a:pt x="33" y="157"/>
                  </a:lnTo>
                  <a:close/>
                  <a:moveTo>
                    <a:pt x="127" y="167"/>
                  </a:moveTo>
                  <a:lnTo>
                    <a:pt x="129" y="167"/>
                  </a:lnTo>
                  <a:lnTo>
                    <a:pt x="129" y="169"/>
                  </a:lnTo>
                  <a:lnTo>
                    <a:pt x="127" y="169"/>
                  </a:lnTo>
                  <a:lnTo>
                    <a:pt x="127" y="167"/>
                  </a:lnTo>
                  <a:close/>
                  <a:moveTo>
                    <a:pt x="106" y="161"/>
                  </a:moveTo>
                  <a:lnTo>
                    <a:pt x="106" y="163"/>
                  </a:lnTo>
                  <a:lnTo>
                    <a:pt x="106" y="161"/>
                  </a:lnTo>
                  <a:close/>
                  <a:moveTo>
                    <a:pt x="58" y="232"/>
                  </a:moveTo>
                  <a:lnTo>
                    <a:pt x="58" y="234"/>
                  </a:lnTo>
                  <a:lnTo>
                    <a:pt x="58" y="232"/>
                  </a:lnTo>
                  <a:close/>
                  <a:moveTo>
                    <a:pt x="133" y="171"/>
                  </a:moveTo>
                  <a:lnTo>
                    <a:pt x="135" y="171"/>
                  </a:lnTo>
                  <a:lnTo>
                    <a:pt x="133" y="171"/>
                  </a:lnTo>
                  <a:close/>
                  <a:moveTo>
                    <a:pt x="110" y="127"/>
                  </a:moveTo>
                  <a:lnTo>
                    <a:pt x="110" y="128"/>
                  </a:lnTo>
                  <a:lnTo>
                    <a:pt x="110" y="127"/>
                  </a:lnTo>
                  <a:close/>
                  <a:moveTo>
                    <a:pt x="129" y="169"/>
                  </a:moveTo>
                  <a:lnTo>
                    <a:pt x="131" y="169"/>
                  </a:lnTo>
                  <a:lnTo>
                    <a:pt x="131" y="171"/>
                  </a:lnTo>
                  <a:lnTo>
                    <a:pt x="129" y="171"/>
                  </a:lnTo>
                  <a:lnTo>
                    <a:pt x="129" y="169"/>
                  </a:lnTo>
                  <a:close/>
                  <a:moveTo>
                    <a:pt x="73" y="223"/>
                  </a:moveTo>
                  <a:lnTo>
                    <a:pt x="73" y="225"/>
                  </a:lnTo>
                  <a:lnTo>
                    <a:pt x="73" y="223"/>
                  </a:lnTo>
                  <a:close/>
                  <a:moveTo>
                    <a:pt x="110" y="128"/>
                  </a:moveTo>
                  <a:lnTo>
                    <a:pt x="112" y="128"/>
                  </a:lnTo>
                  <a:lnTo>
                    <a:pt x="110" y="128"/>
                  </a:lnTo>
                  <a:close/>
                  <a:moveTo>
                    <a:pt x="73" y="223"/>
                  </a:moveTo>
                  <a:lnTo>
                    <a:pt x="73" y="225"/>
                  </a:lnTo>
                  <a:lnTo>
                    <a:pt x="73" y="223"/>
                  </a:lnTo>
                  <a:close/>
                  <a:moveTo>
                    <a:pt x="58" y="221"/>
                  </a:moveTo>
                  <a:lnTo>
                    <a:pt x="60" y="221"/>
                  </a:lnTo>
                  <a:lnTo>
                    <a:pt x="58" y="221"/>
                  </a:lnTo>
                  <a:close/>
                  <a:moveTo>
                    <a:pt x="50" y="238"/>
                  </a:moveTo>
                  <a:lnTo>
                    <a:pt x="52" y="238"/>
                  </a:lnTo>
                  <a:lnTo>
                    <a:pt x="50" y="238"/>
                  </a:lnTo>
                  <a:close/>
                  <a:moveTo>
                    <a:pt x="94" y="144"/>
                  </a:moveTo>
                  <a:lnTo>
                    <a:pt x="94" y="146"/>
                  </a:lnTo>
                  <a:lnTo>
                    <a:pt x="94" y="144"/>
                  </a:lnTo>
                  <a:close/>
                  <a:moveTo>
                    <a:pt x="67" y="225"/>
                  </a:moveTo>
                  <a:lnTo>
                    <a:pt x="69" y="225"/>
                  </a:lnTo>
                  <a:lnTo>
                    <a:pt x="69" y="226"/>
                  </a:lnTo>
                  <a:lnTo>
                    <a:pt x="67" y="226"/>
                  </a:lnTo>
                  <a:lnTo>
                    <a:pt x="67" y="225"/>
                  </a:lnTo>
                  <a:close/>
                  <a:moveTo>
                    <a:pt x="73" y="136"/>
                  </a:moveTo>
                  <a:lnTo>
                    <a:pt x="75" y="136"/>
                  </a:lnTo>
                  <a:lnTo>
                    <a:pt x="75" y="138"/>
                  </a:lnTo>
                  <a:lnTo>
                    <a:pt x="73" y="138"/>
                  </a:lnTo>
                  <a:lnTo>
                    <a:pt x="73" y="136"/>
                  </a:lnTo>
                  <a:close/>
                  <a:moveTo>
                    <a:pt x="85" y="159"/>
                  </a:moveTo>
                  <a:lnTo>
                    <a:pt x="87" y="159"/>
                  </a:lnTo>
                  <a:lnTo>
                    <a:pt x="85" y="159"/>
                  </a:lnTo>
                  <a:close/>
                  <a:moveTo>
                    <a:pt x="46" y="107"/>
                  </a:moveTo>
                  <a:lnTo>
                    <a:pt x="46" y="109"/>
                  </a:lnTo>
                  <a:lnTo>
                    <a:pt x="46" y="107"/>
                  </a:lnTo>
                  <a:close/>
                  <a:moveTo>
                    <a:pt x="60" y="132"/>
                  </a:moveTo>
                  <a:lnTo>
                    <a:pt x="62" y="132"/>
                  </a:lnTo>
                  <a:lnTo>
                    <a:pt x="62" y="134"/>
                  </a:lnTo>
                  <a:lnTo>
                    <a:pt x="60" y="134"/>
                  </a:lnTo>
                  <a:lnTo>
                    <a:pt x="60" y="132"/>
                  </a:lnTo>
                  <a:close/>
                  <a:moveTo>
                    <a:pt x="127" y="167"/>
                  </a:moveTo>
                  <a:lnTo>
                    <a:pt x="127" y="169"/>
                  </a:lnTo>
                  <a:lnTo>
                    <a:pt x="127" y="167"/>
                  </a:lnTo>
                  <a:close/>
                  <a:moveTo>
                    <a:pt x="110" y="136"/>
                  </a:moveTo>
                  <a:lnTo>
                    <a:pt x="112" y="136"/>
                  </a:lnTo>
                  <a:lnTo>
                    <a:pt x="112" y="138"/>
                  </a:lnTo>
                  <a:lnTo>
                    <a:pt x="110" y="138"/>
                  </a:lnTo>
                  <a:lnTo>
                    <a:pt x="110" y="136"/>
                  </a:lnTo>
                  <a:close/>
                  <a:moveTo>
                    <a:pt x="46" y="138"/>
                  </a:moveTo>
                  <a:lnTo>
                    <a:pt x="48" y="138"/>
                  </a:lnTo>
                  <a:lnTo>
                    <a:pt x="48" y="140"/>
                  </a:lnTo>
                  <a:lnTo>
                    <a:pt x="46" y="140"/>
                  </a:lnTo>
                  <a:lnTo>
                    <a:pt x="46" y="138"/>
                  </a:lnTo>
                  <a:close/>
                  <a:moveTo>
                    <a:pt x="102" y="146"/>
                  </a:moveTo>
                  <a:lnTo>
                    <a:pt x="104" y="146"/>
                  </a:lnTo>
                  <a:lnTo>
                    <a:pt x="104" y="148"/>
                  </a:lnTo>
                  <a:lnTo>
                    <a:pt x="102" y="148"/>
                  </a:lnTo>
                  <a:lnTo>
                    <a:pt x="102" y="146"/>
                  </a:lnTo>
                  <a:close/>
                  <a:moveTo>
                    <a:pt x="48" y="240"/>
                  </a:moveTo>
                  <a:lnTo>
                    <a:pt x="50" y="240"/>
                  </a:lnTo>
                  <a:lnTo>
                    <a:pt x="48" y="240"/>
                  </a:lnTo>
                  <a:close/>
                  <a:moveTo>
                    <a:pt x="115" y="140"/>
                  </a:moveTo>
                  <a:lnTo>
                    <a:pt x="115" y="142"/>
                  </a:lnTo>
                  <a:lnTo>
                    <a:pt x="115" y="140"/>
                  </a:lnTo>
                  <a:close/>
                  <a:moveTo>
                    <a:pt x="41" y="150"/>
                  </a:moveTo>
                  <a:lnTo>
                    <a:pt x="42" y="150"/>
                  </a:lnTo>
                  <a:lnTo>
                    <a:pt x="41" y="150"/>
                  </a:lnTo>
                  <a:close/>
                  <a:moveTo>
                    <a:pt x="64" y="171"/>
                  </a:moveTo>
                  <a:lnTo>
                    <a:pt x="64" y="173"/>
                  </a:lnTo>
                  <a:lnTo>
                    <a:pt x="64" y="171"/>
                  </a:lnTo>
                  <a:close/>
                  <a:moveTo>
                    <a:pt x="129" y="169"/>
                  </a:moveTo>
                  <a:lnTo>
                    <a:pt x="129" y="171"/>
                  </a:lnTo>
                  <a:lnTo>
                    <a:pt x="129" y="169"/>
                  </a:lnTo>
                  <a:close/>
                  <a:moveTo>
                    <a:pt x="54" y="223"/>
                  </a:moveTo>
                  <a:lnTo>
                    <a:pt x="54" y="225"/>
                  </a:lnTo>
                  <a:lnTo>
                    <a:pt x="54" y="223"/>
                  </a:lnTo>
                  <a:close/>
                  <a:moveTo>
                    <a:pt x="46" y="136"/>
                  </a:moveTo>
                  <a:lnTo>
                    <a:pt x="46" y="138"/>
                  </a:lnTo>
                  <a:lnTo>
                    <a:pt x="46" y="136"/>
                  </a:lnTo>
                  <a:close/>
                  <a:moveTo>
                    <a:pt x="44" y="226"/>
                  </a:moveTo>
                  <a:lnTo>
                    <a:pt x="46" y="226"/>
                  </a:lnTo>
                  <a:lnTo>
                    <a:pt x="46" y="228"/>
                  </a:lnTo>
                  <a:lnTo>
                    <a:pt x="44" y="228"/>
                  </a:lnTo>
                  <a:lnTo>
                    <a:pt x="44" y="226"/>
                  </a:lnTo>
                  <a:close/>
                  <a:moveTo>
                    <a:pt x="77" y="113"/>
                  </a:moveTo>
                  <a:lnTo>
                    <a:pt x="77" y="115"/>
                  </a:lnTo>
                  <a:lnTo>
                    <a:pt x="77" y="113"/>
                  </a:lnTo>
                  <a:close/>
                  <a:moveTo>
                    <a:pt x="54" y="234"/>
                  </a:moveTo>
                  <a:lnTo>
                    <a:pt x="56" y="234"/>
                  </a:lnTo>
                  <a:lnTo>
                    <a:pt x="54" y="234"/>
                  </a:lnTo>
                  <a:close/>
                  <a:moveTo>
                    <a:pt x="119" y="167"/>
                  </a:moveTo>
                  <a:lnTo>
                    <a:pt x="121" y="167"/>
                  </a:lnTo>
                  <a:lnTo>
                    <a:pt x="121" y="169"/>
                  </a:lnTo>
                  <a:lnTo>
                    <a:pt x="119" y="169"/>
                  </a:lnTo>
                  <a:lnTo>
                    <a:pt x="119" y="167"/>
                  </a:lnTo>
                  <a:close/>
                  <a:moveTo>
                    <a:pt x="102" y="167"/>
                  </a:moveTo>
                  <a:lnTo>
                    <a:pt x="102" y="169"/>
                  </a:lnTo>
                  <a:lnTo>
                    <a:pt x="102" y="167"/>
                  </a:lnTo>
                  <a:close/>
                  <a:moveTo>
                    <a:pt x="89" y="100"/>
                  </a:moveTo>
                  <a:lnTo>
                    <a:pt x="90" y="100"/>
                  </a:lnTo>
                  <a:lnTo>
                    <a:pt x="89" y="100"/>
                  </a:lnTo>
                  <a:close/>
                  <a:moveTo>
                    <a:pt x="41" y="150"/>
                  </a:moveTo>
                  <a:lnTo>
                    <a:pt x="42" y="150"/>
                  </a:lnTo>
                  <a:lnTo>
                    <a:pt x="42" y="152"/>
                  </a:lnTo>
                  <a:lnTo>
                    <a:pt x="41" y="152"/>
                  </a:lnTo>
                  <a:lnTo>
                    <a:pt x="41" y="150"/>
                  </a:lnTo>
                  <a:close/>
                  <a:moveTo>
                    <a:pt x="44" y="136"/>
                  </a:moveTo>
                  <a:lnTo>
                    <a:pt x="46" y="136"/>
                  </a:lnTo>
                  <a:lnTo>
                    <a:pt x="46" y="138"/>
                  </a:lnTo>
                  <a:lnTo>
                    <a:pt x="44" y="138"/>
                  </a:lnTo>
                  <a:lnTo>
                    <a:pt x="44" y="136"/>
                  </a:lnTo>
                  <a:close/>
                  <a:moveTo>
                    <a:pt x="50" y="234"/>
                  </a:moveTo>
                  <a:lnTo>
                    <a:pt x="50" y="236"/>
                  </a:lnTo>
                  <a:lnTo>
                    <a:pt x="50" y="234"/>
                  </a:lnTo>
                  <a:close/>
                  <a:moveTo>
                    <a:pt x="44" y="136"/>
                  </a:moveTo>
                  <a:lnTo>
                    <a:pt x="44" y="138"/>
                  </a:lnTo>
                  <a:lnTo>
                    <a:pt x="44" y="136"/>
                  </a:lnTo>
                  <a:close/>
                  <a:moveTo>
                    <a:pt x="56" y="146"/>
                  </a:moveTo>
                  <a:lnTo>
                    <a:pt x="56" y="148"/>
                  </a:lnTo>
                  <a:lnTo>
                    <a:pt x="56" y="146"/>
                  </a:lnTo>
                  <a:close/>
                  <a:moveTo>
                    <a:pt x="46" y="146"/>
                  </a:moveTo>
                  <a:lnTo>
                    <a:pt x="48" y="146"/>
                  </a:lnTo>
                  <a:lnTo>
                    <a:pt x="46" y="146"/>
                  </a:lnTo>
                  <a:close/>
                  <a:moveTo>
                    <a:pt x="71" y="215"/>
                  </a:moveTo>
                  <a:lnTo>
                    <a:pt x="71" y="217"/>
                  </a:lnTo>
                  <a:lnTo>
                    <a:pt x="71" y="215"/>
                  </a:lnTo>
                  <a:close/>
                  <a:moveTo>
                    <a:pt x="54" y="100"/>
                  </a:moveTo>
                  <a:lnTo>
                    <a:pt x="56" y="100"/>
                  </a:lnTo>
                  <a:lnTo>
                    <a:pt x="56" y="102"/>
                  </a:lnTo>
                  <a:lnTo>
                    <a:pt x="54" y="102"/>
                  </a:lnTo>
                  <a:lnTo>
                    <a:pt x="54" y="100"/>
                  </a:lnTo>
                  <a:close/>
                  <a:moveTo>
                    <a:pt x="94" y="142"/>
                  </a:moveTo>
                  <a:lnTo>
                    <a:pt x="94" y="144"/>
                  </a:lnTo>
                  <a:lnTo>
                    <a:pt x="94" y="142"/>
                  </a:lnTo>
                  <a:close/>
                  <a:moveTo>
                    <a:pt x="41" y="153"/>
                  </a:moveTo>
                  <a:lnTo>
                    <a:pt x="41" y="155"/>
                  </a:lnTo>
                  <a:lnTo>
                    <a:pt x="41" y="153"/>
                  </a:lnTo>
                  <a:close/>
                  <a:moveTo>
                    <a:pt x="58" y="144"/>
                  </a:moveTo>
                  <a:lnTo>
                    <a:pt x="58" y="146"/>
                  </a:lnTo>
                  <a:lnTo>
                    <a:pt x="58" y="144"/>
                  </a:lnTo>
                  <a:close/>
                  <a:moveTo>
                    <a:pt x="46" y="136"/>
                  </a:moveTo>
                  <a:lnTo>
                    <a:pt x="48" y="136"/>
                  </a:lnTo>
                  <a:lnTo>
                    <a:pt x="48" y="138"/>
                  </a:lnTo>
                  <a:lnTo>
                    <a:pt x="46" y="138"/>
                  </a:lnTo>
                  <a:lnTo>
                    <a:pt x="46" y="136"/>
                  </a:lnTo>
                  <a:close/>
                  <a:moveTo>
                    <a:pt x="50" y="238"/>
                  </a:moveTo>
                  <a:lnTo>
                    <a:pt x="50" y="240"/>
                  </a:lnTo>
                  <a:lnTo>
                    <a:pt x="50" y="238"/>
                  </a:lnTo>
                  <a:close/>
                  <a:moveTo>
                    <a:pt x="89" y="119"/>
                  </a:moveTo>
                  <a:lnTo>
                    <a:pt x="90" y="119"/>
                  </a:lnTo>
                  <a:lnTo>
                    <a:pt x="89" y="119"/>
                  </a:lnTo>
                  <a:close/>
                  <a:moveTo>
                    <a:pt x="48" y="144"/>
                  </a:moveTo>
                  <a:lnTo>
                    <a:pt x="48" y="146"/>
                  </a:lnTo>
                  <a:lnTo>
                    <a:pt x="48" y="144"/>
                  </a:lnTo>
                  <a:close/>
                  <a:moveTo>
                    <a:pt x="106" y="163"/>
                  </a:moveTo>
                  <a:lnTo>
                    <a:pt x="108" y="163"/>
                  </a:lnTo>
                  <a:lnTo>
                    <a:pt x="106" y="163"/>
                  </a:lnTo>
                  <a:close/>
                  <a:moveTo>
                    <a:pt x="42" y="79"/>
                  </a:moveTo>
                  <a:lnTo>
                    <a:pt x="42" y="80"/>
                  </a:lnTo>
                  <a:lnTo>
                    <a:pt x="42" y="79"/>
                  </a:lnTo>
                  <a:close/>
                  <a:moveTo>
                    <a:pt x="46" y="226"/>
                  </a:moveTo>
                  <a:lnTo>
                    <a:pt x="46" y="228"/>
                  </a:lnTo>
                  <a:lnTo>
                    <a:pt x="46" y="226"/>
                  </a:lnTo>
                  <a:close/>
                  <a:moveTo>
                    <a:pt x="60" y="230"/>
                  </a:moveTo>
                  <a:lnTo>
                    <a:pt x="62" y="230"/>
                  </a:lnTo>
                  <a:lnTo>
                    <a:pt x="60" y="230"/>
                  </a:lnTo>
                  <a:close/>
                  <a:moveTo>
                    <a:pt x="54" y="236"/>
                  </a:moveTo>
                  <a:lnTo>
                    <a:pt x="56" y="236"/>
                  </a:lnTo>
                  <a:lnTo>
                    <a:pt x="56" y="238"/>
                  </a:lnTo>
                  <a:lnTo>
                    <a:pt x="54" y="238"/>
                  </a:lnTo>
                  <a:lnTo>
                    <a:pt x="54" y="236"/>
                  </a:lnTo>
                  <a:close/>
                  <a:moveTo>
                    <a:pt x="108" y="163"/>
                  </a:moveTo>
                  <a:lnTo>
                    <a:pt x="108" y="165"/>
                  </a:lnTo>
                  <a:lnTo>
                    <a:pt x="108" y="163"/>
                  </a:lnTo>
                  <a:close/>
                  <a:moveTo>
                    <a:pt x="64" y="32"/>
                  </a:moveTo>
                  <a:lnTo>
                    <a:pt x="66" y="32"/>
                  </a:lnTo>
                  <a:lnTo>
                    <a:pt x="64" y="32"/>
                  </a:lnTo>
                  <a:close/>
                  <a:moveTo>
                    <a:pt x="73" y="144"/>
                  </a:moveTo>
                  <a:lnTo>
                    <a:pt x="75" y="144"/>
                  </a:lnTo>
                  <a:lnTo>
                    <a:pt x="73" y="144"/>
                  </a:lnTo>
                  <a:close/>
                  <a:moveTo>
                    <a:pt x="110" y="127"/>
                  </a:moveTo>
                  <a:lnTo>
                    <a:pt x="112" y="127"/>
                  </a:lnTo>
                  <a:lnTo>
                    <a:pt x="110" y="127"/>
                  </a:lnTo>
                  <a:close/>
                  <a:moveTo>
                    <a:pt x="44" y="82"/>
                  </a:moveTo>
                  <a:lnTo>
                    <a:pt x="44" y="84"/>
                  </a:lnTo>
                  <a:lnTo>
                    <a:pt x="44" y="82"/>
                  </a:lnTo>
                  <a:close/>
                  <a:moveTo>
                    <a:pt x="35" y="148"/>
                  </a:moveTo>
                  <a:lnTo>
                    <a:pt x="35" y="150"/>
                  </a:lnTo>
                  <a:lnTo>
                    <a:pt x="35" y="148"/>
                  </a:lnTo>
                  <a:close/>
                  <a:moveTo>
                    <a:pt x="108" y="142"/>
                  </a:moveTo>
                  <a:lnTo>
                    <a:pt x="108" y="144"/>
                  </a:lnTo>
                  <a:lnTo>
                    <a:pt x="108" y="142"/>
                  </a:lnTo>
                  <a:close/>
                  <a:moveTo>
                    <a:pt x="81" y="142"/>
                  </a:moveTo>
                  <a:lnTo>
                    <a:pt x="83" y="142"/>
                  </a:lnTo>
                  <a:lnTo>
                    <a:pt x="81" y="142"/>
                  </a:lnTo>
                  <a:close/>
                  <a:moveTo>
                    <a:pt x="50" y="155"/>
                  </a:moveTo>
                  <a:lnTo>
                    <a:pt x="50" y="157"/>
                  </a:lnTo>
                  <a:lnTo>
                    <a:pt x="50" y="155"/>
                  </a:lnTo>
                  <a:close/>
                  <a:moveTo>
                    <a:pt x="94" y="130"/>
                  </a:moveTo>
                  <a:lnTo>
                    <a:pt x="94" y="132"/>
                  </a:lnTo>
                  <a:lnTo>
                    <a:pt x="94" y="130"/>
                  </a:lnTo>
                  <a:close/>
                  <a:moveTo>
                    <a:pt x="127" y="165"/>
                  </a:moveTo>
                  <a:lnTo>
                    <a:pt x="127" y="167"/>
                  </a:lnTo>
                  <a:lnTo>
                    <a:pt x="127" y="165"/>
                  </a:lnTo>
                  <a:close/>
                  <a:moveTo>
                    <a:pt x="41" y="155"/>
                  </a:moveTo>
                  <a:lnTo>
                    <a:pt x="42" y="155"/>
                  </a:lnTo>
                  <a:lnTo>
                    <a:pt x="41" y="155"/>
                  </a:lnTo>
                  <a:close/>
                  <a:moveTo>
                    <a:pt x="77" y="113"/>
                  </a:moveTo>
                  <a:lnTo>
                    <a:pt x="79" y="113"/>
                  </a:lnTo>
                  <a:lnTo>
                    <a:pt x="77" y="113"/>
                  </a:lnTo>
                  <a:close/>
                  <a:moveTo>
                    <a:pt x="35" y="148"/>
                  </a:moveTo>
                  <a:lnTo>
                    <a:pt x="35" y="150"/>
                  </a:lnTo>
                  <a:lnTo>
                    <a:pt x="35" y="148"/>
                  </a:lnTo>
                  <a:close/>
                  <a:moveTo>
                    <a:pt x="104" y="130"/>
                  </a:moveTo>
                  <a:lnTo>
                    <a:pt x="106" y="130"/>
                  </a:lnTo>
                  <a:lnTo>
                    <a:pt x="104" y="130"/>
                  </a:lnTo>
                  <a:close/>
                  <a:moveTo>
                    <a:pt x="77" y="92"/>
                  </a:moveTo>
                  <a:lnTo>
                    <a:pt x="77" y="94"/>
                  </a:lnTo>
                  <a:lnTo>
                    <a:pt x="77" y="92"/>
                  </a:lnTo>
                  <a:close/>
                  <a:moveTo>
                    <a:pt x="83" y="159"/>
                  </a:moveTo>
                  <a:lnTo>
                    <a:pt x="85" y="159"/>
                  </a:lnTo>
                  <a:lnTo>
                    <a:pt x="85" y="161"/>
                  </a:lnTo>
                  <a:lnTo>
                    <a:pt x="83" y="161"/>
                  </a:lnTo>
                  <a:lnTo>
                    <a:pt x="83" y="159"/>
                  </a:lnTo>
                  <a:close/>
                  <a:moveTo>
                    <a:pt x="44" y="142"/>
                  </a:moveTo>
                  <a:lnTo>
                    <a:pt x="46" y="142"/>
                  </a:lnTo>
                  <a:lnTo>
                    <a:pt x="44" y="142"/>
                  </a:lnTo>
                  <a:close/>
                  <a:moveTo>
                    <a:pt x="106" y="130"/>
                  </a:moveTo>
                  <a:lnTo>
                    <a:pt x="106" y="132"/>
                  </a:lnTo>
                  <a:lnTo>
                    <a:pt x="106" y="130"/>
                  </a:lnTo>
                  <a:close/>
                  <a:moveTo>
                    <a:pt x="60" y="230"/>
                  </a:moveTo>
                  <a:lnTo>
                    <a:pt x="62" y="230"/>
                  </a:lnTo>
                  <a:lnTo>
                    <a:pt x="60" y="230"/>
                  </a:lnTo>
                  <a:close/>
                  <a:moveTo>
                    <a:pt x="56" y="232"/>
                  </a:moveTo>
                  <a:lnTo>
                    <a:pt x="58" y="232"/>
                  </a:lnTo>
                  <a:lnTo>
                    <a:pt x="58" y="234"/>
                  </a:lnTo>
                  <a:lnTo>
                    <a:pt x="56" y="234"/>
                  </a:lnTo>
                  <a:lnTo>
                    <a:pt x="56" y="232"/>
                  </a:lnTo>
                  <a:close/>
                  <a:moveTo>
                    <a:pt x="87" y="100"/>
                  </a:moveTo>
                  <a:lnTo>
                    <a:pt x="87" y="102"/>
                  </a:lnTo>
                  <a:lnTo>
                    <a:pt x="87" y="100"/>
                  </a:lnTo>
                  <a:close/>
                  <a:moveTo>
                    <a:pt x="133" y="167"/>
                  </a:moveTo>
                  <a:lnTo>
                    <a:pt x="133" y="169"/>
                  </a:lnTo>
                  <a:lnTo>
                    <a:pt x="133" y="167"/>
                  </a:lnTo>
                  <a:close/>
                  <a:moveTo>
                    <a:pt x="102" y="123"/>
                  </a:moveTo>
                  <a:lnTo>
                    <a:pt x="104" y="123"/>
                  </a:lnTo>
                  <a:lnTo>
                    <a:pt x="102" y="123"/>
                  </a:lnTo>
                  <a:close/>
                  <a:moveTo>
                    <a:pt x="44" y="136"/>
                  </a:moveTo>
                  <a:lnTo>
                    <a:pt x="46" y="136"/>
                  </a:lnTo>
                  <a:lnTo>
                    <a:pt x="44" y="136"/>
                  </a:lnTo>
                  <a:close/>
                  <a:moveTo>
                    <a:pt x="41" y="144"/>
                  </a:moveTo>
                  <a:lnTo>
                    <a:pt x="42" y="144"/>
                  </a:lnTo>
                  <a:lnTo>
                    <a:pt x="41" y="144"/>
                  </a:lnTo>
                  <a:close/>
                  <a:moveTo>
                    <a:pt x="125" y="138"/>
                  </a:moveTo>
                  <a:lnTo>
                    <a:pt x="127" y="138"/>
                  </a:lnTo>
                  <a:lnTo>
                    <a:pt x="125" y="138"/>
                  </a:lnTo>
                  <a:close/>
                  <a:moveTo>
                    <a:pt x="113" y="140"/>
                  </a:moveTo>
                  <a:lnTo>
                    <a:pt x="115" y="140"/>
                  </a:lnTo>
                  <a:lnTo>
                    <a:pt x="113" y="140"/>
                  </a:lnTo>
                  <a:close/>
                  <a:moveTo>
                    <a:pt x="73" y="221"/>
                  </a:moveTo>
                  <a:lnTo>
                    <a:pt x="75" y="221"/>
                  </a:lnTo>
                  <a:lnTo>
                    <a:pt x="73" y="221"/>
                  </a:lnTo>
                  <a:close/>
                  <a:moveTo>
                    <a:pt x="115" y="138"/>
                  </a:moveTo>
                  <a:lnTo>
                    <a:pt x="115" y="140"/>
                  </a:lnTo>
                  <a:lnTo>
                    <a:pt x="115" y="138"/>
                  </a:lnTo>
                  <a:close/>
                  <a:moveTo>
                    <a:pt x="90" y="105"/>
                  </a:moveTo>
                  <a:lnTo>
                    <a:pt x="92" y="105"/>
                  </a:lnTo>
                  <a:lnTo>
                    <a:pt x="90" y="105"/>
                  </a:lnTo>
                  <a:close/>
                  <a:moveTo>
                    <a:pt x="50" y="138"/>
                  </a:moveTo>
                  <a:lnTo>
                    <a:pt x="50" y="140"/>
                  </a:lnTo>
                  <a:lnTo>
                    <a:pt x="50" y="138"/>
                  </a:lnTo>
                  <a:close/>
                  <a:moveTo>
                    <a:pt x="4" y="194"/>
                  </a:moveTo>
                  <a:lnTo>
                    <a:pt x="4" y="196"/>
                  </a:lnTo>
                  <a:lnTo>
                    <a:pt x="4" y="194"/>
                  </a:lnTo>
                  <a:close/>
                  <a:moveTo>
                    <a:pt x="104" y="148"/>
                  </a:moveTo>
                  <a:lnTo>
                    <a:pt x="104" y="150"/>
                  </a:lnTo>
                  <a:lnTo>
                    <a:pt x="104" y="148"/>
                  </a:lnTo>
                  <a:close/>
                  <a:moveTo>
                    <a:pt x="44" y="71"/>
                  </a:moveTo>
                  <a:lnTo>
                    <a:pt x="46" y="71"/>
                  </a:lnTo>
                  <a:lnTo>
                    <a:pt x="44" y="71"/>
                  </a:lnTo>
                  <a:close/>
                  <a:moveTo>
                    <a:pt x="46" y="226"/>
                  </a:moveTo>
                  <a:lnTo>
                    <a:pt x="46" y="228"/>
                  </a:lnTo>
                  <a:lnTo>
                    <a:pt x="46" y="226"/>
                  </a:lnTo>
                  <a:close/>
                  <a:moveTo>
                    <a:pt x="121" y="127"/>
                  </a:moveTo>
                  <a:lnTo>
                    <a:pt x="121" y="128"/>
                  </a:lnTo>
                  <a:lnTo>
                    <a:pt x="121" y="127"/>
                  </a:lnTo>
                  <a:close/>
                  <a:moveTo>
                    <a:pt x="64" y="173"/>
                  </a:moveTo>
                  <a:lnTo>
                    <a:pt x="66" y="173"/>
                  </a:lnTo>
                  <a:lnTo>
                    <a:pt x="64" y="173"/>
                  </a:lnTo>
                  <a:close/>
                  <a:moveTo>
                    <a:pt x="127" y="169"/>
                  </a:moveTo>
                  <a:lnTo>
                    <a:pt x="127" y="171"/>
                  </a:lnTo>
                  <a:lnTo>
                    <a:pt x="127" y="169"/>
                  </a:lnTo>
                  <a:close/>
                  <a:moveTo>
                    <a:pt x="46" y="238"/>
                  </a:moveTo>
                  <a:lnTo>
                    <a:pt x="46" y="240"/>
                  </a:lnTo>
                  <a:lnTo>
                    <a:pt x="46" y="238"/>
                  </a:lnTo>
                  <a:close/>
                  <a:moveTo>
                    <a:pt x="75" y="92"/>
                  </a:moveTo>
                  <a:lnTo>
                    <a:pt x="75" y="94"/>
                  </a:lnTo>
                  <a:lnTo>
                    <a:pt x="75" y="92"/>
                  </a:lnTo>
                  <a:close/>
                  <a:moveTo>
                    <a:pt x="56" y="236"/>
                  </a:moveTo>
                  <a:lnTo>
                    <a:pt x="56" y="238"/>
                  </a:lnTo>
                  <a:lnTo>
                    <a:pt x="56" y="236"/>
                  </a:lnTo>
                  <a:close/>
                  <a:moveTo>
                    <a:pt x="102" y="107"/>
                  </a:moveTo>
                  <a:lnTo>
                    <a:pt x="102" y="109"/>
                  </a:lnTo>
                  <a:lnTo>
                    <a:pt x="102" y="107"/>
                  </a:lnTo>
                  <a:close/>
                  <a:moveTo>
                    <a:pt x="102" y="107"/>
                  </a:moveTo>
                  <a:lnTo>
                    <a:pt x="102" y="109"/>
                  </a:lnTo>
                  <a:lnTo>
                    <a:pt x="102" y="107"/>
                  </a:lnTo>
                  <a:close/>
                  <a:moveTo>
                    <a:pt x="138" y="213"/>
                  </a:moveTo>
                  <a:lnTo>
                    <a:pt x="138" y="215"/>
                  </a:lnTo>
                  <a:lnTo>
                    <a:pt x="138" y="213"/>
                  </a:lnTo>
                  <a:close/>
                  <a:moveTo>
                    <a:pt x="90" y="105"/>
                  </a:moveTo>
                  <a:lnTo>
                    <a:pt x="92" y="105"/>
                  </a:lnTo>
                  <a:lnTo>
                    <a:pt x="90" y="105"/>
                  </a:lnTo>
                  <a:close/>
                  <a:moveTo>
                    <a:pt x="58" y="232"/>
                  </a:moveTo>
                  <a:lnTo>
                    <a:pt x="58" y="234"/>
                  </a:lnTo>
                  <a:lnTo>
                    <a:pt x="58" y="232"/>
                  </a:lnTo>
                  <a:close/>
                  <a:moveTo>
                    <a:pt x="98" y="152"/>
                  </a:moveTo>
                  <a:lnTo>
                    <a:pt x="100" y="152"/>
                  </a:lnTo>
                  <a:lnTo>
                    <a:pt x="98" y="152"/>
                  </a:lnTo>
                  <a:close/>
                  <a:moveTo>
                    <a:pt x="52" y="132"/>
                  </a:moveTo>
                  <a:lnTo>
                    <a:pt x="52" y="134"/>
                  </a:lnTo>
                  <a:lnTo>
                    <a:pt x="52" y="132"/>
                  </a:lnTo>
                  <a:close/>
                  <a:moveTo>
                    <a:pt x="69" y="225"/>
                  </a:moveTo>
                  <a:lnTo>
                    <a:pt x="71" y="225"/>
                  </a:lnTo>
                  <a:lnTo>
                    <a:pt x="69" y="225"/>
                  </a:lnTo>
                  <a:close/>
                  <a:moveTo>
                    <a:pt x="46" y="226"/>
                  </a:moveTo>
                  <a:lnTo>
                    <a:pt x="46" y="228"/>
                  </a:lnTo>
                  <a:lnTo>
                    <a:pt x="46" y="226"/>
                  </a:lnTo>
                  <a:close/>
                  <a:moveTo>
                    <a:pt x="58" y="232"/>
                  </a:moveTo>
                  <a:lnTo>
                    <a:pt x="60" y="232"/>
                  </a:lnTo>
                  <a:lnTo>
                    <a:pt x="58" y="232"/>
                  </a:lnTo>
                  <a:close/>
                  <a:moveTo>
                    <a:pt x="106" y="130"/>
                  </a:moveTo>
                  <a:lnTo>
                    <a:pt x="106" y="132"/>
                  </a:lnTo>
                  <a:lnTo>
                    <a:pt x="106" y="130"/>
                  </a:lnTo>
                  <a:close/>
                  <a:moveTo>
                    <a:pt x="58" y="144"/>
                  </a:moveTo>
                  <a:lnTo>
                    <a:pt x="58" y="146"/>
                  </a:lnTo>
                  <a:lnTo>
                    <a:pt x="58" y="144"/>
                  </a:lnTo>
                  <a:close/>
                  <a:moveTo>
                    <a:pt x="42" y="80"/>
                  </a:moveTo>
                  <a:lnTo>
                    <a:pt x="44" y="80"/>
                  </a:lnTo>
                  <a:lnTo>
                    <a:pt x="42" y="80"/>
                  </a:lnTo>
                  <a:close/>
                  <a:moveTo>
                    <a:pt x="98" y="152"/>
                  </a:moveTo>
                  <a:lnTo>
                    <a:pt x="98" y="153"/>
                  </a:lnTo>
                  <a:lnTo>
                    <a:pt x="98" y="152"/>
                  </a:lnTo>
                  <a:close/>
                  <a:moveTo>
                    <a:pt x="48" y="94"/>
                  </a:moveTo>
                  <a:lnTo>
                    <a:pt x="48" y="96"/>
                  </a:lnTo>
                  <a:lnTo>
                    <a:pt x="48" y="94"/>
                  </a:lnTo>
                  <a:close/>
                  <a:moveTo>
                    <a:pt x="75" y="221"/>
                  </a:moveTo>
                  <a:lnTo>
                    <a:pt x="77" y="221"/>
                  </a:lnTo>
                  <a:lnTo>
                    <a:pt x="75" y="221"/>
                  </a:lnTo>
                  <a:close/>
                  <a:moveTo>
                    <a:pt x="35" y="148"/>
                  </a:moveTo>
                  <a:lnTo>
                    <a:pt x="37" y="148"/>
                  </a:lnTo>
                  <a:lnTo>
                    <a:pt x="35" y="148"/>
                  </a:lnTo>
                  <a:close/>
                  <a:moveTo>
                    <a:pt x="46" y="138"/>
                  </a:moveTo>
                  <a:lnTo>
                    <a:pt x="48" y="138"/>
                  </a:lnTo>
                  <a:lnTo>
                    <a:pt x="46" y="138"/>
                  </a:lnTo>
                  <a:close/>
                  <a:moveTo>
                    <a:pt x="69" y="215"/>
                  </a:moveTo>
                  <a:lnTo>
                    <a:pt x="69" y="217"/>
                  </a:lnTo>
                  <a:lnTo>
                    <a:pt x="69" y="215"/>
                  </a:lnTo>
                  <a:close/>
                  <a:moveTo>
                    <a:pt x="56" y="146"/>
                  </a:moveTo>
                  <a:lnTo>
                    <a:pt x="58" y="146"/>
                  </a:lnTo>
                  <a:lnTo>
                    <a:pt x="56" y="146"/>
                  </a:lnTo>
                  <a:close/>
                  <a:moveTo>
                    <a:pt x="69" y="225"/>
                  </a:moveTo>
                  <a:lnTo>
                    <a:pt x="71" y="225"/>
                  </a:lnTo>
                  <a:lnTo>
                    <a:pt x="69" y="225"/>
                  </a:lnTo>
                  <a:close/>
                  <a:moveTo>
                    <a:pt x="79" y="127"/>
                  </a:moveTo>
                  <a:lnTo>
                    <a:pt x="79" y="128"/>
                  </a:lnTo>
                  <a:lnTo>
                    <a:pt x="79" y="127"/>
                  </a:lnTo>
                  <a:close/>
                  <a:moveTo>
                    <a:pt x="64" y="32"/>
                  </a:moveTo>
                  <a:lnTo>
                    <a:pt x="66" y="32"/>
                  </a:lnTo>
                  <a:lnTo>
                    <a:pt x="64" y="32"/>
                  </a:lnTo>
                  <a:close/>
                  <a:moveTo>
                    <a:pt x="117" y="140"/>
                  </a:moveTo>
                  <a:lnTo>
                    <a:pt x="117" y="142"/>
                  </a:lnTo>
                  <a:lnTo>
                    <a:pt x="117" y="140"/>
                  </a:lnTo>
                  <a:close/>
                  <a:moveTo>
                    <a:pt x="52" y="48"/>
                  </a:moveTo>
                  <a:lnTo>
                    <a:pt x="52" y="50"/>
                  </a:lnTo>
                  <a:lnTo>
                    <a:pt x="52" y="48"/>
                  </a:lnTo>
                  <a:close/>
                  <a:moveTo>
                    <a:pt x="87" y="142"/>
                  </a:moveTo>
                  <a:lnTo>
                    <a:pt x="89" y="142"/>
                  </a:lnTo>
                  <a:lnTo>
                    <a:pt x="87" y="142"/>
                  </a:lnTo>
                  <a:close/>
                  <a:moveTo>
                    <a:pt x="52" y="223"/>
                  </a:moveTo>
                  <a:lnTo>
                    <a:pt x="54" y="223"/>
                  </a:lnTo>
                  <a:lnTo>
                    <a:pt x="52" y="223"/>
                  </a:lnTo>
                  <a:close/>
                  <a:moveTo>
                    <a:pt x="73" y="0"/>
                  </a:moveTo>
                  <a:lnTo>
                    <a:pt x="75" y="0"/>
                  </a:lnTo>
                  <a:lnTo>
                    <a:pt x="73" y="0"/>
                  </a:lnTo>
                  <a:close/>
                  <a:moveTo>
                    <a:pt x="44" y="236"/>
                  </a:moveTo>
                  <a:lnTo>
                    <a:pt x="46" y="236"/>
                  </a:lnTo>
                  <a:lnTo>
                    <a:pt x="44" y="236"/>
                  </a:lnTo>
                  <a:close/>
                  <a:moveTo>
                    <a:pt x="44" y="140"/>
                  </a:moveTo>
                  <a:lnTo>
                    <a:pt x="46" y="140"/>
                  </a:lnTo>
                  <a:lnTo>
                    <a:pt x="44" y="140"/>
                  </a:lnTo>
                  <a:close/>
                  <a:moveTo>
                    <a:pt x="108" y="163"/>
                  </a:moveTo>
                  <a:lnTo>
                    <a:pt x="110" y="163"/>
                  </a:lnTo>
                  <a:lnTo>
                    <a:pt x="108" y="163"/>
                  </a:lnTo>
                  <a:close/>
                  <a:moveTo>
                    <a:pt x="71" y="9"/>
                  </a:moveTo>
                  <a:lnTo>
                    <a:pt x="73" y="9"/>
                  </a:lnTo>
                  <a:lnTo>
                    <a:pt x="71" y="9"/>
                  </a:lnTo>
                  <a:close/>
                  <a:moveTo>
                    <a:pt x="42" y="157"/>
                  </a:moveTo>
                  <a:lnTo>
                    <a:pt x="42" y="159"/>
                  </a:lnTo>
                  <a:lnTo>
                    <a:pt x="42" y="157"/>
                  </a:lnTo>
                  <a:close/>
                  <a:moveTo>
                    <a:pt x="104" y="165"/>
                  </a:moveTo>
                  <a:lnTo>
                    <a:pt x="104" y="167"/>
                  </a:lnTo>
                  <a:lnTo>
                    <a:pt x="104" y="165"/>
                  </a:lnTo>
                  <a:close/>
                  <a:moveTo>
                    <a:pt x="102" y="107"/>
                  </a:moveTo>
                  <a:lnTo>
                    <a:pt x="102" y="109"/>
                  </a:lnTo>
                  <a:lnTo>
                    <a:pt x="102" y="107"/>
                  </a:lnTo>
                  <a:close/>
                  <a:moveTo>
                    <a:pt x="77" y="92"/>
                  </a:moveTo>
                  <a:lnTo>
                    <a:pt x="79" y="92"/>
                  </a:lnTo>
                  <a:lnTo>
                    <a:pt x="77" y="92"/>
                  </a:lnTo>
                  <a:close/>
                  <a:moveTo>
                    <a:pt x="127" y="161"/>
                  </a:moveTo>
                  <a:lnTo>
                    <a:pt x="129" y="161"/>
                  </a:lnTo>
                  <a:lnTo>
                    <a:pt x="127" y="161"/>
                  </a:lnTo>
                  <a:close/>
                  <a:moveTo>
                    <a:pt x="69" y="215"/>
                  </a:moveTo>
                  <a:lnTo>
                    <a:pt x="69" y="217"/>
                  </a:lnTo>
                  <a:lnTo>
                    <a:pt x="69" y="215"/>
                  </a:lnTo>
                  <a:close/>
                  <a:moveTo>
                    <a:pt x="112" y="165"/>
                  </a:moveTo>
                  <a:lnTo>
                    <a:pt x="113" y="165"/>
                  </a:lnTo>
                  <a:lnTo>
                    <a:pt x="112" y="165"/>
                  </a:lnTo>
                  <a:close/>
                  <a:moveTo>
                    <a:pt x="6" y="198"/>
                  </a:moveTo>
                  <a:lnTo>
                    <a:pt x="6" y="200"/>
                  </a:lnTo>
                  <a:lnTo>
                    <a:pt x="6" y="198"/>
                  </a:lnTo>
                  <a:close/>
                  <a:moveTo>
                    <a:pt x="71" y="217"/>
                  </a:moveTo>
                  <a:lnTo>
                    <a:pt x="71" y="219"/>
                  </a:lnTo>
                  <a:lnTo>
                    <a:pt x="71" y="217"/>
                  </a:lnTo>
                  <a:close/>
                  <a:moveTo>
                    <a:pt x="58" y="232"/>
                  </a:moveTo>
                  <a:lnTo>
                    <a:pt x="58" y="234"/>
                  </a:lnTo>
                  <a:lnTo>
                    <a:pt x="58" y="232"/>
                  </a:lnTo>
                  <a:close/>
                  <a:moveTo>
                    <a:pt x="60" y="223"/>
                  </a:moveTo>
                  <a:lnTo>
                    <a:pt x="62" y="223"/>
                  </a:lnTo>
                  <a:lnTo>
                    <a:pt x="60" y="223"/>
                  </a:lnTo>
                  <a:close/>
                  <a:moveTo>
                    <a:pt x="44" y="136"/>
                  </a:moveTo>
                  <a:lnTo>
                    <a:pt x="46" y="136"/>
                  </a:lnTo>
                  <a:lnTo>
                    <a:pt x="44" y="136"/>
                  </a:lnTo>
                  <a:close/>
                  <a:moveTo>
                    <a:pt x="92" y="144"/>
                  </a:moveTo>
                  <a:lnTo>
                    <a:pt x="94" y="144"/>
                  </a:lnTo>
                  <a:lnTo>
                    <a:pt x="92" y="144"/>
                  </a:lnTo>
                  <a:close/>
                  <a:moveTo>
                    <a:pt x="52" y="46"/>
                  </a:moveTo>
                  <a:lnTo>
                    <a:pt x="52" y="48"/>
                  </a:lnTo>
                  <a:lnTo>
                    <a:pt x="52" y="46"/>
                  </a:lnTo>
                  <a:close/>
                  <a:moveTo>
                    <a:pt x="79" y="205"/>
                  </a:moveTo>
                  <a:lnTo>
                    <a:pt x="81" y="205"/>
                  </a:lnTo>
                  <a:lnTo>
                    <a:pt x="79" y="205"/>
                  </a:lnTo>
                  <a:close/>
                  <a:moveTo>
                    <a:pt x="44" y="236"/>
                  </a:moveTo>
                  <a:lnTo>
                    <a:pt x="44" y="238"/>
                  </a:lnTo>
                  <a:lnTo>
                    <a:pt x="44" y="236"/>
                  </a:lnTo>
                  <a:close/>
                  <a:moveTo>
                    <a:pt x="33" y="159"/>
                  </a:moveTo>
                  <a:lnTo>
                    <a:pt x="35" y="159"/>
                  </a:lnTo>
                  <a:lnTo>
                    <a:pt x="33" y="159"/>
                  </a:lnTo>
                  <a:close/>
                  <a:moveTo>
                    <a:pt x="113" y="159"/>
                  </a:moveTo>
                  <a:lnTo>
                    <a:pt x="115" y="159"/>
                  </a:lnTo>
                  <a:lnTo>
                    <a:pt x="113" y="159"/>
                  </a:lnTo>
                  <a:close/>
                  <a:moveTo>
                    <a:pt x="2" y="194"/>
                  </a:moveTo>
                  <a:lnTo>
                    <a:pt x="2" y="196"/>
                  </a:lnTo>
                  <a:lnTo>
                    <a:pt x="2" y="194"/>
                  </a:lnTo>
                  <a:close/>
                  <a:moveTo>
                    <a:pt x="23" y="207"/>
                  </a:moveTo>
                  <a:lnTo>
                    <a:pt x="23" y="209"/>
                  </a:lnTo>
                  <a:lnTo>
                    <a:pt x="23" y="207"/>
                  </a:lnTo>
                  <a:close/>
                  <a:moveTo>
                    <a:pt x="67" y="130"/>
                  </a:moveTo>
                  <a:lnTo>
                    <a:pt x="67" y="132"/>
                  </a:lnTo>
                  <a:lnTo>
                    <a:pt x="67" y="130"/>
                  </a:lnTo>
                  <a:close/>
                  <a:moveTo>
                    <a:pt x="44" y="71"/>
                  </a:moveTo>
                  <a:lnTo>
                    <a:pt x="46" y="71"/>
                  </a:lnTo>
                  <a:lnTo>
                    <a:pt x="44" y="71"/>
                  </a:lnTo>
                  <a:close/>
                  <a:moveTo>
                    <a:pt x="50" y="234"/>
                  </a:moveTo>
                  <a:lnTo>
                    <a:pt x="50" y="236"/>
                  </a:lnTo>
                  <a:lnTo>
                    <a:pt x="50" y="234"/>
                  </a:lnTo>
                  <a:close/>
                  <a:moveTo>
                    <a:pt x="18" y="223"/>
                  </a:moveTo>
                  <a:lnTo>
                    <a:pt x="19" y="223"/>
                  </a:lnTo>
                  <a:lnTo>
                    <a:pt x="18" y="223"/>
                  </a:lnTo>
                  <a:close/>
                  <a:moveTo>
                    <a:pt x="115" y="144"/>
                  </a:moveTo>
                  <a:lnTo>
                    <a:pt x="117" y="144"/>
                  </a:lnTo>
                  <a:lnTo>
                    <a:pt x="115" y="144"/>
                  </a:lnTo>
                  <a:close/>
                  <a:moveTo>
                    <a:pt x="77" y="92"/>
                  </a:moveTo>
                  <a:lnTo>
                    <a:pt x="77" y="94"/>
                  </a:lnTo>
                  <a:lnTo>
                    <a:pt x="77" y="92"/>
                  </a:lnTo>
                  <a:close/>
                  <a:moveTo>
                    <a:pt x="89" y="203"/>
                  </a:moveTo>
                  <a:lnTo>
                    <a:pt x="89" y="205"/>
                  </a:lnTo>
                  <a:lnTo>
                    <a:pt x="89" y="203"/>
                  </a:lnTo>
                  <a:close/>
                  <a:moveTo>
                    <a:pt x="50" y="130"/>
                  </a:moveTo>
                  <a:lnTo>
                    <a:pt x="50" y="132"/>
                  </a:lnTo>
                  <a:lnTo>
                    <a:pt x="50" y="130"/>
                  </a:lnTo>
                  <a:close/>
                  <a:moveTo>
                    <a:pt x="104" y="105"/>
                  </a:moveTo>
                  <a:lnTo>
                    <a:pt x="106" y="105"/>
                  </a:lnTo>
                  <a:lnTo>
                    <a:pt x="104" y="105"/>
                  </a:lnTo>
                  <a:close/>
                  <a:moveTo>
                    <a:pt x="106" y="163"/>
                  </a:moveTo>
                  <a:lnTo>
                    <a:pt x="106" y="165"/>
                  </a:lnTo>
                  <a:lnTo>
                    <a:pt x="106" y="163"/>
                  </a:lnTo>
                  <a:close/>
                  <a:moveTo>
                    <a:pt x="37" y="150"/>
                  </a:moveTo>
                  <a:lnTo>
                    <a:pt x="37" y="152"/>
                  </a:lnTo>
                  <a:lnTo>
                    <a:pt x="37" y="150"/>
                  </a:lnTo>
                  <a:close/>
                  <a:moveTo>
                    <a:pt x="14" y="178"/>
                  </a:moveTo>
                  <a:lnTo>
                    <a:pt x="16" y="178"/>
                  </a:lnTo>
                  <a:lnTo>
                    <a:pt x="14" y="178"/>
                  </a:lnTo>
                  <a:close/>
                  <a:moveTo>
                    <a:pt x="50" y="94"/>
                  </a:moveTo>
                  <a:lnTo>
                    <a:pt x="50" y="96"/>
                  </a:lnTo>
                  <a:lnTo>
                    <a:pt x="50" y="94"/>
                  </a:lnTo>
                  <a:close/>
                  <a:moveTo>
                    <a:pt x="98" y="136"/>
                  </a:moveTo>
                  <a:lnTo>
                    <a:pt x="98" y="138"/>
                  </a:lnTo>
                  <a:lnTo>
                    <a:pt x="98" y="136"/>
                  </a:lnTo>
                  <a:close/>
                  <a:moveTo>
                    <a:pt x="4" y="194"/>
                  </a:moveTo>
                  <a:lnTo>
                    <a:pt x="4" y="196"/>
                  </a:lnTo>
                  <a:lnTo>
                    <a:pt x="4" y="194"/>
                  </a:lnTo>
                  <a:close/>
                  <a:moveTo>
                    <a:pt x="89" y="203"/>
                  </a:moveTo>
                  <a:lnTo>
                    <a:pt x="90" y="203"/>
                  </a:lnTo>
                  <a:lnTo>
                    <a:pt x="89" y="203"/>
                  </a:lnTo>
                  <a:close/>
                  <a:moveTo>
                    <a:pt x="33" y="159"/>
                  </a:moveTo>
                  <a:lnTo>
                    <a:pt x="33" y="161"/>
                  </a:lnTo>
                  <a:lnTo>
                    <a:pt x="33" y="159"/>
                  </a:lnTo>
                  <a:close/>
                  <a:moveTo>
                    <a:pt x="75" y="92"/>
                  </a:moveTo>
                  <a:lnTo>
                    <a:pt x="77" y="92"/>
                  </a:lnTo>
                  <a:lnTo>
                    <a:pt x="75" y="92"/>
                  </a:lnTo>
                  <a:close/>
                  <a:moveTo>
                    <a:pt x="50" y="236"/>
                  </a:moveTo>
                  <a:lnTo>
                    <a:pt x="52" y="236"/>
                  </a:lnTo>
                  <a:lnTo>
                    <a:pt x="50" y="236"/>
                  </a:lnTo>
                  <a:close/>
                  <a:moveTo>
                    <a:pt x="35" y="153"/>
                  </a:moveTo>
                  <a:lnTo>
                    <a:pt x="37" y="153"/>
                  </a:lnTo>
                  <a:lnTo>
                    <a:pt x="35" y="153"/>
                  </a:lnTo>
                  <a:close/>
                  <a:moveTo>
                    <a:pt x="89" y="100"/>
                  </a:moveTo>
                  <a:lnTo>
                    <a:pt x="90" y="100"/>
                  </a:lnTo>
                  <a:lnTo>
                    <a:pt x="89" y="100"/>
                  </a:lnTo>
                  <a:close/>
                  <a:moveTo>
                    <a:pt x="129" y="169"/>
                  </a:moveTo>
                  <a:lnTo>
                    <a:pt x="129" y="171"/>
                  </a:lnTo>
                  <a:lnTo>
                    <a:pt x="129" y="169"/>
                  </a:lnTo>
                  <a:close/>
                  <a:moveTo>
                    <a:pt x="58" y="123"/>
                  </a:moveTo>
                  <a:lnTo>
                    <a:pt x="58" y="125"/>
                  </a:lnTo>
                  <a:lnTo>
                    <a:pt x="58" y="123"/>
                  </a:lnTo>
                  <a:close/>
                  <a:moveTo>
                    <a:pt x="48" y="136"/>
                  </a:moveTo>
                  <a:lnTo>
                    <a:pt x="48" y="138"/>
                  </a:lnTo>
                  <a:lnTo>
                    <a:pt x="48" y="136"/>
                  </a:lnTo>
                  <a:close/>
                  <a:moveTo>
                    <a:pt x="64" y="226"/>
                  </a:moveTo>
                  <a:lnTo>
                    <a:pt x="64" y="228"/>
                  </a:lnTo>
                  <a:lnTo>
                    <a:pt x="64" y="226"/>
                  </a:lnTo>
                  <a:close/>
                  <a:moveTo>
                    <a:pt x="71" y="217"/>
                  </a:moveTo>
                  <a:lnTo>
                    <a:pt x="73" y="217"/>
                  </a:lnTo>
                  <a:lnTo>
                    <a:pt x="71" y="217"/>
                  </a:lnTo>
                  <a:close/>
                  <a:moveTo>
                    <a:pt x="6" y="190"/>
                  </a:moveTo>
                  <a:lnTo>
                    <a:pt x="6" y="192"/>
                  </a:lnTo>
                  <a:lnTo>
                    <a:pt x="6" y="190"/>
                  </a:lnTo>
                  <a:close/>
                  <a:moveTo>
                    <a:pt x="102" y="107"/>
                  </a:moveTo>
                  <a:lnTo>
                    <a:pt x="102" y="109"/>
                  </a:lnTo>
                  <a:lnTo>
                    <a:pt x="102" y="107"/>
                  </a:lnTo>
                  <a:close/>
                  <a:moveTo>
                    <a:pt x="58" y="232"/>
                  </a:moveTo>
                  <a:lnTo>
                    <a:pt x="58" y="234"/>
                  </a:lnTo>
                  <a:lnTo>
                    <a:pt x="58" y="232"/>
                  </a:lnTo>
                  <a:close/>
                  <a:moveTo>
                    <a:pt x="125" y="163"/>
                  </a:moveTo>
                  <a:lnTo>
                    <a:pt x="127" y="163"/>
                  </a:lnTo>
                  <a:lnTo>
                    <a:pt x="125" y="163"/>
                  </a:lnTo>
                  <a:close/>
                  <a:moveTo>
                    <a:pt x="46" y="157"/>
                  </a:moveTo>
                  <a:lnTo>
                    <a:pt x="46" y="159"/>
                  </a:lnTo>
                  <a:lnTo>
                    <a:pt x="46" y="157"/>
                  </a:lnTo>
                  <a:close/>
                  <a:moveTo>
                    <a:pt x="131" y="207"/>
                  </a:moveTo>
                  <a:lnTo>
                    <a:pt x="131" y="209"/>
                  </a:lnTo>
                  <a:lnTo>
                    <a:pt x="131" y="207"/>
                  </a:lnTo>
                  <a:close/>
                  <a:moveTo>
                    <a:pt x="58" y="152"/>
                  </a:moveTo>
                  <a:lnTo>
                    <a:pt x="60" y="152"/>
                  </a:lnTo>
                  <a:lnTo>
                    <a:pt x="58" y="152"/>
                  </a:lnTo>
                  <a:close/>
                  <a:moveTo>
                    <a:pt x="60" y="223"/>
                  </a:moveTo>
                  <a:lnTo>
                    <a:pt x="60" y="225"/>
                  </a:lnTo>
                  <a:lnTo>
                    <a:pt x="60" y="223"/>
                  </a:lnTo>
                  <a:close/>
                  <a:moveTo>
                    <a:pt x="92" y="146"/>
                  </a:moveTo>
                  <a:lnTo>
                    <a:pt x="92" y="148"/>
                  </a:lnTo>
                  <a:lnTo>
                    <a:pt x="92" y="146"/>
                  </a:lnTo>
                  <a:close/>
                  <a:moveTo>
                    <a:pt x="73" y="159"/>
                  </a:moveTo>
                  <a:lnTo>
                    <a:pt x="75" y="159"/>
                  </a:lnTo>
                  <a:lnTo>
                    <a:pt x="75" y="161"/>
                  </a:lnTo>
                  <a:lnTo>
                    <a:pt x="73" y="161"/>
                  </a:lnTo>
                  <a:lnTo>
                    <a:pt x="73" y="159"/>
                  </a:lnTo>
                  <a:close/>
                  <a:moveTo>
                    <a:pt x="29" y="167"/>
                  </a:moveTo>
                  <a:lnTo>
                    <a:pt x="29" y="169"/>
                  </a:lnTo>
                  <a:lnTo>
                    <a:pt x="29" y="167"/>
                  </a:lnTo>
                  <a:close/>
                  <a:moveTo>
                    <a:pt x="37" y="152"/>
                  </a:moveTo>
                  <a:lnTo>
                    <a:pt x="37" y="153"/>
                  </a:lnTo>
                  <a:lnTo>
                    <a:pt x="37" y="152"/>
                  </a:lnTo>
                  <a:close/>
                  <a:moveTo>
                    <a:pt x="41" y="228"/>
                  </a:moveTo>
                  <a:lnTo>
                    <a:pt x="42" y="228"/>
                  </a:lnTo>
                  <a:lnTo>
                    <a:pt x="41" y="228"/>
                  </a:lnTo>
                  <a:close/>
                  <a:moveTo>
                    <a:pt x="79" y="217"/>
                  </a:moveTo>
                  <a:lnTo>
                    <a:pt x="79" y="219"/>
                  </a:lnTo>
                  <a:lnTo>
                    <a:pt x="79" y="217"/>
                  </a:lnTo>
                  <a:close/>
                  <a:moveTo>
                    <a:pt x="19" y="178"/>
                  </a:moveTo>
                  <a:lnTo>
                    <a:pt x="19" y="180"/>
                  </a:lnTo>
                  <a:lnTo>
                    <a:pt x="19" y="178"/>
                  </a:lnTo>
                  <a:close/>
                  <a:moveTo>
                    <a:pt x="27" y="169"/>
                  </a:moveTo>
                  <a:lnTo>
                    <a:pt x="29" y="169"/>
                  </a:lnTo>
                  <a:lnTo>
                    <a:pt x="27" y="169"/>
                  </a:lnTo>
                  <a:close/>
                  <a:moveTo>
                    <a:pt x="108" y="123"/>
                  </a:moveTo>
                  <a:lnTo>
                    <a:pt x="108" y="125"/>
                  </a:lnTo>
                  <a:lnTo>
                    <a:pt x="108" y="123"/>
                  </a:lnTo>
                  <a:close/>
                  <a:moveTo>
                    <a:pt x="92" y="107"/>
                  </a:moveTo>
                  <a:lnTo>
                    <a:pt x="94" y="107"/>
                  </a:lnTo>
                  <a:lnTo>
                    <a:pt x="92" y="107"/>
                  </a:lnTo>
                  <a:close/>
                  <a:moveTo>
                    <a:pt x="75" y="219"/>
                  </a:moveTo>
                  <a:lnTo>
                    <a:pt x="75" y="221"/>
                  </a:lnTo>
                  <a:lnTo>
                    <a:pt x="75" y="219"/>
                  </a:lnTo>
                  <a:close/>
                  <a:moveTo>
                    <a:pt x="4" y="194"/>
                  </a:moveTo>
                  <a:lnTo>
                    <a:pt x="6" y="194"/>
                  </a:lnTo>
                  <a:lnTo>
                    <a:pt x="4" y="194"/>
                  </a:lnTo>
                  <a:close/>
                  <a:moveTo>
                    <a:pt x="79" y="40"/>
                  </a:moveTo>
                  <a:lnTo>
                    <a:pt x="81" y="40"/>
                  </a:lnTo>
                  <a:lnTo>
                    <a:pt x="79" y="40"/>
                  </a:lnTo>
                  <a:close/>
                  <a:moveTo>
                    <a:pt x="77" y="211"/>
                  </a:moveTo>
                  <a:lnTo>
                    <a:pt x="79" y="211"/>
                  </a:lnTo>
                  <a:lnTo>
                    <a:pt x="79" y="213"/>
                  </a:lnTo>
                  <a:lnTo>
                    <a:pt x="77" y="213"/>
                  </a:lnTo>
                  <a:lnTo>
                    <a:pt x="77" y="211"/>
                  </a:lnTo>
                  <a:close/>
                  <a:moveTo>
                    <a:pt x="77" y="211"/>
                  </a:moveTo>
                  <a:lnTo>
                    <a:pt x="77" y="213"/>
                  </a:lnTo>
                  <a:lnTo>
                    <a:pt x="77" y="211"/>
                  </a:lnTo>
                  <a:close/>
                  <a:moveTo>
                    <a:pt x="79" y="207"/>
                  </a:moveTo>
                  <a:lnTo>
                    <a:pt x="79" y="209"/>
                  </a:lnTo>
                  <a:lnTo>
                    <a:pt x="79" y="207"/>
                  </a:lnTo>
                  <a:close/>
                  <a:moveTo>
                    <a:pt x="108" y="163"/>
                  </a:moveTo>
                  <a:lnTo>
                    <a:pt x="110" y="163"/>
                  </a:lnTo>
                  <a:lnTo>
                    <a:pt x="108" y="163"/>
                  </a:lnTo>
                  <a:close/>
                  <a:moveTo>
                    <a:pt x="81" y="194"/>
                  </a:moveTo>
                  <a:lnTo>
                    <a:pt x="83" y="194"/>
                  </a:lnTo>
                  <a:lnTo>
                    <a:pt x="81" y="194"/>
                  </a:lnTo>
                  <a:close/>
                  <a:moveTo>
                    <a:pt x="50" y="236"/>
                  </a:moveTo>
                  <a:lnTo>
                    <a:pt x="50" y="238"/>
                  </a:lnTo>
                  <a:lnTo>
                    <a:pt x="50" y="236"/>
                  </a:lnTo>
                  <a:close/>
                  <a:moveTo>
                    <a:pt x="44" y="142"/>
                  </a:moveTo>
                  <a:lnTo>
                    <a:pt x="44" y="144"/>
                  </a:lnTo>
                  <a:lnTo>
                    <a:pt x="44" y="142"/>
                  </a:lnTo>
                  <a:close/>
                  <a:moveTo>
                    <a:pt x="46" y="138"/>
                  </a:moveTo>
                  <a:lnTo>
                    <a:pt x="46" y="140"/>
                  </a:lnTo>
                  <a:lnTo>
                    <a:pt x="46" y="138"/>
                  </a:lnTo>
                  <a:close/>
                  <a:moveTo>
                    <a:pt x="110" y="163"/>
                  </a:moveTo>
                  <a:lnTo>
                    <a:pt x="112" y="163"/>
                  </a:lnTo>
                  <a:lnTo>
                    <a:pt x="110" y="163"/>
                  </a:lnTo>
                  <a:close/>
                  <a:moveTo>
                    <a:pt x="41" y="148"/>
                  </a:moveTo>
                  <a:lnTo>
                    <a:pt x="41" y="150"/>
                  </a:lnTo>
                  <a:lnTo>
                    <a:pt x="41" y="148"/>
                  </a:lnTo>
                  <a:close/>
                  <a:moveTo>
                    <a:pt x="41" y="153"/>
                  </a:moveTo>
                  <a:lnTo>
                    <a:pt x="41" y="155"/>
                  </a:lnTo>
                  <a:lnTo>
                    <a:pt x="41" y="153"/>
                  </a:lnTo>
                  <a:close/>
                  <a:moveTo>
                    <a:pt x="71" y="225"/>
                  </a:moveTo>
                  <a:lnTo>
                    <a:pt x="73" y="225"/>
                  </a:lnTo>
                  <a:lnTo>
                    <a:pt x="71" y="225"/>
                  </a:lnTo>
                  <a:close/>
                  <a:moveTo>
                    <a:pt x="48" y="136"/>
                  </a:moveTo>
                  <a:lnTo>
                    <a:pt x="48" y="138"/>
                  </a:lnTo>
                  <a:lnTo>
                    <a:pt x="48" y="136"/>
                  </a:lnTo>
                  <a:close/>
                  <a:moveTo>
                    <a:pt x="52" y="236"/>
                  </a:moveTo>
                  <a:lnTo>
                    <a:pt x="52" y="238"/>
                  </a:lnTo>
                  <a:lnTo>
                    <a:pt x="52" y="236"/>
                  </a:lnTo>
                  <a:close/>
                  <a:moveTo>
                    <a:pt x="44" y="132"/>
                  </a:moveTo>
                  <a:lnTo>
                    <a:pt x="46" y="132"/>
                  </a:lnTo>
                  <a:lnTo>
                    <a:pt x="44" y="132"/>
                  </a:lnTo>
                  <a:close/>
                  <a:moveTo>
                    <a:pt x="41" y="155"/>
                  </a:moveTo>
                  <a:lnTo>
                    <a:pt x="41" y="157"/>
                  </a:lnTo>
                  <a:lnTo>
                    <a:pt x="41" y="155"/>
                  </a:lnTo>
                  <a:close/>
                  <a:moveTo>
                    <a:pt x="108" y="161"/>
                  </a:moveTo>
                  <a:lnTo>
                    <a:pt x="108" y="163"/>
                  </a:lnTo>
                  <a:lnTo>
                    <a:pt x="108" y="161"/>
                  </a:lnTo>
                  <a:close/>
                  <a:moveTo>
                    <a:pt x="129" y="150"/>
                  </a:moveTo>
                  <a:lnTo>
                    <a:pt x="129" y="152"/>
                  </a:lnTo>
                  <a:lnTo>
                    <a:pt x="129" y="150"/>
                  </a:lnTo>
                  <a:close/>
                  <a:moveTo>
                    <a:pt x="83" y="159"/>
                  </a:moveTo>
                  <a:lnTo>
                    <a:pt x="83" y="161"/>
                  </a:lnTo>
                  <a:lnTo>
                    <a:pt x="83" y="159"/>
                  </a:lnTo>
                  <a:close/>
                  <a:moveTo>
                    <a:pt x="50" y="236"/>
                  </a:moveTo>
                  <a:lnTo>
                    <a:pt x="50" y="238"/>
                  </a:lnTo>
                  <a:lnTo>
                    <a:pt x="50" y="236"/>
                  </a:lnTo>
                  <a:close/>
                  <a:moveTo>
                    <a:pt x="133" y="167"/>
                  </a:moveTo>
                  <a:lnTo>
                    <a:pt x="135" y="167"/>
                  </a:lnTo>
                  <a:lnTo>
                    <a:pt x="133" y="167"/>
                  </a:lnTo>
                  <a:close/>
                  <a:moveTo>
                    <a:pt x="44" y="240"/>
                  </a:moveTo>
                  <a:lnTo>
                    <a:pt x="46" y="240"/>
                  </a:lnTo>
                  <a:lnTo>
                    <a:pt x="44" y="240"/>
                  </a:lnTo>
                  <a:close/>
                  <a:moveTo>
                    <a:pt x="106" y="138"/>
                  </a:moveTo>
                  <a:lnTo>
                    <a:pt x="106" y="140"/>
                  </a:lnTo>
                  <a:lnTo>
                    <a:pt x="106" y="138"/>
                  </a:lnTo>
                  <a:close/>
                  <a:moveTo>
                    <a:pt x="60" y="223"/>
                  </a:moveTo>
                  <a:lnTo>
                    <a:pt x="60" y="225"/>
                  </a:lnTo>
                  <a:lnTo>
                    <a:pt x="60" y="223"/>
                  </a:lnTo>
                  <a:close/>
                  <a:moveTo>
                    <a:pt x="89" y="203"/>
                  </a:moveTo>
                  <a:lnTo>
                    <a:pt x="89" y="205"/>
                  </a:lnTo>
                  <a:lnTo>
                    <a:pt x="89" y="203"/>
                  </a:lnTo>
                  <a:close/>
                  <a:moveTo>
                    <a:pt x="35" y="155"/>
                  </a:moveTo>
                  <a:lnTo>
                    <a:pt x="37" y="155"/>
                  </a:lnTo>
                  <a:lnTo>
                    <a:pt x="35" y="155"/>
                  </a:lnTo>
                  <a:close/>
                  <a:moveTo>
                    <a:pt x="83" y="159"/>
                  </a:moveTo>
                  <a:lnTo>
                    <a:pt x="83" y="161"/>
                  </a:lnTo>
                  <a:lnTo>
                    <a:pt x="83" y="159"/>
                  </a:lnTo>
                  <a:close/>
                  <a:moveTo>
                    <a:pt x="133" y="167"/>
                  </a:moveTo>
                  <a:lnTo>
                    <a:pt x="133" y="169"/>
                  </a:lnTo>
                  <a:lnTo>
                    <a:pt x="133" y="167"/>
                  </a:lnTo>
                  <a:close/>
                  <a:moveTo>
                    <a:pt x="81" y="203"/>
                  </a:moveTo>
                  <a:lnTo>
                    <a:pt x="83" y="203"/>
                  </a:lnTo>
                  <a:lnTo>
                    <a:pt x="81" y="203"/>
                  </a:lnTo>
                  <a:close/>
                  <a:moveTo>
                    <a:pt x="46" y="226"/>
                  </a:moveTo>
                  <a:lnTo>
                    <a:pt x="46" y="228"/>
                  </a:lnTo>
                  <a:lnTo>
                    <a:pt x="46" y="226"/>
                  </a:lnTo>
                  <a:close/>
                  <a:moveTo>
                    <a:pt x="113" y="157"/>
                  </a:moveTo>
                  <a:lnTo>
                    <a:pt x="113" y="159"/>
                  </a:lnTo>
                  <a:lnTo>
                    <a:pt x="113" y="157"/>
                  </a:lnTo>
                  <a:close/>
                  <a:moveTo>
                    <a:pt x="50" y="109"/>
                  </a:moveTo>
                  <a:lnTo>
                    <a:pt x="52" y="109"/>
                  </a:lnTo>
                  <a:lnTo>
                    <a:pt x="50" y="109"/>
                  </a:lnTo>
                  <a:close/>
                  <a:moveTo>
                    <a:pt x="44" y="136"/>
                  </a:moveTo>
                  <a:lnTo>
                    <a:pt x="44" y="138"/>
                  </a:lnTo>
                  <a:lnTo>
                    <a:pt x="44" y="136"/>
                  </a:lnTo>
                  <a:close/>
                  <a:moveTo>
                    <a:pt x="27" y="169"/>
                  </a:moveTo>
                  <a:lnTo>
                    <a:pt x="29" y="169"/>
                  </a:lnTo>
                  <a:lnTo>
                    <a:pt x="27" y="169"/>
                  </a:lnTo>
                  <a:close/>
                  <a:moveTo>
                    <a:pt x="104" y="163"/>
                  </a:moveTo>
                  <a:lnTo>
                    <a:pt x="106" y="163"/>
                  </a:lnTo>
                  <a:lnTo>
                    <a:pt x="104" y="163"/>
                  </a:lnTo>
                  <a:close/>
                  <a:moveTo>
                    <a:pt x="37" y="152"/>
                  </a:moveTo>
                  <a:lnTo>
                    <a:pt x="37" y="153"/>
                  </a:lnTo>
                  <a:lnTo>
                    <a:pt x="37" y="152"/>
                  </a:lnTo>
                  <a:close/>
                  <a:moveTo>
                    <a:pt x="69" y="94"/>
                  </a:moveTo>
                  <a:lnTo>
                    <a:pt x="71" y="94"/>
                  </a:lnTo>
                  <a:lnTo>
                    <a:pt x="69" y="94"/>
                  </a:lnTo>
                  <a:close/>
                  <a:moveTo>
                    <a:pt x="81" y="102"/>
                  </a:moveTo>
                  <a:lnTo>
                    <a:pt x="83" y="102"/>
                  </a:lnTo>
                  <a:lnTo>
                    <a:pt x="81" y="102"/>
                  </a:lnTo>
                  <a:close/>
                  <a:moveTo>
                    <a:pt x="52" y="236"/>
                  </a:moveTo>
                  <a:lnTo>
                    <a:pt x="54" y="236"/>
                  </a:lnTo>
                  <a:lnTo>
                    <a:pt x="52" y="236"/>
                  </a:lnTo>
                  <a:close/>
                  <a:moveTo>
                    <a:pt x="27" y="169"/>
                  </a:moveTo>
                  <a:lnTo>
                    <a:pt x="29" y="169"/>
                  </a:lnTo>
                  <a:lnTo>
                    <a:pt x="27" y="169"/>
                  </a:lnTo>
                  <a:close/>
                  <a:moveTo>
                    <a:pt x="79" y="40"/>
                  </a:moveTo>
                  <a:lnTo>
                    <a:pt x="81" y="40"/>
                  </a:lnTo>
                  <a:lnTo>
                    <a:pt x="79" y="40"/>
                  </a:lnTo>
                  <a:close/>
                  <a:moveTo>
                    <a:pt x="37" y="161"/>
                  </a:moveTo>
                  <a:lnTo>
                    <a:pt x="37" y="163"/>
                  </a:lnTo>
                  <a:lnTo>
                    <a:pt x="37" y="161"/>
                  </a:lnTo>
                  <a:close/>
                  <a:moveTo>
                    <a:pt x="23" y="176"/>
                  </a:moveTo>
                  <a:lnTo>
                    <a:pt x="23" y="178"/>
                  </a:lnTo>
                  <a:lnTo>
                    <a:pt x="23" y="176"/>
                  </a:lnTo>
                  <a:close/>
                  <a:moveTo>
                    <a:pt x="44" y="140"/>
                  </a:moveTo>
                  <a:lnTo>
                    <a:pt x="46" y="140"/>
                  </a:lnTo>
                  <a:lnTo>
                    <a:pt x="44" y="140"/>
                  </a:lnTo>
                  <a:close/>
                  <a:moveTo>
                    <a:pt x="81" y="201"/>
                  </a:moveTo>
                  <a:lnTo>
                    <a:pt x="83" y="201"/>
                  </a:lnTo>
                  <a:lnTo>
                    <a:pt x="81" y="201"/>
                  </a:lnTo>
                  <a:close/>
                  <a:moveTo>
                    <a:pt x="98" y="107"/>
                  </a:moveTo>
                  <a:lnTo>
                    <a:pt x="100" y="107"/>
                  </a:lnTo>
                  <a:lnTo>
                    <a:pt x="98" y="107"/>
                  </a:lnTo>
                  <a:close/>
                  <a:moveTo>
                    <a:pt x="58" y="144"/>
                  </a:moveTo>
                  <a:lnTo>
                    <a:pt x="58" y="146"/>
                  </a:lnTo>
                  <a:lnTo>
                    <a:pt x="58" y="144"/>
                  </a:lnTo>
                  <a:close/>
                  <a:moveTo>
                    <a:pt x="35" y="153"/>
                  </a:moveTo>
                  <a:lnTo>
                    <a:pt x="37" y="153"/>
                  </a:lnTo>
                  <a:lnTo>
                    <a:pt x="35" y="153"/>
                  </a:lnTo>
                  <a:close/>
                  <a:moveTo>
                    <a:pt x="35" y="155"/>
                  </a:moveTo>
                  <a:lnTo>
                    <a:pt x="37" y="155"/>
                  </a:lnTo>
                  <a:lnTo>
                    <a:pt x="35" y="155"/>
                  </a:lnTo>
                  <a:close/>
                  <a:moveTo>
                    <a:pt x="79" y="40"/>
                  </a:moveTo>
                  <a:lnTo>
                    <a:pt x="81" y="40"/>
                  </a:lnTo>
                  <a:lnTo>
                    <a:pt x="79" y="40"/>
                  </a:lnTo>
                  <a:close/>
                  <a:moveTo>
                    <a:pt x="127" y="169"/>
                  </a:moveTo>
                  <a:lnTo>
                    <a:pt x="127" y="171"/>
                  </a:lnTo>
                  <a:lnTo>
                    <a:pt x="127" y="169"/>
                  </a:lnTo>
                  <a:close/>
                  <a:moveTo>
                    <a:pt x="83" y="157"/>
                  </a:moveTo>
                  <a:lnTo>
                    <a:pt x="83" y="159"/>
                  </a:lnTo>
                  <a:lnTo>
                    <a:pt x="83" y="157"/>
                  </a:lnTo>
                  <a:close/>
                  <a:moveTo>
                    <a:pt x="129" y="169"/>
                  </a:moveTo>
                  <a:lnTo>
                    <a:pt x="129" y="171"/>
                  </a:lnTo>
                  <a:lnTo>
                    <a:pt x="129" y="169"/>
                  </a:lnTo>
                  <a:close/>
                  <a:moveTo>
                    <a:pt x="110" y="109"/>
                  </a:moveTo>
                  <a:lnTo>
                    <a:pt x="112" y="109"/>
                  </a:lnTo>
                  <a:lnTo>
                    <a:pt x="110" y="109"/>
                  </a:lnTo>
                  <a:close/>
                  <a:moveTo>
                    <a:pt x="133" y="167"/>
                  </a:moveTo>
                  <a:lnTo>
                    <a:pt x="133" y="169"/>
                  </a:lnTo>
                  <a:lnTo>
                    <a:pt x="133" y="167"/>
                  </a:lnTo>
                  <a:close/>
                  <a:moveTo>
                    <a:pt x="35" y="148"/>
                  </a:moveTo>
                  <a:lnTo>
                    <a:pt x="35" y="150"/>
                  </a:lnTo>
                  <a:lnTo>
                    <a:pt x="35" y="148"/>
                  </a:lnTo>
                  <a:close/>
                  <a:moveTo>
                    <a:pt x="37" y="146"/>
                  </a:moveTo>
                  <a:lnTo>
                    <a:pt x="39" y="146"/>
                  </a:lnTo>
                  <a:lnTo>
                    <a:pt x="37" y="146"/>
                  </a:lnTo>
                  <a:close/>
                  <a:moveTo>
                    <a:pt x="102" y="109"/>
                  </a:moveTo>
                  <a:lnTo>
                    <a:pt x="104" y="109"/>
                  </a:lnTo>
                  <a:lnTo>
                    <a:pt x="102" y="109"/>
                  </a:lnTo>
                  <a:close/>
                  <a:moveTo>
                    <a:pt x="127" y="169"/>
                  </a:moveTo>
                  <a:lnTo>
                    <a:pt x="127" y="171"/>
                  </a:lnTo>
                  <a:lnTo>
                    <a:pt x="127" y="169"/>
                  </a:lnTo>
                  <a:close/>
                  <a:moveTo>
                    <a:pt x="79" y="207"/>
                  </a:moveTo>
                  <a:lnTo>
                    <a:pt x="79" y="209"/>
                  </a:lnTo>
                  <a:lnTo>
                    <a:pt x="79" y="207"/>
                  </a:lnTo>
                  <a:close/>
                  <a:moveTo>
                    <a:pt x="54" y="238"/>
                  </a:moveTo>
                  <a:lnTo>
                    <a:pt x="56" y="238"/>
                  </a:lnTo>
                  <a:lnTo>
                    <a:pt x="54" y="238"/>
                  </a:lnTo>
                  <a:close/>
                  <a:moveTo>
                    <a:pt x="48" y="111"/>
                  </a:moveTo>
                  <a:lnTo>
                    <a:pt x="50" y="111"/>
                  </a:lnTo>
                  <a:lnTo>
                    <a:pt x="48" y="111"/>
                  </a:lnTo>
                  <a:close/>
                  <a:moveTo>
                    <a:pt x="127" y="169"/>
                  </a:moveTo>
                  <a:lnTo>
                    <a:pt x="127" y="171"/>
                  </a:lnTo>
                  <a:lnTo>
                    <a:pt x="127" y="169"/>
                  </a:lnTo>
                  <a:close/>
                  <a:moveTo>
                    <a:pt x="69" y="225"/>
                  </a:moveTo>
                  <a:lnTo>
                    <a:pt x="71" y="225"/>
                  </a:lnTo>
                  <a:lnTo>
                    <a:pt x="69" y="22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 name="Freeform 413">
              <a:extLst>
                <a:ext uri="{FF2B5EF4-FFF2-40B4-BE49-F238E27FC236}">
                  <a16:creationId xmlns:a16="http://schemas.microsoft.com/office/drawing/2014/main" id="{30C805AE-7ABC-4FC2-AD54-BE0502A90D05}"/>
                </a:ext>
              </a:extLst>
            </p:cNvPr>
            <p:cNvSpPr>
              <a:spLocks noEditPoints="1"/>
            </p:cNvSpPr>
            <p:nvPr/>
          </p:nvSpPr>
          <p:spPr bwMode="gray">
            <a:xfrm>
              <a:off x="5204804" y="4055040"/>
              <a:ext cx="103016" cy="143486"/>
            </a:xfrm>
            <a:custGeom>
              <a:avLst/>
              <a:gdLst>
                <a:gd name="T0" fmla="*/ 7 w 84"/>
                <a:gd name="T1" fmla="*/ 14 h 117"/>
                <a:gd name="T2" fmla="*/ 17 w 84"/>
                <a:gd name="T3" fmla="*/ 16 h 117"/>
                <a:gd name="T4" fmla="*/ 19 w 84"/>
                <a:gd name="T5" fmla="*/ 18 h 117"/>
                <a:gd name="T6" fmla="*/ 17 w 84"/>
                <a:gd name="T7" fmla="*/ 16 h 117"/>
                <a:gd name="T8" fmla="*/ 13 w 84"/>
                <a:gd name="T9" fmla="*/ 12 h 117"/>
                <a:gd name="T10" fmla="*/ 63 w 84"/>
                <a:gd name="T11" fmla="*/ 108 h 117"/>
                <a:gd name="T12" fmla="*/ 63 w 84"/>
                <a:gd name="T13" fmla="*/ 108 h 117"/>
                <a:gd name="T14" fmla="*/ 5 w 84"/>
                <a:gd name="T15" fmla="*/ 0 h 117"/>
                <a:gd name="T16" fmla="*/ 7 w 84"/>
                <a:gd name="T17" fmla="*/ 16 h 117"/>
                <a:gd name="T18" fmla="*/ 9 w 84"/>
                <a:gd name="T19" fmla="*/ 18 h 117"/>
                <a:gd name="T20" fmla="*/ 7 w 84"/>
                <a:gd name="T21" fmla="*/ 16 h 117"/>
                <a:gd name="T22" fmla="*/ 15 w 84"/>
                <a:gd name="T23" fmla="*/ 2 h 117"/>
                <a:gd name="T24" fmla="*/ 61 w 84"/>
                <a:gd name="T25" fmla="*/ 116 h 117"/>
                <a:gd name="T26" fmla="*/ 61 w 84"/>
                <a:gd name="T27" fmla="*/ 116 h 117"/>
                <a:gd name="T28" fmla="*/ 7 w 84"/>
                <a:gd name="T29" fmla="*/ 10 h 117"/>
                <a:gd name="T30" fmla="*/ 0 w 84"/>
                <a:gd name="T31" fmla="*/ 20 h 117"/>
                <a:gd name="T32" fmla="*/ 0 w 84"/>
                <a:gd name="T33" fmla="*/ 20 h 117"/>
                <a:gd name="T34" fmla="*/ 17 w 84"/>
                <a:gd name="T35" fmla="*/ 2 h 117"/>
                <a:gd name="T36" fmla="*/ 15 w 84"/>
                <a:gd name="T37" fmla="*/ 4 h 117"/>
                <a:gd name="T38" fmla="*/ 15 w 84"/>
                <a:gd name="T39" fmla="*/ 4 h 117"/>
                <a:gd name="T40" fmla="*/ 23 w 84"/>
                <a:gd name="T41" fmla="*/ 6 h 117"/>
                <a:gd name="T42" fmla="*/ 21 w 84"/>
                <a:gd name="T43" fmla="*/ 8 h 117"/>
                <a:gd name="T44" fmla="*/ 5 w 84"/>
                <a:gd name="T45" fmla="*/ 8 h 117"/>
                <a:gd name="T46" fmla="*/ 5 w 84"/>
                <a:gd name="T47" fmla="*/ 8 h 117"/>
                <a:gd name="T48" fmla="*/ 84 w 84"/>
                <a:gd name="T49" fmla="*/ 116 h 117"/>
                <a:gd name="T50" fmla="*/ 48 w 84"/>
                <a:gd name="T51" fmla="*/ 108 h 117"/>
                <a:gd name="T52" fmla="*/ 48 w 84"/>
                <a:gd name="T53" fmla="*/ 108 h 117"/>
                <a:gd name="T54" fmla="*/ 46 w 84"/>
                <a:gd name="T55" fmla="*/ 93 h 117"/>
                <a:gd name="T56" fmla="*/ 44 w 84"/>
                <a:gd name="T57" fmla="*/ 87 h 117"/>
                <a:gd name="T58" fmla="*/ 44 w 84"/>
                <a:gd name="T59" fmla="*/ 87 h 117"/>
                <a:gd name="T60" fmla="*/ 44 w 84"/>
                <a:gd name="T61" fmla="*/ 112 h 117"/>
                <a:gd name="T62" fmla="*/ 44 w 84"/>
                <a:gd name="T63" fmla="*/ 91 h 117"/>
                <a:gd name="T64" fmla="*/ 44 w 84"/>
                <a:gd name="T65" fmla="*/ 91 h 117"/>
                <a:gd name="T66" fmla="*/ 46 w 84"/>
                <a:gd name="T67" fmla="*/ 110 h 117"/>
                <a:gd name="T68" fmla="*/ 44 w 84"/>
                <a:gd name="T69" fmla="*/ 110 h 117"/>
                <a:gd name="T70" fmla="*/ 44 w 84"/>
                <a:gd name="T71"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17">
                  <a:moveTo>
                    <a:pt x="5" y="14"/>
                  </a:moveTo>
                  <a:lnTo>
                    <a:pt x="7" y="14"/>
                  </a:lnTo>
                  <a:lnTo>
                    <a:pt x="5" y="14"/>
                  </a:lnTo>
                  <a:close/>
                  <a:moveTo>
                    <a:pt x="17" y="16"/>
                  </a:moveTo>
                  <a:lnTo>
                    <a:pt x="19" y="16"/>
                  </a:lnTo>
                  <a:lnTo>
                    <a:pt x="19" y="18"/>
                  </a:lnTo>
                  <a:lnTo>
                    <a:pt x="17" y="18"/>
                  </a:lnTo>
                  <a:lnTo>
                    <a:pt x="17" y="16"/>
                  </a:lnTo>
                  <a:close/>
                  <a:moveTo>
                    <a:pt x="11" y="12"/>
                  </a:moveTo>
                  <a:lnTo>
                    <a:pt x="13" y="12"/>
                  </a:lnTo>
                  <a:lnTo>
                    <a:pt x="11" y="12"/>
                  </a:lnTo>
                  <a:close/>
                  <a:moveTo>
                    <a:pt x="63" y="108"/>
                  </a:moveTo>
                  <a:lnTo>
                    <a:pt x="63" y="110"/>
                  </a:lnTo>
                  <a:lnTo>
                    <a:pt x="63" y="108"/>
                  </a:lnTo>
                  <a:close/>
                  <a:moveTo>
                    <a:pt x="4" y="0"/>
                  </a:moveTo>
                  <a:lnTo>
                    <a:pt x="5" y="0"/>
                  </a:lnTo>
                  <a:lnTo>
                    <a:pt x="4" y="0"/>
                  </a:lnTo>
                  <a:close/>
                  <a:moveTo>
                    <a:pt x="7" y="16"/>
                  </a:moveTo>
                  <a:lnTo>
                    <a:pt x="9" y="16"/>
                  </a:lnTo>
                  <a:lnTo>
                    <a:pt x="9" y="18"/>
                  </a:lnTo>
                  <a:lnTo>
                    <a:pt x="7" y="18"/>
                  </a:lnTo>
                  <a:lnTo>
                    <a:pt x="7" y="16"/>
                  </a:lnTo>
                  <a:close/>
                  <a:moveTo>
                    <a:pt x="13" y="2"/>
                  </a:moveTo>
                  <a:lnTo>
                    <a:pt x="15" y="2"/>
                  </a:lnTo>
                  <a:lnTo>
                    <a:pt x="13" y="2"/>
                  </a:lnTo>
                  <a:close/>
                  <a:moveTo>
                    <a:pt x="61" y="116"/>
                  </a:moveTo>
                  <a:lnTo>
                    <a:pt x="61" y="117"/>
                  </a:lnTo>
                  <a:lnTo>
                    <a:pt x="61" y="116"/>
                  </a:lnTo>
                  <a:close/>
                  <a:moveTo>
                    <a:pt x="7" y="8"/>
                  </a:moveTo>
                  <a:lnTo>
                    <a:pt x="7" y="10"/>
                  </a:lnTo>
                  <a:lnTo>
                    <a:pt x="7" y="8"/>
                  </a:lnTo>
                  <a:close/>
                  <a:moveTo>
                    <a:pt x="0" y="20"/>
                  </a:moveTo>
                  <a:lnTo>
                    <a:pt x="0" y="21"/>
                  </a:lnTo>
                  <a:lnTo>
                    <a:pt x="0" y="20"/>
                  </a:lnTo>
                  <a:close/>
                  <a:moveTo>
                    <a:pt x="15" y="2"/>
                  </a:moveTo>
                  <a:lnTo>
                    <a:pt x="17" y="2"/>
                  </a:lnTo>
                  <a:lnTo>
                    <a:pt x="15" y="2"/>
                  </a:lnTo>
                  <a:close/>
                  <a:moveTo>
                    <a:pt x="15" y="4"/>
                  </a:moveTo>
                  <a:lnTo>
                    <a:pt x="17" y="4"/>
                  </a:lnTo>
                  <a:lnTo>
                    <a:pt x="15" y="4"/>
                  </a:lnTo>
                  <a:close/>
                  <a:moveTo>
                    <a:pt x="21" y="6"/>
                  </a:moveTo>
                  <a:lnTo>
                    <a:pt x="23" y="6"/>
                  </a:lnTo>
                  <a:lnTo>
                    <a:pt x="23" y="8"/>
                  </a:lnTo>
                  <a:lnTo>
                    <a:pt x="21" y="8"/>
                  </a:lnTo>
                  <a:lnTo>
                    <a:pt x="21" y="6"/>
                  </a:lnTo>
                  <a:close/>
                  <a:moveTo>
                    <a:pt x="5" y="8"/>
                  </a:moveTo>
                  <a:lnTo>
                    <a:pt x="5" y="10"/>
                  </a:lnTo>
                  <a:lnTo>
                    <a:pt x="5" y="8"/>
                  </a:lnTo>
                  <a:close/>
                  <a:moveTo>
                    <a:pt x="82" y="116"/>
                  </a:moveTo>
                  <a:lnTo>
                    <a:pt x="84" y="116"/>
                  </a:lnTo>
                  <a:lnTo>
                    <a:pt x="82" y="116"/>
                  </a:lnTo>
                  <a:close/>
                  <a:moveTo>
                    <a:pt x="48" y="108"/>
                  </a:moveTo>
                  <a:lnTo>
                    <a:pt x="48" y="110"/>
                  </a:lnTo>
                  <a:lnTo>
                    <a:pt x="48" y="108"/>
                  </a:lnTo>
                  <a:close/>
                  <a:moveTo>
                    <a:pt x="46" y="91"/>
                  </a:moveTo>
                  <a:lnTo>
                    <a:pt x="46" y="93"/>
                  </a:lnTo>
                  <a:lnTo>
                    <a:pt x="46" y="91"/>
                  </a:lnTo>
                  <a:close/>
                  <a:moveTo>
                    <a:pt x="44" y="87"/>
                  </a:moveTo>
                  <a:lnTo>
                    <a:pt x="46" y="87"/>
                  </a:lnTo>
                  <a:lnTo>
                    <a:pt x="44" y="87"/>
                  </a:lnTo>
                  <a:close/>
                  <a:moveTo>
                    <a:pt x="44" y="110"/>
                  </a:moveTo>
                  <a:lnTo>
                    <a:pt x="44" y="112"/>
                  </a:lnTo>
                  <a:lnTo>
                    <a:pt x="44" y="110"/>
                  </a:lnTo>
                  <a:close/>
                  <a:moveTo>
                    <a:pt x="44" y="91"/>
                  </a:moveTo>
                  <a:lnTo>
                    <a:pt x="44" y="93"/>
                  </a:lnTo>
                  <a:lnTo>
                    <a:pt x="44" y="91"/>
                  </a:lnTo>
                  <a:close/>
                  <a:moveTo>
                    <a:pt x="46" y="108"/>
                  </a:moveTo>
                  <a:lnTo>
                    <a:pt x="46" y="110"/>
                  </a:lnTo>
                  <a:lnTo>
                    <a:pt x="46" y="108"/>
                  </a:lnTo>
                  <a:close/>
                  <a:moveTo>
                    <a:pt x="44" y="110"/>
                  </a:moveTo>
                  <a:lnTo>
                    <a:pt x="46" y="110"/>
                  </a:lnTo>
                  <a:lnTo>
                    <a:pt x="44" y="11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 name="Freeform 414">
              <a:extLst>
                <a:ext uri="{FF2B5EF4-FFF2-40B4-BE49-F238E27FC236}">
                  <a16:creationId xmlns:a16="http://schemas.microsoft.com/office/drawing/2014/main" id="{DD58FC2D-9108-457C-B6F3-AC9E17BF70A9}"/>
                </a:ext>
              </a:extLst>
            </p:cNvPr>
            <p:cNvSpPr>
              <a:spLocks/>
            </p:cNvSpPr>
            <p:nvPr/>
          </p:nvSpPr>
          <p:spPr bwMode="gray">
            <a:xfrm>
              <a:off x="5004904" y="3952025"/>
              <a:ext cx="136128" cy="161882"/>
            </a:xfrm>
            <a:custGeom>
              <a:avLst/>
              <a:gdLst>
                <a:gd name="T0" fmla="*/ 34 w 111"/>
                <a:gd name="T1" fmla="*/ 7 h 132"/>
                <a:gd name="T2" fmla="*/ 40 w 111"/>
                <a:gd name="T3" fmla="*/ 13 h 132"/>
                <a:gd name="T4" fmla="*/ 40 w 111"/>
                <a:gd name="T5" fmla="*/ 17 h 132"/>
                <a:gd name="T6" fmla="*/ 40 w 111"/>
                <a:gd name="T7" fmla="*/ 21 h 132"/>
                <a:gd name="T8" fmla="*/ 46 w 111"/>
                <a:gd name="T9" fmla="*/ 27 h 132"/>
                <a:gd name="T10" fmla="*/ 53 w 111"/>
                <a:gd name="T11" fmla="*/ 27 h 132"/>
                <a:gd name="T12" fmla="*/ 61 w 111"/>
                <a:gd name="T13" fmla="*/ 27 h 132"/>
                <a:gd name="T14" fmla="*/ 63 w 111"/>
                <a:gd name="T15" fmla="*/ 32 h 132"/>
                <a:gd name="T16" fmla="*/ 69 w 111"/>
                <a:gd name="T17" fmla="*/ 38 h 132"/>
                <a:gd name="T18" fmla="*/ 69 w 111"/>
                <a:gd name="T19" fmla="*/ 42 h 132"/>
                <a:gd name="T20" fmla="*/ 59 w 111"/>
                <a:gd name="T21" fmla="*/ 44 h 132"/>
                <a:gd name="T22" fmla="*/ 57 w 111"/>
                <a:gd name="T23" fmla="*/ 50 h 132"/>
                <a:gd name="T24" fmla="*/ 65 w 111"/>
                <a:gd name="T25" fmla="*/ 56 h 132"/>
                <a:gd name="T26" fmla="*/ 73 w 111"/>
                <a:gd name="T27" fmla="*/ 59 h 132"/>
                <a:gd name="T28" fmla="*/ 74 w 111"/>
                <a:gd name="T29" fmla="*/ 65 h 132"/>
                <a:gd name="T30" fmla="*/ 78 w 111"/>
                <a:gd name="T31" fmla="*/ 69 h 132"/>
                <a:gd name="T32" fmla="*/ 82 w 111"/>
                <a:gd name="T33" fmla="*/ 77 h 132"/>
                <a:gd name="T34" fmla="*/ 90 w 111"/>
                <a:gd name="T35" fmla="*/ 80 h 132"/>
                <a:gd name="T36" fmla="*/ 94 w 111"/>
                <a:gd name="T37" fmla="*/ 90 h 132"/>
                <a:gd name="T38" fmla="*/ 97 w 111"/>
                <a:gd name="T39" fmla="*/ 94 h 132"/>
                <a:gd name="T40" fmla="*/ 101 w 111"/>
                <a:gd name="T41" fmla="*/ 96 h 132"/>
                <a:gd name="T42" fmla="*/ 105 w 111"/>
                <a:gd name="T43" fmla="*/ 104 h 132"/>
                <a:gd name="T44" fmla="*/ 109 w 111"/>
                <a:gd name="T45" fmla="*/ 109 h 132"/>
                <a:gd name="T46" fmla="*/ 111 w 111"/>
                <a:gd name="T47" fmla="*/ 111 h 132"/>
                <a:gd name="T48" fmla="*/ 109 w 111"/>
                <a:gd name="T49" fmla="*/ 115 h 132"/>
                <a:gd name="T50" fmla="*/ 109 w 111"/>
                <a:gd name="T51" fmla="*/ 117 h 132"/>
                <a:gd name="T52" fmla="*/ 101 w 111"/>
                <a:gd name="T53" fmla="*/ 125 h 132"/>
                <a:gd name="T54" fmla="*/ 96 w 111"/>
                <a:gd name="T55" fmla="*/ 123 h 132"/>
                <a:gd name="T56" fmla="*/ 90 w 111"/>
                <a:gd name="T57" fmla="*/ 125 h 132"/>
                <a:gd name="T58" fmla="*/ 88 w 111"/>
                <a:gd name="T59" fmla="*/ 130 h 132"/>
                <a:gd name="T60" fmla="*/ 80 w 111"/>
                <a:gd name="T61" fmla="*/ 130 h 132"/>
                <a:gd name="T62" fmla="*/ 78 w 111"/>
                <a:gd name="T63" fmla="*/ 128 h 132"/>
                <a:gd name="T64" fmla="*/ 76 w 111"/>
                <a:gd name="T65" fmla="*/ 127 h 132"/>
                <a:gd name="T66" fmla="*/ 80 w 111"/>
                <a:gd name="T67" fmla="*/ 119 h 132"/>
                <a:gd name="T68" fmla="*/ 78 w 111"/>
                <a:gd name="T69" fmla="*/ 113 h 132"/>
                <a:gd name="T70" fmla="*/ 78 w 111"/>
                <a:gd name="T71" fmla="*/ 105 h 132"/>
                <a:gd name="T72" fmla="*/ 73 w 111"/>
                <a:gd name="T73" fmla="*/ 100 h 132"/>
                <a:gd name="T74" fmla="*/ 69 w 111"/>
                <a:gd name="T75" fmla="*/ 88 h 132"/>
                <a:gd name="T76" fmla="*/ 65 w 111"/>
                <a:gd name="T77" fmla="*/ 77 h 132"/>
                <a:gd name="T78" fmla="*/ 59 w 111"/>
                <a:gd name="T79" fmla="*/ 67 h 132"/>
                <a:gd name="T80" fmla="*/ 51 w 111"/>
                <a:gd name="T81" fmla="*/ 63 h 132"/>
                <a:gd name="T82" fmla="*/ 44 w 111"/>
                <a:gd name="T83" fmla="*/ 69 h 132"/>
                <a:gd name="T84" fmla="*/ 34 w 111"/>
                <a:gd name="T85" fmla="*/ 71 h 132"/>
                <a:gd name="T86" fmla="*/ 26 w 111"/>
                <a:gd name="T87" fmla="*/ 71 h 132"/>
                <a:gd name="T88" fmla="*/ 19 w 111"/>
                <a:gd name="T89" fmla="*/ 75 h 132"/>
                <a:gd name="T90" fmla="*/ 13 w 111"/>
                <a:gd name="T91" fmla="*/ 77 h 132"/>
                <a:gd name="T92" fmla="*/ 15 w 111"/>
                <a:gd name="T93" fmla="*/ 67 h 132"/>
                <a:gd name="T94" fmla="*/ 17 w 111"/>
                <a:gd name="T95" fmla="*/ 61 h 132"/>
                <a:gd name="T96" fmla="*/ 17 w 111"/>
                <a:gd name="T97" fmla="*/ 50 h 132"/>
                <a:gd name="T98" fmla="*/ 9 w 111"/>
                <a:gd name="T99" fmla="*/ 46 h 132"/>
                <a:gd name="T100" fmla="*/ 7 w 111"/>
                <a:gd name="T101" fmla="*/ 40 h 132"/>
                <a:gd name="T102" fmla="*/ 3 w 111"/>
                <a:gd name="T103" fmla="*/ 32 h 132"/>
                <a:gd name="T104" fmla="*/ 2 w 111"/>
                <a:gd name="T105" fmla="*/ 31 h 132"/>
                <a:gd name="T106" fmla="*/ 5 w 111"/>
                <a:gd name="T107" fmla="*/ 27 h 132"/>
                <a:gd name="T108" fmla="*/ 13 w 111"/>
                <a:gd name="T109" fmla="*/ 19 h 132"/>
                <a:gd name="T110" fmla="*/ 17 w 111"/>
                <a:gd name="T111" fmla="*/ 19 h 132"/>
                <a:gd name="T112" fmla="*/ 25 w 111"/>
                <a:gd name="T113" fmla="*/ 19 h 132"/>
                <a:gd name="T114" fmla="*/ 21 w 111"/>
                <a:gd name="T115" fmla="*/ 7 h 132"/>
                <a:gd name="T116" fmla="*/ 25 w 111"/>
                <a:gd name="T117"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1" h="132">
                  <a:moveTo>
                    <a:pt x="30" y="2"/>
                  </a:moveTo>
                  <a:lnTo>
                    <a:pt x="30" y="4"/>
                  </a:lnTo>
                  <a:lnTo>
                    <a:pt x="32" y="4"/>
                  </a:lnTo>
                  <a:lnTo>
                    <a:pt x="30" y="4"/>
                  </a:lnTo>
                  <a:lnTo>
                    <a:pt x="32" y="4"/>
                  </a:lnTo>
                  <a:lnTo>
                    <a:pt x="32" y="6"/>
                  </a:lnTo>
                  <a:lnTo>
                    <a:pt x="34" y="6"/>
                  </a:lnTo>
                  <a:lnTo>
                    <a:pt x="34" y="7"/>
                  </a:lnTo>
                  <a:lnTo>
                    <a:pt x="36" y="7"/>
                  </a:lnTo>
                  <a:lnTo>
                    <a:pt x="34" y="7"/>
                  </a:lnTo>
                  <a:lnTo>
                    <a:pt x="34" y="9"/>
                  </a:lnTo>
                  <a:lnTo>
                    <a:pt x="36" y="9"/>
                  </a:lnTo>
                  <a:lnTo>
                    <a:pt x="36" y="11"/>
                  </a:lnTo>
                  <a:lnTo>
                    <a:pt x="38" y="11"/>
                  </a:lnTo>
                  <a:lnTo>
                    <a:pt x="38" y="13"/>
                  </a:lnTo>
                  <a:lnTo>
                    <a:pt x="40" y="13"/>
                  </a:lnTo>
                  <a:lnTo>
                    <a:pt x="40" y="11"/>
                  </a:lnTo>
                  <a:lnTo>
                    <a:pt x="40" y="13"/>
                  </a:lnTo>
                  <a:lnTo>
                    <a:pt x="42" y="13"/>
                  </a:lnTo>
                  <a:lnTo>
                    <a:pt x="42" y="11"/>
                  </a:lnTo>
                  <a:lnTo>
                    <a:pt x="42" y="13"/>
                  </a:lnTo>
                  <a:lnTo>
                    <a:pt x="42" y="15"/>
                  </a:lnTo>
                  <a:lnTo>
                    <a:pt x="42" y="17"/>
                  </a:lnTo>
                  <a:lnTo>
                    <a:pt x="40" y="17"/>
                  </a:lnTo>
                  <a:lnTo>
                    <a:pt x="42" y="17"/>
                  </a:lnTo>
                  <a:lnTo>
                    <a:pt x="42" y="19"/>
                  </a:lnTo>
                  <a:lnTo>
                    <a:pt x="40" y="19"/>
                  </a:lnTo>
                  <a:lnTo>
                    <a:pt x="42" y="19"/>
                  </a:lnTo>
                  <a:lnTo>
                    <a:pt x="40" y="19"/>
                  </a:lnTo>
                  <a:lnTo>
                    <a:pt x="42" y="19"/>
                  </a:lnTo>
                  <a:lnTo>
                    <a:pt x="40" y="19"/>
                  </a:lnTo>
                  <a:lnTo>
                    <a:pt x="40" y="21"/>
                  </a:lnTo>
                  <a:lnTo>
                    <a:pt x="40" y="19"/>
                  </a:lnTo>
                  <a:lnTo>
                    <a:pt x="40" y="21"/>
                  </a:lnTo>
                  <a:lnTo>
                    <a:pt x="42" y="21"/>
                  </a:lnTo>
                  <a:lnTo>
                    <a:pt x="42" y="23"/>
                  </a:lnTo>
                  <a:lnTo>
                    <a:pt x="44" y="23"/>
                  </a:lnTo>
                  <a:lnTo>
                    <a:pt x="44" y="25"/>
                  </a:lnTo>
                  <a:lnTo>
                    <a:pt x="46" y="25"/>
                  </a:lnTo>
                  <a:lnTo>
                    <a:pt x="46" y="27"/>
                  </a:lnTo>
                  <a:lnTo>
                    <a:pt x="48" y="27"/>
                  </a:lnTo>
                  <a:lnTo>
                    <a:pt x="49" y="27"/>
                  </a:lnTo>
                  <a:lnTo>
                    <a:pt x="49" y="29"/>
                  </a:lnTo>
                  <a:lnTo>
                    <a:pt x="51" y="29"/>
                  </a:lnTo>
                  <a:lnTo>
                    <a:pt x="53" y="29"/>
                  </a:lnTo>
                  <a:lnTo>
                    <a:pt x="53" y="27"/>
                  </a:lnTo>
                  <a:lnTo>
                    <a:pt x="55" y="27"/>
                  </a:lnTo>
                  <a:lnTo>
                    <a:pt x="53" y="27"/>
                  </a:lnTo>
                  <a:lnTo>
                    <a:pt x="55" y="27"/>
                  </a:lnTo>
                  <a:lnTo>
                    <a:pt x="53" y="27"/>
                  </a:lnTo>
                  <a:lnTo>
                    <a:pt x="55" y="27"/>
                  </a:lnTo>
                  <a:lnTo>
                    <a:pt x="55" y="25"/>
                  </a:lnTo>
                  <a:lnTo>
                    <a:pt x="57" y="25"/>
                  </a:lnTo>
                  <a:lnTo>
                    <a:pt x="59" y="25"/>
                  </a:lnTo>
                  <a:lnTo>
                    <a:pt x="61" y="25"/>
                  </a:lnTo>
                  <a:lnTo>
                    <a:pt x="61" y="27"/>
                  </a:lnTo>
                  <a:lnTo>
                    <a:pt x="63" y="27"/>
                  </a:lnTo>
                  <a:lnTo>
                    <a:pt x="65" y="27"/>
                  </a:lnTo>
                  <a:lnTo>
                    <a:pt x="65" y="29"/>
                  </a:lnTo>
                  <a:lnTo>
                    <a:pt x="67" y="29"/>
                  </a:lnTo>
                  <a:lnTo>
                    <a:pt x="67" y="31"/>
                  </a:lnTo>
                  <a:lnTo>
                    <a:pt x="65" y="31"/>
                  </a:lnTo>
                  <a:lnTo>
                    <a:pt x="65" y="32"/>
                  </a:lnTo>
                  <a:lnTo>
                    <a:pt x="63" y="32"/>
                  </a:lnTo>
                  <a:lnTo>
                    <a:pt x="63" y="34"/>
                  </a:lnTo>
                  <a:lnTo>
                    <a:pt x="65" y="34"/>
                  </a:lnTo>
                  <a:lnTo>
                    <a:pt x="65" y="32"/>
                  </a:lnTo>
                  <a:lnTo>
                    <a:pt x="67" y="32"/>
                  </a:lnTo>
                  <a:lnTo>
                    <a:pt x="67" y="34"/>
                  </a:lnTo>
                  <a:lnTo>
                    <a:pt x="67" y="36"/>
                  </a:lnTo>
                  <a:lnTo>
                    <a:pt x="69" y="36"/>
                  </a:lnTo>
                  <a:lnTo>
                    <a:pt x="69" y="38"/>
                  </a:lnTo>
                  <a:lnTo>
                    <a:pt x="69" y="36"/>
                  </a:lnTo>
                  <a:lnTo>
                    <a:pt x="69" y="38"/>
                  </a:lnTo>
                  <a:lnTo>
                    <a:pt x="71" y="38"/>
                  </a:lnTo>
                  <a:lnTo>
                    <a:pt x="71" y="36"/>
                  </a:lnTo>
                  <a:lnTo>
                    <a:pt x="71" y="38"/>
                  </a:lnTo>
                  <a:lnTo>
                    <a:pt x="71" y="40"/>
                  </a:lnTo>
                  <a:lnTo>
                    <a:pt x="69" y="40"/>
                  </a:lnTo>
                  <a:lnTo>
                    <a:pt x="69" y="42"/>
                  </a:lnTo>
                  <a:lnTo>
                    <a:pt x="69" y="44"/>
                  </a:lnTo>
                  <a:lnTo>
                    <a:pt x="67" y="44"/>
                  </a:lnTo>
                  <a:lnTo>
                    <a:pt x="67" y="46"/>
                  </a:lnTo>
                  <a:lnTo>
                    <a:pt x="65" y="46"/>
                  </a:lnTo>
                  <a:lnTo>
                    <a:pt x="63" y="46"/>
                  </a:lnTo>
                  <a:lnTo>
                    <a:pt x="63" y="44"/>
                  </a:lnTo>
                  <a:lnTo>
                    <a:pt x="61" y="44"/>
                  </a:lnTo>
                  <a:lnTo>
                    <a:pt x="59" y="44"/>
                  </a:lnTo>
                  <a:lnTo>
                    <a:pt x="57" y="44"/>
                  </a:lnTo>
                  <a:lnTo>
                    <a:pt x="57" y="46"/>
                  </a:lnTo>
                  <a:lnTo>
                    <a:pt x="59" y="46"/>
                  </a:lnTo>
                  <a:lnTo>
                    <a:pt x="59" y="48"/>
                  </a:lnTo>
                  <a:lnTo>
                    <a:pt x="57" y="48"/>
                  </a:lnTo>
                  <a:lnTo>
                    <a:pt x="59" y="48"/>
                  </a:lnTo>
                  <a:lnTo>
                    <a:pt x="57" y="48"/>
                  </a:lnTo>
                  <a:lnTo>
                    <a:pt x="57" y="50"/>
                  </a:lnTo>
                  <a:lnTo>
                    <a:pt x="55" y="50"/>
                  </a:lnTo>
                  <a:lnTo>
                    <a:pt x="55" y="52"/>
                  </a:lnTo>
                  <a:lnTo>
                    <a:pt x="57" y="52"/>
                  </a:lnTo>
                  <a:lnTo>
                    <a:pt x="59" y="52"/>
                  </a:lnTo>
                  <a:lnTo>
                    <a:pt x="61" y="54"/>
                  </a:lnTo>
                  <a:lnTo>
                    <a:pt x="63" y="54"/>
                  </a:lnTo>
                  <a:lnTo>
                    <a:pt x="63" y="56"/>
                  </a:lnTo>
                  <a:lnTo>
                    <a:pt x="65" y="56"/>
                  </a:lnTo>
                  <a:lnTo>
                    <a:pt x="65" y="57"/>
                  </a:lnTo>
                  <a:lnTo>
                    <a:pt x="67" y="57"/>
                  </a:lnTo>
                  <a:lnTo>
                    <a:pt x="69" y="57"/>
                  </a:lnTo>
                  <a:lnTo>
                    <a:pt x="69" y="59"/>
                  </a:lnTo>
                  <a:lnTo>
                    <a:pt x="71" y="59"/>
                  </a:lnTo>
                  <a:lnTo>
                    <a:pt x="71" y="57"/>
                  </a:lnTo>
                  <a:lnTo>
                    <a:pt x="71" y="59"/>
                  </a:lnTo>
                  <a:lnTo>
                    <a:pt x="73" y="59"/>
                  </a:lnTo>
                  <a:lnTo>
                    <a:pt x="74" y="59"/>
                  </a:lnTo>
                  <a:lnTo>
                    <a:pt x="74" y="61"/>
                  </a:lnTo>
                  <a:lnTo>
                    <a:pt x="73" y="61"/>
                  </a:lnTo>
                  <a:lnTo>
                    <a:pt x="73" y="63"/>
                  </a:lnTo>
                  <a:lnTo>
                    <a:pt x="74" y="63"/>
                  </a:lnTo>
                  <a:lnTo>
                    <a:pt x="74" y="65"/>
                  </a:lnTo>
                  <a:lnTo>
                    <a:pt x="74" y="63"/>
                  </a:lnTo>
                  <a:lnTo>
                    <a:pt x="74" y="65"/>
                  </a:lnTo>
                  <a:lnTo>
                    <a:pt x="74" y="63"/>
                  </a:lnTo>
                  <a:lnTo>
                    <a:pt x="74" y="65"/>
                  </a:lnTo>
                  <a:lnTo>
                    <a:pt x="74" y="67"/>
                  </a:lnTo>
                  <a:lnTo>
                    <a:pt x="76" y="67"/>
                  </a:lnTo>
                  <a:lnTo>
                    <a:pt x="76" y="69"/>
                  </a:lnTo>
                  <a:lnTo>
                    <a:pt x="76" y="67"/>
                  </a:lnTo>
                  <a:lnTo>
                    <a:pt x="78" y="67"/>
                  </a:lnTo>
                  <a:lnTo>
                    <a:pt x="78" y="69"/>
                  </a:lnTo>
                  <a:lnTo>
                    <a:pt x="78" y="67"/>
                  </a:lnTo>
                  <a:lnTo>
                    <a:pt x="78" y="69"/>
                  </a:lnTo>
                  <a:lnTo>
                    <a:pt x="80" y="69"/>
                  </a:lnTo>
                  <a:lnTo>
                    <a:pt x="80" y="71"/>
                  </a:lnTo>
                  <a:lnTo>
                    <a:pt x="80" y="73"/>
                  </a:lnTo>
                  <a:lnTo>
                    <a:pt x="82" y="73"/>
                  </a:lnTo>
                  <a:lnTo>
                    <a:pt x="82" y="75"/>
                  </a:lnTo>
                  <a:lnTo>
                    <a:pt x="82" y="77"/>
                  </a:lnTo>
                  <a:lnTo>
                    <a:pt x="82" y="75"/>
                  </a:lnTo>
                  <a:lnTo>
                    <a:pt x="84" y="75"/>
                  </a:lnTo>
                  <a:lnTo>
                    <a:pt x="84" y="77"/>
                  </a:lnTo>
                  <a:lnTo>
                    <a:pt x="86" y="79"/>
                  </a:lnTo>
                  <a:lnTo>
                    <a:pt x="88" y="80"/>
                  </a:lnTo>
                  <a:lnTo>
                    <a:pt x="90" y="80"/>
                  </a:lnTo>
                  <a:lnTo>
                    <a:pt x="90" y="82"/>
                  </a:lnTo>
                  <a:lnTo>
                    <a:pt x="90" y="80"/>
                  </a:lnTo>
                  <a:lnTo>
                    <a:pt x="92" y="82"/>
                  </a:lnTo>
                  <a:lnTo>
                    <a:pt x="90" y="82"/>
                  </a:lnTo>
                  <a:lnTo>
                    <a:pt x="92" y="82"/>
                  </a:lnTo>
                  <a:lnTo>
                    <a:pt x="92" y="84"/>
                  </a:lnTo>
                  <a:lnTo>
                    <a:pt x="92" y="86"/>
                  </a:lnTo>
                  <a:lnTo>
                    <a:pt x="94" y="86"/>
                  </a:lnTo>
                  <a:lnTo>
                    <a:pt x="94" y="88"/>
                  </a:lnTo>
                  <a:lnTo>
                    <a:pt x="94" y="90"/>
                  </a:lnTo>
                  <a:lnTo>
                    <a:pt x="94" y="92"/>
                  </a:lnTo>
                  <a:lnTo>
                    <a:pt x="96" y="92"/>
                  </a:lnTo>
                  <a:lnTo>
                    <a:pt x="94" y="92"/>
                  </a:lnTo>
                  <a:lnTo>
                    <a:pt x="96" y="92"/>
                  </a:lnTo>
                  <a:lnTo>
                    <a:pt x="94" y="92"/>
                  </a:lnTo>
                  <a:lnTo>
                    <a:pt x="96" y="92"/>
                  </a:lnTo>
                  <a:lnTo>
                    <a:pt x="96" y="94"/>
                  </a:lnTo>
                  <a:lnTo>
                    <a:pt x="97" y="94"/>
                  </a:lnTo>
                  <a:lnTo>
                    <a:pt x="97" y="96"/>
                  </a:lnTo>
                  <a:lnTo>
                    <a:pt x="97" y="94"/>
                  </a:lnTo>
                  <a:lnTo>
                    <a:pt x="99" y="94"/>
                  </a:lnTo>
                  <a:lnTo>
                    <a:pt x="97" y="92"/>
                  </a:lnTo>
                  <a:lnTo>
                    <a:pt x="99" y="92"/>
                  </a:lnTo>
                  <a:lnTo>
                    <a:pt x="99" y="94"/>
                  </a:lnTo>
                  <a:lnTo>
                    <a:pt x="99" y="96"/>
                  </a:lnTo>
                  <a:lnTo>
                    <a:pt x="101" y="96"/>
                  </a:lnTo>
                  <a:lnTo>
                    <a:pt x="103" y="96"/>
                  </a:lnTo>
                  <a:lnTo>
                    <a:pt x="103" y="98"/>
                  </a:lnTo>
                  <a:lnTo>
                    <a:pt x="103" y="100"/>
                  </a:lnTo>
                  <a:lnTo>
                    <a:pt x="105" y="100"/>
                  </a:lnTo>
                  <a:lnTo>
                    <a:pt x="107" y="100"/>
                  </a:lnTo>
                  <a:lnTo>
                    <a:pt x="107" y="102"/>
                  </a:lnTo>
                  <a:lnTo>
                    <a:pt x="107" y="104"/>
                  </a:lnTo>
                  <a:lnTo>
                    <a:pt x="105" y="104"/>
                  </a:lnTo>
                  <a:lnTo>
                    <a:pt x="103" y="104"/>
                  </a:lnTo>
                  <a:lnTo>
                    <a:pt x="105" y="104"/>
                  </a:lnTo>
                  <a:lnTo>
                    <a:pt x="103" y="105"/>
                  </a:lnTo>
                  <a:lnTo>
                    <a:pt x="105" y="105"/>
                  </a:lnTo>
                  <a:lnTo>
                    <a:pt x="105" y="107"/>
                  </a:lnTo>
                  <a:lnTo>
                    <a:pt x="107" y="107"/>
                  </a:lnTo>
                  <a:lnTo>
                    <a:pt x="107" y="109"/>
                  </a:lnTo>
                  <a:lnTo>
                    <a:pt x="109" y="109"/>
                  </a:lnTo>
                  <a:lnTo>
                    <a:pt x="109" y="111"/>
                  </a:lnTo>
                  <a:lnTo>
                    <a:pt x="109" y="109"/>
                  </a:lnTo>
                  <a:lnTo>
                    <a:pt x="111" y="109"/>
                  </a:lnTo>
                  <a:lnTo>
                    <a:pt x="109" y="109"/>
                  </a:lnTo>
                  <a:lnTo>
                    <a:pt x="109" y="111"/>
                  </a:lnTo>
                  <a:lnTo>
                    <a:pt x="111" y="111"/>
                  </a:lnTo>
                  <a:lnTo>
                    <a:pt x="109" y="111"/>
                  </a:lnTo>
                  <a:lnTo>
                    <a:pt x="111" y="111"/>
                  </a:lnTo>
                  <a:lnTo>
                    <a:pt x="109" y="111"/>
                  </a:lnTo>
                  <a:lnTo>
                    <a:pt x="111" y="111"/>
                  </a:lnTo>
                  <a:lnTo>
                    <a:pt x="109" y="113"/>
                  </a:lnTo>
                  <a:lnTo>
                    <a:pt x="111" y="113"/>
                  </a:lnTo>
                  <a:lnTo>
                    <a:pt x="109" y="113"/>
                  </a:lnTo>
                  <a:lnTo>
                    <a:pt x="111" y="113"/>
                  </a:lnTo>
                  <a:lnTo>
                    <a:pt x="111" y="115"/>
                  </a:lnTo>
                  <a:lnTo>
                    <a:pt x="109" y="115"/>
                  </a:lnTo>
                  <a:lnTo>
                    <a:pt x="111" y="115"/>
                  </a:lnTo>
                  <a:lnTo>
                    <a:pt x="109" y="115"/>
                  </a:lnTo>
                  <a:lnTo>
                    <a:pt x="111" y="115"/>
                  </a:lnTo>
                  <a:lnTo>
                    <a:pt x="109" y="115"/>
                  </a:lnTo>
                  <a:lnTo>
                    <a:pt x="109" y="117"/>
                  </a:lnTo>
                  <a:lnTo>
                    <a:pt x="109" y="115"/>
                  </a:lnTo>
                  <a:lnTo>
                    <a:pt x="107" y="117"/>
                  </a:lnTo>
                  <a:lnTo>
                    <a:pt x="109" y="117"/>
                  </a:lnTo>
                  <a:lnTo>
                    <a:pt x="109" y="119"/>
                  </a:lnTo>
                  <a:lnTo>
                    <a:pt x="109" y="121"/>
                  </a:lnTo>
                  <a:lnTo>
                    <a:pt x="109" y="123"/>
                  </a:lnTo>
                  <a:lnTo>
                    <a:pt x="107" y="123"/>
                  </a:lnTo>
                  <a:lnTo>
                    <a:pt x="105" y="123"/>
                  </a:lnTo>
                  <a:lnTo>
                    <a:pt x="105" y="125"/>
                  </a:lnTo>
                  <a:lnTo>
                    <a:pt x="103" y="125"/>
                  </a:lnTo>
                  <a:lnTo>
                    <a:pt x="101" y="125"/>
                  </a:lnTo>
                  <a:lnTo>
                    <a:pt x="101" y="127"/>
                  </a:lnTo>
                  <a:lnTo>
                    <a:pt x="99" y="127"/>
                  </a:lnTo>
                  <a:lnTo>
                    <a:pt x="97" y="127"/>
                  </a:lnTo>
                  <a:lnTo>
                    <a:pt x="97" y="125"/>
                  </a:lnTo>
                  <a:lnTo>
                    <a:pt x="96" y="125"/>
                  </a:lnTo>
                  <a:lnTo>
                    <a:pt x="94" y="125"/>
                  </a:lnTo>
                  <a:lnTo>
                    <a:pt x="94" y="123"/>
                  </a:lnTo>
                  <a:lnTo>
                    <a:pt x="96" y="123"/>
                  </a:lnTo>
                  <a:lnTo>
                    <a:pt x="94" y="123"/>
                  </a:lnTo>
                  <a:lnTo>
                    <a:pt x="94" y="125"/>
                  </a:lnTo>
                  <a:lnTo>
                    <a:pt x="94" y="123"/>
                  </a:lnTo>
                  <a:lnTo>
                    <a:pt x="92" y="123"/>
                  </a:lnTo>
                  <a:lnTo>
                    <a:pt x="92" y="125"/>
                  </a:lnTo>
                  <a:lnTo>
                    <a:pt x="94" y="125"/>
                  </a:lnTo>
                  <a:lnTo>
                    <a:pt x="92" y="125"/>
                  </a:lnTo>
                  <a:lnTo>
                    <a:pt x="90" y="125"/>
                  </a:lnTo>
                  <a:lnTo>
                    <a:pt x="90" y="127"/>
                  </a:lnTo>
                  <a:lnTo>
                    <a:pt x="88" y="127"/>
                  </a:lnTo>
                  <a:lnTo>
                    <a:pt x="86" y="127"/>
                  </a:lnTo>
                  <a:lnTo>
                    <a:pt x="86" y="128"/>
                  </a:lnTo>
                  <a:lnTo>
                    <a:pt x="88" y="128"/>
                  </a:lnTo>
                  <a:lnTo>
                    <a:pt x="88" y="130"/>
                  </a:lnTo>
                  <a:lnTo>
                    <a:pt x="90" y="130"/>
                  </a:lnTo>
                  <a:lnTo>
                    <a:pt x="88" y="130"/>
                  </a:lnTo>
                  <a:lnTo>
                    <a:pt x="90" y="130"/>
                  </a:lnTo>
                  <a:lnTo>
                    <a:pt x="88" y="130"/>
                  </a:lnTo>
                  <a:lnTo>
                    <a:pt x="88" y="132"/>
                  </a:lnTo>
                  <a:lnTo>
                    <a:pt x="86" y="132"/>
                  </a:lnTo>
                  <a:lnTo>
                    <a:pt x="84" y="132"/>
                  </a:lnTo>
                  <a:lnTo>
                    <a:pt x="84" y="130"/>
                  </a:lnTo>
                  <a:lnTo>
                    <a:pt x="82" y="130"/>
                  </a:lnTo>
                  <a:lnTo>
                    <a:pt x="80" y="130"/>
                  </a:lnTo>
                  <a:lnTo>
                    <a:pt x="80" y="128"/>
                  </a:lnTo>
                  <a:lnTo>
                    <a:pt x="80" y="130"/>
                  </a:lnTo>
                  <a:lnTo>
                    <a:pt x="80" y="128"/>
                  </a:lnTo>
                  <a:lnTo>
                    <a:pt x="78" y="128"/>
                  </a:lnTo>
                  <a:lnTo>
                    <a:pt x="78" y="130"/>
                  </a:lnTo>
                  <a:lnTo>
                    <a:pt x="78" y="128"/>
                  </a:lnTo>
                  <a:lnTo>
                    <a:pt x="78" y="130"/>
                  </a:lnTo>
                  <a:lnTo>
                    <a:pt x="78" y="128"/>
                  </a:lnTo>
                  <a:lnTo>
                    <a:pt x="78" y="130"/>
                  </a:lnTo>
                  <a:lnTo>
                    <a:pt x="76" y="130"/>
                  </a:lnTo>
                  <a:lnTo>
                    <a:pt x="76" y="128"/>
                  </a:lnTo>
                  <a:lnTo>
                    <a:pt x="74" y="128"/>
                  </a:lnTo>
                  <a:lnTo>
                    <a:pt x="74" y="127"/>
                  </a:lnTo>
                  <a:lnTo>
                    <a:pt x="76" y="127"/>
                  </a:lnTo>
                  <a:lnTo>
                    <a:pt x="76" y="125"/>
                  </a:lnTo>
                  <a:lnTo>
                    <a:pt x="76" y="127"/>
                  </a:lnTo>
                  <a:lnTo>
                    <a:pt x="76" y="125"/>
                  </a:lnTo>
                  <a:lnTo>
                    <a:pt x="78" y="125"/>
                  </a:lnTo>
                  <a:lnTo>
                    <a:pt x="78" y="123"/>
                  </a:lnTo>
                  <a:lnTo>
                    <a:pt x="80" y="123"/>
                  </a:lnTo>
                  <a:lnTo>
                    <a:pt x="80" y="121"/>
                  </a:lnTo>
                  <a:lnTo>
                    <a:pt x="78" y="121"/>
                  </a:lnTo>
                  <a:lnTo>
                    <a:pt x="78" y="119"/>
                  </a:lnTo>
                  <a:lnTo>
                    <a:pt x="80" y="119"/>
                  </a:lnTo>
                  <a:lnTo>
                    <a:pt x="78" y="119"/>
                  </a:lnTo>
                  <a:lnTo>
                    <a:pt x="80" y="119"/>
                  </a:lnTo>
                  <a:lnTo>
                    <a:pt x="78" y="119"/>
                  </a:lnTo>
                  <a:lnTo>
                    <a:pt x="80" y="119"/>
                  </a:lnTo>
                  <a:lnTo>
                    <a:pt x="80" y="117"/>
                  </a:lnTo>
                  <a:lnTo>
                    <a:pt x="80" y="115"/>
                  </a:lnTo>
                  <a:lnTo>
                    <a:pt x="78" y="115"/>
                  </a:lnTo>
                  <a:lnTo>
                    <a:pt x="78" y="113"/>
                  </a:lnTo>
                  <a:lnTo>
                    <a:pt x="80" y="113"/>
                  </a:lnTo>
                  <a:lnTo>
                    <a:pt x="80" y="111"/>
                  </a:lnTo>
                  <a:lnTo>
                    <a:pt x="78" y="111"/>
                  </a:lnTo>
                  <a:lnTo>
                    <a:pt x="80" y="111"/>
                  </a:lnTo>
                  <a:lnTo>
                    <a:pt x="80" y="109"/>
                  </a:lnTo>
                  <a:lnTo>
                    <a:pt x="80" y="107"/>
                  </a:lnTo>
                  <a:lnTo>
                    <a:pt x="80" y="105"/>
                  </a:lnTo>
                  <a:lnTo>
                    <a:pt x="78" y="105"/>
                  </a:lnTo>
                  <a:lnTo>
                    <a:pt x="78" y="104"/>
                  </a:lnTo>
                  <a:lnTo>
                    <a:pt x="76" y="104"/>
                  </a:lnTo>
                  <a:lnTo>
                    <a:pt x="76" y="102"/>
                  </a:lnTo>
                  <a:lnTo>
                    <a:pt x="78" y="102"/>
                  </a:lnTo>
                  <a:lnTo>
                    <a:pt x="76" y="102"/>
                  </a:lnTo>
                  <a:lnTo>
                    <a:pt x="76" y="100"/>
                  </a:lnTo>
                  <a:lnTo>
                    <a:pt x="74" y="100"/>
                  </a:lnTo>
                  <a:lnTo>
                    <a:pt x="73" y="100"/>
                  </a:lnTo>
                  <a:lnTo>
                    <a:pt x="73" y="98"/>
                  </a:lnTo>
                  <a:lnTo>
                    <a:pt x="71" y="98"/>
                  </a:lnTo>
                  <a:lnTo>
                    <a:pt x="71" y="96"/>
                  </a:lnTo>
                  <a:lnTo>
                    <a:pt x="71" y="94"/>
                  </a:lnTo>
                  <a:lnTo>
                    <a:pt x="69" y="94"/>
                  </a:lnTo>
                  <a:lnTo>
                    <a:pt x="69" y="92"/>
                  </a:lnTo>
                  <a:lnTo>
                    <a:pt x="69" y="90"/>
                  </a:lnTo>
                  <a:lnTo>
                    <a:pt x="69" y="88"/>
                  </a:lnTo>
                  <a:lnTo>
                    <a:pt x="69" y="86"/>
                  </a:lnTo>
                  <a:lnTo>
                    <a:pt x="69" y="84"/>
                  </a:lnTo>
                  <a:lnTo>
                    <a:pt x="69" y="82"/>
                  </a:lnTo>
                  <a:lnTo>
                    <a:pt x="69" y="80"/>
                  </a:lnTo>
                  <a:lnTo>
                    <a:pt x="69" y="79"/>
                  </a:lnTo>
                  <a:lnTo>
                    <a:pt x="67" y="79"/>
                  </a:lnTo>
                  <a:lnTo>
                    <a:pt x="67" y="77"/>
                  </a:lnTo>
                  <a:lnTo>
                    <a:pt x="65" y="77"/>
                  </a:lnTo>
                  <a:lnTo>
                    <a:pt x="63" y="77"/>
                  </a:lnTo>
                  <a:lnTo>
                    <a:pt x="63" y="75"/>
                  </a:lnTo>
                  <a:lnTo>
                    <a:pt x="63" y="73"/>
                  </a:lnTo>
                  <a:lnTo>
                    <a:pt x="61" y="73"/>
                  </a:lnTo>
                  <a:lnTo>
                    <a:pt x="61" y="71"/>
                  </a:lnTo>
                  <a:lnTo>
                    <a:pt x="59" y="71"/>
                  </a:lnTo>
                  <a:lnTo>
                    <a:pt x="59" y="69"/>
                  </a:lnTo>
                  <a:lnTo>
                    <a:pt x="59" y="67"/>
                  </a:lnTo>
                  <a:lnTo>
                    <a:pt x="57" y="67"/>
                  </a:lnTo>
                  <a:lnTo>
                    <a:pt x="57" y="65"/>
                  </a:lnTo>
                  <a:lnTo>
                    <a:pt x="55" y="65"/>
                  </a:lnTo>
                  <a:lnTo>
                    <a:pt x="55" y="67"/>
                  </a:lnTo>
                  <a:lnTo>
                    <a:pt x="55" y="65"/>
                  </a:lnTo>
                  <a:lnTo>
                    <a:pt x="53" y="65"/>
                  </a:lnTo>
                  <a:lnTo>
                    <a:pt x="51" y="65"/>
                  </a:lnTo>
                  <a:lnTo>
                    <a:pt x="51" y="63"/>
                  </a:lnTo>
                  <a:lnTo>
                    <a:pt x="49" y="63"/>
                  </a:lnTo>
                  <a:lnTo>
                    <a:pt x="48" y="63"/>
                  </a:lnTo>
                  <a:lnTo>
                    <a:pt x="46" y="63"/>
                  </a:lnTo>
                  <a:lnTo>
                    <a:pt x="46" y="65"/>
                  </a:lnTo>
                  <a:lnTo>
                    <a:pt x="48" y="65"/>
                  </a:lnTo>
                  <a:lnTo>
                    <a:pt x="46" y="67"/>
                  </a:lnTo>
                  <a:lnTo>
                    <a:pt x="44" y="67"/>
                  </a:lnTo>
                  <a:lnTo>
                    <a:pt x="44" y="69"/>
                  </a:lnTo>
                  <a:lnTo>
                    <a:pt x="44" y="71"/>
                  </a:lnTo>
                  <a:lnTo>
                    <a:pt x="42" y="71"/>
                  </a:lnTo>
                  <a:lnTo>
                    <a:pt x="40" y="71"/>
                  </a:lnTo>
                  <a:lnTo>
                    <a:pt x="40" y="73"/>
                  </a:lnTo>
                  <a:lnTo>
                    <a:pt x="38" y="73"/>
                  </a:lnTo>
                  <a:lnTo>
                    <a:pt x="36" y="73"/>
                  </a:lnTo>
                  <a:lnTo>
                    <a:pt x="36" y="71"/>
                  </a:lnTo>
                  <a:lnTo>
                    <a:pt x="34" y="71"/>
                  </a:lnTo>
                  <a:lnTo>
                    <a:pt x="32" y="71"/>
                  </a:lnTo>
                  <a:lnTo>
                    <a:pt x="32" y="69"/>
                  </a:lnTo>
                  <a:lnTo>
                    <a:pt x="30" y="69"/>
                  </a:lnTo>
                  <a:lnTo>
                    <a:pt x="30" y="67"/>
                  </a:lnTo>
                  <a:lnTo>
                    <a:pt x="28" y="67"/>
                  </a:lnTo>
                  <a:lnTo>
                    <a:pt x="28" y="69"/>
                  </a:lnTo>
                  <a:lnTo>
                    <a:pt x="26" y="69"/>
                  </a:lnTo>
                  <a:lnTo>
                    <a:pt x="26" y="71"/>
                  </a:lnTo>
                  <a:lnTo>
                    <a:pt x="26" y="69"/>
                  </a:lnTo>
                  <a:lnTo>
                    <a:pt x="25" y="69"/>
                  </a:lnTo>
                  <a:lnTo>
                    <a:pt x="25" y="71"/>
                  </a:lnTo>
                  <a:lnTo>
                    <a:pt x="25" y="73"/>
                  </a:lnTo>
                  <a:lnTo>
                    <a:pt x="23" y="73"/>
                  </a:lnTo>
                  <a:lnTo>
                    <a:pt x="21" y="73"/>
                  </a:lnTo>
                  <a:lnTo>
                    <a:pt x="21" y="75"/>
                  </a:lnTo>
                  <a:lnTo>
                    <a:pt x="19" y="75"/>
                  </a:lnTo>
                  <a:lnTo>
                    <a:pt x="19" y="77"/>
                  </a:lnTo>
                  <a:lnTo>
                    <a:pt x="17" y="77"/>
                  </a:lnTo>
                  <a:lnTo>
                    <a:pt x="17" y="79"/>
                  </a:lnTo>
                  <a:lnTo>
                    <a:pt x="15" y="79"/>
                  </a:lnTo>
                  <a:lnTo>
                    <a:pt x="13" y="79"/>
                  </a:lnTo>
                  <a:lnTo>
                    <a:pt x="13" y="77"/>
                  </a:lnTo>
                  <a:lnTo>
                    <a:pt x="13" y="79"/>
                  </a:lnTo>
                  <a:lnTo>
                    <a:pt x="13" y="77"/>
                  </a:lnTo>
                  <a:lnTo>
                    <a:pt x="13" y="75"/>
                  </a:lnTo>
                  <a:lnTo>
                    <a:pt x="13" y="73"/>
                  </a:lnTo>
                  <a:lnTo>
                    <a:pt x="15" y="73"/>
                  </a:lnTo>
                  <a:lnTo>
                    <a:pt x="15" y="71"/>
                  </a:lnTo>
                  <a:lnTo>
                    <a:pt x="15" y="69"/>
                  </a:lnTo>
                  <a:lnTo>
                    <a:pt x="15" y="67"/>
                  </a:lnTo>
                  <a:lnTo>
                    <a:pt x="17" y="67"/>
                  </a:lnTo>
                  <a:lnTo>
                    <a:pt x="15" y="67"/>
                  </a:lnTo>
                  <a:lnTo>
                    <a:pt x="15" y="65"/>
                  </a:lnTo>
                  <a:lnTo>
                    <a:pt x="15" y="63"/>
                  </a:lnTo>
                  <a:lnTo>
                    <a:pt x="13" y="63"/>
                  </a:lnTo>
                  <a:lnTo>
                    <a:pt x="15" y="63"/>
                  </a:lnTo>
                  <a:lnTo>
                    <a:pt x="13" y="63"/>
                  </a:lnTo>
                  <a:lnTo>
                    <a:pt x="15" y="63"/>
                  </a:lnTo>
                  <a:lnTo>
                    <a:pt x="15" y="61"/>
                  </a:lnTo>
                  <a:lnTo>
                    <a:pt x="17" y="61"/>
                  </a:lnTo>
                  <a:lnTo>
                    <a:pt x="17" y="59"/>
                  </a:lnTo>
                  <a:lnTo>
                    <a:pt x="17" y="57"/>
                  </a:lnTo>
                  <a:lnTo>
                    <a:pt x="17" y="56"/>
                  </a:lnTo>
                  <a:lnTo>
                    <a:pt x="19" y="56"/>
                  </a:lnTo>
                  <a:lnTo>
                    <a:pt x="19" y="54"/>
                  </a:lnTo>
                  <a:lnTo>
                    <a:pt x="17" y="54"/>
                  </a:lnTo>
                  <a:lnTo>
                    <a:pt x="17" y="52"/>
                  </a:lnTo>
                  <a:lnTo>
                    <a:pt x="17" y="50"/>
                  </a:lnTo>
                  <a:lnTo>
                    <a:pt x="17" y="48"/>
                  </a:lnTo>
                  <a:lnTo>
                    <a:pt x="17" y="46"/>
                  </a:lnTo>
                  <a:lnTo>
                    <a:pt x="15" y="46"/>
                  </a:lnTo>
                  <a:lnTo>
                    <a:pt x="13" y="46"/>
                  </a:lnTo>
                  <a:lnTo>
                    <a:pt x="11" y="46"/>
                  </a:lnTo>
                  <a:lnTo>
                    <a:pt x="11" y="48"/>
                  </a:lnTo>
                  <a:lnTo>
                    <a:pt x="9" y="48"/>
                  </a:lnTo>
                  <a:lnTo>
                    <a:pt x="9" y="46"/>
                  </a:lnTo>
                  <a:lnTo>
                    <a:pt x="7" y="46"/>
                  </a:lnTo>
                  <a:lnTo>
                    <a:pt x="7" y="48"/>
                  </a:lnTo>
                  <a:lnTo>
                    <a:pt x="5" y="48"/>
                  </a:lnTo>
                  <a:lnTo>
                    <a:pt x="5" y="46"/>
                  </a:lnTo>
                  <a:lnTo>
                    <a:pt x="5" y="44"/>
                  </a:lnTo>
                  <a:lnTo>
                    <a:pt x="5" y="42"/>
                  </a:lnTo>
                  <a:lnTo>
                    <a:pt x="5" y="40"/>
                  </a:lnTo>
                  <a:lnTo>
                    <a:pt x="7" y="40"/>
                  </a:lnTo>
                  <a:lnTo>
                    <a:pt x="7" y="38"/>
                  </a:lnTo>
                  <a:lnTo>
                    <a:pt x="7" y="36"/>
                  </a:lnTo>
                  <a:lnTo>
                    <a:pt x="7" y="38"/>
                  </a:lnTo>
                  <a:lnTo>
                    <a:pt x="5" y="38"/>
                  </a:lnTo>
                  <a:lnTo>
                    <a:pt x="5" y="36"/>
                  </a:lnTo>
                  <a:lnTo>
                    <a:pt x="5" y="34"/>
                  </a:lnTo>
                  <a:lnTo>
                    <a:pt x="3" y="34"/>
                  </a:lnTo>
                  <a:lnTo>
                    <a:pt x="3" y="32"/>
                  </a:lnTo>
                  <a:lnTo>
                    <a:pt x="2" y="32"/>
                  </a:lnTo>
                  <a:lnTo>
                    <a:pt x="2" y="34"/>
                  </a:lnTo>
                  <a:lnTo>
                    <a:pt x="2" y="36"/>
                  </a:lnTo>
                  <a:lnTo>
                    <a:pt x="0" y="36"/>
                  </a:lnTo>
                  <a:lnTo>
                    <a:pt x="0" y="34"/>
                  </a:lnTo>
                  <a:lnTo>
                    <a:pt x="0" y="32"/>
                  </a:lnTo>
                  <a:lnTo>
                    <a:pt x="2" y="32"/>
                  </a:lnTo>
                  <a:lnTo>
                    <a:pt x="2" y="31"/>
                  </a:lnTo>
                  <a:lnTo>
                    <a:pt x="2" y="29"/>
                  </a:lnTo>
                  <a:lnTo>
                    <a:pt x="3" y="29"/>
                  </a:lnTo>
                  <a:lnTo>
                    <a:pt x="3" y="27"/>
                  </a:lnTo>
                  <a:lnTo>
                    <a:pt x="5" y="27"/>
                  </a:lnTo>
                  <a:lnTo>
                    <a:pt x="7" y="27"/>
                  </a:lnTo>
                  <a:lnTo>
                    <a:pt x="7" y="25"/>
                  </a:lnTo>
                  <a:lnTo>
                    <a:pt x="7" y="27"/>
                  </a:lnTo>
                  <a:lnTo>
                    <a:pt x="5" y="27"/>
                  </a:lnTo>
                  <a:lnTo>
                    <a:pt x="5" y="25"/>
                  </a:lnTo>
                  <a:lnTo>
                    <a:pt x="7" y="25"/>
                  </a:lnTo>
                  <a:lnTo>
                    <a:pt x="7" y="23"/>
                  </a:lnTo>
                  <a:lnTo>
                    <a:pt x="9" y="23"/>
                  </a:lnTo>
                  <a:lnTo>
                    <a:pt x="9" y="21"/>
                  </a:lnTo>
                  <a:lnTo>
                    <a:pt x="9" y="19"/>
                  </a:lnTo>
                  <a:lnTo>
                    <a:pt x="11" y="19"/>
                  </a:lnTo>
                  <a:lnTo>
                    <a:pt x="13" y="19"/>
                  </a:lnTo>
                  <a:lnTo>
                    <a:pt x="13" y="17"/>
                  </a:lnTo>
                  <a:lnTo>
                    <a:pt x="15" y="17"/>
                  </a:lnTo>
                  <a:lnTo>
                    <a:pt x="15" y="15"/>
                  </a:lnTo>
                  <a:lnTo>
                    <a:pt x="17" y="15"/>
                  </a:lnTo>
                  <a:lnTo>
                    <a:pt x="17" y="17"/>
                  </a:lnTo>
                  <a:lnTo>
                    <a:pt x="15" y="17"/>
                  </a:lnTo>
                  <a:lnTo>
                    <a:pt x="15" y="19"/>
                  </a:lnTo>
                  <a:lnTo>
                    <a:pt x="17" y="19"/>
                  </a:lnTo>
                  <a:lnTo>
                    <a:pt x="17" y="21"/>
                  </a:lnTo>
                  <a:lnTo>
                    <a:pt x="19" y="21"/>
                  </a:lnTo>
                  <a:lnTo>
                    <a:pt x="21" y="21"/>
                  </a:lnTo>
                  <a:lnTo>
                    <a:pt x="21" y="19"/>
                  </a:lnTo>
                  <a:lnTo>
                    <a:pt x="21" y="21"/>
                  </a:lnTo>
                  <a:lnTo>
                    <a:pt x="23" y="21"/>
                  </a:lnTo>
                  <a:lnTo>
                    <a:pt x="25" y="21"/>
                  </a:lnTo>
                  <a:lnTo>
                    <a:pt x="25" y="19"/>
                  </a:lnTo>
                  <a:lnTo>
                    <a:pt x="25" y="17"/>
                  </a:lnTo>
                  <a:lnTo>
                    <a:pt x="25" y="15"/>
                  </a:lnTo>
                  <a:lnTo>
                    <a:pt x="25" y="13"/>
                  </a:lnTo>
                  <a:lnTo>
                    <a:pt x="25" y="11"/>
                  </a:lnTo>
                  <a:lnTo>
                    <a:pt x="25" y="9"/>
                  </a:lnTo>
                  <a:lnTo>
                    <a:pt x="23" y="9"/>
                  </a:lnTo>
                  <a:lnTo>
                    <a:pt x="23" y="7"/>
                  </a:lnTo>
                  <a:lnTo>
                    <a:pt x="21" y="7"/>
                  </a:lnTo>
                  <a:lnTo>
                    <a:pt x="21" y="6"/>
                  </a:lnTo>
                  <a:lnTo>
                    <a:pt x="23" y="6"/>
                  </a:lnTo>
                  <a:lnTo>
                    <a:pt x="21" y="6"/>
                  </a:lnTo>
                  <a:lnTo>
                    <a:pt x="21" y="4"/>
                  </a:lnTo>
                  <a:lnTo>
                    <a:pt x="23" y="4"/>
                  </a:lnTo>
                  <a:lnTo>
                    <a:pt x="23" y="2"/>
                  </a:lnTo>
                  <a:lnTo>
                    <a:pt x="23" y="0"/>
                  </a:lnTo>
                  <a:lnTo>
                    <a:pt x="25" y="0"/>
                  </a:lnTo>
                  <a:lnTo>
                    <a:pt x="25" y="2"/>
                  </a:lnTo>
                  <a:lnTo>
                    <a:pt x="26" y="2"/>
                  </a:lnTo>
                  <a:lnTo>
                    <a:pt x="28" y="2"/>
                  </a:lnTo>
                  <a:lnTo>
                    <a:pt x="30" y="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 name="Freeform 415">
              <a:extLst>
                <a:ext uri="{FF2B5EF4-FFF2-40B4-BE49-F238E27FC236}">
                  <a16:creationId xmlns:a16="http://schemas.microsoft.com/office/drawing/2014/main" id="{3E6CED4D-3CD1-42AB-9EAC-64DB7925FFFB}"/>
                </a:ext>
              </a:extLst>
            </p:cNvPr>
            <p:cNvSpPr>
              <a:spLocks noEditPoints="1"/>
            </p:cNvSpPr>
            <p:nvPr/>
          </p:nvSpPr>
          <p:spPr bwMode="gray">
            <a:xfrm>
              <a:off x="4862645" y="3831840"/>
              <a:ext cx="160656" cy="363007"/>
            </a:xfrm>
            <a:custGeom>
              <a:avLst/>
              <a:gdLst>
                <a:gd name="T0" fmla="*/ 112 w 131"/>
                <a:gd name="T1" fmla="*/ 132 h 296"/>
                <a:gd name="T2" fmla="*/ 85 w 131"/>
                <a:gd name="T3" fmla="*/ 142 h 296"/>
                <a:gd name="T4" fmla="*/ 79 w 131"/>
                <a:gd name="T5" fmla="*/ 165 h 296"/>
                <a:gd name="T6" fmla="*/ 93 w 131"/>
                <a:gd name="T7" fmla="*/ 188 h 296"/>
                <a:gd name="T8" fmla="*/ 89 w 131"/>
                <a:gd name="T9" fmla="*/ 209 h 296"/>
                <a:gd name="T10" fmla="*/ 102 w 131"/>
                <a:gd name="T11" fmla="*/ 248 h 296"/>
                <a:gd name="T12" fmla="*/ 96 w 131"/>
                <a:gd name="T13" fmla="*/ 278 h 296"/>
                <a:gd name="T14" fmla="*/ 96 w 131"/>
                <a:gd name="T15" fmla="*/ 276 h 296"/>
                <a:gd name="T16" fmla="*/ 98 w 131"/>
                <a:gd name="T17" fmla="*/ 265 h 296"/>
                <a:gd name="T18" fmla="*/ 94 w 131"/>
                <a:gd name="T19" fmla="*/ 259 h 296"/>
                <a:gd name="T20" fmla="*/ 94 w 131"/>
                <a:gd name="T21" fmla="*/ 250 h 296"/>
                <a:gd name="T22" fmla="*/ 93 w 131"/>
                <a:gd name="T23" fmla="*/ 238 h 296"/>
                <a:gd name="T24" fmla="*/ 85 w 131"/>
                <a:gd name="T25" fmla="*/ 225 h 296"/>
                <a:gd name="T26" fmla="*/ 83 w 131"/>
                <a:gd name="T27" fmla="*/ 213 h 296"/>
                <a:gd name="T28" fmla="*/ 79 w 131"/>
                <a:gd name="T29" fmla="*/ 192 h 296"/>
                <a:gd name="T30" fmla="*/ 68 w 131"/>
                <a:gd name="T31" fmla="*/ 182 h 296"/>
                <a:gd name="T32" fmla="*/ 56 w 131"/>
                <a:gd name="T33" fmla="*/ 196 h 296"/>
                <a:gd name="T34" fmla="*/ 41 w 131"/>
                <a:gd name="T35" fmla="*/ 200 h 296"/>
                <a:gd name="T36" fmla="*/ 37 w 131"/>
                <a:gd name="T37" fmla="*/ 194 h 296"/>
                <a:gd name="T38" fmla="*/ 33 w 131"/>
                <a:gd name="T39" fmla="*/ 184 h 296"/>
                <a:gd name="T40" fmla="*/ 33 w 131"/>
                <a:gd name="T41" fmla="*/ 167 h 296"/>
                <a:gd name="T42" fmla="*/ 25 w 131"/>
                <a:gd name="T43" fmla="*/ 146 h 296"/>
                <a:gd name="T44" fmla="*/ 18 w 131"/>
                <a:gd name="T45" fmla="*/ 136 h 296"/>
                <a:gd name="T46" fmla="*/ 4 w 131"/>
                <a:gd name="T47" fmla="*/ 129 h 296"/>
                <a:gd name="T48" fmla="*/ 6 w 131"/>
                <a:gd name="T49" fmla="*/ 109 h 296"/>
                <a:gd name="T50" fmla="*/ 16 w 131"/>
                <a:gd name="T51" fmla="*/ 90 h 296"/>
                <a:gd name="T52" fmla="*/ 31 w 131"/>
                <a:gd name="T53" fmla="*/ 69 h 296"/>
                <a:gd name="T54" fmla="*/ 43 w 131"/>
                <a:gd name="T55" fmla="*/ 32 h 296"/>
                <a:gd name="T56" fmla="*/ 71 w 131"/>
                <a:gd name="T57" fmla="*/ 23 h 296"/>
                <a:gd name="T58" fmla="*/ 79 w 131"/>
                <a:gd name="T59" fmla="*/ 2 h 296"/>
                <a:gd name="T60" fmla="*/ 94 w 131"/>
                <a:gd name="T61" fmla="*/ 15 h 296"/>
                <a:gd name="T62" fmla="*/ 94 w 131"/>
                <a:gd name="T63" fmla="*/ 44 h 296"/>
                <a:gd name="T64" fmla="*/ 81 w 131"/>
                <a:gd name="T65" fmla="*/ 71 h 296"/>
                <a:gd name="T66" fmla="*/ 94 w 131"/>
                <a:gd name="T67" fmla="*/ 79 h 296"/>
                <a:gd name="T68" fmla="*/ 104 w 131"/>
                <a:gd name="T69" fmla="*/ 105 h 296"/>
                <a:gd name="T70" fmla="*/ 118 w 131"/>
                <a:gd name="T71" fmla="*/ 113 h 296"/>
                <a:gd name="T72" fmla="*/ 27 w 131"/>
                <a:gd name="T73" fmla="*/ 154 h 296"/>
                <a:gd name="T74" fmla="*/ 91 w 131"/>
                <a:gd name="T75" fmla="*/ 255 h 296"/>
                <a:gd name="T76" fmla="*/ 23 w 131"/>
                <a:gd name="T77" fmla="*/ 148 h 296"/>
                <a:gd name="T78" fmla="*/ 77 w 131"/>
                <a:gd name="T79" fmla="*/ 196 h 296"/>
                <a:gd name="T80" fmla="*/ 94 w 131"/>
                <a:gd name="T81" fmla="*/ 263 h 296"/>
                <a:gd name="T82" fmla="*/ 45 w 131"/>
                <a:gd name="T83" fmla="*/ 202 h 296"/>
                <a:gd name="T84" fmla="*/ 89 w 131"/>
                <a:gd name="T85" fmla="*/ 244 h 296"/>
                <a:gd name="T86" fmla="*/ 87 w 131"/>
                <a:gd name="T87" fmla="*/ 265 h 296"/>
                <a:gd name="T88" fmla="*/ 14 w 131"/>
                <a:gd name="T89" fmla="*/ 136 h 296"/>
                <a:gd name="T90" fmla="*/ 20 w 131"/>
                <a:gd name="T91" fmla="*/ 142 h 296"/>
                <a:gd name="T92" fmla="*/ 79 w 131"/>
                <a:gd name="T93" fmla="*/ 194 h 296"/>
                <a:gd name="T94" fmla="*/ 25 w 131"/>
                <a:gd name="T95" fmla="*/ 155 h 296"/>
                <a:gd name="T96" fmla="*/ 93 w 131"/>
                <a:gd name="T97" fmla="*/ 242 h 296"/>
                <a:gd name="T98" fmla="*/ 91 w 131"/>
                <a:gd name="T99" fmla="*/ 288 h 296"/>
                <a:gd name="T100" fmla="*/ 81 w 131"/>
                <a:gd name="T101" fmla="*/ 190 h 296"/>
                <a:gd name="T102" fmla="*/ 37 w 131"/>
                <a:gd name="T103" fmla="*/ 198 h 296"/>
                <a:gd name="T104" fmla="*/ 25 w 131"/>
                <a:gd name="T105" fmla="*/ 148 h 296"/>
                <a:gd name="T106" fmla="*/ 93 w 131"/>
                <a:gd name="T107" fmla="*/ 257 h 296"/>
                <a:gd name="T108" fmla="*/ 94 w 131"/>
                <a:gd name="T109" fmla="*/ 275 h 296"/>
                <a:gd name="T110" fmla="*/ 39 w 131"/>
                <a:gd name="T111" fmla="*/ 200 h 296"/>
                <a:gd name="T112" fmla="*/ 23 w 131"/>
                <a:gd name="T113" fmla="*/ 144 h 296"/>
                <a:gd name="T114" fmla="*/ 89 w 131"/>
                <a:gd name="T115" fmla="*/ 242 h 296"/>
                <a:gd name="T116" fmla="*/ 85 w 131"/>
                <a:gd name="T117" fmla="*/ 294 h 296"/>
                <a:gd name="T118" fmla="*/ 83 w 131"/>
                <a:gd name="T119" fmla="*/ 230 h 296"/>
                <a:gd name="T120" fmla="*/ 37 w 131"/>
                <a:gd name="T121" fmla="*/ 194 h 296"/>
                <a:gd name="T122" fmla="*/ 85 w 131"/>
                <a:gd name="T123" fmla="*/ 265 h 296"/>
                <a:gd name="T124" fmla="*/ 85 w 131"/>
                <a:gd name="T125" fmla="*/ 29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296">
                  <a:moveTo>
                    <a:pt x="131" y="113"/>
                  </a:moveTo>
                  <a:lnTo>
                    <a:pt x="131" y="115"/>
                  </a:lnTo>
                  <a:lnTo>
                    <a:pt x="129" y="115"/>
                  </a:lnTo>
                  <a:lnTo>
                    <a:pt x="129" y="117"/>
                  </a:lnTo>
                  <a:lnTo>
                    <a:pt x="127" y="117"/>
                  </a:lnTo>
                  <a:lnTo>
                    <a:pt x="125" y="117"/>
                  </a:lnTo>
                  <a:lnTo>
                    <a:pt x="125" y="119"/>
                  </a:lnTo>
                  <a:lnTo>
                    <a:pt x="125" y="121"/>
                  </a:lnTo>
                  <a:lnTo>
                    <a:pt x="123" y="121"/>
                  </a:lnTo>
                  <a:lnTo>
                    <a:pt x="123" y="123"/>
                  </a:lnTo>
                  <a:lnTo>
                    <a:pt x="121" y="123"/>
                  </a:lnTo>
                  <a:lnTo>
                    <a:pt x="121" y="125"/>
                  </a:lnTo>
                  <a:lnTo>
                    <a:pt x="123" y="125"/>
                  </a:lnTo>
                  <a:lnTo>
                    <a:pt x="123" y="123"/>
                  </a:lnTo>
                  <a:lnTo>
                    <a:pt x="123" y="125"/>
                  </a:lnTo>
                  <a:lnTo>
                    <a:pt x="121" y="125"/>
                  </a:lnTo>
                  <a:lnTo>
                    <a:pt x="119" y="125"/>
                  </a:lnTo>
                  <a:lnTo>
                    <a:pt x="119" y="127"/>
                  </a:lnTo>
                  <a:lnTo>
                    <a:pt x="118" y="127"/>
                  </a:lnTo>
                  <a:lnTo>
                    <a:pt x="118" y="129"/>
                  </a:lnTo>
                  <a:lnTo>
                    <a:pt x="118" y="130"/>
                  </a:lnTo>
                  <a:lnTo>
                    <a:pt x="116" y="130"/>
                  </a:lnTo>
                  <a:lnTo>
                    <a:pt x="116" y="132"/>
                  </a:lnTo>
                  <a:lnTo>
                    <a:pt x="116" y="130"/>
                  </a:lnTo>
                  <a:lnTo>
                    <a:pt x="116" y="132"/>
                  </a:lnTo>
                  <a:lnTo>
                    <a:pt x="116" y="130"/>
                  </a:lnTo>
                  <a:lnTo>
                    <a:pt x="116" y="132"/>
                  </a:lnTo>
                  <a:lnTo>
                    <a:pt x="116" y="130"/>
                  </a:lnTo>
                  <a:lnTo>
                    <a:pt x="114" y="130"/>
                  </a:lnTo>
                  <a:lnTo>
                    <a:pt x="112" y="130"/>
                  </a:lnTo>
                  <a:lnTo>
                    <a:pt x="112" y="132"/>
                  </a:lnTo>
                  <a:lnTo>
                    <a:pt x="110" y="132"/>
                  </a:lnTo>
                  <a:lnTo>
                    <a:pt x="108" y="132"/>
                  </a:lnTo>
                  <a:lnTo>
                    <a:pt x="106" y="132"/>
                  </a:lnTo>
                  <a:lnTo>
                    <a:pt x="108" y="132"/>
                  </a:lnTo>
                  <a:lnTo>
                    <a:pt x="108" y="134"/>
                  </a:lnTo>
                  <a:lnTo>
                    <a:pt x="108" y="136"/>
                  </a:lnTo>
                  <a:lnTo>
                    <a:pt x="108" y="134"/>
                  </a:lnTo>
                  <a:lnTo>
                    <a:pt x="108" y="136"/>
                  </a:lnTo>
                  <a:lnTo>
                    <a:pt x="106" y="136"/>
                  </a:lnTo>
                  <a:lnTo>
                    <a:pt x="104" y="136"/>
                  </a:lnTo>
                  <a:lnTo>
                    <a:pt x="102" y="136"/>
                  </a:lnTo>
                  <a:lnTo>
                    <a:pt x="100" y="136"/>
                  </a:lnTo>
                  <a:lnTo>
                    <a:pt x="100" y="138"/>
                  </a:lnTo>
                  <a:lnTo>
                    <a:pt x="100" y="140"/>
                  </a:lnTo>
                  <a:lnTo>
                    <a:pt x="100" y="142"/>
                  </a:lnTo>
                  <a:lnTo>
                    <a:pt x="98" y="142"/>
                  </a:lnTo>
                  <a:lnTo>
                    <a:pt x="98" y="140"/>
                  </a:lnTo>
                  <a:lnTo>
                    <a:pt x="96" y="140"/>
                  </a:lnTo>
                  <a:lnTo>
                    <a:pt x="96" y="142"/>
                  </a:lnTo>
                  <a:lnTo>
                    <a:pt x="94" y="142"/>
                  </a:lnTo>
                  <a:lnTo>
                    <a:pt x="93" y="142"/>
                  </a:lnTo>
                  <a:lnTo>
                    <a:pt x="91" y="142"/>
                  </a:lnTo>
                  <a:lnTo>
                    <a:pt x="89" y="142"/>
                  </a:lnTo>
                  <a:lnTo>
                    <a:pt x="87" y="142"/>
                  </a:lnTo>
                  <a:lnTo>
                    <a:pt x="87" y="140"/>
                  </a:lnTo>
                  <a:lnTo>
                    <a:pt x="87" y="142"/>
                  </a:lnTo>
                  <a:lnTo>
                    <a:pt x="87" y="140"/>
                  </a:lnTo>
                  <a:lnTo>
                    <a:pt x="85" y="140"/>
                  </a:lnTo>
                  <a:lnTo>
                    <a:pt x="87" y="140"/>
                  </a:lnTo>
                  <a:lnTo>
                    <a:pt x="85" y="140"/>
                  </a:lnTo>
                  <a:lnTo>
                    <a:pt x="85" y="142"/>
                  </a:lnTo>
                  <a:lnTo>
                    <a:pt x="87" y="142"/>
                  </a:lnTo>
                  <a:lnTo>
                    <a:pt x="85" y="142"/>
                  </a:lnTo>
                  <a:lnTo>
                    <a:pt x="87" y="142"/>
                  </a:lnTo>
                  <a:lnTo>
                    <a:pt x="87" y="144"/>
                  </a:lnTo>
                  <a:lnTo>
                    <a:pt x="85" y="144"/>
                  </a:lnTo>
                  <a:lnTo>
                    <a:pt x="83" y="144"/>
                  </a:lnTo>
                  <a:lnTo>
                    <a:pt x="83" y="146"/>
                  </a:lnTo>
                  <a:lnTo>
                    <a:pt x="83" y="148"/>
                  </a:lnTo>
                  <a:lnTo>
                    <a:pt x="83" y="150"/>
                  </a:lnTo>
                  <a:lnTo>
                    <a:pt x="83" y="148"/>
                  </a:lnTo>
                  <a:lnTo>
                    <a:pt x="83" y="150"/>
                  </a:lnTo>
                  <a:lnTo>
                    <a:pt x="83" y="152"/>
                  </a:lnTo>
                  <a:lnTo>
                    <a:pt x="81" y="152"/>
                  </a:lnTo>
                  <a:lnTo>
                    <a:pt x="81" y="154"/>
                  </a:lnTo>
                  <a:lnTo>
                    <a:pt x="81" y="155"/>
                  </a:lnTo>
                  <a:lnTo>
                    <a:pt x="81" y="157"/>
                  </a:lnTo>
                  <a:lnTo>
                    <a:pt x="81" y="159"/>
                  </a:lnTo>
                  <a:lnTo>
                    <a:pt x="79" y="159"/>
                  </a:lnTo>
                  <a:lnTo>
                    <a:pt x="79" y="161"/>
                  </a:lnTo>
                  <a:lnTo>
                    <a:pt x="79" y="159"/>
                  </a:lnTo>
                  <a:lnTo>
                    <a:pt x="79" y="161"/>
                  </a:lnTo>
                  <a:lnTo>
                    <a:pt x="77" y="161"/>
                  </a:lnTo>
                  <a:lnTo>
                    <a:pt x="77" y="159"/>
                  </a:lnTo>
                  <a:lnTo>
                    <a:pt x="75" y="159"/>
                  </a:lnTo>
                  <a:lnTo>
                    <a:pt x="75" y="161"/>
                  </a:lnTo>
                  <a:lnTo>
                    <a:pt x="77" y="161"/>
                  </a:lnTo>
                  <a:lnTo>
                    <a:pt x="77" y="163"/>
                  </a:lnTo>
                  <a:lnTo>
                    <a:pt x="77" y="165"/>
                  </a:lnTo>
                  <a:lnTo>
                    <a:pt x="79" y="165"/>
                  </a:lnTo>
                  <a:lnTo>
                    <a:pt x="79" y="163"/>
                  </a:lnTo>
                  <a:lnTo>
                    <a:pt x="79" y="165"/>
                  </a:lnTo>
                  <a:lnTo>
                    <a:pt x="81" y="165"/>
                  </a:lnTo>
                  <a:lnTo>
                    <a:pt x="81" y="167"/>
                  </a:lnTo>
                  <a:lnTo>
                    <a:pt x="81" y="169"/>
                  </a:lnTo>
                  <a:lnTo>
                    <a:pt x="81" y="171"/>
                  </a:lnTo>
                  <a:lnTo>
                    <a:pt x="81" y="173"/>
                  </a:lnTo>
                  <a:lnTo>
                    <a:pt x="83" y="173"/>
                  </a:lnTo>
                  <a:lnTo>
                    <a:pt x="83" y="175"/>
                  </a:lnTo>
                  <a:lnTo>
                    <a:pt x="85" y="175"/>
                  </a:lnTo>
                  <a:lnTo>
                    <a:pt x="85" y="177"/>
                  </a:lnTo>
                  <a:lnTo>
                    <a:pt x="87" y="177"/>
                  </a:lnTo>
                  <a:lnTo>
                    <a:pt x="87" y="178"/>
                  </a:lnTo>
                  <a:lnTo>
                    <a:pt x="87" y="180"/>
                  </a:lnTo>
                  <a:lnTo>
                    <a:pt x="87" y="178"/>
                  </a:lnTo>
                  <a:lnTo>
                    <a:pt x="87" y="180"/>
                  </a:lnTo>
                  <a:lnTo>
                    <a:pt x="89" y="180"/>
                  </a:lnTo>
                  <a:lnTo>
                    <a:pt x="89" y="182"/>
                  </a:lnTo>
                  <a:lnTo>
                    <a:pt x="91" y="182"/>
                  </a:lnTo>
                  <a:lnTo>
                    <a:pt x="89" y="182"/>
                  </a:lnTo>
                  <a:lnTo>
                    <a:pt x="91" y="182"/>
                  </a:lnTo>
                  <a:lnTo>
                    <a:pt x="89" y="182"/>
                  </a:lnTo>
                  <a:lnTo>
                    <a:pt x="91" y="182"/>
                  </a:lnTo>
                  <a:lnTo>
                    <a:pt x="91" y="184"/>
                  </a:lnTo>
                  <a:lnTo>
                    <a:pt x="93" y="184"/>
                  </a:lnTo>
                  <a:lnTo>
                    <a:pt x="91" y="184"/>
                  </a:lnTo>
                  <a:lnTo>
                    <a:pt x="93" y="184"/>
                  </a:lnTo>
                  <a:lnTo>
                    <a:pt x="93" y="186"/>
                  </a:lnTo>
                  <a:lnTo>
                    <a:pt x="93" y="184"/>
                  </a:lnTo>
                  <a:lnTo>
                    <a:pt x="93" y="186"/>
                  </a:lnTo>
                  <a:lnTo>
                    <a:pt x="93" y="188"/>
                  </a:lnTo>
                  <a:lnTo>
                    <a:pt x="93" y="186"/>
                  </a:lnTo>
                  <a:lnTo>
                    <a:pt x="93" y="188"/>
                  </a:lnTo>
                  <a:lnTo>
                    <a:pt x="93" y="186"/>
                  </a:lnTo>
                  <a:lnTo>
                    <a:pt x="93" y="188"/>
                  </a:lnTo>
                  <a:lnTo>
                    <a:pt x="93" y="190"/>
                  </a:lnTo>
                  <a:lnTo>
                    <a:pt x="94" y="190"/>
                  </a:lnTo>
                  <a:lnTo>
                    <a:pt x="94" y="192"/>
                  </a:lnTo>
                  <a:lnTo>
                    <a:pt x="94" y="194"/>
                  </a:lnTo>
                  <a:lnTo>
                    <a:pt x="94" y="196"/>
                  </a:lnTo>
                  <a:lnTo>
                    <a:pt x="96" y="196"/>
                  </a:lnTo>
                  <a:lnTo>
                    <a:pt x="94" y="196"/>
                  </a:lnTo>
                  <a:lnTo>
                    <a:pt x="96" y="196"/>
                  </a:lnTo>
                  <a:lnTo>
                    <a:pt x="96" y="194"/>
                  </a:lnTo>
                  <a:lnTo>
                    <a:pt x="98" y="194"/>
                  </a:lnTo>
                  <a:lnTo>
                    <a:pt x="98" y="192"/>
                  </a:lnTo>
                  <a:lnTo>
                    <a:pt x="98" y="194"/>
                  </a:lnTo>
                  <a:lnTo>
                    <a:pt x="98" y="196"/>
                  </a:lnTo>
                  <a:lnTo>
                    <a:pt x="98" y="198"/>
                  </a:lnTo>
                  <a:lnTo>
                    <a:pt x="96" y="198"/>
                  </a:lnTo>
                  <a:lnTo>
                    <a:pt x="94" y="198"/>
                  </a:lnTo>
                  <a:lnTo>
                    <a:pt x="94" y="200"/>
                  </a:lnTo>
                  <a:lnTo>
                    <a:pt x="94" y="202"/>
                  </a:lnTo>
                  <a:lnTo>
                    <a:pt x="94" y="203"/>
                  </a:lnTo>
                  <a:lnTo>
                    <a:pt x="93" y="203"/>
                  </a:lnTo>
                  <a:lnTo>
                    <a:pt x="93" y="205"/>
                  </a:lnTo>
                  <a:lnTo>
                    <a:pt x="94" y="205"/>
                  </a:lnTo>
                  <a:lnTo>
                    <a:pt x="93" y="205"/>
                  </a:lnTo>
                  <a:lnTo>
                    <a:pt x="94" y="205"/>
                  </a:lnTo>
                  <a:lnTo>
                    <a:pt x="94" y="207"/>
                  </a:lnTo>
                  <a:lnTo>
                    <a:pt x="94" y="209"/>
                  </a:lnTo>
                  <a:lnTo>
                    <a:pt x="93" y="209"/>
                  </a:lnTo>
                  <a:lnTo>
                    <a:pt x="91" y="209"/>
                  </a:lnTo>
                  <a:lnTo>
                    <a:pt x="89" y="209"/>
                  </a:lnTo>
                  <a:lnTo>
                    <a:pt x="91" y="209"/>
                  </a:lnTo>
                  <a:lnTo>
                    <a:pt x="89" y="209"/>
                  </a:lnTo>
                  <a:lnTo>
                    <a:pt x="91" y="209"/>
                  </a:lnTo>
                  <a:lnTo>
                    <a:pt x="91" y="211"/>
                  </a:lnTo>
                  <a:lnTo>
                    <a:pt x="89" y="211"/>
                  </a:lnTo>
                  <a:lnTo>
                    <a:pt x="89" y="213"/>
                  </a:lnTo>
                  <a:lnTo>
                    <a:pt x="89" y="215"/>
                  </a:lnTo>
                  <a:lnTo>
                    <a:pt x="89" y="217"/>
                  </a:lnTo>
                  <a:lnTo>
                    <a:pt x="89" y="219"/>
                  </a:lnTo>
                  <a:lnTo>
                    <a:pt x="91" y="219"/>
                  </a:lnTo>
                  <a:lnTo>
                    <a:pt x="91" y="221"/>
                  </a:lnTo>
                  <a:lnTo>
                    <a:pt x="93" y="221"/>
                  </a:lnTo>
                  <a:lnTo>
                    <a:pt x="93" y="223"/>
                  </a:lnTo>
                  <a:lnTo>
                    <a:pt x="94" y="223"/>
                  </a:lnTo>
                  <a:lnTo>
                    <a:pt x="94" y="225"/>
                  </a:lnTo>
                  <a:lnTo>
                    <a:pt x="96" y="225"/>
                  </a:lnTo>
                  <a:lnTo>
                    <a:pt x="96" y="226"/>
                  </a:lnTo>
                  <a:lnTo>
                    <a:pt x="98" y="226"/>
                  </a:lnTo>
                  <a:lnTo>
                    <a:pt x="98" y="228"/>
                  </a:lnTo>
                  <a:lnTo>
                    <a:pt x="100" y="228"/>
                  </a:lnTo>
                  <a:lnTo>
                    <a:pt x="100" y="230"/>
                  </a:lnTo>
                  <a:lnTo>
                    <a:pt x="102" y="230"/>
                  </a:lnTo>
                  <a:lnTo>
                    <a:pt x="102" y="232"/>
                  </a:lnTo>
                  <a:lnTo>
                    <a:pt x="102" y="234"/>
                  </a:lnTo>
                  <a:lnTo>
                    <a:pt x="102" y="236"/>
                  </a:lnTo>
                  <a:lnTo>
                    <a:pt x="102" y="238"/>
                  </a:lnTo>
                  <a:lnTo>
                    <a:pt x="102" y="240"/>
                  </a:lnTo>
                  <a:lnTo>
                    <a:pt x="102" y="242"/>
                  </a:lnTo>
                  <a:lnTo>
                    <a:pt x="102" y="244"/>
                  </a:lnTo>
                  <a:lnTo>
                    <a:pt x="102" y="246"/>
                  </a:lnTo>
                  <a:lnTo>
                    <a:pt x="102" y="248"/>
                  </a:lnTo>
                  <a:lnTo>
                    <a:pt x="104" y="248"/>
                  </a:lnTo>
                  <a:lnTo>
                    <a:pt x="104" y="250"/>
                  </a:lnTo>
                  <a:lnTo>
                    <a:pt x="106" y="250"/>
                  </a:lnTo>
                  <a:lnTo>
                    <a:pt x="106" y="251"/>
                  </a:lnTo>
                  <a:lnTo>
                    <a:pt x="106" y="253"/>
                  </a:lnTo>
                  <a:lnTo>
                    <a:pt x="106" y="255"/>
                  </a:lnTo>
                  <a:lnTo>
                    <a:pt x="108" y="255"/>
                  </a:lnTo>
                  <a:lnTo>
                    <a:pt x="106" y="255"/>
                  </a:lnTo>
                  <a:lnTo>
                    <a:pt x="108" y="255"/>
                  </a:lnTo>
                  <a:lnTo>
                    <a:pt x="108" y="257"/>
                  </a:lnTo>
                  <a:lnTo>
                    <a:pt x="106" y="257"/>
                  </a:lnTo>
                  <a:lnTo>
                    <a:pt x="108" y="257"/>
                  </a:lnTo>
                  <a:lnTo>
                    <a:pt x="108" y="259"/>
                  </a:lnTo>
                  <a:lnTo>
                    <a:pt x="108" y="261"/>
                  </a:lnTo>
                  <a:lnTo>
                    <a:pt x="110" y="261"/>
                  </a:lnTo>
                  <a:lnTo>
                    <a:pt x="110" y="263"/>
                  </a:lnTo>
                  <a:lnTo>
                    <a:pt x="108" y="263"/>
                  </a:lnTo>
                  <a:lnTo>
                    <a:pt x="108" y="265"/>
                  </a:lnTo>
                  <a:lnTo>
                    <a:pt x="106" y="265"/>
                  </a:lnTo>
                  <a:lnTo>
                    <a:pt x="106" y="267"/>
                  </a:lnTo>
                  <a:lnTo>
                    <a:pt x="106" y="269"/>
                  </a:lnTo>
                  <a:lnTo>
                    <a:pt x="104" y="269"/>
                  </a:lnTo>
                  <a:lnTo>
                    <a:pt x="104" y="271"/>
                  </a:lnTo>
                  <a:lnTo>
                    <a:pt x="104" y="273"/>
                  </a:lnTo>
                  <a:lnTo>
                    <a:pt x="102" y="273"/>
                  </a:lnTo>
                  <a:lnTo>
                    <a:pt x="102" y="275"/>
                  </a:lnTo>
                  <a:lnTo>
                    <a:pt x="100" y="275"/>
                  </a:lnTo>
                  <a:lnTo>
                    <a:pt x="100" y="276"/>
                  </a:lnTo>
                  <a:lnTo>
                    <a:pt x="98" y="276"/>
                  </a:lnTo>
                  <a:lnTo>
                    <a:pt x="98" y="278"/>
                  </a:lnTo>
                  <a:lnTo>
                    <a:pt x="96" y="278"/>
                  </a:lnTo>
                  <a:lnTo>
                    <a:pt x="96" y="280"/>
                  </a:lnTo>
                  <a:lnTo>
                    <a:pt x="96" y="282"/>
                  </a:lnTo>
                  <a:lnTo>
                    <a:pt x="96" y="284"/>
                  </a:lnTo>
                  <a:lnTo>
                    <a:pt x="96" y="286"/>
                  </a:lnTo>
                  <a:lnTo>
                    <a:pt x="96" y="284"/>
                  </a:lnTo>
                  <a:lnTo>
                    <a:pt x="96" y="286"/>
                  </a:lnTo>
                  <a:lnTo>
                    <a:pt x="94" y="286"/>
                  </a:lnTo>
                  <a:lnTo>
                    <a:pt x="94" y="284"/>
                  </a:lnTo>
                  <a:lnTo>
                    <a:pt x="94" y="286"/>
                  </a:lnTo>
                  <a:lnTo>
                    <a:pt x="96" y="286"/>
                  </a:lnTo>
                  <a:lnTo>
                    <a:pt x="94" y="286"/>
                  </a:lnTo>
                  <a:lnTo>
                    <a:pt x="94" y="288"/>
                  </a:lnTo>
                  <a:lnTo>
                    <a:pt x="94" y="290"/>
                  </a:lnTo>
                  <a:lnTo>
                    <a:pt x="93" y="290"/>
                  </a:lnTo>
                  <a:lnTo>
                    <a:pt x="93" y="288"/>
                  </a:lnTo>
                  <a:lnTo>
                    <a:pt x="93" y="286"/>
                  </a:lnTo>
                  <a:lnTo>
                    <a:pt x="93" y="284"/>
                  </a:lnTo>
                  <a:lnTo>
                    <a:pt x="93" y="282"/>
                  </a:lnTo>
                  <a:lnTo>
                    <a:pt x="93" y="280"/>
                  </a:lnTo>
                  <a:lnTo>
                    <a:pt x="93" y="282"/>
                  </a:lnTo>
                  <a:lnTo>
                    <a:pt x="93" y="280"/>
                  </a:lnTo>
                  <a:lnTo>
                    <a:pt x="93" y="278"/>
                  </a:lnTo>
                  <a:lnTo>
                    <a:pt x="93" y="280"/>
                  </a:lnTo>
                  <a:lnTo>
                    <a:pt x="93" y="278"/>
                  </a:lnTo>
                  <a:lnTo>
                    <a:pt x="94" y="278"/>
                  </a:lnTo>
                  <a:lnTo>
                    <a:pt x="93" y="278"/>
                  </a:lnTo>
                  <a:lnTo>
                    <a:pt x="94" y="278"/>
                  </a:lnTo>
                  <a:lnTo>
                    <a:pt x="94" y="276"/>
                  </a:lnTo>
                  <a:lnTo>
                    <a:pt x="94" y="278"/>
                  </a:lnTo>
                  <a:lnTo>
                    <a:pt x="94" y="276"/>
                  </a:lnTo>
                  <a:lnTo>
                    <a:pt x="96" y="276"/>
                  </a:lnTo>
                  <a:lnTo>
                    <a:pt x="94" y="276"/>
                  </a:lnTo>
                  <a:lnTo>
                    <a:pt x="96" y="276"/>
                  </a:lnTo>
                  <a:lnTo>
                    <a:pt x="94" y="276"/>
                  </a:lnTo>
                  <a:lnTo>
                    <a:pt x="96" y="276"/>
                  </a:lnTo>
                  <a:lnTo>
                    <a:pt x="94" y="276"/>
                  </a:lnTo>
                  <a:lnTo>
                    <a:pt x="96" y="276"/>
                  </a:lnTo>
                  <a:lnTo>
                    <a:pt x="96" y="275"/>
                  </a:lnTo>
                  <a:lnTo>
                    <a:pt x="96" y="276"/>
                  </a:lnTo>
                  <a:lnTo>
                    <a:pt x="96" y="275"/>
                  </a:lnTo>
                  <a:lnTo>
                    <a:pt x="96" y="276"/>
                  </a:lnTo>
                  <a:lnTo>
                    <a:pt x="96" y="275"/>
                  </a:lnTo>
                  <a:lnTo>
                    <a:pt x="94" y="275"/>
                  </a:lnTo>
                  <a:lnTo>
                    <a:pt x="96" y="275"/>
                  </a:lnTo>
                  <a:lnTo>
                    <a:pt x="96" y="273"/>
                  </a:lnTo>
                  <a:lnTo>
                    <a:pt x="94" y="273"/>
                  </a:lnTo>
                  <a:lnTo>
                    <a:pt x="96" y="273"/>
                  </a:lnTo>
                  <a:lnTo>
                    <a:pt x="96" y="271"/>
                  </a:lnTo>
                  <a:lnTo>
                    <a:pt x="96" y="269"/>
                  </a:lnTo>
                  <a:lnTo>
                    <a:pt x="94" y="269"/>
                  </a:lnTo>
                  <a:lnTo>
                    <a:pt x="96" y="269"/>
                  </a:lnTo>
                  <a:lnTo>
                    <a:pt x="96" y="267"/>
                  </a:lnTo>
                  <a:lnTo>
                    <a:pt x="96" y="269"/>
                  </a:lnTo>
                  <a:lnTo>
                    <a:pt x="98" y="269"/>
                  </a:lnTo>
                  <a:lnTo>
                    <a:pt x="96" y="269"/>
                  </a:lnTo>
                  <a:lnTo>
                    <a:pt x="96" y="267"/>
                  </a:lnTo>
                  <a:lnTo>
                    <a:pt x="96" y="265"/>
                  </a:lnTo>
                  <a:lnTo>
                    <a:pt x="96" y="267"/>
                  </a:lnTo>
                  <a:lnTo>
                    <a:pt x="96" y="265"/>
                  </a:lnTo>
                  <a:lnTo>
                    <a:pt x="96" y="267"/>
                  </a:lnTo>
                  <a:lnTo>
                    <a:pt x="96" y="265"/>
                  </a:lnTo>
                  <a:lnTo>
                    <a:pt x="98" y="265"/>
                  </a:lnTo>
                  <a:lnTo>
                    <a:pt x="96" y="265"/>
                  </a:lnTo>
                  <a:lnTo>
                    <a:pt x="98" y="265"/>
                  </a:lnTo>
                  <a:lnTo>
                    <a:pt x="96" y="265"/>
                  </a:lnTo>
                  <a:lnTo>
                    <a:pt x="98" y="265"/>
                  </a:lnTo>
                  <a:lnTo>
                    <a:pt x="96" y="265"/>
                  </a:lnTo>
                  <a:lnTo>
                    <a:pt x="98" y="265"/>
                  </a:lnTo>
                  <a:lnTo>
                    <a:pt x="96" y="265"/>
                  </a:lnTo>
                  <a:lnTo>
                    <a:pt x="98" y="265"/>
                  </a:lnTo>
                  <a:lnTo>
                    <a:pt x="96" y="265"/>
                  </a:lnTo>
                  <a:lnTo>
                    <a:pt x="98" y="265"/>
                  </a:lnTo>
                  <a:lnTo>
                    <a:pt x="98" y="263"/>
                  </a:lnTo>
                  <a:lnTo>
                    <a:pt x="98" y="265"/>
                  </a:lnTo>
                  <a:lnTo>
                    <a:pt x="98" y="267"/>
                  </a:lnTo>
                  <a:lnTo>
                    <a:pt x="98" y="265"/>
                  </a:lnTo>
                  <a:lnTo>
                    <a:pt x="100" y="265"/>
                  </a:lnTo>
                  <a:lnTo>
                    <a:pt x="100" y="267"/>
                  </a:lnTo>
                  <a:lnTo>
                    <a:pt x="100" y="265"/>
                  </a:lnTo>
                  <a:lnTo>
                    <a:pt x="98" y="265"/>
                  </a:lnTo>
                  <a:lnTo>
                    <a:pt x="98" y="263"/>
                  </a:lnTo>
                  <a:lnTo>
                    <a:pt x="98" y="265"/>
                  </a:lnTo>
                  <a:lnTo>
                    <a:pt x="98" y="263"/>
                  </a:lnTo>
                  <a:lnTo>
                    <a:pt x="96" y="263"/>
                  </a:lnTo>
                  <a:lnTo>
                    <a:pt x="96" y="261"/>
                  </a:lnTo>
                  <a:lnTo>
                    <a:pt x="96" y="259"/>
                  </a:lnTo>
                  <a:lnTo>
                    <a:pt x="96" y="261"/>
                  </a:lnTo>
                  <a:lnTo>
                    <a:pt x="96" y="259"/>
                  </a:lnTo>
                  <a:lnTo>
                    <a:pt x="96" y="261"/>
                  </a:lnTo>
                  <a:lnTo>
                    <a:pt x="96" y="259"/>
                  </a:lnTo>
                  <a:lnTo>
                    <a:pt x="96" y="261"/>
                  </a:lnTo>
                  <a:lnTo>
                    <a:pt x="96" y="259"/>
                  </a:lnTo>
                  <a:lnTo>
                    <a:pt x="94" y="259"/>
                  </a:lnTo>
                  <a:lnTo>
                    <a:pt x="96" y="259"/>
                  </a:lnTo>
                  <a:lnTo>
                    <a:pt x="94" y="259"/>
                  </a:lnTo>
                  <a:lnTo>
                    <a:pt x="94" y="257"/>
                  </a:lnTo>
                  <a:lnTo>
                    <a:pt x="94" y="259"/>
                  </a:lnTo>
                  <a:lnTo>
                    <a:pt x="94" y="257"/>
                  </a:lnTo>
                  <a:lnTo>
                    <a:pt x="96" y="257"/>
                  </a:lnTo>
                  <a:lnTo>
                    <a:pt x="94" y="257"/>
                  </a:lnTo>
                  <a:lnTo>
                    <a:pt x="96" y="257"/>
                  </a:lnTo>
                  <a:lnTo>
                    <a:pt x="94" y="257"/>
                  </a:lnTo>
                  <a:lnTo>
                    <a:pt x="96" y="257"/>
                  </a:lnTo>
                  <a:lnTo>
                    <a:pt x="94" y="257"/>
                  </a:lnTo>
                  <a:lnTo>
                    <a:pt x="96" y="257"/>
                  </a:lnTo>
                  <a:lnTo>
                    <a:pt x="96" y="255"/>
                  </a:lnTo>
                  <a:lnTo>
                    <a:pt x="94" y="255"/>
                  </a:lnTo>
                  <a:lnTo>
                    <a:pt x="94" y="257"/>
                  </a:lnTo>
                  <a:lnTo>
                    <a:pt x="93" y="257"/>
                  </a:lnTo>
                  <a:lnTo>
                    <a:pt x="93" y="255"/>
                  </a:lnTo>
                  <a:lnTo>
                    <a:pt x="94" y="255"/>
                  </a:lnTo>
                  <a:lnTo>
                    <a:pt x="96" y="255"/>
                  </a:lnTo>
                  <a:lnTo>
                    <a:pt x="96" y="253"/>
                  </a:lnTo>
                  <a:lnTo>
                    <a:pt x="96" y="255"/>
                  </a:lnTo>
                  <a:lnTo>
                    <a:pt x="96" y="253"/>
                  </a:lnTo>
                  <a:lnTo>
                    <a:pt x="94" y="253"/>
                  </a:lnTo>
                  <a:lnTo>
                    <a:pt x="94" y="251"/>
                  </a:lnTo>
                  <a:lnTo>
                    <a:pt x="96" y="251"/>
                  </a:lnTo>
                  <a:lnTo>
                    <a:pt x="96" y="250"/>
                  </a:lnTo>
                  <a:lnTo>
                    <a:pt x="96" y="251"/>
                  </a:lnTo>
                  <a:lnTo>
                    <a:pt x="96" y="250"/>
                  </a:lnTo>
                  <a:lnTo>
                    <a:pt x="96" y="251"/>
                  </a:lnTo>
                  <a:lnTo>
                    <a:pt x="94" y="251"/>
                  </a:lnTo>
                  <a:lnTo>
                    <a:pt x="94" y="250"/>
                  </a:lnTo>
                  <a:lnTo>
                    <a:pt x="94" y="251"/>
                  </a:lnTo>
                  <a:lnTo>
                    <a:pt x="94" y="250"/>
                  </a:lnTo>
                  <a:lnTo>
                    <a:pt x="96" y="250"/>
                  </a:lnTo>
                  <a:lnTo>
                    <a:pt x="94" y="250"/>
                  </a:lnTo>
                  <a:lnTo>
                    <a:pt x="96" y="250"/>
                  </a:lnTo>
                  <a:lnTo>
                    <a:pt x="94" y="250"/>
                  </a:lnTo>
                  <a:lnTo>
                    <a:pt x="96" y="250"/>
                  </a:lnTo>
                  <a:lnTo>
                    <a:pt x="94" y="250"/>
                  </a:lnTo>
                  <a:lnTo>
                    <a:pt x="96" y="250"/>
                  </a:lnTo>
                  <a:lnTo>
                    <a:pt x="94" y="250"/>
                  </a:lnTo>
                  <a:lnTo>
                    <a:pt x="96" y="250"/>
                  </a:lnTo>
                  <a:lnTo>
                    <a:pt x="94" y="250"/>
                  </a:lnTo>
                  <a:lnTo>
                    <a:pt x="96" y="250"/>
                  </a:lnTo>
                  <a:lnTo>
                    <a:pt x="94" y="250"/>
                  </a:lnTo>
                  <a:lnTo>
                    <a:pt x="94" y="248"/>
                  </a:lnTo>
                  <a:lnTo>
                    <a:pt x="96" y="248"/>
                  </a:lnTo>
                  <a:lnTo>
                    <a:pt x="94" y="248"/>
                  </a:lnTo>
                  <a:lnTo>
                    <a:pt x="96" y="248"/>
                  </a:lnTo>
                  <a:lnTo>
                    <a:pt x="94" y="248"/>
                  </a:lnTo>
                  <a:lnTo>
                    <a:pt x="96" y="248"/>
                  </a:lnTo>
                  <a:lnTo>
                    <a:pt x="94" y="248"/>
                  </a:lnTo>
                  <a:lnTo>
                    <a:pt x="94" y="246"/>
                  </a:lnTo>
                  <a:lnTo>
                    <a:pt x="94" y="244"/>
                  </a:lnTo>
                  <a:lnTo>
                    <a:pt x="94" y="242"/>
                  </a:lnTo>
                  <a:lnTo>
                    <a:pt x="94" y="244"/>
                  </a:lnTo>
                  <a:lnTo>
                    <a:pt x="94" y="242"/>
                  </a:lnTo>
                  <a:lnTo>
                    <a:pt x="94" y="240"/>
                  </a:lnTo>
                  <a:lnTo>
                    <a:pt x="94" y="242"/>
                  </a:lnTo>
                  <a:lnTo>
                    <a:pt x="93" y="242"/>
                  </a:lnTo>
                  <a:lnTo>
                    <a:pt x="93" y="240"/>
                  </a:lnTo>
                  <a:lnTo>
                    <a:pt x="93" y="238"/>
                  </a:lnTo>
                  <a:lnTo>
                    <a:pt x="93" y="240"/>
                  </a:lnTo>
                  <a:lnTo>
                    <a:pt x="93" y="238"/>
                  </a:lnTo>
                  <a:lnTo>
                    <a:pt x="91" y="238"/>
                  </a:lnTo>
                  <a:lnTo>
                    <a:pt x="93" y="238"/>
                  </a:lnTo>
                  <a:lnTo>
                    <a:pt x="91" y="238"/>
                  </a:lnTo>
                  <a:lnTo>
                    <a:pt x="91" y="236"/>
                  </a:lnTo>
                  <a:lnTo>
                    <a:pt x="91" y="234"/>
                  </a:lnTo>
                  <a:lnTo>
                    <a:pt x="89" y="234"/>
                  </a:lnTo>
                  <a:lnTo>
                    <a:pt x="91" y="234"/>
                  </a:lnTo>
                  <a:lnTo>
                    <a:pt x="89" y="234"/>
                  </a:lnTo>
                  <a:lnTo>
                    <a:pt x="91" y="234"/>
                  </a:lnTo>
                  <a:lnTo>
                    <a:pt x="89" y="234"/>
                  </a:lnTo>
                  <a:lnTo>
                    <a:pt x="89" y="232"/>
                  </a:lnTo>
                  <a:lnTo>
                    <a:pt x="89" y="234"/>
                  </a:lnTo>
                  <a:lnTo>
                    <a:pt x="89" y="232"/>
                  </a:lnTo>
                  <a:lnTo>
                    <a:pt x="89" y="230"/>
                  </a:lnTo>
                  <a:lnTo>
                    <a:pt x="89" y="232"/>
                  </a:lnTo>
                  <a:lnTo>
                    <a:pt x="89" y="234"/>
                  </a:lnTo>
                  <a:lnTo>
                    <a:pt x="87" y="234"/>
                  </a:lnTo>
                  <a:lnTo>
                    <a:pt x="87" y="236"/>
                  </a:lnTo>
                  <a:lnTo>
                    <a:pt x="87" y="234"/>
                  </a:lnTo>
                  <a:lnTo>
                    <a:pt x="87" y="236"/>
                  </a:lnTo>
                  <a:lnTo>
                    <a:pt x="89" y="236"/>
                  </a:lnTo>
                  <a:lnTo>
                    <a:pt x="87" y="236"/>
                  </a:lnTo>
                  <a:lnTo>
                    <a:pt x="87" y="234"/>
                  </a:lnTo>
                  <a:lnTo>
                    <a:pt x="87" y="232"/>
                  </a:lnTo>
                  <a:lnTo>
                    <a:pt x="87" y="230"/>
                  </a:lnTo>
                  <a:lnTo>
                    <a:pt x="87" y="228"/>
                  </a:lnTo>
                  <a:lnTo>
                    <a:pt x="87" y="226"/>
                  </a:lnTo>
                  <a:lnTo>
                    <a:pt x="85" y="226"/>
                  </a:lnTo>
                  <a:lnTo>
                    <a:pt x="85" y="225"/>
                  </a:lnTo>
                  <a:lnTo>
                    <a:pt x="85" y="223"/>
                  </a:lnTo>
                  <a:lnTo>
                    <a:pt x="85" y="221"/>
                  </a:lnTo>
                  <a:lnTo>
                    <a:pt x="83" y="221"/>
                  </a:lnTo>
                  <a:lnTo>
                    <a:pt x="85" y="221"/>
                  </a:lnTo>
                  <a:lnTo>
                    <a:pt x="83" y="221"/>
                  </a:lnTo>
                  <a:lnTo>
                    <a:pt x="85" y="221"/>
                  </a:lnTo>
                  <a:lnTo>
                    <a:pt x="83" y="221"/>
                  </a:lnTo>
                  <a:lnTo>
                    <a:pt x="83" y="219"/>
                  </a:lnTo>
                  <a:lnTo>
                    <a:pt x="85" y="219"/>
                  </a:lnTo>
                  <a:lnTo>
                    <a:pt x="83" y="219"/>
                  </a:lnTo>
                  <a:lnTo>
                    <a:pt x="85" y="219"/>
                  </a:lnTo>
                  <a:lnTo>
                    <a:pt x="83" y="219"/>
                  </a:lnTo>
                  <a:lnTo>
                    <a:pt x="85" y="219"/>
                  </a:lnTo>
                  <a:lnTo>
                    <a:pt x="85" y="221"/>
                  </a:lnTo>
                  <a:lnTo>
                    <a:pt x="85" y="219"/>
                  </a:lnTo>
                  <a:lnTo>
                    <a:pt x="85" y="221"/>
                  </a:lnTo>
                  <a:lnTo>
                    <a:pt x="85" y="219"/>
                  </a:lnTo>
                  <a:lnTo>
                    <a:pt x="85" y="217"/>
                  </a:lnTo>
                  <a:lnTo>
                    <a:pt x="85" y="219"/>
                  </a:lnTo>
                  <a:lnTo>
                    <a:pt x="85" y="217"/>
                  </a:lnTo>
                  <a:lnTo>
                    <a:pt x="83" y="217"/>
                  </a:lnTo>
                  <a:lnTo>
                    <a:pt x="85" y="217"/>
                  </a:lnTo>
                  <a:lnTo>
                    <a:pt x="83" y="217"/>
                  </a:lnTo>
                  <a:lnTo>
                    <a:pt x="83" y="219"/>
                  </a:lnTo>
                  <a:lnTo>
                    <a:pt x="83" y="217"/>
                  </a:lnTo>
                  <a:lnTo>
                    <a:pt x="83" y="215"/>
                  </a:lnTo>
                  <a:lnTo>
                    <a:pt x="81" y="215"/>
                  </a:lnTo>
                  <a:lnTo>
                    <a:pt x="81" y="213"/>
                  </a:lnTo>
                  <a:lnTo>
                    <a:pt x="81" y="215"/>
                  </a:lnTo>
                  <a:lnTo>
                    <a:pt x="83" y="215"/>
                  </a:lnTo>
                  <a:lnTo>
                    <a:pt x="83" y="213"/>
                  </a:lnTo>
                  <a:lnTo>
                    <a:pt x="83" y="215"/>
                  </a:lnTo>
                  <a:lnTo>
                    <a:pt x="83" y="213"/>
                  </a:lnTo>
                  <a:lnTo>
                    <a:pt x="83" y="211"/>
                  </a:lnTo>
                  <a:lnTo>
                    <a:pt x="81" y="211"/>
                  </a:lnTo>
                  <a:lnTo>
                    <a:pt x="81" y="209"/>
                  </a:lnTo>
                  <a:lnTo>
                    <a:pt x="83" y="209"/>
                  </a:lnTo>
                  <a:lnTo>
                    <a:pt x="81" y="209"/>
                  </a:lnTo>
                  <a:lnTo>
                    <a:pt x="83" y="209"/>
                  </a:lnTo>
                  <a:lnTo>
                    <a:pt x="83" y="207"/>
                  </a:lnTo>
                  <a:lnTo>
                    <a:pt x="83" y="209"/>
                  </a:lnTo>
                  <a:lnTo>
                    <a:pt x="83" y="207"/>
                  </a:lnTo>
                  <a:lnTo>
                    <a:pt x="81" y="207"/>
                  </a:lnTo>
                  <a:lnTo>
                    <a:pt x="83" y="207"/>
                  </a:lnTo>
                  <a:lnTo>
                    <a:pt x="81" y="207"/>
                  </a:lnTo>
                  <a:lnTo>
                    <a:pt x="81" y="205"/>
                  </a:lnTo>
                  <a:lnTo>
                    <a:pt x="83" y="205"/>
                  </a:lnTo>
                  <a:lnTo>
                    <a:pt x="81" y="205"/>
                  </a:lnTo>
                  <a:lnTo>
                    <a:pt x="81" y="203"/>
                  </a:lnTo>
                  <a:lnTo>
                    <a:pt x="81" y="205"/>
                  </a:lnTo>
                  <a:lnTo>
                    <a:pt x="81" y="203"/>
                  </a:lnTo>
                  <a:lnTo>
                    <a:pt x="81" y="202"/>
                  </a:lnTo>
                  <a:lnTo>
                    <a:pt x="81" y="200"/>
                  </a:lnTo>
                  <a:lnTo>
                    <a:pt x="79" y="200"/>
                  </a:lnTo>
                  <a:lnTo>
                    <a:pt x="79" y="198"/>
                  </a:lnTo>
                  <a:lnTo>
                    <a:pt x="79" y="196"/>
                  </a:lnTo>
                  <a:lnTo>
                    <a:pt x="79" y="194"/>
                  </a:lnTo>
                  <a:lnTo>
                    <a:pt x="79" y="192"/>
                  </a:lnTo>
                  <a:lnTo>
                    <a:pt x="81" y="192"/>
                  </a:lnTo>
                  <a:lnTo>
                    <a:pt x="81" y="190"/>
                  </a:lnTo>
                  <a:lnTo>
                    <a:pt x="79" y="190"/>
                  </a:lnTo>
                  <a:lnTo>
                    <a:pt x="79" y="192"/>
                  </a:lnTo>
                  <a:lnTo>
                    <a:pt x="79" y="190"/>
                  </a:lnTo>
                  <a:lnTo>
                    <a:pt x="77" y="190"/>
                  </a:lnTo>
                  <a:lnTo>
                    <a:pt x="77" y="192"/>
                  </a:lnTo>
                  <a:lnTo>
                    <a:pt x="77" y="190"/>
                  </a:lnTo>
                  <a:lnTo>
                    <a:pt x="77" y="192"/>
                  </a:lnTo>
                  <a:lnTo>
                    <a:pt x="75" y="192"/>
                  </a:lnTo>
                  <a:lnTo>
                    <a:pt x="75" y="190"/>
                  </a:lnTo>
                  <a:lnTo>
                    <a:pt x="75" y="188"/>
                  </a:lnTo>
                  <a:lnTo>
                    <a:pt x="75" y="190"/>
                  </a:lnTo>
                  <a:lnTo>
                    <a:pt x="75" y="188"/>
                  </a:lnTo>
                  <a:lnTo>
                    <a:pt x="75" y="190"/>
                  </a:lnTo>
                  <a:lnTo>
                    <a:pt x="75" y="188"/>
                  </a:lnTo>
                  <a:lnTo>
                    <a:pt x="73" y="188"/>
                  </a:lnTo>
                  <a:lnTo>
                    <a:pt x="73" y="186"/>
                  </a:lnTo>
                  <a:lnTo>
                    <a:pt x="75" y="186"/>
                  </a:lnTo>
                  <a:lnTo>
                    <a:pt x="73" y="186"/>
                  </a:lnTo>
                  <a:lnTo>
                    <a:pt x="73" y="184"/>
                  </a:lnTo>
                  <a:lnTo>
                    <a:pt x="73" y="182"/>
                  </a:lnTo>
                  <a:lnTo>
                    <a:pt x="73" y="184"/>
                  </a:lnTo>
                  <a:lnTo>
                    <a:pt x="71" y="184"/>
                  </a:lnTo>
                  <a:lnTo>
                    <a:pt x="71" y="182"/>
                  </a:lnTo>
                  <a:lnTo>
                    <a:pt x="71" y="180"/>
                  </a:lnTo>
                  <a:lnTo>
                    <a:pt x="70" y="180"/>
                  </a:lnTo>
                  <a:lnTo>
                    <a:pt x="71" y="180"/>
                  </a:lnTo>
                  <a:lnTo>
                    <a:pt x="70" y="180"/>
                  </a:lnTo>
                  <a:lnTo>
                    <a:pt x="68" y="180"/>
                  </a:lnTo>
                  <a:lnTo>
                    <a:pt x="68" y="182"/>
                  </a:lnTo>
                  <a:lnTo>
                    <a:pt x="70" y="182"/>
                  </a:lnTo>
                  <a:lnTo>
                    <a:pt x="68" y="182"/>
                  </a:lnTo>
                  <a:lnTo>
                    <a:pt x="70" y="182"/>
                  </a:lnTo>
                  <a:lnTo>
                    <a:pt x="68" y="182"/>
                  </a:lnTo>
                  <a:lnTo>
                    <a:pt x="70" y="182"/>
                  </a:lnTo>
                  <a:lnTo>
                    <a:pt x="68" y="182"/>
                  </a:lnTo>
                  <a:lnTo>
                    <a:pt x="70" y="182"/>
                  </a:lnTo>
                  <a:lnTo>
                    <a:pt x="68" y="182"/>
                  </a:lnTo>
                  <a:lnTo>
                    <a:pt x="70" y="182"/>
                  </a:lnTo>
                  <a:lnTo>
                    <a:pt x="70" y="184"/>
                  </a:lnTo>
                  <a:lnTo>
                    <a:pt x="68" y="184"/>
                  </a:lnTo>
                  <a:lnTo>
                    <a:pt x="68" y="182"/>
                  </a:lnTo>
                  <a:lnTo>
                    <a:pt x="68" y="184"/>
                  </a:lnTo>
                  <a:lnTo>
                    <a:pt x="68" y="186"/>
                  </a:lnTo>
                  <a:lnTo>
                    <a:pt x="68" y="184"/>
                  </a:lnTo>
                  <a:lnTo>
                    <a:pt x="68" y="186"/>
                  </a:lnTo>
                  <a:lnTo>
                    <a:pt x="68" y="188"/>
                  </a:lnTo>
                  <a:lnTo>
                    <a:pt x="66" y="188"/>
                  </a:lnTo>
                  <a:lnTo>
                    <a:pt x="66" y="190"/>
                  </a:lnTo>
                  <a:lnTo>
                    <a:pt x="66" y="192"/>
                  </a:lnTo>
                  <a:lnTo>
                    <a:pt x="64" y="192"/>
                  </a:lnTo>
                  <a:lnTo>
                    <a:pt x="62" y="192"/>
                  </a:lnTo>
                  <a:lnTo>
                    <a:pt x="60" y="192"/>
                  </a:lnTo>
                  <a:lnTo>
                    <a:pt x="60" y="190"/>
                  </a:lnTo>
                  <a:lnTo>
                    <a:pt x="60" y="188"/>
                  </a:lnTo>
                  <a:lnTo>
                    <a:pt x="58" y="188"/>
                  </a:lnTo>
                  <a:lnTo>
                    <a:pt x="60" y="188"/>
                  </a:lnTo>
                  <a:lnTo>
                    <a:pt x="60" y="190"/>
                  </a:lnTo>
                  <a:lnTo>
                    <a:pt x="60" y="192"/>
                  </a:lnTo>
                  <a:lnTo>
                    <a:pt x="60" y="194"/>
                  </a:lnTo>
                  <a:lnTo>
                    <a:pt x="60" y="192"/>
                  </a:lnTo>
                  <a:lnTo>
                    <a:pt x="60" y="194"/>
                  </a:lnTo>
                  <a:lnTo>
                    <a:pt x="58" y="194"/>
                  </a:lnTo>
                  <a:lnTo>
                    <a:pt x="56" y="194"/>
                  </a:lnTo>
                  <a:lnTo>
                    <a:pt x="56" y="196"/>
                  </a:lnTo>
                  <a:lnTo>
                    <a:pt x="54" y="196"/>
                  </a:lnTo>
                  <a:lnTo>
                    <a:pt x="52" y="198"/>
                  </a:lnTo>
                  <a:lnTo>
                    <a:pt x="52" y="200"/>
                  </a:lnTo>
                  <a:lnTo>
                    <a:pt x="50" y="200"/>
                  </a:lnTo>
                  <a:lnTo>
                    <a:pt x="50" y="202"/>
                  </a:lnTo>
                  <a:lnTo>
                    <a:pt x="48" y="202"/>
                  </a:lnTo>
                  <a:lnTo>
                    <a:pt x="48" y="203"/>
                  </a:lnTo>
                  <a:lnTo>
                    <a:pt x="48" y="202"/>
                  </a:lnTo>
                  <a:lnTo>
                    <a:pt x="48" y="203"/>
                  </a:lnTo>
                  <a:lnTo>
                    <a:pt x="46" y="203"/>
                  </a:lnTo>
                  <a:lnTo>
                    <a:pt x="45" y="203"/>
                  </a:lnTo>
                  <a:lnTo>
                    <a:pt x="46" y="203"/>
                  </a:lnTo>
                  <a:lnTo>
                    <a:pt x="45" y="203"/>
                  </a:lnTo>
                  <a:lnTo>
                    <a:pt x="46" y="203"/>
                  </a:lnTo>
                  <a:lnTo>
                    <a:pt x="45" y="203"/>
                  </a:lnTo>
                  <a:lnTo>
                    <a:pt x="45" y="202"/>
                  </a:lnTo>
                  <a:lnTo>
                    <a:pt x="46" y="202"/>
                  </a:lnTo>
                  <a:lnTo>
                    <a:pt x="46" y="200"/>
                  </a:lnTo>
                  <a:lnTo>
                    <a:pt x="46" y="198"/>
                  </a:lnTo>
                  <a:lnTo>
                    <a:pt x="45" y="198"/>
                  </a:lnTo>
                  <a:lnTo>
                    <a:pt x="45" y="200"/>
                  </a:lnTo>
                  <a:lnTo>
                    <a:pt x="45" y="202"/>
                  </a:lnTo>
                  <a:lnTo>
                    <a:pt x="45" y="203"/>
                  </a:lnTo>
                  <a:lnTo>
                    <a:pt x="43" y="203"/>
                  </a:lnTo>
                  <a:lnTo>
                    <a:pt x="43" y="202"/>
                  </a:lnTo>
                  <a:lnTo>
                    <a:pt x="43" y="200"/>
                  </a:lnTo>
                  <a:lnTo>
                    <a:pt x="43" y="198"/>
                  </a:lnTo>
                  <a:lnTo>
                    <a:pt x="45" y="198"/>
                  </a:lnTo>
                  <a:lnTo>
                    <a:pt x="43" y="198"/>
                  </a:lnTo>
                  <a:lnTo>
                    <a:pt x="43" y="200"/>
                  </a:lnTo>
                  <a:lnTo>
                    <a:pt x="41" y="200"/>
                  </a:lnTo>
                  <a:lnTo>
                    <a:pt x="41" y="202"/>
                  </a:lnTo>
                  <a:lnTo>
                    <a:pt x="41" y="200"/>
                  </a:lnTo>
                  <a:lnTo>
                    <a:pt x="41" y="202"/>
                  </a:lnTo>
                  <a:lnTo>
                    <a:pt x="41" y="203"/>
                  </a:lnTo>
                  <a:lnTo>
                    <a:pt x="39" y="203"/>
                  </a:lnTo>
                  <a:lnTo>
                    <a:pt x="39" y="202"/>
                  </a:lnTo>
                  <a:lnTo>
                    <a:pt x="39" y="200"/>
                  </a:lnTo>
                  <a:lnTo>
                    <a:pt x="39" y="198"/>
                  </a:lnTo>
                  <a:lnTo>
                    <a:pt x="39" y="196"/>
                  </a:lnTo>
                  <a:lnTo>
                    <a:pt x="41" y="196"/>
                  </a:lnTo>
                  <a:lnTo>
                    <a:pt x="43" y="196"/>
                  </a:lnTo>
                  <a:lnTo>
                    <a:pt x="43" y="194"/>
                  </a:lnTo>
                  <a:lnTo>
                    <a:pt x="41" y="194"/>
                  </a:lnTo>
                  <a:lnTo>
                    <a:pt x="41" y="196"/>
                  </a:lnTo>
                  <a:lnTo>
                    <a:pt x="39" y="196"/>
                  </a:lnTo>
                  <a:lnTo>
                    <a:pt x="39" y="198"/>
                  </a:lnTo>
                  <a:lnTo>
                    <a:pt x="39" y="200"/>
                  </a:lnTo>
                  <a:lnTo>
                    <a:pt x="37" y="200"/>
                  </a:lnTo>
                  <a:lnTo>
                    <a:pt x="37" y="202"/>
                  </a:lnTo>
                  <a:lnTo>
                    <a:pt x="35" y="202"/>
                  </a:lnTo>
                  <a:lnTo>
                    <a:pt x="35" y="200"/>
                  </a:lnTo>
                  <a:lnTo>
                    <a:pt x="37" y="200"/>
                  </a:lnTo>
                  <a:lnTo>
                    <a:pt x="37" y="198"/>
                  </a:lnTo>
                  <a:lnTo>
                    <a:pt x="37" y="200"/>
                  </a:lnTo>
                  <a:lnTo>
                    <a:pt x="35" y="200"/>
                  </a:lnTo>
                  <a:lnTo>
                    <a:pt x="35" y="198"/>
                  </a:lnTo>
                  <a:lnTo>
                    <a:pt x="37" y="198"/>
                  </a:lnTo>
                  <a:lnTo>
                    <a:pt x="37" y="196"/>
                  </a:lnTo>
                  <a:lnTo>
                    <a:pt x="37" y="194"/>
                  </a:lnTo>
                  <a:lnTo>
                    <a:pt x="37" y="192"/>
                  </a:lnTo>
                  <a:lnTo>
                    <a:pt x="37" y="194"/>
                  </a:lnTo>
                  <a:lnTo>
                    <a:pt x="35" y="194"/>
                  </a:lnTo>
                  <a:lnTo>
                    <a:pt x="35" y="196"/>
                  </a:lnTo>
                  <a:lnTo>
                    <a:pt x="35" y="194"/>
                  </a:lnTo>
                  <a:lnTo>
                    <a:pt x="35" y="196"/>
                  </a:lnTo>
                  <a:lnTo>
                    <a:pt x="33" y="196"/>
                  </a:lnTo>
                  <a:lnTo>
                    <a:pt x="33" y="198"/>
                  </a:lnTo>
                  <a:lnTo>
                    <a:pt x="31" y="198"/>
                  </a:lnTo>
                  <a:lnTo>
                    <a:pt x="31" y="200"/>
                  </a:lnTo>
                  <a:lnTo>
                    <a:pt x="29" y="200"/>
                  </a:lnTo>
                  <a:lnTo>
                    <a:pt x="29" y="198"/>
                  </a:lnTo>
                  <a:lnTo>
                    <a:pt x="29" y="200"/>
                  </a:lnTo>
                  <a:lnTo>
                    <a:pt x="29" y="198"/>
                  </a:lnTo>
                  <a:lnTo>
                    <a:pt x="29" y="196"/>
                  </a:lnTo>
                  <a:lnTo>
                    <a:pt x="31" y="196"/>
                  </a:lnTo>
                  <a:lnTo>
                    <a:pt x="31" y="194"/>
                  </a:lnTo>
                  <a:lnTo>
                    <a:pt x="29" y="194"/>
                  </a:lnTo>
                  <a:lnTo>
                    <a:pt x="31" y="194"/>
                  </a:lnTo>
                  <a:lnTo>
                    <a:pt x="29" y="194"/>
                  </a:lnTo>
                  <a:lnTo>
                    <a:pt x="31" y="194"/>
                  </a:lnTo>
                  <a:lnTo>
                    <a:pt x="31" y="192"/>
                  </a:lnTo>
                  <a:lnTo>
                    <a:pt x="31" y="190"/>
                  </a:lnTo>
                  <a:lnTo>
                    <a:pt x="31" y="192"/>
                  </a:lnTo>
                  <a:lnTo>
                    <a:pt x="31" y="190"/>
                  </a:lnTo>
                  <a:lnTo>
                    <a:pt x="31" y="192"/>
                  </a:lnTo>
                  <a:lnTo>
                    <a:pt x="31" y="190"/>
                  </a:lnTo>
                  <a:lnTo>
                    <a:pt x="33" y="190"/>
                  </a:lnTo>
                  <a:lnTo>
                    <a:pt x="31" y="190"/>
                  </a:lnTo>
                  <a:lnTo>
                    <a:pt x="31" y="188"/>
                  </a:lnTo>
                  <a:lnTo>
                    <a:pt x="33" y="188"/>
                  </a:lnTo>
                  <a:lnTo>
                    <a:pt x="33" y="186"/>
                  </a:lnTo>
                  <a:lnTo>
                    <a:pt x="33" y="184"/>
                  </a:lnTo>
                  <a:lnTo>
                    <a:pt x="33" y="186"/>
                  </a:lnTo>
                  <a:lnTo>
                    <a:pt x="33" y="184"/>
                  </a:lnTo>
                  <a:lnTo>
                    <a:pt x="33" y="186"/>
                  </a:lnTo>
                  <a:lnTo>
                    <a:pt x="33" y="184"/>
                  </a:lnTo>
                  <a:lnTo>
                    <a:pt x="33" y="182"/>
                  </a:lnTo>
                  <a:lnTo>
                    <a:pt x="33" y="180"/>
                  </a:lnTo>
                  <a:lnTo>
                    <a:pt x="33" y="182"/>
                  </a:lnTo>
                  <a:lnTo>
                    <a:pt x="35" y="182"/>
                  </a:lnTo>
                  <a:lnTo>
                    <a:pt x="35" y="180"/>
                  </a:lnTo>
                  <a:lnTo>
                    <a:pt x="35" y="182"/>
                  </a:lnTo>
                  <a:lnTo>
                    <a:pt x="35" y="180"/>
                  </a:lnTo>
                  <a:lnTo>
                    <a:pt x="33" y="180"/>
                  </a:lnTo>
                  <a:lnTo>
                    <a:pt x="35" y="180"/>
                  </a:lnTo>
                  <a:lnTo>
                    <a:pt x="33" y="180"/>
                  </a:lnTo>
                  <a:lnTo>
                    <a:pt x="35" y="180"/>
                  </a:lnTo>
                  <a:lnTo>
                    <a:pt x="35" y="178"/>
                  </a:lnTo>
                  <a:lnTo>
                    <a:pt x="35" y="180"/>
                  </a:lnTo>
                  <a:lnTo>
                    <a:pt x="35" y="178"/>
                  </a:lnTo>
                  <a:lnTo>
                    <a:pt x="37" y="178"/>
                  </a:lnTo>
                  <a:lnTo>
                    <a:pt x="35" y="178"/>
                  </a:lnTo>
                  <a:lnTo>
                    <a:pt x="35" y="177"/>
                  </a:lnTo>
                  <a:lnTo>
                    <a:pt x="35" y="175"/>
                  </a:lnTo>
                  <a:lnTo>
                    <a:pt x="35" y="177"/>
                  </a:lnTo>
                  <a:lnTo>
                    <a:pt x="35" y="175"/>
                  </a:lnTo>
                  <a:lnTo>
                    <a:pt x="35" y="173"/>
                  </a:lnTo>
                  <a:lnTo>
                    <a:pt x="33" y="173"/>
                  </a:lnTo>
                  <a:lnTo>
                    <a:pt x="35" y="173"/>
                  </a:lnTo>
                  <a:lnTo>
                    <a:pt x="33" y="173"/>
                  </a:lnTo>
                  <a:lnTo>
                    <a:pt x="33" y="171"/>
                  </a:lnTo>
                  <a:lnTo>
                    <a:pt x="33" y="169"/>
                  </a:lnTo>
                  <a:lnTo>
                    <a:pt x="33" y="167"/>
                  </a:lnTo>
                  <a:lnTo>
                    <a:pt x="33" y="165"/>
                  </a:lnTo>
                  <a:lnTo>
                    <a:pt x="31" y="165"/>
                  </a:lnTo>
                  <a:lnTo>
                    <a:pt x="31" y="163"/>
                  </a:lnTo>
                  <a:lnTo>
                    <a:pt x="33" y="163"/>
                  </a:lnTo>
                  <a:lnTo>
                    <a:pt x="33" y="165"/>
                  </a:lnTo>
                  <a:lnTo>
                    <a:pt x="33" y="163"/>
                  </a:lnTo>
                  <a:lnTo>
                    <a:pt x="31" y="163"/>
                  </a:lnTo>
                  <a:lnTo>
                    <a:pt x="31" y="161"/>
                  </a:lnTo>
                  <a:lnTo>
                    <a:pt x="31" y="159"/>
                  </a:lnTo>
                  <a:lnTo>
                    <a:pt x="31" y="157"/>
                  </a:lnTo>
                  <a:lnTo>
                    <a:pt x="29" y="157"/>
                  </a:lnTo>
                  <a:lnTo>
                    <a:pt x="31" y="157"/>
                  </a:lnTo>
                  <a:lnTo>
                    <a:pt x="29" y="157"/>
                  </a:lnTo>
                  <a:lnTo>
                    <a:pt x="29" y="155"/>
                  </a:lnTo>
                  <a:lnTo>
                    <a:pt x="29" y="157"/>
                  </a:lnTo>
                  <a:lnTo>
                    <a:pt x="29" y="155"/>
                  </a:lnTo>
                  <a:lnTo>
                    <a:pt x="29" y="157"/>
                  </a:lnTo>
                  <a:lnTo>
                    <a:pt x="29" y="155"/>
                  </a:lnTo>
                  <a:lnTo>
                    <a:pt x="27" y="155"/>
                  </a:lnTo>
                  <a:lnTo>
                    <a:pt x="27" y="154"/>
                  </a:lnTo>
                  <a:lnTo>
                    <a:pt x="27" y="152"/>
                  </a:lnTo>
                  <a:lnTo>
                    <a:pt x="29" y="152"/>
                  </a:lnTo>
                  <a:lnTo>
                    <a:pt x="27" y="152"/>
                  </a:lnTo>
                  <a:lnTo>
                    <a:pt x="27" y="150"/>
                  </a:lnTo>
                  <a:lnTo>
                    <a:pt x="27" y="152"/>
                  </a:lnTo>
                  <a:lnTo>
                    <a:pt x="27" y="150"/>
                  </a:lnTo>
                  <a:lnTo>
                    <a:pt x="27" y="148"/>
                  </a:lnTo>
                  <a:lnTo>
                    <a:pt x="27" y="146"/>
                  </a:lnTo>
                  <a:lnTo>
                    <a:pt x="25" y="146"/>
                  </a:lnTo>
                  <a:lnTo>
                    <a:pt x="25" y="144"/>
                  </a:lnTo>
                  <a:lnTo>
                    <a:pt x="25" y="146"/>
                  </a:lnTo>
                  <a:lnTo>
                    <a:pt x="25" y="144"/>
                  </a:lnTo>
                  <a:lnTo>
                    <a:pt x="23" y="144"/>
                  </a:lnTo>
                  <a:lnTo>
                    <a:pt x="25" y="144"/>
                  </a:lnTo>
                  <a:lnTo>
                    <a:pt x="23" y="144"/>
                  </a:lnTo>
                  <a:lnTo>
                    <a:pt x="23" y="142"/>
                  </a:lnTo>
                  <a:lnTo>
                    <a:pt x="23" y="144"/>
                  </a:lnTo>
                  <a:lnTo>
                    <a:pt x="23" y="142"/>
                  </a:lnTo>
                  <a:lnTo>
                    <a:pt x="22" y="142"/>
                  </a:lnTo>
                  <a:lnTo>
                    <a:pt x="23" y="142"/>
                  </a:lnTo>
                  <a:lnTo>
                    <a:pt x="23" y="140"/>
                  </a:lnTo>
                  <a:lnTo>
                    <a:pt x="23" y="142"/>
                  </a:lnTo>
                  <a:lnTo>
                    <a:pt x="22" y="142"/>
                  </a:lnTo>
                  <a:lnTo>
                    <a:pt x="22" y="140"/>
                  </a:lnTo>
                  <a:lnTo>
                    <a:pt x="22" y="142"/>
                  </a:lnTo>
                  <a:lnTo>
                    <a:pt x="22" y="140"/>
                  </a:lnTo>
                  <a:lnTo>
                    <a:pt x="23" y="140"/>
                  </a:lnTo>
                  <a:lnTo>
                    <a:pt x="23" y="138"/>
                  </a:lnTo>
                  <a:lnTo>
                    <a:pt x="22" y="138"/>
                  </a:lnTo>
                  <a:lnTo>
                    <a:pt x="23" y="138"/>
                  </a:lnTo>
                  <a:lnTo>
                    <a:pt x="22" y="138"/>
                  </a:lnTo>
                  <a:lnTo>
                    <a:pt x="23" y="138"/>
                  </a:lnTo>
                  <a:lnTo>
                    <a:pt x="22" y="138"/>
                  </a:lnTo>
                  <a:lnTo>
                    <a:pt x="23" y="138"/>
                  </a:lnTo>
                  <a:lnTo>
                    <a:pt x="22" y="138"/>
                  </a:lnTo>
                  <a:lnTo>
                    <a:pt x="22" y="140"/>
                  </a:lnTo>
                  <a:lnTo>
                    <a:pt x="20" y="140"/>
                  </a:lnTo>
                  <a:lnTo>
                    <a:pt x="20" y="138"/>
                  </a:lnTo>
                  <a:lnTo>
                    <a:pt x="22" y="138"/>
                  </a:lnTo>
                  <a:lnTo>
                    <a:pt x="20" y="138"/>
                  </a:lnTo>
                  <a:lnTo>
                    <a:pt x="18" y="138"/>
                  </a:lnTo>
                  <a:lnTo>
                    <a:pt x="18" y="136"/>
                  </a:lnTo>
                  <a:lnTo>
                    <a:pt x="18" y="138"/>
                  </a:lnTo>
                  <a:lnTo>
                    <a:pt x="18" y="136"/>
                  </a:lnTo>
                  <a:lnTo>
                    <a:pt x="16" y="136"/>
                  </a:lnTo>
                  <a:lnTo>
                    <a:pt x="14" y="136"/>
                  </a:lnTo>
                  <a:lnTo>
                    <a:pt x="14" y="134"/>
                  </a:lnTo>
                  <a:lnTo>
                    <a:pt x="12" y="134"/>
                  </a:lnTo>
                  <a:lnTo>
                    <a:pt x="12" y="136"/>
                  </a:lnTo>
                  <a:lnTo>
                    <a:pt x="12" y="134"/>
                  </a:lnTo>
                  <a:lnTo>
                    <a:pt x="12" y="132"/>
                  </a:lnTo>
                  <a:lnTo>
                    <a:pt x="12" y="134"/>
                  </a:lnTo>
                  <a:lnTo>
                    <a:pt x="10" y="134"/>
                  </a:lnTo>
                  <a:lnTo>
                    <a:pt x="12" y="134"/>
                  </a:lnTo>
                  <a:lnTo>
                    <a:pt x="10" y="134"/>
                  </a:lnTo>
                  <a:lnTo>
                    <a:pt x="10" y="136"/>
                  </a:lnTo>
                  <a:lnTo>
                    <a:pt x="10" y="134"/>
                  </a:lnTo>
                  <a:lnTo>
                    <a:pt x="8" y="134"/>
                  </a:lnTo>
                  <a:lnTo>
                    <a:pt x="10" y="134"/>
                  </a:lnTo>
                  <a:lnTo>
                    <a:pt x="10" y="132"/>
                  </a:lnTo>
                  <a:lnTo>
                    <a:pt x="10" y="130"/>
                  </a:lnTo>
                  <a:lnTo>
                    <a:pt x="10" y="132"/>
                  </a:lnTo>
                  <a:lnTo>
                    <a:pt x="10" y="130"/>
                  </a:lnTo>
                  <a:lnTo>
                    <a:pt x="10" y="132"/>
                  </a:lnTo>
                  <a:lnTo>
                    <a:pt x="8" y="132"/>
                  </a:lnTo>
                  <a:lnTo>
                    <a:pt x="10" y="132"/>
                  </a:lnTo>
                  <a:lnTo>
                    <a:pt x="8" y="132"/>
                  </a:lnTo>
                  <a:lnTo>
                    <a:pt x="8" y="134"/>
                  </a:lnTo>
                  <a:lnTo>
                    <a:pt x="8" y="132"/>
                  </a:lnTo>
                  <a:lnTo>
                    <a:pt x="8" y="130"/>
                  </a:lnTo>
                  <a:lnTo>
                    <a:pt x="6" y="130"/>
                  </a:lnTo>
                  <a:lnTo>
                    <a:pt x="6" y="129"/>
                  </a:lnTo>
                  <a:lnTo>
                    <a:pt x="4" y="129"/>
                  </a:lnTo>
                  <a:lnTo>
                    <a:pt x="4" y="127"/>
                  </a:lnTo>
                  <a:lnTo>
                    <a:pt x="2" y="127"/>
                  </a:lnTo>
                  <a:lnTo>
                    <a:pt x="4" y="127"/>
                  </a:lnTo>
                  <a:lnTo>
                    <a:pt x="2" y="127"/>
                  </a:lnTo>
                  <a:lnTo>
                    <a:pt x="2" y="125"/>
                  </a:lnTo>
                  <a:lnTo>
                    <a:pt x="2" y="123"/>
                  </a:lnTo>
                  <a:lnTo>
                    <a:pt x="2" y="121"/>
                  </a:lnTo>
                  <a:lnTo>
                    <a:pt x="0" y="121"/>
                  </a:lnTo>
                  <a:lnTo>
                    <a:pt x="2" y="121"/>
                  </a:lnTo>
                  <a:lnTo>
                    <a:pt x="0" y="121"/>
                  </a:lnTo>
                  <a:lnTo>
                    <a:pt x="0" y="119"/>
                  </a:lnTo>
                  <a:lnTo>
                    <a:pt x="0" y="117"/>
                  </a:lnTo>
                  <a:lnTo>
                    <a:pt x="0" y="115"/>
                  </a:lnTo>
                  <a:lnTo>
                    <a:pt x="2" y="115"/>
                  </a:lnTo>
                  <a:lnTo>
                    <a:pt x="0" y="115"/>
                  </a:lnTo>
                  <a:lnTo>
                    <a:pt x="2" y="115"/>
                  </a:lnTo>
                  <a:lnTo>
                    <a:pt x="4" y="115"/>
                  </a:lnTo>
                  <a:lnTo>
                    <a:pt x="4" y="117"/>
                  </a:lnTo>
                  <a:lnTo>
                    <a:pt x="4" y="115"/>
                  </a:lnTo>
                  <a:lnTo>
                    <a:pt x="4" y="117"/>
                  </a:lnTo>
                  <a:lnTo>
                    <a:pt x="6" y="117"/>
                  </a:lnTo>
                  <a:lnTo>
                    <a:pt x="6" y="115"/>
                  </a:lnTo>
                  <a:lnTo>
                    <a:pt x="6" y="117"/>
                  </a:lnTo>
                  <a:lnTo>
                    <a:pt x="6" y="119"/>
                  </a:lnTo>
                  <a:lnTo>
                    <a:pt x="6" y="117"/>
                  </a:lnTo>
                  <a:lnTo>
                    <a:pt x="8" y="117"/>
                  </a:lnTo>
                  <a:lnTo>
                    <a:pt x="6" y="117"/>
                  </a:lnTo>
                  <a:lnTo>
                    <a:pt x="6" y="115"/>
                  </a:lnTo>
                  <a:lnTo>
                    <a:pt x="6" y="113"/>
                  </a:lnTo>
                  <a:lnTo>
                    <a:pt x="6" y="111"/>
                  </a:lnTo>
                  <a:lnTo>
                    <a:pt x="6" y="109"/>
                  </a:lnTo>
                  <a:lnTo>
                    <a:pt x="6" y="107"/>
                  </a:lnTo>
                  <a:lnTo>
                    <a:pt x="6" y="105"/>
                  </a:lnTo>
                  <a:lnTo>
                    <a:pt x="8" y="105"/>
                  </a:lnTo>
                  <a:lnTo>
                    <a:pt x="8" y="104"/>
                  </a:lnTo>
                  <a:lnTo>
                    <a:pt x="8" y="105"/>
                  </a:lnTo>
                  <a:lnTo>
                    <a:pt x="8" y="104"/>
                  </a:lnTo>
                  <a:lnTo>
                    <a:pt x="10" y="104"/>
                  </a:lnTo>
                  <a:lnTo>
                    <a:pt x="10" y="105"/>
                  </a:lnTo>
                  <a:lnTo>
                    <a:pt x="10" y="107"/>
                  </a:lnTo>
                  <a:lnTo>
                    <a:pt x="12" y="107"/>
                  </a:lnTo>
                  <a:lnTo>
                    <a:pt x="10" y="107"/>
                  </a:lnTo>
                  <a:lnTo>
                    <a:pt x="12" y="107"/>
                  </a:lnTo>
                  <a:lnTo>
                    <a:pt x="12" y="105"/>
                  </a:lnTo>
                  <a:lnTo>
                    <a:pt x="12" y="104"/>
                  </a:lnTo>
                  <a:lnTo>
                    <a:pt x="14" y="104"/>
                  </a:lnTo>
                  <a:lnTo>
                    <a:pt x="14" y="102"/>
                  </a:lnTo>
                  <a:lnTo>
                    <a:pt x="14" y="104"/>
                  </a:lnTo>
                  <a:lnTo>
                    <a:pt x="14" y="102"/>
                  </a:lnTo>
                  <a:lnTo>
                    <a:pt x="16" y="102"/>
                  </a:lnTo>
                  <a:lnTo>
                    <a:pt x="16" y="100"/>
                  </a:lnTo>
                  <a:lnTo>
                    <a:pt x="14" y="100"/>
                  </a:lnTo>
                  <a:lnTo>
                    <a:pt x="16" y="100"/>
                  </a:lnTo>
                  <a:lnTo>
                    <a:pt x="14" y="100"/>
                  </a:lnTo>
                  <a:lnTo>
                    <a:pt x="16" y="100"/>
                  </a:lnTo>
                  <a:lnTo>
                    <a:pt x="14" y="100"/>
                  </a:lnTo>
                  <a:lnTo>
                    <a:pt x="14" y="98"/>
                  </a:lnTo>
                  <a:lnTo>
                    <a:pt x="14" y="96"/>
                  </a:lnTo>
                  <a:lnTo>
                    <a:pt x="14" y="94"/>
                  </a:lnTo>
                  <a:lnTo>
                    <a:pt x="14" y="92"/>
                  </a:lnTo>
                  <a:lnTo>
                    <a:pt x="14" y="90"/>
                  </a:lnTo>
                  <a:lnTo>
                    <a:pt x="16" y="90"/>
                  </a:lnTo>
                  <a:lnTo>
                    <a:pt x="18" y="90"/>
                  </a:lnTo>
                  <a:lnTo>
                    <a:pt x="16" y="90"/>
                  </a:lnTo>
                  <a:lnTo>
                    <a:pt x="18" y="90"/>
                  </a:lnTo>
                  <a:lnTo>
                    <a:pt x="18" y="88"/>
                  </a:lnTo>
                  <a:lnTo>
                    <a:pt x="18" y="86"/>
                  </a:lnTo>
                  <a:lnTo>
                    <a:pt x="18" y="84"/>
                  </a:lnTo>
                  <a:lnTo>
                    <a:pt x="18" y="82"/>
                  </a:lnTo>
                  <a:lnTo>
                    <a:pt x="18" y="81"/>
                  </a:lnTo>
                  <a:lnTo>
                    <a:pt x="18" y="79"/>
                  </a:lnTo>
                  <a:lnTo>
                    <a:pt x="18" y="77"/>
                  </a:lnTo>
                  <a:lnTo>
                    <a:pt x="18" y="75"/>
                  </a:lnTo>
                  <a:lnTo>
                    <a:pt x="18" y="77"/>
                  </a:lnTo>
                  <a:lnTo>
                    <a:pt x="18" y="75"/>
                  </a:lnTo>
                  <a:lnTo>
                    <a:pt x="18" y="73"/>
                  </a:lnTo>
                  <a:lnTo>
                    <a:pt x="18" y="75"/>
                  </a:lnTo>
                  <a:lnTo>
                    <a:pt x="18" y="73"/>
                  </a:lnTo>
                  <a:lnTo>
                    <a:pt x="18" y="75"/>
                  </a:lnTo>
                  <a:lnTo>
                    <a:pt x="20" y="75"/>
                  </a:lnTo>
                  <a:lnTo>
                    <a:pt x="22" y="75"/>
                  </a:lnTo>
                  <a:lnTo>
                    <a:pt x="23" y="75"/>
                  </a:lnTo>
                  <a:lnTo>
                    <a:pt x="25" y="75"/>
                  </a:lnTo>
                  <a:lnTo>
                    <a:pt x="27" y="75"/>
                  </a:lnTo>
                  <a:lnTo>
                    <a:pt x="27" y="77"/>
                  </a:lnTo>
                  <a:lnTo>
                    <a:pt x="29" y="77"/>
                  </a:lnTo>
                  <a:lnTo>
                    <a:pt x="27" y="77"/>
                  </a:lnTo>
                  <a:lnTo>
                    <a:pt x="29" y="77"/>
                  </a:lnTo>
                  <a:lnTo>
                    <a:pt x="29" y="75"/>
                  </a:lnTo>
                  <a:lnTo>
                    <a:pt x="29" y="73"/>
                  </a:lnTo>
                  <a:lnTo>
                    <a:pt x="31" y="73"/>
                  </a:lnTo>
                  <a:lnTo>
                    <a:pt x="31" y="71"/>
                  </a:lnTo>
                  <a:lnTo>
                    <a:pt x="31" y="69"/>
                  </a:lnTo>
                  <a:lnTo>
                    <a:pt x="33" y="69"/>
                  </a:lnTo>
                  <a:lnTo>
                    <a:pt x="33" y="67"/>
                  </a:lnTo>
                  <a:lnTo>
                    <a:pt x="33" y="65"/>
                  </a:lnTo>
                  <a:lnTo>
                    <a:pt x="35" y="65"/>
                  </a:lnTo>
                  <a:lnTo>
                    <a:pt x="35" y="63"/>
                  </a:lnTo>
                  <a:lnTo>
                    <a:pt x="35" y="61"/>
                  </a:lnTo>
                  <a:lnTo>
                    <a:pt x="37" y="61"/>
                  </a:lnTo>
                  <a:lnTo>
                    <a:pt x="37" y="59"/>
                  </a:lnTo>
                  <a:lnTo>
                    <a:pt x="37" y="57"/>
                  </a:lnTo>
                  <a:lnTo>
                    <a:pt x="37" y="56"/>
                  </a:lnTo>
                  <a:lnTo>
                    <a:pt x="35" y="56"/>
                  </a:lnTo>
                  <a:lnTo>
                    <a:pt x="35" y="54"/>
                  </a:lnTo>
                  <a:lnTo>
                    <a:pt x="35" y="52"/>
                  </a:lnTo>
                  <a:lnTo>
                    <a:pt x="37" y="52"/>
                  </a:lnTo>
                  <a:lnTo>
                    <a:pt x="37" y="50"/>
                  </a:lnTo>
                  <a:lnTo>
                    <a:pt x="39" y="50"/>
                  </a:lnTo>
                  <a:lnTo>
                    <a:pt x="39" y="48"/>
                  </a:lnTo>
                  <a:lnTo>
                    <a:pt x="41" y="48"/>
                  </a:lnTo>
                  <a:lnTo>
                    <a:pt x="41" y="46"/>
                  </a:lnTo>
                  <a:lnTo>
                    <a:pt x="43" y="46"/>
                  </a:lnTo>
                  <a:lnTo>
                    <a:pt x="41" y="46"/>
                  </a:lnTo>
                  <a:lnTo>
                    <a:pt x="41" y="44"/>
                  </a:lnTo>
                  <a:lnTo>
                    <a:pt x="43" y="44"/>
                  </a:lnTo>
                  <a:lnTo>
                    <a:pt x="43" y="42"/>
                  </a:lnTo>
                  <a:lnTo>
                    <a:pt x="45" y="42"/>
                  </a:lnTo>
                  <a:lnTo>
                    <a:pt x="45" y="40"/>
                  </a:lnTo>
                  <a:lnTo>
                    <a:pt x="43" y="40"/>
                  </a:lnTo>
                  <a:lnTo>
                    <a:pt x="43" y="38"/>
                  </a:lnTo>
                  <a:lnTo>
                    <a:pt x="43" y="36"/>
                  </a:lnTo>
                  <a:lnTo>
                    <a:pt x="43" y="34"/>
                  </a:lnTo>
                  <a:lnTo>
                    <a:pt x="43" y="32"/>
                  </a:lnTo>
                  <a:lnTo>
                    <a:pt x="45" y="32"/>
                  </a:lnTo>
                  <a:lnTo>
                    <a:pt x="45" y="31"/>
                  </a:lnTo>
                  <a:lnTo>
                    <a:pt x="46" y="32"/>
                  </a:lnTo>
                  <a:lnTo>
                    <a:pt x="46" y="31"/>
                  </a:lnTo>
                  <a:lnTo>
                    <a:pt x="48" y="31"/>
                  </a:lnTo>
                  <a:lnTo>
                    <a:pt x="48" y="29"/>
                  </a:lnTo>
                  <a:lnTo>
                    <a:pt x="50" y="29"/>
                  </a:lnTo>
                  <a:lnTo>
                    <a:pt x="50" y="27"/>
                  </a:lnTo>
                  <a:lnTo>
                    <a:pt x="50" y="29"/>
                  </a:lnTo>
                  <a:lnTo>
                    <a:pt x="52" y="29"/>
                  </a:lnTo>
                  <a:lnTo>
                    <a:pt x="52" y="27"/>
                  </a:lnTo>
                  <a:lnTo>
                    <a:pt x="54" y="27"/>
                  </a:lnTo>
                  <a:lnTo>
                    <a:pt x="54" y="25"/>
                  </a:lnTo>
                  <a:lnTo>
                    <a:pt x="56" y="25"/>
                  </a:lnTo>
                  <a:lnTo>
                    <a:pt x="56" y="23"/>
                  </a:lnTo>
                  <a:lnTo>
                    <a:pt x="58" y="23"/>
                  </a:lnTo>
                  <a:lnTo>
                    <a:pt x="58" y="21"/>
                  </a:lnTo>
                  <a:lnTo>
                    <a:pt x="60" y="21"/>
                  </a:lnTo>
                  <a:lnTo>
                    <a:pt x="62" y="21"/>
                  </a:lnTo>
                  <a:lnTo>
                    <a:pt x="64" y="21"/>
                  </a:lnTo>
                  <a:lnTo>
                    <a:pt x="66" y="21"/>
                  </a:lnTo>
                  <a:lnTo>
                    <a:pt x="66" y="19"/>
                  </a:lnTo>
                  <a:lnTo>
                    <a:pt x="66" y="21"/>
                  </a:lnTo>
                  <a:lnTo>
                    <a:pt x="66" y="19"/>
                  </a:lnTo>
                  <a:lnTo>
                    <a:pt x="66" y="21"/>
                  </a:lnTo>
                  <a:lnTo>
                    <a:pt x="66" y="19"/>
                  </a:lnTo>
                  <a:lnTo>
                    <a:pt x="68" y="19"/>
                  </a:lnTo>
                  <a:lnTo>
                    <a:pt x="68" y="21"/>
                  </a:lnTo>
                  <a:lnTo>
                    <a:pt x="70" y="21"/>
                  </a:lnTo>
                  <a:lnTo>
                    <a:pt x="70" y="23"/>
                  </a:lnTo>
                  <a:lnTo>
                    <a:pt x="71" y="23"/>
                  </a:lnTo>
                  <a:lnTo>
                    <a:pt x="71" y="25"/>
                  </a:lnTo>
                  <a:lnTo>
                    <a:pt x="73" y="25"/>
                  </a:lnTo>
                  <a:lnTo>
                    <a:pt x="73" y="23"/>
                  </a:lnTo>
                  <a:lnTo>
                    <a:pt x="71" y="23"/>
                  </a:lnTo>
                  <a:lnTo>
                    <a:pt x="71" y="21"/>
                  </a:lnTo>
                  <a:lnTo>
                    <a:pt x="71" y="19"/>
                  </a:lnTo>
                  <a:lnTo>
                    <a:pt x="70" y="19"/>
                  </a:lnTo>
                  <a:lnTo>
                    <a:pt x="70" y="17"/>
                  </a:lnTo>
                  <a:lnTo>
                    <a:pt x="70" y="15"/>
                  </a:lnTo>
                  <a:lnTo>
                    <a:pt x="71" y="15"/>
                  </a:lnTo>
                  <a:lnTo>
                    <a:pt x="71" y="13"/>
                  </a:lnTo>
                  <a:lnTo>
                    <a:pt x="73" y="13"/>
                  </a:lnTo>
                  <a:lnTo>
                    <a:pt x="73" y="11"/>
                  </a:lnTo>
                  <a:lnTo>
                    <a:pt x="75" y="11"/>
                  </a:lnTo>
                  <a:lnTo>
                    <a:pt x="77" y="11"/>
                  </a:lnTo>
                  <a:lnTo>
                    <a:pt x="77" y="9"/>
                  </a:lnTo>
                  <a:lnTo>
                    <a:pt x="75" y="9"/>
                  </a:lnTo>
                  <a:lnTo>
                    <a:pt x="75" y="8"/>
                  </a:lnTo>
                  <a:lnTo>
                    <a:pt x="75" y="9"/>
                  </a:lnTo>
                  <a:lnTo>
                    <a:pt x="75" y="8"/>
                  </a:lnTo>
                  <a:lnTo>
                    <a:pt x="75" y="6"/>
                  </a:lnTo>
                  <a:lnTo>
                    <a:pt x="77" y="6"/>
                  </a:lnTo>
                  <a:lnTo>
                    <a:pt x="75" y="6"/>
                  </a:lnTo>
                  <a:lnTo>
                    <a:pt x="77" y="6"/>
                  </a:lnTo>
                  <a:lnTo>
                    <a:pt x="77" y="4"/>
                  </a:lnTo>
                  <a:lnTo>
                    <a:pt x="77" y="6"/>
                  </a:lnTo>
                  <a:lnTo>
                    <a:pt x="77" y="4"/>
                  </a:lnTo>
                  <a:lnTo>
                    <a:pt x="79" y="4"/>
                  </a:lnTo>
                  <a:lnTo>
                    <a:pt x="77" y="4"/>
                  </a:lnTo>
                  <a:lnTo>
                    <a:pt x="77" y="2"/>
                  </a:lnTo>
                  <a:lnTo>
                    <a:pt x="79" y="2"/>
                  </a:lnTo>
                  <a:lnTo>
                    <a:pt x="77" y="2"/>
                  </a:lnTo>
                  <a:lnTo>
                    <a:pt x="79" y="2"/>
                  </a:lnTo>
                  <a:lnTo>
                    <a:pt x="79" y="0"/>
                  </a:lnTo>
                  <a:lnTo>
                    <a:pt x="81" y="0"/>
                  </a:lnTo>
                  <a:lnTo>
                    <a:pt x="81" y="2"/>
                  </a:lnTo>
                  <a:lnTo>
                    <a:pt x="81" y="4"/>
                  </a:lnTo>
                  <a:lnTo>
                    <a:pt x="83" y="4"/>
                  </a:lnTo>
                  <a:lnTo>
                    <a:pt x="85" y="4"/>
                  </a:lnTo>
                  <a:lnTo>
                    <a:pt x="85" y="6"/>
                  </a:lnTo>
                  <a:lnTo>
                    <a:pt x="87" y="6"/>
                  </a:lnTo>
                  <a:lnTo>
                    <a:pt x="87" y="8"/>
                  </a:lnTo>
                  <a:lnTo>
                    <a:pt x="87" y="9"/>
                  </a:lnTo>
                  <a:lnTo>
                    <a:pt x="89" y="9"/>
                  </a:lnTo>
                  <a:lnTo>
                    <a:pt x="89" y="11"/>
                  </a:lnTo>
                  <a:lnTo>
                    <a:pt x="87" y="11"/>
                  </a:lnTo>
                  <a:lnTo>
                    <a:pt x="89" y="11"/>
                  </a:lnTo>
                  <a:lnTo>
                    <a:pt x="89" y="13"/>
                  </a:lnTo>
                  <a:lnTo>
                    <a:pt x="89" y="15"/>
                  </a:lnTo>
                  <a:lnTo>
                    <a:pt x="91" y="15"/>
                  </a:lnTo>
                  <a:lnTo>
                    <a:pt x="89" y="15"/>
                  </a:lnTo>
                  <a:lnTo>
                    <a:pt x="91" y="15"/>
                  </a:lnTo>
                  <a:lnTo>
                    <a:pt x="91" y="17"/>
                  </a:lnTo>
                  <a:lnTo>
                    <a:pt x="93" y="17"/>
                  </a:lnTo>
                  <a:lnTo>
                    <a:pt x="93" y="15"/>
                  </a:lnTo>
                  <a:lnTo>
                    <a:pt x="91" y="15"/>
                  </a:lnTo>
                  <a:lnTo>
                    <a:pt x="93" y="15"/>
                  </a:lnTo>
                  <a:lnTo>
                    <a:pt x="91" y="15"/>
                  </a:lnTo>
                  <a:lnTo>
                    <a:pt x="93" y="15"/>
                  </a:lnTo>
                  <a:lnTo>
                    <a:pt x="91" y="15"/>
                  </a:lnTo>
                  <a:lnTo>
                    <a:pt x="93" y="15"/>
                  </a:lnTo>
                  <a:lnTo>
                    <a:pt x="94" y="15"/>
                  </a:lnTo>
                  <a:lnTo>
                    <a:pt x="94" y="17"/>
                  </a:lnTo>
                  <a:lnTo>
                    <a:pt x="94" y="15"/>
                  </a:lnTo>
                  <a:lnTo>
                    <a:pt x="94" y="17"/>
                  </a:lnTo>
                  <a:lnTo>
                    <a:pt x="96" y="17"/>
                  </a:lnTo>
                  <a:lnTo>
                    <a:pt x="94" y="17"/>
                  </a:lnTo>
                  <a:lnTo>
                    <a:pt x="96" y="17"/>
                  </a:lnTo>
                  <a:lnTo>
                    <a:pt x="96" y="19"/>
                  </a:lnTo>
                  <a:lnTo>
                    <a:pt x="94" y="19"/>
                  </a:lnTo>
                  <a:lnTo>
                    <a:pt x="96" y="19"/>
                  </a:lnTo>
                  <a:lnTo>
                    <a:pt x="96" y="21"/>
                  </a:lnTo>
                  <a:lnTo>
                    <a:pt x="96" y="23"/>
                  </a:lnTo>
                  <a:lnTo>
                    <a:pt x="94" y="23"/>
                  </a:lnTo>
                  <a:lnTo>
                    <a:pt x="96" y="23"/>
                  </a:lnTo>
                  <a:lnTo>
                    <a:pt x="96" y="25"/>
                  </a:lnTo>
                  <a:lnTo>
                    <a:pt x="96" y="27"/>
                  </a:lnTo>
                  <a:lnTo>
                    <a:pt x="96" y="29"/>
                  </a:lnTo>
                  <a:lnTo>
                    <a:pt x="96" y="31"/>
                  </a:lnTo>
                  <a:lnTo>
                    <a:pt x="96" y="32"/>
                  </a:lnTo>
                  <a:lnTo>
                    <a:pt x="96" y="34"/>
                  </a:lnTo>
                  <a:lnTo>
                    <a:pt x="96" y="36"/>
                  </a:lnTo>
                  <a:lnTo>
                    <a:pt x="94" y="36"/>
                  </a:lnTo>
                  <a:lnTo>
                    <a:pt x="94" y="38"/>
                  </a:lnTo>
                  <a:lnTo>
                    <a:pt x="96" y="38"/>
                  </a:lnTo>
                  <a:lnTo>
                    <a:pt x="96" y="40"/>
                  </a:lnTo>
                  <a:lnTo>
                    <a:pt x="94" y="40"/>
                  </a:lnTo>
                  <a:lnTo>
                    <a:pt x="94" y="42"/>
                  </a:lnTo>
                  <a:lnTo>
                    <a:pt x="94" y="44"/>
                  </a:lnTo>
                  <a:lnTo>
                    <a:pt x="96" y="44"/>
                  </a:lnTo>
                  <a:lnTo>
                    <a:pt x="94" y="44"/>
                  </a:lnTo>
                  <a:lnTo>
                    <a:pt x="94" y="46"/>
                  </a:lnTo>
                  <a:lnTo>
                    <a:pt x="94" y="44"/>
                  </a:lnTo>
                  <a:lnTo>
                    <a:pt x="93" y="44"/>
                  </a:lnTo>
                  <a:lnTo>
                    <a:pt x="93" y="46"/>
                  </a:lnTo>
                  <a:lnTo>
                    <a:pt x="93" y="48"/>
                  </a:lnTo>
                  <a:lnTo>
                    <a:pt x="91" y="48"/>
                  </a:lnTo>
                  <a:lnTo>
                    <a:pt x="91" y="50"/>
                  </a:lnTo>
                  <a:lnTo>
                    <a:pt x="89" y="50"/>
                  </a:lnTo>
                  <a:lnTo>
                    <a:pt x="89" y="48"/>
                  </a:lnTo>
                  <a:lnTo>
                    <a:pt x="87" y="48"/>
                  </a:lnTo>
                  <a:lnTo>
                    <a:pt x="89" y="48"/>
                  </a:lnTo>
                  <a:lnTo>
                    <a:pt x="89" y="50"/>
                  </a:lnTo>
                  <a:lnTo>
                    <a:pt x="87" y="50"/>
                  </a:lnTo>
                  <a:lnTo>
                    <a:pt x="87" y="52"/>
                  </a:lnTo>
                  <a:lnTo>
                    <a:pt x="87" y="54"/>
                  </a:lnTo>
                  <a:lnTo>
                    <a:pt x="85" y="54"/>
                  </a:lnTo>
                  <a:lnTo>
                    <a:pt x="85" y="56"/>
                  </a:lnTo>
                  <a:lnTo>
                    <a:pt x="83" y="56"/>
                  </a:lnTo>
                  <a:lnTo>
                    <a:pt x="83" y="54"/>
                  </a:lnTo>
                  <a:lnTo>
                    <a:pt x="83" y="56"/>
                  </a:lnTo>
                  <a:lnTo>
                    <a:pt x="81" y="56"/>
                  </a:lnTo>
                  <a:lnTo>
                    <a:pt x="81" y="57"/>
                  </a:lnTo>
                  <a:lnTo>
                    <a:pt x="81" y="59"/>
                  </a:lnTo>
                  <a:lnTo>
                    <a:pt x="83" y="59"/>
                  </a:lnTo>
                  <a:lnTo>
                    <a:pt x="83" y="61"/>
                  </a:lnTo>
                  <a:lnTo>
                    <a:pt x="81" y="61"/>
                  </a:lnTo>
                  <a:lnTo>
                    <a:pt x="79" y="61"/>
                  </a:lnTo>
                  <a:lnTo>
                    <a:pt x="79" y="63"/>
                  </a:lnTo>
                  <a:lnTo>
                    <a:pt x="79" y="65"/>
                  </a:lnTo>
                  <a:lnTo>
                    <a:pt x="79" y="67"/>
                  </a:lnTo>
                  <a:lnTo>
                    <a:pt x="81" y="67"/>
                  </a:lnTo>
                  <a:lnTo>
                    <a:pt x="81" y="69"/>
                  </a:lnTo>
                  <a:lnTo>
                    <a:pt x="81" y="71"/>
                  </a:lnTo>
                  <a:lnTo>
                    <a:pt x="81" y="69"/>
                  </a:lnTo>
                  <a:lnTo>
                    <a:pt x="81" y="71"/>
                  </a:lnTo>
                  <a:lnTo>
                    <a:pt x="81" y="73"/>
                  </a:lnTo>
                  <a:lnTo>
                    <a:pt x="79" y="73"/>
                  </a:lnTo>
                  <a:lnTo>
                    <a:pt x="79" y="75"/>
                  </a:lnTo>
                  <a:lnTo>
                    <a:pt x="79" y="77"/>
                  </a:lnTo>
                  <a:lnTo>
                    <a:pt x="81" y="77"/>
                  </a:lnTo>
                  <a:lnTo>
                    <a:pt x="81" y="75"/>
                  </a:lnTo>
                  <a:lnTo>
                    <a:pt x="83" y="75"/>
                  </a:lnTo>
                  <a:lnTo>
                    <a:pt x="85" y="75"/>
                  </a:lnTo>
                  <a:lnTo>
                    <a:pt x="85" y="73"/>
                  </a:lnTo>
                  <a:lnTo>
                    <a:pt x="87" y="73"/>
                  </a:lnTo>
                  <a:lnTo>
                    <a:pt x="89" y="73"/>
                  </a:lnTo>
                  <a:lnTo>
                    <a:pt x="87" y="73"/>
                  </a:lnTo>
                  <a:lnTo>
                    <a:pt x="89" y="73"/>
                  </a:lnTo>
                  <a:lnTo>
                    <a:pt x="91" y="73"/>
                  </a:lnTo>
                  <a:lnTo>
                    <a:pt x="93" y="73"/>
                  </a:lnTo>
                  <a:lnTo>
                    <a:pt x="94" y="73"/>
                  </a:lnTo>
                  <a:lnTo>
                    <a:pt x="96" y="73"/>
                  </a:lnTo>
                  <a:lnTo>
                    <a:pt x="98" y="73"/>
                  </a:lnTo>
                  <a:lnTo>
                    <a:pt x="96" y="73"/>
                  </a:lnTo>
                  <a:lnTo>
                    <a:pt x="96" y="75"/>
                  </a:lnTo>
                  <a:lnTo>
                    <a:pt x="94" y="75"/>
                  </a:lnTo>
                  <a:lnTo>
                    <a:pt x="96" y="75"/>
                  </a:lnTo>
                  <a:lnTo>
                    <a:pt x="94" y="75"/>
                  </a:lnTo>
                  <a:lnTo>
                    <a:pt x="94" y="77"/>
                  </a:lnTo>
                  <a:lnTo>
                    <a:pt x="96" y="77"/>
                  </a:lnTo>
                  <a:lnTo>
                    <a:pt x="94" y="77"/>
                  </a:lnTo>
                  <a:lnTo>
                    <a:pt x="96" y="77"/>
                  </a:lnTo>
                  <a:lnTo>
                    <a:pt x="94" y="77"/>
                  </a:lnTo>
                  <a:lnTo>
                    <a:pt x="94" y="79"/>
                  </a:lnTo>
                  <a:lnTo>
                    <a:pt x="96" y="79"/>
                  </a:lnTo>
                  <a:lnTo>
                    <a:pt x="98" y="79"/>
                  </a:lnTo>
                  <a:lnTo>
                    <a:pt x="96" y="79"/>
                  </a:lnTo>
                  <a:lnTo>
                    <a:pt x="98" y="79"/>
                  </a:lnTo>
                  <a:lnTo>
                    <a:pt x="98" y="81"/>
                  </a:lnTo>
                  <a:lnTo>
                    <a:pt x="98" y="82"/>
                  </a:lnTo>
                  <a:lnTo>
                    <a:pt x="96" y="82"/>
                  </a:lnTo>
                  <a:lnTo>
                    <a:pt x="98" y="82"/>
                  </a:lnTo>
                  <a:lnTo>
                    <a:pt x="98" y="84"/>
                  </a:lnTo>
                  <a:lnTo>
                    <a:pt x="98" y="86"/>
                  </a:lnTo>
                  <a:lnTo>
                    <a:pt x="98" y="88"/>
                  </a:lnTo>
                  <a:lnTo>
                    <a:pt x="100" y="88"/>
                  </a:lnTo>
                  <a:lnTo>
                    <a:pt x="102" y="88"/>
                  </a:lnTo>
                  <a:lnTo>
                    <a:pt x="104" y="88"/>
                  </a:lnTo>
                  <a:lnTo>
                    <a:pt x="106" y="88"/>
                  </a:lnTo>
                  <a:lnTo>
                    <a:pt x="108" y="88"/>
                  </a:lnTo>
                  <a:lnTo>
                    <a:pt x="108" y="90"/>
                  </a:lnTo>
                  <a:lnTo>
                    <a:pt x="108" y="92"/>
                  </a:lnTo>
                  <a:lnTo>
                    <a:pt x="106" y="92"/>
                  </a:lnTo>
                  <a:lnTo>
                    <a:pt x="106" y="94"/>
                  </a:lnTo>
                  <a:lnTo>
                    <a:pt x="104" y="94"/>
                  </a:lnTo>
                  <a:lnTo>
                    <a:pt x="104" y="96"/>
                  </a:lnTo>
                  <a:lnTo>
                    <a:pt x="106" y="96"/>
                  </a:lnTo>
                  <a:lnTo>
                    <a:pt x="106" y="98"/>
                  </a:lnTo>
                  <a:lnTo>
                    <a:pt x="106" y="100"/>
                  </a:lnTo>
                  <a:lnTo>
                    <a:pt x="104" y="100"/>
                  </a:lnTo>
                  <a:lnTo>
                    <a:pt x="104" y="102"/>
                  </a:lnTo>
                  <a:lnTo>
                    <a:pt x="102" y="102"/>
                  </a:lnTo>
                  <a:lnTo>
                    <a:pt x="102" y="104"/>
                  </a:lnTo>
                  <a:lnTo>
                    <a:pt x="104" y="104"/>
                  </a:lnTo>
                  <a:lnTo>
                    <a:pt x="104" y="105"/>
                  </a:lnTo>
                  <a:lnTo>
                    <a:pt x="104" y="104"/>
                  </a:lnTo>
                  <a:lnTo>
                    <a:pt x="104" y="105"/>
                  </a:lnTo>
                  <a:lnTo>
                    <a:pt x="106" y="105"/>
                  </a:lnTo>
                  <a:lnTo>
                    <a:pt x="106" y="104"/>
                  </a:lnTo>
                  <a:lnTo>
                    <a:pt x="106" y="105"/>
                  </a:lnTo>
                  <a:lnTo>
                    <a:pt x="106" y="104"/>
                  </a:lnTo>
                  <a:lnTo>
                    <a:pt x="108" y="104"/>
                  </a:lnTo>
                  <a:lnTo>
                    <a:pt x="108" y="105"/>
                  </a:lnTo>
                  <a:lnTo>
                    <a:pt x="108" y="104"/>
                  </a:lnTo>
                  <a:lnTo>
                    <a:pt x="108" y="105"/>
                  </a:lnTo>
                  <a:lnTo>
                    <a:pt x="108" y="104"/>
                  </a:lnTo>
                  <a:lnTo>
                    <a:pt x="108" y="105"/>
                  </a:lnTo>
                  <a:lnTo>
                    <a:pt x="108" y="104"/>
                  </a:lnTo>
                  <a:lnTo>
                    <a:pt x="108" y="105"/>
                  </a:lnTo>
                  <a:lnTo>
                    <a:pt x="110" y="105"/>
                  </a:lnTo>
                  <a:lnTo>
                    <a:pt x="112" y="105"/>
                  </a:lnTo>
                  <a:lnTo>
                    <a:pt x="114" y="105"/>
                  </a:lnTo>
                  <a:lnTo>
                    <a:pt x="112" y="105"/>
                  </a:lnTo>
                  <a:lnTo>
                    <a:pt x="114" y="105"/>
                  </a:lnTo>
                  <a:lnTo>
                    <a:pt x="114" y="107"/>
                  </a:lnTo>
                  <a:lnTo>
                    <a:pt x="114" y="109"/>
                  </a:lnTo>
                  <a:lnTo>
                    <a:pt x="114" y="111"/>
                  </a:lnTo>
                  <a:lnTo>
                    <a:pt x="116" y="111"/>
                  </a:lnTo>
                  <a:lnTo>
                    <a:pt x="118" y="111"/>
                  </a:lnTo>
                  <a:lnTo>
                    <a:pt x="116" y="111"/>
                  </a:lnTo>
                  <a:lnTo>
                    <a:pt x="118" y="111"/>
                  </a:lnTo>
                  <a:lnTo>
                    <a:pt x="116" y="111"/>
                  </a:lnTo>
                  <a:lnTo>
                    <a:pt x="116" y="113"/>
                  </a:lnTo>
                  <a:lnTo>
                    <a:pt x="118" y="113"/>
                  </a:lnTo>
                  <a:lnTo>
                    <a:pt x="118" y="115"/>
                  </a:lnTo>
                  <a:lnTo>
                    <a:pt x="118" y="113"/>
                  </a:lnTo>
                  <a:lnTo>
                    <a:pt x="118" y="115"/>
                  </a:lnTo>
                  <a:lnTo>
                    <a:pt x="119" y="115"/>
                  </a:lnTo>
                  <a:lnTo>
                    <a:pt x="119" y="113"/>
                  </a:lnTo>
                  <a:lnTo>
                    <a:pt x="121" y="113"/>
                  </a:lnTo>
                  <a:lnTo>
                    <a:pt x="121" y="115"/>
                  </a:lnTo>
                  <a:lnTo>
                    <a:pt x="123" y="115"/>
                  </a:lnTo>
                  <a:lnTo>
                    <a:pt x="125" y="115"/>
                  </a:lnTo>
                  <a:lnTo>
                    <a:pt x="125" y="113"/>
                  </a:lnTo>
                  <a:lnTo>
                    <a:pt x="127" y="113"/>
                  </a:lnTo>
                  <a:lnTo>
                    <a:pt x="127" y="111"/>
                  </a:lnTo>
                  <a:lnTo>
                    <a:pt x="129" y="111"/>
                  </a:lnTo>
                  <a:lnTo>
                    <a:pt x="129" y="109"/>
                  </a:lnTo>
                  <a:lnTo>
                    <a:pt x="131" y="109"/>
                  </a:lnTo>
                  <a:lnTo>
                    <a:pt x="131" y="111"/>
                  </a:lnTo>
                  <a:lnTo>
                    <a:pt x="131" y="113"/>
                  </a:lnTo>
                  <a:close/>
                  <a:moveTo>
                    <a:pt x="20" y="146"/>
                  </a:moveTo>
                  <a:lnTo>
                    <a:pt x="20" y="148"/>
                  </a:lnTo>
                  <a:lnTo>
                    <a:pt x="20" y="146"/>
                  </a:lnTo>
                  <a:lnTo>
                    <a:pt x="20" y="148"/>
                  </a:lnTo>
                  <a:lnTo>
                    <a:pt x="20" y="146"/>
                  </a:lnTo>
                  <a:lnTo>
                    <a:pt x="22" y="148"/>
                  </a:lnTo>
                  <a:lnTo>
                    <a:pt x="22" y="146"/>
                  </a:lnTo>
                  <a:lnTo>
                    <a:pt x="22" y="148"/>
                  </a:lnTo>
                  <a:lnTo>
                    <a:pt x="22" y="150"/>
                  </a:lnTo>
                  <a:lnTo>
                    <a:pt x="22" y="148"/>
                  </a:lnTo>
                  <a:lnTo>
                    <a:pt x="23" y="148"/>
                  </a:lnTo>
                  <a:lnTo>
                    <a:pt x="23" y="150"/>
                  </a:lnTo>
                  <a:lnTo>
                    <a:pt x="25" y="150"/>
                  </a:lnTo>
                  <a:lnTo>
                    <a:pt x="25" y="152"/>
                  </a:lnTo>
                  <a:lnTo>
                    <a:pt x="25" y="154"/>
                  </a:lnTo>
                  <a:lnTo>
                    <a:pt x="27" y="154"/>
                  </a:lnTo>
                  <a:lnTo>
                    <a:pt x="25" y="154"/>
                  </a:lnTo>
                  <a:lnTo>
                    <a:pt x="25" y="155"/>
                  </a:lnTo>
                  <a:lnTo>
                    <a:pt x="25" y="154"/>
                  </a:lnTo>
                  <a:lnTo>
                    <a:pt x="23" y="154"/>
                  </a:lnTo>
                  <a:lnTo>
                    <a:pt x="22" y="154"/>
                  </a:lnTo>
                  <a:lnTo>
                    <a:pt x="22" y="152"/>
                  </a:lnTo>
                  <a:lnTo>
                    <a:pt x="22" y="150"/>
                  </a:lnTo>
                  <a:lnTo>
                    <a:pt x="20" y="150"/>
                  </a:lnTo>
                  <a:lnTo>
                    <a:pt x="20" y="148"/>
                  </a:lnTo>
                  <a:lnTo>
                    <a:pt x="20" y="146"/>
                  </a:lnTo>
                  <a:close/>
                  <a:moveTo>
                    <a:pt x="22" y="155"/>
                  </a:moveTo>
                  <a:lnTo>
                    <a:pt x="23" y="155"/>
                  </a:lnTo>
                  <a:lnTo>
                    <a:pt x="23" y="157"/>
                  </a:lnTo>
                  <a:lnTo>
                    <a:pt x="22" y="157"/>
                  </a:lnTo>
                  <a:lnTo>
                    <a:pt x="20" y="157"/>
                  </a:lnTo>
                  <a:lnTo>
                    <a:pt x="20" y="155"/>
                  </a:lnTo>
                  <a:lnTo>
                    <a:pt x="22" y="155"/>
                  </a:lnTo>
                  <a:lnTo>
                    <a:pt x="22" y="154"/>
                  </a:lnTo>
                  <a:lnTo>
                    <a:pt x="22" y="155"/>
                  </a:lnTo>
                  <a:close/>
                  <a:moveTo>
                    <a:pt x="91" y="250"/>
                  </a:moveTo>
                  <a:lnTo>
                    <a:pt x="91" y="251"/>
                  </a:lnTo>
                  <a:lnTo>
                    <a:pt x="93" y="251"/>
                  </a:lnTo>
                  <a:lnTo>
                    <a:pt x="91" y="251"/>
                  </a:lnTo>
                  <a:lnTo>
                    <a:pt x="93" y="251"/>
                  </a:lnTo>
                  <a:lnTo>
                    <a:pt x="91" y="251"/>
                  </a:lnTo>
                  <a:lnTo>
                    <a:pt x="93" y="251"/>
                  </a:lnTo>
                  <a:lnTo>
                    <a:pt x="93" y="250"/>
                  </a:lnTo>
                  <a:lnTo>
                    <a:pt x="93" y="251"/>
                  </a:lnTo>
                  <a:lnTo>
                    <a:pt x="93" y="253"/>
                  </a:lnTo>
                  <a:lnTo>
                    <a:pt x="91" y="253"/>
                  </a:lnTo>
                  <a:lnTo>
                    <a:pt x="91" y="255"/>
                  </a:lnTo>
                  <a:lnTo>
                    <a:pt x="91" y="253"/>
                  </a:lnTo>
                  <a:lnTo>
                    <a:pt x="91" y="251"/>
                  </a:lnTo>
                  <a:lnTo>
                    <a:pt x="89" y="251"/>
                  </a:lnTo>
                  <a:lnTo>
                    <a:pt x="91" y="251"/>
                  </a:lnTo>
                  <a:lnTo>
                    <a:pt x="89" y="251"/>
                  </a:lnTo>
                  <a:lnTo>
                    <a:pt x="89" y="250"/>
                  </a:lnTo>
                  <a:lnTo>
                    <a:pt x="91" y="251"/>
                  </a:lnTo>
                  <a:lnTo>
                    <a:pt x="91" y="250"/>
                  </a:lnTo>
                  <a:lnTo>
                    <a:pt x="89" y="250"/>
                  </a:lnTo>
                  <a:lnTo>
                    <a:pt x="91" y="250"/>
                  </a:lnTo>
                  <a:close/>
                  <a:moveTo>
                    <a:pt x="37" y="196"/>
                  </a:moveTo>
                  <a:lnTo>
                    <a:pt x="37" y="198"/>
                  </a:lnTo>
                  <a:lnTo>
                    <a:pt x="35" y="198"/>
                  </a:lnTo>
                  <a:lnTo>
                    <a:pt x="35" y="200"/>
                  </a:lnTo>
                  <a:lnTo>
                    <a:pt x="33" y="200"/>
                  </a:lnTo>
                  <a:lnTo>
                    <a:pt x="33" y="202"/>
                  </a:lnTo>
                  <a:lnTo>
                    <a:pt x="33" y="200"/>
                  </a:lnTo>
                  <a:lnTo>
                    <a:pt x="33" y="198"/>
                  </a:lnTo>
                  <a:lnTo>
                    <a:pt x="35" y="198"/>
                  </a:lnTo>
                  <a:lnTo>
                    <a:pt x="35" y="196"/>
                  </a:lnTo>
                  <a:lnTo>
                    <a:pt x="37" y="196"/>
                  </a:lnTo>
                  <a:close/>
                  <a:moveTo>
                    <a:pt x="22" y="144"/>
                  </a:moveTo>
                  <a:lnTo>
                    <a:pt x="23" y="144"/>
                  </a:lnTo>
                  <a:lnTo>
                    <a:pt x="23" y="146"/>
                  </a:lnTo>
                  <a:lnTo>
                    <a:pt x="25" y="146"/>
                  </a:lnTo>
                  <a:lnTo>
                    <a:pt x="25" y="148"/>
                  </a:lnTo>
                  <a:lnTo>
                    <a:pt x="25" y="146"/>
                  </a:lnTo>
                  <a:lnTo>
                    <a:pt x="25" y="148"/>
                  </a:lnTo>
                  <a:lnTo>
                    <a:pt x="23" y="148"/>
                  </a:lnTo>
                  <a:lnTo>
                    <a:pt x="25" y="148"/>
                  </a:lnTo>
                  <a:lnTo>
                    <a:pt x="23" y="148"/>
                  </a:lnTo>
                  <a:lnTo>
                    <a:pt x="22" y="148"/>
                  </a:lnTo>
                  <a:lnTo>
                    <a:pt x="23" y="148"/>
                  </a:lnTo>
                  <a:lnTo>
                    <a:pt x="22" y="148"/>
                  </a:lnTo>
                  <a:lnTo>
                    <a:pt x="22" y="146"/>
                  </a:lnTo>
                  <a:lnTo>
                    <a:pt x="22" y="144"/>
                  </a:lnTo>
                  <a:close/>
                  <a:moveTo>
                    <a:pt x="93" y="263"/>
                  </a:moveTo>
                  <a:lnTo>
                    <a:pt x="93" y="265"/>
                  </a:lnTo>
                  <a:lnTo>
                    <a:pt x="93" y="263"/>
                  </a:lnTo>
                  <a:lnTo>
                    <a:pt x="93" y="265"/>
                  </a:lnTo>
                  <a:lnTo>
                    <a:pt x="93" y="267"/>
                  </a:lnTo>
                  <a:lnTo>
                    <a:pt x="93" y="265"/>
                  </a:lnTo>
                  <a:lnTo>
                    <a:pt x="93" y="267"/>
                  </a:lnTo>
                  <a:lnTo>
                    <a:pt x="91" y="267"/>
                  </a:lnTo>
                  <a:lnTo>
                    <a:pt x="91" y="265"/>
                  </a:lnTo>
                  <a:lnTo>
                    <a:pt x="93" y="265"/>
                  </a:lnTo>
                  <a:lnTo>
                    <a:pt x="91" y="265"/>
                  </a:lnTo>
                  <a:lnTo>
                    <a:pt x="93" y="265"/>
                  </a:lnTo>
                  <a:lnTo>
                    <a:pt x="91" y="265"/>
                  </a:lnTo>
                  <a:lnTo>
                    <a:pt x="91" y="263"/>
                  </a:lnTo>
                  <a:lnTo>
                    <a:pt x="91" y="265"/>
                  </a:lnTo>
                  <a:lnTo>
                    <a:pt x="91" y="263"/>
                  </a:lnTo>
                  <a:lnTo>
                    <a:pt x="93" y="263"/>
                  </a:lnTo>
                  <a:lnTo>
                    <a:pt x="91" y="263"/>
                  </a:lnTo>
                  <a:lnTo>
                    <a:pt x="93" y="263"/>
                  </a:lnTo>
                  <a:lnTo>
                    <a:pt x="91" y="263"/>
                  </a:lnTo>
                  <a:lnTo>
                    <a:pt x="93" y="263"/>
                  </a:lnTo>
                  <a:close/>
                  <a:moveTo>
                    <a:pt x="77" y="192"/>
                  </a:moveTo>
                  <a:lnTo>
                    <a:pt x="79" y="192"/>
                  </a:lnTo>
                  <a:lnTo>
                    <a:pt x="79" y="194"/>
                  </a:lnTo>
                  <a:lnTo>
                    <a:pt x="79" y="196"/>
                  </a:lnTo>
                  <a:lnTo>
                    <a:pt x="77" y="196"/>
                  </a:lnTo>
                  <a:lnTo>
                    <a:pt x="77" y="194"/>
                  </a:lnTo>
                  <a:lnTo>
                    <a:pt x="77" y="192"/>
                  </a:lnTo>
                  <a:close/>
                  <a:moveTo>
                    <a:pt x="89" y="263"/>
                  </a:moveTo>
                  <a:lnTo>
                    <a:pt x="91" y="263"/>
                  </a:lnTo>
                  <a:lnTo>
                    <a:pt x="89" y="263"/>
                  </a:lnTo>
                  <a:lnTo>
                    <a:pt x="91" y="263"/>
                  </a:lnTo>
                  <a:lnTo>
                    <a:pt x="89" y="263"/>
                  </a:lnTo>
                  <a:lnTo>
                    <a:pt x="89" y="265"/>
                  </a:lnTo>
                  <a:lnTo>
                    <a:pt x="89" y="267"/>
                  </a:lnTo>
                  <a:lnTo>
                    <a:pt x="89" y="269"/>
                  </a:lnTo>
                  <a:lnTo>
                    <a:pt x="87" y="269"/>
                  </a:lnTo>
                  <a:lnTo>
                    <a:pt x="87" y="267"/>
                  </a:lnTo>
                  <a:lnTo>
                    <a:pt x="89" y="267"/>
                  </a:lnTo>
                  <a:lnTo>
                    <a:pt x="89" y="265"/>
                  </a:lnTo>
                  <a:lnTo>
                    <a:pt x="89" y="263"/>
                  </a:lnTo>
                  <a:close/>
                  <a:moveTo>
                    <a:pt x="91" y="257"/>
                  </a:moveTo>
                  <a:lnTo>
                    <a:pt x="94" y="257"/>
                  </a:lnTo>
                  <a:lnTo>
                    <a:pt x="94" y="261"/>
                  </a:lnTo>
                  <a:lnTo>
                    <a:pt x="91" y="261"/>
                  </a:lnTo>
                  <a:lnTo>
                    <a:pt x="91" y="257"/>
                  </a:lnTo>
                  <a:close/>
                  <a:moveTo>
                    <a:pt x="12" y="136"/>
                  </a:moveTo>
                  <a:lnTo>
                    <a:pt x="14" y="136"/>
                  </a:lnTo>
                  <a:lnTo>
                    <a:pt x="14" y="138"/>
                  </a:lnTo>
                  <a:lnTo>
                    <a:pt x="14" y="140"/>
                  </a:lnTo>
                  <a:lnTo>
                    <a:pt x="14" y="138"/>
                  </a:lnTo>
                  <a:lnTo>
                    <a:pt x="12" y="138"/>
                  </a:lnTo>
                  <a:lnTo>
                    <a:pt x="12" y="136"/>
                  </a:lnTo>
                  <a:close/>
                  <a:moveTo>
                    <a:pt x="94" y="261"/>
                  </a:moveTo>
                  <a:lnTo>
                    <a:pt x="96" y="261"/>
                  </a:lnTo>
                  <a:lnTo>
                    <a:pt x="96" y="263"/>
                  </a:lnTo>
                  <a:lnTo>
                    <a:pt x="94" y="263"/>
                  </a:lnTo>
                  <a:lnTo>
                    <a:pt x="94" y="261"/>
                  </a:lnTo>
                  <a:close/>
                  <a:moveTo>
                    <a:pt x="89" y="275"/>
                  </a:moveTo>
                  <a:lnTo>
                    <a:pt x="89" y="276"/>
                  </a:lnTo>
                  <a:lnTo>
                    <a:pt x="89" y="278"/>
                  </a:lnTo>
                  <a:lnTo>
                    <a:pt x="91" y="278"/>
                  </a:lnTo>
                  <a:lnTo>
                    <a:pt x="89" y="278"/>
                  </a:lnTo>
                  <a:lnTo>
                    <a:pt x="89" y="276"/>
                  </a:lnTo>
                  <a:lnTo>
                    <a:pt x="87" y="276"/>
                  </a:lnTo>
                  <a:lnTo>
                    <a:pt x="89" y="276"/>
                  </a:lnTo>
                  <a:lnTo>
                    <a:pt x="87" y="276"/>
                  </a:lnTo>
                  <a:lnTo>
                    <a:pt x="87" y="275"/>
                  </a:lnTo>
                  <a:lnTo>
                    <a:pt x="89" y="275"/>
                  </a:lnTo>
                  <a:close/>
                  <a:moveTo>
                    <a:pt x="87" y="288"/>
                  </a:moveTo>
                  <a:lnTo>
                    <a:pt x="91" y="288"/>
                  </a:lnTo>
                  <a:lnTo>
                    <a:pt x="91" y="292"/>
                  </a:lnTo>
                  <a:lnTo>
                    <a:pt x="87" y="292"/>
                  </a:lnTo>
                  <a:lnTo>
                    <a:pt x="87" y="288"/>
                  </a:lnTo>
                  <a:close/>
                  <a:moveTo>
                    <a:pt x="18" y="138"/>
                  </a:moveTo>
                  <a:lnTo>
                    <a:pt x="20" y="138"/>
                  </a:lnTo>
                  <a:lnTo>
                    <a:pt x="20" y="142"/>
                  </a:lnTo>
                  <a:lnTo>
                    <a:pt x="18" y="142"/>
                  </a:lnTo>
                  <a:lnTo>
                    <a:pt x="18" y="138"/>
                  </a:lnTo>
                  <a:close/>
                  <a:moveTo>
                    <a:pt x="25" y="148"/>
                  </a:moveTo>
                  <a:lnTo>
                    <a:pt x="27" y="148"/>
                  </a:lnTo>
                  <a:lnTo>
                    <a:pt x="27" y="152"/>
                  </a:lnTo>
                  <a:lnTo>
                    <a:pt x="25" y="152"/>
                  </a:lnTo>
                  <a:lnTo>
                    <a:pt x="25" y="148"/>
                  </a:lnTo>
                  <a:close/>
                  <a:moveTo>
                    <a:pt x="45" y="198"/>
                  </a:moveTo>
                  <a:lnTo>
                    <a:pt x="46" y="198"/>
                  </a:lnTo>
                  <a:lnTo>
                    <a:pt x="46" y="202"/>
                  </a:lnTo>
                  <a:lnTo>
                    <a:pt x="45" y="202"/>
                  </a:lnTo>
                  <a:lnTo>
                    <a:pt x="45" y="198"/>
                  </a:lnTo>
                  <a:close/>
                  <a:moveTo>
                    <a:pt x="93" y="259"/>
                  </a:moveTo>
                  <a:lnTo>
                    <a:pt x="96" y="259"/>
                  </a:lnTo>
                  <a:lnTo>
                    <a:pt x="96" y="261"/>
                  </a:lnTo>
                  <a:lnTo>
                    <a:pt x="93" y="261"/>
                  </a:lnTo>
                  <a:lnTo>
                    <a:pt x="93" y="259"/>
                  </a:lnTo>
                  <a:close/>
                  <a:moveTo>
                    <a:pt x="85" y="253"/>
                  </a:moveTo>
                  <a:lnTo>
                    <a:pt x="87" y="253"/>
                  </a:lnTo>
                  <a:lnTo>
                    <a:pt x="87" y="255"/>
                  </a:lnTo>
                  <a:lnTo>
                    <a:pt x="85" y="255"/>
                  </a:lnTo>
                  <a:lnTo>
                    <a:pt x="85" y="253"/>
                  </a:lnTo>
                  <a:close/>
                  <a:moveTo>
                    <a:pt x="87" y="255"/>
                  </a:moveTo>
                  <a:lnTo>
                    <a:pt x="87" y="257"/>
                  </a:lnTo>
                  <a:lnTo>
                    <a:pt x="87" y="255"/>
                  </a:lnTo>
                  <a:close/>
                  <a:moveTo>
                    <a:pt x="22" y="140"/>
                  </a:moveTo>
                  <a:lnTo>
                    <a:pt x="23" y="140"/>
                  </a:lnTo>
                  <a:lnTo>
                    <a:pt x="23" y="142"/>
                  </a:lnTo>
                  <a:lnTo>
                    <a:pt x="22" y="142"/>
                  </a:lnTo>
                  <a:lnTo>
                    <a:pt x="22" y="140"/>
                  </a:lnTo>
                  <a:close/>
                  <a:moveTo>
                    <a:pt x="25" y="146"/>
                  </a:moveTo>
                  <a:lnTo>
                    <a:pt x="27" y="146"/>
                  </a:lnTo>
                  <a:lnTo>
                    <a:pt x="27" y="148"/>
                  </a:lnTo>
                  <a:lnTo>
                    <a:pt x="25" y="148"/>
                  </a:lnTo>
                  <a:lnTo>
                    <a:pt x="25" y="146"/>
                  </a:lnTo>
                  <a:close/>
                  <a:moveTo>
                    <a:pt x="37" y="200"/>
                  </a:moveTo>
                  <a:lnTo>
                    <a:pt x="39" y="200"/>
                  </a:lnTo>
                  <a:lnTo>
                    <a:pt x="39" y="202"/>
                  </a:lnTo>
                  <a:lnTo>
                    <a:pt x="37" y="202"/>
                  </a:lnTo>
                  <a:lnTo>
                    <a:pt x="37" y="200"/>
                  </a:lnTo>
                  <a:close/>
                  <a:moveTo>
                    <a:pt x="89" y="242"/>
                  </a:moveTo>
                  <a:lnTo>
                    <a:pt x="89" y="244"/>
                  </a:lnTo>
                  <a:lnTo>
                    <a:pt x="91" y="244"/>
                  </a:lnTo>
                  <a:lnTo>
                    <a:pt x="89" y="244"/>
                  </a:lnTo>
                  <a:lnTo>
                    <a:pt x="89" y="246"/>
                  </a:lnTo>
                  <a:lnTo>
                    <a:pt x="91" y="246"/>
                  </a:lnTo>
                  <a:lnTo>
                    <a:pt x="89" y="246"/>
                  </a:lnTo>
                  <a:lnTo>
                    <a:pt x="91" y="246"/>
                  </a:lnTo>
                  <a:lnTo>
                    <a:pt x="89" y="246"/>
                  </a:lnTo>
                  <a:lnTo>
                    <a:pt x="89" y="244"/>
                  </a:lnTo>
                  <a:lnTo>
                    <a:pt x="89" y="242"/>
                  </a:lnTo>
                  <a:close/>
                  <a:moveTo>
                    <a:pt x="93" y="253"/>
                  </a:moveTo>
                  <a:lnTo>
                    <a:pt x="94" y="253"/>
                  </a:lnTo>
                  <a:lnTo>
                    <a:pt x="94" y="255"/>
                  </a:lnTo>
                  <a:lnTo>
                    <a:pt x="93" y="255"/>
                  </a:lnTo>
                  <a:lnTo>
                    <a:pt x="93" y="253"/>
                  </a:lnTo>
                  <a:close/>
                  <a:moveTo>
                    <a:pt x="94" y="263"/>
                  </a:moveTo>
                  <a:lnTo>
                    <a:pt x="96" y="263"/>
                  </a:lnTo>
                  <a:lnTo>
                    <a:pt x="96" y="265"/>
                  </a:lnTo>
                  <a:lnTo>
                    <a:pt x="94" y="265"/>
                  </a:lnTo>
                  <a:lnTo>
                    <a:pt x="94" y="263"/>
                  </a:lnTo>
                  <a:close/>
                  <a:moveTo>
                    <a:pt x="12" y="136"/>
                  </a:moveTo>
                  <a:lnTo>
                    <a:pt x="12" y="138"/>
                  </a:lnTo>
                  <a:lnTo>
                    <a:pt x="12" y="140"/>
                  </a:lnTo>
                  <a:lnTo>
                    <a:pt x="12" y="138"/>
                  </a:lnTo>
                  <a:lnTo>
                    <a:pt x="12" y="136"/>
                  </a:lnTo>
                  <a:lnTo>
                    <a:pt x="10" y="136"/>
                  </a:lnTo>
                  <a:lnTo>
                    <a:pt x="12" y="136"/>
                  </a:lnTo>
                  <a:lnTo>
                    <a:pt x="10" y="136"/>
                  </a:lnTo>
                  <a:lnTo>
                    <a:pt x="12" y="136"/>
                  </a:lnTo>
                  <a:close/>
                  <a:moveTo>
                    <a:pt x="85" y="261"/>
                  </a:moveTo>
                  <a:lnTo>
                    <a:pt x="87" y="261"/>
                  </a:lnTo>
                  <a:lnTo>
                    <a:pt x="87" y="265"/>
                  </a:lnTo>
                  <a:lnTo>
                    <a:pt x="85" y="265"/>
                  </a:lnTo>
                  <a:lnTo>
                    <a:pt x="85" y="261"/>
                  </a:lnTo>
                  <a:close/>
                  <a:moveTo>
                    <a:pt x="41" y="200"/>
                  </a:moveTo>
                  <a:lnTo>
                    <a:pt x="43" y="200"/>
                  </a:lnTo>
                  <a:lnTo>
                    <a:pt x="43" y="202"/>
                  </a:lnTo>
                  <a:lnTo>
                    <a:pt x="41" y="202"/>
                  </a:lnTo>
                  <a:lnTo>
                    <a:pt x="41" y="200"/>
                  </a:lnTo>
                  <a:close/>
                  <a:moveTo>
                    <a:pt x="93" y="273"/>
                  </a:moveTo>
                  <a:lnTo>
                    <a:pt x="93" y="275"/>
                  </a:lnTo>
                  <a:lnTo>
                    <a:pt x="93" y="273"/>
                  </a:lnTo>
                  <a:close/>
                  <a:moveTo>
                    <a:pt x="25" y="148"/>
                  </a:moveTo>
                  <a:lnTo>
                    <a:pt x="27" y="148"/>
                  </a:lnTo>
                  <a:lnTo>
                    <a:pt x="25" y="148"/>
                  </a:lnTo>
                  <a:close/>
                  <a:moveTo>
                    <a:pt x="93" y="276"/>
                  </a:moveTo>
                  <a:lnTo>
                    <a:pt x="93" y="278"/>
                  </a:lnTo>
                  <a:lnTo>
                    <a:pt x="93" y="276"/>
                  </a:lnTo>
                  <a:close/>
                  <a:moveTo>
                    <a:pt x="35" y="194"/>
                  </a:moveTo>
                  <a:lnTo>
                    <a:pt x="37" y="194"/>
                  </a:lnTo>
                  <a:lnTo>
                    <a:pt x="37" y="196"/>
                  </a:lnTo>
                  <a:lnTo>
                    <a:pt x="35" y="196"/>
                  </a:lnTo>
                  <a:lnTo>
                    <a:pt x="35" y="194"/>
                  </a:lnTo>
                  <a:close/>
                  <a:moveTo>
                    <a:pt x="93" y="251"/>
                  </a:moveTo>
                  <a:lnTo>
                    <a:pt x="93" y="253"/>
                  </a:lnTo>
                  <a:lnTo>
                    <a:pt x="93" y="251"/>
                  </a:lnTo>
                  <a:close/>
                  <a:moveTo>
                    <a:pt x="14" y="136"/>
                  </a:moveTo>
                  <a:lnTo>
                    <a:pt x="14" y="138"/>
                  </a:lnTo>
                  <a:lnTo>
                    <a:pt x="16" y="138"/>
                  </a:lnTo>
                  <a:lnTo>
                    <a:pt x="16" y="140"/>
                  </a:lnTo>
                  <a:lnTo>
                    <a:pt x="16" y="138"/>
                  </a:lnTo>
                  <a:lnTo>
                    <a:pt x="14" y="138"/>
                  </a:lnTo>
                  <a:lnTo>
                    <a:pt x="14" y="136"/>
                  </a:lnTo>
                  <a:close/>
                  <a:moveTo>
                    <a:pt x="87" y="286"/>
                  </a:moveTo>
                  <a:lnTo>
                    <a:pt x="89" y="286"/>
                  </a:lnTo>
                  <a:lnTo>
                    <a:pt x="89" y="288"/>
                  </a:lnTo>
                  <a:lnTo>
                    <a:pt x="87" y="288"/>
                  </a:lnTo>
                  <a:lnTo>
                    <a:pt x="87" y="286"/>
                  </a:lnTo>
                  <a:close/>
                  <a:moveTo>
                    <a:pt x="25" y="146"/>
                  </a:moveTo>
                  <a:lnTo>
                    <a:pt x="27" y="146"/>
                  </a:lnTo>
                  <a:lnTo>
                    <a:pt x="27" y="148"/>
                  </a:lnTo>
                  <a:lnTo>
                    <a:pt x="25" y="148"/>
                  </a:lnTo>
                  <a:lnTo>
                    <a:pt x="25" y="146"/>
                  </a:lnTo>
                  <a:close/>
                  <a:moveTo>
                    <a:pt x="20" y="138"/>
                  </a:moveTo>
                  <a:lnTo>
                    <a:pt x="22" y="138"/>
                  </a:lnTo>
                  <a:lnTo>
                    <a:pt x="22" y="140"/>
                  </a:lnTo>
                  <a:lnTo>
                    <a:pt x="20" y="140"/>
                  </a:lnTo>
                  <a:lnTo>
                    <a:pt x="20" y="138"/>
                  </a:lnTo>
                  <a:close/>
                  <a:moveTo>
                    <a:pt x="14" y="134"/>
                  </a:moveTo>
                  <a:lnTo>
                    <a:pt x="14" y="136"/>
                  </a:lnTo>
                  <a:lnTo>
                    <a:pt x="14" y="134"/>
                  </a:lnTo>
                  <a:close/>
                  <a:moveTo>
                    <a:pt x="41" y="202"/>
                  </a:moveTo>
                  <a:lnTo>
                    <a:pt x="43" y="202"/>
                  </a:lnTo>
                  <a:lnTo>
                    <a:pt x="43" y="203"/>
                  </a:lnTo>
                  <a:lnTo>
                    <a:pt x="41" y="203"/>
                  </a:lnTo>
                  <a:lnTo>
                    <a:pt x="41" y="202"/>
                  </a:lnTo>
                  <a:close/>
                  <a:moveTo>
                    <a:pt x="83" y="275"/>
                  </a:moveTo>
                  <a:lnTo>
                    <a:pt x="85" y="275"/>
                  </a:lnTo>
                  <a:lnTo>
                    <a:pt x="85" y="276"/>
                  </a:lnTo>
                  <a:lnTo>
                    <a:pt x="83" y="276"/>
                  </a:lnTo>
                  <a:lnTo>
                    <a:pt x="83" y="275"/>
                  </a:lnTo>
                  <a:close/>
                  <a:moveTo>
                    <a:pt x="20" y="142"/>
                  </a:moveTo>
                  <a:lnTo>
                    <a:pt x="22" y="142"/>
                  </a:lnTo>
                  <a:lnTo>
                    <a:pt x="20" y="142"/>
                  </a:lnTo>
                  <a:close/>
                  <a:moveTo>
                    <a:pt x="83" y="282"/>
                  </a:moveTo>
                  <a:lnTo>
                    <a:pt x="85" y="282"/>
                  </a:lnTo>
                  <a:lnTo>
                    <a:pt x="85" y="284"/>
                  </a:lnTo>
                  <a:lnTo>
                    <a:pt x="83" y="284"/>
                  </a:lnTo>
                  <a:lnTo>
                    <a:pt x="83" y="282"/>
                  </a:lnTo>
                  <a:close/>
                  <a:moveTo>
                    <a:pt x="18" y="142"/>
                  </a:moveTo>
                  <a:lnTo>
                    <a:pt x="20" y="142"/>
                  </a:lnTo>
                  <a:lnTo>
                    <a:pt x="18" y="142"/>
                  </a:lnTo>
                  <a:close/>
                  <a:moveTo>
                    <a:pt x="91" y="253"/>
                  </a:moveTo>
                  <a:lnTo>
                    <a:pt x="93" y="253"/>
                  </a:lnTo>
                  <a:lnTo>
                    <a:pt x="93" y="255"/>
                  </a:lnTo>
                  <a:lnTo>
                    <a:pt x="91" y="255"/>
                  </a:lnTo>
                  <a:lnTo>
                    <a:pt x="91" y="253"/>
                  </a:lnTo>
                  <a:close/>
                  <a:moveTo>
                    <a:pt x="35" y="194"/>
                  </a:moveTo>
                  <a:lnTo>
                    <a:pt x="35" y="196"/>
                  </a:lnTo>
                  <a:lnTo>
                    <a:pt x="35" y="194"/>
                  </a:lnTo>
                  <a:close/>
                  <a:moveTo>
                    <a:pt x="93" y="240"/>
                  </a:moveTo>
                  <a:lnTo>
                    <a:pt x="93" y="242"/>
                  </a:lnTo>
                  <a:lnTo>
                    <a:pt x="93" y="240"/>
                  </a:lnTo>
                  <a:close/>
                  <a:moveTo>
                    <a:pt x="85" y="292"/>
                  </a:moveTo>
                  <a:lnTo>
                    <a:pt x="87" y="292"/>
                  </a:lnTo>
                  <a:lnTo>
                    <a:pt x="85" y="292"/>
                  </a:lnTo>
                  <a:close/>
                  <a:moveTo>
                    <a:pt x="39" y="198"/>
                  </a:moveTo>
                  <a:lnTo>
                    <a:pt x="39" y="200"/>
                  </a:lnTo>
                  <a:lnTo>
                    <a:pt x="39" y="198"/>
                  </a:lnTo>
                  <a:close/>
                  <a:moveTo>
                    <a:pt x="23" y="144"/>
                  </a:moveTo>
                  <a:lnTo>
                    <a:pt x="25" y="144"/>
                  </a:lnTo>
                  <a:lnTo>
                    <a:pt x="25" y="146"/>
                  </a:lnTo>
                  <a:lnTo>
                    <a:pt x="23" y="146"/>
                  </a:lnTo>
                  <a:lnTo>
                    <a:pt x="23" y="144"/>
                  </a:lnTo>
                  <a:close/>
                  <a:moveTo>
                    <a:pt x="79" y="194"/>
                  </a:moveTo>
                  <a:lnTo>
                    <a:pt x="79" y="196"/>
                  </a:lnTo>
                  <a:lnTo>
                    <a:pt x="79" y="194"/>
                  </a:lnTo>
                  <a:close/>
                  <a:moveTo>
                    <a:pt x="94" y="259"/>
                  </a:moveTo>
                  <a:lnTo>
                    <a:pt x="94" y="261"/>
                  </a:lnTo>
                  <a:lnTo>
                    <a:pt x="94" y="259"/>
                  </a:lnTo>
                  <a:close/>
                  <a:moveTo>
                    <a:pt x="89" y="232"/>
                  </a:moveTo>
                  <a:lnTo>
                    <a:pt x="89" y="234"/>
                  </a:lnTo>
                  <a:lnTo>
                    <a:pt x="89" y="232"/>
                  </a:lnTo>
                  <a:close/>
                  <a:moveTo>
                    <a:pt x="83" y="217"/>
                  </a:moveTo>
                  <a:lnTo>
                    <a:pt x="85" y="217"/>
                  </a:lnTo>
                  <a:lnTo>
                    <a:pt x="85" y="219"/>
                  </a:lnTo>
                  <a:lnTo>
                    <a:pt x="83" y="219"/>
                  </a:lnTo>
                  <a:lnTo>
                    <a:pt x="83" y="217"/>
                  </a:lnTo>
                  <a:close/>
                  <a:moveTo>
                    <a:pt x="89" y="269"/>
                  </a:moveTo>
                  <a:lnTo>
                    <a:pt x="89" y="271"/>
                  </a:lnTo>
                  <a:lnTo>
                    <a:pt x="89" y="269"/>
                  </a:lnTo>
                  <a:close/>
                  <a:moveTo>
                    <a:pt x="23" y="148"/>
                  </a:moveTo>
                  <a:lnTo>
                    <a:pt x="25" y="148"/>
                  </a:lnTo>
                  <a:lnTo>
                    <a:pt x="25" y="150"/>
                  </a:lnTo>
                  <a:lnTo>
                    <a:pt x="23" y="150"/>
                  </a:lnTo>
                  <a:lnTo>
                    <a:pt x="23" y="148"/>
                  </a:lnTo>
                  <a:close/>
                  <a:moveTo>
                    <a:pt x="79" y="261"/>
                  </a:moveTo>
                  <a:lnTo>
                    <a:pt x="81" y="261"/>
                  </a:lnTo>
                  <a:lnTo>
                    <a:pt x="81" y="263"/>
                  </a:lnTo>
                  <a:lnTo>
                    <a:pt x="79" y="263"/>
                  </a:lnTo>
                  <a:lnTo>
                    <a:pt x="79" y="261"/>
                  </a:lnTo>
                  <a:close/>
                  <a:moveTo>
                    <a:pt x="25" y="155"/>
                  </a:moveTo>
                  <a:lnTo>
                    <a:pt x="27" y="155"/>
                  </a:lnTo>
                  <a:lnTo>
                    <a:pt x="27" y="157"/>
                  </a:lnTo>
                  <a:lnTo>
                    <a:pt x="25" y="157"/>
                  </a:lnTo>
                  <a:lnTo>
                    <a:pt x="25" y="155"/>
                  </a:lnTo>
                  <a:close/>
                  <a:moveTo>
                    <a:pt x="29" y="157"/>
                  </a:moveTo>
                  <a:lnTo>
                    <a:pt x="31" y="157"/>
                  </a:lnTo>
                  <a:lnTo>
                    <a:pt x="31" y="159"/>
                  </a:lnTo>
                  <a:lnTo>
                    <a:pt x="29" y="159"/>
                  </a:lnTo>
                  <a:lnTo>
                    <a:pt x="29" y="157"/>
                  </a:lnTo>
                  <a:close/>
                  <a:moveTo>
                    <a:pt x="85" y="280"/>
                  </a:moveTo>
                  <a:lnTo>
                    <a:pt x="85" y="282"/>
                  </a:lnTo>
                  <a:lnTo>
                    <a:pt x="85" y="280"/>
                  </a:lnTo>
                  <a:close/>
                  <a:moveTo>
                    <a:pt x="83" y="250"/>
                  </a:moveTo>
                  <a:lnTo>
                    <a:pt x="83" y="251"/>
                  </a:lnTo>
                  <a:lnTo>
                    <a:pt x="83" y="250"/>
                  </a:lnTo>
                  <a:close/>
                  <a:moveTo>
                    <a:pt x="87" y="253"/>
                  </a:moveTo>
                  <a:lnTo>
                    <a:pt x="87" y="255"/>
                  </a:lnTo>
                  <a:lnTo>
                    <a:pt x="87" y="253"/>
                  </a:lnTo>
                  <a:close/>
                  <a:moveTo>
                    <a:pt x="35" y="194"/>
                  </a:moveTo>
                  <a:lnTo>
                    <a:pt x="37" y="194"/>
                  </a:lnTo>
                  <a:lnTo>
                    <a:pt x="35" y="194"/>
                  </a:lnTo>
                  <a:close/>
                  <a:moveTo>
                    <a:pt x="94" y="255"/>
                  </a:moveTo>
                  <a:lnTo>
                    <a:pt x="96" y="255"/>
                  </a:lnTo>
                  <a:lnTo>
                    <a:pt x="96" y="257"/>
                  </a:lnTo>
                  <a:lnTo>
                    <a:pt x="94" y="257"/>
                  </a:lnTo>
                  <a:lnTo>
                    <a:pt x="94" y="255"/>
                  </a:lnTo>
                  <a:close/>
                  <a:moveTo>
                    <a:pt x="94" y="273"/>
                  </a:moveTo>
                  <a:lnTo>
                    <a:pt x="94" y="275"/>
                  </a:lnTo>
                  <a:lnTo>
                    <a:pt x="94" y="273"/>
                  </a:lnTo>
                  <a:close/>
                  <a:moveTo>
                    <a:pt x="89" y="259"/>
                  </a:moveTo>
                  <a:lnTo>
                    <a:pt x="89" y="261"/>
                  </a:lnTo>
                  <a:lnTo>
                    <a:pt x="89" y="259"/>
                  </a:lnTo>
                  <a:close/>
                  <a:moveTo>
                    <a:pt x="93" y="242"/>
                  </a:moveTo>
                  <a:lnTo>
                    <a:pt x="94" y="242"/>
                  </a:lnTo>
                  <a:lnTo>
                    <a:pt x="93" y="242"/>
                  </a:lnTo>
                  <a:close/>
                  <a:moveTo>
                    <a:pt x="85" y="276"/>
                  </a:moveTo>
                  <a:lnTo>
                    <a:pt x="87" y="276"/>
                  </a:lnTo>
                  <a:lnTo>
                    <a:pt x="85" y="276"/>
                  </a:lnTo>
                  <a:close/>
                  <a:moveTo>
                    <a:pt x="79" y="190"/>
                  </a:moveTo>
                  <a:lnTo>
                    <a:pt x="81" y="190"/>
                  </a:lnTo>
                  <a:lnTo>
                    <a:pt x="81" y="192"/>
                  </a:lnTo>
                  <a:lnTo>
                    <a:pt x="79" y="192"/>
                  </a:lnTo>
                  <a:lnTo>
                    <a:pt x="79" y="190"/>
                  </a:lnTo>
                  <a:close/>
                  <a:moveTo>
                    <a:pt x="20" y="140"/>
                  </a:moveTo>
                  <a:lnTo>
                    <a:pt x="22" y="140"/>
                  </a:lnTo>
                  <a:lnTo>
                    <a:pt x="20" y="140"/>
                  </a:lnTo>
                  <a:close/>
                  <a:moveTo>
                    <a:pt x="18" y="226"/>
                  </a:moveTo>
                  <a:lnTo>
                    <a:pt x="18" y="228"/>
                  </a:lnTo>
                  <a:lnTo>
                    <a:pt x="18" y="226"/>
                  </a:lnTo>
                  <a:close/>
                  <a:moveTo>
                    <a:pt x="83" y="232"/>
                  </a:moveTo>
                  <a:lnTo>
                    <a:pt x="85" y="232"/>
                  </a:lnTo>
                  <a:lnTo>
                    <a:pt x="83" y="232"/>
                  </a:lnTo>
                  <a:close/>
                  <a:moveTo>
                    <a:pt x="89" y="261"/>
                  </a:moveTo>
                  <a:lnTo>
                    <a:pt x="89" y="263"/>
                  </a:lnTo>
                  <a:lnTo>
                    <a:pt x="89" y="261"/>
                  </a:lnTo>
                  <a:close/>
                  <a:moveTo>
                    <a:pt x="96" y="259"/>
                  </a:moveTo>
                  <a:lnTo>
                    <a:pt x="96" y="261"/>
                  </a:lnTo>
                  <a:lnTo>
                    <a:pt x="96" y="259"/>
                  </a:lnTo>
                  <a:close/>
                  <a:moveTo>
                    <a:pt x="94" y="248"/>
                  </a:moveTo>
                  <a:lnTo>
                    <a:pt x="94" y="250"/>
                  </a:lnTo>
                  <a:lnTo>
                    <a:pt x="94" y="248"/>
                  </a:lnTo>
                  <a:close/>
                  <a:moveTo>
                    <a:pt x="77" y="263"/>
                  </a:moveTo>
                  <a:lnTo>
                    <a:pt x="79" y="263"/>
                  </a:lnTo>
                  <a:lnTo>
                    <a:pt x="77" y="263"/>
                  </a:lnTo>
                  <a:close/>
                  <a:moveTo>
                    <a:pt x="89" y="288"/>
                  </a:moveTo>
                  <a:lnTo>
                    <a:pt x="91" y="288"/>
                  </a:lnTo>
                  <a:lnTo>
                    <a:pt x="89" y="288"/>
                  </a:lnTo>
                  <a:close/>
                  <a:moveTo>
                    <a:pt x="22" y="144"/>
                  </a:moveTo>
                  <a:lnTo>
                    <a:pt x="22" y="146"/>
                  </a:lnTo>
                  <a:lnTo>
                    <a:pt x="22" y="144"/>
                  </a:lnTo>
                  <a:close/>
                  <a:moveTo>
                    <a:pt x="91" y="261"/>
                  </a:moveTo>
                  <a:lnTo>
                    <a:pt x="93" y="261"/>
                  </a:lnTo>
                  <a:lnTo>
                    <a:pt x="93" y="263"/>
                  </a:lnTo>
                  <a:lnTo>
                    <a:pt x="91" y="263"/>
                  </a:lnTo>
                  <a:lnTo>
                    <a:pt x="91" y="261"/>
                  </a:lnTo>
                  <a:close/>
                  <a:moveTo>
                    <a:pt x="93" y="267"/>
                  </a:moveTo>
                  <a:lnTo>
                    <a:pt x="93" y="269"/>
                  </a:lnTo>
                  <a:lnTo>
                    <a:pt x="93" y="267"/>
                  </a:lnTo>
                  <a:close/>
                  <a:moveTo>
                    <a:pt x="23" y="157"/>
                  </a:moveTo>
                  <a:lnTo>
                    <a:pt x="23" y="159"/>
                  </a:lnTo>
                  <a:lnTo>
                    <a:pt x="23" y="157"/>
                  </a:lnTo>
                  <a:close/>
                  <a:moveTo>
                    <a:pt x="93" y="269"/>
                  </a:moveTo>
                  <a:lnTo>
                    <a:pt x="93" y="271"/>
                  </a:lnTo>
                  <a:lnTo>
                    <a:pt x="93" y="269"/>
                  </a:lnTo>
                  <a:close/>
                  <a:moveTo>
                    <a:pt x="20" y="140"/>
                  </a:moveTo>
                  <a:lnTo>
                    <a:pt x="20" y="142"/>
                  </a:lnTo>
                  <a:lnTo>
                    <a:pt x="20" y="140"/>
                  </a:lnTo>
                  <a:close/>
                  <a:moveTo>
                    <a:pt x="96" y="263"/>
                  </a:moveTo>
                  <a:lnTo>
                    <a:pt x="98" y="263"/>
                  </a:lnTo>
                  <a:lnTo>
                    <a:pt x="98" y="265"/>
                  </a:lnTo>
                  <a:lnTo>
                    <a:pt x="96" y="265"/>
                  </a:lnTo>
                  <a:lnTo>
                    <a:pt x="96" y="263"/>
                  </a:lnTo>
                  <a:close/>
                  <a:moveTo>
                    <a:pt x="22" y="215"/>
                  </a:moveTo>
                  <a:lnTo>
                    <a:pt x="22" y="217"/>
                  </a:lnTo>
                  <a:lnTo>
                    <a:pt x="22" y="215"/>
                  </a:lnTo>
                  <a:close/>
                  <a:moveTo>
                    <a:pt x="79" y="190"/>
                  </a:moveTo>
                  <a:lnTo>
                    <a:pt x="81" y="190"/>
                  </a:lnTo>
                  <a:lnTo>
                    <a:pt x="79" y="190"/>
                  </a:lnTo>
                  <a:close/>
                  <a:moveTo>
                    <a:pt x="94" y="273"/>
                  </a:moveTo>
                  <a:lnTo>
                    <a:pt x="94" y="275"/>
                  </a:lnTo>
                  <a:lnTo>
                    <a:pt x="94" y="273"/>
                  </a:lnTo>
                  <a:close/>
                  <a:moveTo>
                    <a:pt x="79" y="205"/>
                  </a:moveTo>
                  <a:lnTo>
                    <a:pt x="81" y="205"/>
                  </a:lnTo>
                  <a:lnTo>
                    <a:pt x="81" y="207"/>
                  </a:lnTo>
                  <a:lnTo>
                    <a:pt x="79" y="207"/>
                  </a:lnTo>
                  <a:lnTo>
                    <a:pt x="79" y="205"/>
                  </a:lnTo>
                  <a:close/>
                  <a:moveTo>
                    <a:pt x="91" y="248"/>
                  </a:moveTo>
                  <a:lnTo>
                    <a:pt x="91" y="250"/>
                  </a:lnTo>
                  <a:lnTo>
                    <a:pt x="91" y="248"/>
                  </a:lnTo>
                  <a:close/>
                  <a:moveTo>
                    <a:pt x="91" y="255"/>
                  </a:moveTo>
                  <a:lnTo>
                    <a:pt x="91" y="257"/>
                  </a:lnTo>
                  <a:lnTo>
                    <a:pt x="91" y="255"/>
                  </a:lnTo>
                  <a:close/>
                  <a:moveTo>
                    <a:pt x="94" y="248"/>
                  </a:moveTo>
                  <a:lnTo>
                    <a:pt x="96" y="248"/>
                  </a:lnTo>
                  <a:lnTo>
                    <a:pt x="94" y="248"/>
                  </a:lnTo>
                  <a:close/>
                  <a:moveTo>
                    <a:pt x="87" y="261"/>
                  </a:moveTo>
                  <a:lnTo>
                    <a:pt x="87" y="263"/>
                  </a:lnTo>
                  <a:lnTo>
                    <a:pt x="87" y="261"/>
                  </a:lnTo>
                  <a:close/>
                  <a:moveTo>
                    <a:pt x="93" y="261"/>
                  </a:moveTo>
                  <a:lnTo>
                    <a:pt x="93" y="263"/>
                  </a:lnTo>
                  <a:lnTo>
                    <a:pt x="93" y="261"/>
                  </a:lnTo>
                  <a:close/>
                  <a:moveTo>
                    <a:pt x="85" y="259"/>
                  </a:moveTo>
                  <a:lnTo>
                    <a:pt x="85" y="261"/>
                  </a:lnTo>
                  <a:lnTo>
                    <a:pt x="85" y="259"/>
                  </a:lnTo>
                  <a:close/>
                  <a:moveTo>
                    <a:pt x="81" y="255"/>
                  </a:moveTo>
                  <a:lnTo>
                    <a:pt x="83" y="255"/>
                  </a:lnTo>
                  <a:lnTo>
                    <a:pt x="81" y="255"/>
                  </a:lnTo>
                  <a:close/>
                  <a:moveTo>
                    <a:pt x="37" y="198"/>
                  </a:moveTo>
                  <a:lnTo>
                    <a:pt x="37" y="200"/>
                  </a:lnTo>
                  <a:lnTo>
                    <a:pt x="37" y="198"/>
                  </a:lnTo>
                  <a:close/>
                  <a:moveTo>
                    <a:pt x="89" y="275"/>
                  </a:moveTo>
                  <a:lnTo>
                    <a:pt x="91" y="275"/>
                  </a:lnTo>
                  <a:lnTo>
                    <a:pt x="89" y="275"/>
                  </a:lnTo>
                  <a:close/>
                  <a:moveTo>
                    <a:pt x="89" y="278"/>
                  </a:moveTo>
                  <a:lnTo>
                    <a:pt x="89" y="280"/>
                  </a:lnTo>
                  <a:lnTo>
                    <a:pt x="89" y="278"/>
                  </a:lnTo>
                  <a:close/>
                  <a:moveTo>
                    <a:pt x="85" y="286"/>
                  </a:moveTo>
                  <a:lnTo>
                    <a:pt x="85" y="288"/>
                  </a:lnTo>
                  <a:lnTo>
                    <a:pt x="85" y="286"/>
                  </a:lnTo>
                  <a:close/>
                  <a:moveTo>
                    <a:pt x="85" y="267"/>
                  </a:moveTo>
                  <a:lnTo>
                    <a:pt x="85" y="269"/>
                  </a:lnTo>
                  <a:lnTo>
                    <a:pt x="85" y="267"/>
                  </a:lnTo>
                  <a:close/>
                  <a:moveTo>
                    <a:pt x="20" y="138"/>
                  </a:moveTo>
                  <a:lnTo>
                    <a:pt x="22" y="138"/>
                  </a:lnTo>
                  <a:lnTo>
                    <a:pt x="22" y="140"/>
                  </a:lnTo>
                  <a:lnTo>
                    <a:pt x="20" y="140"/>
                  </a:lnTo>
                  <a:lnTo>
                    <a:pt x="20" y="138"/>
                  </a:lnTo>
                  <a:close/>
                  <a:moveTo>
                    <a:pt x="70" y="186"/>
                  </a:moveTo>
                  <a:lnTo>
                    <a:pt x="70" y="188"/>
                  </a:lnTo>
                  <a:lnTo>
                    <a:pt x="70" y="186"/>
                  </a:lnTo>
                  <a:close/>
                  <a:moveTo>
                    <a:pt x="68" y="184"/>
                  </a:moveTo>
                  <a:lnTo>
                    <a:pt x="70" y="184"/>
                  </a:lnTo>
                  <a:lnTo>
                    <a:pt x="68" y="184"/>
                  </a:lnTo>
                  <a:close/>
                  <a:moveTo>
                    <a:pt x="20" y="146"/>
                  </a:moveTo>
                  <a:lnTo>
                    <a:pt x="22" y="146"/>
                  </a:lnTo>
                  <a:lnTo>
                    <a:pt x="20" y="146"/>
                  </a:lnTo>
                  <a:close/>
                  <a:moveTo>
                    <a:pt x="25" y="148"/>
                  </a:moveTo>
                  <a:lnTo>
                    <a:pt x="25" y="150"/>
                  </a:lnTo>
                  <a:lnTo>
                    <a:pt x="25" y="148"/>
                  </a:lnTo>
                  <a:close/>
                  <a:moveTo>
                    <a:pt x="27" y="152"/>
                  </a:moveTo>
                  <a:lnTo>
                    <a:pt x="27" y="154"/>
                  </a:lnTo>
                  <a:lnTo>
                    <a:pt x="27" y="152"/>
                  </a:lnTo>
                  <a:close/>
                  <a:moveTo>
                    <a:pt x="94" y="275"/>
                  </a:moveTo>
                  <a:lnTo>
                    <a:pt x="96" y="275"/>
                  </a:lnTo>
                  <a:lnTo>
                    <a:pt x="94" y="275"/>
                  </a:lnTo>
                  <a:close/>
                  <a:moveTo>
                    <a:pt x="85" y="294"/>
                  </a:moveTo>
                  <a:lnTo>
                    <a:pt x="85" y="296"/>
                  </a:lnTo>
                  <a:lnTo>
                    <a:pt x="85" y="294"/>
                  </a:lnTo>
                  <a:close/>
                  <a:moveTo>
                    <a:pt x="87" y="267"/>
                  </a:moveTo>
                  <a:lnTo>
                    <a:pt x="87" y="269"/>
                  </a:lnTo>
                  <a:lnTo>
                    <a:pt x="87" y="267"/>
                  </a:lnTo>
                  <a:close/>
                  <a:moveTo>
                    <a:pt x="20" y="142"/>
                  </a:moveTo>
                  <a:lnTo>
                    <a:pt x="22" y="142"/>
                  </a:lnTo>
                  <a:lnTo>
                    <a:pt x="22" y="144"/>
                  </a:lnTo>
                  <a:lnTo>
                    <a:pt x="20" y="144"/>
                  </a:lnTo>
                  <a:lnTo>
                    <a:pt x="20" y="142"/>
                  </a:lnTo>
                  <a:close/>
                  <a:moveTo>
                    <a:pt x="83" y="226"/>
                  </a:moveTo>
                  <a:lnTo>
                    <a:pt x="83" y="228"/>
                  </a:lnTo>
                  <a:lnTo>
                    <a:pt x="83" y="226"/>
                  </a:lnTo>
                  <a:close/>
                  <a:moveTo>
                    <a:pt x="83" y="230"/>
                  </a:moveTo>
                  <a:lnTo>
                    <a:pt x="85" y="230"/>
                  </a:lnTo>
                  <a:lnTo>
                    <a:pt x="83" y="230"/>
                  </a:lnTo>
                  <a:close/>
                  <a:moveTo>
                    <a:pt x="89" y="234"/>
                  </a:moveTo>
                  <a:lnTo>
                    <a:pt x="89" y="236"/>
                  </a:lnTo>
                  <a:lnTo>
                    <a:pt x="89" y="234"/>
                  </a:lnTo>
                  <a:close/>
                  <a:moveTo>
                    <a:pt x="81" y="223"/>
                  </a:moveTo>
                  <a:lnTo>
                    <a:pt x="83" y="223"/>
                  </a:lnTo>
                  <a:lnTo>
                    <a:pt x="81" y="223"/>
                  </a:lnTo>
                  <a:close/>
                  <a:moveTo>
                    <a:pt x="93" y="255"/>
                  </a:moveTo>
                  <a:lnTo>
                    <a:pt x="93" y="257"/>
                  </a:lnTo>
                  <a:lnTo>
                    <a:pt x="93" y="255"/>
                  </a:lnTo>
                  <a:close/>
                  <a:moveTo>
                    <a:pt x="87" y="286"/>
                  </a:moveTo>
                  <a:lnTo>
                    <a:pt x="87" y="288"/>
                  </a:lnTo>
                  <a:lnTo>
                    <a:pt x="87" y="286"/>
                  </a:lnTo>
                  <a:close/>
                  <a:moveTo>
                    <a:pt x="85" y="286"/>
                  </a:moveTo>
                  <a:lnTo>
                    <a:pt x="87" y="286"/>
                  </a:lnTo>
                  <a:lnTo>
                    <a:pt x="87" y="288"/>
                  </a:lnTo>
                  <a:lnTo>
                    <a:pt x="85" y="288"/>
                  </a:lnTo>
                  <a:lnTo>
                    <a:pt x="85" y="286"/>
                  </a:lnTo>
                  <a:close/>
                  <a:moveTo>
                    <a:pt x="93" y="288"/>
                  </a:moveTo>
                  <a:lnTo>
                    <a:pt x="93" y="290"/>
                  </a:lnTo>
                  <a:lnTo>
                    <a:pt x="93" y="288"/>
                  </a:lnTo>
                  <a:close/>
                  <a:moveTo>
                    <a:pt x="79" y="259"/>
                  </a:moveTo>
                  <a:lnTo>
                    <a:pt x="81" y="259"/>
                  </a:lnTo>
                  <a:lnTo>
                    <a:pt x="79" y="259"/>
                  </a:lnTo>
                  <a:close/>
                  <a:moveTo>
                    <a:pt x="93" y="261"/>
                  </a:moveTo>
                  <a:lnTo>
                    <a:pt x="93" y="263"/>
                  </a:lnTo>
                  <a:lnTo>
                    <a:pt x="93" y="261"/>
                  </a:lnTo>
                  <a:close/>
                  <a:moveTo>
                    <a:pt x="79" y="263"/>
                  </a:moveTo>
                  <a:lnTo>
                    <a:pt x="81" y="263"/>
                  </a:lnTo>
                  <a:lnTo>
                    <a:pt x="79" y="263"/>
                  </a:lnTo>
                  <a:close/>
                  <a:moveTo>
                    <a:pt x="22" y="146"/>
                  </a:moveTo>
                  <a:lnTo>
                    <a:pt x="22" y="148"/>
                  </a:lnTo>
                  <a:lnTo>
                    <a:pt x="22" y="146"/>
                  </a:lnTo>
                  <a:close/>
                  <a:moveTo>
                    <a:pt x="93" y="253"/>
                  </a:moveTo>
                  <a:lnTo>
                    <a:pt x="94" y="253"/>
                  </a:lnTo>
                  <a:lnTo>
                    <a:pt x="93" y="253"/>
                  </a:lnTo>
                  <a:close/>
                  <a:moveTo>
                    <a:pt x="83" y="282"/>
                  </a:moveTo>
                  <a:lnTo>
                    <a:pt x="85" y="282"/>
                  </a:lnTo>
                  <a:lnTo>
                    <a:pt x="83" y="282"/>
                  </a:lnTo>
                  <a:close/>
                  <a:moveTo>
                    <a:pt x="94" y="275"/>
                  </a:moveTo>
                  <a:lnTo>
                    <a:pt x="96" y="275"/>
                  </a:lnTo>
                  <a:lnTo>
                    <a:pt x="94" y="275"/>
                  </a:lnTo>
                  <a:close/>
                  <a:moveTo>
                    <a:pt x="60" y="190"/>
                  </a:moveTo>
                  <a:lnTo>
                    <a:pt x="60" y="192"/>
                  </a:lnTo>
                  <a:lnTo>
                    <a:pt x="60" y="190"/>
                  </a:lnTo>
                  <a:close/>
                  <a:moveTo>
                    <a:pt x="87" y="294"/>
                  </a:moveTo>
                  <a:lnTo>
                    <a:pt x="87" y="296"/>
                  </a:lnTo>
                  <a:lnTo>
                    <a:pt x="87" y="294"/>
                  </a:lnTo>
                  <a:close/>
                  <a:moveTo>
                    <a:pt x="91" y="253"/>
                  </a:moveTo>
                  <a:lnTo>
                    <a:pt x="93" y="253"/>
                  </a:lnTo>
                  <a:lnTo>
                    <a:pt x="91" y="253"/>
                  </a:lnTo>
                  <a:close/>
                  <a:moveTo>
                    <a:pt x="87" y="251"/>
                  </a:moveTo>
                  <a:lnTo>
                    <a:pt x="87" y="253"/>
                  </a:lnTo>
                  <a:lnTo>
                    <a:pt x="87" y="251"/>
                  </a:lnTo>
                  <a:close/>
                  <a:moveTo>
                    <a:pt x="85" y="282"/>
                  </a:moveTo>
                  <a:lnTo>
                    <a:pt x="85" y="284"/>
                  </a:lnTo>
                  <a:lnTo>
                    <a:pt x="85" y="282"/>
                  </a:lnTo>
                  <a:close/>
                  <a:moveTo>
                    <a:pt x="81" y="259"/>
                  </a:moveTo>
                  <a:lnTo>
                    <a:pt x="83" y="259"/>
                  </a:lnTo>
                  <a:lnTo>
                    <a:pt x="81" y="259"/>
                  </a:lnTo>
                  <a:close/>
                  <a:moveTo>
                    <a:pt x="94" y="275"/>
                  </a:moveTo>
                  <a:lnTo>
                    <a:pt x="96" y="275"/>
                  </a:lnTo>
                  <a:lnTo>
                    <a:pt x="96" y="276"/>
                  </a:lnTo>
                  <a:lnTo>
                    <a:pt x="94" y="276"/>
                  </a:lnTo>
                  <a:lnTo>
                    <a:pt x="94" y="275"/>
                  </a:lnTo>
                  <a:close/>
                  <a:moveTo>
                    <a:pt x="35" y="198"/>
                  </a:moveTo>
                  <a:lnTo>
                    <a:pt x="37" y="198"/>
                  </a:lnTo>
                  <a:lnTo>
                    <a:pt x="35" y="198"/>
                  </a:lnTo>
                  <a:close/>
                  <a:moveTo>
                    <a:pt x="39" y="200"/>
                  </a:moveTo>
                  <a:lnTo>
                    <a:pt x="39" y="202"/>
                  </a:lnTo>
                  <a:lnTo>
                    <a:pt x="39" y="200"/>
                  </a:lnTo>
                  <a:close/>
                  <a:moveTo>
                    <a:pt x="77" y="190"/>
                  </a:moveTo>
                  <a:lnTo>
                    <a:pt x="79" y="190"/>
                  </a:lnTo>
                  <a:lnTo>
                    <a:pt x="79" y="192"/>
                  </a:lnTo>
                  <a:lnTo>
                    <a:pt x="77" y="192"/>
                  </a:lnTo>
                  <a:lnTo>
                    <a:pt x="77" y="190"/>
                  </a:lnTo>
                  <a:close/>
                  <a:moveTo>
                    <a:pt x="22" y="146"/>
                  </a:moveTo>
                  <a:lnTo>
                    <a:pt x="22" y="148"/>
                  </a:lnTo>
                  <a:lnTo>
                    <a:pt x="22" y="146"/>
                  </a:lnTo>
                  <a:close/>
                  <a:moveTo>
                    <a:pt x="85" y="255"/>
                  </a:moveTo>
                  <a:lnTo>
                    <a:pt x="85" y="257"/>
                  </a:lnTo>
                  <a:lnTo>
                    <a:pt x="85" y="255"/>
                  </a:lnTo>
                  <a:close/>
                  <a:moveTo>
                    <a:pt x="93" y="253"/>
                  </a:moveTo>
                  <a:lnTo>
                    <a:pt x="93" y="255"/>
                  </a:lnTo>
                  <a:lnTo>
                    <a:pt x="93" y="253"/>
                  </a:lnTo>
                  <a:close/>
                  <a:moveTo>
                    <a:pt x="96" y="253"/>
                  </a:moveTo>
                  <a:lnTo>
                    <a:pt x="96" y="255"/>
                  </a:lnTo>
                  <a:lnTo>
                    <a:pt x="96" y="253"/>
                  </a:lnTo>
                  <a:close/>
                  <a:moveTo>
                    <a:pt x="83" y="217"/>
                  </a:moveTo>
                  <a:lnTo>
                    <a:pt x="85" y="217"/>
                  </a:lnTo>
                  <a:lnTo>
                    <a:pt x="83" y="217"/>
                  </a:lnTo>
                  <a:close/>
                  <a:moveTo>
                    <a:pt x="85" y="269"/>
                  </a:moveTo>
                  <a:lnTo>
                    <a:pt x="85" y="271"/>
                  </a:lnTo>
                  <a:lnTo>
                    <a:pt x="85" y="269"/>
                  </a:lnTo>
                  <a:close/>
                  <a:moveTo>
                    <a:pt x="89" y="253"/>
                  </a:moveTo>
                  <a:lnTo>
                    <a:pt x="89" y="255"/>
                  </a:lnTo>
                  <a:lnTo>
                    <a:pt x="89" y="253"/>
                  </a:lnTo>
                  <a:close/>
                  <a:moveTo>
                    <a:pt x="93" y="276"/>
                  </a:moveTo>
                  <a:lnTo>
                    <a:pt x="93" y="278"/>
                  </a:lnTo>
                  <a:lnTo>
                    <a:pt x="93" y="276"/>
                  </a:lnTo>
                  <a:close/>
                  <a:moveTo>
                    <a:pt x="22" y="144"/>
                  </a:moveTo>
                  <a:lnTo>
                    <a:pt x="23" y="144"/>
                  </a:lnTo>
                  <a:lnTo>
                    <a:pt x="22" y="144"/>
                  </a:lnTo>
                  <a:close/>
                  <a:moveTo>
                    <a:pt x="70" y="184"/>
                  </a:moveTo>
                  <a:lnTo>
                    <a:pt x="70" y="186"/>
                  </a:lnTo>
                  <a:lnTo>
                    <a:pt x="70" y="184"/>
                  </a:lnTo>
                  <a:close/>
                  <a:moveTo>
                    <a:pt x="85" y="257"/>
                  </a:moveTo>
                  <a:lnTo>
                    <a:pt x="85" y="259"/>
                  </a:lnTo>
                  <a:lnTo>
                    <a:pt x="85" y="257"/>
                  </a:lnTo>
                  <a:close/>
                  <a:moveTo>
                    <a:pt x="23" y="148"/>
                  </a:moveTo>
                  <a:lnTo>
                    <a:pt x="23" y="150"/>
                  </a:lnTo>
                  <a:lnTo>
                    <a:pt x="23" y="148"/>
                  </a:lnTo>
                  <a:close/>
                  <a:moveTo>
                    <a:pt x="85" y="265"/>
                  </a:moveTo>
                  <a:lnTo>
                    <a:pt x="87" y="265"/>
                  </a:lnTo>
                  <a:lnTo>
                    <a:pt x="85" y="265"/>
                  </a:lnTo>
                  <a:close/>
                  <a:moveTo>
                    <a:pt x="31" y="190"/>
                  </a:moveTo>
                  <a:lnTo>
                    <a:pt x="31" y="192"/>
                  </a:lnTo>
                  <a:lnTo>
                    <a:pt x="31" y="190"/>
                  </a:lnTo>
                  <a:close/>
                  <a:moveTo>
                    <a:pt x="94" y="257"/>
                  </a:moveTo>
                  <a:lnTo>
                    <a:pt x="96" y="257"/>
                  </a:lnTo>
                  <a:lnTo>
                    <a:pt x="94" y="257"/>
                  </a:lnTo>
                  <a:close/>
                  <a:moveTo>
                    <a:pt x="89" y="255"/>
                  </a:moveTo>
                  <a:lnTo>
                    <a:pt x="89" y="257"/>
                  </a:lnTo>
                  <a:lnTo>
                    <a:pt x="89" y="255"/>
                  </a:lnTo>
                  <a:close/>
                  <a:moveTo>
                    <a:pt x="87" y="253"/>
                  </a:moveTo>
                  <a:lnTo>
                    <a:pt x="87" y="255"/>
                  </a:lnTo>
                  <a:lnTo>
                    <a:pt x="87" y="253"/>
                  </a:lnTo>
                  <a:close/>
                  <a:moveTo>
                    <a:pt x="87" y="253"/>
                  </a:moveTo>
                  <a:lnTo>
                    <a:pt x="89" y="253"/>
                  </a:lnTo>
                  <a:lnTo>
                    <a:pt x="87" y="253"/>
                  </a:lnTo>
                  <a:close/>
                  <a:moveTo>
                    <a:pt x="89" y="242"/>
                  </a:moveTo>
                  <a:lnTo>
                    <a:pt x="91" y="242"/>
                  </a:lnTo>
                  <a:lnTo>
                    <a:pt x="89" y="242"/>
                  </a:lnTo>
                  <a:close/>
                  <a:moveTo>
                    <a:pt x="79" y="192"/>
                  </a:moveTo>
                  <a:lnTo>
                    <a:pt x="81" y="192"/>
                  </a:lnTo>
                  <a:lnTo>
                    <a:pt x="79" y="192"/>
                  </a:lnTo>
                  <a:close/>
                  <a:moveTo>
                    <a:pt x="85" y="292"/>
                  </a:moveTo>
                  <a:lnTo>
                    <a:pt x="85" y="294"/>
                  </a:lnTo>
                  <a:lnTo>
                    <a:pt x="85" y="292"/>
                  </a:lnTo>
                  <a:close/>
                  <a:moveTo>
                    <a:pt x="89" y="230"/>
                  </a:moveTo>
                  <a:lnTo>
                    <a:pt x="89" y="232"/>
                  </a:lnTo>
                  <a:lnTo>
                    <a:pt x="89" y="230"/>
                  </a:lnTo>
                  <a:close/>
                  <a:moveTo>
                    <a:pt x="81" y="223"/>
                  </a:moveTo>
                  <a:lnTo>
                    <a:pt x="83" y="223"/>
                  </a:lnTo>
                  <a:lnTo>
                    <a:pt x="81" y="223"/>
                  </a:lnTo>
                  <a:close/>
                  <a:moveTo>
                    <a:pt x="85" y="255"/>
                  </a:moveTo>
                  <a:lnTo>
                    <a:pt x="87" y="255"/>
                  </a:lnTo>
                  <a:lnTo>
                    <a:pt x="85" y="255"/>
                  </a:lnTo>
                  <a:close/>
                  <a:moveTo>
                    <a:pt x="91" y="242"/>
                  </a:moveTo>
                  <a:lnTo>
                    <a:pt x="91" y="244"/>
                  </a:lnTo>
                  <a:lnTo>
                    <a:pt x="91" y="242"/>
                  </a:lnTo>
                  <a:close/>
                  <a:moveTo>
                    <a:pt x="79" y="194"/>
                  </a:moveTo>
                  <a:lnTo>
                    <a:pt x="79" y="196"/>
                  </a:lnTo>
                  <a:lnTo>
                    <a:pt x="79" y="194"/>
                  </a:lnTo>
                  <a:close/>
                  <a:moveTo>
                    <a:pt x="45" y="203"/>
                  </a:moveTo>
                  <a:lnTo>
                    <a:pt x="46" y="203"/>
                  </a:lnTo>
                  <a:lnTo>
                    <a:pt x="45" y="203"/>
                  </a:lnTo>
                  <a:close/>
                  <a:moveTo>
                    <a:pt x="87" y="282"/>
                  </a:moveTo>
                  <a:lnTo>
                    <a:pt x="89" y="282"/>
                  </a:lnTo>
                  <a:lnTo>
                    <a:pt x="87" y="282"/>
                  </a:lnTo>
                  <a:close/>
                  <a:moveTo>
                    <a:pt x="94" y="273"/>
                  </a:moveTo>
                  <a:lnTo>
                    <a:pt x="96" y="273"/>
                  </a:lnTo>
                  <a:lnTo>
                    <a:pt x="94" y="273"/>
                  </a:lnTo>
                  <a:close/>
                  <a:moveTo>
                    <a:pt x="85" y="294"/>
                  </a:moveTo>
                  <a:lnTo>
                    <a:pt x="87" y="294"/>
                  </a:lnTo>
                  <a:lnTo>
                    <a:pt x="87" y="296"/>
                  </a:lnTo>
                  <a:lnTo>
                    <a:pt x="85" y="296"/>
                  </a:lnTo>
                  <a:lnTo>
                    <a:pt x="85" y="294"/>
                  </a:lnTo>
                  <a:close/>
                  <a:moveTo>
                    <a:pt x="29" y="159"/>
                  </a:moveTo>
                  <a:lnTo>
                    <a:pt x="31" y="159"/>
                  </a:lnTo>
                  <a:lnTo>
                    <a:pt x="31" y="161"/>
                  </a:lnTo>
                  <a:lnTo>
                    <a:pt x="29" y="161"/>
                  </a:lnTo>
                  <a:lnTo>
                    <a:pt x="29" y="159"/>
                  </a:lnTo>
                  <a:close/>
                  <a:moveTo>
                    <a:pt x="91" y="265"/>
                  </a:moveTo>
                  <a:lnTo>
                    <a:pt x="91" y="267"/>
                  </a:lnTo>
                  <a:lnTo>
                    <a:pt x="91" y="265"/>
                  </a:lnTo>
                  <a:close/>
                  <a:moveTo>
                    <a:pt x="20" y="142"/>
                  </a:moveTo>
                  <a:lnTo>
                    <a:pt x="20" y="144"/>
                  </a:lnTo>
                  <a:lnTo>
                    <a:pt x="20" y="142"/>
                  </a:lnTo>
                  <a:close/>
                  <a:moveTo>
                    <a:pt x="79" y="192"/>
                  </a:moveTo>
                  <a:lnTo>
                    <a:pt x="81" y="192"/>
                  </a:lnTo>
                  <a:lnTo>
                    <a:pt x="79" y="192"/>
                  </a:lnTo>
                  <a:close/>
                  <a:moveTo>
                    <a:pt x="91" y="253"/>
                  </a:moveTo>
                  <a:lnTo>
                    <a:pt x="91" y="255"/>
                  </a:lnTo>
                  <a:lnTo>
                    <a:pt x="91" y="253"/>
                  </a:lnTo>
                  <a:close/>
                  <a:moveTo>
                    <a:pt x="91" y="253"/>
                  </a:moveTo>
                  <a:lnTo>
                    <a:pt x="93" y="253"/>
                  </a:lnTo>
                  <a:lnTo>
                    <a:pt x="91" y="253"/>
                  </a:lnTo>
                  <a:close/>
                  <a:moveTo>
                    <a:pt x="91" y="255"/>
                  </a:moveTo>
                  <a:lnTo>
                    <a:pt x="93" y="255"/>
                  </a:lnTo>
                  <a:lnTo>
                    <a:pt x="91" y="255"/>
                  </a:lnTo>
                  <a:close/>
                  <a:moveTo>
                    <a:pt x="22" y="142"/>
                  </a:moveTo>
                  <a:lnTo>
                    <a:pt x="22" y="144"/>
                  </a:lnTo>
                  <a:lnTo>
                    <a:pt x="22" y="142"/>
                  </a:lnTo>
                  <a:close/>
                  <a:moveTo>
                    <a:pt x="83" y="230"/>
                  </a:moveTo>
                  <a:lnTo>
                    <a:pt x="85" y="230"/>
                  </a:lnTo>
                  <a:lnTo>
                    <a:pt x="83" y="230"/>
                  </a:lnTo>
                  <a:close/>
                  <a:moveTo>
                    <a:pt x="93" y="275"/>
                  </a:moveTo>
                  <a:lnTo>
                    <a:pt x="93" y="276"/>
                  </a:lnTo>
                  <a:lnTo>
                    <a:pt x="93" y="275"/>
                  </a:lnTo>
                  <a:close/>
                  <a:moveTo>
                    <a:pt x="79" y="194"/>
                  </a:moveTo>
                  <a:lnTo>
                    <a:pt x="79" y="196"/>
                  </a:lnTo>
                  <a:lnTo>
                    <a:pt x="79" y="194"/>
                  </a:lnTo>
                  <a:close/>
                  <a:moveTo>
                    <a:pt x="94" y="255"/>
                  </a:moveTo>
                  <a:lnTo>
                    <a:pt x="96" y="255"/>
                  </a:lnTo>
                  <a:lnTo>
                    <a:pt x="96" y="257"/>
                  </a:lnTo>
                  <a:lnTo>
                    <a:pt x="94" y="257"/>
                  </a:lnTo>
                  <a:lnTo>
                    <a:pt x="94" y="255"/>
                  </a:lnTo>
                  <a:close/>
                  <a:moveTo>
                    <a:pt x="20" y="144"/>
                  </a:moveTo>
                  <a:lnTo>
                    <a:pt x="20" y="146"/>
                  </a:lnTo>
                  <a:lnTo>
                    <a:pt x="20" y="144"/>
                  </a:lnTo>
                  <a:close/>
                  <a:moveTo>
                    <a:pt x="89" y="242"/>
                  </a:moveTo>
                  <a:lnTo>
                    <a:pt x="91" y="242"/>
                  </a:lnTo>
                  <a:lnTo>
                    <a:pt x="91" y="244"/>
                  </a:lnTo>
                  <a:lnTo>
                    <a:pt x="89" y="244"/>
                  </a:lnTo>
                  <a:lnTo>
                    <a:pt x="89" y="242"/>
                  </a:lnTo>
                  <a:close/>
                  <a:moveTo>
                    <a:pt x="81" y="223"/>
                  </a:moveTo>
                  <a:lnTo>
                    <a:pt x="83" y="223"/>
                  </a:lnTo>
                  <a:lnTo>
                    <a:pt x="81" y="223"/>
                  </a:lnTo>
                  <a:close/>
                  <a:moveTo>
                    <a:pt x="87" y="271"/>
                  </a:moveTo>
                  <a:lnTo>
                    <a:pt x="87" y="273"/>
                  </a:lnTo>
                  <a:lnTo>
                    <a:pt x="87" y="271"/>
                  </a:lnTo>
                  <a:close/>
                  <a:moveTo>
                    <a:pt x="22" y="138"/>
                  </a:moveTo>
                  <a:lnTo>
                    <a:pt x="22" y="140"/>
                  </a:lnTo>
                  <a:lnTo>
                    <a:pt x="22" y="138"/>
                  </a:lnTo>
                  <a:close/>
                  <a:moveTo>
                    <a:pt x="37" y="194"/>
                  </a:moveTo>
                  <a:lnTo>
                    <a:pt x="37" y="196"/>
                  </a:lnTo>
                  <a:lnTo>
                    <a:pt x="37" y="194"/>
                  </a:lnTo>
                  <a:close/>
                  <a:moveTo>
                    <a:pt x="91" y="255"/>
                  </a:moveTo>
                  <a:lnTo>
                    <a:pt x="93" y="255"/>
                  </a:lnTo>
                  <a:lnTo>
                    <a:pt x="93" y="257"/>
                  </a:lnTo>
                  <a:lnTo>
                    <a:pt x="91" y="257"/>
                  </a:lnTo>
                  <a:lnTo>
                    <a:pt x="91" y="255"/>
                  </a:lnTo>
                  <a:close/>
                  <a:moveTo>
                    <a:pt x="89" y="259"/>
                  </a:moveTo>
                  <a:lnTo>
                    <a:pt x="89" y="261"/>
                  </a:lnTo>
                  <a:lnTo>
                    <a:pt x="89" y="259"/>
                  </a:lnTo>
                  <a:close/>
                  <a:moveTo>
                    <a:pt x="35" y="180"/>
                  </a:moveTo>
                  <a:lnTo>
                    <a:pt x="35" y="182"/>
                  </a:lnTo>
                  <a:lnTo>
                    <a:pt x="35" y="180"/>
                  </a:lnTo>
                  <a:close/>
                  <a:moveTo>
                    <a:pt x="87" y="292"/>
                  </a:moveTo>
                  <a:lnTo>
                    <a:pt x="89" y="292"/>
                  </a:lnTo>
                  <a:lnTo>
                    <a:pt x="89" y="294"/>
                  </a:lnTo>
                  <a:lnTo>
                    <a:pt x="87" y="294"/>
                  </a:lnTo>
                  <a:lnTo>
                    <a:pt x="87" y="292"/>
                  </a:lnTo>
                  <a:close/>
                  <a:moveTo>
                    <a:pt x="79" y="192"/>
                  </a:moveTo>
                  <a:lnTo>
                    <a:pt x="79" y="194"/>
                  </a:lnTo>
                  <a:lnTo>
                    <a:pt x="79" y="192"/>
                  </a:lnTo>
                  <a:close/>
                  <a:moveTo>
                    <a:pt x="93" y="251"/>
                  </a:moveTo>
                  <a:lnTo>
                    <a:pt x="93" y="253"/>
                  </a:lnTo>
                  <a:lnTo>
                    <a:pt x="93" y="251"/>
                  </a:lnTo>
                  <a:close/>
                  <a:moveTo>
                    <a:pt x="93" y="290"/>
                  </a:moveTo>
                  <a:lnTo>
                    <a:pt x="94" y="290"/>
                  </a:lnTo>
                  <a:lnTo>
                    <a:pt x="93" y="290"/>
                  </a:lnTo>
                  <a:close/>
                  <a:moveTo>
                    <a:pt x="22" y="140"/>
                  </a:moveTo>
                  <a:lnTo>
                    <a:pt x="22" y="142"/>
                  </a:lnTo>
                  <a:lnTo>
                    <a:pt x="22" y="140"/>
                  </a:lnTo>
                  <a:close/>
                  <a:moveTo>
                    <a:pt x="85" y="265"/>
                  </a:moveTo>
                  <a:lnTo>
                    <a:pt x="87" y="265"/>
                  </a:lnTo>
                  <a:lnTo>
                    <a:pt x="85" y="265"/>
                  </a:lnTo>
                  <a:close/>
                  <a:moveTo>
                    <a:pt x="89" y="261"/>
                  </a:moveTo>
                  <a:lnTo>
                    <a:pt x="91" y="261"/>
                  </a:lnTo>
                  <a:lnTo>
                    <a:pt x="89" y="261"/>
                  </a:lnTo>
                  <a:close/>
                  <a:moveTo>
                    <a:pt x="89" y="259"/>
                  </a:moveTo>
                  <a:lnTo>
                    <a:pt x="89" y="261"/>
                  </a:lnTo>
                  <a:lnTo>
                    <a:pt x="89" y="259"/>
                  </a:lnTo>
                  <a:close/>
                  <a:moveTo>
                    <a:pt x="18" y="146"/>
                  </a:moveTo>
                  <a:lnTo>
                    <a:pt x="20" y="146"/>
                  </a:lnTo>
                  <a:lnTo>
                    <a:pt x="18" y="146"/>
                  </a:lnTo>
                  <a:close/>
                  <a:moveTo>
                    <a:pt x="89" y="275"/>
                  </a:moveTo>
                  <a:lnTo>
                    <a:pt x="89" y="276"/>
                  </a:lnTo>
                  <a:lnTo>
                    <a:pt x="89" y="275"/>
                  </a:lnTo>
                  <a:close/>
                  <a:moveTo>
                    <a:pt x="94" y="275"/>
                  </a:moveTo>
                  <a:lnTo>
                    <a:pt x="94" y="276"/>
                  </a:lnTo>
                  <a:lnTo>
                    <a:pt x="94" y="275"/>
                  </a:lnTo>
                  <a:close/>
                  <a:moveTo>
                    <a:pt x="85" y="269"/>
                  </a:moveTo>
                  <a:lnTo>
                    <a:pt x="85" y="271"/>
                  </a:lnTo>
                  <a:lnTo>
                    <a:pt x="85" y="269"/>
                  </a:lnTo>
                  <a:close/>
                  <a:moveTo>
                    <a:pt x="91" y="265"/>
                  </a:moveTo>
                  <a:lnTo>
                    <a:pt x="91" y="267"/>
                  </a:lnTo>
                  <a:lnTo>
                    <a:pt x="91" y="265"/>
                  </a:lnTo>
                  <a:close/>
                  <a:moveTo>
                    <a:pt x="85" y="251"/>
                  </a:moveTo>
                  <a:lnTo>
                    <a:pt x="85" y="253"/>
                  </a:lnTo>
                  <a:lnTo>
                    <a:pt x="85" y="251"/>
                  </a:lnTo>
                  <a:close/>
                  <a:moveTo>
                    <a:pt x="93" y="275"/>
                  </a:moveTo>
                  <a:lnTo>
                    <a:pt x="94" y="275"/>
                  </a:lnTo>
                  <a:lnTo>
                    <a:pt x="93" y="275"/>
                  </a:lnTo>
                  <a:close/>
                  <a:moveTo>
                    <a:pt x="83" y="294"/>
                  </a:moveTo>
                  <a:lnTo>
                    <a:pt x="85" y="294"/>
                  </a:lnTo>
                  <a:lnTo>
                    <a:pt x="83" y="294"/>
                  </a:lnTo>
                  <a:close/>
                  <a:moveTo>
                    <a:pt x="89" y="251"/>
                  </a:moveTo>
                  <a:lnTo>
                    <a:pt x="91" y="251"/>
                  </a:lnTo>
                  <a:lnTo>
                    <a:pt x="89" y="251"/>
                  </a:lnTo>
                  <a:close/>
                  <a:moveTo>
                    <a:pt x="93" y="242"/>
                  </a:moveTo>
                  <a:lnTo>
                    <a:pt x="94" y="242"/>
                  </a:lnTo>
                  <a:lnTo>
                    <a:pt x="93" y="242"/>
                  </a:lnTo>
                  <a:close/>
                  <a:moveTo>
                    <a:pt x="94" y="257"/>
                  </a:moveTo>
                  <a:lnTo>
                    <a:pt x="94" y="259"/>
                  </a:lnTo>
                  <a:lnTo>
                    <a:pt x="94" y="257"/>
                  </a:lnTo>
                  <a:close/>
                  <a:moveTo>
                    <a:pt x="87" y="282"/>
                  </a:moveTo>
                  <a:lnTo>
                    <a:pt x="89" y="282"/>
                  </a:lnTo>
                  <a:lnTo>
                    <a:pt x="87" y="282"/>
                  </a:lnTo>
                  <a:close/>
                  <a:moveTo>
                    <a:pt x="85" y="255"/>
                  </a:moveTo>
                  <a:lnTo>
                    <a:pt x="87" y="255"/>
                  </a:lnTo>
                  <a:lnTo>
                    <a:pt x="85" y="255"/>
                  </a:lnTo>
                  <a:close/>
                  <a:moveTo>
                    <a:pt x="89" y="286"/>
                  </a:moveTo>
                  <a:lnTo>
                    <a:pt x="89" y="288"/>
                  </a:lnTo>
                  <a:lnTo>
                    <a:pt x="89" y="286"/>
                  </a:lnTo>
                  <a:close/>
                  <a:moveTo>
                    <a:pt x="83" y="267"/>
                  </a:moveTo>
                  <a:lnTo>
                    <a:pt x="85" y="267"/>
                  </a:lnTo>
                  <a:lnTo>
                    <a:pt x="83" y="267"/>
                  </a:lnTo>
                  <a:close/>
                  <a:moveTo>
                    <a:pt x="87" y="261"/>
                  </a:moveTo>
                  <a:lnTo>
                    <a:pt x="87" y="263"/>
                  </a:lnTo>
                  <a:lnTo>
                    <a:pt x="87" y="261"/>
                  </a:lnTo>
                  <a:close/>
                  <a:moveTo>
                    <a:pt x="93" y="257"/>
                  </a:moveTo>
                  <a:lnTo>
                    <a:pt x="94" y="257"/>
                  </a:lnTo>
                  <a:lnTo>
                    <a:pt x="93" y="25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 name="Freeform 416">
              <a:extLst>
                <a:ext uri="{FF2B5EF4-FFF2-40B4-BE49-F238E27FC236}">
                  <a16:creationId xmlns:a16="http://schemas.microsoft.com/office/drawing/2014/main" id="{612AA1FD-91FE-4EE9-A92C-1C353F609BCD}"/>
                </a:ext>
              </a:extLst>
            </p:cNvPr>
            <p:cNvSpPr>
              <a:spLocks noEditPoints="1"/>
            </p:cNvSpPr>
            <p:nvPr/>
          </p:nvSpPr>
          <p:spPr bwMode="gray">
            <a:xfrm>
              <a:off x="5044149" y="4100417"/>
              <a:ext cx="96884" cy="79715"/>
            </a:xfrm>
            <a:custGeom>
              <a:avLst/>
              <a:gdLst>
                <a:gd name="T0" fmla="*/ 75 w 79"/>
                <a:gd name="T1" fmla="*/ 7 h 65"/>
                <a:gd name="T2" fmla="*/ 77 w 79"/>
                <a:gd name="T3" fmla="*/ 13 h 65"/>
                <a:gd name="T4" fmla="*/ 77 w 79"/>
                <a:gd name="T5" fmla="*/ 21 h 65"/>
                <a:gd name="T6" fmla="*/ 75 w 79"/>
                <a:gd name="T7" fmla="*/ 27 h 65"/>
                <a:gd name="T8" fmla="*/ 77 w 79"/>
                <a:gd name="T9" fmla="*/ 36 h 65"/>
                <a:gd name="T10" fmla="*/ 71 w 79"/>
                <a:gd name="T11" fmla="*/ 38 h 65"/>
                <a:gd name="T12" fmla="*/ 65 w 79"/>
                <a:gd name="T13" fmla="*/ 40 h 65"/>
                <a:gd name="T14" fmla="*/ 60 w 79"/>
                <a:gd name="T15" fmla="*/ 42 h 65"/>
                <a:gd name="T16" fmla="*/ 60 w 79"/>
                <a:gd name="T17" fmla="*/ 46 h 65"/>
                <a:gd name="T18" fmla="*/ 52 w 79"/>
                <a:gd name="T19" fmla="*/ 46 h 65"/>
                <a:gd name="T20" fmla="*/ 54 w 79"/>
                <a:gd name="T21" fmla="*/ 52 h 65"/>
                <a:gd name="T22" fmla="*/ 56 w 79"/>
                <a:gd name="T23" fmla="*/ 56 h 65"/>
                <a:gd name="T24" fmla="*/ 52 w 79"/>
                <a:gd name="T25" fmla="*/ 57 h 65"/>
                <a:gd name="T26" fmla="*/ 44 w 79"/>
                <a:gd name="T27" fmla="*/ 57 h 65"/>
                <a:gd name="T28" fmla="*/ 41 w 79"/>
                <a:gd name="T29" fmla="*/ 61 h 65"/>
                <a:gd name="T30" fmla="*/ 33 w 79"/>
                <a:gd name="T31" fmla="*/ 65 h 65"/>
                <a:gd name="T32" fmla="*/ 25 w 79"/>
                <a:gd name="T33" fmla="*/ 61 h 65"/>
                <a:gd name="T34" fmla="*/ 21 w 79"/>
                <a:gd name="T35" fmla="*/ 61 h 65"/>
                <a:gd name="T36" fmla="*/ 17 w 79"/>
                <a:gd name="T37" fmla="*/ 61 h 65"/>
                <a:gd name="T38" fmla="*/ 19 w 79"/>
                <a:gd name="T39" fmla="*/ 56 h 65"/>
                <a:gd name="T40" fmla="*/ 17 w 79"/>
                <a:gd name="T41" fmla="*/ 54 h 65"/>
                <a:gd name="T42" fmla="*/ 17 w 79"/>
                <a:gd name="T43" fmla="*/ 57 h 65"/>
                <a:gd name="T44" fmla="*/ 14 w 79"/>
                <a:gd name="T45" fmla="*/ 57 h 65"/>
                <a:gd name="T46" fmla="*/ 12 w 79"/>
                <a:gd name="T47" fmla="*/ 52 h 65"/>
                <a:gd name="T48" fmla="*/ 14 w 79"/>
                <a:gd name="T49" fmla="*/ 50 h 65"/>
                <a:gd name="T50" fmla="*/ 12 w 79"/>
                <a:gd name="T51" fmla="*/ 48 h 65"/>
                <a:gd name="T52" fmla="*/ 12 w 79"/>
                <a:gd name="T53" fmla="*/ 44 h 65"/>
                <a:gd name="T54" fmla="*/ 10 w 79"/>
                <a:gd name="T55" fmla="*/ 46 h 65"/>
                <a:gd name="T56" fmla="*/ 6 w 79"/>
                <a:gd name="T57" fmla="*/ 38 h 65"/>
                <a:gd name="T58" fmla="*/ 6 w 79"/>
                <a:gd name="T59" fmla="*/ 31 h 65"/>
                <a:gd name="T60" fmla="*/ 2 w 79"/>
                <a:gd name="T61" fmla="*/ 27 h 65"/>
                <a:gd name="T62" fmla="*/ 0 w 79"/>
                <a:gd name="T63" fmla="*/ 21 h 65"/>
                <a:gd name="T64" fmla="*/ 6 w 79"/>
                <a:gd name="T65" fmla="*/ 15 h 65"/>
                <a:gd name="T66" fmla="*/ 10 w 79"/>
                <a:gd name="T67" fmla="*/ 7 h 65"/>
                <a:gd name="T68" fmla="*/ 17 w 79"/>
                <a:gd name="T69" fmla="*/ 4 h 65"/>
                <a:gd name="T70" fmla="*/ 23 w 79"/>
                <a:gd name="T71" fmla="*/ 6 h 65"/>
                <a:gd name="T72" fmla="*/ 31 w 79"/>
                <a:gd name="T73" fmla="*/ 6 h 65"/>
                <a:gd name="T74" fmla="*/ 39 w 79"/>
                <a:gd name="T75" fmla="*/ 4 h 65"/>
                <a:gd name="T76" fmla="*/ 41 w 79"/>
                <a:gd name="T77" fmla="*/ 6 h 65"/>
                <a:gd name="T78" fmla="*/ 44 w 79"/>
                <a:gd name="T79" fmla="*/ 9 h 65"/>
                <a:gd name="T80" fmla="*/ 46 w 79"/>
                <a:gd name="T81" fmla="*/ 7 h 65"/>
                <a:gd name="T82" fmla="*/ 52 w 79"/>
                <a:gd name="T83" fmla="*/ 9 h 65"/>
                <a:gd name="T84" fmla="*/ 56 w 79"/>
                <a:gd name="T85" fmla="*/ 9 h 65"/>
                <a:gd name="T86" fmla="*/ 56 w 79"/>
                <a:gd name="T87" fmla="*/ 6 h 65"/>
                <a:gd name="T88" fmla="*/ 60 w 79"/>
                <a:gd name="T89" fmla="*/ 2 h 65"/>
                <a:gd name="T90" fmla="*/ 62 w 79"/>
                <a:gd name="T91" fmla="*/ 4 h 65"/>
                <a:gd name="T92" fmla="*/ 69 w 79"/>
                <a:gd name="T93" fmla="*/ 4 h 65"/>
                <a:gd name="T94" fmla="*/ 77 w 79"/>
                <a:gd name="T95" fmla="*/ 0 h 65"/>
                <a:gd name="T96" fmla="*/ 14 w 79"/>
                <a:gd name="T97" fmla="*/ 59 h 65"/>
                <a:gd name="T98" fmla="*/ 12 w 79"/>
                <a:gd name="T99" fmla="*/ 48 h 65"/>
                <a:gd name="T100" fmla="*/ 16 w 79"/>
                <a:gd name="T101" fmla="*/ 63 h 65"/>
                <a:gd name="T102" fmla="*/ 27 w 79"/>
                <a:gd name="T103" fmla="*/ 63 h 65"/>
                <a:gd name="T104" fmla="*/ 21 w 79"/>
                <a:gd name="T105" fmla="*/ 63 h 65"/>
                <a:gd name="T106" fmla="*/ 16 w 79"/>
                <a:gd name="T107" fmla="*/ 61 h 65"/>
                <a:gd name="T108" fmla="*/ 14 w 79"/>
                <a:gd name="T109" fmla="*/ 57 h 65"/>
                <a:gd name="T110" fmla="*/ 10 w 79"/>
                <a:gd name="T111" fmla="*/ 44 h 65"/>
                <a:gd name="T112" fmla="*/ 12 w 79"/>
                <a:gd name="T113" fmla="*/ 54 h 65"/>
                <a:gd name="T114" fmla="*/ 29 w 79"/>
                <a:gd name="T115"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 h="65">
                  <a:moveTo>
                    <a:pt x="77" y="0"/>
                  </a:moveTo>
                  <a:lnTo>
                    <a:pt x="77" y="2"/>
                  </a:lnTo>
                  <a:lnTo>
                    <a:pt x="77" y="4"/>
                  </a:lnTo>
                  <a:lnTo>
                    <a:pt x="75" y="4"/>
                  </a:lnTo>
                  <a:lnTo>
                    <a:pt x="75" y="6"/>
                  </a:lnTo>
                  <a:lnTo>
                    <a:pt x="75" y="7"/>
                  </a:lnTo>
                  <a:lnTo>
                    <a:pt x="73" y="7"/>
                  </a:lnTo>
                  <a:lnTo>
                    <a:pt x="73" y="9"/>
                  </a:lnTo>
                  <a:lnTo>
                    <a:pt x="75" y="9"/>
                  </a:lnTo>
                  <a:lnTo>
                    <a:pt x="75" y="11"/>
                  </a:lnTo>
                  <a:lnTo>
                    <a:pt x="75" y="13"/>
                  </a:lnTo>
                  <a:lnTo>
                    <a:pt x="77" y="13"/>
                  </a:lnTo>
                  <a:lnTo>
                    <a:pt x="77" y="15"/>
                  </a:lnTo>
                  <a:lnTo>
                    <a:pt x="77" y="17"/>
                  </a:lnTo>
                  <a:lnTo>
                    <a:pt x="79" y="17"/>
                  </a:lnTo>
                  <a:lnTo>
                    <a:pt x="79" y="19"/>
                  </a:lnTo>
                  <a:lnTo>
                    <a:pt x="79" y="21"/>
                  </a:lnTo>
                  <a:lnTo>
                    <a:pt x="77" y="21"/>
                  </a:lnTo>
                  <a:lnTo>
                    <a:pt x="77" y="23"/>
                  </a:lnTo>
                  <a:lnTo>
                    <a:pt x="77" y="25"/>
                  </a:lnTo>
                  <a:lnTo>
                    <a:pt x="77" y="27"/>
                  </a:lnTo>
                  <a:lnTo>
                    <a:pt x="75" y="27"/>
                  </a:lnTo>
                  <a:lnTo>
                    <a:pt x="77" y="27"/>
                  </a:lnTo>
                  <a:lnTo>
                    <a:pt x="75" y="27"/>
                  </a:lnTo>
                  <a:lnTo>
                    <a:pt x="77" y="27"/>
                  </a:lnTo>
                  <a:lnTo>
                    <a:pt x="77" y="29"/>
                  </a:lnTo>
                  <a:lnTo>
                    <a:pt x="77" y="31"/>
                  </a:lnTo>
                  <a:lnTo>
                    <a:pt x="77" y="32"/>
                  </a:lnTo>
                  <a:lnTo>
                    <a:pt x="77" y="34"/>
                  </a:lnTo>
                  <a:lnTo>
                    <a:pt x="77" y="36"/>
                  </a:lnTo>
                  <a:lnTo>
                    <a:pt x="77" y="34"/>
                  </a:lnTo>
                  <a:lnTo>
                    <a:pt x="77" y="36"/>
                  </a:lnTo>
                  <a:lnTo>
                    <a:pt x="75" y="36"/>
                  </a:lnTo>
                  <a:lnTo>
                    <a:pt x="73" y="36"/>
                  </a:lnTo>
                  <a:lnTo>
                    <a:pt x="71" y="36"/>
                  </a:lnTo>
                  <a:lnTo>
                    <a:pt x="71" y="38"/>
                  </a:lnTo>
                  <a:lnTo>
                    <a:pt x="71" y="36"/>
                  </a:lnTo>
                  <a:lnTo>
                    <a:pt x="71" y="38"/>
                  </a:lnTo>
                  <a:lnTo>
                    <a:pt x="69" y="38"/>
                  </a:lnTo>
                  <a:lnTo>
                    <a:pt x="69" y="40"/>
                  </a:lnTo>
                  <a:lnTo>
                    <a:pt x="67" y="40"/>
                  </a:lnTo>
                  <a:lnTo>
                    <a:pt x="65" y="40"/>
                  </a:lnTo>
                  <a:lnTo>
                    <a:pt x="64" y="40"/>
                  </a:lnTo>
                  <a:lnTo>
                    <a:pt x="65" y="40"/>
                  </a:lnTo>
                  <a:lnTo>
                    <a:pt x="64" y="40"/>
                  </a:lnTo>
                  <a:lnTo>
                    <a:pt x="62" y="40"/>
                  </a:lnTo>
                  <a:lnTo>
                    <a:pt x="60" y="40"/>
                  </a:lnTo>
                  <a:lnTo>
                    <a:pt x="60" y="42"/>
                  </a:lnTo>
                  <a:lnTo>
                    <a:pt x="62" y="42"/>
                  </a:lnTo>
                  <a:lnTo>
                    <a:pt x="62" y="44"/>
                  </a:lnTo>
                  <a:lnTo>
                    <a:pt x="60" y="44"/>
                  </a:lnTo>
                  <a:lnTo>
                    <a:pt x="62" y="44"/>
                  </a:lnTo>
                  <a:lnTo>
                    <a:pt x="62" y="46"/>
                  </a:lnTo>
                  <a:lnTo>
                    <a:pt x="60" y="46"/>
                  </a:lnTo>
                  <a:lnTo>
                    <a:pt x="58" y="46"/>
                  </a:lnTo>
                  <a:lnTo>
                    <a:pt x="58" y="44"/>
                  </a:lnTo>
                  <a:lnTo>
                    <a:pt x="56" y="44"/>
                  </a:lnTo>
                  <a:lnTo>
                    <a:pt x="54" y="44"/>
                  </a:lnTo>
                  <a:lnTo>
                    <a:pt x="54" y="46"/>
                  </a:lnTo>
                  <a:lnTo>
                    <a:pt x="52" y="46"/>
                  </a:lnTo>
                  <a:lnTo>
                    <a:pt x="52" y="48"/>
                  </a:lnTo>
                  <a:lnTo>
                    <a:pt x="52" y="50"/>
                  </a:lnTo>
                  <a:lnTo>
                    <a:pt x="52" y="48"/>
                  </a:lnTo>
                  <a:lnTo>
                    <a:pt x="52" y="50"/>
                  </a:lnTo>
                  <a:lnTo>
                    <a:pt x="52" y="52"/>
                  </a:lnTo>
                  <a:lnTo>
                    <a:pt x="54" y="52"/>
                  </a:lnTo>
                  <a:lnTo>
                    <a:pt x="52" y="52"/>
                  </a:lnTo>
                  <a:lnTo>
                    <a:pt x="54" y="52"/>
                  </a:lnTo>
                  <a:lnTo>
                    <a:pt x="54" y="54"/>
                  </a:lnTo>
                  <a:lnTo>
                    <a:pt x="56" y="54"/>
                  </a:lnTo>
                  <a:lnTo>
                    <a:pt x="58" y="56"/>
                  </a:lnTo>
                  <a:lnTo>
                    <a:pt x="56" y="56"/>
                  </a:lnTo>
                  <a:lnTo>
                    <a:pt x="56" y="57"/>
                  </a:lnTo>
                  <a:lnTo>
                    <a:pt x="58" y="57"/>
                  </a:lnTo>
                  <a:lnTo>
                    <a:pt x="58" y="59"/>
                  </a:lnTo>
                  <a:lnTo>
                    <a:pt x="56" y="57"/>
                  </a:lnTo>
                  <a:lnTo>
                    <a:pt x="54" y="57"/>
                  </a:lnTo>
                  <a:lnTo>
                    <a:pt x="52" y="57"/>
                  </a:lnTo>
                  <a:lnTo>
                    <a:pt x="52" y="56"/>
                  </a:lnTo>
                  <a:lnTo>
                    <a:pt x="50" y="56"/>
                  </a:lnTo>
                  <a:lnTo>
                    <a:pt x="48" y="56"/>
                  </a:lnTo>
                  <a:lnTo>
                    <a:pt x="46" y="56"/>
                  </a:lnTo>
                  <a:lnTo>
                    <a:pt x="46" y="57"/>
                  </a:lnTo>
                  <a:lnTo>
                    <a:pt x="44" y="57"/>
                  </a:lnTo>
                  <a:lnTo>
                    <a:pt x="42" y="57"/>
                  </a:lnTo>
                  <a:lnTo>
                    <a:pt x="41" y="57"/>
                  </a:lnTo>
                  <a:lnTo>
                    <a:pt x="41" y="56"/>
                  </a:lnTo>
                  <a:lnTo>
                    <a:pt x="41" y="57"/>
                  </a:lnTo>
                  <a:lnTo>
                    <a:pt x="41" y="59"/>
                  </a:lnTo>
                  <a:lnTo>
                    <a:pt x="41" y="61"/>
                  </a:lnTo>
                  <a:lnTo>
                    <a:pt x="39" y="61"/>
                  </a:lnTo>
                  <a:lnTo>
                    <a:pt x="39" y="63"/>
                  </a:lnTo>
                  <a:lnTo>
                    <a:pt x="37" y="63"/>
                  </a:lnTo>
                  <a:lnTo>
                    <a:pt x="35" y="63"/>
                  </a:lnTo>
                  <a:lnTo>
                    <a:pt x="33" y="63"/>
                  </a:lnTo>
                  <a:lnTo>
                    <a:pt x="33" y="65"/>
                  </a:lnTo>
                  <a:lnTo>
                    <a:pt x="33" y="63"/>
                  </a:lnTo>
                  <a:lnTo>
                    <a:pt x="31" y="63"/>
                  </a:lnTo>
                  <a:lnTo>
                    <a:pt x="29" y="63"/>
                  </a:lnTo>
                  <a:lnTo>
                    <a:pt x="29" y="61"/>
                  </a:lnTo>
                  <a:lnTo>
                    <a:pt x="27" y="61"/>
                  </a:lnTo>
                  <a:lnTo>
                    <a:pt x="25" y="61"/>
                  </a:lnTo>
                  <a:lnTo>
                    <a:pt x="23" y="61"/>
                  </a:lnTo>
                  <a:lnTo>
                    <a:pt x="23" y="59"/>
                  </a:lnTo>
                  <a:lnTo>
                    <a:pt x="23" y="61"/>
                  </a:lnTo>
                  <a:lnTo>
                    <a:pt x="23" y="63"/>
                  </a:lnTo>
                  <a:lnTo>
                    <a:pt x="21" y="63"/>
                  </a:lnTo>
                  <a:lnTo>
                    <a:pt x="21" y="61"/>
                  </a:lnTo>
                  <a:lnTo>
                    <a:pt x="21" y="63"/>
                  </a:lnTo>
                  <a:lnTo>
                    <a:pt x="19" y="63"/>
                  </a:lnTo>
                  <a:lnTo>
                    <a:pt x="19" y="61"/>
                  </a:lnTo>
                  <a:lnTo>
                    <a:pt x="19" y="63"/>
                  </a:lnTo>
                  <a:lnTo>
                    <a:pt x="19" y="61"/>
                  </a:lnTo>
                  <a:lnTo>
                    <a:pt x="17" y="61"/>
                  </a:lnTo>
                  <a:lnTo>
                    <a:pt x="17" y="59"/>
                  </a:lnTo>
                  <a:lnTo>
                    <a:pt x="19" y="59"/>
                  </a:lnTo>
                  <a:lnTo>
                    <a:pt x="19" y="57"/>
                  </a:lnTo>
                  <a:lnTo>
                    <a:pt x="21" y="57"/>
                  </a:lnTo>
                  <a:lnTo>
                    <a:pt x="21" y="56"/>
                  </a:lnTo>
                  <a:lnTo>
                    <a:pt x="19" y="56"/>
                  </a:lnTo>
                  <a:lnTo>
                    <a:pt x="19" y="54"/>
                  </a:lnTo>
                  <a:lnTo>
                    <a:pt x="19" y="56"/>
                  </a:lnTo>
                  <a:lnTo>
                    <a:pt x="21" y="56"/>
                  </a:lnTo>
                  <a:lnTo>
                    <a:pt x="21" y="54"/>
                  </a:lnTo>
                  <a:lnTo>
                    <a:pt x="19" y="54"/>
                  </a:lnTo>
                  <a:lnTo>
                    <a:pt x="17" y="54"/>
                  </a:lnTo>
                  <a:lnTo>
                    <a:pt x="17" y="52"/>
                  </a:lnTo>
                  <a:lnTo>
                    <a:pt x="17" y="54"/>
                  </a:lnTo>
                  <a:lnTo>
                    <a:pt x="17" y="56"/>
                  </a:lnTo>
                  <a:lnTo>
                    <a:pt x="16" y="56"/>
                  </a:lnTo>
                  <a:lnTo>
                    <a:pt x="17" y="56"/>
                  </a:lnTo>
                  <a:lnTo>
                    <a:pt x="17" y="57"/>
                  </a:lnTo>
                  <a:lnTo>
                    <a:pt x="16" y="57"/>
                  </a:lnTo>
                  <a:lnTo>
                    <a:pt x="14" y="57"/>
                  </a:lnTo>
                  <a:lnTo>
                    <a:pt x="16" y="57"/>
                  </a:lnTo>
                  <a:lnTo>
                    <a:pt x="14" y="57"/>
                  </a:lnTo>
                  <a:lnTo>
                    <a:pt x="14" y="56"/>
                  </a:lnTo>
                  <a:lnTo>
                    <a:pt x="14" y="57"/>
                  </a:lnTo>
                  <a:lnTo>
                    <a:pt x="12" y="57"/>
                  </a:lnTo>
                  <a:lnTo>
                    <a:pt x="12" y="56"/>
                  </a:lnTo>
                  <a:lnTo>
                    <a:pt x="12" y="54"/>
                  </a:lnTo>
                  <a:lnTo>
                    <a:pt x="12" y="52"/>
                  </a:lnTo>
                  <a:lnTo>
                    <a:pt x="14" y="52"/>
                  </a:lnTo>
                  <a:lnTo>
                    <a:pt x="12" y="52"/>
                  </a:lnTo>
                  <a:lnTo>
                    <a:pt x="12" y="50"/>
                  </a:lnTo>
                  <a:lnTo>
                    <a:pt x="12" y="48"/>
                  </a:lnTo>
                  <a:lnTo>
                    <a:pt x="12" y="50"/>
                  </a:lnTo>
                  <a:lnTo>
                    <a:pt x="14" y="50"/>
                  </a:lnTo>
                  <a:lnTo>
                    <a:pt x="12" y="50"/>
                  </a:lnTo>
                  <a:lnTo>
                    <a:pt x="14" y="50"/>
                  </a:lnTo>
                  <a:lnTo>
                    <a:pt x="12" y="50"/>
                  </a:lnTo>
                  <a:lnTo>
                    <a:pt x="12" y="48"/>
                  </a:lnTo>
                  <a:lnTo>
                    <a:pt x="12" y="46"/>
                  </a:lnTo>
                  <a:lnTo>
                    <a:pt x="12" y="48"/>
                  </a:lnTo>
                  <a:lnTo>
                    <a:pt x="12" y="46"/>
                  </a:lnTo>
                  <a:lnTo>
                    <a:pt x="12" y="48"/>
                  </a:lnTo>
                  <a:lnTo>
                    <a:pt x="10" y="48"/>
                  </a:lnTo>
                  <a:lnTo>
                    <a:pt x="10" y="46"/>
                  </a:lnTo>
                  <a:lnTo>
                    <a:pt x="12" y="46"/>
                  </a:lnTo>
                  <a:lnTo>
                    <a:pt x="10" y="46"/>
                  </a:lnTo>
                  <a:lnTo>
                    <a:pt x="10" y="44"/>
                  </a:lnTo>
                  <a:lnTo>
                    <a:pt x="12" y="44"/>
                  </a:lnTo>
                  <a:lnTo>
                    <a:pt x="10" y="44"/>
                  </a:lnTo>
                  <a:lnTo>
                    <a:pt x="8" y="44"/>
                  </a:lnTo>
                  <a:lnTo>
                    <a:pt x="10" y="44"/>
                  </a:lnTo>
                  <a:lnTo>
                    <a:pt x="10" y="46"/>
                  </a:lnTo>
                  <a:lnTo>
                    <a:pt x="10" y="48"/>
                  </a:lnTo>
                  <a:lnTo>
                    <a:pt x="10" y="46"/>
                  </a:lnTo>
                  <a:lnTo>
                    <a:pt x="10" y="44"/>
                  </a:lnTo>
                  <a:lnTo>
                    <a:pt x="8" y="44"/>
                  </a:lnTo>
                  <a:lnTo>
                    <a:pt x="8" y="42"/>
                  </a:lnTo>
                  <a:lnTo>
                    <a:pt x="8" y="40"/>
                  </a:lnTo>
                  <a:lnTo>
                    <a:pt x="6" y="40"/>
                  </a:lnTo>
                  <a:lnTo>
                    <a:pt x="6" y="38"/>
                  </a:lnTo>
                  <a:lnTo>
                    <a:pt x="6" y="36"/>
                  </a:lnTo>
                  <a:lnTo>
                    <a:pt x="6" y="34"/>
                  </a:lnTo>
                  <a:lnTo>
                    <a:pt x="8" y="34"/>
                  </a:lnTo>
                  <a:lnTo>
                    <a:pt x="6" y="34"/>
                  </a:lnTo>
                  <a:lnTo>
                    <a:pt x="6" y="32"/>
                  </a:lnTo>
                  <a:lnTo>
                    <a:pt x="6" y="31"/>
                  </a:lnTo>
                  <a:lnTo>
                    <a:pt x="4" y="31"/>
                  </a:lnTo>
                  <a:lnTo>
                    <a:pt x="4" y="29"/>
                  </a:lnTo>
                  <a:lnTo>
                    <a:pt x="4" y="27"/>
                  </a:lnTo>
                  <a:lnTo>
                    <a:pt x="2" y="27"/>
                  </a:lnTo>
                  <a:lnTo>
                    <a:pt x="4" y="27"/>
                  </a:lnTo>
                  <a:lnTo>
                    <a:pt x="2" y="27"/>
                  </a:lnTo>
                  <a:lnTo>
                    <a:pt x="2" y="25"/>
                  </a:lnTo>
                  <a:lnTo>
                    <a:pt x="4" y="25"/>
                  </a:lnTo>
                  <a:lnTo>
                    <a:pt x="2" y="25"/>
                  </a:lnTo>
                  <a:lnTo>
                    <a:pt x="2" y="23"/>
                  </a:lnTo>
                  <a:lnTo>
                    <a:pt x="2" y="21"/>
                  </a:lnTo>
                  <a:lnTo>
                    <a:pt x="0" y="21"/>
                  </a:lnTo>
                  <a:lnTo>
                    <a:pt x="0" y="19"/>
                  </a:lnTo>
                  <a:lnTo>
                    <a:pt x="0" y="17"/>
                  </a:lnTo>
                  <a:lnTo>
                    <a:pt x="2" y="17"/>
                  </a:lnTo>
                  <a:lnTo>
                    <a:pt x="4" y="17"/>
                  </a:lnTo>
                  <a:lnTo>
                    <a:pt x="4" y="15"/>
                  </a:lnTo>
                  <a:lnTo>
                    <a:pt x="6" y="15"/>
                  </a:lnTo>
                  <a:lnTo>
                    <a:pt x="6" y="13"/>
                  </a:lnTo>
                  <a:lnTo>
                    <a:pt x="8" y="13"/>
                  </a:lnTo>
                  <a:lnTo>
                    <a:pt x="8" y="11"/>
                  </a:lnTo>
                  <a:lnTo>
                    <a:pt x="8" y="9"/>
                  </a:lnTo>
                  <a:lnTo>
                    <a:pt x="10" y="9"/>
                  </a:lnTo>
                  <a:lnTo>
                    <a:pt x="10" y="7"/>
                  </a:lnTo>
                  <a:lnTo>
                    <a:pt x="12" y="7"/>
                  </a:lnTo>
                  <a:lnTo>
                    <a:pt x="12" y="6"/>
                  </a:lnTo>
                  <a:lnTo>
                    <a:pt x="14" y="6"/>
                  </a:lnTo>
                  <a:lnTo>
                    <a:pt x="16" y="6"/>
                  </a:lnTo>
                  <a:lnTo>
                    <a:pt x="17" y="6"/>
                  </a:lnTo>
                  <a:lnTo>
                    <a:pt x="17" y="4"/>
                  </a:lnTo>
                  <a:lnTo>
                    <a:pt x="17" y="6"/>
                  </a:lnTo>
                  <a:lnTo>
                    <a:pt x="17" y="4"/>
                  </a:lnTo>
                  <a:lnTo>
                    <a:pt x="19" y="4"/>
                  </a:lnTo>
                  <a:lnTo>
                    <a:pt x="21" y="4"/>
                  </a:lnTo>
                  <a:lnTo>
                    <a:pt x="21" y="6"/>
                  </a:lnTo>
                  <a:lnTo>
                    <a:pt x="23" y="6"/>
                  </a:lnTo>
                  <a:lnTo>
                    <a:pt x="25" y="6"/>
                  </a:lnTo>
                  <a:lnTo>
                    <a:pt x="27" y="6"/>
                  </a:lnTo>
                  <a:lnTo>
                    <a:pt x="29" y="6"/>
                  </a:lnTo>
                  <a:lnTo>
                    <a:pt x="29" y="4"/>
                  </a:lnTo>
                  <a:lnTo>
                    <a:pt x="29" y="6"/>
                  </a:lnTo>
                  <a:lnTo>
                    <a:pt x="31" y="6"/>
                  </a:lnTo>
                  <a:lnTo>
                    <a:pt x="33" y="6"/>
                  </a:lnTo>
                  <a:lnTo>
                    <a:pt x="35" y="4"/>
                  </a:lnTo>
                  <a:lnTo>
                    <a:pt x="37" y="4"/>
                  </a:lnTo>
                  <a:lnTo>
                    <a:pt x="39" y="4"/>
                  </a:lnTo>
                  <a:lnTo>
                    <a:pt x="39" y="6"/>
                  </a:lnTo>
                  <a:lnTo>
                    <a:pt x="39" y="4"/>
                  </a:lnTo>
                  <a:lnTo>
                    <a:pt x="39" y="6"/>
                  </a:lnTo>
                  <a:lnTo>
                    <a:pt x="39" y="4"/>
                  </a:lnTo>
                  <a:lnTo>
                    <a:pt x="39" y="6"/>
                  </a:lnTo>
                  <a:lnTo>
                    <a:pt x="41" y="6"/>
                  </a:lnTo>
                  <a:lnTo>
                    <a:pt x="39" y="6"/>
                  </a:lnTo>
                  <a:lnTo>
                    <a:pt x="41" y="6"/>
                  </a:lnTo>
                  <a:lnTo>
                    <a:pt x="41" y="7"/>
                  </a:lnTo>
                  <a:lnTo>
                    <a:pt x="42" y="7"/>
                  </a:lnTo>
                  <a:lnTo>
                    <a:pt x="42" y="6"/>
                  </a:lnTo>
                  <a:lnTo>
                    <a:pt x="42" y="7"/>
                  </a:lnTo>
                  <a:lnTo>
                    <a:pt x="44" y="7"/>
                  </a:lnTo>
                  <a:lnTo>
                    <a:pt x="44" y="9"/>
                  </a:lnTo>
                  <a:lnTo>
                    <a:pt x="46" y="9"/>
                  </a:lnTo>
                  <a:lnTo>
                    <a:pt x="46" y="7"/>
                  </a:lnTo>
                  <a:lnTo>
                    <a:pt x="46" y="9"/>
                  </a:lnTo>
                  <a:lnTo>
                    <a:pt x="46" y="7"/>
                  </a:lnTo>
                  <a:lnTo>
                    <a:pt x="46" y="9"/>
                  </a:lnTo>
                  <a:lnTo>
                    <a:pt x="46" y="7"/>
                  </a:lnTo>
                  <a:lnTo>
                    <a:pt x="48" y="7"/>
                  </a:lnTo>
                  <a:lnTo>
                    <a:pt x="48" y="9"/>
                  </a:lnTo>
                  <a:lnTo>
                    <a:pt x="48" y="7"/>
                  </a:lnTo>
                  <a:lnTo>
                    <a:pt x="48" y="9"/>
                  </a:lnTo>
                  <a:lnTo>
                    <a:pt x="50" y="9"/>
                  </a:lnTo>
                  <a:lnTo>
                    <a:pt x="52" y="9"/>
                  </a:lnTo>
                  <a:lnTo>
                    <a:pt x="52" y="11"/>
                  </a:lnTo>
                  <a:lnTo>
                    <a:pt x="54" y="11"/>
                  </a:lnTo>
                  <a:lnTo>
                    <a:pt x="56" y="11"/>
                  </a:lnTo>
                  <a:lnTo>
                    <a:pt x="56" y="9"/>
                  </a:lnTo>
                  <a:lnTo>
                    <a:pt x="58" y="9"/>
                  </a:lnTo>
                  <a:lnTo>
                    <a:pt x="56" y="9"/>
                  </a:lnTo>
                  <a:lnTo>
                    <a:pt x="58" y="9"/>
                  </a:lnTo>
                  <a:lnTo>
                    <a:pt x="56" y="9"/>
                  </a:lnTo>
                  <a:lnTo>
                    <a:pt x="56" y="7"/>
                  </a:lnTo>
                  <a:lnTo>
                    <a:pt x="54" y="7"/>
                  </a:lnTo>
                  <a:lnTo>
                    <a:pt x="54" y="6"/>
                  </a:lnTo>
                  <a:lnTo>
                    <a:pt x="56" y="6"/>
                  </a:lnTo>
                  <a:lnTo>
                    <a:pt x="58" y="6"/>
                  </a:lnTo>
                  <a:lnTo>
                    <a:pt x="58" y="4"/>
                  </a:lnTo>
                  <a:lnTo>
                    <a:pt x="60" y="4"/>
                  </a:lnTo>
                  <a:lnTo>
                    <a:pt x="62" y="4"/>
                  </a:lnTo>
                  <a:lnTo>
                    <a:pt x="60" y="4"/>
                  </a:lnTo>
                  <a:lnTo>
                    <a:pt x="60" y="2"/>
                  </a:lnTo>
                  <a:lnTo>
                    <a:pt x="62" y="2"/>
                  </a:lnTo>
                  <a:lnTo>
                    <a:pt x="62" y="4"/>
                  </a:lnTo>
                  <a:lnTo>
                    <a:pt x="62" y="2"/>
                  </a:lnTo>
                  <a:lnTo>
                    <a:pt x="64" y="2"/>
                  </a:lnTo>
                  <a:lnTo>
                    <a:pt x="62" y="2"/>
                  </a:lnTo>
                  <a:lnTo>
                    <a:pt x="62" y="4"/>
                  </a:lnTo>
                  <a:lnTo>
                    <a:pt x="64" y="4"/>
                  </a:lnTo>
                  <a:lnTo>
                    <a:pt x="65" y="4"/>
                  </a:lnTo>
                  <a:lnTo>
                    <a:pt x="65" y="6"/>
                  </a:lnTo>
                  <a:lnTo>
                    <a:pt x="67" y="6"/>
                  </a:lnTo>
                  <a:lnTo>
                    <a:pt x="69" y="6"/>
                  </a:lnTo>
                  <a:lnTo>
                    <a:pt x="69" y="4"/>
                  </a:lnTo>
                  <a:lnTo>
                    <a:pt x="71" y="4"/>
                  </a:lnTo>
                  <a:lnTo>
                    <a:pt x="73" y="4"/>
                  </a:lnTo>
                  <a:lnTo>
                    <a:pt x="73" y="2"/>
                  </a:lnTo>
                  <a:lnTo>
                    <a:pt x="75" y="2"/>
                  </a:lnTo>
                  <a:lnTo>
                    <a:pt x="77" y="2"/>
                  </a:lnTo>
                  <a:lnTo>
                    <a:pt x="77" y="0"/>
                  </a:lnTo>
                  <a:close/>
                  <a:moveTo>
                    <a:pt x="10" y="50"/>
                  </a:moveTo>
                  <a:lnTo>
                    <a:pt x="12" y="50"/>
                  </a:lnTo>
                  <a:lnTo>
                    <a:pt x="12" y="52"/>
                  </a:lnTo>
                  <a:lnTo>
                    <a:pt x="10" y="52"/>
                  </a:lnTo>
                  <a:lnTo>
                    <a:pt x="10" y="50"/>
                  </a:lnTo>
                  <a:close/>
                  <a:moveTo>
                    <a:pt x="14" y="59"/>
                  </a:moveTo>
                  <a:lnTo>
                    <a:pt x="16" y="59"/>
                  </a:lnTo>
                  <a:lnTo>
                    <a:pt x="16" y="61"/>
                  </a:lnTo>
                  <a:lnTo>
                    <a:pt x="14" y="61"/>
                  </a:lnTo>
                  <a:lnTo>
                    <a:pt x="14" y="59"/>
                  </a:lnTo>
                  <a:close/>
                  <a:moveTo>
                    <a:pt x="10" y="48"/>
                  </a:moveTo>
                  <a:lnTo>
                    <a:pt x="12" y="48"/>
                  </a:lnTo>
                  <a:lnTo>
                    <a:pt x="12" y="50"/>
                  </a:lnTo>
                  <a:lnTo>
                    <a:pt x="10" y="50"/>
                  </a:lnTo>
                  <a:lnTo>
                    <a:pt x="10" y="48"/>
                  </a:lnTo>
                  <a:close/>
                  <a:moveTo>
                    <a:pt x="14" y="61"/>
                  </a:moveTo>
                  <a:lnTo>
                    <a:pt x="16" y="61"/>
                  </a:lnTo>
                  <a:lnTo>
                    <a:pt x="16" y="63"/>
                  </a:lnTo>
                  <a:lnTo>
                    <a:pt x="14" y="63"/>
                  </a:lnTo>
                  <a:lnTo>
                    <a:pt x="14" y="61"/>
                  </a:lnTo>
                  <a:close/>
                  <a:moveTo>
                    <a:pt x="27" y="61"/>
                  </a:moveTo>
                  <a:lnTo>
                    <a:pt x="29" y="61"/>
                  </a:lnTo>
                  <a:lnTo>
                    <a:pt x="29" y="63"/>
                  </a:lnTo>
                  <a:lnTo>
                    <a:pt x="27" y="63"/>
                  </a:lnTo>
                  <a:lnTo>
                    <a:pt x="27" y="61"/>
                  </a:lnTo>
                  <a:close/>
                  <a:moveTo>
                    <a:pt x="21" y="63"/>
                  </a:moveTo>
                  <a:lnTo>
                    <a:pt x="23" y="63"/>
                  </a:lnTo>
                  <a:lnTo>
                    <a:pt x="23" y="65"/>
                  </a:lnTo>
                  <a:lnTo>
                    <a:pt x="21" y="65"/>
                  </a:lnTo>
                  <a:lnTo>
                    <a:pt x="21" y="63"/>
                  </a:lnTo>
                  <a:close/>
                  <a:moveTo>
                    <a:pt x="17" y="63"/>
                  </a:moveTo>
                  <a:lnTo>
                    <a:pt x="19" y="63"/>
                  </a:lnTo>
                  <a:lnTo>
                    <a:pt x="17" y="63"/>
                  </a:lnTo>
                  <a:close/>
                  <a:moveTo>
                    <a:pt x="16" y="61"/>
                  </a:moveTo>
                  <a:lnTo>
                    <a:pt x="17" y="61"/>
                  </a:lnTo>
                  <a:lnTo>
                    <a:pt x="16" y="61"/>
                  </a:lnTo>
                  <a:close/>
                  <a:moveTo>
                    <a:pt x="12" y="56"/>
                  </a:moveTo>
                  <a:lnTo>
                    <a:pt x="12" y="57"/>
                  </a:lnTo>
                  <a:lnTo>
                    <a:pt x="12" y="56"/>
                  </a:lnTo>
                  <a:close/>
                  <a:moveTo>
                    <a:pt x="14" y="57"/>
                  </a:moveTo>
                  <a:lnTo>
                    <a:pt x="14" y="59"/>
                  </a:lnTo>
                  <a:lnTo>
                    <a:pt x="14" y="57"/>
                  </a:lnTo>
                  <a:close/>
                  <a:moveTo>
                    <a:pt x="10" y="48"/>
                  </a:moveTo>
                  <a:lnTo>
                    <a:pt x="12" y="48"/>
                  </a:lnTo>
                  <a:lnTo>
                    <a:pt x="10" y="48"/>
                  </a:lnTo>
                  <a:close/>
                  <a:moveTo>
                    <a:pt x="10" y="44"/>
                  </a:moveTo>
                  <a:lnTo>
                    <a:pt x="10" y="46"/>
                  </a:lnTo>
                  <a:lnTo>
                    <a:pt x="10" y="44"/>
                  </a:lnTo>
                  <a:close/>
                  <a:moveTo>
                    <a:pt x="12" y="54"/>
                  </a:moveTo>
                  <a:lnTo>
                    <a:pt x="12" y="56"/>
                  </a:lnTo>
                  <a:lnTo>
                    <a:pt x="12" y="54"/>
                  </a:lnTo>
                  <a:close/>
                  <a:moveTo>
                    <a:pt x="12" y="54"/>
                  </a:moveTo>
                  <a:lnTo>
                    <a:pt x="12" y="56"/>
                  </a:lnTo>
                  <a:lnTo>
                    <a:pt x="12" y="54"/>
                  </a:lnTo>
                  <a:close/>
                  <a:moveTo>
                    <a:pt x="12" y="57"/>
                  </a:moveTo>
                  <a:lnTo>
                    <a:pt x="14" y="57"/>
                  </a:lnTo>
                  <a:lnTo>
                    <a:pt x="12" y="57"/>
                  </a:lnTo>
                  <a:close/>
                  <a:moveTo>
                    <a:pt x="29" y="65"/>
                  </a:moveTo>
                  <a:lnTo>
                    <a:pt x="31" y="65"/>
                  </a:lnTo>
                  <a:lnTo>
                    <a:pt x="29" y="6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 name="Freeform 417">
              <a:extLst>
                <a:ext uri="{FF2B5EF4-FFF2-40B4-BE49-F238E27FC236}">
                  <a16:creationId xmlns:a16="http://schemas.microsoft.com/office/drawing/2014/main" id="{25627E05-C18E-4808-8347-F2814ABA308E}"/>
                </a:ext>
              </a:extLst>
            </p:cNvPr>
            <p:cNvSpPr>
              <a:spLocks noEditPoints="1"/>
            </p:cNvSpPr>
            <p:nvPr/>
          </p:nvSpPr>
          <p:spPr bwMode="gray">
            <a:xfrm>
              <a:off x="4954623" y="3991269"/>
              <a:ext cx="148392" cy="273482"/>
            </a:xfrm>
            <a:custGeom>
              <a:avLst/>
              <a:gdLst>
                <a:gd name="T0" fmla="*/ 48 w 121"/>
                <a:gd name="T1" fmla="*/ 14 h 223"/>
                <a:gd name="T2" fmla="*/ 56 w 121"/>
                <a:gd name="T3" fmla="*/ 31 h 223"/>
                <a:gd name="T4" fmla="*/ 62 w 121"/>
                <a:gd name="T5" fmla="*/ 43 h 223"/>
                <a:gd name="T6" fmla="*/ 83 w 121"/>
                <a:gd name="T7" fmla="*/ 39 h 223"/>
                <a:gd name="T8" fmla="*/ 102 w 121"/>
                <a:gd name="T9" fmla="*/ 39 h 223"/>
                <a:gd name="T10" fmla="*/ 114 w 121"/>
                <a:gd name="T11" fmla="*/ 68 h 223"/>
                <a:gd name="T12" fmla="*/ 119 w 121"/>
                <a:gd name="T13" fmla="*/ 87 h 223"/>
                <a:gd name="T14" fmla="*/ 112 w 121"/>
                <a:gd name="T15" fmla="*/ 93 h 223"/>
                <a:gd name="T16" fmla="*/ 90 w 121"/>
                <a:gd name="T17" fmla="*/ 95 h 223"/>
                <a:gd name="T18" fmla="*/ 77 w 121"/>
                <a:gd name="T19" fmla="*/ 114 h 223"/>
                <a:gd name="T20" fmla="*/ 83 w 121"/>
                <a:gd name="T21" fmla="*/ 133 h 223"/>
                <a:gd name="T22" fmla="*/ 73 w 121"/>
                <a:gd name="T23" fmla="*/ 125 h 223"/>
                <a:gd name="T24" fmla="*/ 71 w 121"/>
                <a:gd name="T25" fmla="*/ 121 h 223"/>
                <a:gd name="T26" fmla="*/ 60 w 121"/>
                <a:gd name="T27" fmla="*/ 120 h 223"/>
                <a:gd name="T28" fmla="*/ 54 w 121"/>
                <a:gd name="T29" fmla="*/ 112 h 223"/>
                <a:gd name="T30" fmla="*/ 46 w 121"/>
                <a:gd name="T31" fmla="*/ 106 h 223"/>
                <a:gd name="T32" fmla="*/ 41 w 121"/>
                <a:gd name="T33" fmla="*/ 118 h 223"/>
                <a:gd name="T34" fmla="*/ 33 w 121"/>
                <a:gd name="T35" fmla="*/ 141 h 223"/>
                <a:gd name="T36" fmla="*/ 27 w 121"/>
                <a:gd name="T37" fmla="*/ 164 h 223"/>
                <a:gd name="T38" fmla="*/ 35 w 121"/>
                <a:gd name="T39" fmla="*/ 169 h 223"/>
                <a:gd name="T40" fmla="*/ 43 w 121"/>
                <a:gd name="T41" fmla="*/ 183 h 223"/>
                <a:gd name="T42" fmla="*/ 43 w 121"/>
                <a:gd name="T43" fmla="*/ 196 h 223"/>
                <a:gd name="T44" fmla="*/ 52 w 121"/>
                <a:gd name="T45" fmla="*/ 204 h 223"/>
                <a:gd name="T46" fmla="*/ 67 w 121"/>
                <a:gd name="T47" fmla="*/ 218 h 223"/>
                <a:gd name="T48" fmla="*/ 54 w 121"/>
                <a:gd name="T49" fmla="*/ 221 h 223"/>
                <a:gd name="T50" fmla="*/ 46 w 121"/>
                <a:gd name="T51" fmla="*/ 212 h 223"/>
                <a:gd name="T52" fmla="*/ 39 w 121"/>
                <a:gd name="T53" fmla="*/ 210 h 223"/>
                <a:gd name="T54" fmla="*/ 37 w 121"/>
                <a:gd name="T55" fmla="*/ 202 h 223"/>
                <a:gd name="T56" fmla="*/ 35 w 121"/>
                <a:gd name="T57" fmla="*/ 202 h 223"/>
                <a:gd name="T58" fmla="*/ 33 w 121"/>
                <a:gd name="T59" fmla="*/ 198 h 223"/>
                <a:gd name="T60" fmla="*/ 27 w 121"/>
                <a:gd name="T61" fmla="*/ 194 h 223"/>
                <a:gd name="T62" fmla="*/ 23 w 121"/>
                <a:gd name="T63" fmla="*/ 189 h 223"/>
                <a:gd name="T64" fmla="*/ 19 w 121"/>
                <a:gd name="T65" fmla="*/ 183 h 223"/>
                <a:gd name="T66" fmla="*/ 14 w 121"/>
                <a:gd name="T67" fmla="*/ 183 h 223"/>
                <a:gd name="T68" fmla="*/ 18 w 121"/>
                <a:gd name="T69" fmla="*/ 166 h 223"/>
                <a:gd name="T70" fmla="*/ 19 w 121"/>
                <a:gd name="T71" fmla="*/ 162 h 223"/>
                <a:gd name="T72" fmla="*/ 23 w 121"/>
                <a:gd name="T73" fmla="*/ 148 h 223"/>
                <a:gd name="T74" fmla="*/ 33 w 121"/>
                <a:gd name="T75" fmla="*/ 125 h 223"/>
                <a:gd name="T76" fmla="*/ 23 w 121"/>
                <a:gd name="T77" fmla="*/ 98 h 223"/>
                <a:gd name="T78" fmla="*/ 18 w 121"/>
                <a:gd name="T79" fmla="*/ 79 h 223"/>
                <a:gd name="T80" fmla="*/ 21 w 121"/>
                <a:gd name="T81" fmla="*/ 66 h 223"/>
                <a:gd name="T82" fmla="*/ 14 w 121"/>
                <a:gd name="T83" fmla="*/ 52 h 223"/>
                <a:gd name="T84" fmla="*/ 2 w 121"/>
                <a:gd name="T85" fmla="*/ 35 h 223"/>
                <a:gd name="T86" fmla="*/ 8 w 121"/>
                <a:gd name="T87" fmla="*/ 16 h 223"/>
                <a:gd name="T88" fmla="*/ 23 w 121"/>
                <a:gd name="T89" fmla="*/ 10 h 223"/>
                <a:gd name="T90" fmla="*/ 41 w 121"/>
                <a:gd name="T91" fmla="*/ 2 h 223"/>
                <a:gd name="T92" fmla="*/ 18 w 121"/>
                <a:gd name="T93" fmla="*/ 191 h 223"/>
                <a:gd name="T94" fmla="*/ 73 w 121"/>
                <a:gd name="T95" fmla="*/ 131 h 223"/>
                <a:gd name="T96" fmla="*/ 46 w 121"/>
                <a:gd name="T97" fmla="*/ 196 h 223"/>
                <a:gd name="T98" fmla="*/ 29 w 121"/>
                <a:gd name="T99" fmla="*/ 171 h 223"/>
                <a:gd name="T100" fmla="*/ 23 w 121"/>
                <a:gd name="T101" fmla="*/ 193 h 223"/>
                <a:gd name="T102" fmla="*/ 29 w 121"/>
                <a:gd name="T103" fmla="*/ 171 h 223"/>
                <a:gd name="T104" fmla="*/ 48 w 121"/>
                <a:gd name="T105" fmla="*/ 200 h 223"/>
                <a:gd name="T106" fmla="*/ 35 w 121"/>
                <a:gd name="T107" fmla="*/ 168 h 223"/>
                <a:gd name="T108" fmla="*/ 29 w 121"/>
                <a:gd name="T109" fmla="*/ 198 h 223"/>
                <a:gd name="T110" fmla="*/ 4 w 121"/>
                <a:gd name="T111" fmla="*/ 181 h 223"/>
                <a:gd name="T112" fmla="*/ 31 w 121"/>
                <a:gd name="T113" fmla="*/ 202 h 223"/>
                <a:gd name="T114" fmla="*/ 52 w 121"/>
                <a:gd name="T115" fmla="*/ 112 h 223"/>
                <a:gd name="T116" fmla="*/ 19 w 121"/>
                <a:gd name="T117" fmla="*/ 185 h 223"/>
                <a:gd name="T118" fmla="*/ 21 w 121"/>
                <a:gd name="T119" fmla="*/ 185 h 223"/>
                <a:gd name="T120" fmla="*/ 35 w 121"/>
                <a:gd name="T121" fmla="*/ 164 h 223"/>
                <a:gd name="T122" fmla="*/ 35 w 121"/>
                <a:gd name="T123" fmla="*/ 162 h 223"/>
                <a:gd name="T124" fmla="*/ 75 w 121"/>
                <a:gd name="T125" fmla="*/ 12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 h="223">
                  <a:moveTo>
                    <a:pt x="41" y="2"/>
                  </a:moveTo>
                  <a:lnTo>
                    <a:pt x="41" y="4"/>
                  </a:lnTo>
                  <a:lnTo>
                    <a:pt x="43" y="4"/>
                  </a:lnTo>
                  <a:lnTo>
                    <a:pt x="43" y="2"/>
                  </a:lnTo>
                  <a:lnTo>
                    <a:pt x="43" y="0"/>
                  </a:lnTo>
                  <a:lnTo>
                    <a:pt x="44" y="0"/>
                  </a:lnTo>
                  <a:lnTo>
                    <a:pt x="44" y="2"/>
                  </a:lnTo>
                  <a:lnTo>
                    <a:pt x="46" y="2"/>
                  </a:lnTo>
                  <a:lnTo>
                    <a:pt x="46" y="4"/>
                  </a:lnTo>
                  <a:lnTo>
                    <a:pt x="46" y="6"/>
                  </a:lnTo>
                  <a:lnTo>
                    <a:pt x="48" y="6"/>
                  </a:lnTo>
                  <a:lnTo>
                    <a:pt x="48" y="4"/>
                  </a:lnTo>
                  <a:lnTo>
                    <a:pt x="48" y="6"/>
                  </a:lnTo>
                  <a:lnTo>
                    <a:pt x="48" y="8"/>
                  </a:lnTo>
                  <a:lnTo>
                    <a:pt x="46" y="8"/>
                  </a:lnTo>
                  <a:lnTo>
                    <a:pt x="46" y="10"/>
                  </a:lnTo>
                  <a:lnTo>
                    <a:pt x="46" y="12"/>
                  </a:lnTo>
                  <a:lnTo>
                    <a:pt x="46" y="14"/>
                  </a:lnTo>
                  <a:lnTo>
                    <a:pt x="46" y="16"/>
                  </a:lnTo>
                  <a:lnTo>
                    <a:pt x="48" y="16"/>
                  </a:lnTo>
                  <a:lnTo>
                    <a:pt x="48" y="14"/>
                  </a:lnTo>
                  <a:lnTo>
                    <a:pt x="50" y="14"/>
                  </a:lnTo>
                  <a:lnTo>
                    <a:pt x="50" y="16"/>
                  </a:lnTo>
                  <a:lnTo>
                    <a:pt x="52" y="16"/>
                  </a:lnTo>
                  <a:lnTo>
                    <a:pt x="52" y="14"/>
                  </a:lnTo>
                  <a:lnTo>
                    <a:pt x="54" y="14"/>
                  </a:lnTo>
                  <a:lnTo>
                    <a:pt x="56" y="14"/>
                  </a:lnTo>
                  <a:lnTo>
                    <a:pt x="58" y="14"/>
                  </a:lnTo>
                  <a:lnTo>
                    <a:pt x="58" y="16"/>
                  </a:lnTo>
                  <a:lnTo>
                    <a:pt x="58" y="18"/>
                  </a:lnTo>
                  <a:lnTo>
                    <a:pt x="58" y="20"/>
                  </a:lnTo>
                  <a:lnTo>
                    <a:pt x="58" y="22"/>
                  </a:lnTo>
                  <a:lnTo>
                    <a:pt x="60" y="22"/>
                  </a:lnTo>
                  <a:lnTo>
                    <a:pt x="60" y="24"/>
                  </a:lnTo>
                  <a:lnTo>
                    <a:pt x="58" y="24"/>
                  </a:lnTo>
                  <a:lnTo>
                    <a:pt x="58" y="25"/>
                  </a:lnTo>
                  <a:lnTo>
                    <a:pt x="58" y="27"/>
                  </a:lnTo>
                  <a:lnTo>
                    <a:pt x="58" y="29"/>
                  </a:lnTo>
                  <a:lnTo>
                    <a:pt x="56" y="29"/>
                  </a:lnTo>
                  <a:lnTo>
                    <a:pt x="56" y="31"/>
                  </a:lnTo>
                  <a:lnTo>
                    <a:pt x="54" y="31"/>
                  </a:lnTo>
                  <a:lnTo>
                    <a:pt x="56" y="31"/>
                  </a:lnTo>
                  <a:lnTo>
                    <a:pt x="54" y="31"/>
                  </a:lnTo>
                  <a:lnTo>
                    <a:pt x="56" y="31"/>
                  </a:lnTo>
                  <a:lnTo>
                    <a:pt x="56" y="33"/>
                  </a:lnTo>
                  <a:lnTo>
                    <a:pt x="56" y="35"/>
                  </a:lnTo>
                  <a:lnTo>
                    <a:pt x="58" y="35"/>
                  </a:lnTo>
                  <a:lnTo>
                    <a:pt x="56" y="35"/>
                  </a:lnTo>
                  <a:lnTo>
                    <a:pt x="56" y="37"/>
                  </a:lnTo>
                  <a:lnTo>
                    <a:pt x="56" y="39"/>
                  </a:lnTo>
                  <a:lnTo>
                    <a:pt x="56" y="41"/>
                  </a:lnTo>
                  <a:lnTo>
                    <a:pt x="54" y="41"/>
                  </a:lnTo>
                  <a:lnTo>
                    <a:pt x="54" y="43"/>
                  </a:lnTo>
                  <a:lnTo>
                    <a:pt x="54" y="45"/>
                  </a:lnTo>
                  <a:lnTo>
                    <a:pt x="54" y="47"/>
                  </a:lnTo>
                  <a:lnTo>
                    <a:pt x="54" y="45"/>
                  </a:lnTo>
                  <a:lnTo>
                    <a:pt x="54" y="47"/>
                  </a:lnTo>
                  <a:lnTo>
                    <a:pt x="56" y="47"/>
                  </a:lnTo>
                  <a:lnTo>
                    <a:pt x="58" y="47"/>
                  </a:lnTo>
                  <a:lnTo>
                    <a:pt x="58" y="45"/>
                  </a:lnTo>
                  <a:lnTo>
                    <a:pt x="60" y="45"/>
                  </a:lnTo>
                  <a:lnTo>
                    <a:pt x="60" y="43"/>
                  </a:lnTo>
                  <a:lnTo>
                    <a:pt x="62" y="43"/>
                  </a:lnTo>
                  <a:lnTo>
                    <a:pt x="62" y="41"/>
                  </a:lnTo>
                  <a:lnTo>
                    <a:pt x="64" y="41"/>
                  </a:lnTo>
                  <a:lnTo>
                    <a:pt x="66" y="41"/>
                  </a:lnTo>
                  <a:lnTo>
                    <a:pt x="66" y="39"/>
                  </a:lnTo>
                  <a:lnTo>
                    <a:pt x="66" y="37"/>
                  </a:lnTo>
                  <a:lnTo>
                    <a:pt x="67" y="37"/>
                  </a:lnTo>
                  <a:lnTo>
                    <a:pt x="67" y="39"/>
                  </a:lnTo>
                  <a:lnTo>
                    <a:pt x="67" y="37"/>
                  </a:lnTo>
                  <a:lnTo>
                    <a:pt x="69" y="37"/>
                  </a:lnTo>
                  <a:lnTo>
                    <a:pt x="69" y="35"/>
                  </a:lnTo>
                  <a:lnTo>
                    <a:pt x="71" y="35"/>
                  </a:lnTo>
                  <a:lnTo>
                    <a:pt x="71" y="37"/>
                  </a:lnTo>
                  <a:lnTo>
                    <a:pt x="73" y="37"/>
                  </a:lnTo>
                  <a:lnTo>
                    <a:pt x="73" y="39"/>
                  </a:lnTo>
                  <a:lnTo>
                    <a:pt x="75" y="39"/>
                  </a:lnTo>
                  <a:lnTo>
                    <a:pt x="77" y="39"/>
                  </a:lnTo>
                  <a:lnTo>
                    <a:pt x="77" y="41"/>
                  </a:lnTo>
                  <a:lnTo>
                    <a:pt x="79" y="41"/>
                  </a:lnTo>
                  <a:lnTo>
                    <a:pt x="81" y="41"/>
                  </a:lnTo>
                  <a:lnTo>
                    <a:pt x="81" y="39"/>
                  </a:lnTo>
                  <a:lnTo>
                    <a:pt x="83" y="39"/>
                  </a:lnTo>
                  <a:lnTo>
                    <a:pt x="85" y="39"/>
                  </a:lnTo>
                  <a:lnTo>
                    <a:pt x="85" y="37"/>
                  </a:lnTo>
                  <a:lnTo>
                    <a:pt x="85" y="35"/>
                  </a:lnTo>
                  <a:lnTo>
                    <a:pt x="87" y="35"/>
                  </a:lnTo>
                  <a:lnTo>
                    <a:pt x="89" y="33"/>
                  </a:lnTo>
                  <a:lnTo>
                    <a:pt x="87" y="33"/>
                  </a:lnTo>
                  <a:lnTo>
                    <a:pt x="87" y="31"/>
                  </a:lnTo>
                  <a:lnTo>
                    <a:pt x="89" y="31"/>
                  </a:lnTo>
                  <a:lnTo>
                    <a:pt x="90" y="31"/>
                  </a:lnTo>
                  <a:lnTo>
                    <a:pt x="92" y="31"/>
                  </a:lnTo>
                  <a:lnTo>
                    <a:pt x="92" y="33"/>
                  </a:lnTo>
                  <a:lnTo>
                    <a:pt x="94" y="33"/>
                  </a:lnTo>
                  <a:lnTo>
                    <a:pt x="96" y="33"/>
                  </a:lnTo>
                  <a:lnTo>
                    <a:pt x="96" y="35"/>
                  </a:lnTo>
                  <a:lnTo>
                    <a:pt x="96" y="33"/>
                  </a:lnTo>
                  <a:lnTo>
                    <a:pt x="98" y="33"/>
                  </a:lnTo>
                  <a:lnTo>
                    <a:pt x="98" y="35"/>
                  </a:lnTo>
                  <a:lnTo>
                    <a:pt x="100" y="35"/>
                  </a:lnTo>
                  <a:lnTo>
                    <a:pt x="100" y="37"/>
                  </a:lnTo>
                  <a:lnTo>
                    <a:pt x="100" y="39"/>
                  </a:lnTo>
                  <a:lnTo>
                    <a:pt x="102" y="39"/>
                  </a:lnTo>
                  <a:lnTo>
                    <a:pt x="102" y="41"/>
                  </a:lnTo>
                  <a:lnTo>
                    <a:pt x="104" y="41"/>
                  </a:lnTo>
                  <a:lnTo>
                    <a:pt x="104" y="43"/>
                  </a:lnTo>
                  <a:lnTo>
                    <a:pt x="104" y="45"/>
                  </a:lnTo>
                  <a:lnTo>
                    <a:pt x="106" y="45"/>
                  </a:lnTo>
                  <a:lnTo>
                    <a:pt x="108" y="45"/>
                  </a:lnTo>
                  <a:lnTo>
                    <a:pt x="108" y="47"/>
                  </a:lnTo>
                  <a:lnTo>
                    <a:pt x="110" y="47"/>
                  </a:lnTo>
                  <a:lnTo>
                    <a:pt x="110" y="48"/>
                  </a:lnTo>
                  <a:lnTo>
                    <a:pt x="110" y="50"/>
                  </a:lnTo>
                  <a:lnTo>
                    <a:pt x="110" y="52"/>
                  </a:lnTo>
                  <a:lnTo>
                    <a:pt x="110" y="54"/>
                  </a:lnTo>
                  <a:lnTo>
                    <a:pt x="110" y="56"/>
                  </a:lnTo>
                  <a:lnTo>
                    <a:pt x="110" y="58"/>
                  </a:lnTo>
                  <a:lnTo>
                    <a:pt x="110" y="60"/>
                  </a:lnTo>
                  <a:lnTo>
                    <a:pt x="110" y="62"/>
                  </a:lnTo>
                  <a:lnTo>
                    <a:pt x="112" y="62"/>
                  </a:lnTo>
                  <a:lnTo>
                    <a:pt x="112" y="64"/>
                  </a:lnTo>
                  <a:lnTo>
                    <a:pt x="112" y="66"/>
                  </a:lnTo>
                  <a:lnTo>
                    <a:pt x="114" y="66"/>
                  </a:lnTo>
                  <a:lnTo>
                    <a:pt x="114" y="68"/>
                  </a:lnTo>
                  <a:lnTo>
                    <a:pt x="115" y="68"/>
                  </a:lnTo>
                  <a:lnTo>
                    <a:pt x="117" y="68"/>
                  </a:lnTo>
                  <a:lnTo>
                    <a:pt x="117" y="70"/>
                  </a:lnTo>
                  <a:lnTo>
                    <a:pt x="119" y="70"/>
                  </a:lnTo>
                  <a:lnTo>
                    <a:pt x="117" y="70"/>
                  </a:lnTo>
                  <a:lnTo>
                    <a:pt x="117" y="72"/>
                  </a:lnTo>
                  <a:lnTo>
                    <a:pt x="119" y="72"/>
                  </a:lnTo>
                  <a:lnTo>
                    <a:pt x="119" y="73"/>
                  </a:lnTo>
                  <a:lnTo>
                    <a:pt x="121" y="73"/>
                  </a:lnTo>
                  <a:lnTo>
                    <a:pt x="121" y="75"/>
                  </a:lnTo>
                  <a:lnTo>
                    <a:pt x="121" y="77"/>
                  </a:lnTo>
                  <a:lnTo>
                    <a:pt x="121" y="79"/>
                  </a:lnTo>
                  <a:lnTo>
                    <a:pt x="119" y="79"/>
                  </a:lnTo>
                  <a:lnTo>
                    <a:pt x="121" y="79"/>
                  </a:lnTo>
                  <a:lnTo>
                    <a:pt x="121" y="81"/>
                  </a:lnTo>
                  <a:lnTo>
                    <a:pt x="119" y="81"/>
                  </a:lnTo>
                  <a:lnTo>
                    <a:pt x="119" y="83"/>
                  </a:lnTo>
                  <a:lnTo>
                    <a:pt x="121" y="83"/>
                  </a:lnTo>
                  <a:lnTo>
                    <a:pt x="121" y="85"/>
                  </a:lnTo>
                  <a:lnTo>
                    <a:pt x="121" y="87"/>
                  </a:lnTo>
                  <a:lnTo>
                    <a:pt x="119" y="87"/>
                  </a:lnTo>
                  <a:lnTo>
                    <a:pt x="121" y="87"/>
                  </a:lnTo>
                  <a:lnTo>
                    <a:pt x="119" y="87"/>
                  </a:lnTo>
                  <a:lnTo>
                    <a:pt x="121" y="87"/>
                  </a:lnTo>
                  <a:lnTo>
                    <a:pt x="119" y="87"/>
                  </a:lnTo>
                  <a:lnTo>
                    <a:pt x="119" y="89"/>
                  </a:lnTo>
                  <a:lnTo>
                    <a:pt x="121" y="89"/>
                  </a:lnTo>
                  <a:lnTo>
                    <a:pt x="121" y="91"/>
                  </a:lnTo>
                  <a:lnTo>
                    <a:pt x="119" y="91"/>
                  </a:lnTo>
                  <a:lnTo>
                    <a:pt x="119" y="93"/>
                  </a:lnTo>
                  <a:lnTo>
                    <a:pt x="117" y="93"/>
                  </a:lnTo>
                  <a:lnTo>
                    <a:pt x="117" y="95"/>
                  </a:lnTo>
                  <a:lnTo>
                    <a:pt x="117" y="93"/>
                  </a:lnTo>
                  <a:lnTo>
                    <a:pt x="117" y="95"/>
                  </a:lnTo>
                  <a:lnTo>
                    <a:pt x="115" y="95"/>
                  </a:lnTo>
                  <a:lnTo>
                    <a:pt x="115" y="96"/>
                  </a:lnTo>
                  <a:lnTo>
                    <a:pt x="114" y="96"/>
                  </a:lnTo>
                  <a:lnTo>
                    <a:pt x="114" y="95"/>
                  </a:lnTo>
                  <a:lnTo>
                    <a:pt x="112" y="95"/>
                  </a:lnTo>
                  <a:lnTo>
                    <a:pt x="114" y="95"/>
                  </a:lnTo>
                  <a:lnTo>
                    <a:pt x="112" y="95"/>
                  </a:lnTo>
                  <a:lnTo>
                    <a:pt x="112" y="93"/>
                  </a:lnTo>
                  <a:lnTo>
                    <a:pt x="112" y="95"/>
                  </a:lnTo>
                  <a:lnTo>
                    <a:pt x="112" y="93"/>
                  </a:lnTo>
                  <a:lnTo>
                    <a:pt x="112" y="95"/>
                  </a:lnTo>
                  <a:lnTo>
                    <a:pt x="112" y="93"/>
                  </a:lnTo>
                  <a:lnTo>
                    <a:pt x="110" y="93"/>
                  </a:lnTo>
                  <a:lnTo>
                    <a:pt x="108" y="93"/>
                  </a:lnTo>
                  <a:lnTo>
                    <a:pt x="106" y="95"/>
                  </a:lnTo>
                  <a:lnTo>
                    <a:pt x="104" y="95"/>
                  </a:lnTo>
                  <a:lnTo>
                    <a:pt x="102" y="95"/>
                  </a:lnTo>
                  <a:lnTo>
                    <a:pt x="102" y="93"/>
                  </a:lnTo>
                  <a:lnTo>
                    <a:pt x="102" y="95"/>
                  </a:lnTo>
                  <a:lnTo>
                    <a:pt x="100" y="95"/>
                  </a:lnTo>
                  <a:lnTo>
                    <a:pt x="98" y="95"/>
                  </a:lnTo>
                  <a:lnTo>
                    <a:pt x="96" y="95"/>
                  </a:lnTo>
                  <a:lnTo>
                    <a:pt x="94" y="95"/>
                  </a:lnTo>
                  <a:lnTo>
                    <a:pt x="94" y="93"/>
                  </a:lnTo>
                  <a:lnTo>
                    <a:pt x="92" y="93"/>
                  </a:lnTo>
                  <a:lnTo>
                    <a:pt x="90" y="93"/>
                  </a:lnTo>
                  <a:lnTo>
                    <a:pt x="90" y="95"/>
                  </a:lnTo>
                  <a:lnTo>
                    <a:pt x="90" y="93"/>
                  </a:lnTo>
                  <a:lnTo>
                    <a:pt x="90" y="95"/>
                  </a:lnTo>
                  <a:lnTo>
                    <a:pt x="89" y="95"/>
                  </a:lnTo>
                  <a:lnTo>
                    <a:pt x="87" y="95"/>
                  </a:lnTo>
                  <a:lnTo>
                    <a:pt x="85" y="95"/>
                  </a:lnTo>
                  <a:lnTo>
                    <a:pt x="85" y="96"/>
                  </a:lnTo>
                  <a:lnTo>
                    <a:pt x="83" y="96"/>
                  </a:lnTo>
                  <a:lnTo>
                    <a:pt x="83" y="98"/>
                  </a:lnTo>
                  <a:lnTo>
                    <a:pt x="81" y="98"/>
                  </a:lnTo>
                  <a:lnTo>
                    <a:pt x="81" y="100"/>
                  </a:lnTo>
                  <a:lnTo>
                    <a:pt x="81" y="102"/>
                  </a:lnTo>
                  <a:lnTo>
                    <a:pt x="79" y="102"/>
                  </a:lnTo>
                  <a:lnTo>
                    <a:pt x="79" y="104"/>
                  </a:lnTo>
                  <a:lnTo>
                    <a:pt x="77" y="104"/>
                  </a:lnTo>
                  <a:lnTo>
                    <a:pt x="77" y="106"/>
                  </a:lnTo>
                  <a:lnTo>
                    <a:pt x="75" y="106"/>
                  </a:lnTo>
                  <a:lnTo>
                    <a:pt x="73" y="106"/>
                  </a:lnTo>
                  <a:lnTo>
                    <a:pt x="73" y="108"/>
                  </a:lnTo>
                  <a:lnTo>
                    <a:pt x="73" y="110"/>
                  </a:lnTo>
                  <a:lnTo>
                    <a:pt x="75" y="110"/>
                  </a:lnTo>
                  <a:lnTo>
                    <a:pt x="75" y="112"/>
                  </a:lnTo>
                  <a:lnTo>
                    <a:pt x="75" y="114"/>
                  </a:lnTo>
                  <a:lnTo>
                    <a:pt x="77" y="114"/>
                  </a:lnTo>
                  <a:lnTo>
                    <a:pt x="75" y="114"/>
                  </a:lnTo>
                  <a:lnTo>
                    <a:pt x="75" y="116"/>
                  </a:lnTo>
                  <a:lnTo>
                    <a:pt x="77" y="116"/>
                  </a:lnTo>
                  <a:lnTo>
                    <a:pt x="75" y="116"/>
                  </a:lnTo>
                  <a:lnTo>
                    <a:pt x="77" y="116"/>
                  </a:lnTo>
                  <a:lnTo>
                    <a:pt x="77" y="118"/>
                  </a:lnTo>
                  <a:lnTo>
                    <a:pt x="77" y="120"/>
                  </a:lnTo>
                  <a:lnTo>
                    <a:pt x="79" y="120"/>
                  </a:lnTo>
                  <a:lnTo>
                    <a:pt x="79" y="121"/>
                  </a:lnTo>
                  <a:lnTo>
                    <a:pt x="79" y="123"/>
                  </a:lnTo>
                  <a:lnTo>
                    <a:pt x="81" y="123"/>
                  </a:lnTo>
                  <a:lnTo>
                    <a:pt x="79" y="123"/>
                  </a:lnTo>
                  <a:lnTo>
                    <a:pt x="79" y="125"/>
                  </a:lnTo>
                  <a:lnTo>
                    <a:pt x="79" y="127"/>
                  </a:lnTo>
                  <a:lnTo>
                    <a:pt x="79" y="129"/>
                  </a:lnTo>
                  <a:lnTo>
                    <a:pt x="81" y="129"/>
                  </a:lnTo>
                  <a:lnTo>
                    <a:pt x="81" y="131"/>
                  </a:lnTo>
                  <a:lnTo>
                    <a:pt x="81" y="133"/>
                  </a:lnTo>
                  <a:lnTo>
                    <a:pt x="83" y="133"/>
                  </a:lnTo>
                  <a:lnTo>
                    <a:pt x="83" y="135"/>
                  </a:lnTo>
                  <a:lnTo>
                    <a:pt x="83" y="133"/>
                  </a:lnTo>
                  <a:lnTo>
                    <a:pt x="81" y="133"/>
                  </a:lnTo>
                  <a:lnTo>
                    <a:pt x="81" y="131"/>
                  </a:lnTo>
                  <a:lnTo>
                    <a:pt x="81" y="129"/>
                  </a:lnTo>
                  <a:lnTo>
                    <a:pt x="79" y="129"/>
                  </a:lnTo>
                  <a:lnTo>
                    <a:pt x="79" y="127"/>
                  </a:lnTo>
                  <a:lnTo>
                    <a:pt x="77" y="127"/>
                  </a:lnTo>
                  <a:lnTo>
                    <a:pt x="79" y="127"/>
                  </a:lnTo>
                  <a:lnTo>
                    <a:pt x="77" y="127"/>
                  </a:lnTo>
                  <a:lnTo>
                    <a:pt x="77" y="125"/>
                  </a:lnTo>
                  <a:lnTo>
                    <a:pt x="77" y="127"/>
                  </a:lnTo>
                  <a:lnTo>
                    <a:pt x="77" y="125"/>
                  </a:lnTo>
                  <a:lnTo>
                    <a:pt x="77" y="127"/>
                  </a:lnTo>
                  <a:lnTo>
                    <a:pt x="77" y="129"/>
                  </a:lnTo>
                  <a:lnTo>
                    <a:pt x="77" y="127"/>
                  </a:lnTo>
                  <a:lnTo>
                    <a:pt x="75" y="127"/>
                  </a:lnTo>
                  <a:lnTo>
                    <a:pt x="77" y="127"/>
                  </a:lnTo>
                  <a:lnTo>
                    <a:pt x="75" y="127"/>
                  </a:lnTo>
                  <a:lnTo>
                    <a:pt x="77" y="127"/>
                  </a:lnTo>
                  <a:lnTo>
                    <a:pt x="75" y="127"/>
                  </a:lnTo>
                  <a:lnTo>
                    <a:pt x="73" y="127"/>
                  </a:lnTo>
                  <a:lnTo>
                    <a:pt x="73" y="125"/>
                  </a:lnTo>
                  <a:lnTo>
                    <a:pt x="73" y="123"/>
                  </a:lnTo>
                  <a:lnTo>
                    <a:pt x="75" y="123"/>
                  </a:lnTo>
                  <a:lnTo>
                    <a:pt x="73" y="123"/>
                  </a:lnTo>
                  <a:lnTo>
                    <a:pt x="73" y="125"/>
                  </a:lnTo>
                  <a:lnTo>
                    <a:pt x="73" y="123"/>
                  </a:lnTo>
                  <a:lnTo>
                    <a:pt x="73" y="125"/>
                  </a:lnTo>
                  <a:lnTo>
                    <a:pt x="73" y="123"/>
                  </a:lnTo>
                  <a:lnTo>
                    <a:pt x="73" y="125"/>
                  </a:lnTo>
                  <a:lnTo>
                    <a:pt x="73" y="123"/>
                  </a:lnTo>
                  <a:lnTo>
                    <a:pt x="73" y="125"/>
                  </a:lnTo>
                  <a:lnTo>
                    <a:pt x="73" y="123"/>
                  </a:lnTo>
                  <a:lnTo>
                    <a:pt x="71" y="123"/>
                  </a:lnTo>
                  <a:lnTo>
                    <a:pt x="73" y="123"/>
                  </a:lnTo>
                  <a:lnTo>
                    <a:pt x="71" y="123"/>
                  </a:lnTo>
                  <a:lnTo>
                    <a:pt x="73" y="123"/>
                  </a:lnTo>
                  <a:lnTo>
                    <a:pt x="73" y="125"/>
                  </a:lnTo>
                  <a:lnTo>
                    <a:pt x="71" y="125"/>
                  </a:lnTo>
                  <a:lnTo>
                    <a:pt x="71" y="123"/>
                  </a:lnTo>
                  <a:lnTo>
                    <a:pt x="69" y="123"/>
                  </a:lnTo>
                  <a:lnTo>
                    <a:pt x="69" y="121"/>
                  </a:lnTo>
                  <a:lnTo>
                    <a:pt x="71" y="121"/>
                  </a:lnTo>
                  <a:lnTo>
                    <a:pt x="69" y="121"/>
                  </a:lnTo>
                  <a:lnTo>
                    <a:pt x="71" y="121"/>
                  </a:lnTo>
                  <a:lnTo>
                    <a:pt x="69" y="121"/>
                  </a:lnTo>
                  <a:lnTo>
                    <a:pt x="71" y="121"/>
                  </a:lnTo>
                  <a:lnTo>
                    <a:pt x="69" y="121"/>
                  </a:lnTo>
                  <a:lnTo>
                    <a:pt x="69" y="123"/>
                  </a:lnTo>
                  <a:lnTo>
                    <a:pt x="69" y="121"/>
                  </a:lnTo>
                  <a:lnTo>
                    <a:pt x="67" y="121"/>
                  </a:lnTo>
                  <a:lnTo>
                    <a:pt x="67" y="120"/>
                  </a:lnTo>
                  <a:lnTo>
                    <a:pt x="67" y="121"/>
                  </a:lnTo>
                  <a:lnTo>
                    <a:pt x="67" y="120"/>
                  </a:lnTo>
                  <a:lnTo>
                    <a:pt x="67" y="121"/>
                  </a:lnTo>
                  <a:lnTo>
                    <a:pt x="67" y="120"/>
                  </a:lnTo>
                  <a:lnTo>
                    <a:pt x="66" y="120"/>
                  </a:lnTo>
                  <a:lnTo>
                    <a:pt x="66" y="118"/>
                  </a:lnTo>
                  <a:lnTo>
                    <a:pt x="66" y="120"/>
                  </a:lnTo>
                  <a:lnTo>
                    <a:pt x="64" y="120"/>
                  </a:lnTo>
                  <a:lnTo>
                    <a:pt x="64" y="118"/>
                  </a:lnTo>
                  <a:lnTo>
                    <a:pt x="64" y="120"/>
                  </a:lnTo>
                  <a:lnTo>
                    <a:pt x="62" y="120"/>
                  </a:lnTo>
                  <a:lnTo>
                    <a:pt x="60" y="120"/>
                  </a:lnTo>
                  <a:lnTo>
                    <a:pt x="60" y="121"/>
                  </a:lnTo>
                  <a:lnTo>
                    <a:pt x="60" y="120"/>
                  </a:lnTo>
                  <a:lnTo>
                    <a:pt x="58" y="120"/>
                  </a:lnTo>
                  <a:lnTo>
                    <a:pt x="56" y="120"/>
                  </a:lnTo>
                  <a:lnTo>
                    <a:pt x="54" y="120"/>
                  </a:lnTo>
                  <a:lnTo>
                    <a:pt x="54" y="121"/>
                  </a:lnTo>
                  <a:lnTo>
                    <a:pt x="54" y="120"/>
                  </a:lnTo>
                  <a:lnTo>
                    <a:pt x="54" y="121"/>
                  </a:lnTo>
                  <a:lnTo>
                    <a:pt x="54" y="120"/>
                  </a:lnTo>
                  <a:lnTo>
                    <a:pt x="52" y="120"/>
                  </a:lnTo>
                  <a:lnTo>
                    <a:pt x="54" y="120"/>
                  </a:lnTo>
                  <a:lnTo>
                    <a:pt x="52" y="120"/>
                  </a:lnTo>
                  <a:lnTo>
                    <a:pt x="54" y="120"/>
                  </a:lnTo>
                  <a:lnTo>
                    <a:pt x="52" y="120"/>
                  </a:lnTo>
                  <a:lnTo>
                    <a:pt x="52" y="118"/>
                  </a:lnTo>
                  <a:lnTo>
                    <a:pt x="52" y="116"/>
                  </a:lnTo>
                  <a:lnTo>
                    <a:pt x="52" y="114"/>
                  </a:lnTo>
                  <a:lnTo>
                    <a:pt x="54" y="114"/>
                  </a:lnTo>
                  <a:lnTo>
                    <a:pt x="52" y="114"/>
                  </a:lnTo>
                  <a:lnTo>
                    <a:pt x="52" y="112"/>
                  </a:lnTo>
                  <a:lnTo>
                    <a:pt x="54" y="112"/>
                  </a:lnTo>
                  <a:lnTo>
                    <a:pt x="52" y="112"/>
                  </a:lnTo>
                  <a:lnTo>
                    <a:pt x="54" y="112"/>
                  </a:lnTo>
                  <a:lnTo>
                    <a:pt x="52" y="112"/>
                  </a:lnTo>
                  <a:lnTo>
                    <a:pt x="54" y="112"/>
                  </a:lnTo>
                  <a:lnTo>
                    <a:pt x="54" y="110"/>
                  </a:lnTo>
                  <a:lnTo>
                    <a:pt x="52" y="110"/>
                  </a:lnTo>
                  <a:lnTo>
                    <a:pt x="54" y="110"/>
                  </a:lnTo>
                  <a:lnTo>
                    <a:pt x="54" y="108"/>
                  </a:lnTo>
                  <a:lnTo>
                    <a:pt x="54" y="106"/>
                  </a:lnTo>
                  <a:lnTo>
                    <a:pt x="54" y="108"/>
                  </a:lnTo>
                  <a:lnTo>
                    <a:pt x="54" y="106"/>
                  </a:lnTo>
                  <a:lnTo>
                    <a:pt x="54" y="108"/>
                  </a:lnTo>
                  <a:lnTo>
                    <a:pt x="52" y="108"/>
                  </a:lnTo>
                  <a:lnTo>
                    <a:pt x="50" y="108"/>
                  </a:lnTo>
                  <a:lnTo>
                    <a:pt x="50" y="106"/>
                  </a:lnTo>
                  <a:lnTo>
                    <a:pt x="50" y="108"/>
                  </a:lnTo>
                  <a:lnTo>
                    <a:pt x="50" y="106"/>
                  </a:lnTo>
                  <a:lnTo>
                    <a:pt x="48" y="106"/>
                  </a:lnTo>
                  <a:lnTo>
                    <a:pt x="46" y="106"/>
                  </a:lnTo>
                  <a:lnTo>
                    <a:pt x="48" y="106"/>
                  </a:lnTo>
                  <a:lnTo>
                    <a:pt x="46" y="106"/>
                  </a:lnTo>
                  <a:lnTo>
                    <a:pt x="46" y="108"/>
                  </a:lnTo>
                  <a:lnTo>
                    <a:pt x="46" y="106"/>
                  </a:lnTo>
                  <a:lnTo>
                    <a:pt x="46" y="108"/>
                  </a:lnTo>
                  <a:lnTo>
                    <a:pt x="46" y="106"/>
                  </a:lnTo>
                  <a:lnTo>
                    <a:pt x="46" y="108"/>
                  </a:lnTo>
                  <a:lnTo>
                    <a:pt x="44" y="108"/>
                  </a:lnTo>
                  <a:lnTo>
                    <a:pt x="44" y="106"/>
                  </a:lnTo>
                  <a:lnTo>
                    <a:pt x="43" y="106"/>
                  </a:lnTo>
                  <a:lnTo>
                    <a:pt x="44" y="106"/>
                  </a:lnTo>
                  <a:lnTo>
                    <a:pt x="43" y="106"/>
                  </a:lnTo>
                  <a:lnTo>
                    <a:pt x="44" y="106"/>
                  </a:lnTo>
                  <a:lnTo>
                    <a:pt x="44" y="108"/>
                  </a:lnTo>
                  <a:lnTo>
                    <a:pt x="43" y="108"/>
                  </a:lnTo>
                  <a:lnTo>
                    <a:pt x="41" y="108"/>
                  </a:lnTo>
                  <a:lnTo>
                    <a:pt x="41" y="110"/>
                  </a:lnTo>
                  <a:lnTo>
                    <a:pt x="39" y="110"/>
                  </a:lnTo>
                  <a:lnTo>
                    <a:pt x="39" y="112"/>
                  </a:lnTo>
                  <a:lnTo>
                    <a:pt x="41" y="112"/>
                  </a:lnTo>
                  <a:lnTo>
                    <a:pt x="41" y="114"/>
                  </a:lnTo>
                  <a:lnTo>
                    <a:pt x="41" y="116"/>
                  </a:lnTo>
                  <a:lnTo>
                    <a:pt x="41" y="118"/>
                  </a:lnTo>
                  <a:lnTo>
                    <a:pt x="39" y="118"/>
                  </a:lnTo>
                  <a:lnTo>
                    <a:pt x="39" y="120"/>
                  </a:lnTo>
                  <a:lnTo>
                    <a:pt x="39" y="121"/>
                  </a:lnTo>
                  <a:lnTo>
                    <a:pt x="39" y="123"/>
                  </a:lnTo>
                  <a:lnTo>
                    <a:pt x="39" y="125"/>
                  </a:lnTo>
                  <a:lnTo>
                    <a:pt x="41" y="125"/>
                  </a:lnTo>
                  <a:lnTo>
                    <a:pt x="41" y="127"/>
                  </a:lnTo>
                  <a:lnTo>
                    <a:pt x="39" y="127"/>
                  </a:lnTo>
                  <a:lnTo>
                    <a:pt x="41" y="127"/>
                  </a:lnTo>
                  <a:lnTo>
                    <a:pt x="39" y="127"/>
                  </a:lnTo>
                  <a:lnTo>
                    <a:pt x="39" y="129"/>
                  </a:lnTo>
                  <a:lnTo>
                    <a:pt x="37" y="129"/>
                  </a:lnTo>
                  <a:lnTo>
                    <a:pt x="37" y="131"/>
                  </a:lnTo>
                  <a:lnTo>
                    <a:pt x="37" y="133"/>
                  </a:lnTo>
                  <a:lnTo>
                    <a:pt x="37" y="131"/>
                  </a:lnTo>
                  <a:lnTo>
                    <a:pt x="37" y="133"/>
                  </a:lnTo>
                  <a:lnTo>
                    <a:pt x="35" y="135"/>
                  </a:lnTo>
                  <a:lnTo>
                    <a:pt x="35" y="137"/>
                  </a:lnTo>
                  <a:lnTo>
                    <a:pt x="33" y="137"/>
                  </a:lnTo>
                  <a:lnTo>
                    <a:pt x="33" y="139"/>
                  </a:lnTo>
                  <a:lnTo>
                    <a:pt x="33" y="141"/>
                  </a:lnTo>
                  <a:lnTo>
                    <a:pt x="33" y="143"/>
                  </a:lnTo>
                  <a:lnTo>
                    <a:pt x="33" y="141"/>
                  </a:lnTo>
                  <a:lnTo>
                    <a:pt x="33" y="143"/>
                  </a:lnTo>
                  <a:lnTo>
                    <a:pt x="33" y="145"/>
                  </a:lnTo>
                  <a:lnTo>
                    <a:pt x="33" y="146"/>
                  </a:lnTo>
                  <a:lnTo>
                    <a:pt x="31" y="146"/>
                  </a:lnTo>
                  <a:lnTo>
                    <a:pt x="31" y="148"/>
                  </a:lnTo>
                  <a:lnTo>
                    <a:pt x="31" y="150"/>
                  </a:lnTo>
                  <a:lnTo>
                    <a:pt x="31" y="148"/>
                  </a:lnTo>
                  <a:lnTo>
                    <a:pt x="29" y="148"/>
                  </a:lnTo>
                  <a:lnTo>
                    <a:pt x="29" y="150"/>
                  </a:lnTo>
                  <a:lnTo>
                    <a:pt x="29" y="152"/>
                  </a:lnTo>
                  <a:lnTo>
                    <a:pt x="29" y="154"/>
                  </a:lnTo>
                  <a:lnTo>
                    <a:pt x="27" y="154"/>
                  </a:lnTo>
                  <a:lnTo>
                    <a:pt x="27" y="156"/>
                  </a:lnTo>
                  <a:lnTo>
                    <a:pt x="29" y="156"/>
                  </a:lnTo>
                  <a:lnTo>
                    <a:pt x="27" y="156"/>
                  </a:lnTo>
                  <a:lnTo>
                    <a:pt x="27" y="158"/>
                  </a:lnTo>
                  <a:lnTo>
                    <a:pt x="27" y="160"/>
                  </a:lnTo>
                  <a:lnTo>
                    <a:pt x="27" y="162"/>
                  </a:lnTo>
                  <a:lnTo>
                    <a:pt x="27" y="164"/>
                  </a:lnTo>
                  <a:lnTo>
                    <a:pt x="27" y="166"/>
                  </a:lnTo>
                  <a:lnTo>
                    <a:pt x="29" y="166"/>
                  </a:lnTo>
                  <a:lnTo>
                    <a:pt x="29" y="168"/>
                  </a:lnTo>
                  <a:lnTo>
                    <a:pt x="29" y="169"/>
                  </a:lnTo>
                  <a:lnTo>
                    <a:pt x="29" y="168"/>
                  </a:lnTo>
                  <a:lnTo>
                    <a:pt x="29" y="169"/>
                  </a:lnTo>
                  <a:lnTo>
                    <a:pt x="27" y="169"/>
                  </a:lnTo>
                  <a:lnTo>
                    <a:pt x="29" y="169"/>
                  </a:lnTo>
                  <a:lnTo>
                    <a:pt x="29" y="171"/>
                  </a:lnTo>
                  <a:lnTo>
                    <a:pt x="27" y="171"/>
                  </a:lnTo>
                  <a:lnTo>
                    <a:pt x="29" y="171"/>
                  </a:lnTo>
                  <a:lnTo>
                    <a:pt x="29" y="173"/>
                  </a:lnTo>
                  <a:lnTo>
                    <a:pt x="27" y="173"/>
                  </a:lnTo>
                  <a:lnTo>
                    <a:pt x="29" y="173"/>
                  </a:lnTo>
                  <a:lnTo>
                    <a:pt x="29" y="171"/>
                  </a:lnTo>
                  <a:lnTo>
                    <a:pt x="31" y="171"/>
                  </a:lnTo>
                  <a:lnTo>
                    <a:pt x="33" y="171"/>
                  </a:lnTo>
                  <a:lnTo>
                    <a:pt x="33" y="169"/>
                  </a:lnTo>
                  <a:lnTo>
                    <a:pt x="35" y="169"/>
                  </a:lnTo>
                  <a:lnTo>
                    <a:pt x="37" y="169"/>
                  </a:lnTo>
                  <a:lnTo>
                    <a:pt x="35" y="169"/>
                  </a:lnTo>
                  <a:lnTo>
                    <a:pt x="37" y="169"/>
                  </a:lnTo>
                  <a:lnTo>
                    <a:pt x="37" y="171"/>
                  </a:lnTo>
                  <a:lnTo>
                    <a:pt x="39" y="171"/>
                  </a:lnTo>
                  <a:lnTo>
                    <a:pt x="37" y="171"/>
                  </a:lnTo>
                  <a:lnTo>
                    <a:pt x="39" y="171"/>
                  </a:lnTo>
                  <a:lnTo>
                    <a:pt x="37" y="171"/>
                  </a:lnTo>
                  <a:lnTo>
                    <a:pt x="39" y="171"/>
                  </a:lnTo>
                  <a:lnTo>
                    <a:pt x="39" y="173"/>
                  </a:lnTo>
                  <a:lnTo>
                    <a:pt x="39" y="175"/>
                  </a:lnTo>
                  <a:lnTo>
                    <a:pt x="39" y="177"/>
                  </a:lnTo>
                  <a:lnTo>
                    <a:pt x="39" y="179"/>
                  </a:lnTo>
                  <a:lnTo>
                    <a:pt x="39" y="181"/>
                  </a:lnTo>
                  <a:lnTo>
                    <a:pt x="41" y="181"/>
                  </a:lnTo>
                  <a:lnTo>
                    <a:pt x="39" y="181"/>
                  </a:lnTo>
                  <a:lnTo>
                    <a:pt x="41" y="181"/>
                  </a:lnTo>
                  <a:lnTo>
                    <a:pt x="41" y="183"/>
                  </a:lnTo>
                  <a:lnTo>
                    <a:pt x="43" y="183"/>
                  </a:lnTo>
                  <a:lnTo>
                    <a:pt x="43" y="181"/>
                  </a:lnTo>
                  <a:lnTo>
                    <a:pt x="41" y="181"/>
                  </a:lnTo>
                  <a:lnTo>
                    <a:pt x="43" y="181"/>
                  </a:lnTo>
                  <a:lnTo>
                    <a:pt x="43" y="183"/>
                  </a:lnTo>
                  <a:lnTo>
                    <a:pt x="43" y="185"/>
                  </a:lnTo>
                  <a:lnTo>
                    <a:pt x="44" y="185"/>
                  </a:lnTo>
                  <a:lnTo>
                    <a:pt x="44" y="187"/>
                  </a:lnTo>
                  <a:lnTo>
                    <a:pt x="44" y="189"/>
                  </a:lnTo>
                  <a:lnTo>
                    <a:pt x="44" y="191"/>
                  </a:lnTo>
                  <a:lnTo>
                    <a:pt x="44" y="193"/>
                  </a:lnTo>
                  <a:lnTo>
                    <a:pt x="44" y="194"/>
                  </a:lnTo>
                  <a:lnTo>
                    <a:pt x="46" y="194"/>
                  </a:lnTo>
                  <a:lnTo>
                    <a:pt x="46" y="196"/>
                  </a:lnTo>
                  <a:lnTo>
                    <a:pt x="46" y="198"/>
                  </a:lnTo>
                  <a:lnTo>
                    <a:pt x="46" y="200"/>
                  </a:lnTo>
                  <a:lnTo>
                    <a:pt x="48" y="200"/>
                  </a:lnTo>
                  <a:lnTo>
                    <a:pt x="46" y="200"/>
                  </a:lnTo>
                  <a:lnTo>
                    <a:pt x="46" y="198"/>
                  </a:lnTo>
                  <a:lnTo>
                    <a:pt x="46" y="196"/>
                  </a:lnTo>
                  <a:lnTo>
                    <a:pt x="46" y="198"/>
                  </a:lnTo>
                  <a:lnTo>
                    <a:pt x="46" y="196"/>
                  </a:lnTo>
                  <a:lnTo>
                    <a:pt x="44" y="196"/>
                  </a:lnTo>
                  <a:lnTo>
                    <a:pt x="44" y="194"/>
                  </a:lnTo>
                  <a:lnTo>
                    <a:pt x="44" y="196"/>
                  </a:lnTo>
                  <a:lnTo>
                    <a:pt x="43" y="196"/>
                  </a:lnTo>
                  <a:lnTo>
                    <a:pt x="44" y="196"/>
                  </a:lnTo>
                  <a:lnTo>
                    <a:pt x="43" y="196"/>
                  </a:lnTo>
                  <a:lnTo>
                    <a:pt x="44" y="196"/>
                  </a:lnTo>
                  <a:lnTo>
                    <a:pt x="44" y="194"/>
                  </a:lnTo>
                  <a:lnTo>
                    <a:pt x="44" y="193"/>
                  </a:lnTo>
                  <a:lnTo>
                    <a:pt x="43" y="193"/>
                  </a:lnTo>
                  <a:lnTo>
                    <a:pt x="43" y="194"/>
                  </a:lnTo>
                  <a:lnTo>
                    <a:pt x="43" y="196"/>
                  </a:lnTo>
                  <a:lnTo>
                    <a:pt x="43" y="198"/>
                  </a:lnTo>
                  <a:lnTo>
                    <a:pt x="44" y="198"/>
                  </a:lnTo>
                  <a:lnTo>
                    <a:pt x="44" y="200"/>
                  </a:lnTo>
                  <a:lnTo>
                    <a:pt x="46" y="200"/>
                  </a:lnTo>
                  <a:lnTo>
                    <a:pt x="44" y="200"/>
                  </a:lnTo>
                  <a:lnTo>
                    <a:pt x="46" y="200"/>
                  </a:lnTo>
                  <a:lnTo>
                    <a:pt x="46" y="202"/>
                  </a:lnTo>
                  <a:lnTo>
                    <a:pt x="48" y="202"/>
                  </a:lnTo>
                  <a:lnTo>
                    <a:pt x="48" y="200"/>
                  </a:lnTo>
                  <a:lnTo>
                    <a:pt x="48" y="202"/>
                  </a:lnTo>
                  <a:lnTo>
                    <a:pt x="50" y="202"/>
                  </a:lnTo>
                  <a:lnTo>
                    <a:pt x="50" y="204"/>
                  </a:lnTo>
                  <a:lnTo>
                    <a:pt x="52" y="204"/>
                  </a:lnTo>
                  <a:lnTo>
                    <a:pt x="52" y="206"/>
                  </a:lnTo>
                  <a:lnTo>
                    <a:pt x="54" y="206"/>
                  </a:lnTo>
                  <a:lnTo>
                    <a:pt x="56" y="206"/>
                  </a:lnTo>
                  <a:lnTo>
                    <a:pt x="58" y="206"/>
                  </a:lnTo>
                  <a:lnTo>
                    <a:pt x="60" y="206"/>
                  </a:lnTo>
                  <a:lnTo>
                    <a:pt x="60" y="204"/>
                  </a:lnTo>
                  <a:lnTo>
                    <a:pt x="58" y="204"/>
                  </a:lnTo>
                  <a:lnTo>
                    <a:pt x="60" y="204"/>
                  </a:lnTo>
                  <a:lnTo>
                    <a:pt x="60" y="206"/>
                  </a:lnTo>
                  <a:lnTo>
                    <a:pt x="62" y="206"/>
                  </a:lnTo>
                  <a:lnTo>
                    <a:pt x="64" y="206"/>
                  </a:lnTo>
                  <a:lnTo>
                    <a:pt x="64" y="208"/>
                  </a:lnTo>
                  <a:lnTo>
                    <a:pt x="64" y="210"/>
                  </a:lnTo>
                  <a:lnTo>
                    <a:pt x="66" y="210"/>
                  </a:lnTo>
                  <a:lnTo>
                    <a:pt x="66" y="212"/>
                  </a:lnTo>
                  <a:lnTo>
                    <a:pt x="67" y="212"/>
                  </a:lnTo>
                  <a:lnTo>
                    <a:pt x="67" y="214"/>
                  </a:lnTo>
                  <a:lnTo>
                    <a:pt x="69" y="214"/>
                  </a:lnTo>
                  <a:lnTo>
                    <a:pt x="69" y="216"/>
                  </a:lnTo>
                  <a:lnTo>
                    <a:pt x="69" y="218"/>
                  </a:lnTo>
                  <a:lnTo>
                    <a:pt x="67" y="218"/>
                  </a:lnTo>
                  <a:lnTo>
                    <a:pt x="67" y="219"/>
                  </a:lnTo>
                  <a:lnTo>
                    <a:pt x="67" y="221"/>
                  </a:lnTo>
                  <a:lnTo>
                    <a:pt x="66" y="221"/>
                  </a:lnTo>
                  <a:lnTo>
                    <a:pt x="66" y="223"/>
                  </a:lnTo>
                  <a:lnTo>
                    <a:pt x="66" y="221"/>
                  </a:lnTo>
                  <a:lnTo>
                    <a:pt x="64" y="221"/>
                  </a:lnTo>
                  <a:lnTo>
                    <a:pt x="64" y="219"/>
                  </a:lnTo>
                  <a:lnTo>
                    <a:pt x="64" y="221"/>
                  </a:lnTo>
                  <a:lnTo>
                    <a:pt x="64" y="219"/>
                  </a:lnTo>
                  <a:lnTo>
                    <a:pt x="62" y="219"/>
                  </a:lnTo>
                  <a:lnTo>
                    <a:pt x="62" y="221"/>
                  </a:lnTo>
                  <a:lnTo>
                    <a:pt x="62" y="219"/>
                  </a:lnTo>
                  <a:lnTo>
                    <a:pt x="62" y="221"/>
                  </a:lnTo>
                  <a:lnTo>
                    <a:pt x="60" y="221"/>
                  </a:lnTo>
                  <a:lnTo>
                    <a:pt x="60" y="219"/>
                  </a:lnTo>
                  <a:lnTo>
                    <a:pt x="60" y="221"/>
                  </a:lnTo>
                  <a:lnTo>
                    <a:pt x="58" y="221"/>
                  </a:lnTo>
                  <a:lnTo>
                    <a:pt x="58" y="223"/>
                  </a:lnTo>
                  <a:lnTo>
                    <a:pt x="56" y="223"/>
                  </a:lnTo>
                  <a:lnTo>
                    <a:pt x="56" y="221"/>
                  </a:lnTo>
                  <a:lnTo>
                    <a:pt x="54" y="221"/>
                  </a:lnTo>
                  <a:lnTo>
                    <a:pt x="54" y="223"/>
                  </a:lnTo>
                  <a:lnTo>
                    <a:pt x="54" y="221"/>
                  </a:lnTo>
                  <a:lnTo>
                    <a:pt x="54" y="223"/>
                  </a:lnTo>
                  <a:lnTo>
                    <a:pt x="54" y="221"/>
                  </a:lnTo>
                  <a:lnTo>
                    <a:pt x="54" y="223"/>
                  </a:lnTo>
                  <a:lnTo>
                    <a:pt x="54" y="221"/>
                  </a:lnTo>
                  <a:lnTo>
                    <a:pt x="54" y="219"/>
                  </a:lnTo>
                  <a:lnTo>
                    <a:pt x="56" y="219"/>
                  </a:lnTo>
                  <a:lnTo>
                    <a:pt x="56" y="218"/>
                  </a:lnTo>
                  <a:lnTo>
                    <a:pt x="56" y="216"/>
                  </a:lnTo>
                  <a:lnTo>
                    <a:pt x="54" y="216"/>
                  </a:lnTo>
                  <a:lnTo>
                    <a:pt x="54" y="214"/>
                  </a:lnTo>
                  <a:lnTo>
                    <a:pt x="54" y="216"/>
                  </a:lnTo>
                  <a:lnTo>
                    <a:pt x="52" y="216"/>
                  </a:lnTo>
                  <a:lnTo>
                    <a:pt x="52" y="214"/>
                  </a:lnTo>
                  <a:lnTo>
                    <a:pt x="52" y="216"/>
                  </a:lnTo>
                  <a:lnTo>
                    <a:pt x="52" y="214"/>
                  </a:lnTo>
                  <a:lnTo>
                    <a:pt x="52" y="212"/>
                  </a:lnTo>
                  <a:lnTo>
                    <a:pt x="50" y="212"/>
                  </a:lnTo>
                  <a:lnTo>
                    <a:pt x="48" y="212"/>
                  </a:lnTo>
                  <a:lnTo>
                    <a:pt x="46" y="212"/>
                  </a:lnTo>
                  <a:lnTo>
                    <a:pt x="46" y="210"/>
                  </a:lnTo>
                  <a:lnTo>
                    <a:pt x="46" y="212"/>
                  </a:lnTo>
                  <a:lnTo>
                    <a:pt x="46" y="210"/>
                  </a:lnTo>
                  <a:lnTo>
                    <a:pt x="46" y="212"/>
                  </a:lnTo>
                  <a:lnTo>
                    <a:pt x="46" y="210"/>
                  </a:lnTo>
                  <a:lnTo>
                    <a:pt x="46" y="212"/>
                  </a:lnTo>
                  <a:lnTo>
                    <a:pt x="46" y="210"/>
                  </a:lnTo>
                  <a:lnTo>
                    <a:pt x="46" y="212"/>
                  </a:lnTo>
                  <a:lnTo>
                    <a:pt x="46" y="210"/>
                  </a:lnTo>
                  <a:lnTo>
                    <a:pt x="44" y="210"/>
                  </a:lnTo>
                  <a:lnTo>
                    <a:pt x="44" y="208"/>
                  </a:lnTo>
                  <a:lnTo>
                    <a:pt x="43" y="208"/>
                  </a:lnTo>
                  <a:lnTo>
                    <a:pt x="43" y="210"/>
                  </a:lnTo>
                  <a:lnTo>
                    <a:pt x="43" y="212"/>
                  </a:lnTo>
                  <a:lnTo>
                    <a:pt x="41" y="212"/>
                  </a:lnTo>
                  <a:lnTo>
                    <a:pt x="41" y="210"/>
                  </a:lnTo>
                  <a:lnTo>
                    <a:pt x="41" y="212"/>
                  </a:lnTo>
                  <a:lnTo>
                    <a:pt x="41" y="210"/>
                  </a:lnTo>
                  <a:lnTo>
                    <a:pt x="41" y="212"/>
                  </a:lnTo>
                  <a:lnTo>
                    <a:pt x="41" y="210"/>
                  </a:lnTo>
                  <a:lnTo>
                    <a:pt x="39" y="210"/>
                  </a:lnTo>
                  <a:lnTo>
                    <a:pt x="41" y="210"/>
                  </a:lnTo>
                  <a:lnTo>
                    <a:pt x="39" y="210"/>
                  </a:lnTo>
                  <a:lnTo>
                    <a:pt x="41" y="210"/>
                  </a:lnTo>
                  <a:lnTo>
                    <a:pt x="39" y="210"/>
                  </a:lnTo>
                  <a:lnTo>
                    <a:pt x="39" y="208"/>
                  </a:lnTo>
                  <a:lnTo>
                    <a:pt x="37" y="208"/>
                  </a:lnTo>
                  <a:lnTo>
                    <a:pt x="37" y="206"/>
                  </a:lnTo>
                  <a:lnTo>
                    <a:pt x="37" y="208"/>
                  </a:lnTo>
                  <a:lnTo>
                    <a:pt x="37" y="206"/>
                  </a:lnTo>
                  <a:lnTo>
                    <a:pt x="35" y="206"/>
                  </a:lnTo>
                  <a:lnTo>
                    <a:pt x="35" y="204"/>
                  </a:lnTo>
                  <a:lnTo>
                    <a:pt x="35" y="206"/>
                  </a:lnTo>
                  <a:lnTo>
                    <a:pt x="35" y="204"/>
                  </a:lnTo>
                  <a:lnTo>
                    <a:pt x="37" y="204"/>
                  </a:lnTo>
                  <a:lnTo>
                    <a:pt x="35" y="204"/>
                  </a:lnTo>
                  <a:lnTo>
                    <a:pt x="37" y="204"/>
                  </a:lnTo>
                  <a:lnTo>
                    <a:pt x="35" y="204"/>
                  </a:lnTo>
                  <a:lnTo>
                    <a:pt x="35" y="202"/>
                  </a:lnTo>
                  <a:lnTo>
                    <a:pt x="35" y="204"/>
                  </a:lnTo>
                  <a:lnTo>
                    <a:pt x="35" y="202"/>
                  </a:lnTo>
                  <a:lnTo>
                    <a:pt x="37" y="202"/>
                  </a:lnTo>
                  <a:lnTo>
                    <a:pt x="35" y="202"/>
                  </a:lnTo>
                  <a:lnTo>
                    <a:pt x="37" y="202"/>
                  </a:lnTo>
                  <a:lnTo>
                    <a:pt x="37" y="200"/>
                  </a:lnTo>
                  <a:lnTo>
                    <a:pt x="35" y="200"/>
                  </a:lnTo>
                  <a:lnTo>
                    <a:pt x="37" y="200"/>
                  </a:lnTo>
                  <a:lnTo>
                    <a:pt x="37" y="202"/>
                  </a:lnTo>
                  <a:lnTo>
                    <a:pt x="35" y="202"/>
                  </a:lnTo>
                  <a:lnTo>
                    <a:pt x="37" y="202"/>
                  </a:lnTo>
                  <a:lnTo>
                    <a:pt x="35" y="202"/>
                  </a:lnTo>
                  <a:lnTo>
                    <a:pt x="35" y="200"/>
                  </a:lnTo>
                  <a:lnTo>
                    <a:pt x="35" y="202"/>
                  </a:lnTo>
                  <a:lnTo>
                    <a:pt x="35" y="200"/>
                  </a:lnTo>
                  <a:lnTo>
                    <a:pt x="35" y="202"/>
                  </a:lnTo>
                  <a:lnTo>
                    <a:pt x="35" y="200"/>
                  </a:lnTo>
                  <a:lnTo>
                    <a:pt x="35" y="202"/>
                  </a:lnTo>
                  <a:lnTo>
                    <a:pt x="35" y="200"/>
                  </a:lnTo>
                  <a:lnTo>
                    <a:pt x="35" y="202"/>
                  </a:lnTo>
                  <a:lnTo>
                    <a:pt x="35" y="200"/>
                  </a:lnTo>
                  <a:lnTo>
                    <a:pt x="33" y="200"/>
                  </a:lnTo>
                  <a:lnTo>
                    <a:pt x="35" y="200"/>
                  </a:lnTo>
                  <a:lnTo>
                    <a:pt x="35" y="202"/>
                  </a:lnTo>
                  <a:lnTo>
                    <a:pt x="33" y="202"/>
                  </a:lnTo>
                  <a:lnTo>
                    <a:pt x="35" y="202"/>
                  </a:lnTo>
                  <a:lnTo>
                    <a:pt x="35" y="200"/>
                  </a:lnTo>
                  <a:lnTo>
                    <a:pt x="33" y="200"/>
                  </a:lnTo>
                  <a:lnTo>
                    <a:pt x="35" y="200"/>
                  </a:lnTo>
                  <a:lnTo>
                    <a:pt x="33" y="200"/>
                  </a:lnTo>
                  <a:lnTo>
                    <a:pt x="35" y="200"/>
                  </a:lnTo>
                  <a:lnTo>
                    <a:pt x="33" y="200"/>
                  </a:lnTo>
                  <a:lnTo>
                    <a:pt x="33" y="202"/>
                  </a:lnTo>
                  <a:lnTo>
                    <a:pt x="33" y="200"/>
                  </a:lnTo>
                  <a:lnTo>
                    <a:pt x="33" y="198"/>
                  </a:lnTo>
                  <a:lnTo>
                    <a:pt x="35" y="198"/>
                  </a:lnTo>
                  <a:lnTo>
                    <a:pt x="33" y="198"/>
                  </a:lnTo>
                  <a:lnTo>
                    <a:pt x="35" y="198"/>
                  </a:lnTo>
                  <a:lnTo>
                    <a:pt x="33" y="198"/>
                  </a:lnTo>
                  <a:lnTo>
                    <a:pt x="35" y="198"/>
                  </a:lnTo>
                  <a:lnTo>
                    <a:pt x="33" y="198"/>
                  </a:lnTo>
                  <a:lnTo>
                    <a:pt x="35" y="198"/>
                  </a:lnTo>
                  <a:lnTo>
                    <a:pt x="35" y="196"/>
                  </a:lnTo>
                  <a:lnTo>
                    <a:pt x="35" y="198"/>
                  </a:lnTo>
                  <a:lnTo>
                    <a:pt x="33" y="198"/>
                  </a:lnTo>
                  <a:lnTo>
                    <a:pt x="33" y="200"/>
                  </a:lnTo>
                  <a:lnTo>
                    <a:pt x="33" y="198"/>
                  </a:lnTo>
                  <a:lnTo>
                    <a:pt x="33" y="200"/>
                  </a:lnTo>
                  <a:lnTo>
                    <a:pt x="31" y="200"/>
                  </a:lnTo>
                  <a:lnTo>
                    <a:pt x="31" y="198"/>
                  </a:lnTo>
                  <a:lnTo>
                    <a:pt x="31" y="200"/>
                  </a:lnTo>
                  <a:lnTo>
                    <a:pt x="31" y="198"/>
                  </a:lnTo>
                  <a:lnTo>
                    <a:pt x="29" y="198"/>
                  </a:lnTo>
                  <a:lnTo>
                    <a:pt x="31" y="198"/>
                  </a:lnTo>
                  <a:lnTo>
                    <a:pt x="29" y="198"/>
                  </a:lnTo>
                  <a:lnTo>
                    <a:pt x="31" y="198"/>
                  </a:lnTo>
                  <a:lnTo>
                    <a:pt x="29" y="198"/>
                  </a:lnTo>
                  <a:lnTo>
                    <a:pt x="29" y="196"/>
                  </a:lnTo>
                  <a:lnTo>
                    <a:pt x="29" y="194"/>
                  </a:lnTo>
                  <a:lnTo>
                    <a:pt x="29" y="193"/>
                  </a:lnTo>
                  <a:lnTo>
                    <a:pt x="29" y="194"/>
                  </a:lnTo>
                  <a:lnTo>
                    <a:pt x="29" y="193"/>
                  </a:lnTo>
                  <a:lnTo>
                    <a:pt x="29" y="194"/>
                  </a:lnTo>
                  <a:lnTo>
                    <a:pt x="27" y="194"/>
                  </a:lnTo>
                  <a:lnTo>
                    <a:pt x="27" y="193"/>
                  </a:lnTo>
                  <a:lnTo>
                    <a:pt x="27" y="194"/>
                  </a:lnTo>
                  <a:lnTo>
                    <a:pt x="27" y="193"/>
                  </a:lnTo>
                  <a:lnTo>
                    <a:pt x="27" y="191"/>
                  </a:lnTo>
                  <a:lnTo>
                    <a:pt x="27" y="193"/>
                  </a:lnTo>
                  <a:lnTo>
                    <a:pt x="27" y="191"/>
                  </a:lnTo>
                  <a:lnTo>
                    <a:pt x="25" y="191"/>
                  </a:lnTo>
                  <a:lnTo>
                    <a:pt x="27" y="191"/>
                  </a:lnTo>
                  <a:lnTo>
                    <a:pt x="25" y="191"/>
                  </a:lnTo>
                  <a:lnTo>
                    <a:pt x="27" y="191"/>
                  </a:lnTo>
                  <a:lnTo>
                    <a:pt x="25" y="191"/>
                  </a:lnTo>
                  <a:lnTo>
                    <a:pt x="27" y="191"/>
                  </a:lnTo>
                  <a:lnTo>
                    <a:pt x="27" y="189"/>
                  </a:lnTo>
                  <a:lnTo>
                    <a:pt x="27" y="191"/>
                  </a:lnTo>
                  <a:lnTo>
                    <a:pt x="25" y="191"/>
                  </a:lnTo>
                  <a:lnTo>
                    <a:pt x="25" y="189"/>
                  </a:lnTo>
                  <a:lnTo>
                    <a:pt x="25" y="191"/>
                  </a:lnTo>
                  <a:lnTo>
                    <a:pt x="25" y="189"/>
                  </a:lnTo>
                  <a:lnTo>
                    <a:pt x="25" y="191"/>
                  </a:lnTo>
                  <a:lnTo>
                    <a:pt x="25" y="189"/>
                  </a:lnTo>
                  <a:lnTo>
                    <a:pt x="23" y="189"/>
                  </a:lnTo>
                  <a:lnTo>
                    <a:pt x="25" y="189"/>
                  </a:lnTo>
                  <a:lnTo>
                    <a:pt x="23" y="189"/>
                  </a:lnTo>
                  <a:lnTo>
                    <a:pt x="25" y="189"/>
                  </a:lnTo>
                  <a:lnTo>
                    <a:pt x="23" y="189"/>
                  </a:lnTo>
                  <a:lnTo>
                    <a:pt x="25" y="189"/>
                  </a:lnTo>
                  <a:lnTo>
                    <a:pt x="23" y="189"/>
                  </a:lnTo>
                  <a:lnTo>
                    <a:pt x="21" y="189"/>
                  </a:lnTo>
                  <a:lnTo>
                    <a:pt x="21" y="187"/>
                  </a:lnTo>
                  <a:lnTo>
                    <a:pt x="21" y="185"/>
                  </a:lnTo>
                  <a:lnTo>
                    <a:pt x="21" y="183"/>
                  </a:lnTo>
                  <a:lnTo>
                    <a:pt x="21" y="185"/>
                  </a:lnTo>
                  <a:lnTo>
                    <a:pt x="19" y="185"/>
                  </a:lnTo>
                  <a:lnTo>
                    <a:pt x="21" y="185"/>
                  </a:lnTo>
                  <a:lnTo>
                    <a:pt x="19" y="185"/>
                  </a:lnTo>
                  <a:lnTo>
                    <a:pt x="21" y="185"/>
                  </a:lnTo>
                  <a:lnTo>
                    <a:pt x="19" y="185"/>
                  </a:lnTo>
                  <a:lnTo>
                    <a:pt x="19" y="183"/>
                  </a:lnTo>
                  <a:lnTo>
                    <a:pt x="18" y="183"/>
                  </a:lnTo>
                  <a:lnTo>
                    <a:pt x="19" y="183"/>
                  </a:lnTo>
                  <a:lnTo>
                    <a:pt x="18" y="183"/>
                  </a:lnTo>
                  <a:lnTo>
                    <a:pt x="19" y="183"/>
                  </a:lnTo>
                  <a:lnTo>
                    <a:pt x="18" y="183"/>
                  </a:lnTo>
                  <a:lnTo>
                    <a:pt x="19" y="183"/>
                  </a:lnTo>
                  <a:lnTo>
                    <a:pt x="18" y="183"/>
                  </a:lnTo>
                  <a:lnTo>
                    <a:pt x="19" y="183"/>
                  </a:lnTo>
                  <a:lnTo>
                    <a:pt x="18" y="183"/>
                  </a:lnTo>
                  <a:lnTo>
                    <a:pt x="18" y="185"/>
                  </a:lnTo>
                  <a:lnTo>
                    <a:pt x="18" y="183"/>
                  </a:lnTo>
                  <a:lnTo>
                    <a:pt x="18" y="185"/>
                  </a:lnTo>
                  <a:lnTo>
                    <a:pt x="18" y="183"/>
                  </a:lnTo>
                  <a:lnTo>
                    <a:pt x="18" y="185"/>
                  </a:lnTo>
                  <a:lnTo>
                    <a:pt x="18" y="183"/>
                  </a:lnTo>
                  <a:lnTo>
                    <a:pt x="18" y="185"/>
                  </a:lnTo>
                  <a:lnTo>
                    <a:pt x="18" y="183"/>
                  </a:lnTo>
                  <a:lnTo>
                    <a:pt x="18" y="185"/>
                  </a:lnTo>
                  <a:lnTo>
                    <a:pt x="18" y="183"/>
                  </a:lnTo>
                  <a:lnTo>
                    <a:pt x="18" y="185"/>
                  </a:lnTo>
                  <a:lnTo>
                    <a:pt x="16" y="185"/>
                  </a:lnTo>
                  <a:lnTo>
                    <a:pt x="18" y="185"/>
                  </a:lnTo>
                  <a:lnTo>
                    <a:pt x="18" y="187"/>
                  </a:lnTo>
                  <a:lnTo>
                    <a:pt x="16" y="187"/>
                  </a:lnTo>
                  <a:lnTo>
                    <a:pt x="14" y="187"/>
                  </a:lnTo>
                  <a:lnTo>
                    <a:pt x="14" y="185"/>
                  </a:lnTo>
                  <a:lnTo>
                    <a:pt x="14" y="183"/>
                  </a:lnTo>
                  <a:lnTo>
                    <a:pt x="14" y="181"/>
                  </a:lnTo>
                  <a:lnTo>
                    <a:pt x="14" y="183"/>
                  </a:lnTo>
                  <a:lnTo>
                    <a:pt x="14" y="181"/>
                  </a:lnTo>
                  <a:lnTo>
                    <a:pt x="14" y="179"/>
                  </a:lnTo>
                  <a:lnTo>
                    <a:pt x="14" y="177"/>
                  </a:lnTo>
                  <a:lnTo>
                    <a:pt x="14" y="179"/>
                  </a:lnTo>
                  <a:lnTo>
                    <a:pt x="14" y="177"/>
                  </a:lnTo>
                  <a:lnTo>
                    <a:pt x="14" y="175"/>
                  </a:lnTo>
                  <a:lnTo>
                    <a:pt x="16" y="175"/>
                  </a:lnTo>
                  <a:lnTo>
                    <a:pt x="14" y="175"/>
                  </a:lnTo>
                  <a:lnTo>
                    <a:pt x="16" y="175"/>
                  </a:lnTo>
                  <a:lnTo>
                    <a:pt x="16" y="173"/>
                  </a:lnTo>
                  <a:lnTo>
                    <a:pt x="16" y="171"/>
                  </a:lnTo>
                  <a:lnTo>
                    <a:pt x="16" y="169"/>
                  </a:lnTo>
                  <a:lnTo>
                    <a:pt x="16" y="168"/>
                  </a:lnTo>
                  <a:lnTo>
                    <a:pt x="16" y="169"/>
                  </a:lnTo>
                  <a:lnTo>
                    <a:pt x="16" y="168"/>
                  </a:lnTo>
                  <a:lnTo>
                    <a:pt x="18" y="168"/>
                  </a:lnTo>
                  <a:lnTo>
                    <a:pt x="18" y="166"/>
                  </a:lnTo>
                  <a:lnTo>
                    <a:pt x="18" y="168"/>
                  </a:lnTo>
                  <a:lnTo>
                    <a:pt x="18" y="166"/>
                  </a:lnTo>
                  <a:lnTo>
                    <a:pt x="18" y="168"/>
                  </a:lnTo>
                  <a:lnTo>
                    <a:pt x="18" y="166"/>
                  </a:lnTo>
                  <a:lnTo>
                    <a:pt x="18" y="168"/>
                  </a:lnTo>
                  <a:lnTo>
                    <a:pt x="18" y="166"/>
                  </a:lnTo>
                  <a:lnTo>
                    <a:pt x="19" y="166"/>
                  </a:lnTo>
                  <a:lnTo>
                    <a:pt x="18" y="166"/>
                  </a:lnTo>
                  <a:lnTo>
                    <a:pt x="18" y="164"/>
                  </a:lnTo>
                  <a:lnTo>
                    <a:pt x="19" y="164"/>
                  </a:lnTo>
                  <a:lnTo>
                    <a:pt x="18" y="164"/>
                  </a:lnTo>
                  <a:lnTo>
                    <a:pt x="19" y="164"/>
                  </a:lnTo>
                  <a:lnTo>
                    <a:pt x="18" y="164"/>
                  </a:lnTo>
                  <a:lnTo>
                    <a:pt x="19" y="164"/>
                  </a:lnTo>
                  <a:lnTo>
                    <a:pt x="18" y="164"/>
                  </a:lnTo>
                  <a:lnTo>
                    <a:pt x="19" y="164"/>
                  </a:lnTo>
                  <a:lnTo>
                    <a:pt x="18" y="164"/>
                  </a:lnTo>
                  <a:lnTo>
                    <a:pt x="18" y="162"/>
                  </a:lnTo>
                  <a:lnTo>
                    <a:pt x="18" y="164"/>
                  </a:lnTo>
                  <a:lnTo>
                    <a:pt x="18" y="162"/>
                  </a:lnTo>
                  <a:lnTo>
                    <a:pt x="19" y="162"/>
                  </a:lnTo>
                  <a:lnTo>
                    <a:pt x="18" y="162"/>
                  </a:lnTo>
                  <a:lnTo>
                    <a:pt x="19" y="162"/>
                  </a:lnTo>
                  <a:lnTo>
                    <a:pt x="18" y="162"/>
                  </a:lnTo>
                  <a:lnTo>
                    <a:pt x="19" y="162"/>
                  </a:lnTo>
                  <a:lnTo>
                    <a:pt x="18" y="162"/>
                  </a:lnTo>
                  <a:lnTo>
                    <a:pt x="19" y="162"/>
                  </a:lnTo>
                  <a:lnTo>
                    <a:pt x="19" y="160"/>
                  </a:lnTo>
                  <a:lnTo>
                    <a:pt x="19" y="162"/>
                  </a:lnTo>
                  <a:lnTo>
                    <a:pt x="19" y="160"/>
                  </a:lnTo>
                  <a:lnTo>
                    <a:pt x="19" y="158"/>
                  </a:lnTo>
                  <a:lnTo>
                    <a:pt x="19" y="156"/>
                  </a:lnTo>
                  <a:lnTo>
                    <a:pt x="21" y="156"/>
                  </a:lnTo>
                  <a:lnTo>
                    <a:pt x="21" y="158"/>
                  </a:lnTo>
                  <a:lnTo>
                    <a:pt x="21" y="156"/>
                  </a:lnTo>
                  <a:lnTo>
                    <a:pt x="21" y="158"/>
                  </a:lnTo>
                  <a:lnTo>
                    <a:pt x="21" y="156"/>
                  </a:lnTo>
                  <a:lnTo>
                    <a:pt x="19" y="156"/>
                  </a:lnTo>
                  <a:lnTo>
                    <a:pt x="21" y="156"/>
                  </a:lnTo>
                  <a:lnTo>
                    <a:pt x="21" y="154"/>
                  </a:lnTo>
                  <a:lnTo>
                    <a:pt x="21" y="152"/>
                  </a:lnTo>
                  <a:lnTo>
                    <a:pt x="21" y="150"/>
                  </a:lnTo>
                  <a:lnTo>
                    <a:pt x="21" y="148"/>
                  </a:lnTo>
                  <a:lnTo>
                    <a:pt x="23" y="148"/>
                  </a:lnTo>
                  <a:lnTo>
                    <a:pt x="23" y="146"/>
                  </a:lnTo>
                  <a:lnTo>
                    <a:pt x="25" y="146"/>
                  </a:lnTo>
                  <a:lnTo>
                    <a:pt x="25" y="145"/>
                  </a:lnTo>
                  <a:lnTo>
                    <a:pt x="27" y="145"/>
                  </a:lnTo>
                  <a:lnTo>
                    <a:pt x="27" y="143"/>
                  </a:lnTo>
                  <a:lnTo>
                    <a:pt x="29" y="143"/>
                  </a:lnTo>
                  <a:lnTo>
                    <a:pt x="29" y="141"/>
                  </a:lnTo>
                  <a:lnTo>
                    <a:pt x="29" y="139"/>
                  </a:lnTo>
                  <a:lnTo>
                    <a:pt x="31" y="139"/>
                  </a:lnTo>
                  <a:lnTo>
                    <a:pt x="31" y="137"/>
                  </a:lnTo>
                  <a:lnTo>
                    <a:pt x="31" y="135"/>
                  </a:lnTo>
                  <a:lnTo>
                    <a:pt x="33" y="135"/>
                  </a:lnTo>
                  <a:lnTo>
                    <a:pt x="33" y="133"/>
                  </a:lnTo>
                  <a:lnTo>
                    <a:pt x="35" y="133"/>
                  </a:lnTo>
                  <a:lnTo>
                    <a:pt x="35" y="131"/>
                  </a:lnTo>
                  <a:lnTo>
                    <a:pt x="33" y="131"/>
                  </a:lnTo>
                  <a:lnTo>
                    <a:pt x="33" y="129"/>
                  </a:lnTo>
                  <a:lnTo>
                    <a:pt x="33" y="127"/>
                  </a:lnTo>
                  <a:lnTo>
                    <a:pt x="31" y="127"/>
                  </a:lnTo>
                  <a:lnTo>
                    <a:pt x="33" y="127"/>
                  </a:lnTo>
                  <a:lnTo>
                    <a:pt x="33" y="125"/>
                  </a:lnTo>
                  <a:lnTo>
                    <a:pt x="31" y="125"/>
                  </a:lnTo>
                  <a:lnTo>
                    <a:pt x="33" y="125"/>
                  </a:lnTo>
                  <a:lnTo>
                    <a:pt x="31" y="125"/>
                  </a:lnTo>
                  <a:lnTo>
                    <a:pt x="31" y="123"/>
                  </a:lnTo>
                  <a:lnTo>
                    <a:pt x="31" y="121"/>
                  </a:lnTo>
                  <a:lnTo>
                    <a:pt x="31" y="120"/>
                  </a:lnTo>
                  <a:lnTo>
                    <a:pt x="29" y="120"/>
                  </a:lnTo>
                  <a:lnTo>
                    <a:pt x="29" y="118"/>
                  </a:lnTo>
                  <a:lnTo>
                    <a:pt x="27" y="118"/>
                  </a:lnTo>
                  <a:lnTo>
                    <a:pt x="27" y="116"/>
                  </a:lnTo>
                  <a:lnTo>
                    <a:pt x="27" y="114"/>
                  </a:lnTo>
                  <a:lnTo>
                    <a:pt x="27" y="112"/>
                  </a:lnTo>
                  <a:lnTo>
                    <a:pt x="27" y="110"/>
                  </a:lnTo>
                  <a:lnTo>
                    <a:pt x="27" y="108"/>
                  </a:lnTo>
                  <a:lnTo>
                    <a:pt x="27" y="106"/>
                  </a:lnTo>
                  <a:lnTo>
                    <a:pt x="27" y="104"/>
                  </a:lnTo>
                  <a:lnTo>
                    <a:pt x="27" y="102"/>
                  </a:lnTo>
                  <a:lnTo>
                    <a:pt x="27" y="100"/>
                  </a:lnTo>
                  <a:lnTo>
                    <a:pt x="25" y="100"/>
                  </a:lnTo>
                  <a:lnTo>
                    <a:pt x="25" y="98"/>
                  </a:lnTo>
                  <a:lnTo>
                    <a:pt x="23" y="98"/>
                  </a:lnTo>
                  <a:lnTo>
                    <a:pt x="23" y="96"/>
                  </a:lnTo>
                  <a:lnTo>
                    <a:pt x="21" y="96"/>
                  </a:lnTo>
                  <a:lnTo>
                    <a:pt x="21" y="95"/>
                  </a:lnTo>
                  <a:lnTo>
                    <a:pt x="19" y="95"/>
                  </a:lnTo>
                  <a:lnTo>
                    <a:pt x="19" y="93"/>
                  </a:lnTo>
                  <a:lnTo>
                    <a:pt x="18" y="93"/>
                  </a:lnTo>
                  <a:lnTo>
                    <a:pt x="18" y="91"/>
                  </a:lnTo>
                  <a:lnTo>
                    <a:pt x="16" y="91"/>
                  </a:lnTo>
                  <a:lnTo>
                    <a:pt x="16" y="89"/>
                  </a:lnTo>
                  <a:lnTo>
                    <a:pt x="14" y="89"/>
                  </a:lnTo>
                  <a:lnTo>
                    <a:pt x="14" y="87"/>
                  </a:lnTo>
                  <a:lnTo>
                    <a:pt x="14" y="85"/>
                  </a:lnTo>
                  <a:lnTo>
                    <a:pt x="14" y="83"/>
                  </a:lnTo>
                  <a:lnTo>
                    <a:pt x="14" y="81"/>
                  </a:lnTo>
                  <a:lnTo>
                    <a:pt x="16" y="81"/>
                  </a:lnTo>
                  <a:lnTo>
                    <a:pt x="16" y="79"/>
                  </a:lnTo>
                  <a:lnTo>
                    <a:pt x="14" y="79"/>
                  </a:lnTo>
                  <a:lnTo>
                    <a:pt x="16" y="79"/>
                  </a:lnTo>
                  <a:lnTo>
                    <a:pt x="14" y="79"/>
                  </a:lnTo>
                  <a:lnTo>
                    <a:pt x="16" y="79"/>
                  </a:lnTo>
                  <a:lnTo>
                    <a:pt x="18" y="79"/>
                  </a:lnTo>
                  <a:lnTo>
                    <a:pt x="19" y="79"/>
                  </a:lnTo>
                  <a:lnTo>
                    <a:pt x="19" y="77"/>
                  </a:lnTo>
                  <a:lnTo>
                    <a:pt x="19" y="75"/>
                  </a:lnTo>
                  <a:lnTo>
                    <a:pt x="18" y="75"/>
                  </a:lnTo>
                  <a:lnTo>
                    <a:pt x="19" y="75"/>
                  </a:lnTo>
                  <a:lnTo>
                    <a:pt x="18" y="75"/>
                  </a:lnTo>
                  <a:lnTo>
                    <a:pt x="18" y="73"/>
                  </a:lnTo>
                  <a:lnTo>
                    <a:pt x="19" y="73"/>
                  </a:lnTo>
                  <a:lnTo>
                    <a:pt x="19" y="72"/>
                  </a:lnTo>
                  <a:lnTo>
                    <a:pt x="19" y="70"/>
                  </a:lnTo>
                  <a:lnTo>
                    <a:pt x="19" y="68"/>
                  </a:lnTo>
                  <a:lnTo>
                    <a:pt x="21" y="68"/>
                  </a:lnTo>
                  <a:lnTo>
                    <a:pt x="23" y="68"/>
                  </a:lnTo>
                  <a:lnTo>
                    <a:pt x="23" y="66"/>
                  </a:lnTo>
                  <a:lnTo>
                    <a:pt x="23" y="64"/>
                  </a:lnTo>
                  <a:lnTo>
                    <a:pt x="23" y="62"/>
                  </a:lnTo>
                  <a:lnTo>
                    <a:pt x="23" y="64"/>
                  </a:lnTo>
                  <a:lnTo>
                    <a:pt x="21" y="64"/>
                  </a:lnTo>
                  <a:lnTo>
                    <a:pt x="21" y="66"/>
                  </a:lnTo>
                  <a:lnTo>
                    <a:pt x="19" y="66"/>
                  </a:lnTo>
                  <a:lnTo>
                    <a:pt x="21" y="66"/>
                  </a:lnTo>
                  <a:lnTo>
                    <a:pt x="19" y="66"/>
                  </a:lnTo>
                  <a:lnTo>
                    <a:pt x="19" y="64"/>
                  </a:lnTo>
                  <a:lnTo>
                    <a:pt x="19" y="62"/>
                  </a:lnTo>
                  <a:lnTo>
                    <a:pt x="19" y="60"/>
                  </a:lnTo>
                  <a:lnTo>
                    <a:pt x="18" y="60"/>
                  </a:lnTo>
                  <a:lnTo>
                    <a:pt x="18" y="58"/>
                  </a:lnTo>
                  <a:lnTo>
                    <a:pt x="18" y="56"/>
                  </a:lnTo>
                  <a:lnTo>
                    <a:pt x="18" y="58"/>
                  </a:lnTo>
                  <a:lnTo>
                    <a:pt x="18" y="56"/>
                  </a:lnTo>
                  <a:lnTo>
                    <a:pt x="18" y="58"/>
                  </a:lnTo>
                  <a:lnTo>
                    <a:pt x="18" y="56"/>
                  </a:lnTo>
                  <a:lnTo>
                    <a:pt x="18" y="54"/>
                  </a:lnTo>
                  <a:lnTo>
                    <a:pt x="18" y="56"/>
                  </a:lnTo>
                  <a:lnTo>
                    <a:pt x="18" y="54"/>
                  </a:lnTo>
                  <a:lnTo>
                    <a:pt x="16" y="54"/>
                  </a:lnTo>
                  <a:lnTo>
                    <a:pt x="18" y="54"/>
                  </a:lnTo>
                  <a:lnTo>
                    <a:pt x="16" y="54"/>
                  </a:lnTo>
                  <a:lnTo>
                    <a:pt x="16" y="52"/>
                  </a:lnTo>
                  <a:lnTo>
                    <a:pt x="14" y="52"/>
                  </a:lnTo>
                  <a:lnTo>
                    <a:pt x="16" y="52"/>
                  </a:lnTo>
                  <a:lnTo>
                    <a:pt x="14" y="52"/>
                  </a:lnTo>
                  <a:lnTo>
                    <a:pt x="16" y="52"/>
                  </a:lnTo>
                  <a:lnTo>
                    <a:pt x="14" y="52"/>
                  </a:lnTo>
                  <a:lnTo>
                    <a:pt x="14" y="50"/>
                  </a:lnTo>
                  <a:lnTo>
                    <a:pt x="12" y="50"/>
                  </a:lnTo>
                  <a:lnTo>
                    <a:pt x="12" y="48"/>
                  </a:lnTo>
                  <a:lnTo>
                    <a:pt x="12" y="50"/>
                  </a:lnTo>
                  <a:lnTo>
                    <a:pt x="12" y="48"/>
                  </a:lnTo>
                  <a:lnTo>
                    <a:pt x="12" y="47"/>
                  </a:lnTo>
                  <a:lnTo>
                    <a:pt x="10" y="47"/>
                  </a:lnTo>
                  <a:lnTo>
                    <a:pt x="10" y="45"/>
                  </a:lnTo>
                  <a:lnTo>
                    <a:pt x="8" y="45"/>
                  </a:lnTo>
                  <a:lnTo>
                    <a:pt x="8" y="43"/>
                  </a:lnTo>
                  <a:lnTo>
                    <a:pt x="6" y="43"/>
                  </a:lnTo>
                  <a:lnTo>
                    <a:pt x="6" y="41"/>
                  </a:lnTo>
                  <a:lnTo>
                    <a:pt x="6" y="39"/>
                  </a:lnTo>
                  <a:lnTo>
                    <a:pt x="6" y="37"/>
                  </a:lnTo>
                  <a:lnTo>
                    <a:pt x="6" y="35"/>
                  </a:lnTo>
                  <a:lnTo>
                    <a:pt x="4" y="35"/>
                  </a:lnTo>
                  <a:lnTo>
                    <a:pt x="4" y="33"/>
                  </a:lnTo>
                  <a:lnTo>
                    <a:pt x="4" y="35"/>
                  </a:lnTo>
                  <a:lnTo>
                    <a:pt x="2" y="35"/>
                  </a:lnTo>
                  <a:lnTo>
                    <a:pt x="2" y="33"/>
                  </a:lnTo>
                  <a:lnTo>
                    <a:pt x="2" y="31"/>
                  </a:lnTo>
                  <a:lnTo>
                    <a:pt x="0" y="31"/>
                  </a:lnTo>
                  <a:lnTo>
                    <a:pt x="0" y="29"/>
                  </a:lnTo>
                  <a:lnTo>
                    <a:pt x="2" y="29"/>
                  </a:lnTo>
                  <a:lnTo>
                    <a:pt x="2" y="31"/>
                  </a:lnTo>
                  <a:lnTo>
                    <a:pt x="4" y="31"/>
                  </a:lnTo>
                  <a:lnTo>
                    <a:pt x="4" y="29"/>
                  </a:lnTo>
                  <a:lnTo>
                    <a:pt x="4" y="31"/>
                  </a:lnTo>
                  <a:lnTo>
                    <a:pt x="4" y="29"/>
                  </a:lnTo>
                  <a:lnTo>
                    <a:pt x="6" y="29"/>
                  </a:lnTo>
                  <a:lnTo>
                    <a:pt x="6" y="27"/>
                  </a:lnTo>
                  <a:lnTo>
                    <a:pt x="6" y="25"/>
                  </a:lnTo>
                  <a:lnTo>
                    <a:pt x="6" y="24"/>
                  </a:lnTo>
                  <a:lnTo>
                    <a:pt x="6" y="22"/>
                  </a:lnTo>
                  <a:lnTo>
                    <a:pt x="8" y="22"/>
                  </a:lnTo>
                  <a:lnTo>
                    <a:pt x="8" y="20"/>
                  </a:lnTo>
                  <a:lnTo>
                    <a:pt x="8" y="18"/>
                  </a:lnTo>
                  <a:lnTo>
                    <a:pt x="8" y="20"/>
                  </a:lnTo>
                  <a:lnTo>
                    <a:pt x="8" y="18"/>
                  </a:lnTo>
                  <a:lnTo>
                    <a:pt x="8" y="16"/>
                  </a:lnTo>
                  <a:lnTo>
                    <a:pt x="8" y="14"/>
                  </a:lnTo>
                  <a:lnTo>
                    <a:pt x="10" y="14"/>
                  </a:lnTo>
                  <a:lnTo>
                    <a:pt x="12" y="14"/>
                  </a:lnTo>
                  <a:lnTo>
                    <a:pt x="12" y="12"/>
                  </a:lnTo>
                  <a:lnTo>
                    <a:pt x="10" y="12"/>
                  </a:lnTo>
                  <a:lnTo>
                    <a:pt x="12" y="12"/>
                  </a:lnTo>
                  <a:lnTo>
                    <a:pt x="10" y="12"/>
                  </a:lnTo>
                  <a:lnTo>
                    <a:pt x="10" y="10"/>
                  </a:lnTo>
                  <a:lnTo>
                    <a:pt x="12" y="10"/>
                  </a:lnTo>
                  <a:lnTo>
                    <a:pt x="10" y="10"/>
                  </a:lnTo>
                  <a:lnTo>
                    <a:pt x="12" y="10"/>
                  </a:lnTo>
                  <a:lnTo>
                    <a:pt x="12" y="12"/>
                  </a:lnTo>
                  <a:lnTo>
                    <a:pt x="12" y="10"/>
                  </a:lnTo>
                  <a:lnTo>
                    <a:pt x="12" y="12"/>
                  </a:lnTo>
                  <a:lnTo>
                    <a:pt x="14" y="12"/>
                  </a:lnTo>
                  <a:lnTo>
                    <a:pt x="16" y="12"/>
                  </a:lnTo>
                  <a:lnTo>
                    <a:pt x="18" y="12"/>
                  </a:lnTo>
                  <a:lnTo>
                    <a:pt x="19" y="12"/>
                  </a:lnTo>
                  <a:lnTo>
                    <a:pt x="21" y="12"/>
                  </a:lnTo>
                  <a:lnTo>
                    <a:pt x="21" y="10"/>
                  </a:lnTo>
                  <a:lnTo>
                    <a:pt x="23" y="10"/>
                  </a:lnTo>
                  <a:lnTo>
                    <a:pt x="23" y="12"/>
                  </a:lnTo>
                  <a:lnTo>
                    <a:pt x="25" y="12"/>
                  </a:lnTo>
                  <a:lnTo>
                    <a:pt x="25" y="10"/>
                  </a:lnTo>
                  <a:lnTo>
                    <a:pt x="25" y="8"/>
                  </a:lnTo>
                  <a:lnTo>
                    <a:pt x="25" y="6"/>
                  </a:lnTo>
                  <a:lnTo>
                    <a:pt x="27" y="6"/>
                  </a:lnTo>
                  <a:lnTo>
                    <a:pt x="29" y="6"/>
                  </a:lnTo>
                  <a:lnTo>
                    <a:pt x="31" y="6"/>
                  </a:lnTo>
                  <a:lnTo>
                    <a:pt x="33" y="6"/>
                  </a:lnTo>
                  <a:lnTo>
                    <a:pt x="33" y="4"/>
                  </a:lnTo>
                  <a:lnTo>
                    <a:pt x="33" y="6"/>
                  </a:lnTo>
                  <a:lnTo>
                    <a:pt x="33" y="4"/>
                  </a:lnTo>
                  <a:lnTo>
                    <a:pt x="33" y="2"/>
                  </a:lnTo>
                  <a:lnTo>
                    <a:pt x="31" y="2"/>
                  </a:lnTo>
                  <a:lnTo>
                    <a:pt x="33" y="2"/>
                  </a:lnTo>
                  <a:lnTo>
                    <a:pt x="35" y="2"/>
                  </a:lnTo>
                  <a:lnTo>
                    <a:pt x="37" y="2"/>
                  </a:lnTo>
                  <a:lnTo>
                    <a:pt x="37" y="0"/>
                  </a:lnTo>
                  <a:lnTo>
                    <a:pt x="39" y="0"/>
                  </a:lnTo>
                  <a:lnTo>
                    <a:pt x="41" y="0"/>
                  </a:lnTo>
                  <a:lnTo>
                    <a:pt x="41" y="2"/>
                  </a:lnTo>
                  <a:lnTo>
                    <a:pt x="41" y="0"/>
                  </a:lnTo>
                  <a:lnTo>
                    <a:pt x="41" y="2"/>
                  </a:lnTo>
                  <a:lnTo>
                    <a:pt x="41" y="0"/>
                  </a:lnTo>
                  <a:lnTo>
                    <a:pt x="41" y="2"/>
                  </a:lnTo>
                  <a:close/>
                  <a:moveTo>
                    <a:pt x="14" y="187"/>
                  </a:moveTo>
                  <a:lnTo>
                    <a:pt x="16" y="187"/>
                  </a:lnTo>
                  <a:lnTo>
                    <a:pt x="16" y="189"/>
                  </a:lnTo>
                  <a:lnTo>
                    <a:pt x="16" y="187"/>
                  </a:lnTo>
                  <a:lnTo>
                    <a:pt x="18" y="187"/>
                  </a:lnTo>
                  <a:lnTo>
                    <a:pt x="18" y="189"/>
                  </a:lnTo>
                  <a:lnTo>
                    <a:pt x="16" y="189"/>
                  </a:lnTo>
                  <a:lnTo>
                    <a:pt x="18" y="189"/>
                  </a:lnTo>
                  <a:lnTo>
                    <a:pt x="16" y="189"/>
                  </a:lnTo>
                  <a:lnTo>
                    <a:pt x="18" y="189"/>
                  </a:lnTo>
                  <a:lnTo>
                    <a:pt x="16" y="189"/>
                  </a:lnTo>
                  <a:lnTo>
                    <a:pt x="16" y="191"/>
                  </a:lnTo>
                  <a:lnTo>
                    <a:pt x="18" y="191"/>
                  </a:lnTo>
                  <a:lnTo>
                    <a:pt x="16" y="191"/>
                  </a:lnTo>
                  <a:lnTo>
                    <a:pt x="18" y="191"/>
                  </a:lnTo>
                  <a:lnTo>
                    <a:pt x="16" y="191"/>
                  </a:lnTo>
                  <a:lnTo>
                    <a:pt x="18" y="191"/>
                  </a:lnTo>
                  <a:lnTo>
                    <a:pt x="16" y="191"/>
                  </a:lnTo>
                  <a:lnTo>
                    <a:pt x="16" y="193"/>
                  </a:lnTo>
                  <a:lnTo>
                    <a:pt x="16" y="191"/>
                  </a:lnTo>
                  <a:lnTo>
                    <a:pt x="16" y="193"/>
                  </a:lnTo>
                  <a:lnTo>
                    <a:pt x="14" y="193"/>
                  </a:lnTo>
                  <a:lnTo>
                    <a:pt x="14" y="191"/>
                  </a:lnTo>
                  <a:lnTo>
                    <a:pt x="14" y="189"/>
                  </a:lnTo>
                  <a:lnTo>
                    <a:pt x="14" y="187"/>
                  </a:lnTo>
                  <a:lnTo>
                    <a:pt x="14" y="189"/>
                  </a:lnTo>
                  <a:lnTo>
                    <a:pt x="14" y="187"/>
                  </a:lnTo>
                  <a:lnTo>
                    <a:pt x="16" y="187"/>
                  </a:lnTo>
                  <a:lnTo>
                    <a:pt x="14" y="187"/>
                  </a:lnTo>
                  <a:close/>
                  <a:moveTo>
                    <a:pt x="39" y="166"/>
                  </a:moveTo>
                  <a:lnTo>
                    <a:pt x="41" y="166"/>
                  </a:lnTo>
                  <a:lnTo>
                    <a:pt x="41" y="168"/>
                  </a:lnTo>
                  <a:lnTo>
                    <a:pt x="39" y="168"/>
                  </a:lnTo>
                  <a:lnTo>
                    <a:pt x="39" y="166"/>
                  </a:lnTo>
                  <a:close/>
                  <a:moveTo>
                    <a:pt x="73" y="127"/>
                  </a:moveTo>
                  <a:lnTo>
                    <a:pt x="75" y="127"/>
                  </a:lnTo>
                  <a:lnTo>
                    <a:pt x="75" y="131"/>
                  </a:lnTo>
                  <a:lnTo>
                    <a:pt x="73" y="131"/>
                  </a:lnTo>
                  <a:lnTo>
                    <a:pt x="73" y="127"/>
                  </a:lnTo>
                  <a:close/>
                  <a:moveTo>
                    <a:pt x="25" y="191"/>
                  </a:moveTo>
                  <a:lnTo>
                    <a:pt x="27" y="191"/>
                  </a:lnTo>
                  <a:lnTo>
                    <a:pt x="27" y="194"/>
                  </a:lnTo>
                  <a:lnTo>
                    <a:pt x="25" y="194"/>
                  </a:lnTo>
                  <a:lnTo>
                    <a:pt x="25" y="191"/>
                  </a:lnTo>
                  <a:close/>
                  <a:moveTo>
                    <a:pt x="33" y="208"/>
                  </a:moveTo>
                  <a:lnTo>
                    <a:pt x="35" y="208"/>
                  </a:lnTo>
                  <a:lnTo>
                    <a:pt x="35" y="212"/>
                  </a:lnTo>
                  <a:lnTo>
                    <a:pt x="33" y="212"/>
                  </a:lnTo>
                  <a:lnTo>
                    <a:pt x="33" y="208"/>
                  </a:lnTo>
                  <a:close/>
                  <a:moveTo>
                    <a:pt x="39" y="162"/>
                  </a:moveTo>
                  <a:lnTo>
                    <a:pt x="41" y="162"/>
                  </a:lnTo>
                  <a:lnTo>
                    <a:pt x="41" y="164"/>
                  </a:lnTo>
                  <a:lnTo>
                    <a:pt x="39" y="164"/>
                  </a:lnTo>
                  <a:lnTo>
                    <a:pt x="39" y="162"/>
                  </a:lnTo>
                  <a:close/>
                  <a:moveTo>
                    <a:pt x="77" y="133"/>
                  </a:moveTo>
                  <a:lnTo>
                    <a:pt x="77" y="137"/>
                  </a:lnTo>
                  <a:lnTo>
                    <a:pt x="77" y="133"/>
                  </a:lnTo>
                  <a:close/>
                  <a:moveTo>
                    <a:pt x="44" y="196"/>
                  </a:moveTo>
                  <a:lnTo>
                    <a:pt x="46" y="196"/>
                  </a:lnTo>
                  <a:lnTo>
                    <a:pt x="46" y="200"/>
                  </a:lnTo>
                  <a:lnTo>
                    <a:pt x="44" y="200"/>
                  </a:lnTo>
                  <a:lnTo>
                    <a:pt x="44" y="196"/>
                  </a:lnTo>
                  <a:close/>
                  <a:moveTo>
                    <a:pt x="14" y="171"/>
                  </a:moveTo>
                  <a:lnTo>
                    <a:pt x="16" y="171"/>
                  </a:lnTo>
                  <a:lnTo>
                    <a:pt x="16" y="173"/>
                  </a:lnTo>
                  <a:lnTo>
                    <a:pt x="14" y="173"/>
                  </a:lnTo>
                  <a:lnTo>
                    <a:pt x="14" y="171"/>
                  </a:lnTo>
                  <a:close/>
                  <a:moveTo>
                    <a:pt x="18" y="187"/>
                  </a:moveTo>
                  <a:lnTo>
                    <a:pt x="19" y="187"/>
                  </a:lnTo>
                  <a:lnTo>
                    <a:pt x="19" y="191"/>
                  </a:lnTo>
                  <a:lnTo>
                    <a:pt x="18" y="191"/>
                  </a:lnTo>
                  <a:lnTo>
                    <a:pt x="18" y="187"/>
                  </a:lnTo>
                  <a:close/>
                  <a:moveTo>
                    <a:pt x="25" y="194"/>
                  </a:moveTo>
                  <a:lnTo>
                    <a:pt x="27" y="194"/>
                  </a:lnTo>
                  <a:lnTo>
                    <a:pt x="27" y="196"/>
                  </a:lnTo>
                  <a:lnTo>
                    <a:pt x="25" y="196"/>
                  </a:lnTo>
                  <a:lnTo>
                    <a:pt x="25" y="194"/>
                  </a:lnTo>
                  <a:close/>
                  <a:moveTo>
                    <a:pt x="29" y="171"/>
                  </a:moveTo>
                  <a:lnTo>
                    <a:pt x="29" y="173"/>
                  </a:lnTo>
                  <a:lnTo>
                    <a:pt x="29" y="171"/>
                  </a:lnTo>
                  <a:close/>
                  <a:moveTo>
                    <a:pt x="25" y="194"/>
                  </a:moveTo>
                  <a:lnTo>
                    <a:pt x="27" y="194"/>
                  </a:lnTo>
                  <a:lnTo>
                    <a:pt x="25" y="194"/>
                  </a:lnTo>
                  <a:close/>
                  <a:moveTo>
                    <a:pt x="14" y="173"/>
                  </a:moveTo>
                  <a:lnTo>
                    <a:pt x="16" y="173"/>
                  </a:lnTo>
                  <a:lnTo>
                    <a:pt x="16" y="175"/>
                  </a:lnTo>
                  <a:lnTo>
                    <a:pt x="14" y="175"/>
                  </a:lnTo>
                  <a:lnTo>
                    <a:pt x="14" y="173"/>
                  </a:lnTo>
                  <a:close/>
                  <a:moveTo>
                    <a:pt x="19" y="187"/>
                  </a:moveTo>
                  <a:lnTo>
                    <a:pt x="19" y="189"/>
                  </a:lnTo>
                  <a:lnTo>
                    <a:pt x="19" y="187"/>
                  </a:lnTo>
                  <a:close/>
                  <a:moveTo>
                    <a:pt x="27" y="210"/>
                  </a:moveTo>
                  <a:lnTo>
                    <a:pt x="29" y="210"/>
                  </a:lnTo>
                  <a:lnTo>
                    <a:pt x="27" y="210"/>
                  </a:lnTo>
                  <a:close/>
                  <a:moveTo>
                    <a:pt x="29" y="210"/>
                  </a:moveTo>
                  <a:lnTo>
                    <a:pt x="29" y="212"/>
                  </a:lnTo>
                  <a:lnTo>
                    <a:pt x="29" y="210"/>
                  </a:lnTo>
                  <a:close/>
                  <a:moveTo>
                    <a:pt x="23" y="191"/>
                  </a:moveTo>
                  <a:lnTo>
                    <a:pt x="25" y="191"/>
                  </a:lnTo>
                  <a:lnTo>
                    <a:pt x="25" y="193"/>
                  </a:lnTo>
                  <a:lnTo>
                    <a:pt x="23" y="193"/>
                  </a:lnTo>
                  <a:lnTo>
                    <a:pt x="23" y="191"/>
                  </a:lnTo>
                  <a:close/>
                  <a:moveTo>
                    <a:pt x="14" y="169"/>
                  </a:moveTo>
                  <a:lnTo>
                    <a:pt x="16" y="169"/>
                  </a:lnTo>
                  <a:lnTo>
                    <a:pt x="16" y="171"/>
                  </a:lnTo>
                  <a:lnTo>
                    <a:pt x="14" y="171"/>
                  </a:lnTo>
                  <a:lnTo>
                    <a:pt x="14" y="169"/>
                  </a:lnTo>
                  <a:close/>
                  <a:moveTo>
                    <a:pt x="16" y="162"/>
                  </a:moveTo>
                  <a:lnTo>
                    <a:pt x="16" y="164"/>
                  </a:lnTo>
                  <a:lnTo>
                    <a:pt x="16" y="162"/>
                  </a:lnTo>
                  <a:close/>
                  <a:moveTo>
                    <a:pt x="35" y="166"/>
                  </a:moveTo>
                  <a:lnTo>
                    <a:pt x="35" y="168"/>
                  </a:lnTo>
                  <a:lnTo>
                    <a:pt x="35" y="166"/>
                  </a:lnTo>
                  <a:close/>
                  <a:moveTo>
                    <a:pt x="50" y="120"/>
                  </a:moveTo>
                  <a:lnTo>
                    <a:pt x="52" y="120"/>
                  </a:lnTo>
                  <a:lnTo>
                    <a:pt x="50" y="120"/>
                  </a:lnTo>
                  <a:close/>
                  <a:moveTo>
                    <a:pt x="75" y="131"/>
                  </a:moveTo>
                  <a:lnTo>
                    <a:pt x="77" y="131"/>
                  </a:lnTo>
                  <a:lnTo>
                    <a:pt x="77" y="133"/>
                  </a:lnTo>
                  <a:lnTo>
                    <a:pt x="75" y="133"/>
                  </a:lnTo>
                  <a:lnTo>
                    <a:pt x="75" y="131"/>
                  </a:lnTo>
                  <a:close/>
                  <a:moveTo>
                    <a:pt x="29" y="171"/>
                  </a:moveTo>
                  <a:lnTo>
                    <a:pt x="31" y="171"/>
                  </a:lnTo>
                  <a:lnTo>
                    <a:pt x="29" y="171"/>
                  </a:lnTo>
                  <a:close/>
                  <a:moveTo>
                    <a:pt x="33" y="202"/>
                  </a:moveTo>
                  <a:lnTo>
                    <a:pt x="35" y="202"/>
                  </a:lnTo>
                  <a:lnTo>
                    <a:pt x="33" y="202"/>
                  </a:lnTo>
                  <a:close/>
                  <a:moveTo>
                    <a:pt x="18" y="183"/>
                  </a:moveTo>
                  <a:lnTo>
                    <a:pt x="18" y="185"/>
                  </a:lnTo>
                  <a:lnTo>
                    <a:pt x="18" y="183"/>
                  </a:lnTo>
                  <a:close/>
                  <a:moveTo>
                    <a:pt x="39" y="168"/>
                  </a:moveTo>
                  <a:lnTo>
                    <a:pt x="39" y="169"/>
                  </a:lnTo>
                  <a:lnTo>
                    <a:pt x="39" y="168"/>
                  </a:lnTo>
                  <a:close/>
                  <a:moveTo>
                    <a:pt x="29" y="171"/>
                  </a:moveTo>
                  <a:lnTo>
                    <a:pt x="31" y="171"/>
                  </a:lnTo>
                  <a:lnTo>
                    <a:pt x="29" y="171"/>
                  </a:lnTo>
                  <a:close/>
                  <a:moveTo>
                    <a:pt x="33" y="200"/>
                  </a:moveTo>
                  <a:lnTo>
                    <a:pt x="35" y="200"/>
                  </a:lnTo>
                  <a:lnTo>
                    <a:pt x="35" y="202"/>
                  </a:lnTo>
                  <a:lnTo>
                    <a:pt x="33" y="202"/>
                  </a:lnTo>
                  <a:lnTo>
                    <a:pt x="33" y="200"/>
                  </a:lnTo>
                  <a:close/>
                  <a:moveTo>
                    <a:pt x="46" y="200"/>
                  </a:moveTo>
                  <a:lnTo>
                    <a:pt x="48" y="200"/>
                  </a:lnTo>
                  <a:lnTo>
                    <a:pt x="48" y="202"/>
                  </a:lnTo>
                  <a:lnTo>
                    <a:pt x="46" y="202"/>
                  </a:lnTo>
                  <a:lnTo>
                    <a:pt x="46" y="200"/>
                  </a:lnTo>
                  <a:close/>
                  <a:moveTo>
                    <a:pt x="60" y="121"/>
                  </a:moveTo>
                  <a:lnTo>
                    <a:pt x="62" y="121"/>
                  </a:lnTo>
                  <a:lnTo>
                    <a:pt x="60" y="121"/>
                  </a:lnTo>
                  <a:close/>
                  <a:moveTo>
                    <a:pt x="35" y="164"/>
                  </a:moveTo>
                  <a:lnTo>
                    <a:pt x="35" y="166"/>
                  </a:lnTo>
                  <a:lnTo>
                    <a:pt x="35" y="164"/>
                  </a:lnTo>
                  <a:close/>
                  <a:moveTo>
                    <a:pt x="27" y="210"/>
                  </a:moveTo>
                  <a:lnTo>
                    <a:pt x="27" y="212"/>
                  </a:lnTo>
                  <a:lnTo>
                    <a:pt x="27" y="210"/>
                  </a:lnTo>
                  <a:close/>
                  <a:moveTo>
                    <a:pt x="16" y="191"/>
                  </a:moveTo>
                  <a:lnTo>
                    <a:pt x="18" y="191"/>
                  </a:lnTo>
                  <a:lnTo>
                    <a:pt x="16" y="191"/>
                  </a:lnTo>
                  <a:close/>
                  <a:moveTo>
                    <a:pt x="4" y="179"/>
                  </a:moveTo>
                  <a:lnTo>
                    <a:pt x="6" y="179"/>
                  </a:lnTo>
                  <a:lnTo>
                    <a:pt x="4" y="179"/>
                  </a:lnTo>
                  <a:close/>
                  <a:moveTo>
                    <a:pt x="35" y="168"/>
                  </a:moveTo>
                  <a:lnTo>
                    <a:pt x="35" y="169"/>
                  </a:lnTo>
                  <a:lnTo>
                    <a:pt x="35" y="168"/>
                  </a:lnTo>
                  <a:close/>
                  <a:moveTo>
                    <a:pt x="18" y="160"/>
                  </a:moveTo>
                  <a:lnTo>
                    <a:pt x="18" y="162"/>
                  </a:lnTo>
                  <a:lnTo>
                    <a:pt x="18" y="160"/>
                  </a:lnTo>
                  <a:close/>
                  <a:moveTo>
                    <a:pt x="25" y="191"/>
                  </a:moveTo>
                  <a:lnTo>
                    <a:pt x="25" y="193"/>
                  </a:lnTo>
                  <a:lnTo>
                    <a:pt x="25" y="191"/>
                  </a:lnTo>
                  <a:close/>
                  <a:moveTo>
                    <a:pt x="71" y="123"/>
                  </a:moveTo>
                  <a:lnTo>
                    <a:pt x="73" y="123"/>
                  </a:lnTo>
                  <a:lnTo>
                    <a:pt x="71" y="123"/>
                  </a:lnTo>
                  <a:close/>
                  <a:moveTo>
                    <a:pt x="18" y="160"/>
                  </a:moveTo>
                  <a:lnTo>
                    <a:pt x="19" y="160"/>
                  </a:lnTo>
                  <a:lnTo>
                    <a:pt x="19" y="162"/>
                  </a:lnTo>
                  <a:lnTo>
                    <a:pt x="18" y="162"/>
                  </a:lnTo>
                  <a:lnTo>
                    <a:pt x="18" y="160"/>
                  </a:lnTo>
                  <a:close/>
                  <a:moveTo>
                    <a:pt x="37" y="208"/>
                  </a:moveTo>
                  <a:lnTo>
                    <a:pt x="37" y="210"/>
                  </a:lnTo>
                  <a:lnTo>
                    <a:pt x="37" y="208"/>
                  </a:lnTo>
                  <a:close/>
                  <a:moveTo>
                    <a:pt x="31" y="146"/>
                  </a:moveTo>
                  <a:lnTo>
                    <a:pt x="33" y="146"/>
                  </a:lnTo>
                  <a:lnTo>
                    <a:pt x="31" y="146"/>
                  </a:lnTo>
                  <a:close/>
                  <a:moveTo>
                    <a:pt x="29" y="198"/>
                  </a:moveTo>
                  <a:lnTo>
                    <a:pt x="29" y="200"/>
                  </a:lnTo>
                  <a:lnTo>
                    <a:pt x="29" y="198"/>
                  </a:lnTo>
                  <a:close/>
                  <a:moveTo>
                    <a:pt x="18" y="183"/>
                  </a:moveTo>
                  <a:lnTo>
                    <a:pt x="18" y="185"/>
                  </a:lnTo>
                  <a:lnTo>
                    <a:pt x="18" y="183"/>
                  </a:lnTo>
                  <a:close/>
                  <a:moveTo>
                    <a:pt x="37" y="206"/>
                  </a:moveTo>
                  <a:lnTo>
                    <a:pt x="37" y="208"/>
                  </a:lnTo>
                  <a:lnTo>
                    <a:pt x="37" y="206"/>
                  </a:lnTo>
                  <a:close/>
                  <a:moveTo>
                    <a:pt x="19" y="156"/>
                  </a:moveTo>
                  <a:lnTo>
                    <a:pt x="19" y="158"/>
                  </a:lnTo>
                  <a:lnTo>
                    <a:pt x="19" y="156"/>
                  </a:lnTo>
                  <a:close/>
                  <a:moveTo>
                    <a:pt x="33" y="198"/>
                  </a:moveTo>
                  <a:lnTo>
                    <a:pt x="33" y="200"/>
                  </a:lnTo>
                  <a:lnTo>
                    <a:pt x="33" y="198"/>
                  </a:lnTo>
                  <a:close/>
                  <a:moveTo>
                    <a:pt x="37" y="208"/>
                  </a:moveTo>
                  <a:lnTo>
                    <a:pt x="39" y="208"/>
                  </a:lnTo>
                  <a:lnTo>
                    <a:pt x="37" y="208"/>
                  </a:lnTo>
                  <a:close/>
                  <a:moveTo>
                    <a:pt x="29" y="154"/>
                  </a:moveTo>
                  <a:lnTo>
                    <a:pt x="31" y="154"/>
                  </a:lnTo>
                  <a:lnTo>
                    <a:pt x="29" y="154"/>
                  </a:lnTo>
                  <a:close/>
                  <a:moveTo>
                    <a:pt x="4" y="181"/>
                  </a:moveTo>
                  <a:lnTo>
                    <a:pt x="6" y="181"/>
                  </a:lnTo>
                  <a:lnTo>
                    <a:pt x="4" y="181"/>
                  </a:lnTo>
                  <a:close/>
                  <a:moveTo>
                    <a:pt x="19" y="156"/>
                  </a:moveTo>
                  <a:lnTo>
                    <a:pt x="19" y="158"/>
                  </a:lnTo>
                  <a:lnTo>
                    <a:pt x="19" y="156"/>
                  </a:lnTo>
                  <a:close/>
                  <a:moveTo>
                    <a:pt x="37" y="208"/>
                  </a:moveTo>
                  <a:lnTo>
                    <a:pt x="39" y="208"/>
                  </a:lnTo>
                  <a:lnTo>
                    <a:pt x="37" y="208"/>
                  </a:lnTo>
                  <a:close/>
                  <a:moveTo>
                    <a:pt x="18" y="185"/>
                  </a:moveTo>
                  <a:lnTo>
                    <a:pt x="18" y="187"/>
                  </a:lnTo>
                  <a:lnTo>
                    <a:pt x="18" y="185"/>
                  </a:lnTo>
                  <a:close/>
                  <a:moveTo>
                    <a:pt x="4" y="179"/>
                  </a:moveTo>
                  <a:lnTo>
                    <a:pt x="6" y="179"/>
                  </a:lnTo>
                  <a:lnTo>
                    <a:pt x="4" y="179"/>
                  </a:lnTo>
                  <a:close/>
                  <a:moveTo>
                    <a:pt x="4" y="181"/>
                  </a:moveTo>
                  <a:lnTo>
                    <a:pt x="6" y="181"/>
                  </a:lnTo>
                  <a:lnTo>
                    <a:pt x="4" y="181"/>
                  </a:lnTo>
                  <a:close/>
                  <a:moveTo>
                    <a:pt x="71" y="125"/>
                  </a:moveTo>
                  <a:lnTo>
                    <a:pt x="73" y="125"/>
                  </a:lnTo>
                  <a:lnTo>
                    <a:pt x="71" y="125"/>
                  </a:lnTo>
                  <a:close/>
                  <a:moveTo>
                    <a:pt x="31" y="202"/>
                  </a:moveTo>
                  <a:lnTo>
                    <a:pt x="31" y="204"/>
                  </a:lnTo>
                  <a:lnTo>
                    <a:pt x="31" y="202"/>
                  </a:lnTo>
                  <a:close/>
                  <a:moveTo>
                    <a:pt x="75" y="131"/>
                  </a:moveTo>
                  <a:lnTo>
                    <a:pt x="77" y="131"/>
                  </a:lnTo>
                  <a:lnTo>
                    <a:pt x="75" y="131"/>
                  </a:lnTo>
                  <a:close/>
                  <a:moveTo>
                    <a:pt x="18" y="189"/>
                  </a:moveTo>
                  <a:lnTo>
                    <a:pt x="18" y="191"/>
                  </a:lnTo>
                  <a:lnTo>
                    <a:pt x="18" y="189"/>
                  </a:lnTo>
                  <a:close/>
                  <a:moveTo>
                    <a:pt x="16" y="191"/>
                  </a:moveTo>
                  <a:lnTo>
                    <a:pt x="16" y="193"/>
                  </a:lnTo>
                  <a:lnTo>
                    <a:pt x="16" y="191"/>
                  </a:lnTo>
                  <a:close/>
                  <a:moveTo>
                    <a:pt x="21" y="189"/>
                  </a:moveTo>
                  <a:lnTo>
                    <a:pt x="21" y="191"/>
                  </a:lnTo>
                  <a:lnTo>
                    <a:pt x="21" y="189"/>
                  </a:lnTo>
                  <a:close/>
                  <a:moveTo>
                    <a:pt x="18" y="160"/>
                  </a:moveTo>
                  <a:lnTo>
                    <a:pt x="18" y="162"/>
                  </a:lnTo>
                  <a:lnTo>
                    <a:pt x="18" y="160"/>
                  </a:lnTo>
                  <a:close/>
                  <a:moveTo>
                    <a:pt x="27" y="189"/>
                  </a:moveTo>
                  <a:lnTo>
                    <a:pt x="27" y="191"/>
                  </a:lnTo>
                  <a:lnTo>
                    <a:pt x="27" y="189"/>
                  </a:lnTo>
                  <a:close/>
                  <a:moveTo>
                    <a:pt x="52" y="112"/>
                  </a:moveTo>
                  <a:lnTo>
                    <a:pt x="52" y="114"/>
                  </a:lnTo>
                  <a:lnTo>
                    <a:pt x="52" y="112"/>
                  </a:lnTo>
                  <a:close/>
                  <a:moveTo>
                    <a:pt x="25" y="191"/>
                  </a:moveTo>
                  <a:lnTo>
                    <a:pt x="27" y="191"/>
                  </a:lnTo>
                  <a:lnTo>
                    <a:pt x="25" y="191"/>
                  </a:lnTo>
                  <a:close/>
                  <a:moveTo>
                    <a:pt x="39" y="125"/>
                  </a:moveTo>
                  <a:lnTo>
                    <a:pt x="41" y="125"/>
                  </a:lnTo>
                  <a:lnTo>
                    <a:pt x="39" y="125"/>
                  </a:lnTo>
                  <a:close/>
                  <a:moveTo>
                    <a:pt x="37" y="206"/>
                  </a:moveTo>
                  <a:lnTo>
                    <a:pt x="37" y="208"/>
                  </a:lnTo>
                  <a:lnTo>
                    <a:pt x="37" y="206"/>
                  </a:lnTo>
                  <a:close/>
                  <a:moveTo>
                    <a:pt x="35" y="210"/>
                  </a:moveTo>
                  <a:lnTo>
                    <a:pt x="35" y="212"/>
                  </a:lnTo>
                  <a:lnTo>
                    <a:pt x="35" y="210"/>
                  </a:lnTo>
                  <a:close/>
                  <a:moveTo>
                    <a:pt x="35" y="210"/>
                  </a:moveTo>
                  <a:lnTo>
                    <a:pt x="35" y="212"/>
                  </a:lnTo>
                  <a:lnTo>
                    <a:pt x="35" y="210"/>
                  </a:lnTo>
                  <a:close/>
                  <a:moveTo>
                    <a:pt x="19" y="187"/>
                  </a:moveTo>
                  <a:lnTo>
                    <a:pt x="21" y="187"/>
                  </a:lnTo>
                  <a:lnTo>
                    <a:pt x="19" y="187"/>
                  </a:lnTo>
                  <a:close/>
                  <a:moveTo>
                    <a:pt x="19" y="185"/>
                  </a:moveTo>
                  <a:lnTo>
                    <a:pt x="21" y="185"/>
                  </a:lnTo>
                  <a:lnTo>
                    <a:pt x="19" y="185"/>
                  </a:lnTo>
                  <a:close/>
                  <a:moveTo>
                    <a:pt x="19" y="185"/>
                  </a:moveTo>
                  <a:lnTo>
                    <a:pt x="19" y="187"/>
                  </a:lnTo>
                  <a:lnTo>
                    <a:pt x="19" y="185"/>
                  </a:lnTo>
                  <a:close/>
                  <a:moveTo>
                    <a:pt x="16" y="166"/>
                  </a:moveTo>
                  <a:lnTo>
                    <a:pt x="16" y="168"/>
                  </a:lnTo>
                  <a:lnTo>
                    <a:pt x="16" y="166"/>
                  </a:lnTo>
                  <a:close/>
                  <a:moveTo>
                    <a:pt x="18" y="162"/>
                  </a:moveTo>
                  <a:lnTo>
                    <a:pt x="18" y="164"/>
                  </a:lnTo>
                  <a:lnTo>
                    <a:pt x="18" y="162"/>
                  </a:lnTo>
                  <a:close/>
                  <a:moveTo>
                    <a:pt x="14" y="193"/>
                  </a:moveTo>
                  <a:lnTo>
                    <a:pt x="16" y="193"/>
                  </a:lnTo>
                  <a:lnTo>
                    <a:pt x="14" y="193"/>
                  </a:lnTo>
                  <a:close/>
                  <a:moveTo>
                    <a:pt x="64" y="120"/>
                  </a:moveTo>
                  <a:lnTo>
                    <a:pt x="64" y="121"/>
                  </a:lnTo>
                  <a:lnTo>
                    <a:pt x="64" y="120"/>
                  </a:lnTo>
                  <a:close/>
                  <a:moveTo>
                    <a:pt x="44" y="196"/>
                  </a:moveTo>
                  <a:lnTo>
                    <a:pt x="44" y="198"/>
                  </a:lnTo>
                  <a:lnTo>
                    <a:pt x="44" y="196"/>
                  </a:lnTo>
                  <a:close/>
                  <a:moveTo>
                    <a:pt x="21" y="185"/>
                  </a:moveTo>
                  <a:lnTo>
                    <a:pt x="21" y="187"/>
                  </a:lnTo>
                  <a:lnTo>
                    <a:pt x="21" y="185"/>
                  </a:lnTo>
                  <a:close/>
                  <a:moveTo>
                    <a:pt x="37" y="208"/>
                  </a:moveTo>
                  <a:lnTo>
                    <a:pt x="37" y="210"/>
                  </a:lnTo>
                  <a:lnTo>
                    <a:pt x="37" y="208"/>
                  </a:lnTo>
                  <a:close/>
                  <a:moveTo>
                    <a:pt x="50" y="116"/>
                  </a:moveTo>
                  <a:lnTo>
                    <a:pt x="52" y="116"/>
                  </a:lnTo>
                  <a:lnTo>
                    <a:pt x="50" y="116"/>
                  </a:lnTo>
                  <a:close/>
                  <a:moveTo>
                    <a:pt x="14" y="193"/>
                  </a:moveTo>
                  <a:lnTo>
                    <a:pt x="16" y="193"/>
                  </a:lnTo>
                  <a:lnTo>
                    <a:pt x="14" y="193"/>
                  </a:lnTo>
                  <a:close/>
                  <a:moveTo>
                    <a:pt x="39" y="208"/>
                  </a:moveTo>
                  <a:lnTo>
                    <a:pt x="39" y="210"/>
                  </a:lnTo>
                  <a:lnTo>
                    <a:pt x="39" y="208"/>
                  </a:lnTo>
                  <a:close/>
                  <a:moveTo>
                    <a:pt x="4" y="181"/>
                  </a:moveTo>
                  <a:lnTo>
                    <a:pt x="6" y="181"/>
                  </a:lnTo>
                  <a:lnTo>
                    <a:pt x="4" y="181"/>
                  </a:lnTo>
                  <a:close/>
                  <a:moveTo>
                    <a:pt x="52" y="120"/>
                  </a:moveTo>
                  <a:lnTo>
                    <a:pt x="52" y="121"/>
                  </a:lnTo>
                  <a:lnTo>
                    <a:pt x="52" y="120"/>
                  </a:lnTo>
                  <a:close/>
                  <a:moveTo>
                    <a:pt x="35" y="164"/>
                  </a:moveTo>
                  <a:lnTo>
                    <a:pt x="35" y="166"/>
                  </a:lnTo>
                  <a:lnTo>
                    <a:pt x="35" y="164"/>
                  </a:lnTo>
                  <a:close/>
                  <a:moveTo>
                    <a:pt x="18" y="189"/>
                  </a:moveTo>
                  <a:lnTo>
                    <a:pt x="18" y="191"/>
                  </a:lnTo>
                  <a:lnTo>
                    <a:pt x="18" y="189"/>
                  </a:lnTo>
                  <a:close/>
                  <a:moveTo>
                    <a:pt x="35" y="166"/>
                  </a:moveTo>
                  <a:lnTo>
                    <a:pt x="35" y="168"/>
                  </a:lnTo>
                  <a:lnTo>
                    <a:pt x="35" y="166"/>
                  </a:lnTo>
                  <a:close/>
                  <a:moveTo>
                    <a:pt x="27" y="158"/>
                  </a:moveTo>
                  <a:lnTo>
                    <a:pt x="29" y="158"/>
                  </a:lnTo>
                  <a:lnTo>
                    <a:pt x="27" y="158"/>
                  </a:lnTo>
                  <a:close/>
                  <a:moveTo>
                    <a:pt x="75" y="131"/>
                  </a:moveTo>
                  <a:lnTo>
                    <a:pt x="75" y="133"/>
                  </a:lnTo>
                  <a:lnTo>
                    <a:pt x="75" y="131"/>
                  </a:lnTo>
                  <a:close/>
                  <a:moveTo>
                    <a:pt x="39" y="125"/>
                  </a:moveTo>
                  <a:lnTo>
                    <a:pt x="41" y="125"/>
                  </a:lnTo>
                  <a:lnTo>
                    <a:pt x="39" y="125"/>
                  </a:lnTo>
                  <a:close/>
                  <a:moveTo>
                    <a:pt x="33" y="204"/>
                  </a:moveTo>
                  <a:lnTo>
                    <a:pt x="33" y="206"/>
                  </a:lnTo>
                  <a:lnTo>
                    <a:pt x="33" y="204"/>
                  </a:lnTo>
                  <a:close/>
                  <a:moveTo>
                    <a:pt x="35" y="162"/>
                  </a:moveTo>
                  <a:lnTo>
                    <a:pt x="35" y="164"/>
                  </a:lnTo>
                  <a:lnTo>
                    <a:pt x="35" y="162"/>
                  </a:lnTo>
                  <a:close/>
                  <a:moveTo>
                    <a:pt x="35" y="162"/>
                  </a:moveTo>
                  <a:lnTo>
                    <a:pt x="35" y="164"/>
                  </a:lnTo>
                  <a:lnTo>
                    <a:pt x="35" y="162"/>
                  </a:lnTo>
                  <a:close/>
                  <a:moveTo>
                    <a:pt x="62" y="120"/>
                  </a:moveTo>
                  <a:lnTo>
                    <a:pt x="62" y="121"/>
                  </a:lnTo>
                  <a:lnTo>
                    <a:pt x="62" y="120"/>
                  </a:lnTo>
                  <a:close/>
                  <a:moveTo>
                    <a:pt x="29" y="171"/>
                  </a:moveTo>
                  <a:lnTo>
                    <a:pt x="31" y="171"/>
                  </a:lnTo>
                  <a:lnTo>
                    <a:pt x="29" y="171"/>
                  </a:lnTo>
                  <a:close/>
                  <a:moveTo>
                    <a:pt x="21" y="193"/>
                  </a:moveTo>
                  <a:lnTo>
                    <a:pt x="21" y="194"/>
                  </a:lnTo>
                  <a:lnTo>
                    <a:pt x="21" y="193"/>
                  </a:lnTo>
                  <a:close/>
                  <a:moveTo>
                    <a:pt x="29" y="210"/>
                  </a:moveTo>
                  <a:lnTo>
                    <a:pt x="29" y="212"/>
                  </a:lnTo>
                  <a:lnTo>
                    <a:pt x="29" y="210"/>
                  </a:lnTo>
                  <a:close/>
                  <a:moveTo>
                    <a:pt x="35" y="208"/>
                  </a:moveTo>
                  <a:lnTo>
                    <a:pt x="35" y="210"/>
                  </a:lnTo>
                  <a:lnTo>
                    <a:pt x="35" y="208"/>
                  </a:lnTo>
                  <a:close/>
                  <a:moveTo>
                    <a:pt x="75" y="129"/>
                  </a:moveTo>
                  <a:lnTo>
                    <a:pt x="75" y="131"/>
                  </a:lnTo>
                  <a:lnTo>
                    <a:pt x="75" y="129"/>
                  </a:lnTo>
                  <a:close/>
                  <a:moveTo>
                    <a:pt x="77" y="129"/>
                  </a:moveTo>
                  <a:lnTo>
                    <a:pt x="77" y="131"/>
                  </a:lnTo>
                  <a:lnTo>
                    <a:pt x="77" y="12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 name="Freeform 418">
              <a:extLst>
                <a:ext uri="{FF2B5EF4-FFF2-40B4-BE49-F238E27FC236}">
                  <a16:creationId xmlns:a16="http://schemas.microsoft.com/office/drawing/2014/main" id="{C3519839-80CA-42BC-9237-7CC429DF94FE}"/>
                </a:ext>
              </a:extLst>
            </p:cNvPr>
            <p:cNvSpPr>
              <a:spLocks noEditPoints="1"/>
            </p:cNvSpPr>
            <p:nvPr/>
          </p:nvSpPr>
          <p:spPr bwMode="gray">
            <a:xfrm>
              <a:off x="5041696" y="3934856"/>
              <a:ext cx="261219" cy="294330"/>
            </a:xfrm>
            <a:custGeom>
              <a:avLst/>
              <a:gdLst>
                <a:gd name="T0" fmla="*/ 14 w 213"/>
                <a:gd name="T1" fmla="*/ 14 h 240"/>
                <a:gd name="T2" fmla="*/ 31 w 213"/>
                <a:gd name="T3" fmla="*/ 10 h 240"/>
                <a:gd name="T4" fmla="*/ 39 w 213"/>
                <a:gd name="T5" fmla="*/ 8 h 240"/>
                <a:gd name="T6" fmla="*/ 46 w 213"/>
                <a:gd name="T7" fmla="*/ 2 h 240"/>
                <a:gd name="T8" fmla="*/ 67 w 213"/>
                <a:gd name="T9" fmla="*/ 10 h 240"/>
                <a:gd name="T10" fmla="*/ 67 w 213"/>
                <a:gd name="T11" fmla="*/ 20 h 240"/>
                <a:gd name="T12" fmla="*/ 75 w 213"/>
                <a:gd name="T13" fmla="*/ 27 h 240"/>
                <a:gd name="T14" fmla="*/ 85 w 213"/>
                <a:gd name="T15" fmla="*/ 31 h 240"/>
                <a:gd name="T16" fmla="*/ 77 w 213"/>
                <a:gd name="T17" fmla="*/ 33 h 240"/>
                <a:gd name="T18" fmla="*/ 71 w 213"/>
                <a:gd name="T19" fmla="*/ 37 h 240"/>
                <a:gd name="T20" fmla="*/ 64 w 213"/>
                <a:gd name="T21" fmla="*/ 43 h 240"/>
                <a:gd name="T22" fmla="*/ 58 w 213"/>
                <a:gd name="T23" fmla="*/ 54 h 240"/>
                <a:gd name="T24" fmla="*/ 54 w 213"/>
                <a:gd name="T25" fmla="*/ 62 h 240"/>
                <a:gd name="T26" fmla="*/ 54 w 213"/>
                <a:gd name="T27" fmla="*/ 79 h 240"/>
                <a:gd name="T28" fmla="*/ 67 w 213"/>
                <a:gd name="T29" fmla="*/ 94 h 240"/>
                <a:gd name="T30" fmla="*/ 77 w 213"/>
                <a:gd name="T31" fmla="*/ 106 h 240"/>
                <a:gd name="T32" fmla="*/ 91 w 213"/>
                <a:gd name="T33" fmla="*/ 118 h 240"/>
                <a:gd name="T34" fmla="*/ 98 w 213"/>
                <a:gd name="T35" fmla="*/ 123 h 240"/>
                <a:gd name="T36" fmla="*/ 102 w 213"/>
                <a:gd name="T37" fmla="*/ 137 h 240"/>
                <a:gd name="T38" fmla="*/ 104 w 213"/>
                <a:gd name="T39" fmla="*/ 152 h 240"/>
                <a:gd name="T40" fmla="*/ 106 w 213"/>
                <a:gd name="T41" fmla="*/ 164 h 240"/>
                <a:gd name="T42" fmla="*/ 102 w 213"/>
                <a:gd name="T43" fmla="*/ 173 h 240"/>
                <a:gd name="T44" fmla="*/ 102 w 213"/>
                <a:gd name="T45" fmla="*/ 183 h 240"/>
                <a:gd name="T46" fmla="*/ 87 w 213"/>
                <a:gd name="T47" fmla="*/ 191 h 240"/>
                <a:gd name="T48" fmla="*/ 69 w 213"/>
                <a:gd name="T49" fmla="*/ 198 h 240"/>
                <a:gd name="T50" fmla="*/ 67 w 213"/>
                <a:gd name="T51" fmla="*/ 202 h 240"/>
                <a:gd name="T52" fmla="*/ 58 w 213"/>
                <a:gd name="T53" fmla="*/ 202 h 240"/>
                <a:gd name="T54" fmla="*/ 60 w 213"/>
                <a:gd name="T55" fmla="*/ 214 h 240"/>
                <a:gd name="T56" fmla="*/ 39 w 213"/>
                <a:gd name="T57" fmla="*/ 225 h 240"/>
                <a:gd name="T58" fmla="*/ 37 w 213"/>
                <a:gd name="T59" fmla="*/ 202 h 240"/>
                <a:gd name="T60" fmla="*/ 44 w 213"/>
                <a:gd name="T61" fmla="*/ 192 h 240"/>
                <a:gd name="T62" fmla="*/ 54 w 213"/>
                <a:gd name="T63" fmla="*/ 185 h 240"/>
                <a:gd name="T64" fmla="*/ 66 w 213"/>
                <a:gd name="T65" fmla="*/ 175 h 240"/>
                <a:gd name="T66" fmla="*/ 77 w 213"/>
                <a:gd name="T67" fmla="*/ 162 h 240"/>
                <a:gd name="T68" fmla="*/ 79 w 213"/>
                <a:gd name="T69" fmla="*/ 135 h 240"/>
                <a:gd name="T70" fmla="*/ 79 w 213"/>
                <a:gd name="T71" fmla="*/ 125 h 240"/>
                <a:gd name="T72" fmla="*/ 71 w 213"/>
                <a:gd name="T73" fmla="*/ 110 h 240"/>
                <a:gd name="T74" fmla="*/ 62 w 213"/>
                <a:gd name="T75" fmla="*/ 96 h 240"/>
                <a:gd name="T76" fmla="*/ 46 w 213"/>
                <a:gd name="T77" fmla="*/ 81 h 240"/>
                <a:gd name="T78" fmla="*/ 35 w 213"/>
                <a:gd name="T79" fmla="*/ 71 h 240"/>
                <a:gd name="T80" fmla="*/ 35 w 213"/>
                <a:gd name="T81" fmla="*/ 60 h 240"/>
                <a:gd name="T82" fmla="*/ 35 w 213"/>
                <a:gd name="T83" fmla="*/ 46 h 240"/>
                <a:gd name="T84" fmla="*/ 19 w 213"/>
                <a:gd name="T85" fmla="*/ 41 h 240"/>
                <a:gd name="T86" fmla="*/ 12 w 213"/>
                <a:gd name="T87" fmla="*/ 27 h 240"/>
                <a:gd name="T88" fmla="*/ 27 w 213"/>
                <a:gd name="T89" fmla="*/ 198 h 240"/>
                <a:gd name="T90" fmla="*/ 77 w 213"/>
                <a:gd name="T91" fmla="*/ 33 h 240"/>
                <a:gd name="T92" fmla="*/ 64 w 213"/>
                <a:gd name="T93" fmla="*/ 200 h 240"/>
                <a:gd name="T94" fmla="*/ 163 w 213"/>
                <a:gd name="T95" fmla="*/ 231 h 240"/>
                <a:gd name="T96" fmla="*/ 85 w 213"/>
                <a:gd name="T97" fmla="*/ 33 h 240"/>
                <a:gd name="T98" fmla="*/ 79 w 213"/>
                <a:gd name="T99" fmla="*/ 37 h 240"/>
                <a:gd name="T100" fmla="*/ 66 w 213"/>
                <a:gd name="T101" fmla="*/ 50 h 240"/>
                <a:gd name="T102" fmla="*/ 83 w 213"/>
                <a:gd name="T103" fmla="*/ 39 h 240"/>
                <a:gd name="T104" fmla="*/ 81 w 213"/>
                <a:gd name="T105" fmla="*/ 33 h 240"/>
                <a:gd name="T106" fmla="*/ 92 w 213"/>
                <a:gd name="T107" fmla="*/ 116 h 240"/>
                <a:gd name="T108" fmla="*/ 211 w 213"/>
                <a:gd name="T109" fmla="*/ 219 h 240"/>
                <a:gd name="T110" fmla="*/ 94 w 213"/>
                <a:gd name="T111" fmla="*/ 123 h 240"/>
                <a:gd name="T112" fmla="*/ 73 w 213"/>
                <a:gd name="T113" fmla="*/ 43 h 240"/>
                <a:gd name="T114" fmla="*/ 62 w 213"/>
                <a:gd name="T115" fmla="*/ 206 h 240"/>
                <a:gd name="T116" fmla="*/ 71 w 213"/>
                <a:gd name="T117" fmla="*/ 41 h 240"/>
                <a:gd name="T118" fmla="*/ 71 w 213"/>
                <a:gd name="T119" fmla="*/ 39 h 240"/>
                <a:gd name="T120" fmla="*/ 62 w 213"/>
                <a:gd name="T121" fmla="*/ 204 h 240"/>
                <a:gd name="T122" fmla="*/ 104 w 213"/>
                <a:gd name="T123" fmla="*/ 14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3" h="240">
                  <a:moveTo>
                    <a:pt x="0" y="16"/>
                  </a:moveTo>
                  <a:lnTo>
                    <a:pt x="2" y="16"/>
                  </a:lnTo>
                  <a:lnTo>
                    <a:pt x="2" y="14"/>
                  </a:lnTo>
                  <a:lnTo>
                    <a:pt x="2" y="12"/>
                  </a:lnTo>
                  <a:lnTo>
                    <a:pt x="2" y="14"/>
                  </a:lnTo>
                  <a:lnTo>
                    <a:pt x="4" y="14"/>
                  </a:lnTo>
                  <a:lnTo>
                    <a:pt x="4" y="12"/>
                  </a:lnTo>
                  <a:lnTo>
                    <a:pt x="4" y="10"/>
                  </a:lnTo>
                  <a:lnTo>
                    <a:pt x="6" y="10"/>
                  </a:lnTo>
                  <a:lnTo>
                    <a:pt x="6" y="12"/>
                  </a:lnTo>
                  <a:lnTo>
                    <a:pt x="6" y="10"/>
                  </a:lnTo>
                  <a:lnTo>
                    <a:pt x="6" y="12"/>
                  </a:lnTo>
                  <a:lnTo>
                    <a:pt x="8" y="12"/>
                  </a:lnTo>
                  <a:lnTo>
                    <a:pt x="10" y="12"/>
                  </a:lnTo>
                  <a:lnTo>
                    <a:pt x="10" y="14"/>
                  </a:lnTo>
                  <a:lnTo>
                    <a:pt x="12" y="14"/>
                  </a:lnTo>
                  <a:lnTo>
                    <a:pt x="10" y="14"/>
                  </a:lnTo>
                  <a:lnTo>
                    <a:pt x="12" y="14"/>
                  </a:lnTo>
                  <a:lnTo>
                    <a:pt x="12" y="16"/>
                  </a:lnTo>
                  <a:lnTo>
                    <a:pt x="14" y="16"/>
                  </a:lnTo>
                  <a:lnTo>
                    <a:pt x="14" y="14"/>
                  </a:lnTo>
                  <a:lnTo>
                    <a:pt x="16" y="14"/>
                  </a:lnTo>
                  <a:lnTo>
                    <a:pt x="16" y="12"/>
                  </a:lnTo>
                  <a:lnTo>
                    <a:pt x="18" y="12"/>
                  </a:lnTo>
                  <a:lnTo>
                    <a:pt x="18" y="10"/>
                  </a:lnTo>
                  <a:lnTo>
                    <a:pt x="16" y="10"/>
                  </a:lnTo>
                  <a:lnTo>
                    <a:pt x="18" y="10"/>
                  </a:lnTo>
                  <a:lnTo>
                    <a:pt x="16" y="10"/>
                  </a:lnTo>
                  <a:lnTo>
                    <a:pt x="18" y="10"/>
                  </a:lnTo>
                  <a:lnTo>
                    <a:pt x="19" y="10"/>
                  </a:lnTo>
                  <a:lnTo>
                    <a:pt x="19" y="12"/>
                  </a:lnTo>
                  <a:lnTo>
                    <a:pt x="21" y="12"/>
                  </a:lnTo>
                  <a:lnTo>
                    <a:pt x="21" y="10"/>
                  </a:lnTo>
                  <a:lnTo>
                    <a:pt x="23" y="10"/>
                  </a:lnTo>
                  <a:lnTo>
                    <a:pt x="23" y="12"/>
                  </a:lnTo>
                  <a:lnTo>
                    <a:pt x="25" y="12"/>
                  </a:lnTo>
                  <a:lnTo>
                    <a:pt x="25" y="14"/>
                  </a:lnTo>
                  <a:lnTo>
                    <a:pt x="27" y="14"/>
                  </a:lnTo>
                  <a:lnTo>
                    <a:pt x="27" y="12"/>
                  </a:lnTo>
                  <a:lnTo>
                    <a:pt x="27" y="10"/>
                  </a:lnTo>
                  <a:lnTo>
                    <a:pt x="29" y="10"/>
                  </a:lnTo>
                  <a:lnTo>
                    <a:pt x="31" y="10"/>
                  </a:lnTo>
                  <a:lnTo>
                    <a:pt x="31" y="8"/>
                  </a:lnTo>
                  <a:lnTo>
                    <a:pt x="31" y="10"/>
                  </a:lnTo>
                  <a:lnTo>
                    <a:pt x="33" y="10"/>
                  </a:lnTo>
                  <a:lnTo>
                    <a:pt x="33" y="12"/>
                  </a:lnTo>
                  <a:lnTo>
                    <a:pt x="33" y="10"/>
                  </a:lnTo>
                  <a:lnTo>
                    <a:pt x="35" y="10"/>
                  </a:lnTo>
                  <a:lnTo>
                    <a:pt x="35" y="8"/>
                  </a:lnTo>
                  <a:lnTo>
                    <a:pt x="37" y="8"/>
                  </a:lnTo>
                  <a:lnTo>
                    <a:pt x="35" y="8"/>
                  </a:lnTo>
                  <a:lnTo>
                    <a:pt x="37" y="8"/>
                  </a:lnTo>
                  <a:lnTo>
                    <a:pt x="37" y="10"/>
                  </a:lnTo>
                  <a:lnTo>
                    <a:pt x="35" y="10"/>
                  </a:lnTo>
                  <a:lnTo>
                    <a:pt x="37" y="10"/>
                  </a:lnTo>
                  <a:lnTo>
                    <a:pt x="35" y="10"/>
                  </a:lnTo>
                  <a:lnTo>
                    <a:pt x="37" y="10"/>
                  </a:lnTo>
                  <a:lnTo>
                    <a:pt x="37" y="8"/>
                  </a:lnTo>
                  <a:lnTo>
                    <a:pt x="37" y="10"/>
                  </a:lnTo>
                  <a:lnTo>
                    <a:pt x="37" y="8"/>
                  </a:lnTo>
                  <a:lnTo>
                    <a:pt x="37" y="10"/>
                  </a:lnTo>
                  <a:lnTo>
                    <a:pt x="39" y="10"/>
                  </a:lnTo>
                  <a:lnTo>
                    <a:pt x="39" y="8"/>
                  </a:lnTo>
                  <a:lnTo>
                    <a:pt x="37" y="8"/>
                  </a:lnTo>
                  <a:lnTo>
                    <a:pt x="39" y="8"/>
                  </a:lnTo>
                  <a:lnTo>
                    <a:pt x="41" y="8"/>
                  </a:lnTo>
                  <a:lnTo>
                    <a:pt x="41" y="6"/>
                  </a:lnTo>
                  <a:lnTo>
                    <a:pt x="39" y="6"/>
                  </a:lnTo>
                  <a:lnTo>
                    <a:pt x="41" y="6"/>
                  </a:lnTo>
                  <a:lnTo>
                    <a:pt x="39" y="6"/>
                  </a:lnTo>
                  <a:lnTo>
                    <a:pt x="41" y="6"/>
                  </a:lnTo>
                  <a:lnTo>
                    <a:pt x="39" y="6"/>
                  </a:lnTo>
                  <a:lnTo>
                    <a:pt x="41" y="6"/>
                  </a:lnTo>
                  <a:lnTo>
                    <a:pt x="39" y="6"/>
                  </a:lnTo>
                  <a:lnTo>
                    <a:pt x="39" y="4"/>
                  </a:lnTo>
                  <a:lnTo>
                    <a:pt x="41" y="4"/>
                  </a:lnTo>
                  <a:lnTo>
                    <a:pt x="41" y="2"/>
                  </a:lnTo>
                  <a:lnTo>
                    <a:pt x="43" y="2"/>
                  </a:lnTo>
                  <a:lnTo>
                    <a:pt x="44" y="2"/>
                  </a:lnTo>
                  <a:lnTo>
                    <a:pt x="46" y="2"/>
                  </a:lnTo>
                  <a:lnTo>
                    <a:pt x="46" y="0"/>
                  </a:lnTo>
                  <a:lnTo>
                    <a:pt x="44" y="0"/>
                  </a:lnTo>
                  <a:lnTo>
                    <a:pt x="46" y="0"/>
                  </a:lnTo>
                  <a:lnTo>
                    <a:pt x="46" y="2"/>
                  </a:lnTo>
                  <a:lnTo>
                    <a:pt x="48" y="2"/>
                  </a:lnTo>
                  <a:lnTo>
                    <a:pt x="48" y="4"/>
                  </a:lnTo>
                  <a:lnTo>
                    <a:pt x="50" y="4"/>
                  </a:lnTo>
                  <a:lnTo>
                    <a:pt x="50" y="6"/>
                  </a:lnTo>
                  <a:lnTo>
                    <a:pt x="50" y="4"/>
                  </a:lnTo>
                  <a:lnTo>
                    <a:pt x="50" y="6"/>
                  </a:lnTo>
                  <a:lnTo>
                    <a:pt x="50" y="4"/>
                  </a:lnTo>
                  <a:lnTo>
                    <a:pt x="52" y="4"/>
                  </a:lnTo>
                  <a:lnTo>
                    <a:pt x="52" y="6"/>
                  </a:lnTo>
                  <a:lnTo>
                    <a:pt x="54" y="6"/>
                  </a:lnTo>
                  <a:lnTo>
                    <a:pt x="54" y="8"/>
                  </a:lnTo>
                  <a:lnTo>
                    <a:pt x="56" y="8"/>
                  </a:lnTo>
                  <a:lnTo>
                    <a:pt x="56" y="6"/>
                  </a:lnTo>
                  <a:lnTo>
                    <a:pt x="58" y="6"/>
                  </a:lnTo>
                  <a:lnTo>
                    <a:pt x="60" y="6"/>
                  </a:lnTo>
                  <a:lnTo>
                    <a:pt x="60" y="8"/>
                  </a:lnTo>
                  <a:lnTo>
                    <a:pt x="62" y="8"/>
                  </a:lnTo>
                  <a:lnTo>
                    <a:pt x="64" y="8"/>
                  </a:lnTo>
                  <a:lnTo>
                    <a:pt x="66" y="8"/>
                  </a:lnTo>
                  <a:lnTo>
                    <a:pt x="67" y="8"/>
                  </a:lnTo>
                  <a:lnTo>
                    <a:pt x="67" y="10"/>
                  </a:lnTo>
                  <a:lnTo>
                    <a:pt x="69" y="10"/>
                  </a:lnTo>
                  <a:lnTo>
                    <a:pt x="67" y="10"/>
                  </a:lnTo>
                  <a:lnTo>
                    <a:pt x="67" y="12"/>
                  </a:lnTo>
                  <a:lnTo>
                    <a:pt x="67" y="14"/>
                  </a:lnTo>
                  <a:lnTo>
                    <a:pt x="66" y="14"/>
                  </a:lnTo>
                  <a:lnTo>
                    <a:pt x="66" y="12"/>
                  </a:lnTo>
                  <a:lnTo>
                    <a:pt x="66" y="14"/>
                  </a:lnTo>
                  <a:lnTo>
                    <a:pt x="66" y="16"/>
                  </a:lnTo>
                  <a:lnTo>
                    <a:pt x="66" y="14"/>
                  </a:lnTo>
                  <a:lnTo>
                    <a:pt x="66" y="16"/>
                  </a:lnTo>
                  <a:lnTo>
                    <a:pt x="64" y="16"/>
                  </a:lnTo>
                  <a:lnTo>
                    <a:pt x="66" y="16"/>
                  </a:lnTo>
                  <a:lnTo>
                    <a:pt x="64" y="16"/>
                  </a:lnTo>
                  <a:lnTo>
                    <a:pt x="66" y="16"/>
                  </a:lnTo>
                  <a:lnTo>
                    <a:pt x="64" y="16"/>
                  </a:lnTo>
                  <a:lnTo>
                    <a:pt x="66" y="16"/>
                  </a:lnTo>
                  <a:lnTo>
                    <a:pt x="64" y="16"/>
                  </a:lnTo>
                  <a:lnTo>
                    <a:pt x="64" y="18"/>
                  </a:lnTo>
                  <a:lnTo>
                    <a:pt x="66" y="18"/>
                  </a:lnTo>
                  <a:lnTo>
                    <a:pt x="66" y="20"/>
                  </a:lnTo>
                  <a:lnTo>
                    <a:pt x="67" y="20"/>
                  </a:lnTo>
                  <a:lnTo>
                    <a:pt x="66" y="20"/>
                  </a:lnTo>
                  <a:lnTo>
                    <a:pt x="67" y="20"/>
                  </a:lnTo>
                  <a:lnTo>
                    <a:pt x="66" y="20"/>
                  </a:lnTo>
                  <a:lnTo>
                    <a:pt x="67" y="21"/>
                  </a:lnTo>
                  <a:lnTo>
                    <a:pt x="66" y="21"/>
                  </a:lnTo>
                  <a:lnTo>
                    <a:pt x="67" y="21"/>
                  </a:lnTo>
                  <a:lnTo>
                    <a:pt x="66" y="21"/>
                  </a:lnTo>
                  <a:lnTo>
                    <a:pt x="67" y="21"/>
                  </a:lnTo>
                  <a:lnTo>
                    <a:pt x="66" y="21"/>
                  </a:lnTo>
                  <a:lnTo>
                    <a:pt x="66" y="23"/>
                  </a:lnTo>
                  <a:lnTo>
                    <a:pt x="67" y="23"/>
                  </a:lnTo>
                  <a:lnTo>
                    <a:pt x="67" y="21"/>
                  </a:lnTo>
                  <a:lnTo>
                    <a:pt x="67" y="23"/>
                  </a:lnTo>
                  <a:lnTo>
                    <a:pt x="69" y="23"/>
                  </a:lnTo>
                  <a:lnTo>
                    <a:pt x="71" y="23"/>
                  </a:lnTo>
                  <a:lnTo>
                    <a:pt x="71" y="25"/>
                  </a:lnTo>
                  <a:lnTo>
                    <a:pt x="73" y="25"/>
                  </a:lnTo>
                  <a:lnTo>
                    <a:pt x="73" y="27"/>
                  </a:lnTo>
                  <a:lnTo>
                    <a:pt x="75" y="27"/>
                  </a:lnTo>
                  <a:lnTo>
                    <a:pt x="75" y="25"/>
                  </a:lnTo>
                  <a:lnTo>
                    <a:pt x="75" y="27"/>
                  </a:lnTo>
                  <a:lnTo>
                    <a:pt x="77" y="27"/>
                  </a:lnTo>
                  <a:lnTo>
                    <a:pt x="77" y="29"/>
                  </a:lnTo>
                  <a:lnTo>
                    <a:pt x="77" y="27"/>
                  </a:lnTo>
                  <a:lnTo>
                    <a:pt x="79" y="27"/>
                  </a:lnTo>
                  <a:lnTo>
                    <a:pt x="77" y="27"/>
                  </a:lnTo>
                  <a:lnTo>
                    <a:pt x="79" y="27"/>
                  </a:lnTo>
                  <a:lnTo>
                    <a:pt x="79" y="29"/>
                  </a:lnTo>
                  <a:lnTo>
                    <a:pt x="81" y="29"/>
                  </a:lnTo>
                  <a:lnTo>
                    <a:pt x="81" y="27"/>
                  </a:lnTo>
                  <a:lnTo>
                    <a:pt x="83" y="27"/>
                  </a:lnTo>
                  <a:lnTo>
                    <a:pt x="85" y="27"/>
                  </a:lnTo>
                  <a:lnTo>
                    <a:pt x="85" y="29"/>
                  </a:lnTo>
                  <a:lnTo>
                    <a:pt x="87" y="29"/>
                  </a:lnTo>
                  <a:lnTo>
                    <a:pt x="87" y="31"/>
                  </a:lnTo>
                  <a:lnTo>
                    <a:pt x="87" y="29"/>
                  </a:lnTo>
                  <a:lnTo>
                    <a:pt x="87" y="31"/>
                  </a:lnTo>
                  <a:lnTo>
                    <a:pt x="85" y="31"/>
                  </a:lnTo>
                  <a:lnTo>
                    <a:pt x="85" y="29"/>
                  </a:lnTo>
                  <a:lnTo>
                    <a:pt x="83" y="29"/>
                  </a:lnTo>
                  <a:lnTo>
                    <a:pt x="85" y="29"/>
                  </a:lnTo>
                  <a:lnTo>
                    <a:pt x="85" y="31"/>
                  </a:lnTo>
                  <a:lnTo>
                    <a:pt x="83" y="31"/>
                  </a:lnTo>
                  <a:lnTo>
                    <a:pt x="83" y="29"/>
                  </a:lnTo>
                  <a:lnTo>
                    <a:pt x="83" y="31"/>
                  </a:lnTo>
                  <a:lnTo>
                    <a:pt x="83" y="29"/>
                  </a:lnTo>
                  <a:lnTo>
                    <a:pt x="83" y="31"/>
                  </a:lnTo>
                  <a:lnTo>
                    <a:pt x="83" y="29"/>
                  </a:lnTo>
                  <a:lnTo>
                    <a:pt x="83" y="31"/>
                  </a:lnTo>
                  <a:lnTo>
                    <a:pt x="83" y="29"/>
                  </a:lnTo>
                  <a:lnTo>
                    <a:pt x="83" y="31"/>
                  </a:lnTo>
                  <a:lnTo>
                    <a:pt x="81" y="31"/>
                  </a:lnTo>
                  <a:lnTo>
                    <a:pt x="81" y="33"/>
                  </a:lnTo>
                  <a:lnTo>
                    <a:pt x="81" y="31"/>
                  </a:lnTo>
                  <a:lnTo>
                    <a:pt x="81" y="33"/>
                  </a:lnTo>
                  <a:lnTo>
                    <a:pt x="79" y="33"/>
                  </a:lnTo>
                  <a:lnTo>
                    <a:pt x="81" y="33"/>
                  </a:lnTo>
                  <a:lnTo>
                    <a:pt x="79" y="33"/>
                  </a:lnTo>
                  <a:lnTo>
                    <a:pt x="77" y="33"/>
                  </a:lnTo>
                  <a:lnTo>
                    <a:pt x="79" y="33"/>
                  </a:lnTo>
                  <a:lnTo>
                    <a:pt x="77" y="33"/>
                  </a:lnTo>
                  <a:lnTo>
                    <a:pt x="77" y="35"/>
                  </a:lnTo>
                  <a:lnTo>
                    <a:pt x="77" y="33"/>
                  </a:lnTo>
                  <a:lnTo>
                    <a:pt x="77" y="35"/>
                  </a:lnTo>
                  <a:lnTo>
                    <a:pt x="77" y="33"/>
                  </a:lnTo>
                  <a:lnTo>
                    <a:pt x="77" y="35"/>
                  </a:lnTo>
                  <a:lnTo>
                    <a:pt x="77" y="33"/>
                  </a:lnTo>
                  <a:lnTo>
                    <a:pt x="77" y="35"/>
                  </a:lnTo>
                  <a:lnTo>
                    <a:pt x="77" y="37"/>
                  </a:lnTo>
                  <a:lnTo>
                    <a:pt x="77" y="39"/>
                  </a:lnTo>
                  <a:lnTo>
                    <a:pt x="75" y="39"/>
                  </a:lnTo>
                  <a:lnTo>
                    <a:pt x="73" y="39"/>
                  </a:lnTo>
                  <a:lnTo>
                    <a:pt x="71" y="39"/>
                  </a:lnTo>
                  <a:lnTo>
                    <a:pt x="73" y="39"/>
                  </a:lnTo>
                  <a:lnTo>
                    <a:pt x="73" y="37"/>
                  </a:lnTo>
                  <a:lnTo>
                    <a:pt x="73" y="39"/>
                  </a:lnTo>
                  <a:lnTo>
                    <a:pt x="71" y="39"/>
                  </a:lnTo>
                  <a:lnTo>
                    <a:pt x="71" y="37"/>
                  </a:lnTo>
                  <a:lnTo>
                    <a:pt x="71" y="39"/>
                  </a:lnTo>
                  <a:lnTo>
                    <a:pt x="71" y="37"/>
                  </a:lnTo>
                  <a:lnTo>
                    <a:pt x="71" y="39"/>
                  </a:lnTo>
                  <a:lnTo>
                    <a:pt x="71" y="37"/>
                  </a:lnTo>
                  <a:lnTo>
                    <a:pt x="71" y="39"/>
                  </a:lnTo>
                  <a:lnTo>
                    <a:pt x="71" y="37"/>
                  </a:lnTo>
                  <a:lnTo>
                    <a:pt x="71" y="39"/>
                  </a:lnTo>
                  <a:lnTo>
                    <a:pt x="71" y="37"/>
                  </a:lnTo>
                  <a:lnTo>
                    <a:pt x="71" y="39"/>
                  </a:lnTo>
                  <a:lnTo>
                    <a:pt x="71" y="37"/>
                  </a:lnTo>
                  <a:lnTo>
                    <a:pt x="71" y="39"/>
                  </a:lnTo>
                  <a:lnTo>
                    <a:pt x="71" y="37"/>
                  </a:lnTo>
                  <a:lnTo>
                    <a:pt x="71" y="39"/>
                  </a:lnTo>
                  <a:lnTo>
                    <a:pt x="71" y="37"/>
                  </a:lnTo>
                  <a:lnTo>
                    <a:pt x="71" y="39"/>
                  </a:lnTo>
                  <a:lnTo>
                    <a:pt x="69" y="39"/>
                  </a:lnTo>
                  <a:lnTo>
                    <a:pt x="69" y="41"/>
                  </a:lnTo>
                  <a:lnTo>
                    <a:pt x="69" y="39"/>
                  </a:lnTo>
                  <a:lnTo>
                    <a:pt x="67" y="39"/>
                  </a:lnTo>
                  <a:lnTo>
                    <a:pt x="66" y="39"/>
                  </a:lnTo>
                  <a:lnTo>
                    <a:pt x="66" y="37"/>
                  </a:lnTo>
                  <a:lnTo>
                    <a:pt x="66" y="39"/>
                  </a:lnTo>
                  <a:lnTo>
                    <a:pt x="67" y="39"/>
                  </a:lnTo>
                  <a:lnTo>
                    <a:pt x="67" y="41"/>
                  </a:lnTo>
                  <a:lnTo>
                    <a:pt x="67" y="43"/>
                  </a:lnTo>
                  <a:lnTo>
                    <a:pt x="66" y="43"/>
                  </a:lnTo>
                  <a:lnTo>
                    <a:pt x="64" y="43"/>
                  </a:lnTo>
                  <a:lnTo>
                    <a:pt x="66" y="43"/>
                  </a:lnTo>
                  <a:lnTo>
                    <a:pt x="67" y="43"/>
                  </a:lnTo>
                  <a:lnTo>
                    <a:pt x="66" y="43"/>
                  </a:lnTo>
                  <a:lnTo>
                    <a:pt x="66" y="45"/>
                  </a:lnTo>
                  <a:lnTo>
                    <a:pt x="66" y="43"/>
                  </a:lnTo>
                  <a:lnTo>
                    <a:pt x="66" y="45"/>
                  </a:lnTo>
                  <a:lnTo>
                    <a:pt x="66" y="46"/>
                  </a:lnTo>
                  <a:lnTo>
                    <a:pt x="64" y="46"/>
                  </a:lnTo>
                  <a:lnTo>
                    <a:pt x="66" y="46"/>
                  </a:lnTo>
                  <a:lnTo>
                    <a:pt x="66" y="48"/>
                  </a:lnTo>
                  <a:lnTo>
                    <a:pt x="64" y="48"/>
                  </a:lnTo>
                  <a:lnTo>
                    <a:pt x="66" y="48"/>
                  </a:lnTo>
                  <a:lnTo>
                    <a:pt x="64" y="48"/>
                  </a:lnTo>
                  <a:lnTo>
                    <a:pt x="64" y="50"/>
                  </a:lnTo>
                  <a:lnTo>
                    <a:pt x="62" y="50"/>
                  </a:lnTo>
                  <a:lnTo>
                    <a:pt x="62" y="52"/>
                  </a:lnTo>
                  <a:lnTo>
                    <a:pt x="60" y="52"/>
                  </a:lnTo>
                  <a:lnTo>
                    <a:pt x="60" y="54"/>
                  </a:lnTo>
                  <a:lnTo>
                    <a:pt x="58" y="54"/>
                  </a:lnTo>
                  <a:lnTo>
                    <a:pt x="56" y="54"/>
                  </a:lnTo>
                  <a:lnTo>
                    <a:pt x="58" y="54"/>
                  </a:lnTo>
                  <a:lnTo>
                    <a:pt x="56" y="54"/>
                  </a:lnTo>
                  <a:lnTo>
                    <a:pt x="58" y="54"/>
                  </a:lnTo>
                  <a:lnTo>
                    <a:pt x="56" y="54"/>
                  </a:lnTo>
                  <a:lnTo>
                    <a:pt x="56" y="56"/>
                  </a:lnTo>
                  <a:lnTo>
                    <a:pt x="54" y="58"/>
                  </a:lnTo>
                  <a:lnTo>
                    <a:pt x="54" y="56"/>
                  </a:lnTo>
                  <a:lnTo>
                    <a:pt x="52" y="56"/>
                  </a:lnTo>
                  <a:lnTo>
                    <a:pt x="54" y="56"/>
                  </a:lnTo>
                  <a:lnTo>
                    <a:pt x="54" y="58"/>
                  </a:lnTo>
                  <a:lnTo>
                    <a:pt x="56" y="58"/>
                  </a:lnTo>
                  <a:lnTo>
                    <a:pt x="56" y="56"/>
                  </a:lnTo>
                  <a:lnTo>
                    <a:pt x="56" y="58"/>
                  </a:lnTo>
                  <a:lnTo>
                    <a:pt x="54" y="58"/>
                  </a:lnTo>
                  <a:lnTo>
                    <a:pt x="54" y="60"/>
                  </a:lnTo>
                  <a:lnTo>
                    <a:pt x="52" y="60"/>
                  </a:lnTo>
                  <a:lnTo>
                    <a:pt x="54" y="60"/>
                  </a:lnTo>
                  <a:lnTo>
                    <a:pt x="54" y="62"/>
                  </a:lnTo>
                  <a:lnTo>
                    <a:pt x="54" y="64"/>
                  </a:lnTo>
                  <a:lnTo>
                    <a:pt x="54" y="62"/>
                  </a:lnTo>
                  <a:lnTo>
                    <a:pt x="52" y="62"/>
                  </a:lnTo>
                  <a:lnTo>
                    <a:pt x="54" y="62"/>
                  </a:lnTo>
                  <a:lnTo>
                    <a:pt x="54" y="64"/>
                  </a:lnTo>
                  <a:lnTo>
                    <a:pt x="54" y="66"/>
                  </a:lnTo>
                  <a:lnTo>
                    <a:pt x="52" y="66"/>
                  </a:lnTo>
                  <a:lnTo>
                    <a:pt x="52" y="68"/>
                  </a:lnTo>
                  <a:lnTo>
                    <a:pt x="50" y="68"/>
                  </a:lnTo>
                  <a:lnTo>
                    <a:pt x="50" y="70"/>
                  </a:lnTo>
                  <a:lnTo>
                    <a:pt x="50" y="71"/>
                  </a:lnTo>
                  <a:lnTo>
                    <a:pt x="52" y="71"/>
                  </a:lnTo>
                  <a:lnTo>
                    <a:pt x="50" y="71"/>
                  </a:lnTo>
                  <a:lnTo>
                    <a:pt x="52" y="71"/>
                  </a:lnTo>
                  <a:lnTo>
                    <a:pt x="52" y="73"/>
                  </a:lnTo>
                  <a:lnTo>
                    <a:pt x="52" y="75"/>
                  </a:lnTo>
                  <a:lnTo>
                    <a:pt x="52" y="73"/>
                  </a:lnTo>
                  <a:lnTo>
                    <a:pt x="54" y="73"/>
                  </a:lnTo>
                  <a:lnTo>
                    <a:pt x="54" y="75"/>
                  </a:lnTo>
                  <a:lnTo>
                    <a:pt x="54" y="77"/>
                  </a:lnTo>
                  <a:lnTo>
                    <a:pt x="56" y="77"/>
                  </a:lnTo>
                  <a:lnTo>
                    <a:pt x="54" y="77"/>
                  </a:lnTo>
                  <a:lnTo>
                    <a:pt x="56" y="77"/>
                  </a:lnTo>
                  <a:lnTo>
                    <a:pt x="54" y="77"/>
                  </a:lnTo>
                  <a:lnTo>
                    <a:pt x="54" y="79"/>
                  </a:lnTo>
                  <a:lnTo>
                    <a:pt x="56" y="79"/>
                  </a:lnTo>
                  <a:lnTo>
                    <a:pt x="56" y="77"/>
                  </a:lnTo>
                  <a:lnTo>
                    <a:pt x="56" y="79"/>
                  </a:lnTo>
                  <a:lnTo>
                    <a:pt x="58" y="79"/>
                  </a:lnTo>
                  <a:lnTo>
                    <a:pt x="58" y="81"/>
                  </a:lnTo>
                  <a:lnTo>
                    <a:pt x="60" y="81"/>
                  </a:lnTo>
                  <a:lnTo>
                    <a:pt x="60" y="83"/>
                  </a:lnTo>
                  <a:lnTo>
                    <a:pt x="62" y="83"/>
                  </a:lnTo>
                  <a:lnTo>
                    <a:pt x="64" y="83"/>
                  </a:lnTo>
                  <a:lnTo>
                    <a:pt x="64" y="85"/>
                  </a:lnTo>
                  <a:lnTo>
                    <a:pt x="64" y="87"/>
                  </a:lnTo>
                  <a:lnTo>
                    <a:pt x="62" y="87"/>
                  </a:lnTo>
                  <a:lnTo>
                    <a:pt x="64" y="87"/>
                  </a:lnTo>
                  <a:lnTo>
                    <a:pt x="64" y="89"/>
                  </a:lnTo>
                  <a:lnTo>
                    <a:pt x="62" y="89"/>
                  </a:lnTo>
                  <a:lnTo>
                    <a:pt x="64" y="89"/>
                  </a:lnTo>
                  <a:lnTo>
                    <a:pt x="64" y="91"/>
                  </a:lnTo>
                  <a:lnTo>
                    <a:pt x="66" y="91"/>
                  </a:lnTo>
                  <a:lnTo>
                    <a:pt x="66" y="93"/>
                  </a:lnTo>
                  <a:lnTo>
                    <a:pt x="66" y="94"/>
                  </a:lnTo>
                  <a:lnTo>
                    <a:pt x="67" y="94"/>
                  </a:lnTo>
                  <a:lnTo>
                    <a:pt x="66" y="94"/>
                  </a:lnTo>
                  <a:lnTo>
                    <a:pt x="66" y="93"/>
                  </a:lnTo>
                  <a:lnTo>
                    <a:pt x="66" y="94"/>
                  </a:lnTo>
                  <a:lnTo>
                    <a:pt x="67" y="94"/>
                  </a:lnTo>
                  <a:lnTo>
                    <a:pt x="69" y="96"/>
                  </a:lnTo>
                  <a:lnTo>
                    <a:pt x="71" y="98"/>
                  </a:lnTo>
                  <a:lnTo>
                    <a:pt x="73" y="98"/>
                  </a:lnTo>
                  <a:lnTo>
                    <a:pt x="73" y="100"/>
                  </a:lnTo>
                  <a:lnTo>
                    <a:pt x="71" y="100"/>
                  </a:lnTo>
                  <a:lnTo>
                    <a:pt x="73" y="100"/>
                  </a:lnTo>
                  <a:lnTo>
                    <a:pt x="73" y="102"/>
                  </a:lnTo>
                  <a:lnTo>
                    <a:pt x="75" y="102"/>
                  </a:lnTo>
                  <a:lnTo>
                    <a:pt x="77" y="104"/>
                  </a:lnTo>
                  <a:lnTo>
                    <a:pt x="79" y="106"/>
                  </a:lnTo>
                  <a:lnTo>
                    <a:pt x="81" y="106"/>
                  </a:lnTo>
                  <a:lnTo>
                    <a:pt x="79" y="106"/>
                  </a:lnTo>
                  <a:lnTo>
                    <a:pt x="81" y="106"/>
                  </a:lnTo>
                  <a:lnTo>
                    <a:pt x="79" y="106"/>
                  </a:lnTo>
                  <a:lnTo>
                    <a:pt x="77" y="106"/>
                  </a:lnTo>
                  <a:lnTo>
                    <a:pt x="77" y="104"/>
                  </a:lnTo>
                  <a:lnTo>
                    <a:pt x="77" y="106"/>
                  </a:lnTo>
                  <a:lnTo>
                    <a:pt x="79" y="106"/>
                  </a:lnTo>
                  <a:lnTo>
                    <a:pt x="81" y="106"/>
                  </a:lnTo>
                  <a:lnTo>
                    <a:pt x="81" y="108"/>
                  </a:lnTo>
                  <a:lnTo>
                    <a:pt x="83" y="108"/>
                  </a:lnTo>
                  <a:lnTo>
                    <a:pt x="83" y="110"/>
                  </a:lnTo>
                  <a:lnTo>
                    <a:pt x="83" y="112"/>
                  </a:lnTo>
                  <a:lnTo>
                    <a:pt x="85" y="112"/>
                  </a:lnTo>
                  <a:lnTo>
                    <a:pt x="85" y="110"/>
                  </a:lnTo>
                  <a:lnTo>
                    <a:pt x="87" y="110"/>
                  </a:lnTo>
                  <a:lnTo>
                    <a:pt x="87" y="112"/>
                  </a:lnTo>
                  <a:lnTo>
                    <a:pt x="89" y="112"/>
                  </a:lnTo>
                  <a:lnTo>
                    <a:pt x="87" y="112"/>
                  </a:lnTo>
                  <a:lnTo>
                    <a:pt x="87" y="114"/>
                  </a:lnTo>
                  <a:lnTo>
                    <a:pt x="89" y="114"/>
                  </a:lnTo>
                  <a:lnTo>
                    <a:pt x="89" y="116"/>
                  </a:lnTo>
                  <a:lnTo>
                    <a:pt x="89" y="114"/>
                  </a:lnTo>
                  <a:lnTo>
                    <a:pt x="91" y="114"/>
                  </a:lnTo>
                  <a:lnTo>
                    <a:pt x="89" y="114"/>
                  </a:lnTo>
                  <a:lnTo>
                    <a:pt x="89" y="116"/>
                  </a:lnTo>
                  <a:lnTo>
                    <a:pt x="91" y="116"/>
                  </a:lnTo>
                  <a:lnTo>
                    <a:pt x="91" y="118"/>
                  </a:lnTo>
                  <a:lnTo>
                    <a:pt x="91" y="116"/>
                  </a:lnTo>
                  <a:lnTo>
                    <a:pt x="91" y="118"/>
                  </a:lnTo>
                  <a:lnTo>
                    <a:pt x="91" y="116"/>
                  </a:lnTo>
                  <a:lnTo>
                    <a:pt x="91" y="118"/>
                  </a:lnTo>
                  <a:lnTo>
                    <a:pt x="92" y="118"/>
                  </a:lnTo>
                  <a:lnTo>
                    <a:pt x="92" y="119"/>
                  </a:lnTo>
                  <a:lnTo>
                    <a:pt x="92" y="121"/>
                  </a:lnTo>
                  <a:lnTo>
                    <a:pt x="94" y="121"/>
                  </a:lnTo>
                  <a:lnTo>
                    <a:pt x="94" y="123"/>
                  </a:lnTo>
                  <a:lnTo>
                    <a:pt x="94" y="121"/>
                  </a:lnTo>
                  <a:lnTo>
                    <a:pt x="92" y="121"/>
                  </a:lnTo>
                  <a:lnTo>
                    <a:pt x="92" y="119"/>
                  </a:lnTo>
                  <a:lnTo>
                    <a:pt x="92" y="121"/>
                  </a:lnTo>
                  <a:lnTo>
                    <a:pt x="94" y="121"/>
                  </a:lnTo>
                  <a:lnTo>
                    <a:pt x="94" y="123"/>
                  </a:lnTo>
                  <a:lnTo>
                    <a:pt x="96" y="123"/>
                  </a:lnTo>
                  <a:lnTo>
                    <a:pt x="96" y="125"/>
                  </a:lnTo>
                  <a:lnTo>
                    <a:pt x="98" y="125"/>
                  </a:lnTo>
                  <a:lnTo>
                    <a:pt x="98" y="123"/>
                  </a:lnTo>
                  <a:lnTo>
                    <a:pt x="98" y="125"/>
                  </a:lnTo>
                  <a:lnTo>
                    <a:pt x="98" y="123"/>
                  </a:lnTo>
                  <a:lnTo>
                    <a:pt x="96" y="123"/>
                  </a:lnTo>
                  <a:lnTo>
                    <a:pt x="98" y="123"/>
                  </a:lnTo>
                  <a:lnTo>
                    <a:pt x="98" y="125"/>
                  </a:lnTo>
                  <a:lnTo>
                    <a:pt x="98" y="127"/>
                  </a:lnTo>
                  <a:lnTo>
                    <a:pt x="100" y="127"/>
                  </a:lnTo>
                  <a:lnTo>
                    <a:pt x="98" y="127"/>
                  </a:lnTo>
                  <a:lnTo>
                    <a:pt x="98" y="129"/>
                  </a:lnTo>
                  <a:lnTo>
                    <a:pt x="98" y="127"/>
                  </a:lnTo>
                  <a:lnTo>
                    <a:pt x="98" y="129"/>
                  </a:lnTo>
                  <a:lnTo>
                    <a:pt x="98" y="127"/>
                  </a:lnTo>
                  <a:lnTo>
                    <a:pt x="98" y="129"/>
                  </a:lnTo>
                  <a:lnTo>
                    <a:pt x="98" y="127"/>
                  </a:lnTo>
                  <a:lnTo>
                    <a:pt x="98" y="129"/>
                  </a:lnTo>
                  <a:lnTo>
                    <a:pt x="98" y="131"/>
                  </a:lnTo>
                  <a:lnTo>
                    <a:pt x="100" y="131"/>
                  </a:lnTo>
                  <a:lnTo>
                    <a:pt x="100" y="133"/>
                  </a:lnTo>
                  <a:lnTo>
                    <a:pt x="100" y="135"/>
                  </a:lnTo>
                  <a:lnTo>
                    <a:pt x="102" y="135"/>
                  </a:lnTo>
                  <a:lnTo>
                    <a:pt x="102" y="137"/>
                  </a:lnTo>
                  <a:lnTo>
                    <a:pt x="100" y="137"/>
                  </a:lnTo>
                  <a:lnTo>
                    <a:pt x="102" y="137"/>
                  </a:lnTo>
                  <a:lnTo>
                    <a:pt x="102" y="139"/>
                  </a:lnTo>
                  <a:lnTo>
                    <a:pt x="102" y="137"/>
                  </a:lnTo>
                  <a:lnTo>
                    <a:pt x="102" y="139"/>
                  </a:lnTo>
                  <a:lnTo>
                    <a:pt x="102" y="141"/>
                  </a:lnTo>
                  <a:lnTo>
                    <a:pt x="102" y="142"/>
                  </a:lnTo>
                  <a:lnTo>
                    <a:pt x="104" y="142"/>
                  </a:lnTo>
                  <a:lnTo>
                    <a:pt x="102" y="142"/>
                  </a:lnTo>
                  <a:lnTo>
                    <a:pt x="104" y="142"/>
                  </a:lnTo>
                  <a:lnTo>
                    <a:pt x="104" y="144"/>
                  </a:lnTo>
                  <a:lnTo>
                    <a:pt x="104" y="142"/>
                  </a:lnTo>
                  <a:lnTo>
                    <a:pt x="102" y="142"/>
                  </a:lnTo>
                  <a:lnTo>
                    <a:pt x="102" y="144"/>
                  </a:lnTo>
                  <a:lnTo>
                    <a:pt x="104" y="144"/>
                  </a:lnTo>
                  <a:lnTo>
                    <a:pt x="104" y="146"/>
                  </a:lnTo>
                  <a:lnTo>
                    <a:pt x="104" y="148"/>
                  </a:lnTo>
                  <a:lnTo>
                    <a:pt x="104" y="146"/>
                  </a:lnTo>
                  <a:lnTo>
                    <a:pt x="104" y="148"/>
                  </a:lnTo>
                  <a:lnTo>
                    <a:pt x="104" y="150"/>
                  </a:lnTo>
                  <a:lnTo>
                    <a:pt x="104" y="152"/>
                  </a:lnTo>
                  <a:lnTo>
                    <a:pt x="104" y="150"/>
                  </a:lnTo>
                  <a:lnTo>
                    <a:pt x="104" y="152"/>
                  </a:lnTo>
                  <a:lnTo>
                    <a:pt x="104" y="154"/>
                  </a:lnTo>
                  <a:lnTo>
                    <a:pt x="106" y="154"/>
                  </a:lnTo>
                  <a:lnTo>
                    <a:pt x="104" y="154"/>
                  </a:lnTo>
                  <a:lnTo>
                    <a:pt x="104" y="156"/>
                  </a:lnTo>
                  <a:lnTo>
                    <a:pt x="104" y="158"/>
                  </a:lnTo>
                  <a:lnTo>
                    <a:pt x="104" y="156"/>
                  </a:lnTo>
                  <a:lnTo>
                    <a:pt x="104" y="158"/>
                  </a:lnTo>
                  <a:lnTo>
                    <a:pt x="104" y="156"/>
                  </a:lnTo>
                  <a:lnTo>
                    <a:pt x="104" y="158"/>
                  </a:lnTo>
                  <a:lnTo>
                    <a:pt x="104" y="160"/>
                  </a:lnTo>
                  <a:lnTo>
                    <a:pt x="106" y="160"/>
                  </a:lnTo>
                  <a:lnTo>
                    <a:pt x="104" y="160"/>
                  </a:lnTo>
                  <a:lnTo>
                    <a:pt x="106" y="160"/>
                  </a:lnTo>
                  <a:lnTo>
                    <a:pt x="106" y="162"/>
                  </a:lnTo>
                  <a:lnTo>
                    <a:pt x="108" y="162"/>
                  </a:lnTo>
                  <a:lnTo>
                    <a:pt x="106" y="162"/>
                  </a:lnTo>
                  <a:lnTo>
                    <a:pt x="108" y="162"/>
                  </a:lnTo>
                  <a:lnTo>
                    <a:pt x="106" y="162"/>
                  </a:lnTo>
                  <a:lnTo>
                    <a:pt x="106" y="164"/>
                  </a:lnTo>
                  <a:lnTo>
                    <a:pt x="106" y="162"/>
                  </a:lnTo>
                  <a:lnTo>
                    <a:pt x="106" y="164"/>
                  </a:lnTo>
                  <a:lnTo>
                    <a:pt x="106" y="166"/>
                  </a:lnTo>
                  <a:lnTo>
                    <a:pt x="108" y="166"/>
                  </a:lnTo>
                  <a:lnTo>
                    <a:pt x="106" y="166"/>
                  </a:lnTo>
                  <a:lnTo>
                    <a:pt x="106" y="167"/>
                  </a:lnTo>
                  <a:lnTo>
                    <a:pt x="106" y="166"/>
                  </a:lnTo>
                  <a:lnTo>
                    <a:pt x="106" y="164"/>
                  </a:lnTo>
                  <a:lnTo>
                    <a:pt x="104" y="164"/>
                  </a:lnTo>
                  <a:lnTo>
                    <a:pt x="104" y="166"/>
                  </a:lnTo>
                  <a:lnTo>
                    <a:pt x="102" y="166"/>
                  </a:lnTo>
                  <a:lnTo>
                    <a:pt x="104" y="166"/>
                  </a:lnTo>
                  <a:lnTo>
                    <a:pt x="102" y="166"/>
                  </a:lnTo>
                  <a:lnTo>
                    <a:pt x="104" y="166"/>
                  </a:lnTo>
                  <a:lnTo>
                    <a:pt x="104" y="167"/>
                  </a:lnTo>
                  <a:lnTo>
                    <a:pt x="104" y="169"/>
                  </a:lnTo>
                  <a:lnTo>
                    <a:pt x="106" y="169"/>
                  </a:lnTo>
                  <a:lnTo>
                    <a:pt x="104" y="169"/>
                  </a:lnTo>
                  <a:lnTo>
                    <a:pt x="102" y="169"/>
                  </a:lnTo>
                  <a:lnTo>
                    <a:pt x="104" y="169"/>
                  </a:lnTo>
                  <a:lnTo>
                    <a:pt x="104" y="171"/>
                  </a:lnTo>
                  <a:lnTo>
                    <a:pt x="104" y="173"/>
                  </a:lnTo>
                  <a:lnTo>
                    <a:pt x="102" y="173"/>
                  </a:lnTo>
                  <a:lnTo>
                    <a:pt x="104" y="173"/>
                  </a:lnTo>
                  <a:lnTo>
                    <a:pt x="104" y="175"/>
                  </a:lnTo>
                  <a:lnTo>
                    <a:pt x="104" y="177"/>
                  </a:lnTo>
                  <a:lnTo>
                    <a:pt x="104" y="175"/>
                  </a:lnTo>
                  <a:lnTo>
                    <a:pt x="102" y="175"/>
                  </a:lnTo>
                  <a:lnTo>
                    <a:pt x="102" y="173"/>
                  </a:lnTo>
                  <a:lnTo>
                    <a:pt x="102" y="175"/>
                  </a:lnTo>
                  <a:lnTo>
                    <a:pt x="104" y="175"/>
                  </a:lnTo>
                  <a:lnTo>
                    <a:pt x="104" y="177"/>
                  </a:lnTo>
                  <a:lnTo>
                    <a:pt x="102" y="177"/>
                  </a:lnTo>
                  <a:lnTo>
                    <a:pt x="102" y="179"/>
                  </a:lnTo>
                  <a:lnTo>
                    <a:pt x="102" y="177"/>
                  </a:lnTo>
                  <a:lnTo>
                    <a:pt x="104" y="177"/>
                  </a:lnTo>
                  <a:lnTo>
                    <a:pt x="102" y="177"/>
                  </a:lnTo>
                  <a:lnTo>
                    <a:pt x="102" y="179"/>
                  </a:lnTo>
                  <a:lnTo>
                    <a:pt x="104" y="179"/>
                  </a:lnTo>
                  <a:lnTo>
                    <a:pt x="102" y="179"/>
                  </a:lnTo>
                  <a:lnTo>
                    <a:pt x="104" y="179"/>
                  </a:lnTo>
                  <a:lnTo>
                    <a:pt x="104" y="181"/>
                  </a:lnTo>
                  <a:lnTo>
                    <a:pt x="102" y="181"/>
                  </a:lnTo>
                  <a:lnTo>
                    <a:pt x="102" y="183"/>
                  </a:lnTo>
                  <a:lnTo>
                    <a:pt x="102" y="181"/>
                  </a:lnTo>
                  <a:lnTo>
                    <a:pt x="100" y="181"/>
                  </a:lnTo>
                  <a:lnTo>
                    <a:pt x="100" y="183"/>
                  </a:lnTo>
                  <a:lnTo>
                    <a:pt x="100" y="185"/>
                  </a:lnTo>
                  <a:lnTo>
                    <a:pt x="100" y="187"/>
                  </a:lnTo>
                  <a:lnTo>
                    <a:pt x="98" y="187"/>
                  </a:lnTo>
                  <a:lnTo>
                    <a:pt x="98" y="185"/>
                  </a:lnTo>
                  <a:lnTo>
                    <a:pt x="98" y="187"/>
                  </a:lnTo>
                  <a:lnTo>
                    <a:pt x="96" y="187"/>
                  </a:lnTo>
                  <a:lnTo>
                    <a:pt x="96" y="189"/>
                  </a:lnTo>
                  <a:lnTo>
                    <a:pt x="96" y="187"/>
                  </a:lnTo>
                  <a:lnTo>
                    <a:pt x="94" y="187"/>
                  </a:lnTo>
                  <a:lnTo>
                    <a:pt x="94" y="189"/>
                  </a:lnTo>
                  <a:lnTo>
                    <a:pt x="92" y="189"/>
                  </a:lnTo>
                  <a:lnTo>
                    <a:pt x="92" y="191"/>
                  </a:lnTo>
                  <a:lnTo>
                    <a:pt x="91" y="191"/>
                  </a:lnTo>
                  <a:lnTo>
                    <a:pt x="91" y="192"/>
                  </a:lnTo>
                  <a:lnTo>
                    <a:pt x="91" y="191"/>
                  </a:lnTo>
                  <a:lnTo>
                    <a:pt x="89" y="191"/>
                  </a:lnTo>
                  <a:lnTo>
                    <a:pt x="89" y="192"/>
                  </a:lnTo>
                  <a:lnTo>
                    <a:pt x="87" y="191"/>
                  </a:lnTo>
                  <a:lnTo>
                    <a:pt x="87" y="192"/>
                  </a:lnTo>
                  <a:lnTo>
                    <a:pt x="87" y="194"/>
                  </a:lnTo>
                  <a:lnTo>
                    <a:pt x="85" y="194"/>
                  </a:lnTo>
                  <a:lnTo>
                    <a:pt x="83" y="194"/>
                  </a:lnTo>
                  <a:lnTo>
                    <a:pt x="83" y="196"/>
                  </a:lnTo>
                  <a:lnTo>
                    <a:pt x="81" y="196"/>
                  </a:lnTo>
                  <a:lnTo>
                    <a:pt x="79" y="196"/>
                  </a:lnTo>
                  <a:lnTo>
                    <a:pt x="79" y="198"/>
                  </a:lnTo>
                  <a:lnTo>
                    <a:pt x="77" y="198"/>
                  </a:lnTo>
                  <a:lnTo>
                    <a:pt x="75" y="198"/>
                  </a:lnTo>
                  <a:lnTo>
                    <a:pt x="77" y="198"/>
                  </a:lnTo>
                  <a:lnTo>
                    <a:pt x="75" y="198"/>
                  </a:lnTo>
                  <a:lnTo>
                    <a:pt x="75" y="200"/>
                  </a:lnTo>
                  <a:lnTo>
                    <a:pt x="73" y="200"/>
                  </a:lnTo>
                  <a:lnTo>
                    <a:pt x="73" y="198"/>
                  </a:lnTo>
                  <a:lnTo>
                    <a:pt x="73" y="200"/>
                  </a:lnTo>
                  <a:lnTo>
                    <a:pt x="71" y="200"/>
                  </a:lnTo>
                  <a:lnTo>
                    <a:pt x="73" y="200"/>
                  </a:lnTo>
                  <a:lnTo>
                    <a:pt x="73" y="198"/>
                  </a:lnTo>
                  <a:lnTo>
                    <a:pt x="71" y="198"/>
                  </a:lnTo>
                  <a:lnTo>
                    <a:pt x="69" y="198"/>
                  </a:lnTo>
                  <a:lnTo>
                    <a:pt x="71" y="198"/>
                  </a:lnTo>
                  <a:lnTo>
                    <a:pt x="71" y="200"/>
                  </a:lnTo>
                  <a:lnTo>
                    <a:pt x="71" y="198"/>
                  </a:lnTo>
                  <a:lnTo>
                    <a:pt x="71" y="200"/>
                  </a:lnTo>
                  <a:lnTo>
                    <a:pt x="69" y="200"/>
                  </a:lnTo>
                  <a:lnTo>
                    <a:pt x="69" y="198"/>
                  </a:lnTo>
                  <a:lnTo>
                    <a:pt x="69" y="200"/>
                  </a:lnTo>
                  <a:lnTo>
                    <a:pt x="67" y="200"/>
                  </a:lnTo>
                  <a:lnTo>
                    <a:pt x="69" y="200"/>
                  </a:lnTo>
                  <a:lnTo>
                    <a:pt x="67" y="200"/>
                  </a:lnTo>
                  <a:lnTo>
                    <a:pt x="67" y="198"/>
                  </a:lnTo>
                  <a:lnTo>
                    <a:pt x="67" y="200"/>
                  </a:lnTo>
                  <a:lnTo>
                    <a:pt x="67" y="202"/>
                  </a:lnTo>
                  <a:lnTo>
                    <a:pt x="67" y="200"/>
                  </a:lnTo>
                  <a:lnTo>
                    <a:pt x="66" y="200"/>
                  </a:lnTo>
                  <a:lnTo>
                    <a:pt x="66" y="202"/>
                  </a:lnTo>
                  <a:lnTo>
                    <a:pt x="66" y="200"/>
                  </a:lnTo>
                  <a:lnTo>
                    <a:pt x="64" y="200"/>
                  </a:lnTo>
                  <a:lnTo>
                    <a:pt x="64" y="202"/>
                  </a:lnTo>
                  <a:lnTo>
                    <a:pt x="66" y="202"/>
                  </a:lnTo>
                  <a:lnTo>
                    <a:pt x="67" y="202"/>
                  </a:lnTo>
                  <a:lnTo>
                    <a:pt x="67" y="204"/>
                  </a:lnTo>
                  <a:lnTo>
                    <a:pt x="66" y="204"/>
                  </a:lnTo>
                  <a:lnTo>
                    <a:pt x="67" y="204"/>
                  </a:lnTo>
                  <a:lnTo>
                    <a:pt x="66" y="204"/>
                  </a:lnTo>
                  <a:lnTo>
                    <a:pt x="66" y="206"/>
                  </a:lnTo>
                  <a:lnTo>
                    <a:pt x="64" y="206"/>
                  </a:lnTo>
                  <a:lnTo>
                    <a:pt x="64" y="204"/>
                  </a:lnTo>
                  <a:lnTo>
                    <a:pt x="62" y="204"/>
                  </a:lnTo>
                  <a:lnTo>
                    <a:pt x="62" y="202"/>
                  </a:lnTo>
                  <a:lnTo>
                    <a:pt x="62" y="204"/>
                  </a:lnTo>
                  <a:lnTo>
                    <a:pt x="64" y="204"/>
                  </a:lnTo>
                  <a:lnTo>
                    <a:pt x="64" y="206"/>
                  </a:lnTo>
                  <a:lnTo>
                    <a:pt x="66" y="206"/>
                  </a:lnTo>
                  <a:lnTo>
                    <a:pt x="66" y="208"/>
                  </a:lnTo>
                  <a:lnTo>
                    <a:pt x="64" y="208"/>
                  </a:lnTo>
                  <a:lnTo>
                    <a:pt x="64" y="206"/>
                  </a:lnTo>
                  <a:lnTo>
                    <a:pt x="62" y="206"/>
                  </a:lnTo>
                  <a:lnTo>
                    <a:pt x="62" y="204"/>
                  </a:lnTo>
                  <a:lnTo>
                    <a:pt x="60" y="204"/>
                  </a:lnTo>
                  <a:lnTo>
                    <a:pt x="60" y="202"/>
                  </a:lnTo>
                  <a:lnTo>
                    <a:pt x="58" y="202"/>
                  </a:lnTo>
                  <a:lnTo>
                    <a:pt x="58" y="204"/>
                  </a:lnTo>
                  <a:lnTo>
                    <a:pt x="60" y="204"/>
                  </a:lnTo>
                  <a:lnTo>
                    <a:pt x="60" y="206"/>
                  </a:lnTo>
                  <a:lnTo>
                    <a:pt x="62" y="206"/>
                  </a:lnTo>
                  <a:lnTo>
                    <a:pt x="62" y="208"/>
                  </a:lnTo>
                  <a:lnTo>
                    <a:pt x="64" y="208"/>
                  </a:lnTo>
                  <a:lnTo>
                    <a:pt x="64" y="210"/>
                  </a:lnTo>
                  <a:lnTo>
                    <a:pt x="66" y="210"/>
                  </a:lnTo>
                  <a:lnTo>
                    <a:pt x="66" y="212"/>
                  </a:lnTo>
                  <a:lnTo>
                    <a:pt x="64" y="212"/>
                  </a:lnTo>
                  <a:lnTo>
                    <a:pt x="62" y="212"/>
                  </a:lnTo>
                  <a:lnTo>
                    <a:pt x="60" y="212"/>
                  </a:lnTo>
                  <a:lnTo>
                    <a:pt x="60" y="210"/>
                  </a:lnTo>
                  <a:lnTo>
                    <a:pt x="58" y="210"/>
                  </a:lnTo>
                  <a:lnTo>
                    <a:pt x="58" y="208"/>
                  </a:lnTo>
                  <a:lnTo>
                    <a:pt x="58" y="210"/>
                  </a:lnTo>
                  <a:lnTo>
                    <a:pt x="58" y="212"/>
                  </a:lnTo>
                  <a:lnTo>
                    <a:pt x="60" y="212"/>
                  </a:lnTo>
                  <a:lnTo>
                    <a:pt x="60" y="214"/>
                  </a:lnTo>
                  <a:lnTo>
                    <a:pt x="58" y="214"/>
                  </a:lnTo>
                  <a:lnTo>
                    <a:pt x="60" y="214"/>
                  </a:lnTo>
                  <a:lnTo>
                    <a:pt x="60" y="215"/>
                  </a:lnTo>
                  <a:lnTo>
                    <a:pt x="58" y="215"/>
                  </a:lnTo>
                  <a:lnTo>
                    <a:pt x="56" y="215"/>
                  </a:lnTo>
                  <a:lnTo>
                    <a:pt x="54" y="215"/>
                  </a:lnTo>
                  <a:lnTo>
                    <a:pt x="54" y="217"/>
                  </a:lnTo>
                  <a:lnTo>
                    <a:pt x="52" y="217"/>
                  </a:lnTo>
                  <a:lnTo>
                    <a:pt x="50" y="217"/>
                  </a:lnTo>
                  <a:lnTo>
                    <a:pt x="50" y="219"/>
                  </a:lnTo>
                  <a:lnTo>
                    <a:pt x="48" y="219"/>
                  </a:lnTo>
                  <a:lnTo>
                    <a:pt x="48" y="221"/>
                  </a:lnTo>
                  <a:lnTo>
                    <a:pt x="46" y="221"/>
                  </a:lnTo>
                  <a:lnTo>
                    <a:pt x="46" y="223"/>
                  </a:lnTo>
                  <a:lnTo>
                    <a:pt x="44" y="223"/>
                  </a:lnTo>
                  <a:lnTo>
                    <a:pt x="44" y="225"/>
                  </a:lnTo>
                  <a:lnTo>
                    <a:pt x="43" y="225"/>
                  </a:lnTo>
                  <a:lnTo>
                    <a:pt x="43" y="227"/>
                  </a:lnTo>
                  <a:lnTo>
                    <a:pt x="41" y="227"/>
                  </a:lnTo>
                  <a:lnTo>
                    <a:pt x="39" y="227"/>
                  </a:lnTo>
                  <a:lnTo>
                    <a:pt x="37" y="227"/>
                  </a:lnTo>
                  <a:lnTo>
                    <a:pt x="37" y="225"/>
                  </a:lnTo>
                  <a:lnTo>
                    <a:pt x="39" y="225"/>
                  </a:lnTo>
                  <a:lnTo>
                    <a:pt x="39" y="223"/>
                  </a:lnTo>
                  <a:lnTo>
                    <a:pt x="41" y="223"/>
                  </a:lnTo>
                  <a:lnTo>
                    <a:pt x="39" y="223"/>
                  </a:lnTo>
                  <a:lnTo>
                    <a:pt x="39" y="221"/>
                  </a:lnTo>
                  <a:lnTo>
                    <a:pt x="39" y="219"/>
                  </a:lnTo>
                  <a:lnTo>
                    <a:pt x="39" y="217"/>
                  </a:lnTo>
                  <a:lnTo>
                    <a:pt x="39" y="215"/>
                  </a:lnTo>
                  <a:lnTo>
                    <a:pt x="39" y="214"/>
                  </a:lnTo>
                  <a:lnTo>
                    <a:pt x="39" y="212"/>
                  </a:lnTo>
                  <a:lnTo>
                    <a:pt x="39" y="210"/>
                  </a:lnTo>
                  <a:lnTo>
                    <a:pt x="41" y="210"/>
                  </a:lnTo>
                  <a:lnTo>
                    <a:pt x="41" y="208"/>
                  </a:lnTo>
                  <a:lnTo>
                    <a:pt x="43" y="208"/>
                  </a:lnTo>
                  <a:lnTo>
                    <a:pt x="43" y="206"/>
                  </a:lnTo>
                  <a:lnTo>
                    <a:pt x="43" y="204"/>
                  </a:lnTo>
                  <a:lnTo>
                    <a:pt x="41" y="204"/>
                  </a:lnTo>
                  <a:lnTo>
                    <a:pt x="39" y="204"/>
                  </a:lnTo>
                  <a:lnTo>
                    <a:pt x="39" y="202"/>
                  </a:lnTo>
                  <a:lnTo>
                    <a:pt x="37" y="202"/>
                  </a:lnTo>
                  <a:lnTo>
                    <a:pt x="37" y="204"/>
                  </a:lnTo>
                  <a:lnTo>
                    <a:pt x="37" y="202"/>
                  </a:lnTo>
                  <a:lnTo>
                    <a:pt x="35" y="202"/>
                  </a:lnTo>
                  <a:lnTo>
                    <a:pt x="35" y="200"/>
                  </a:lnTo>
                  <a:lnTo>
                    <a:pt x="35" y="202"/>
                  </a:lnTo>
                  <a:lnTo>
                    <a:pt x="35" y="200"/>
                  </a:lnTo>
                  <a:lnTo>
                    <a:pt x="35" y="198"/>
                  </a:lnTo>
                  <a:lnTo>
                    <a:pt x="35" y="200"/>
                  </a:lnTo>
                  <a:lnTo>
                    <a:pt x="33" y="200"/>
                  </a:lnTo>
                  <a:lnTo>
                    <a:pt x="33" y="198"/>
                  </a:lnTo>
                  <a:lnTo>
                    <a:pt x="35" y="198"/>
                  </a:lnTo>
                  <a:lnTo>
                    <a:pt x="35" y="200"/>
                  </a:lnTo>
                  <a:lnTo>
                    <a:pt x="35" y="198"/>
                  </a:lnTo>
                  <a:lnTo>
                    <a:pt x="37" y="198"/>
                  </a:lnTo>
                  <a:lnTo>
                    <a:pt x="39" y="198"/>
                  </a:lnTo>
                  <a:lnTo>
                    <a:pt x="41" y="198"/>
                  </a:lnTo>
                  <a:lnTo>
                    <a:pt x="41" y="196"/>
                  </a:lnTo>
                  <a:lnTo>
                    <a:pt x="43" y="196"/>
                  </a:lnTo>
                  <a:lnTo>
                    <a:pt x="43" y="194"/>
                  </a:lnTo>
                  <a:lnTo>
                    <a:pt x="43" y="192"/>
                  </a:lnTo>
                  <a:lnTo>
                    <a:pt x="43" y="191"/>
                  </a:lnTo>
                  <a:lnTo>
                    <a:pt x="43" y="192"/>
                  </a:lnTo>
                  <a:lnTo>
                    <a:pt x="44" y="192"/>
                  </a:lnTo>
                  <a:lnTo>
                    <a:pt x="46" y="192"/>
                  </a:lnTo>
                  <a:lnTo>
                    <a:pt x="48" y="192"/>
                  </a:lnTo>
                  <a:lnTo>
                    <a:pt x="48" y="191"/>
                  </a:lnTo>
                  <a:lnTo>
                    <a:pt x="50" y="191"/>
                  </a:lnTo>
                  <a:lnTo>
                    <a:pt x="52" y="191"/>
                  </a:lnTo>
                  <a:lnTo>
                    <a:pt x="54" y="191"/>
                  </a:lnTo>
                  <a:lnTo>
                    <a:pt x="54" y="192"/>
                  </a:lnTo>
                  <a:lnTo>
                    <a:pt x="56" y="192"/>
                  </a:lnTo>
                  <a:lnTo>
                    <a:pt x="58" y="192"/>
                  </a:lnTo>
                  <a:lnTo>
                    <a:pt x="60" y="194"/>
                  </a:lnTo>
                  <a:lnTo>
                    <a:pt x="60" y="192"/>
                  </a:lnTo>
                  <a:lnTo>
                    <a:pt x="58" y="192"/>
                  </a:lnTo>
                  <a:lnTo>
                    <a:pt x="58" y="191"/>
                  </a:lnTo>
                  <a:lnTo>
                    <a:pt x="60" y="191"/>
                  </a:lnTo>
                  <a:lnTo>
                    <a:pt x="58" y="189"/>
                  </a:lnTo>
                  <a:lnTo>
                    <a:pt x="56" y="189"/>
                  </a:lnTo>
                  <a:lnTo>
                    <a:pt x="56" y="187"/>
                  </a:lnTo>
                  <a:lnTo>
                    <a:pt x="54" y="187"/>
                  </a:lnTo>
                  <a:lnTo>
                    <a:pt x="56" y="187"/>
                  </a:lnTo>
                  <a:lnTo>
                    <a:pt x="54" y="187"/>
                  </a:lnTo>
                  <a:lnTo>
                    <a:pt x="54" y="185"/>
                  </a:lnTo>
                  <a:lnTo>
                    <a:pt x="54" y="183"/>
                  </a:lnTo>
                  <a:lnTo>
                    <a:pt x="54" y="185"/>
                  </a:lnTo>
                  <a:lnTo>
                    <a:pt x="54" y="183"/>
                  </a:lnTo>
                  <a:lnTo>
                    <a:pt x="54" y="181"/>
                  </a:lnTo>
                  <a:lnTo>
                    <a:pt x="56" y="181"/>
                  </a:lnTo>
                  <a:lnTo>
                    <a:pt x="56" y="179"/>
                  </a:lnTo>
                  <a:lnTo>
                    <a:pt x="58" y="179"/>
                  </a:lnTo>
                  <a:lnTo>
                    <a:pt x="60" y="179"/>
                  </a:lnTo>
                  <a:lnTo>
                    <a:pt x="60" y="181"/>
                  </a:lnTo>
                  <a:lnTo>
                    <a:pt x="62" y="181"/>
                  </a:lnTo>
                  <a:lnTo>
                    <a:pt x="64" y="181"/>
                  </a:lnTo>
                  <a:lnTo>
                    <a:pt x="64" y="179"/>
                  </a:lnTo>
                  <a:lnTo>
                    <a:pt x="62" y="179"/>
                  </a:lnTo>
                  <a:lnTo>
                    <a:pt x="64" y="179"/>
                  </a:lnTo>
                  <a:lnTo>
                    <a:pt x="64" y="177"/>
                  </a:lnTo>
                  <a:lnTo>
                    <a:pt x="62" y="177"/>
                  </a:lnTo>
                  <a:lnTo>
                    <a:pt x="62" y="175"/>
                  </a:lnTo>
                  <a:lnTo>
                    <a:pt x="64" y="175"/>
                  </a:lnTo>
                  <a:lnTo>
                    <a:pt x="66" y="175"/>
                  </a:lnTo>
                  <a:lnTo>
                    <a:pt x="67" y="175"/>
                  </a:lnTo>
                  <a:lnTo>
                    <a:pt x="66" y="175"/>
                  </a:lnTo>
                  <a:lnTo>
                    <a:pt x="67" y="175"/>
                  </a:lnTo>
                  <a:lnTo>
                    <a:pt x="69" y="175"/>
                  </a:lnTo>
                  <a:lnTo>
                    <a:pt x="71" y="175"/>
                  </a:lnTo>
                  <a:lnTo>
                    <a:pt x="71" y="173"/>
                  </a:lnTo>
                  <a:lnTo>
                    <a:pt x="73" y="173"/>
                  </a:lnTo>
                  <a:lnTo>
                    <a:pt x="73" y="171"/>
                  </a:lnTo>
                  <a:lnTo>
                    <a:pt x="73" y="173"/>
                  </a:lnTo>
                  <a:lnTo>
                    <a:pt x="73" y="171"/>
                  </a:lnTo>
                  <a:lnTo>
                    <a:pt x="75" y="171"/>
                  </a:lnTo>
                  <a:lnTo>
                    <a:pt x="77" y="171"/>
                  </a:lnTo>
                  <a:lnTo>
                    <a:pt x="79" y="171"/>
                  </a:lnTo>
                  <a:lnTo>
                    <a:pt x="79" y="169"/>
                  </a:lnTo>
                  <a:lnTo>
                    <a:pt x="79" y="171"/>
                  </a:lnTo>
                  <a:lnTo>
                    <a:pt x="79" y="169"/>
                  </a:lnTo>
                  <a:lnTo>
                    <a:pt x="79" y="167"/>
                  </a:lnTo>
                  <a:lnTo>
                    <a:pt x="79" y="166"/>
                  </a:lnTo>
                  <a:lnTo>
                    <a:pt x="79" y="164"/>
                  </a:lnTo>
                  <a:lnTo>
                    <a:pt x="79" y="162"/>
                  </a:lnTo>
                  <a:lnTo>
                    <a:pt x="77" y="162"/>
                  </a:lnTo>
                  <a:lnTo>
                    <a:pt x="79" y="162"/>
                  </a:lnTo>
                  <a:lnTo>
                    <a:pt x="77" y="162"/>
                  </a:lnTo>
                  <a:lnTo>
                    <a:pt x="79" y="162"/>
                  </a:lnTo>
                  <a:lnTo>
                    <a:pt x="79" y="160"/>
                  </a:lnTo>
                  <a:lnTo>
                    <a:pt x="79" y="158"/>
                  </a:lnTo>
                  <a:lnTo>
                    <a:pt x="79" y="156"/>
                  </a:lnTo>
                  <a:lnTo>
                    <a:pt x="81" y="156"/>
                  </a:lnTo>
                  <a:lnTo>
                    <a:pt x="81" y="154"/>
                  </a:lnTo>
                  <a:lnTo>
                    <a:pt x="81" y="152"/>
                  </a:lnTo>
                  <a:lnTo>
                    <a:pt x="79" y="152"/>
                  </a:lnTo>
                  <a:lnTo>
                    <a:pt x="79" y="150"/>
                  </a:lnTo>
                  <a:lnTo>
                    <a:pt x="79" y="148"/>
                  </a:lnTo>
                  <a:lnTo>
                    <a:pt x="77" y="148"/>
                  </a:lnTo>
                  <a:lnTo>
                    <a:pt x="77" y="146"/>
                  </a:lnTo>
                  <a:lnTo>
                    <a:pt x="77" y="144"/>
                  </a:lnTo>
                  <a:lnTo>
                    <a:pt x="75" y="144"/>
                  </a:lnTo>
                  <a:lnTo>
                    <a:pt x="75" y="142"/>
                  </a:lnTo>
                  <a:lnTo>
                    <a:pt x="77" y="142"/>
                  </a:lnTo>
                  <a:lnTo>
                    <a:pt x="77" y="141"/>
                  </a:lnTo>
                  <a:lnTo>
                    <a:pt x="77" y="139"/>
                  </a:lnTo>
                  <a:lnTo>
                    <a:pt x="79" y="139"/>
                  </a:lnTo>
                  <a:lnTo>
                    <a:pt x="79" y="137"/>
                  </a:lnTo>
                  <a:lnTo>
                    <a:pt x="79" y="135"/>
                  </a:lnTo>
                  <a:lnTo>
                    <a:pt x="79" y="133"/>
                  </a:lnTo>
                  <a:lnTo>
                    <a:pt x="79" y="131"/>
                  </a:lnTo>
                  <a:lnTo>
                    <a:pt x="77" y="131"/>
                  </a:lnTo>
                  <a:lnTo>
                    <a:pt x="79" y="129"/>
                  </a:lnTo>
                  <a:lnTo>
                    <a:pt x="79" y="131"/>
                  </a:lnTo>
                  <a:lnTo>
                    <a:pt x="79" y="129"/>
                  </a:lnTo>
                  <a:lnTo>
                    <a:pt x="81" y="129"/>
                  </a:lnTo>
                  <a:lnTo>
                    <a:pt x="79" y="129"/>
                  </a:lnTo>
                  <a:lnTo>
                    <a:pt x="81" y="129"/>
                  </a:lnTo>
                  <a:lnTo>
                    <a:pt x="79" y="129"/>
                  </a:lnTo>
                  <a:lnTo>
                    <a:pt x="81" y="129"/>
                  </a:lnTo>
                  <a:lnTo>
                    <a:pt x="81" y="127"/>
                  </a:lnTo>
                  <a:lnTo>
                    <a:pt x="79" y="127"/>
                  </a:lnTo>
                  <a:lnTo>
                    <a:pt x="81" y="127"/>
                  </a:lnTo>
                  <a:lnTo>
                    <a:pt x="79" y="127"/>
                  </a:lnTo>
                  <a:lnTo>
                    <a:pt x="81" y="125"/>
                  </a:lnTo>
                  <a:lnTo>
                    <a:pt x="79" y="125"/>
                  </a:lnTo>
                  <a:lnTo>
                    <a:pt x="81" y="125"/>
                  </a:lnTo>
                  <a:lnTo>
                    <a:pt x="79" y="125"/>
                  </a:lnTo>
                  <a:lnTo>
                    <a:pt x="81" y="125"/>
                  </a:lnTo>
                  <a:lnTo>
                    <a:pt x="79" y="125"/>
                  </a:lnTo>
                  <a:lnTo>
                    <a:pt x="79" y="123"/>
                  </a:lnTo>
                  <a:lnTo>
                    <a:pt x="81" y="123"/>
                  </a:lnTo>
                  <a:lnTo>
                    <a:pt x="79" y="123"/>
                  </a:lnTo>
                  <a:lnTo>
                    <a:pt x="79" y="125"/>
                  </a:lnTo>
                  <a:lnTo>
                    <a:pt x="79" y="123"/>
                  </a:lnTo>
                  <a:lnTo>
                    <a:pt x="77" y="123"/>
                  </a:lnTo>
                  <a:lnTo>
                    <a:pt x="77" y="121"/>
                  </a:lnTo>
                  <a:lnTo>
                    <a:pt x="75" y="121"/>
                  </a:lnTo>
                  <a:lnTo>
                    <a:pt x="75" y="119"/>
                  </a:lnTo>
                  <a:lnTo>
                    <a:pt x="73" y="119"/>
                  </a:lnTo>
                  <a:lnTo>
                    <a:pt x="75" y="118"/>
                  </a:lnTo>
                  <a:lnTo>
                    <a:pt x="73" y="118"/>
                  </a:lnTo>
                  <a:lnTo>
                    <a:pt x="75" y="118"/>
                  </a:lnTo>
                  <a:lnTo>
                    <a:pt x="77" y="118"/>
                  </a:lnTo>
                  <a:lnTo>
                    <a:pt x="77" y="116"/>
                  </a:lnTo>
                  <a:lnTo>
                    <a:pt x="77" y="114"/>
                  </a:lnTo>
                  <a:lnTo>
                    <a:pt x="75" y="114"/>
                  </a:lnTo>
                  <a:lnTo>
                    <a:pt x="73" y="114"/>
                  </a:lnTo>
                  <a:lnTo>
                    <a:pt x="73" y="112"/>
                  </a:lnTo>
                  <a:lnTo>
                    <a:pt x="73" y="110"/>
                  </a:lnTo>
                  <a:lnTo>
                    <a:pt x="71" y="110"/>
                  </a:lnTo>
                  <a:lnTo>
                    <a:pt x="69" y="110"/>
                  </a:lnTo>
                  <a:lnTo>
                    <a:pt x="69" y="108"/>
                  </a:lnTo>
                  <a:lnTo>
                    <a:pt x="69" y="106"/>
                  </a:lnTo>
                  <a:lnTo>
                    <a:pt x="67" y="106"/>
                  </a:lnTo>
                  <a:lnTo>
                    <a:pt x="69" y="108"/>
                  </a:lnTo>
                  <a:lnTo>
                    <a:pt x="67" y="108"/>
                  </a:lnTo>
                  <a:lnTo>
                    <a:pt x="67" y="110"/>
                  </a:lnTo>
                  <a:lnTo>
                    <a:pt x="67" y="108"/>
                  </a:lnTo>
                  <a:lnTo>
                    <a:pt x="66" y="108"/>
                  </a:lnTo>
                  <a:lnTo>
                    <a:pt x="66" y="106"/>
                  </a:lnTo>
                  <a:lnTo>
                    <a:pt x="64" y="106"/>
                  </a:lnTo>
                  <a:lnTo>
                    <a:pt x="66" y="106"/>
                  </a:lnTo>
                  <a:lnTo>
                    <a:pt x="64" y="106"/>
                  </a:lnTo>
                  <a:lnTo>
                    <a:pt x="66" y="106"/>
                  </a:lnTo>
                  <a:lnTo>
                    <a:pt x="64" y="106"/>
                  </a:lnTo>
                  <a:lnTo>
                    <a:pt x="64" y="104"/>
                  </a:lnTo>
                  <a:lnTo>
                    <a:pt x="64" y="102"/>
                  </a:lnTo>
                  <a:lnTo>
                    <a:pt x="64" y="100"/>
                  </a:lnTo>
                  <a:lnTo>
                    <a:pt x="62" y="100"/>
                  </a:lnTo>
                  <a:lnTo>
                    <a:pt x="62" y="98"/>
                  </a:lnTo>
                  <a:lnTo>
                    <a:pt x="62" y="96"/>
                  </a:lnTo>
                  <a:lnTo>
                    <a:pt x="60" y="96"/>
                  </a:lnTo>
                  <a:lnTo>
                    <a:pt x="62" y="96"/>
                  </a:lnTo>
                  <a:lnTo>
                    <a:pt x="60" y="94"/>
                  </a:lnTo>
                  <a:lnTo>
                    <a:pt x="60" y="96"/>
                  </a:lnTo>
                  <a:lnTo>
                    <a:pt x="60" y="94"/>
                  </a:lnTo>
                  <a:lnTo>
                    <a:pt x="58" y="94"/>
                  </a:lnTo>
                  <a:lnTo>
                    <a:pt x="56" y="93"/>
                  </a:lnTo>
                  <a:lnTo>
                    <a:pt x="54" y="91"/>
                  </a:lnTo>
                  <a:lnTo>
                    <a:pt x="54" y="89"/>
                  </a:lnTo>
                  <a:lnTo>
                    <a:pt x="52" y="89"/>
                  </a:lnTo>
                  <a:lnTo>
                    <a:pt x="52" y="91"/>
                  </a:lnTo>
                  <a:lnTo>
                    <a:pt x="52" y="89"/>
                  </a:lnTo>
                  <a:lnTo>
                    <a:pt x="52" y="87"/>
                  </a:lnTo>
                  <a:lnTo>
                    <a:pt x="50" y="87"/>
                  </a:lnTo>
                  <a:lnTo>
                    <a:pt x="50" y="85"/>
                  </a:lnTo>
                  <a:lnTo>
                    <a:pt x="50" y="83"/>
                  </a:lnTo>
                  <a:lnTo>
                    <a:pt x="48" y="83"/>
                  </a:lnTo>
                  <a:lnTo>
                    <a:pt x="48" y="81"/>
                  </a:lnTo>
                  <a:lnTo>
                    <a:pt x="48" y="83"/>
                  </a:lnTo>
                  <a:lnTo>
                    <a:pt x="48" y="81"/>
                  </a:lnTo>
                  <a:lnTo>
                    <a:pt x="46" y="81"/>
                  </a:lnTo>
                  <a:lnTo>
                    <a:pt x="46" y="83"/>
                  </a:lnTo>
                  <a:lnTo>
                    <a:pt x="46" y="81"/>
                  </a:lnTo>
                  <a:lnTo>
                    <a:pt x="44" y="81"/>
                  </a:lnTo>
                  <a:lnTo>
                    <a:pt x="44" y="79"/>
                  </a:lnTo>
                  <a:lnTo>
                    <a:pt x="44" y="77"/>
                  </a:lnTo>
                  <a:lnTo>
                    <a:pt x="44" y="79"/>
                  </a:lnTo>
                  <a:lnTo>
                    <a:pt x="44" y="77"/>
                  </a:lnTo>
                  <a:lnTo>
                    <a:pt x="44" y="79"/>
                  </a:lnTo>
                  <a:lnTo>
                    <a:pt x="44" y="77"/>
                  </a:lnTo>
                  <a:lnTo>
                    <a:pt x="43" y="77"/>
                  </a:lnTo>
                  <a:lnTo>
                    <a:pt x="43" y="75"/>
                  </a:lnTo>
                  <a:lnTo>
                    <a:pt x="44" y="75"/>
                  </a:lnTo>
                  <a:lnTo>
                    <a:pt x="44" y="73"/>
                  </a:lnTo>
                  <a:lnTo>
                    <a:pt x="43" y="73"/>
                  </a:lnTo>
                  <a:lnTo>
                    <a:pt x="41" y="73"/>
                  </a:lnTo>
                  <a:lnTo>
                    <a:pt x="41" y="71"/>
                  </a:lnTo>
                  <a:lnTo>
                    <a:pt x="41" y="73"/>
                  </a:lnTo>
                  <a:lnTo>
                    <a:pt x="39" y="73"/>
                  </a:lnTo>
                  <a:lnTo>
                    <a:pt x="39" y="71"/>
                  </a:lnTo>
                  <a:lnTo>
                    <a:pt x="37" y="71"/>
                  </a:lnTo>
                  <a:lnTo>
                    <a:pt x="35" y="71"/>
                  </a:lnTo>
                  <a:lnTo>
                    <a:pt x="35" y="70"/>
                  </a:lnTo>
                  <a:lnTo>
                    <a:pt x="33" y="70"/>
                  </a:lnTo>
                  <a:lnTo>
                    <a:pt x="33" y="68"/>
                  </a:lnTo>
                  <a:lnTo>
                    <a:pt x="31" y="68"/>
                  </a:lnTo>
                  <a:lnTo>
                    <a:pt x="29" y="66"/>
                  </a:lnTo>
                  <a:lnTo>
                    <a:pt x="27" y="66"/>
                  </a:lnTo>
                  <a:lnTo>
                    <a:pt x="25" y="66"/>
                  </a:lnTo>
                  <a:lnTo>
                    <a:pt x="25" y="64"/>
                  </a:lnTo>
                  <a:lnTo>
                    <a:pt x="27" y="64"/>
                  </a:lnTo>
                  <a:lnTo>
                    <a:pt x="27" y="62"/>
                  </a:lnTo>
                  <a:lnTo>
                    <a:pt x="29" y="62"/>
                  </a:lnTo>
                  <a:lnTo>
                    <a:pt x="27" y="62"/>
                  </a:lnTo>
                  <a:lnTo>
                    <a:pt x="29" y="62"/>
                  </a:lnTo>
                  <a:lnTo>
                    <a:pt x="29" y="60"/>
                  </a:lnTo>
                  <a:lnTo>
                    <a:pt x="27" y="60"/>
                  </a:lnTo>
                  <a:lnTo>
                    <a:pt x="27" y="58"/>
                  </a:lnTo>
                  <a:lnTo>
                    <a:pt x="29" y="58"/>
                  </a:lnTo>
                  <a:lnTo>
                    <a:pt x="31" y="58"/>
                  </a:lnTo>
                  <a:lnTo>
                    <a:pt x="33" y="58"/>
                  </a:lnTo>
                  <a:lnTo>
                    <a:pt x="33" y="60"/>
                  </a:lnTo>
                  <a:lnTo>
                    <a:pt x="35" y="60"/>
                  </a:lnTo>
                  <a:lnTo>
                    <a:pt x="37" y="60"/>
                  </a:lnTo>
                  <a:lnTo>
                    <a:pt x="37" y="58"/>
                  </a:lnTo>
                  <a:lnTo>
                    <a:pt x="39" y="58"/>
                  </a:lnTo>
                  <a:lnTo>
                    <a:pt x="39" y="56"/>
                  </a:lnTo>
                  <a:lnTo>
                    <a:pt x="39" y="54"/>
                  </a:lnTo>
                  <a:lnTo>
                    <a:pt x="41" y="54"/>
                  </a:lnTo>
                  <a:lnTo>
                    <a:pt x="41" y="52"/>
                  </a:lnTo>
                  <a:lnTo>
                    <a:pt x="41" y="50"/>
                  </a:lnTo>
                  <a:lnTo>
                    <a:pt x="41" y="52"/>
                  </a:lnTo>
                  <a:lnTo>
                    <a:pt x="39" y="52"/>
                  </a:lnTo>
                  <a:lnTo>
                    <a:pt x="39" y="50"/>
                  </a:lnTo>
                  <a:lnTo>
                    <a:pt x="39" y="52"/>
                  </a:lnTo>
                  <a:lnTo>
                    <a:pt x="39" y="50"/>
                  </a:lnTo>
                  <a:lnTo>
                    <a:pt x="37" y="50"/>
                  </a:lnTo>
                  <a:lnTo>
                    <a:pt x="37" y="48"/>
                  </a:lnTo>
                  <a:lnTo>
                    <a:pt x="37" y="46"/>
                  </a:lnTo>
                  <a:lnTo>
                    <a:pt x="35" y="46"/>
                  </a:lnTo>
                  <a:lnTo>
                    <a:pt x="35" y="48"/>
                  </a:lnTo>
                  <a:lnTo>
                    <a:pt x="33" y="48"/>
                  </a:lnTo>
                  <a:lnTo>
                    <a:pt x="33" y="46"/>
                  </a:lnTo>
                  <a:lnTo>
                    <a:pt x="35" y="46"/>
                  </a:lnTo>
                  <a:lnTo>
                    <a:pt x="35" y="45"/>
                  </a:lnTo>
                  <a:lnTo>
                    <a:pt x="37" y="45"/>
                  </a:lnTo>
                  <a:lnTo>
                    <a:pt x="37" y="43"/>
                  </a:lnTo>
                  <a:lnTo>
                    <a:pt x="35" y="43"/>
                  </a:lnTo>
                  <a:lnTo>
                    <a:pt x="35" y="41"/>
                  </a:lnTo>
                  <a:lnTo>
                    <a:pt x="33" y="41"/>
                  </a:lnTo>
                  <a:lnTo>
                    <a:pt x="31" y="41"/>
                  </a:lnTo>
                  <a:lnTo>
                    <a:pt x="31" y="39"/>
                  </a:lnTo>
                  <a:lnTo>
                    <a:pt x="29" y="39"/>
                  </a:lnTo>
                  <a:lnTo>
                    <a:pt x="27" y="39"/>
                  </a:lnTo>
                  <a:lnTo>
                    <a:pt x="25" y="39"/>
                  </a:lnTo>
                  <a:lnTo>
                    <a:pt x="25" y="41"/>
                  </a:lnTo>
                  <a:lnTo>
                    <a:pt x="23" y="41"/>
                  </a:lnTo>
                  <a:lnTo>
                    <a:pt x="25" y="41"/>
                  </a:lnTo>
                  <a:lnTo>
                    <a:pt x="23" y="41"/>
                  </a:lnTo>
                  <a:lnTo>
                    <a:pt x="25" y="41"/>
                  </a:lnTo>
                  <a:lnTo>
                    <a:pt x="23" y="41"/>
                  </a:lnTo>
                  <a:lnTo>
                    <a:pt x="23" y="43"/>
                  </a:lnTo>
                  <a:lnTo>
                    <a:pt x="21" y="43"/>
                  </a:lnTo>
                  <a:lnTo>
                    <a:pt x="19" y="43"/>
                  </a:lnTo>
                  <a:lnTo>
                    <a:pt x="19" y="41"/>
                  </a:lnTo>
                  <a:lnTo>
                    <a:pt x="18" y="41"/>
                  </a:lnTo>
                  <a:lnTo>
                    <a:pt x="16" y="41"/>
                  </a:lnTo>
                  <a:lnTo>
                    <a:pt x="16" y="39"/>
                  </a:lnTo>
                  <a:lnTo>
                    <a:pt x="14" y="39"/>
                  </a:lnTo>
                  <a:lnTo>
                    <a:pt x="14" y="37"/>
                  </a:lnTo>
                  <a:lnTo>
                    <a:pt x="12" y="37"/>
                  </a:lnTo>
                  <a:lnTo>
                    <a:pt x="12" y="35"/>
                  </a:lnTo>
                  <a:lnTo>
                    <a:pt x="10" y="35"/>
                  </a:lnTo>
                  <a:lnTo>
                    <a:pt x="10" y="33"/>
                  </a:lnTo>
                  <a:lnTo>
                    <a:pt x="10" y="35"/>
                  </a:lnTo>
                  <a:lnTo>
                    <a:pt x="10" y="33"/>
                  </a:lnTo>
                  <a:lnTo>
                    <a:pt x="12" y="33"/>
                  </a:lnTo>
                  <a:lnTo>
                    <a:pt x="10" y="33"/>
                  </a:lnTo>
                  <a:lnTo>
                    <a:pt x="12" y="33"/>
                  </a:lnTo>
                  <a:lnTo>
                    <a:pt x="10" y="33"/>
                  </a:lnTo>
                  <a:lnTo>
                    <a:pt x="12" y="33"/>
                  </a:lnTo>
                  <a:lnTo>
                    <a:pt x="12" y="31"/>
                  </a:lnTo>
                  <a:lnTo>
                    <a:pt x="10" y="31"/>
                  </a:lnTo>
                  <a:lnTo>
                    <a:pt x="12" y="31"/>
                  </a:lnTo>
                  <a:lnTo>
                    <a:pt x="12" y="29"/>
                  </a:lnTo>
                  <a:lnTo>
                    <a:pt x="12" y="27"/>
                  </a:lnTo>
                  <a:lnTo>
                    <a:pt x="12" y="25"/>
                  </a:lnTo>
                  <a:lnTo>
                    <a:pt x="12" y="27"/>
                  </a:lnTo>
                  <a:lnTo>
                    <a:pt x="10" y="27"/>
                  </a:lnTo>
                  <a:lnTo>
                    <a:pt x="10" y="25"/>
                  </a:lnTo>
                  <a:lnTo>
                    <a:pt x="10" y="27"/>
                  </a:lnTo>
                  <a:lnTo>
                    <a:pt x="8" y="27"/>
                  </a:lnTo>
                  <a:lnTo>
                    <a:pt x="8" y="25"/>
                  </a:lnTo>
                  <a:lnTo>
                    <a:pt x="6" y="25"/>
                  </a:lnTo>
                  <a:lnTo>
                    <a:pt x="6" y="23"/>
                  </a:lnTo>
                  <a:lnTo>
                    <a:pt x="4" y="23"/>
                  </a:lnTo>
                  <a:lnTo>
                    <a:pt x="4" y="21"/>
                  </a:lnTo>
                  <a:lnTo>
                    <a:pt x="6" y="21"/>
                  </a:lnTo>
                  <a:lnTo>
                    <a:pt x="4" y="21"/>
                  </a:lnTo>
                  <a:lnTo>
                    <a:pt x="4" y="20"/>
                  </a:lnTo>
                  <a:lnTo>
                    <a:pt x="2" y="20"/>
                  </a:lnTo>
                  <a:lnTo>
                    <a:pt x="2" y="18"/>
                  </a:lnTo>
                  <a:lnTo>
                    <a:pt x="0" y="18"/>
                  </a:lnTo>
                  <a:lnTo>
                    <a:pt x="2" y="18"/>
                  </a:lnTo>
                  <a:lnTo>
                    <a:pt x="0" y="18"/>
                  </a:lnTo>
                  <a:lnTo>
                    <a:pt x="0" y="16"/>
                  </a:lnTo>
                  <a:close/>
                  <a:moveTo>
                    <a:pt x="27" y="198"/>
                  </a:moveTo>
                  <a:lnTo>
                    <a:pt x="27" y="200"/>
                  </a:lnTo>
                  <a:lnTo>
                    <a:pt x="27" y="198"/>
                  </a:lnTo>
                  <a:lnTo>
                    <a:pt x="27" y="200"/>
                  </a:lnTo>
                  <a:lnTo>
                    <a:pt x="29" y="200"/>
                  </a:lnTo>
                  <a:lnTo>
                    <a:pt x="27" y="200"/>
                  </a:lnTo>
                  <a:lnTo>
                    <a:pt x="29" y="200"/>
                  </a:lnTo>
                  <a:lnTo>
                    <a:pt x="29" y="202"/>
                  </a:lnTo>
                  <a:lnTo>
                    <a:pt x="27" y="202"/>
                  </a:lnTo>
                  <a:lnTo>
                    <a:pt x="27" y="204"/>
                  </a:lnTo>
                  <a:lnTo>
                    <a:pt x="27" y="206"/>
                  </a:lnTo>
                  <a:lnTo>
                    <a:pt x="27" y="204"/>
                  </a:lnTo>
                  <a:lnTo>
                    <a:pt x="27" y="202"/>
                  </a:lnTo>
                  <a:lnTo>
                    <a:pt x="25" y="202"/>
                  </a:lnTo>
                  <a:lnTo>
                    <a:pt x="25" y="200"/>
                  </a:lnTo>
                  <a:lnTo>
                    <a:pt x="27" y="200"/>
                  </a:lnTo>
                  <a:lnTo>
                    <a:pt x="27" y="198"/>
                  </a:lnTo>
                  <a:close/>
                  <a:moveTo>
                    <a:pt x="77" y="33"/>
                  </a:moveTo>
                  <a:lnTo>
                    <a:pt x="79" y="33"/>
                  </a:lnTo>
                  <a:lnTo>
                    <a:pt x="79" y="37"/>
                  </a:lnTo>
                  <a:lnTo>
                    <a:pt x="77" y="37"/>
                  </a:lnTo>
                  <a:lnTo>
                    <a:pt x="77" y="33"/>
                  </a:lnTo>
                  <a:close/>
                  <a:moveTo>
                    <a:pt x="69" y="41"/>
                  </a:moveTo>
                  <a:lnTo>
                    <a:pt x="73" y="41"/>
                  </a:lnTo>
                  <a:lnTo>
                    <a:pt x="73" y="43"/>
                  </a:lnTo>
                  <a:lnTo>
                    <a:pt x="69" y="43"/>
                  </a:lnTo>
                  <a:lnTo>
                    <a:pt x="69" y="41"/>
                  </a:lnTo>
                  <a:close/>
                  <a:moveTo>
                    <a:pt x="58" y="210"/>
                  </a:moveTo>
                  <a:lnTo>
                    <a:pt x="60" y="210"/>
                  </a:lnTo>
                  <a:lnTo>
                    <a:pt x="60" y="212"/>
                  </a:lnTo>
                  <a:lnTo>
                    <a:pt x="60" y="214"/>
                  </a:lnTo>
                  <a:lnTo>
                    <a:pt x="60" y="212"/>
                  </a:lnTo>
                  <a:lnTo>
                    <a:pt x="58" y="212"/>
                  </a:lnTo>
                  <a:lnTo>
                    <a:pt x="58" y="210"/>
                  </a:lnTo>
                  <a:close/>
                  <a:moveTo>
                    <a:pt x="64" y="200"/>
                  </a:moveTo>
                  <a:lnTo>
                    <a:pt x="64" y="202"/>
                  </a:lnTo>
                  <a:lnTo>
                    <a:pt x="66" y="202"/>
                  </a:lnTo>
                  <a:lnTo>
                    <a:pt x="66" y="200"/>
                  </a:lnTo>
                  <a:lnTo>
                    <a:pt x="66" y="202"/>
                  </a:lnTo>
                  <a:lnTo>
                    <a:pt x="67" y="202"/>
                  </a:lnTo>
                  <a:lnTo>
                    <a:pt x="66" y="202"/>
                  </a:lnTo>
                  <a:lnTo>
                    <a:pt x="64" y="202"/>
                  </a:lnTo>
                  <a:lnTo>
                    <a:pt x="64" y="200"/>
                  </a:lnTo>
                  <a:close/>
                  <a:moveTo>
                    <a:pt x="81" y="106"/>
                  </a:moveTo>
                  <a:lnTo>
                    <a:pt x="81" y="108"/>
                  </a:lnTo>
                  <a:lnTo>
                    <a:pt x="83" y="108"/>
                  </a:lnTo>
                  <a:lnTo>
                    <a:pt x="83" y="110"/>
                  </a:lnTo>
                  <a:lnTo>
                    <a:pt x="85" y="110"/>
                  </a:lnTo>
                  <a:lnTo>
                    <a:pt x="83" y="110"/>
                  </a:lnTo>
                  <a:lnTo>
                    <a:pt x="83" y="108"/>
                  </a:lnTo>
                  <a:lnTo>
                    <a:pt x="81" y="108"/>
                  </a:lnTo>
                  <a:lnTo>
                    <a:pt x="81" y="106"/>
                  </a:lnTo>
                  <a:close/>
                  <a:moveTo>
                    <a:pt x="77" y="37"/>
                  </a:moveTo>
                  <a:lnTo>
                    <a:pt x="79" y="37"/>
                  </a:lnTo>
                  <a:lnTo>
                    <a:pt x="79" y="41"/>
                  </a:lnTo>
                  <a:lnTo>
                    <a:pt x="77" y="41"/>
                  </a:lnTo>
                  <a:lnTo>
                    <a:pt x="77" y="37"/>
                  </a:lnTo>
                  <a:close/>
                  <a:moveTo>
                    <a:pt x="64" y="223"/>
                  </a:moveTo>
                  <a:lnTo>
                    <a:pt x="66" y="223"/>
                  </a:lnTo>
                  <a:lnTo>
                    <a:pt x="66" y="225"/>
                  </a:lnTo>
                  <a:lnTo>
                    <a:pt x="64" y="225"/>
                  </a:lnTo>
                  <a:lnTo>
                    <a:pt x="64" y="223"/>
                  </a:lnTo>
                  <a:close/>
                  <a:moveTo>
                    <a:pt x="162" y="231"/>
                  </a:moveTo>
                  <a:lnTo>
                    <a:pt x="163" y="231"/>
                  </a:lnTo>
                  <a:lnTo>
                    <a:pt x="163" y="235"/>
                  </a:lnTo>
                  <a:lnTo>
                    <a:pt x="162" y="235"/>
                  </a:lnTo>
                  <a:lnTo>
                    <a:pt x="162" y="231"/>
                  </a:lnTo>
                  <a:close/>
                  <a:moveTo>
                    <a:pt x="67" y="39"/>
                  </a:moveTo>
                  <a:lnTo>
                    <a:pt x="69" y="39"/>
                  </a:lnTo>
                  <a:lnTo>
                    <a:pt x="69" y="41"/>
                  </a:lnTo>
                  <a:lnTo>
                    <a:pt x="67" y="41"/>
                  </a:lnTo>
                  <a:lnTo>
                    <a:pt x="67" y="39"/>
                  </a:lnTo>
                  <a:close/>
                  <a:moveTo>
                    <a:pt x="104" y="166"/>
                  </a:moveTo>
                  <a:lnTo>
                    <a:pt x="106" y="166"/>
                  </a:lnTo>
                  <a:lnTo>
                    <a:pt x="106" y="167"/>
                  </a:lnTo>
                  <a:lnTo>
                    <a:pt x="104" y="167"/>
                  </a:lnTo>
                  <a:lnTo>
                    <a:pt x="104" y="166"/>
                  </a:lnTo>
                  <a:close/>
                  <a:moveTo>
                    <a:pt x="62" y="206"/>
                  </a:moveTo>
                  <a:lnTo>
                    <a:pt x="64" y="206"/>
                  </a:lnTo>
                  <a:lnTo>
                    <a:pt x="64" y="208"/>
                  </a:lnTo>
                  <a:lnTo>
                    <a:pt x="62" y="208"/>
                  </a:lnTo>
                  <a:lnTo>
                    <a:pt x="62" y="206"/>
                  </a:lnTo>
                  <a:close/>
                  <a:moveTo>
                    <a:pt x="83" y="31"/>
                  </a:moveTo>
                  <a:lnTo>
                    <a:pt x="85" y="31"/>
                  </a:lnTo>
                  <a:lnTo>
                    <a:pt x="85" y="33"/>
                  </a:lnTo>
                  <a:lnTo>
                    <a:pt x="83" y="33"/>
                  </a:lnTo>
                  <a:lnTo>
                    <a:pt x="83" y="31"/>
                  </a:lnTo>
                  <a:close/>
                  <a:moveTo>
                    <a:pt x="104" y="171"/>
                  </a:moveTo>
                  <a:lnTo>
                    <a:pt x="106" y="171"/>
                  </a:lnTo>
                  <a:lnTo>
                    <a:pt x="106" y="173"/>
                  </a:lnTo>
                  <a:lnTo>
                    <a:pt x="104" y="173"/>
                  </a:lnTo>
                  <a:lnTo>
                    <a:pt x="104" y="171"/>
                  </a:lnTo>
                  <a:close/>
                  <a:moveTo>
                    <a:pt x="60" y="202"/>
                  </a:moveTo>
                  <a:lnTo>
                    <a:pt x="60" y="204"/>
                  </a:lnTo>
                  <a:lnTo>
                    <a:pt x="60" y="202"/>
                  </a:lnTo>
                  <a:close/>
                  <a:moveTo>
                    <a:pt x="67" y="39"/>
                  </a:moveTo>
                  <a:lnTo>
                    <a:pt x="69" y="39"/>
                  </a:lnTo>
                  <a:lnTo>
                    <a:pt x="69" y="41"/>
                  </a:lnTo>
                  <a:lnTo>
                    <a:pt x="67" y="41"/>
                  </a:lnTo>
                  <a:lnTo>
                    <a:pt x="67" y="39"/>
                  </a:lnTo>
                  <a:close/>
                  <a:moveTo>
                    <a:pt x="175" y="223"/>
                  </a:moveTo>
                  <a:lnTo>
                    <a:pt x="177" y="223"/>
                  </a:lnTo>
                  <a:lnTo>
                    <a:pt x="177" y="225"/>
                  </a:lnTo>
                  <a:lnTo>
                    <a:pt x="175" y="225"/>
                  </a:lnTo>
                  <a:lnTo>
                    <a:pt x="175" y="223"/>
                  </a:lnTo>
                  <a:close/>
                  <a:moveTo>
                    <a:pt x="79" y="37"/>
                  </a:moveTo>
                  <a:lnTo>
                    <a:pt x="81" y="37"/>
                  </a:lnTo>
                  <a:lnTo>
                    <a:pt x="81" y="39"/>
                  </a:lnTo>
                  <a:lnTo>
                    <a:pt x="79" y="39"/>
                  </a:lnTo>
                  <a:lnTo>
                    <a:pt x="79" y="37"/>
                  </a:lnTo>
                  <a:close/>
                  <a:moveTo>
                    <a:pt x="171" y="204"/>
                  </a:moveTo>
                  <a:lnTo>
                    <a:pt x="171" y="206"/>
                  </a:lnTo>
                  <a:lnTo>
                    <a:pt x="171" y="204"/>
                  </a:lnTo>
                  <a:close/>
                  <a:moveTo>
                    <a:pt x="183" y="200"/>
                  </a:moveTo>
                  <a:lnTo>
                    <a:pt x="185" y="200"/>
                  </a:lnTo>
                  <a:lnTo>
                    <a:pt x="183" y="200"/>
                  </a:lnTo>
                  <a:close/>
                  <a:moveTo>
                    <a:pt x="190" y="229"/>
                  </a:moveTo>
                  <a:lnTo>
                    <a:pt x="192" y="229"/>
                  </a:lnTo>
                  <a:lnTo>
                    <a:pt x="190" y="229"/>
                  </a:lnTo>
                  <a:close/>
                  <a:moveTo>
                    <a:pt x="77" y="39"/>
                  </a:moveTo>
                  <a:lnTo>
                    <a:pt x="79" y="39"/>
                  </a:lnTo>
                  <a:lnTo>
                    <a:pt x="79" y="41"/>
                  </a:lnTo>
                  <a:lnTo>
                    <a:pt x="77" y="41"/>
                  </a:lnTo>
                  <a:lnTo>
                    <a:pt x="77" y="39"/>
                  </a:lnTo>
                  <a:close/>
                  <a:moveTo>
                    <a:pt x="64" y="48"/>
                  </a:moveTo>
                  <a:lnTo>
                    <a:pt x="66" y="48"/>
                  </a:lnTo>
                  <a:lnTo>
                    <a:pt x="66" y="50"/>
                  </a:lnTo>
                  <a:lnTo>
                    <a:pt x="64" y="50"/>
                  </a:lnTo>
                  <a:lnTo>
                    <a:pt x="64" y="48"/>
                  </a:lnTo>
                  <a:close/>
                  <a:moveTo>
                    <a:pt x="181" y="233"/>
                  </a:moveTo>
                  <a:lnTo>
                    <a:pt x="183" y="233"/>
                  </a:lnTo>
                  <a:lnTo>
                    <a:pt x="181" y="233"/>
                  </a:lnTo>
                  <a:close/>
                  <a:moveTo>
                    <a:pt x="152" y="223"/>
                  </a:moveTo>
                  <a:lnTo>
                    <a:pt x="154" y="223"/>
                  </a:lnTo>
                  <a:lnTo>
                    <a:pt x="152" y="223"/>
                  </a:lnTo>
                  <a:close/>
                  <a:moveTo>
                    <a:pt x="146" y="221"/>
                  </a:moveTo>
                  <a:lnTo>
                    <a:pt x="148" y="221"/>
                  </a:lnTo>
                  <a:lnTo>
                    <a:pt x="148" y="223"/>
                  </a:lnTo>
                  <a:lnTo>
                    <a:pt x="146" y="223"/>
                  </a:lnTo>
                  <a:lnTo>
                    <a:pt x="146" y="221"/>
                  </a:lnTo>
                  <a:close/>
                  <a:moveTo>
                    <a:pt x="75" y="39"/>
                  </a:moveTo>
                  <a:lnTo>
                    <a:pt x="77" y="39"/>
                  </a:lnTo>
                  <a:lnTo>
                    <a:pt x="77" y="41"/>
                  </a:lnTo>
                  <a:lnTo>
                    <a:pt x="75" y="41"/>
                  </a:lnTo>
                  <a:lnTo>
                    <a:pt x="75" y="39"/>
                  </a:lnTo>
                  <a:close/>
                  <a:moveTo>
                    <a:pt x="81" y="37"/>
                  </a:moveTo>
                  <a:lnTo>
                    <a:pt x="83" y="37"/>
                  </a:lnTo>
                  <a:lnTo>
                    <a:pt x="83" y="39"/>
                  </a:lnTo>
                  <a:lnTo>
                    <a:pt x="81" y="39"/>
                  </a:lnTo>
                  <a:lnTo>
                    <a:pt x="81" y="37"/>
                  </a:lnTo>
                  <a:close/>
                  <a:moveTo>
                    <a:pt x="200" y="208"/>
                  </a:moveTo>
                  <a:lnTo>
                    <a:pt x="202" y="208"/>
                  </a:lnTo>
                  <a:lnTo>
                    <a:pt x="202" y="210"/>
                  </a:lnTo>
                  <a:lnTo>
                    <a:pt x="200" y="210"/>
                  </a:lnTo>
                  <a:lnTo>
                    <a:pt x="200" y="208"/>
                  </a:lnTo>
                  <a:close/>
                  <a:moveTo>
                    <a:pt x="171" y="235"/>
                  </a:moveTo>
                  <a:lnTo>
                    <a:pt x="173" y="235"/>
                  </a:lnTo>
                  <a:lnTo>
                    <a:pt x="173" y="237"/>
                  </a:lnTo>
                  <a:lnTo>
                    <a:pt x="171" y="237"/>
                  </a:lnTo>
                  <a:lnTo>
                    <a:pt x="171" y="235"/>
                  </a:lnTo>
                  <a:close/>
                  <a:moveTo>
                    <a:pt x="83" y="37"/>
                  </a:moveTo>
                  <a:lnTo>
                    <a:pt x="83" y="39"/>
                  </a:lnTo>
                  <a:lnTo>
                    <a:pt x="83" y="37"/>
                  </a:lnTo>
                  <a:close/>
                  <a:moveTo>
                    <a:pt x="98" y="196"/>
                  </a:moveTo>
                  <a:lnTo>
                    <a:pt x="100" y="196"/>
                  </a:lnTo>
                  <a:lnTo>
                    <a:pt x="100" y="198"/>
                  </a:lnTo>
                  <a:lnTo>
                    <a:pt x="98" y="198"/>
                  </a:lnTo>
                  <a:lnTo>
                    <a:pt x="98" y="196"/>
                  </a:lnTo>
                  <a:close/>
                  <a:moveTo>
                    <a:pt x="81" y="33"/>
                  </a:moveTo>
                  <a:lnTo>
                    <a:pt x="83" y="33"/>
                  </a:lnTo>
                  <a:lnTo>
                    <a:pt x="81" y="33"/>
                  </a:lnTo>
                  <a:close/>
                  <a:moveTo>
                    <a:pt x="75" y="39"/>
                  </a:moveTo>
                  <a:lnTo>
                    <a:pt x="77" y="39"/>
                  </a:lnTo>
                  <a:lnTo>
                    <a:pt x="75" y="39"/>
                  </a:lnTo>
                  <a:close/>
                  <a:moveTo>
                    <a:pt x="175" y="191"/>
                  </a:moveTo>
                  <a:lnTo>
                    <a:pt x="175" y="192"/>
                  </a:lnTo>
                  <a:lnTo>
                    <a:pt x="175" y="191"/>
                  </a:lnTo>
                  <a:close/>
                  <a:moveTo>
                    <a:pt x="173" y="223"/>
                  </a:moveTo>
                  <a:lnTo>
                    <a:pt x="175" y="223"/>
                  </a:lnTo>
                  <a:lnTo>
                    <a:pt x="173" y="223"/>
                  </a:lnTo>
                  <a:close/>
                  <a:moveTo>
                    <a:pt x="75" y="41"/>
                  </a:moveTo>
                  <a:lnTo>
                    <a:pt x="77" y="41"/>
                  </a:lnTo>
                  <a:lnTo>
                    <a:pt x="75" y="41"/>
                  </a:lnTo>
                  <a:close/>
                  <a:moveTo>
                    <a:pt x="169" y="240"/>
                  </a:moveTo>
                  <a:lnTo>
                    <a:pt x="171" y="240"/>
                  </a:lnTo>
                  <a:lnTo>
                    <a:pt x="169" y="240"/>
                  </a:lnTo>
                  <a:close/>
                  <a:moveTo>
                    <a:pt x="183" y="221"/>
                  </a:moveTo>
                  <a:lnTo>
                    <a:pt x="183" y="223"/>
                  </a:lnTo>
                  <a:lnTo>
                    <a:pt x="183" y="221"/>
                  </a:lnTo>
                  <a:close/>
                  <a:moveTo>
                    <a:pt x="92" y="116"/>
                  </a:moveTo>
                  <a:lnTo>
                    <a:pt x="94" y="116"/>
                  </a:lnTo>
                  <a:lnTo>
                    <a:pt x="92" y="116"/>
                  </a:lnTo>
                  <a:close/>
                  <a:moveTo>
                    <a:pt x="75" y="39"/>
                  </a:moveTo>
                  <a:lnTo>
                    <a:pt x="77" y="39"/>
                  </a:lnTo>
                  <a:lnTo>
                    <a:pt x="75" y="39"/>
                  </a:lnTo>
                  <a:close/>
                  <a:moveTo>
                    <a:pt x="167" y="221"/>
                  </a:moveTo>
                  <a:lnTo>
                    <a:pt x="169" y="221"/>
                  </a:lnTo>
                  <a:lnTo>
                    <a:pt x="167" y="221"/>
                  </a:lnTo>
                  <a:close/>
                  <a:moveTo>
                    <a:pt x="64" y="202"/>
                  </a:moveTo>
                  <a:lnTo>
                    <a:pt x="66" y="202"/>
                  </a:lnTo>
                  <a:lnTo>
                    <a:pt x="64" y="202"/>
                  </a:lnTo>
                  <a:close/>
                  <a:moveTo>
                    <a:pt x="66" y="48"/>
                  </a:moveTo>
                  <a:lnTo>
                    <a:pt x="66" y="50"/>
                  </a:lnTo>
                  <a:lnTo>
                    <a:pt x="66" y="48"/>
                  </a:lnTo>
                  <a:close/>
                  <a:moveTo>
                    <a:pt x="77" y="35"/>
                  </a:moveTo>
                  <a:lnTo>
                    <a:pt x="77" y="37"/>
                  </a:lnTo>
                  <a:lnTo>
                    <a:pt x="77" y="35"/>
                  </a:lnTo>
                  <a:close/>
                  <a:moveTo>
                    <a:pt x="138" y="225"/>
                  </a:moveTo>
                  <a:lnTo>
                    <a:pt x="140" y="225"/>
                  </a:lnTo>
                  <a:lnTo>
                    <a:pt x="138" y="225"/>
                  </a:lnTo>
                  <a:close/>
                  <a:moveTo>
                    <a:pt x="211" y="219"/>
                  </a:moveTo>
                  <a:lnTo>
                    <a:pt x="213" y="219"/>
                  </a:lnTo>
                  <a:lnTo>
                    <a:pt x="211" y="219"/>
                  </a:lnTo>
                  <a:close/>
                  <a:moveTo>
                    <a:pt x="79" y="33"/>
                  </a:moveTo>
                  <a:lnTo>
                    <a:pt x="79" y="35"/>
                  </a:lnTo>
                  <a:lnTo>
                    <a:pt x="79" y="33"/>
                  </a:lnTo>
                  <a:close/>
                  <a:moveTo>
                    <a:pt x="75" y="39"/>
                  </a:moveTo>
                  <a:lnTo>
                    <a:pt x="75" y="41"/>
                  </a:lnTo>
                  <a:lnTo>
                    <a:pt x="75" y="39"/>
                  </a:lnTo>
                  <a:close/>
                  <a:moveTo>
                    <a:pt x="64" y="200"/>
                  </a:moveTo>
                  <a:lnTo>
                    <a:pt x="64" y="202"/>
                  </a:lnTo>
                  <a:lnTo>
                    <a:pt x="64" y="200"/>
                  </a:lnTo>
                  <a:close/>
                  <a:moveTo>
                    <a:pt x="66" y="225"/>
                  </a:moveTo>
                  <a:lnTo>
                    <a:pt x="67" y="225"/>
                  </a:lnTo>
                  <a:lnTo>
                    <a:pt x="66" y="225"/>
                  </a:lnTo>
                  <a:close/>
                  <a:moveTo>
                    <a:pt x="171" y="223"/>
                  </a:moveTo>
                  <a:lnTo>
                    <a:pt x="173" y="223"/>
                  </a:lnTo>
                  <a:lnTo>
                    <a:pt x="171" y="223"/>
                  </a:lnTo>
                  <a:close/>
                  <a:moveTo>
                    <a:pt x="62" y="202"/>
                  </a:moveTo>
                  <a:lnTo>
                    <a:pt x="62" y="204"/>
                  </a:lnTo>
                  <a:lnTo>
                    <a:pt x="62" y="202"/>
                  </a:lnTo>
                  <a:close/>
                  <a:moveTo>
                    <a:pt x="94" y="123"/>
                  </a:moveTo>
                  <a:lnTo>
                    <a:pt x="96" y="123"/>
                  </a:lnTo>
                  <a:lnTo>
                    <a:pt x="94" y="123"/>
                  </a:lnTo>
                  <a:close/>
                  <a:moveTo>
                    <a:pt x="73" y="39"/>
                  </a:moveTo>
                  <a:lnTo>
                    <a:pt x="75" y="39"/>
                  </a:lnTo>
                  <a:lnTo>
                    <a:pt x="75" y="41"/>
                  </a:lnTo>
                  <a:lnTo>
                    <a:pt x="73" y="41"/>
                  </a:lnTo>
                  <a:lnTo>
                    <a:pt x="73" y="39"/>
                  </a:lnTo>
                  <a:close/>
                  <a:moveTo>
                    <a:pt x="156" y="221"/>
                  </a:moveTo>
                  <a:lnTo>
                    <a:pt x="156" y="223"/>
                  </a:lnTo>
                  <a:lnTo>
                    <a:pt x="156" y="221"/>
                  </a:lnTo>
                  <a:close/>
                  <a:moveTo>
                    <a:pt x="206" y="221"/>
                  </a:moveTo>
                  <a:lnTo>
                    <a:pt x="208" y="221"/>
                  </a:lnTo>
                  <a:lnTo>
                    <a:pt x="206" y="221"/>
                  </a:lnTo>
                  <a:close/>
                  <a:moveTo>
                    <a:pt x="94" y="123"/>
                  </a:moveTo>
                  <a:lnTo>
                    <a:pt x="96" y="123"/>
                  </a:lnTo>
                  <a:lnTo>
                    <a:pt x="94" y="123"/>
                  </a:lnTo>
                  <a:close/>
                  <a:moveTo>
                    <a:pt x="181" y="206"/>
                  </a:moveTo>
                  <a:lnTo>
                    <a:pt x="183" y="206"/>
                  </a:lnTo>
                  <a:lnTo>
                    <a:pt x="181" y="206"/>
                  </a:lnTo>
                  <a:close/>
                  <a:moveTo>
                    <a:pt x="73" y="41"/>
                  </a:moveTo>
                  <a:lnTo>
                    <a:pt x="73" y="43"/>
                  </a:lnTo>
                  <a:lnTo>
                    <a:pt x="73" y="41"/>
                  </a:lnTo>
                  <a:close/>
                  <a:moveTo>
                    <a:pt x="79" y="33"/>
                  </a:moveTo>
                  <a:lnTo>
                    <a:pt x="81" y="33"/>
                  </a:lnTo>
                  <a:lnTo>
                    <a:pt x="81" y="35"/>
                  </a:lnTo>
                  <a:lnTo>
                    <a:pt x="79" y="35"/>
                  </a:lnTo>
                  <a:lnTo>
                    <a:pt x="79" y="33"/>
                  </a:lnTo>
                  <a:close/>
                  <a:moveTo>
                    <a:pt x="77" y="39"/>
                  </a:moveTo>
                  <a:lnTo>
                    <a:pt x="79" y="39"/>
                  </a:lnTo>
                  <a:lnTo>
                    <a:pt x="77" y="39"/>
                  </a:lnTo>
                  <a:close/>
                  <a:moveTo>
                    <a:pt x="104" y="177"/>
                  </a:moveTo>
                  <a:lnTo>
                    <a:pt x="104" y="179"/>
                  </a:lnTo>
                  <a:lnTo>
                    <a:pt x="104" y="177"/>
                  </a:lnTo>
                  <a:close/>
                  <a:moveTo>
                    <a:pt x="62" y="204"/>
                  </a:moveTo>
                  <a:lnTo>
                    <a:pt x="64" y="204"/>
                  </a:lnTo>
                  <a:lnTo>
                    <a:pt x="62" y="204"/>
                  </a:lnTo>
                  <a:close/>
                  <a:moveTo>
                    <a:pt x="79" y="35"/>
                  </a:moveTo>
                  <a:lnTo>
                    <a:pt x="79" y="37"/>
                  </a:lnTo>
                  <a:lnTo>
                    <a:pt x="79" y="35"/>
                  </a:lnTo>
                  <a:close/>
                  <a:moveTo>
                    <a:pt x="60" y="204"/>
                  </a:moveTo>
                  <a:lnTo>
                    <a:pt x="62" y="204"/>
                  </a:lnTo>
                  <a:lnTo>
                    <a:pt x="62" y="206"/>
                  </a:lnTo>
                  <a:lnTo>
                    <a:pt x="60" y="206"/>
                  </a:lnTo>
                  <a:lnTo>
                    <a:pt x="60" y="204"/>
                  </a:lnTo>
                  <a:close/>
                  <a:moveTo>
                    <a:pt x="71" y="41"/>
                  </a:moveTo>
                  <a:lnTo>
                    <a:pt x="73" y="41"/>
                  </a:lnTo>
                  <a:lnTo>
                    <a:pt x="71" y="41"/>
                  </a:lnTo>
                  <a:close/>
                  <a:moveTo>
                    <a:pt x="35" y="204"/>
                  </a:moveTo>
                  <a:lnTo>
                    <a:pt x="35" y="206"/>
                  </a:lnTo>
                  <a:lnTo>
                    <a:pt x="35" y="204"/>
                  </a:lnTo>
                  <a:close/>
                  <a:moveTo>
                    <a:pt x="104" y="146"/>
                  </a:moveTo>
                  <a:lnTo>
                    <a:pt x="104" y="148"/>
                  </a:lnTo>
                  <a:lnTo>
                    <a:pt x="104" y="146"/>
                  </a:lnTo>
                  <a:close/>
                  <a:moveTo>
                    <a:pt x="69" y="41"/>
                  </a:moveTo>
                  <a:lnTo>
                    <a:pt x="71" y="41"/>
                  </a:lnTo>
                  <a:lnTo>
                    <a:pt x="69" y="41"/>
                  </a:lnTo>
                  <a:close/>
                  <a:moveTo>
                    <a:pt x="77" y="41"/>
                  </a:moveTo>
                  <a:lnTo>
                    <a:pt x="79" y="41"/>
                  </a:lnTo>
                  <a:lnTo>
                    <a:pt x="79" y="43"/>
                  </a:lnTo>
                  <a:lnTo>
                    <a:pt x="77" y="43"/>
                  </a:lnTo>
                  <a:lnTo>
                    <a:pt x="77" y="41"/>
                  </a:lnTo>
                  <a:close/>
                  <a:moveTo>
                    <a:pt x="71" y="39"/>
                  </a:moveTo>
                  <a:lnTo>
                    <a:pt x="71" y="41"/>
                  </a:lnTo>
                  <a:lnTo>
                    <a:pt x="71" y="39"/>
                  </a:lnTo>
                  <a:close/>
                  <a:moveTo>
                    <a:pt x="75" y="96"/>
                  </a:moveTo>
                  <a:lnTo>
                    <a:pt x="75" y="98"/>
                  </a:lnTo>
                  <a:lnTo>
                    <a:pt x="75" y="96"/>
                  </a:lnTo>
                  <a:close/>
                  <a:moveTo>
                    <a:pt x="181" y="194"/>
                  </a:moveTo>
                  <a:lnTo>
                    <a:pt x="181" y="196"/>
                  </a:lnTo>
                  <a:lnTo>
                    <a:pt x="181" y="194"/>
                  </a:lnTo>
                  <a:close/>
                  <a:moveTo>
                    <a:pt x="71" y="41"/>
                  </a:moveTo>
                  <a:lnTo>
                    <a:pt x="73" y="41"/>
                  </a:lnTo>
                  <a:lnTo>
                    <a:pt x="73" y="43"/>
                  </a:lnTo>
                  <a:lnTo>
                    <a:pt x="71" y="43"/>
                  </a:lnTo>
                  <a:lnTo>
                    <a:pt x="71" y="41"/>
                  </a:lnTo>
                  <a:close/>
                  <a:moveTo>
                    <a:pt x="177" y="202"/>
                  </a:moveTo>
                  <a:lnTo>
                    <a:pt x="177" y="204"/>
                  </a:lnTo>
                  <a:lnTo>
                    <a:pt x="177" y="202"/>
                  </a:lnTo>
                  <a:close/>
                  <a:moveTo>
                    <a:pt x="183" y="233"/>
                  </a:moveTo>
                  <a:lnTo>
                    <a:pt x="185" y="233"/>
                  </a:lnTo>
                  <a:lnTo>
                    <a:pt x="183" y="233"/>
                  </a:lnTo>
                  <a:close/>
                  <a:moveTo>
                    <a:pt x="71" y="39"/>
                  </a:moveTo>
                  <a:lnTo>
                    <a:pt x="71" y="41"/>
                  </a:lnTo>
                  <a:lnTo>
                    <a:pt x="71" y="39"/>
                  </a:lnTo>
                  <a:close/>
                  <a:moveTo>
                    <a:pt x="31" y="200"/>
                  </a:moveTo>
                  <a:lnTo>
                    <a:pt x="33" y="200"/>
                  </a:lnTo>
                  <a:lnTo>
                    <a:pt x="31" y="200"/>
                  </a:lnTo>
                  <a:close/>
                  <a:moveTo>
                    <a:pt x="92" y="116"/>
                  </a:moveTo>
                  <a:lnTo>
                    <a:pt x="94" y="116"/>
                  </a:lnTo>
                  <a:lnTo>
                    <a:pt x="94" y="118"/>
                  </a:lnTo>
                  <a:lnTo>
                    <a:pt x="92" y="118"/>
                  </a:lnTo>
                  <a:lnTo>
                    <a:pt x="92" y="116"/>
                  </a:lnTo>
                  <a:close/>
                  <a:moveTo>
                    <a:pt x="52" y="71"/>
                  </a:moveTo>
                  <a:lnTo>
                    <a:pt x="54" y="71"/>
                  </a:lnTo>
                  <a:lnTo>
                    <a:pt x="52" y="71"/>
                  </a:lnTo>
                  <a:close/>
                  <a:moveTo>
                    <a:pt x="52" y="56"/>
                  </a:moveTo>
                  <a:lnTo>
                    <a:pt x="54" y="56"/>
                  </a:lnTo>
                  <a:lnTo>
                    <a:pt x="52" y="56"/>
                  </a:lnTo>
                  <a:close/>
                  <a:moveTo>
                    <a:pt x="33" y="210"/>
                  </a:moveTo>
                  <a:lnTo>
                    <a:pt x="33" y="212"/>
                  </a:lnTo>
                  <a:lnTo>
                    <a:pt x="33" y="210"/>
                  </a:lnTo>
                  <a:close/>
                  <a:moveTo>
                    <a:pt x="35" y="202"/>
                  </a:moveTo>
                  <a:lnTo>
                    <a:pt x="35" y="204"/>
                  </a:lnTo>
                  <a:lnTo>
                    <a:pt x="35" y="202"/>
                  </a:lnTo>
                  <a:close/>
                  <a:moveTo>
                    <a:pt x="62" y="204"/>
                  </a:moveTo>
                  <a:lnTo>
                    <a:pt x="62" y="206"/>
                  </a:lnTo>
                  <a:lnTo>
                    <a:pt x="62" y="204"/>
                  </a:lnTo>
                  <a:close/>
                  <a:moveTo>
                    <a:pt x="58" y="202"/>
                  </a:moveTo>
                  <a:lnTo>
                    <a:pt x="60" y="202"/>
                  </a:lnTo>
                  <a:lnTo>
                    <a:pt x="60" y="204"/>
                  </a:lnTo>
                  <a:lnTo>
                    <a:pt x="58" y="204"/>
                  </a:lnTo>
                  <a:lnTo>
                    <a:pt x="58" y="202"/>
                  </a:lnTo>
                  <a:close/>
                  <a:moveTo>
                    <a:pt x="31" y="200"/>
                  </a:moveTo>
                  <a:lnTo>
                    <a:pt x="31" y="202"/>
                  </a:lnTo>
                  <a:lnTo>
                    <a:pt x="31" y="200"/>
                  </a:lnTo>
                  <a:close/>
                  <a:moveTo>
                    <a:pt x="54" y="56"/>
                  </a:moveTo>
                  <a:lnTo>
                    <a:pt x="54" y="58"/>
                  </a:lnTo>
                  <a:lnTo>
                    <a:pt x="54" y="56"/>
                  </a:lnTo>
                  <a:close/>
                  <a:moveTo>
                    <a:pt x="98" y="127"/>
                  </a:moveTo>
                  <a:lnTo>
                    <a:pt x="98" y="129"/>
                  </a:lnTo>
                  <a:lnTo>
                    <a:pt x="98" y="127"/>
                  </a:lnTo>
                  <a:close/>
                  <a:moveTo>
                    <a:pt x="33" y="210"/>
                  </a:moveTo>
                  <a:lnTo>
                    <a:pt x="33" y="212"/>
                  </a:lnTo>
                  <a:lnTo>
                    <a:pt x="33" y="210"/>
                  </a:lnTo>
                  <a:close/>
                  <a:moveTo>
                    <a:pt x="104" y="146"/>
                  </a:moveTo>
                  <a:lnTo>
                    <a:pt x="104" y="148"/>
                  </a:lnTo>
                  <a:lnTo>
                    <a:pt x="104" y="146"/>
                  </a:lnTo>
                  <a:close/>
                  <a:moveTo>
                    <a:pt x="104" y="158"/>
                  </a:moveTo>
                  <a:lnTo>
                    <a:pt x="106" y="158"/>
                  </a:lnTo>
                  <a:lnTo>
                    <a:pt x="104" y="158"/>
                  </a:lnTo>
                  <a:close/>
                  <a:moveTo>
                    <a:pt x="104" y="146"/>
                  </a:moveTo>
                  <a:lnTo>
                    <a:pt x="104" y="148"/>
                  </a:lnTo>
                  <a:lnTo>
                    <a:pt x="104" y="146"/>
                  </a:lnTo>
                  <a:close/>
                  <a:moveTo>
                    <a:pt x="100" y="137"/>
                  </a:moveTo>
                  <a:lnTo>
                    <a:pt x="102" y="137"/>
                  </a:lnTo>
                  <a:lnTo>
                    <a:pt x="100" y="13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 name="Freeform 419">
              <a:extLst>
                <a:ext uri="{FF2B5EF4-FFF2-40B4-BE49-F238E27FC236}">
                  <a16:creationId xmlns:a16="http://schemas.microsoft.com/office/drawing/2014/main" id="{EA85AD04-B65C-46CF-B068-0A25EAC47898}"/>
                </a:ext>
              </a:extLst>
            </p:cNvPr>
            <p:cNvSpPr>
              <a:spLocks noEditPoints="1"/>
            </p:cNvSpPr>
            <p:nvPr/>
          </p:nvSpPr>
          <p:spPr bwMode="gray">
            <a:xfrm>
              <a:off x="5067449" y="4340787"/>
              <a:ext cx="9811" cy="4906"/>
            </a:xfrm>
            <a:custGeom>
              <a:avLst/>
              <a:gdLst>
                <a:gd name="T0" fmla="*/ 4 w 8"/>
                <a:gd name="T1" fmla="*/ 0 h 4"/>
                <a:gd name="T2" fmla="*/ 4 w 8"/>
                <a:gd name="T3" fmla="*/ 2 h 4"/>
                <a:gd name="T4" fmla="*/ 4 w 8"/>
                <a:gd name="T5" fmla="*/ 0 h 4"/>
                <a:gd name="T6" fmla="*/ 4 w 8"/>
                <a:gd name="T7" fmla="*/ 2 h 4"/>
                <a:gd name="T8" fmla="*/ 4 w 8"/>
                <a:gd name="T9" fmla="*/ 0 h 4"/>
                <a:gd name="T10" fmla="*/ 4 w 8"/>
                <a:gd name="T11" fmla="*/ 2 h 4"/>
                <a:gd name="T12" fmla="*/ 6 w 8"/>
                <a:gd name="T13" fmla="*/ 2 h 4"/>
                <a:gd name="T14" fmla="*/ 4 w 8"/>
                <a:gd name="T15" fmla="*/ 2 h 4"/>
                <a:gd name="T16" fmla="*/ 4 w 8"/>
                <a:gd name="T17" fmla="*/ 4 h 4"/>
                <a:gd name="T18" fmla="*/ 4 w 8"/>
                <a:gd name="T19" fmla="*/ 2 h 4"/>
                <a:gd name="T20" fmla="*/ 4 w 8"/>
                <a:gd name="T21" fmla="*/ 4 h 4"/>
                <a:gd name="T22" fmla="*/ 4 w 8"/>
                <a:gd name="T23" fmla="*/ 2 h 4"/>
                <a:gd name="T24" fmla="*/ 4 w 8"/>
                <a:gd name="T25" fmla="*/ 4 h 4"/>
                <a:gd name="T26" fmla="*/ 2 w 8"/>
                <a:gd name="T27" fmla="*/ 4 h 4"/>
                <a:gd name="T28" fmla="*/ 2 w 8"/>
                <a:gd name="T29" fmla="*/ 2 h 4"/>
                <a:gd name="T30" fmla="*/ 0 w 8"/>
                <a:gd name="T31" fmla="*/ 2 h 4"/>
                <a:gd name="T32" fmla="*/ 0 w 8"/>
                <a:gd name="T33" fmla="*/ 4 h 4"/>
                <a:gd name="T34" fmla="*/ 0 w 8"/>
                <a:gd name="T35" fmla="*/ 2 h 4"/>
                <a:gd name="T36" fmla="*/ 0 w 8"/>
                <a:gd name="T37" fmla="*/ 0 h 4"/>
                <a:gd name="T38" fmla="*/ 2 w 8"/>
                <a:gd name="T39" fmla="*/ 0 h 4"/>
                <a:gd name="T40" fmla="*/ 2 w 8"/>
                <a:gd name="T41" fmla="*/ 2 h 4"/>
                <a:gd name="T42" fmla="*/ 2 w 8"/>
                <a:gd name="T43" fmla="*/ 0 h 4"/>
                <a:gd name="T44" fmla="*/ 4 w 8"/>
                <a:gd name="T45" fmla="*/ 0 h 4"/>
                <a:gd name="T46" fmla="*/ 6 w 8"/>
                <a:gd name="T47" fmla="*/ 0 h 4"/>
                <a:gd name="T48" fmla="*/ 8 w 8"/>
                <a:gd name="T49" fmla="*/ 0 h 4"/>
                <a:gd name="T50" fmla="*/ 8 w 8"/>
                <a:gd name="T51" fmla="*/ 2 h 4"/>
                <a:gd name="T52" fmla="*/ 6 w 8"/>
                <a:gd name="T53" fmla="*/ 2 h 4"/>
                <a:gd name="T54" fmla="*/ 6 w 8"/>
                <a:gd name="T55" fmla="*/ 0 h 4"/>
                <a:gd name="T56" fmla="*/ 0 w 8"/>
                <a:gd name="T57" fmla="*/ 2 h 4"/>
                <a:gd name="T58" fmla="*/ 2 w 8"/>
                <a:gd name="T59" fmla="*/ 2 h 4"/>
                <a:gd name="T60" fmla="*/ 2 w 8"/>
                <a:gd name="T61" fmla="*/ 4 h 4"/>
                <a:gd name="T62" fmla="*/ 0 w 8"/>
                <a:gd name="T63" fmla="*/ 4 h 4"/>
                <a:gd name="T64" fmla="*/ 0 w 8"/>
                <a:gd name="T65" fmla="*/ 2 h 4"/>
                <a:gd name="T66" fmla="*/ 4 w 8"/>
                <a:gd name="T67" fmla="*/ 0 h 4"/>
                <a:gd name="T68" fmla="*/ 6 w 8"/>
                <a:gd name="T69" fmla="*/ 0 h 4"/>
                <a:gd name="T70" fmla="*/ 6 w 8"/>
                <a:gd name="T71" fmla="*/ 2 h 4"/>
                <a:gd name="T72" fmla="*/ 4 w 8"/>
                <a:gd name="T73" fmla="*/ 2 h 4"/>
                <a:gd name="T74" fmla="*/ 4 w 8"/>
                <a:gd name="T75" fmla="*/ 0 h 4"/>
                <a:gd name="T76" fmla="*/ 2 w 8"/>
                <a:gd name="T77" fmla="*/ 4 h 4"/>
                <a:gd name="T78" fmla="*/ 4 w 8"/>
                <a:gd name="T79" fmla="*/ 4 h 4"/>
                <a:gd name="T80" fmla="*/ 2 w 8"/>
                <a:gd name="T81" fmla="*/ 4 h 4"/>
                <a:gd name="T82" fmla="*/ 4 w 8"/>
                <a:gd name="T83" fmla="*/ 0 h 4"/>
                <a:gd name="T84" fmla="*/ 4 w 8"/>
                <a:gd name="T85" fmla="*/ 2 h 4"/>
                <a:gd name="T86" fmla="*/ 4 w 8"/>
                <a:gd name="T87" fmla="*/ 0 h 4"/>
                <a:gd name="T88" fmla="*/ 4 w 8"/>
                <a:gd name="T89" fmla="*/ 0 h 4"/>
                <a:gd name="T90" fmla="*/ 4 w 8"/>
                <a:gd name="T91" fmla="*/ 2 h 4"/>
                <a:gd name="T92" fmla="*/ 4 w 8"/>
                <a:gd name="T93" fmla="*/ 0 h 4"/>
                <a:gd name="T94" fmla="*/ 2 w 8"/>
                <a:gd name="T95" fmla="*/ 4 h 4"/>
                <a:gd name="T96" fmla="*/ 4 w 8"/>
                <a:gd name="T97" fmla="*/ 4 h 4"/>
                <a:gd name="T98" fmla="*/ 2 w 8"/>
                <a:gd name="T99" fmla="*/ 4 h 4"/>
                <a:gd name="T100" fmla="*/ 2 w 8"/>
                <a:gd name="T101" fmla="*/ 4 h 4"/>
                <a:gd name="T102" fmla="*/ 4 w 8"/>
                <a:gd name="T103" fmla="*/ 4 h 4"/>
                <a:gd name="T104" fmla="*/ 2 w 8"/>
                <a:gd name="T10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 h="4">
                  <a:moveTo>
                    <a:pt x="4" y="0"/>
                  </a:moveTo>
                  <a:lnTo>
                    <a:pt x="4" y="2"/>
                  </a:lnTo>
                  <a:lnTo>
                    <a:pt x="4" y="0"/>
                  </a:lnTo>
                  <a:lnTo>
                    <a:pt x="4" y="2"/>
                  </a:lnTo>
                  <a:lnTo>
                    <a:pt x="4" y="0"/>
                  </a:lnTo>
                  <a:lnTo>
                    <a:pt x="4" y="2"/>
                  </a:lnTo>
                  <a:lnTo>
                    <a:pt x="6" y="2"/>
                  </a:lnTo>
                  <a:lnTo>
                    <a:pt x="4" y="2"/>
                  </a:lnTo>
                  <a:lnTo>
                    <a:pt x="4" y="4"/>
                  </a:lnTo>
                  <a:lnTo>
                    <a:pt x="4" y="2"/>
                  </a:lnTo>
                  <a:lnTo>
                    <a:pt x="4" y="4"/>
                  </a:lnTo>
                  <a:lnTo>
                    <a:pt x="4" y="2"/>
                  </a:lnTo>
                  <a:lnTo>
                    <a:pt x="4" y="4"/>
                  </a:lnTo>
                  <a:lnTo>
                    <a:pt x="2" y="4"/>
                  </a:lnTo>
                  <a:lnTo>
                    <a:pt x="2" y="2"/>
                  </a:lnTo>
                  <a:lnTo>
                    <a:pt x="0" y="2"/>
                  </a:lnTo>
                  <a:lnTo>
                    <a:pt x="0" y="4"/>
                  </a:lnTo>
                  <a:lnTo>
                    <a:pt x="0" y="2"/>
                  </a:lnTo>
                  <a:lnTo>
                    <a:pt x="0" y="0"/>
                  </a:lnTo>
                  <a:lnTo>
                    <a:pt x="2" y="0"/>
                  </a:lnTo>
                  <a:lnTo>
                    <a:pt x="2" y="2"/>
                  </a:lnTo>
                  <a:lnTo>
                    <a:pt x="2" y="0"/>
                  </a:lnTo>
                  <a:lnTo>
                    <a:pt x="4" y="0"/>
                  </a:lnTo>
                  <a:close/>
                  <a:moveTo>
                    <a:pt x="6" y="0"/>
                  </a:moveTo>
                  <a:lnTo>
                    <a:pt x="8" y="0"/>
                  </a:lnTo>
                  <a:lnTo>
                    <a:pt x="8" y="2"/>
                  </a:lnTo>
                  <a:lnTo>
                    <a:pt x="6" y="2"/>
                  </a:lnTo>
                  <a:lnTo>
                    <a:pt x="6" y="0"/>
                  </a:lnTo>
                  <a:close/>
                  <a:moveTo>
                    <a:pt x="0" y="2"/>
                  </a:moveTo>
                  <a:lnTo>
                    <a:pt x="2" y="2"/>
                  </a:lnTo>
                  <a:lnTo>
                    <a:pt x="2" y="4"/>
                  </a:lnTo>
                  <a:lnTo>
                    <a:pt x="0" y="4"/>
                  </a:lnTo>
                  <a:lnTo>
                    <a:pt x="0" y="2"/>
                  </a:lnTo>
                  <a:close/>
                  <a:moveTo>
                    <a:pt x="4" y="0"/>
                  </a:moveTo>
                  <a:lnTo>
                    <a:pt x="6" y="0"/>
                  </a:lnTo>
                  <a:lnTo>
                    <a:pt x="6" y="2"/>
                  </a:lnTo>
                  <a:lnTo>
                    <a:pt x="4" y="2"/>
                  </a:lnTo>
                  <a:lnTo>
                    <a:pt x="4" y="0"/>
                  </a:lnTo>
                  <a:close/>
                  <a:moveTo>
                    <a:pt x="2" y="4"/>
                  </a:moveTo>
                  <a:lnTo>
                    <a:pt x="4" y="4"/>
                  </a:lnTo>
                  <a:lnTo>
                    <a:pt x="2" y="4"/>
                  </a:lnTo>
                  <a:close/>
                  <a:moveTo>
                    <a:pt x="4" y="0"/>
                  </a:moveTo>
                  <a:lnTo>
                    <a:pt x="4" y="2"/>
                  </a:lnTo>
                  <a:lnTo>
                    <a:pt x="4" y="0"/>
                  </a:lnTo>
                  <a:close/>
                  <a:moveTo>
                    <a:pt x="4" y="0"/>
                  </a:moveTo>
                  <a:lnTo>
                    <a:pt x="4" y="2"/>
                  </a:lnTo>
                  <a:lnTo>
                    <a:pt x="4" y="0"/>
                  </a:lnTo>
                  <a:close/>
                  <a:moveTo>
                    <a:pt x="2" y="4"/>
                  </a:moveTo>
                  <a:lnTo>
                    <a:pt x="4" y="4"/>
                  </a:lnTo>
                  <a:lnTo>
                    <a:pt x="2" y="4"/>
                  </a:lnTo>
                  <a:close/>
                  <a:moveTo>
                    <a:pt x="2" y="4"/>
                  </a:moveTo>
                  <a:lnTo>
                    <a:pt x="4" y="4"/>
                  </a:lnTo>
                  <a:lnTo>
                    <a:pt x="2" y="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1" name="Freeform 420">
              <a:extLst>
                <a:ext uri="{FF2B5EF4-FFF2-40B4-BE49-F238E27FC236}">
                  <a16:creationId xmlns:a16="http://schemas.microsoft.com/office/drawing/2014/main" id="{34B3B8D2-8EBA-431F-BD77-972560987944}"/>
                </a:ext>
              </a:extLst>
            </p:cNvPr>
            <p:cNvSpPr>
              <a:spLocks noEditPoints="1"/>
            </p:cNvSpPr>
            <p:nvPr/>
          </p:nvSpPr>
          <p:spPr bwMode="gray">
            <a:xfrm>
              <a:off x="4997546" y="4234091"/>
              <a:ext cx="350744" cy="117732"/>
            </a:xfrm>
            <a:custGeom>
              <a:avLst/>
              <a:gdLst>
                <a:gd name="T0" fmla="*/ 242 w 286"/>
                <a:gd name="T1" fmla="*/ 44 h 96"/>
                <a:gd name="T2" fmla="*/ 232 w 286"/>
                <a:gd name="T3" fmla="*/ 60 h 96"/>
                <a:gd name="T4" fmla="*/ 226 w 286"/>
                <a:gd name="T5" fmla="*/ 71 h 96"/>
                <a:gd name="T6" fmla="*/ 219 w 286"/>
                <a:gd name="T7" fmla="*/ 81 h 96"/>
                <a:gd name="T8" fmla="*/ 203 w 286"/>
                <a:gd name="T9" fmla="*/ 91 h 96"/>
                <a:gd name="T10" fmla="*/ 192 w 286"/>
                <a:gd name="T11" fmla="*/ 85 h 96"/>
                <a:gd name="T12" fmla="*/ 174 w 286"/>
                <a:gd name="T13" fmla="*/ 93 h 96"/>
                <a:gd name="T14" fmla="*/ 159 w 286"/>
                <a:gd name="T15" fmla="*/ 94 h 96"/>
                <a:gd name="T16" fmla="*/ 150 w 286"/>
                <a:gd name="T17" fmla="*/ 87 h 96"/>
                <a:gd name="T18" fmla="*/ 151 w 286"/>
                <a:gd name="T19" fmla="*/ 83 h 96"/>
                <a:gd name="T20" fmla="*/ 163 w 286"/>
                <a:gd name="T21" fmla="*/ 85 h 96"/>
                <a:gd name="T22" fmla="*/ 169 w 286"/>
                <a:gd name="T23" fmla="*/ 77 h 96"/>
                <a:gd name="T24" fmla="*/ 182 w 286"/>
                <a:gd name="T25" fmla="*/ 66 h 96"/>
                <a:gd name="T26" fmla="*/ 203 w 286"/>
                <a:gd name="T27" fmla="*/ 52 h 96"/>
                <a:gd name="T28" fmla="*/ 217 w 286"/>
                <a:gd name="T29" fmla="*/ 48 h 96"/>
                <a:gd name="T30" fmla="*/ 224 w 286"/>
                <a:gd name="T31" fmla="*/ 39 h 96"/>
                <a:gd name="T32" fmla="*/ 228 w 286"/>
                <a:gd name="T33" fmla="*/ 44 h 96"/>
                <a:gd name="T34" fmla="*/ 230 w 286"/>
                <a:gd name="T35" fmla="*/ 31 h 96"/>
                <a:gd name="T36" fmla="*/ 240 w 286"/>
                <a:gd name="T37" fmla="*/ 20 h 96"/>
                <a:gd name="T38" fmla="*/ 244 w 286"/>
                <a:gd name="T39" fmla="*/ 18 h 96"/>
                <a:gd name="T40" fmla="*/ 249 w 286"/>
                <a:gd name="T41" fmla="*/ 6 h 96"/>
                <a:gd name="T42" fmla="*/ 255 w 286"/>
                <a:gd name="T43" fmla="*/ 6 h 96"/>
                <a:gd name="T44" fmla="*/ 263 w 286"/>
                <a:gd name="T45" fmla="*/ 16 h 96"/>
                <a:gd name="T46" fmla="*/ 263 w 286"/>
                <a:gd name="T47" fmla="*/ 21 h 96"/>
                <a:gd name="T48" fmla="*/ 267 w 286"/>
                <a:gd name="T49" fmla="*/ 23 h 96"/>
                <a:gd name="T50" fmla="*/ 280 w 286"/>
                <a:gd name="T51" fmla="*/ 27 h 96"/>
                <a:gd name="T52" fmla="*/ 276 w 286"/>
                <a:gd name="T53" fmla="*/ 37 h 96"/>
                <a:gd name="T54" fmla="*/ 276 w 286"/>
                <a:gd name="T55" fmla="*/ 43 h 96"/>
                <a:gd name="T56" fmla="*/ 261 w 286"/>
                <a:gd name="T57" fmla="*/ 44 h 96"/>
                <a:gd name="T58" fmla="*/ 44 w 286"/>
                <a:gd name="T59" fmla="*/ 23 h 96"/>
                <a:gd name="T60" fmla="*/ 55 w 286"/>
                <a:gd name="T61" fmla="*/ 37 h 96"/>
                <a:gd name="T62" fmla="*/ 55 w 286"/>
                <a:gd name="T63" fmla="*/ 58 h 96"/>
                <a:gd name="T64" fmla="*/ 65 w 286"/>
                <a:gd name="T65" fmla="*/ 81 h 96"/>
                <a:gd name="T66" fmla="*/ 57 w 286"/>
                <a:gd name="T67" fmla="*/ 87 h 96"/>
                <a:gd name="T68" fmla="*/ 44 w 286"/>
                <a:gd name="T69" fmla="*/ 79 h 96"/>
                <a:gd name="T70" fmla="*/ 31 w 286"/>
                <a:gd name="T71" fmla="*/ 71 h 96"/>
                <a:gd name="T72" fmla="*/ 19 w 286"/>
                <a:gd name="T73" fmla="*/ 54 h 96"/>
                <a:gd name="T74" fmla="*/ 11 w 286"/>
                <a:gd name="T75" fmla="*/ 37 h 96"/>
                <a:gd name="T76" fmla="*/ 6 w 286"/>
                <a:gd name="T77" fmla="*/ 14 h 96"/>
                <a:gd name="T78" fmla="*/ 15 w 286"/>
                <a:gd name="T79" fmla="*/ 14 h 96"/>
                <a:gd name="T80" fmla="*/ 19 w 286"/>
                <a:gd name="T81" fmla="*/ 23 h 96"/>
                <a:gd name="T82" fmla="*/ 29 w 286"/>
                <a:gd name="T83" fmla="*/ 23 h 96"/>
                <a:gd name="T84" fmla="*/ 169 w 286"/>
                <a:gd name="T85" fmla="*/ 69 h 96"/>
                <a:gd name="T86" fmla="*/ 255 w 286"/>
                <a:gd name="T87" fmla="*/ 2 h 96"/>
                <a:gd name="T88" fmla="*/ 2 w 286"/>
                <a:gd name="T89" fmla="*/ 14 h 96"/>
                <a:gd name="T90" fmla="*/ 257 w 286"/>
                <a:gd name="T91" fmla="*/ 10 h 96"/>
                <a:gd name="T92" fmla="*/ 251 w 286"/>
                <a:gd name="T93" fmla="*/ 0 h 96"/>
                <a:gd name="T94" fmla="*/ 25 w 286"/>
                <a:gd name="T95" fmla="*/ 64 h 96"/>
                <a:gd name="T96" fmla="*/ 257 w 286"/>
                <a:gd name="T97" fmla="*/ 4 h 96"/>
                <a:gd name="T98" fmla="*/ 261 w 286"/>
                <a:gd name="T99" fmla="*/ 48 h 96"/>
                <a:gd name="T100" fmla="*/ 23 w 286"/>
                <a:gd name="T101" fmla="*/ 64 h 96"/>
                <a:gd name="T102" fmla="*/ 263 w 286"/>
                <a:gd name="T103" fmla="*/ 46 h 96"/>
                <a:gd name="T104" fmla="*/ 44 w 286"/>
                <a:gd name="T105" fmla="*/ 21 h 96"/>
                <a:gd name="T106" fmla="*/ 272 w 286"/>
                <a:gd name="T107" fmla="*/ 39 h 96"/>
                <a:gd name="T108" fmla="*/ 63 w 286"/>
                <a:gd name="T109" fmla="*/ 75 h 96"/>
                <a:gd name="T110" fmla="*/ 265 w 286"/>
                <a:gd name="T111" fmla="*/ 16 h 96"/>
                <a:gd name="T112" fmla="*/ 226 w 286"/>
                <a:gd name="T113" fmla="*/ 31 h 96"/>
                <a:gd name="T114" fmla="*/ 244 w 286"/>
                <a:gd name="T115" fmla="*/ 16 h 96"/>
                <a:gd name="T116" fmla="*/ 269 w 286"/>
                <a:gd name="T117" fmla="*/ 25 h 96"/>
                <a:gd name="T118" fmla="*/ 0 w 286"/>
                <a:gd name="T119" fmla="*/ 14 h 96"/>
                <a:gd name="T120" fmla="*/ 269 w 286"/>
                <a:gd name="T121" fmla="*/ 25 h 96"/>
                <a:gd name="T122" fmla="*/ 0 w 286"/>
                <a:gd name="T123"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6" h="96">
                  <a:moveTo>
                    <a:pt x="261" y="48"/>
                  </a:moveTo>
                  <a:lnTo>
                    <a:pt x="261" y="46"/>
                  </a:lnTo>
                  <a:lnTo>
                    <a:pt x="259" y="46"/>
                  </a:lnTo>
                  <a:lnTo>
                    <a:pt x="257" y="46"/>
                  </a:lnTo>
                  <a:lnTo>
                    <a:pt x="257" y="44"/>
                  </a:lnTo>
                  <a:lnTo>
                    <a:pt x="255" y="44"/>
                  </a:lnTo>
                  <a:lnTo>
                    <a:pt x="253" y="44"/>
                  </a:lnTo>
                  <a:lnTo>
                    <a:pt x="251" y="44"/>
                  </a:lnTo>
                  <a:lnTo>
                    <a:pt x="249" y="44"/>
                  </a:lnTo>
                  <a:lnTo>
                    <a:pt x="247" y="44"/>
                  </a:lnTo>
                  <a:lnTo>
                    <a:pt x="245" y="44"/>
                  </a:lnTo>
                  <a:lnTo>
                    <a:pt x="247" y="44"/>
                  </a:lnTo>
                  <a:lnTo>
                    <a:pt x="245" y="44"/>
                  </a:lnTo>
                  <a:lnTo>
                    <a:pt x="245" y="46"/>
                  </a:lnTo>
                  <a:lnTo>
                    <a:pt x="245" y="44"/>
                  </a:lnTo>
                  <a:lnTo>
                    <a:pt x="244" y="44"/>
                  </a:lnTo>
                  <a:lnTo>
                    <a:pt x="242" y="44"/>
                  </a:lnTo>
                  <a:lnTo>
                    <a:pt x="240" y="44"/>
                  </a:lnTo>
                  <a:lnTo>
                    <a:pt x="240" y="46"/>
                  </a:lnTo>
                  <a:lnTo>
                    <a:pt x="240" y="44"/>
                  </a:lnTo>
                  <a:lnTo>
                    <a:pt x="238" y="44"/>
                  </a:lnTo>
                  <a:lnTo>
                    <a:pt x="236" y="44"/>
                  </a:lnTo>
                  <a:lnTo>
                    <a:pt x="236" y="46"/>
                  </a:lnTo>
                  <a:lnTo>
                    <a:pt x="234" y="46"/>
                  </a:lnTo>
                  <a:lnTo>
                    <a:pt x="234" y="48"/>
                  </a:lnTo>
                  <a:lnTo>
                    <a:pt x="234" y="50"/>
                  </a:lnTo>
                  <a:lnTo>
                    <a:pt x="232" y="50"/>
                  </a:lnTo>
                  <a:lnTo>
                    <a:pt x="232" y="52"/>
                  </a:lnTo>
                  <a:lnTo>
                    <a:pt x="232" y="54"/>
                  </a:lnTo>
                  <a:lnTo>
                    <a:pt x="232" y="56"/>
                  </a:lnTo>
                  <a:lnTo>
                    <a:pt x="232" y="58"/>
                  </a:lnTo>
                  <a:lnTo>
                    <a:pt x="234" y="58"/>
                  </a:lnTo>
                  <a:lnTo>
                    <a:pt x="232" y="58"/>
                  </a:lnTo>
                  <a:lnTo>
                    <a:pt x="232" y="60"/>
                  </a:lnTo>
                  <a:lnTo>
                    <a:pt x="232" y="62"/>
                  </a:lnTo>
                  <a:lnTo>
                    <a:pt x="232" y="64"/>
                  </a:lnTo>
                  <a:lnTo>
                    <a:pt x="230" y="64"/>
                  </a:lnTo>
                  <a:lnTo>
                    <a:pt x="230" y="66"/>
                  </a:lnTo>
                  <a:lnTo>
                    <a:pt x="228" y="66"/>
                  </a:lnTo>
                  <a:lnTo>
                    <a:pt x="228" y="64"/>
                  </a:lnTo>
                  <a:lnTo>
                    <a:pt x="228" y="66"/>
                  </a:lnTo>
                  <a:lnTo>
                    <a:pt x="226" y="66"/>
                  </a:lnTo>
                  <a:lnTo>
                    <a:pt x="226" y="68"/>
                  </a:lnTo>
                  <a:lnTo>
                    <a:pt x="224" y="68"/>
                  </a:lnTo>
                  <a:lnTo>
                    <a:pt x="226" y="68"/>
                  </a:lnTo>
                  <a:lnTo>
                    <a:pt x="226" y="69"/>
                  </a:lnTo>
                  <a:lnTo>
                    <a:pt x="224" y="69"/>
                  </a:lnTo>
                  <a:lnTo>
                    <a:pt x="226" y="69"/>
                  </a:lnTo>
                  <a:lnTo>
                    <a:pt x="224" y="69"/>
                  </a:lnTo>
                  <a:lnTo>
                    <a:pt x="226" y="69"/>
                  </a:lnTo>
                  <a:lnTo>
                    <a:pt x="226" y="71"/>
                  </a:lnTo>
                  <a:lnTo>
                    <a:pt x="226" y="69"/>
                  </a:lnTo>
                  <a:lnTo>
                    <a:pt x="226" y="71"/>
                  </a:lnTo>
                  <a:lnTo>
                    <a:pt x="228" y="71"/>
                  </a:lnTo>
                  <a:lnTo>
                    <a:pt x="226" y="71"/>
                  </a:lnTo>
                  <a:lnTo>
                    <a:pt x="226" y="73"/>
                  </a:lnTo>
                  <a:lnTo>
                    <a:pt x="224" y="73"/>
                  </a:lnTo>
                  <a:lnTo>
                    <a:pt x="222" y="73"/>
                  </a:lnTo>
                  <a:lnTo>
                    <a:pt x="222" y="75"/>
                  </a:lnTo>
                  <a:lnTo>
                    <a:pt x="224" y="75"/>
                  </a:lnTo>
                  <a:lnTo>
                    <a:pt x="222" y="75"/>
                  </a:lnTo>
                  <a:lnTo>
                    <a:pt x="221" y="75"/>
                  </a:lnTo>
                  <a:lnTo>
                    <a:pt x="221" y="77"/>
                  </a:lnTo>
                  <a:lnTo>
                    <a:pt x="221" y="79"/>
                  </a:lnTo>
                  <a:lnTo>
                    <a:pt x="222" y="79"/>
                  </a:lnTo>
                  <a:lnTo>
                    <a:pt x="222" y="81"/>
                  </a:lnTo>
                  <a:lnTo>
                    <a:pt x="221" y="81"/>
                  </a:lnTo>
                  <a:lnTo>
                    <a:pt x="219" y="81"/>
                  </a:lnTo>
                  <a:lnTo>
                    <a:pt x="219" y="83"/>
                  </a:lnTo>
                  <a:lnTo>
                    <a:pt x="221" y="83"/>
                  </a:lnTo>
                  <a:lnTo>
                    <a:pt x="221" y="85"/>
                  </a:lnTo>
                  <a:lnTo>
                    <a:pt x="219" y="85"/>
                  </a:lnTo>
                  <a:lnTo>
                    <a:pt x="219" y="87"/>
                  </a:lnTo>
                  <a:lnTo>
                    <a:pt x="217" y="87"/>
                  </a:lnTo>
                  <a:lnTo>
                    <a:pt x="215" y="87"/>
                  </a:lnTo>
                  <a:lnTo>
                    <a:pt x="213" y="87"/>
                  </a:lnTo>
                  <a:lnTo>
                    <a:pt x="213" y="89"/>
                  </a:lnTo>
                  <a:lnTo>
                    <a:pt x="213" y="87"/>
                  </a:lnTo>
                  <a:lnTo>
                    <a:pt x="211" y="87"/>
                  </a:lnTo>
                  <a:lnTo>
                    <a:pt x="209" y="87"/>
                  </a:lnTo>
                  <a:lnTo>
                    <a:pt x="209" y="89"/>
                  </a:lnTo>
                  <a:lnTo>
                    <a:pt x="207" y="89"/>
                  </a:lnTo>
                  <a:lnTo>
                    <a:pt x="205" y="89"/>
                  </a:lnTo>
                  <a:lnTo>
                    <a:pt x="205" y="91"/>
                  </a:lnTo>
                  <a:lnTo>
                    <a:pt x="203" y="91"/>
                  </a:lnTo>
                  <a:lnTo>
                    <a:pt x="203" y="89"/>
                  </a:lnTo>
                  <a:lnTo>
                    <a:pt x="201" y="89"/>
                  </a:lnTo>
                  <a:lnTo>
                    <a:pt x="201" y="91"/>
                  </a:lnTo>
                  <a:lnTo>
                    <a:pt x="201" y="89"/>
                  </a:lnTo>
                  <a:lnTo>
                    <a:pt x="199" y="89"/>
                  </a:lnTo>
                  <a:lnTo>
                    <a:pt x="198" y="89"/>
                  </a:lnTo>
                  <a:lnTo>
                    <a:pt x="196" y="89"/>
                  </a:lnTo>
                  <a:lnTo>
                    <a:pt x="196" y="87"/>
                  </a:lnTo>
                  <a:lnTo>
                    <a:pt x="196" y="89"/>
                  </a:lnTo>
                  <a:lnTo>
                    <a:pt x="194" y="89"/>
                  </a:lnTo>
                  <a:lnTo>
                    <a:pt x="194" y="87"/>
                  </a:lnTo>
                  <a:lnTo>
                    <a:pt x="196" y="87"/>
                  </a:lnTo>
                  <a:lnTo>
                    <a:pt x="196" y="85"/>
                  </a:lnTo>
                  <a:lnTo>
                    <a:pt x="194" y="85"/>
                  </a:lnTo>
                  <a:lnTo>
                    <a:pt x="192" y="85"/>
                  </a:lnTo>
                  <a:lnTo>
                    <a:pt x="192" y="87"/>
                  </a:lnTo>
                  <a:lnTo>
                    <a:pt x="192" y="85"/>
                  </a:lnTo>
                  <a:lnTo>
                    <a:pt x="190" y="85"/>
                  </a:lnTo>
                  <a:lnTo>
                    <a:pt x="188" y="85"/>
                  </a:lnTo>
                  <a:lnTo>
                    <a:pt x="186" y="85"/>
                  </a:lnTo>
                  <a:lnTo>
                    <a:pt x="186" y="87"/>
                  </a:lnTo>
                  <a:lnTo>
                    <a:pt x="184" y="87"/>
                  </a:lnTo>
                  <a:lnTo>
                    <a:pt x="182" y="87"/>
                  </a:lnTo>
                  <a:lnTo>
                    <a:pt x="182" y="89"/>
                  </a:lnTo>
                  <a:lnTo>
                    <a:pt x="184" y="89"/>
                  </a:lnTo>
                  <a:lnTo>
                    <a:pt x="182" y="89"/>
                  </a:lnTo>
                  <a:lnTo>
                    <a:pt x="182" y="91"/>
                  </a:lnTo>
                  <a:lnTo>
                    <a:pt x="182" y="93"/>
                  </a:lnTo>
                  <a:lnTo>
                    <a:pt x="180" y="93"/>
                  </a:lnTo>
                  <a:lnTo>
                    <a:pt x="178" y="93"/>
                  </a:lnTo>
                  <a:lnTo>
                    <a:pt x="178" y="94"/>
                  </a:lnTo>
                  <a:lnTo>
                    <a:pt x="176" y="94"/>
                  </a:lnTo>
                  <a:lnTo>
                    <a:pt x="176" y="93"/>
                  </a:lnTo>
                  <a:lnTo>
                    <a:pt x="174" y="93"/>
                  </a:lnTo>
                  <a:lnTo>
                    <a:pt x="174" y="94"/>
                  </a:lnTo>
                  <a:lnTo>
                    <a:pt x="173" y="94"/>
                  </a:lnTo>
                  <a:lnTo>
                    <a:pt x="173" y="93"/>
                  </a:lnTo>
                  <a:lnTo>
                    <a:pt x="173" y="94"/>
                  </a:lnTo>
                  <a:lnTo>
                    <a:pt x="171" y="94"/>
                  </a:lnTo>
                  <a:lnTo>
                    <a:pt x="171" y="93"/>
                  </a:lnTo>
                  <a:lnTo>
                    <a:pt x="169" y="93"/>
                  </a:lnTo>
                  <a:lnTo>
                    <a:pt x="167" y="93"/>
                  </a:lnTo>
                  <a:lnTo>
                    <a:pt x="165" y="93"/>
                  </a:lnTo>
                  <a:lnTo>
                    <a:pt x="165" y="94"/>
                  </a:lnTo>
                  <a:lnTo>
                    <a:pt x="165" y="93"/>
                  </a:lnTo>
                  <a:lnTo>
                    <a:pt x="165" y="94"/>
                  </a:lnTo>
                  <a:lnTo>
                    <a:pt x="163" y="94"/>
                  </a:lnTo>
                  <a:lnTo>
                    <a:pt x="161" y="94"/>
                  </a:lnTo>
                  <a:lnTo>
                    <a:pt x="161" y="96"/>
                  </a:lnTo>
                  <a:lnTo>
                    <a:pt x="161" y="94"/>
                  </a:lnTo>
                  <a:lnTo>
                    <a:pt x="159" y="94"/>
                  </a:lnTo>
                  <a:lnTo>
                    <a:pt x="159" y="96"/>
                  </a:lnTo>
                  <a:lnTo>
                    <a:pt x="161" y="96"/>
                  </a:lnTo>
                  <a:lnTo>
                    <a:pt x="159" y="96"/>
                  </a:lnTo>
                  <a:lnTo>
                    <a:pt x="161" y="96"/>
                  </a:lnTo>
                  <a:lnTo>
                    <a:pt x="159" y="96"/>
                  </a:lnTo>
                  <a:lnTo>
                    <a:pt x="157" y="96"/>
                  </a:lnTo>
                  <a:lnTo>
                    <a:pt x="157" y="94"/>
                  </a:lnTo>
                  <a:lnTo>
                    <a:pt x="155" y="94"/>
                  </a:lnTo>
                  <a:lnTo>
                    <a:pt x="155" y="93"/>
                  </a:lnTo>
                  <a:lnTo>
                    <a:pt x="153" y="93"/>
                  </a:lnTo>
                  <a:lnTo>
                    <a:pt x="153" y="91"/>
                  </a:lnTo>
                  <a:lnTo>
                    <a:pt x="151" y="91"/>
                  </a:lnTo>
                  <a:lnTo>
                    <a:pt x="151" y="89"/>
                  </a:lnTo>
                  <a:lnTo>
                    <a:pt x="150" y="89"/>
                  </a:lnTo>
                  <a:lnTo>
                    <a:pt x="150" y="87"/>
                  </a:lnTo>
                  <a:lnTo>
                    <a:pt x="150" y="89"/>
                  </a:lnTo>
                  <a:lnTo>
                    <a:pt x="150" y="87"/>
                  </a:lnTo>
                  <a:lnTo>
                    <a:pt x="148" y="87"/>
                  </a:lnTo>
                  <a:lnTo>
                    <a:pt x="148" y="85"/>
                  </a:lnTo>
                  <a:lnTo>
                    <a:pt x="146" y="85"/>
                  </a:lnTo>
                  <a:lnTo>
                    <a:pt x="146" y="83"/>
                  </a:lnTo>
                  <a:lnTo>
                    <a:pt x="146" y="81"/>
                  </a:lnTo>
                  <a:lnTo>
                    <a:pt x="144" y="81"/>
                  </a:lnTo>
                  <a:lnTo>
                    <a:pt x="144" y="79"/>
                  </a:lnTo>
                  <a:lnTo>
                    <a:pt x="146" y="79"/>
                  </a:lnTo>
                  <a:lnTo>
                    <a:pt x="146" y="77"/>
                  </a:lnTo>
                  <a:lnTo>
                    <a:pt x="146" y="79"/>
                  </a:lnTo>
                  <a:lnTo>
                    <a:pt x="146" y="81"/>
                  </a:lnTo>
                  <a:lnTo>
                    <a:pt x="148" y="81"/>
                  </a:lnTo>
                  <a:lnTo>
                    <a:pt x="148" y="83"/>
                  </a:lnTo>
                  <a:lnTo>
                    <a:pt x="150" y="83"/>
                  </a:lnTo>
                  <a:lnTo>
                    <a:pt x="148" y="83"/>
                  </a:lnTo>
                  <a:lnTo>
                    <a:pt x="150" y="83"/>
                  </a:lnTo>
                  <a:lnTo>
                    <a:pt x="151" y="83"/>
                  </a:lnTo>
                  <a:lnTo>
                    <a:pt x="153" y="83"/>
                  </a:lnTo>
                  <a:lnTo>
                    <a:pt x="155" y="83"/>
                  </a:lnTo>
                  <a:lnTo>
                    <a:pt x="155" y="85"/>
                  </a:lnTo>
                  <a:lnTo>
                    <a:pt x="155" y="83"/>
                  </a:lnTo>
                  <a:lnTo>
                    <a:pt x="157" y="83"/>
                  </a:lnTo>
                  <a:lnTo>
                    <a:pt x="155" y="83"/>
                  </a:lnTo>
                  <a:lnTo>
                    <a:pt x="157" y="83"/>
                  </a:lnTo>
                  <a:lnTo>
                    <a:pt x="157" y="85"/>
                  </a:lnTo>
                  <a:lnTo>
                    <a:pt x="157" y="83"/>
                  </a:lnTo>
                  <a:lnTo>
                    <a:pt x="159" y="83"/>
                  </a:lnTo>
                  <a:lnTo>
                    <a:pt x="157" y="83"/>
                  </a:lnTo>
                  <a:lnTo>
                    <a:pt x="157" y="85"/>
                  </a:lnTo>
                  <a:lnTo>
                    <a:pt x="159" y="85"/>
                  </a:lnTo>
                  <a:lnTo>
                    <a:pt x="161" y="85"/>
                  </a:lnTo>
                  <a:lnTo>
                    <a:pt x="161" y="87"/>
                  </a:lnTo>
                  <a:lnTo>
                    <a:pt x="163" y="87"/>
                  </a:lnTo>
                  <a:lnTo>
                    <a:pt x="163" y="85"/>
                  </a:lnTo>
                  <a:lnTo>
                    <a:pt x="161" y="85"/>
                  </a:lnTo>
                  <a:lnTo>
                    <a:pt x="163" y="85"/>
                  </a:lnTo>
                  <a:lnTo>
                    <a:pt x="163" y="87"/>
                  </a:lnTo>
                  <a:lnTo>
                    <a:pt x="165" y="87"/>
                  </a:lnTo>
                  <a:lnTo>
                    <a:pt x="165" y="85"/>
                  </a:lnTo>
                  <a:lnTo>
                    <a:pt x="167" y="85"/>
                  </a:lnTo>
                  <a:lnTo>
                    <a:pt x="167" y="83"/>
                  </a:lnTo>
                  <a:lnTo>
                    <a:pt x="167" y="85"/>
                  </a:lnTo>
                  <a:lnTo>
                    <a:pt x="167" y="83"/>
                  </a:lnTo>
                  <a:lnTo>
                    <a:pt x="167" y="81"/>
                  </a:lnTo>
                  <a:lnTo>
                    <a:pt x="169" y="81"/>
                  </a:lnTo>
                  <a:lnTo>
                    <a:pt x="169" y="79"/>
                  </a:lnTo>
                  <a:lnTo>
                    <a:pt x="169" y="77"/>
                  </a:lnTo>
                  <a:lnTo>
                    <a:pt x="167" y="77"/>
                  </a:lnTo>
                  <a:lnTo>
                    <a:pt x="169" y="77"/>
                  </a:lnTo>
                  <a:lnTo>
                    <a:pt x="169" y="75"/>
                  </a:lnTo>
                  <a:lnTo>
                    <a:pt x="169" y="77"/>
                  </a:lnTo>
                  <a:lnTo>
                    <a:pt x="169" y="75"/>
                  </a:lnTo>
                  <a:lnTo>
                    <a:pt x="169" y="73"/>
                  </a:lnTo>
                  <a:lnTo>
                    <a:pt x="171" y="73"/>
                  </a:lnTo>
                  <a:lnTo>
                    <a:pt x="171" y="75"/>
                  </a:lnTo>
                  <a:lnTo>
                    <a:pt x="171" y="73"/>
                  </a:lnTo>
                  <a:lnTo>
                    <a:pt x="173" y="73"/>
                  </a:lnTo>
                  <a:lnTo>
                    <a:pt x="171" y="73"/>
                  </a:lnTo>
                  <a:lnTo>
                    <a:pt x="171" y="71"/>
                  </a:lnTo>
                  <a:lnTo>
                    <a:pt x="171" y="69"/>
                  </a:lnTo>
                  <a:lnTo>
                    <a:pt x="173" y="69"/>
                  </a:lnTo>
                  <a:lnTo>
                    <a:pt x="173" y="68"/>
                  </a:lnTo>
                  <a:lnTo>
                    <a:pt x="174" y="68"/>
                  </a:lnTo>
                  <a:lnTo>
                    <a:pt x="176" y="68"/>
                  </a:lnTo>
                  <a:lnTo>
                    <a:pt x="176" y="66"/>
                  </a:lnTo>
                  <a:lnTo>
                    <a:pt x="178" y="66"/>
                  </a:lnTo>
                  <a:lnTo>
                    <a:pt x="180" y="66"/>
                  </a:lnTo>
                  <a:lnTo>
                    <a:pt x="182" y="66"/>
                  </a:lnTo>
                  <a:lnTo>
                    <a:pt x="184" y="66"/>
                  </a:lnTo>
                  <a:lnTo>
                    <a:pt x="186" y="66"/>
                  </a:lnTo>
                  <a:lnTo>
                    <a:pt x="188" y="64"/>
                  </a:lnTo>
                  <a:lnTo>
                    <a:pt x="190" y="64"/>
                  </a:lnTo>
                  <a:lnTo>
                    <a:pt x="192" y="64"/>
                  </a:lnTo>
                  <a:lnTo>
                    <a:pt x="194" y="64"/>
                  </a:lnTo>
                  <a:lnTo>
                    <a:pt x="194" y="62"/>
                  </a:lnTo>
                  <a:lnTo>
                    <a:pt x="196" y="62"/>
                  </a:lnTo>
                  <a:lnTo>
                    <a:pt x="196" y="60"/>
                  </a:lnTo>
                  <a:lnTo>
                    <a:pt x="198" y="60"/>
                  </a:lnTo>
                  <a:lnTo>
                    <a:pt x="198" y="58"/>
                  </a:lnTo>
                  <a:lnTo>
                    <a:pt x="199" y="58"/>
                  </a:lnTo>
                  <a:lnTo>
                    <a:pt x="199" y="56"/>
                  </a:lnTo>
                  <a:lnTo>
                    <a:pt x="199" y="54"/>
                  </a:lnTo>
                  <a:lnTo>
                    <a:pt x="201" y="54"/>
                  </a:lnTo>
                  <a:lnTo>
                    <a:pt x="201" y="52"/>
                  </a:lnTo>
                  <a:lnTo>
                    <a:pt x="203" y="52"/>
                  </a:lnTo>
                  <a:lnTo>
                    <a:pt x="203" y="50"/>
                  </a:lnTo>
                  <a:lnTo>
                    <a:pt x="205" y="50"/>
                  </a:lnTo>
                  <a:lnTo>
                    <a:pt x="205" y="48"/>
                  </a:lnTo>
                  <a:lnTo>
                    <a:pt x="207" y="48"/>
                  </a:lnTo>
                  <a:lnTo>
                    <a:pt x="207" y="46"/>
                  </a:lnTo>
                  <a:lnTo>
                    <a:pt x="209" y="46"/>
                  </a:lnTo>
                  <a:lnTo>
                    <a:pt x="209" y="44"/>
                  </a:lnTo>
                  <a:lnTo>
                    <a:pt x="209" y="43"/>
                  </a:lnTo>
                  <a:lnTo>
                    <a:pt x="209" y="41"/>
                  </a:lnTo>
                  <a:lnTo>
                    <a:pt x="211" y="41"/>
                  </a:lnTo>
                  <a:lnTo>
                    <a:pt x="213" y="43"/>
                  </a:lnTo>
                  <a:lnTo>
                    <a:pt x="215" y="44"/>
                  </a:lnTo>
                  <a:lnTo>
                    <a:pt x="213" y="44"/>
                  </a:lnTo>
                  <a:lnTo>
                    <a:pt x="215" y="44"/>
                  </a:lnTo>
                  <a:lnTo>
                    <a:pt x="215" y="46"/>
                  </a:lnTo>
                  <a:lnTo>
                    <a:pt x="217" y="46"/>
                  </a:lnTo>
                  <a:lnTo>
                    <a:pt x="217" y="48"/>
                  </a:lnTo>
                  <a:lnTo>
                    <a:pt x="219" y="48"/>
                  </a:lnTo>
                  <a:lnTo>
                    <a:pt x="219" y="50"/>
                  </a:lnTo>
                  <a:lnTo>
                    <a:pt x="221" y="50"/>
                  </a:lnTo>
                  <a:lnTo>
                    <a:pt x="221" y="48"/>
                  </a:lnTo>
                  <a:lnTo>
                    <a:pt x="221" y="46"/>
                  </a:lnTo>
                  <a:lnTo>
                    <a:pt x="222" y="46"/>
                  </a:lnTo>
                  <a:lnTo>
                    <a:pt x="221" y="46"/>
                  </a:lnTo>
                  <a:lnTo>
                    <a:pt x="222" y="46"/>
                  </a:lnTo>
                  <a:lnTo>
                    <a:pt x="222" y="44"/>
                  </a:lnTo>
                  <a:lnTo>
                    <a:pt x="221" y="44"/>
                  </a:lnTo>
                  <a:lnTo>
                    <a:pt x="221" y="43"/>
                  </a:lnTo>
                  <a:lnTo>
                    <a:pt x="221" y="41"/>
                  </a:lnTo>
                  <a:lnTo>
                    <a:pt x="221" y="39"/>
                  </a:lnTo>
                  <a:lnTo>
                    <a:pt x="222" y="39"/>
                  </a:lnTo>
                  <a:lnTo>
                    <a:pt x="224" y="39"/>
                  </a:lnTo>
                  <a:lnTo>
                    <a:pt x="224" y="37"/>
                  </a:lnTo>
                  <a:lnTo>
                    <a:pt x="224" y="39"/>
                  </a:lnTo>
                  <a:lnTo>
                    <a:pt x="224" y="41"/>
                  </a:lnTo>
                  <a:lnTo>
                    <a:pt x="224" y="43"/>
                  </a:lnTo>
                  <a:lnTo>
                    <a:pt x="226" y="43"/>
                  </a:lnTo>
                  <a:lnTo>
                    <a:pt x="224" y="43"/>
                  </a:lnTo>
                  <a:lnTo>
                    <a:pt x="226" y="43"/>
                  </a:lnTo>
                  <a:lnTo>
                    <a:pt x="224" y="43"/>
                  </a:lnTo>
                  <a:lnTo>
                    <a:pt x="224" y="44"/>
                  </a:lnTo>
                  <a:lnTo>
                    <a:pt x="224" y="43"/>
                  </a:lnTo>
                  <a:lnTo>
                    <a:pt x="224" y="44"/>
                  </a:lnTo>
                  <a:lnTo>
                    <a:pt x="226" y="44"/>
                  </a:lnTo>
                  <a:lnTo>
                    <a:pt x="224" y="44"/>
                  </a:lnTo>
                  <a:lnTo>
                    <a:pt x="226" y="44"/>
                  </a:lnTo>
                  <a:lnTo>
                    <a:pt x="228" y="44"/>
                  </a:lnTo>
                  <a:lnTo>
                    <a:pt x="228" y="46"/>
                  </a:lnTo>
                  <a:lnTo>
                    <a:pt x="228" y="44"/>
                  </a:lnTo>
                  <a:lnTo>
                    <a:pt x="230" y="44"/>
                  </a:lnTo>
                  <a:lnTo>
                    <a:pt x="228" y="44"/>
                  </a:lnTo>
                  <a:lnTo>
                    <a:pt x="228" y="43"/>
                  </a:lnTo>
                  <a:lnTo>
                    <a:pt x="228" y="41"/>
                  </a:lnTo>
                  <a:lnTo>
                    <a:pt x="228" y="39"/>
                  </a:lnTo>
                  <a:lnTo>
                    <a:pt x="226" y="37"/>
                  </a:lnTo>
                  <a:lnTo>
                    <a:pt x="226" y="35"/>
                  </a:lnTo>
                  <a:lnTo>
                    <a:pt x="228" y="35"/>
                  </a:lnTo>
                  <a:lnTo>
                    <a:pt x="228" y="37"/>
                  </a:lnTo>
                  <a:lnTo>
                    <a:pt x="230" y="37"/>
                  </a:lnTo>
                  <a:lnTo>
                    <a:pt x="230" y="35"/>
                  </a:lnTo>
                  <a:lnTo>
                    <a:pt x="232" y="35"/>
                  </a:lnTo>
                  <a:lnTo>
                    <a:pt x="232" y="33"/>
                  </a:lnTo>
                  <a:lnTo>
                    <a:pt x="232" y="31"/>
                  </a:lnTo>
                  <a:lnTo>
                    <a:pt x="232" y="33"/>
                  </a:lnTo>
                  <a:lnTo>
                    <a:pt x="230" y="33"/>
                  </a:lnTo>
                  <a:lnTo>
                    <a:pt x="230" y="31"/>
                  </a:lnTo>
                  <a:lnTo>
                    <a:pt x="228" y="31"/>
                  </a:lnTo>
                  <a:lnTo>
                    <a:pt x="230" y="31"/>
                  </a:lnTo>
                  <a:lnTo>
                    <a:pt x="230" y="29"/>
                  </a:lnTo>
                  <a:lnTo>
                    <a:pt x="230" y="27"/>
                  </a:lnTo>
                  <a:lnTo>
                    <a:pt x="232" y="27"/>
                  </a:lnTo>
                  <a:lnTo>
                    <a:pt x="232" y="25"/>
                  </a:lnTo>
                  <a:lnTo>
                    <a:pt x="232" y="27"/>
                  </a:lnTo>
                  <a:lnTo>
                    <a:pt x="234" y="27"/>
                  </a:lnTo>
                  <a:lnTo>
                    <a:pt x="236" y="27"/>
                  </a:lnTo>
                  <a:lnTo>
                    <a:pt x="236" y="25"/>
                  </a:lnTo>
                  <a:lnTo>
                    <a:pt x="238" y="25"/>
                  </a:lnTo>
                  <a:lnTo>
                    <a:pt x="238" y="23"/>
                  </a:lnTo>
                  <a:lnTo>
                    <a:pt x="240" y="23"/>
                  </a:lnTo>
                  <a:lnTo>
                    <a:pt x="240" y="21"/>
                  </a:lnTo>
                  <a:lnTo>
                    <a:pt x="240" y="20"/>
                  </a:lnTo>
                  <a:lnTo>
                    <a:pt x="240" y="18"/>
                  </a:lnTo>
                  <a:lnTo>
                    <a:pt x="240" y="20"/>
                  </a:lnTo>
                  <a:lnTo>
                    <a:pt x="242" y="20"/>
                  </a:lnTo>
                  <a:lnTo>
                    <a:pt x="240" y="20"/>
                  </a:lnTo>
                  <a:lnTo>
                    <a:pt x="240" y="18"/>
                  </a:lnTo>
                  <a:lnTo>
                    <a:pt x="240" y="20"/>
                  </a:lnTo>
                  <a:lnTo>
                    <a:pt x="240" y="18"/>
                  </a:lnTo>
                  <a:lnTo>
                    <a:pt x="242" y="18"/>
                  </a:lnTo>
                  <a:lnTo>
                    <a:pt x="242" y="20"/>
                  </a:lnTo>
                  <a:lnTo>
                    <a:pt x="242" y="18"/>
                  </a:lnTo>
                  <a:lnTo>
                    <a:pt x="240" y="18"/>
                  </a:lnTo>
                  <a:lnTo>
                    <a:pt x="242" y="18"/>
                  </a:lnTo>
                  <a:lnTo>
                    <a:pt x="240" y="18"/>
                  </a:lnTo>
                  <a:lnTo>
                    <a:pt x="242" y="18"/>
                  </a:lnTo>
                  <a:lnTo>
                    <a:pt x="244" y="18"/>
                  </a:lnTo>
                  <a:lnTo>
                    <a:pt x="242" y="18"/>
                  </a:lnTo>
                  <a:lnTo>
                    <a:pt x="244" y="18"/>
                  </a:lnTo>
                  <a:lnTo>
                    <a:pt x="242" y="18"/>
                  </a:lnTo>
                  <a:lnTo>
                    <a:pt x="244" y="18"/>
                  </a:lnTo>
                  <a:lnTo>
                    <a:pt x="242" y="18"/>
                  </a:lnTo>
                  <a:lnTo>
                    <a:pt x="244" y="18"/>
                  </a:lnTo>
                  <a:lnTo>
                    <a:pt x="244" y="16"/>
                  </a:lnTo>
                  <a:lnTo>
                    <a:pt x="242" y="16"/>
                  </a:lnTo>
                  <a:lnTo>
                    <a:pt x="242" y="18"/>
                  </a:lnTo>
                  <a:lnTo>
                    <a:pt x="242" y="16"/>
                  </a:lnTo>
                  <a:lnTo>
                    <a:pt x="244" y="16"/>
                  </a:lnTo>
                  <a:lnTo>
                    <a:pt x="242" y="16"/>
                  </a:lnTo>
                  <a:lnTo>
                    <a:pt x="244" y="16"/>
                  </a:lnTo>
                  <a:lnTo>
                    <a:pt x="244" y="14"/>
                  </a:lnTo>
                  <a:lnTo>
                    <a:pt x="245" y="14"/>
                  </a:lnTo>
                  <a:lnTo>
                    <a:pt x="245" y="12"/>
                  </a:lnTo>
                  <a:lnTo>
                    <a:pt x="247" y="12"/>
                  </a:lnTo>
                  <a:lnTo>
                    <a:pt x="247" y="10"/>
                  </a:lnTo>
                  <a:lnTo>
                    <a:pt x="247" y="12"/>
                  </a:lnTo>
                  <a:lnTo>
                    <a:pt x="247" y="10"/>
                  </a:lnTo>
                  <a:lnTo>
                    <a:pt x="247" y="8"/>
                  </a:lnTo>
                  <a:lnTo>
                    <a:pt x="249" y="8"/>
                  </a:lnTo>
                  <a:lnTo>
                    <a:pt x="249" y="6"/>
                  </a:lnTo>
                  <a:lnTo>
                    <a:pt x="251" y="6"/>
                  </a:lnTo>
                  <a:lnTo>
                    <a:pt x="251" y="8"/>
                  </a:lnTo>
                  <a:lnTo>
                    <a:pt x="249" y="8"/>
                  </a:lnTo>
                  <a:lnTo>
                    <a:pt x="251" y="8"/>
                  </a:lnTo>
                  <a:lnTo>
                    <a:pt x="251" y="10"/>
                  </a:lnTo>
                  <a:lnTo>
                    <a:pt x="249" y="10"/>
                  </a:lnTo>
                  <a:lnTo>
                    <a:pt x="249" y="12"/>
                  </a:lnTo>
                  <a:lnTo>
                    <a:pt x="249" y="10"/>
                  </a:lnTo>
                  <a:lnTo>
                    <a:pt x="249" y="12"/>
                  </a:lnTo>
                  <a:lnTo>
                    <a:pt x="251" y="12"/>
                  </a:lnTo>
                  <a:lnTo>
                    <a:pt x="251" y="10"/>
                  </a:lnTo>
                  <a:lnTo>
                    <a:pt x="253" y="10"/>
                  </a:lnTo>
                  <a:lnTo>
                    <a:pt x="253" y="8"/>
                  </a:lnTo>
                  <a:lnTo>
                    <a:pt x="255" y="8"/>
                  </a:lnTo>
                  <a:lnTo>
                    <a:pt x="253" y="8"/>
                  </a:lnTo>
                  <a:lnTo>
                    <a:pt x="253" y="6"/>
                  </a:lnTo>
                  <a:lnTo>
                    <a:pt x="255" y="6"/>
                  </a:lnTo>
                  <a:lnTo>
                    <a:pt x="253" y="6"/>
                  </a:lnTo>
                  <a:lnTo>
                    <a:pt x="255" y="6"/>
                  </a:lnTo>
                  <a:lnTo>
                    <a:pt x="257" y="6"/>
                  </a:lnTo>
                  <a:lnTo>
                    <a:pt x="257" y="8"/>
                  </a:lnTo>
                  <a:lnTo>
                    <a:pt x="257" y="10"/>
                  </a:lnTo>
                  <a:lnTo>
                    <a:pt x="257" y="12"/>
                  </a:lnTo>
                  <a:lnTo>
                    <a:pt x="259" y="12"/>
                  </a:lnTo>
                  <a:lnTo>
                    <a:pt x="261" y="12"/>
                  </a:lnTo>
                  <a:lnTo>
                    <a:pt x="261" y="14"/>
                  </a:lnTo>
                  <a:lnTo>
                    <a:pt x="263" y="14"/>
                  </a:lnTo>
                  <a:lnTo>
                    <a:pt x="265" y="14"/>
                  </a:lnTo>
                  <a:lnTo>
                    <a:pt x="263" y="14"/>
                  </a:lnTo>
                  <a:lnTo>
                    <a:pt x="265" y="14"/>
                  </a:lnTo>
                  <a:lnTo>
                    <a:pt x="265" y="16"/>
                  </a:lnTo>
                  <a:lnTo>
                    <a:pt x="265" y="14"/>
                  </a:lnTo>
                  <a:lnTo>
                    <a:pt x="265" y="16"/>
                  </a:lnTo>
                  <a:lnTo>
                    <a:pt x="263" y="16"/>
                  </a:lnTo>
                  <a:lnTo>
                    <a:pt x="265" y="16"/>
                  </a:lnTo>
                  <a:lnTo>
                    <a:pt x="263" y="16"/>
                  </a:lnTo>
                  <a:lnTo>
                    <a:pt x="263" y="18"/>
                  </a:lnTo>
                  <a:lnTo>
                    <a:pt x="263" y="16"/>
                  </a:lnTo>
                  <a:lnTo>
                    <a:pt x="263" y="18"/>
                  </a:lnTo>
                  <a:lnTo>
                    <a:pt x="265" y="18"/>
                  </a:lnTo>
                  <a:lnTo>
                    <a:pt x="263" y="18"/>
                  </a:lnTo>
                  <a:lnTo>
                    <a:pt x="263" y="16"/>
                  </a:lnTo>
                  <a:lnTo>
                    <a:pt x="263" y="18"/>
                  </a:lnTo>
                  <a:lnTo>
                    <a:pt x="261" y="18"/>
                  </a:lnTo>
                  <a:lnTo>
                    <a:pt x="263" y="18"/>
                  </a:lnTo>
                  <a:lnTo>
                    <a:pt x="263" y="20"/>
                  </a:lnTo>
                  <a:lnTo>
                    <a:pt x="263" y="21"/>
                  </a:lnTo>
                  <a:lnTo>
                    <a:pt x="263" y="20"/>
                  </a:lnTo>
                  <a:lnTo>
                    <a:pt x="263" y="21"/>
                  </a:lnTo>
                  <a:lnTo>
                    <a:pt x="263" y="20"/>
                  </a:lnTo>
                  <a:lnTo>
                    <a:pt x="263" y="21"/>
                  </a:lnTo>
                  <a:lnTo>
                    <a:pt x="261" y="21"/>
                  </a:lnTo>
                  <a:lnTo>
                    <a:pt x="261" y="23"/>
                  </a:lnTo>
                  <a:lnTo>
                    <a:pt x="261" y="21"/>
                  </a:lnTo>
                  <a:lnTo>
                    <a:pt x="263" y="21"/>
                  </a:lnTo>
                  <a:lnTo>
                    <a:pt x="265" y="21"/>
                  </a:lnTo>
                  <a:lnTo>
                    <a:pt x="265" y="23"/>
                  </a:lnTo>
                  <a:lnTo>
                    <a:pt x="265" y="21"/>
                  </a:lnTo>
                  <a:lnTo>
                    <a:pt x="267" y="21"/>
                  </a:lnTo>
                  <a:lnTo>
                    <a:pt x="267" y="20"/>
                  </a:lnTo>
                  <a:lnTo>
                    <a:pt x="269" y="20"/>
                  </a:lnTo>
                  <a:lnTo>
                    <a:pt x="269" y="21"/>
                  </a:lnTo>
                  <a:lnTo>
                    <a:pt x="269" y="23"/>
                  </a:lnTo>
                  <a:lnTo>
                    <a:pt x="269" y="21"/>
                  </a:lnTo>
                  <a:lnTo>
                    <a:pt x="270" y="21"/>
                  </a:lnTo>
                  <a:lnTo>
                    <a:pt x="270" y="23"/>
                  </a:lnTo>
                  <a:lnTo>
                    <a:pt x="269" y="23"/>
                  </a:lnTo>
                  <a:lnTo>
                    <a:pt x="267" y="23"/>
                  </a:lnTo>
                  <a:lnTo>
                    <a:pt x="267" y="25"/>
                  </a:lnTo>
                  <a:lnTo>
                    <a:pt x="269" y="25"/>
                  </a:lnTo>
                  <a:lnTo>
                    <a:pt x="270" y="25"/>
                  </a:lnTo>
                  <a:lnTo>
                    <a:pt x="270" y="23"/>
                  </a:lnTo>
                  <a:lnTo>
                    <a:pt x="270" y="25"/>
                  </a:lnTo>
                  <a:lnTo>
                    <a:pt x="270" y="23"/>
                  </a:lnTo>
                  <a:lnTo>
                    <a:pt x="272" y="23"/>
                  </a:lnTo>
                  <a:lnTo>
                    <a:pt x="274" y="23"/>
                  </a:lnTo>
                  <a:lnTo>
                    <a:pt x="274" y="25"/>
                  </a:lnTo>
                  <a:lnTo>
                    <a:pt x="276" y="25"/>
                  </a:lnTo>
                  <a:lnTo>
                    <a:pt x="276" y="27"/>
                  </a:lnTo>
                  <a:lnTo>
                    <a:pt x="276" y="25"/>
                  </a:lnTo>
                  <a:lnTo>
                    <a:pt x="278" y="25"/>
                  </a:lnTo>
                  <a:lnTo>
                    <a:pt x="278" y="27"/>
                  </a:lnTo>
                  <a:lnTo>
                    <a:pt x="280" y="27"/>
                  </a:lnTo>
                  <a:lnTo>
                    <a:pt x="280" y="29"/>
                  </a:lnTo>
                  <a:lnTo>
                    <a:pt x="280" y="27"/>
                  </a:lnTo>
                  <a:lnTo>
                    <a:pt x="280" y="29"/>
                  </a:lnTo>
                  <a:lnTo>
                    <a:pt x="282" y="29"/>
                  </a:lnTo>
                  <a:lnTo>
                    <a:pt x="280" y="29"/>
                  </a:lnTo>
                  <a:lnTo>
                    <a:pt x="282" y="29"/>
                  </a:lnTo>
                  <a:lnTo>
                    <a:pt x="284" y="29"/>
                  </a:lnTo>
                  <a:lnTo>
                    <a:pt x="286" y="29"/>
                  </a:lnTo>
                  <a:lnTo>
                    <a:pt x="286" y="31"/>
                  </a:lnTo>
                  <a:lnTo>
                    <a:pt x="286" y="33"/>
                  </a:lnTo>
                  <a:lnTo>
                    <a:pt x="284" y="33"/>
                  </a:lnTo>
                  <a:lnTo>
                    <a:pt x="284" y="35"/>
                  </a:lnTo>
                  <a:lnTo>
                    <a:pt x="282" y="35"/>
                  </a:lnTo>
                  <a:lnTo>
                    <a:pt x="280" y="35"/>
                  </a:lnTo>
                  <a:lnTo>
                    <a:pt x="278" y="35"/>
                  </a:lnTo>
                  <a:lnTo>
                    <a:pt x="278" y="37"/>
                  </a:lnTo>
                  <a:lnTo>
                    <a:pt x="276" y="37"/>
                  </a:lnTo>
                  <a:lnTo>
                    <a:pt x="276" y="35"/>
                  </a:lnTo>
                  <a:lnTo>
                    <a:pt x="276" y="37"/>
                  </a:lnTo>
                  <a:lnTo>
                    <a:pt x="276" y="35"/>
                  </a:lnTo>
                  <a:lnTo>
                    <a:pt x="276" y="37"/>
                  </a:lnTo>
                  <a:lnTo>
                    <a:pt x="276" y="35"/>
                  </a:lnTo>
                  <a:lnTo>
                    <a:pt x="276" y="37"/>
                  </a:lnTo>
                  <a:lnTo>
                    <a:pt x="274" y="37"/>
                  </a:lnTo>
                  <a:lnTo>
                    <a:pt x="274" y="35"/>
                  </a:lnTo>
                  <a:lnTo>
                    <a:pt x="272" y="35"/>
                  </a:lnTo>
                  <a:lnTo>
                    <a:pt x="270" y="35"/>
                  </a:lnTo>
                  <a:lnTo>
                    <a:pt x="270" y="37"/>
                  </a:lnTo>
                  <a:lnTo>
                    <a:pt x="270" y="39"/>
                  </a:lnTo>
                  <a:lnTo>
                    <a:pt x="270" y="41"/>
                  </a:lnTo>
                  <a:lnTo>
                    <a:pt x="272" y="41"/>
                  </a:lnTo>
                  <a:lnTo>
                    <a:pt x="274" y="41"/>
                  </a:lnTo>
                  <a:lnTo>
                    <a:pt x="274" y="43"/>
                  </a:lnTo>
                  <a:lnTo>
                    <a:pt x="276" y="43"/>
                  </a:lnTo>
                  <a:lnTo>
                    <a:pt x="278" y="43"/>
                  </a:lnTo>
                  <a:lnTo>
                    <a:pt x="276" y="43"/>
                  </a:lnTo>
                  <a:lnTo>
                    <a:pt x="276" y="44"/>
                  </a:lnTo>
                  <a:lnTo>
                    <a:pt x="276" y="43"/>
                  </a:lnTo>
                  <a:lnTo>
                    <a:pt x="276" y="44"/>
                  </a:lnTo>
                  <a:lnTo>
                    <a:pt x="274" y="44"/>
                  </a:lnTo>
                  <a:lnTo>
                    <a:pt x="272" y="44"/>
                  </a:lnTo>
                  <a:lnTo>
                    <a:pt x="270" y="44"/>
                  </a:lnTo>
                  <a:lnTo>
                    <a:pt x="270" y="46"/>
                  </a:lnTo>
                  <a:lnTo>
                    <a:pt x="269" y="46"/>
                  </a:lnTo>
                  <a:lnTo>
                    <a:pt x="267" y="46"/>
                  </a:lnTo>
                  <a:lnTo>
                    <a:pt x="265" y="46"/>
                  </a:lnTo>
                  <a:lnTo>
                    <a:pt x="265" y="44"/>
                  </a:lnTo>
                  <a:lnTo>
                    <a:pt x="263" y="44"/>
                  </a:lnTo>
                  <a:lnTo>
                    <a:pt x="261" y="44"/>
                  </a:lnTo>
                  <a:lnTo>
                    <a:pt x="263" y="44"/>
                  </a:lnTo>
                  <a:lnTo>
                    <a:pt x="263" y="46"/>
                  </a:lnTo>
                  <a:lnTo>
                    <a:pt x="263" y="44"/>
                  </a:lnTo>
                  <a:lnTo>
                    <a:pt x="261" y="44"/>
                  </a:lnTo>
                  <a:lnTo>
                    <a:pt x="261" y="46"/>
                  </a:lnTo>
                  <a:lnTo>
                    <a:pt x="261" y="48"/>
                  </a:lnTo>
                  <a:close/>
                  <a:moveTo>
                    <a:pt x="34" y="18"/>
                  </a:moveTo>
                  <a:lnTo>
                    <a:pt x="36" y="18"/>
                  </a:lnTo>
                  <a:lnTo>
                    <a:pt x="38" y="18"/>
                  </a:lnTo>
                  <a:lnTo>
                    <a:pt x="36" y="18"/>
                  </a:lnTo>
                  <a:lnTo>
                    <a:pt x="38" y="18"/>
                  </a:lnTo>
                  <a:lnTo>
                    <a:pt x="40" y="18"/>
                  </a:lnTo>
                  <a:lnTo>
                    <a:pt x="40" y="20"/>
                  </a:lnTo>
                  <a:lnTo>
                    <a:pt x="40" y="18"/>
                  </a:lnTo>
                  <a:lnTo>
                    <a:pt x="40" y="20"/>
                  </a:lnTo>
                  <a:lnTo>
                    <a:pt x="40" y="18"/>
                  </a:lnTo>
                  <a:lnTo>
                    <a:pt x="40" y="20"/>
                  </a:lnTo>
                  <a:lnTo>
                    <a:pt x="40" y="21"/>
                  </a:lnTo>
                  <a:lnTo>
                    <a:pt x="40" y="23"/>
                  </a:lnTo>
                  <a:lnTo>
                    <a:pt x="42" y="23"/>
                  </a:lnTo>
                  <a:lnTo>
                    <a:pt x="44" y="23"/>
                  </a:lnTo>
                  <a:lnTo>
                    <a:pt x="44" y="25"/>
                  </a:lnTo>
                  <a:lnTo>
                    <a:pt x="46" y="25"/>
                  </a:lnTo>
                  <a:lnTo>
                    <a:pt x="46" y="27"/>
                  </a:lnTo>
                  <a:lnTo>
                    <a:pt x="46" y="25"/>
                  </a:lnTo>
                  <a:lnTo>
                    <a:pt x="44" y="25"/>
                  </a:lnTo>
                  <a:lnTo>
                    <a:pt x="46" y="25"/>
                  </a:lnTo>
                  <a:lnTo>
                    <a:pt x="46" y="27"/>
                  </a:lnTo>
                  <a:lnTo>
                    <a:pt x="48" y="27"/>
                  </a:lnTo>
                  <a:lnTo>
                    <a:pt x="48" y="29"/>
                  </a:lnTo>
                  <a:lnTo>
                    <a:pt x="50" y="29"/>
                  </a:lnTo>
                  <a:lnTo>
                    <a:pt x="50" y="31"/>
                  </a:lnTo>
                  <a:lnTo>
                    <a:pt x="52" y="31"/>
                  </a:lnTo>
                  <a:lnTo>
                    <a:pt x="52" y="33"/>
                  </a:lnTo>
                  <a:lnTo>
                    <a:pt x="52" y="35"/>
                  </a:lnTo>
                  <a:lnTo>
                    <a:pt x="54" y="35"/>
                  </a:lnTo>
                  <a:lnTo>
                    <a:pt x="54" y="37"/>
                  </a:lnTo>
                  <a:lnTo>
                    <a:pt x="55" y="37"/>
                  </a:lnTo>
                  <a:lnTo>
                    <a:pt x="55" y="39"/>
                  </a:lnTo>
                  <a:lnTo>
                    <a:pt x="55" y="41"/>
                  </a:lnTo>
                  <a:lnTo>
                    <a:pt x="55" y="43"/>
                  </a:lnTo>
                  <a:lnTo>
                    <a:pt x="55" y="44"/>
                  </a:lnTo>
                  <a:lnTo>
                    <a:pt x="55" y="46"/>
                  </a:lnTo>
                  <a:lnTo>
                    <a:pt x="54" y="46"/>
                  </a:lnTo>
                  <a:lnTo>
                    <a:pt x="54" y="48"/>
                  </a:lnTo>
                  <a:lnTo>
                    <a:pt x="54" y="50"/>
                  </a:lnTo>
                  <a:lnTo>
                    <a:pt x="55" y="50"/>
                  </a:lnTo>
                  <a:lnTo>
                    <a:pt x="54" y="50"/>
                  </a:lnTo>
                  <a:lnTo>
                    <a:pt x="55" y="50"/>
                  </a:lnTo>
                  <a:lnTo>
                    <a:pt x="54" y="50"/>
                  </a:lnTo>
                  <a:lnTo>
                    <a:pt x="54" y="52"/>
                  </a:lnTo>
                  <a:lnTo>
                    <a:pt x="54" y="54"/>
                  </a:lnTo>
                  <a:lnTo>
                    <a:pt x="54" y="56"/>
                  </a:lnTo>
                  <a:lnTo>
                    <a:pt x="55" y="56"/>
                  </a:lnTo>
                  <a:lnTo>
                    <a:pt x="55" y="58"/>
                  </a:lnTo>
                  <a:lnTo>
                    <a:pt x="55" y="60"/>
                  </a:lnTo>
                  <a:lnTo>
                    <a:pt x="55" y="62"/>
                  </a:lnTo>
                  <a:lnTo>
                    <a:pt x="55" y="64"/>
                  </a:lnTo>
                  <a:lnTo>
                    <a:pt x="55" y="66"/>
                  </a:lnTo>
                  <a:lnTo>
                    <a:pt x="55" y="68"/>
                  </a:lnTo>
                  <a:lnTo>
                    <a:pt x="57" y="68"/>
                  </a:lnTo>
                  <a:lnTo>
                    <a:pt x="57" y="69"/>
                  </a:lnTo>
                  <a:lnTo>
                    <a:pt x="59" y="69"/>
                  </a:lnTo>
                  <a:lnTo>
                    <a:pt x="59" y="71"/>
                  </a:lnTo>
                  <a:lnTo>
                    <a:pt x="61" y="71"/>
                  </a:lnTo>
                  <a:lnTo>
                    <a:pt x="61" y="73"/>
                  </a:lnTo>
                  <a:lnTo>
                    <a:pt x="61" y="75"/>
                  </a:lnTo>
                  <a:lnTo>
                    <a:pt x="63" y="75"/>
                  </a:lnTo>
                  <a:lnTo>
                    <a:pt x="63" y="77"/>
                  </a:lnTo>
                  <a:lnTo>
                    <a:pt x="63" y="79"/>
                  </a:lnTo>
                  <a:lnTo>
                    <a:pt x="65" y="79"/>
                  </a:lnTo>
                  <a:lnTo>
                    <a:pt x="65" y="81"/>
                  </a:lnTo>
                  <a:lnTo>
                    <a:pt x="65" y="83"/>
                  </a:lnTo>
                  <a:lnTo>
                    <a:pt x="67" y="83"/>
                  </a:lnTo>
                  <a:lnTo>
                    <a:pt x="67" y="85"/>
                  </a:lnTo>
                  <a:lnTo>
                    <a:pt x="67" y="87"/>
                  </a:lnTo>
                  <a:lnTo>
                    <a:pt x="67" y="89"/>
                  </a:lnTo>
                  <a:lnTo>
                    <a:pt x="65" y="89"/>
                  </a:lnTo>
                  <a:lnTo>
                    <a:pt x="65" y="87"/>
                  </a:lnTo>
                  <a:lnTo>
                    <a:pt x="63" y="87"/>
                  </a:lnTo>
                  <a:lnTo>
                    <a:pt x="63" y="85"/>
                  </a:lnTo>
                  <a:lnTo>
                    <a:pt x="61" y="85"/>
                  </a:lnTo>
                  <a:lnTo>
                    <a:pt x="63" y="85"/>
                  </a:lnTo>
                  <a:lnTo>
                    <a:pt x="63" y="87"/>
                  </a:lnTo>
                  <a:lnTo>
                    <a:pt x="61" y="87"/>
                  </a:lnTo>
                  <a:lnTo>
                    <a:pt x="59" y="87"/>
                  </a:lnTo>
                  <a:lnTo>
                    <a:pt x="57" y="87"/>
                  </a:lnTo>
                  <a:lnTo>
                    <a:pt x="57" y="89"/>
                  </a:lnTo>
                  <a:lnTo>
                    <a:pt x="57" y="87"/>
                  </a:lnTo>
                  <a:lnTo>
                    <a:pt x="57" y="89"/>
                  </a:lnTo>
                  <a:lnTo>
                    <a:pt x="55" y="89"/>
                  </a:lnTo>
                  <a:lnTo>
                    <a:pt x="55" y="91"/>
                  </a:lnTo>
                  <a:lnTo>
                    <a:pt x="55" y="89"/>
                  </a:lnTo>
                  <a:lnTo>
                    <a:pt x="54" y="89"/>
                  </a:lnTo>
                  <a:lnTo>
                    <a:pt x="54" y="87"/>
                  </a:lnTo>
                  <a:lnTo>
                    <a:pt x="54" y="85"/>
                  </a:lnTo>
                  <a:lnTo>
                    <a:pt x="52" y="85"/>
                  </a:lnTo>
                  <a:lnTo>
                    <a:pt x="50" y="85"/>
                  </a:lnTo>
                  <a:lnTo>
                    <a:pt x="50" y="83"/>
                  </a:lnTo>
                  <a:lnTo>
                    <a:pt x="48" y="83"/>
                  </a:lnTo>
                  <a:lnTo>
                    <a:pt x="46" y="83"/>
                  </a:lnTo>
                  <a:lnTo>
                    <a:pt x="48" y="83"/>
                  </a:lnTo>
                  <a:lnTo>
                    <a:pt x="48" y="81"/>
                  </a:lnTo>
                  <a:lnTo>
                    <a:pt x="46" y="81"/>
                  </a:lnTo>
                  <a:lnTo>
                    <a:pt x="44" y="81"/>
                  </a:lnTo>
                  <a:lnTo>
                    <a:pt x="44" y="79"/>
                  </a:lnTo>
                  <a:lnTo>
                    <a:pt x="42" y="79"/>
                  </a:lnTo>
                  <a:lnTo>
                    <a:pt x="42" y="77"/>
                  </a:lnTo>
                  <a:lnTo>
                    <a:pt x="40" y="77"/>
                  </a:lnTo>
                  <a:lnTo>
                    <a:pt x="38" y="77"/>
                  </a:lnTo>
                  <a:lnTo>
                    <a:pt x="36" y="77"/>
                  </a:lnTo>
                  <a:lnTo>
                    <a:pt x="36" y="75"/>
                  </a:lnTo>
                  <a:lnTo>
                    <a:pt x="36" y="77"/>
                  </a:lnTo>
                  <a:lnTo>
                    <a:pt x="36" y="75"/>
                  </a:lnTo>
                  <a:lnTo>
                    <a:pt x="34" y="75"/>
                  </a:lnTo>
                  <a:lnTo>
                    <a:pt x="34" y="73"/>
                  </a:lnTo>
                  <a:lnTo>
                    <a:pt x="32" y="73"/>
                  </a:lnTo>
                  <a:lnTo>
                    <a:pt x="34" y="73"/>
                  </a:lnTo>
                  <a:lnTo>
                    <a:pt x="32" y="73"/>
                  </a:lnTo>
                  <a:lnTo>
                    <a:pt x="32" y="71"/>
                  </a:lnTo>
                  <a:lnTo>
                    <a:pt x="31" y="71"/>
                  </a:lnTo>
                  <a:lnTo>
                    <a:pt x="31" y="69"/>
                  </a:lnTo>
                  <a:lnTo>
                    <a:pt x="31" y="71"/>
                  </a:lnTo>
                  <a:lnTo>
                    <a:pt x="29" y="71"/>
                  </a:lnTo>
                  <a:lnTo>
                    <a:pt x="29" y="69"/>
                  </a:lnTo>
                  <a:lnTo>
                    <a:pt x="27" y="69"/>
                  </a:lnTo>
                  <a:lnTo>
                    <a:pt x="27" y="68"/>
                  </a:lnTo>
                  <a:lnTo>
                    <a:pt x="25" y="68"/>
                  </a:lnTo>
                  <a:lnTo>
                    <a:pt x="23" y="68"/>
                  </a:lnTo>
                  <a:lnTo>
                    <a:pt x="23" y="66"/>
                  </a:lnTo>
                  <a:lnTo>
                    <a:pt x="25" y="66"/>
                  </a:lnTo>
                  <a:lnTo>
                    <a:pt x="25" y="64"/>
                  </a:lnTo>
                  <a:lnTo>
                    <a:pt x="23" y="64"/>
                  </a:lnTo>
                  <a:lnTo>
                    <a:pt x="23" y="62"/>
                  </a:lnTo>
                  <a:lnTo>
                    <a:pt x="23" y="60"/>
                  </a:lnTo>
                  <a:lnTo>
                    <a:pt x="21" y="60"/>
                  </a:lnTo>
                  <a:lnTo>
                    <a:pt x="21" y="58"/>
                  </a:lnTo>
                  <a:lnTo>
                    <a:pt x="21" y="56"/>
                  </a:lnTo>
                  <a:lnTo>
                    <a:pt x="19" y="56"/>
                  </a:lnTo>
                  <a:lnTo>
                    <a:pt x="19" y="54"/>
                  </a:lnTo>
                  <a:lnTo>
                    <a:pt x="17" y="54"/>
                  </a:lnTo>
                  <a:lnTo>
                    <a:pt x="17" y="52"/>
                  </a:lnTo>
                  <a:lnTo>
                    <a:pt x="15" y="52"/>
                  </a:lnTo>
                  <a:lnTo>
                    <a:pt x="15" y="50"/>
                  </a:lnTo>
                  <a:lnTo>
                    <a:pt x="15" y="48"/>
                  </a:lnTo>
                  <a:lnTo>
                    <a:pt x="13" y="48"/>
                  </a:lnTo>
                  <a:lnTo>
                    <a:pt x="13" y="46"/>
                  </a:lnTo>
                  <a:lnTo>
                    <a:pt x="13" y="44"/>
                  </a:lnTo>
                  <a:lnTo>
                    <a:pt x="13" y="43"/>
                  </a:lnTo>
                  <a:lnTo>
                    <a:pt x="13" y="41"/>
                  </a:lnTo>
                  <a:lnTo>
                    <a:pt x="15" y="41"/>
                  </a:lnTo>
                  <a:lnTo>
                    <a:pt x="13" y="41"/>
                  </a:lnTo>
                  <a:lnTo>
                    <a:pt x="15" y="41"/>
                  </a:lnTo>
                  <a:lnTo>
                    <a:pt x="15" y="39"/>
                  </a:lnTo>
                  <a:lnTo>
                    <a:pt x="13" y="39"/>
                  </a:lnTo>
                  <a:lnTo>
                    <a:pt x="13" y="37"/>
                  </a:lnTo>
                  <a:lnTo>
                    <a:pt x="11" y="37"/>
                  </a:lnTo>
                  <a:lnTo>
                    <a:pt x="11" y="35"/>
                  </a:lnTo>
                  <a:lnTo>
                    <a:pt x="9" y="35"/>
                  </a:lnTo>
                  <a:lnTo>
                    <a:pt x="9" y="33"/>
                  </a:lnTo>
                  <a:lnTo>
                    <a:pt x="11" y="33"/>
                  </a:lnTo>
                  <a:lnTo>
                    <a:pt x="11" y="31"/>
                  </a:lnTo>
                  <a:lnTo>
                    <a:pt x="9" y="31"/>
                  </a:lnTo>
                  <a:lnTo>
                    <a:pt x="9" y="29"/>
                  </a:lnTo>
                  <a:lnTo>
                    <a:pt x="9" y="27"/>
                  </a:lnTo>
                  <a:lnTo>
                    <a:pt x="9" y="25"/>
                  </a:lnTo>
                  <a:lnTo>
                    <a:pt x="9" y="23"/>
                  </a:lnTo>
                  <a:lnTo>
                    <a:pt x="9" y="21"/>
                  </a:lnTo>
                  <a:lnTo>
                    <a:pt x="9" y="20"/>
                  </a:lnTo>
                  <a:lnTo>
                    <a:pt x="9" y="18"/>
                  </a:lnTo>
                  <a:lnTo>
                    <a:pt x="8" y="18"/>
                  </a:lnTo>
                  <a:lnTo>
                    <a:pt x="8" y="16"/>
                  </a:lnTo>
                  <a:lnTo>
                    <a:pt x="6" y="16"/>
                  </a:lnTo>
                  <a:lnTo>
                    <a:pt x="6" y="14"/>
                  </a:lnTo>
                  <a:lnTo>
                    <a:pt x="8" y="14"/>
                  </a:lnTo>
                  <a:lnTo>
                    <a:pt x="8" y="12"/>
                  </a:lnTo>
                  <a:lnTo>
                    <a:pt x="8" y="10"/>
                  </a:lnTo>
                  <a:lnTo>
                    <a:pt x="9" y="10"/>
                  </a:lnTo>
                  <a:lnTo>
                    <a:pt x="9" y="12"/>
                  </a:lnTo>
                  <a:lnTo>
                    <a:pt x="11" y="12"/>
                  </a:lnTo>
                  <a:lnTo>
                    <a:pt x="11" y="14"/>
                  </a:lnTo>
                  <a:lnTo>
                    <a:pt x="11" y="12"/>
                  </a:lnTo>
                  <a:lnTo>
                    <a:pt x="11" y="14"/>
                  </a:lnTo>
                  <a:lnTo>
                    <a:pt x="11" y="12"/>
                  </a:lnTo>
                  <a:lnTo>
                    <a:pt x="11" y="14"/>
                  </a:lnTo>
                  <a:lnTo>
                    <a:pt x="11" y="12"/>
                  </a:lnTo>
                  <a:lnTo>
                    <a:pt x="11" y="14"/>
                  </a:lnTo>
                  <a:lnTo>
                    <a:pt x="11" y="12"/>
                  </a:lnTo>
                  <a:lnTo>
                    <a:pt x="11" y="14"/>
                  </a:lnTo>
                  <a:lnTo>
                    <a:pt x="13" y="14"/>
                  </a:lnTo>
                  <a:lnTo>
                    <a:pt x="15" y="14"/>
                  </a:lnTo>
                  <a:lnTo>
                    <a:pt x="17" y="14"/>
                  </a:lnTo>
                  <a:lnTo>
                    <a:pt x="17" y="16"/>
                  </a:lnTo>
                  <a:lnTo>
                    <a:pt x="17" y="18"/>
                  </a:lnTo>
                  <a:lnTo>
                    <a:pt x="17" y="16"/>
                  </a:lnTo>
                  <a:lnTo>
                    <a:pt x="17" y="18"/>
                  </a:lnTo>
                  <a:lnTo>
                    <a:pt x="19" y="18"/>
                  </a:lnTo>
                  <a:lnTo>
                    <a:pt x="19" y="16"/>
                  </a:lnTo>
                  <a:lnTo>
                    <a:pt x="19" y="18"/>
                  </a:lnTo>
                  <a:lnTo>
                    <a:pt x="21" y="18"/>
                  </a:lnTo>
                  <a:lnTo>
                    <a:pt x="21" y="20"/>
                  </a:lnTo>
                  <a:lnTo>
                    <a:pt x="21" y="21"/>
                  </a:lnTo>
                  <a:lnTo>
                    <a:pt x="19" y="21"/>
                  </a:lnTo>
                  <a:lnTo>
                    <a:pt x="19" y="23"/>
                  </a:lnTo>
                  <a:lnTo>
                    <a:pt x="19" y="25"/>
                  </a:lnTo>
                  <a:lnTo>
                    <a:pt x="19" y="23"/>
                  </a:lnTo>
                  <a:lnTo>
                    <a:pt x="19" y="25"/>
                  </a:lnTo>
                  <a:lnTo>
                    <a:pt x="19" y="23"/>
                  </a:lnTo>
                  <a:lnTo>
                    <a:pt x="19" y="25"/>
                  </a:lnTo>
                  <a:lnTo>
                    <a:pt x="19" y="23"/>
                  </a:lnTo>
                  <a:lnTo>
                    <a:pt x="21" y="23"/>
                  </a:lnTo>
                  <a:lnTo>
                    <a:pt x="21" y="25"/>
                  </a:lnTo>
                  <a:lnTo>
                    <a:pt x="23" y="25"/>
                  </a:lnTo>
                  <a:lnTo>
                    <a:pt x="23" y="23"/>
                  </a:lnTo>
                  <a:lnTo>
                    <a:pt x="25" y="23"/>
                  </a:lnTo>
                  <a:lnTo>
                    <a:pt x="25" y="21"/>
                  </a:lnTo>
                  <a:lnTo>
                    <a:pt x="25" y="23"/>
                  </a:lnTo>
                  <a:lnTo>
                    <a:pt x="27" y="23"/>
                  </a:lnTo>
                  <a:lnTo>
                    <a:pt x="27" y="21"/>
                  </a:lnTo>
                  <a:lnTo>
                    <a:pt x="27" y="23"/>
                  </a:lnTo>
                  <a:lnTo>
                    <a:pt x="27" y="21"/>
                  </a:lnTo>
                  <a:lnTo>
                    <a:pt x="29" y="21"/>
                  </a:lnTo>
                  <a:lnTo>
                    <a:pt x="29" y="23"/>
                  </a:lnTo>
                  <a:lnTo>
                    <a:pt x="29" y="21"/>
                  </a:lnTo>
                  <a:lnTo>
                    <a:pt x="29" y="23"/>
                  </a:lnTo>
                  <a:lnTo>
                    <a:pt x="31" y="23"/>
                  </a:lnTo>
                  <a:lnTo>
                    <a:pt x="31" y="25"/>
                  </a:lnTo>
                  <a:lnTo>
                    <a:pt x="31" y="23"/>
                  </a:lnTo>
                  <a:lnTo>
                    <a:pt x="32" y="23"/>
                  </a:lnTo>
                  <a:lnTo>
                    <a:pt x="32" y="21"/>
                  </a:lnTo>
                  <a:lnTo>
                    <a:pt x="32" y="20"/>
                  </a:lnTo>
                  <a:lnTo>
                    <a:pt x="34" y="20"/>
                  </a:lnTo>
                  <a:lnTo>
                    <a:pt x="34" y="18"/>
                  </a:lnTo>
                  <a:close/>
                  <a:moveTo>
                    <a:pt x="171" y="68"/>
                  </a:moveTo>
                  <a:lnTo>
                    <a:pt x="171" y="69"/>
                  </a:lnTo>
                  <a:lnTo>
                    <a:pt x="171" y="71"/>
                  </a:lnTo>
                  <a:lnTo>
                    <a:pt x="171" y="73"/>
                  </a:lnTo>
                  <a:lnTo>
                    <a:pt x="173" y="73"/>
                  </a:lnTo>
                  <a:lnTo>
                    <a:pt x="171" y="73"/>
                  </a:lnTo>
                  <a:lnTo>
                    <a:pt x="171" y="71"/>
                  </a:lnTo>
                  <a:lnTo>
                    <a:pt x="169" y="71"/>
                  </a:lnTo>
                  <a:lnTo>
                    <a:pt x="169" y="69"/>
                  </a:lnTo>
                  <a:lnTo>
                    <a:pt x="169" y="68"/>
                  </a:lnTo>
                  <a:lnTo>
                    <a:pt x="171" y="68"/>
                  </a:lnTo>
                  <a:close/>
                  <a:moveTo>
                    <a:pt x="257" y="0"/>
                  </a:moveTo>
                  <a:lnTo>
                    <a:pt x="257" y="2"/>
                  </a:lnTo>
                  <a:lnTo>
                    <a:pt x="255" y="2"/>
                  </a:lnTo>
                  <a:lnTo>
                    <a:pt x="255" y="4"/>
                  </a:lnTo>
                  <a:lnTo>
                    <a:pt x="253" y="4"/>
                  </a:lnTo>
                  <a:lnTo>
                    <a:pt x="255" y="4"/>
                  </a:lnTo>
                  <a:lnTo>
                    <a:pt x="253" y="4"/>
                  </a:lnTo>
                  <a:lnTo>
                    <a:pt x="255" y="4"/>
                  </a:lnTo>
                  <a:lnTo>
                    <a:pt x="255" y="2"/>
                  </a:lnTo>
                  <a:lnTo>
                    <a:pt x="253" y="2"/>
                  </a:lnTo>
                  <a:lnTo>
                    <a:pt x="253" y="4"/>
                  </a:lnTo>
                  <a:lnTo>
                    <a:pt x="253" y="2"/>
                  </a:lnTo>
                  <a:lnTo>
                    <a:pt x="255" y="2"/>
                  </a:lnTo>
                  <a:lnTo>
                    <a:pt x="253" y="2"/>
                  </a:lnTo>
                  <a:lnTo>
                    <a:pt x="255" y="2"/>
                  </a:lnTo>
                  <a:lnTo>
                    <a:pt x="253" y="2"/>
                  </a:lnTo>
                  <a:lnTo>
                    <a:pt x="255" y="2"/>
                  </a:lnTo>
                  <a:lnTo>
                    <a:pt x="255" y="0"/>
                  </a:lnTo>
                  <a:lnTo>
                    <a:pt x="255" y="2"/>
                  </a:lnTo>
                  <a:lnTo>
                    <a:pt x="255" y="0"/>
                  </a:lnTo>
                  <a:lnTo>
                    <a:pt x="257" y="0"/>
                  </a:lnTo>
                  <a:close/>
                  <a:moveTo>
                    <a:pt x="2" y="14"/>
                  </a:moveTo>
                  <a:lnTo>
                    <a:pt x="4" y="14"/>
                  </a:lnTo>
                  <a:lnTo>
                    <a:pt x="4" y="16"/>
                  </a:lnTo>
                  <a:lnTo>
                    <a:pt x="4" y="14"/>
                  </a:lnTo>
                  <a:lnTo>
                    <a:pt x="4" y="16"/>
                  </a:lnTo>
                  <a:lnTo>
                    <a:pt x="2" y="16"/>
                  </a:lnTo>
                  <a:lnTo>
                    <a:pt x="0" y="16"/>
                  </a:lnTo>
                  <a:lnTo>
                    <a:pt x="0" y="18"/>
                  </a:lnTo>
                  <a:lnTo>
                    <a:pt x="0" y="16"/>
                  </a:lnTo>
                  <a:lnTo>
                    <a:pt x="0" y="14"/>
                  </a:lnTo>
                  <a:lnTo>
                    <a:pt x="2" y="14"/>
                  </a:lnTo>
                  <a:close/>
                  <a:moveTo>
                    <a:pt x="8" y="27"/>
                  </a:moveTo>
                  <a:lnTo>
                    <a:pt x="9" y="27"/>
                  </a:lnTo>
                  <a:lnTo>
                    <a:pt x="9" y="31"/>
                  </a:lnTo>
                  <a:lnTo>
                    <a:pt x="8" y="31"/>
                  </a:lnTo>
                  <a:lnTo>
                    <a:pt x="8" y="27"/>
                  </a:lnTo>
                  <a:close/>
                  <a:moveTo>
                    <a:pt x="267" y="46"/>
                  </a:moveTo>
                  <a:lnTo>
                    <a:pt x="267" y="48"/>
                  </a:lnTo>
                  <a:lnTo>
                    <a:pt x="265" y="48"/>
                  </a:lnTo>
                  <a:lnTo>
                    <a:pt x="263" y="48"/>
                  </a:lnTo>
                  <a:lnTo>
                    <a:pt x="263" y="46"/>
                  </a:lnTo>
                  <a:lnTo>
                    <a:pt x="265" y="46"/>
                  </a:lnTo>
                  <a:lnTo>
                    <a:pt x="267" y="46"/>
                  </a:lnTo>
                  <a:close/>
                  <a:moveTo>
                    <a:pt x="257" y="10"/>
                  </a:moveTo>
                  <a:lnTo>
                    <a:pt x="261" y="10"/>
                  </a:lnTo>
                  <a:lnTo>
                    <a:pt x="261" y="12"/>
                  </a:lnTo>
                  <a:lnTo>
                    <a:pt x="257" y="12"/>
                  </a:lnTo>
                  <a:lnTo>
                    <a:pt x="257" y="10"/>
                  </a:lnTo>
                  <a:close/>
                  <a:moveTo>
                    <a:pt x="65" y="66"/>
                  </a:moveTo>
                  <a:lnTo>
                    <a:pt x="67" y="66"/>
                  </a:lnTo>
                  <a:lnTo>
                    <a:pt x="67" y="69"/>
                  </a:lnTo>
                  <a:lnTo>
                    <a:pt x="65" y="69"/>
                  </a:lnTo>
                  <a:lnTo>
                    <a:pt x="65" y="66"/>
                  </a:lnTo>
                  <a:close/>
                  <a:moveTo>
                    <a:pt x="274" y="39"/>
                  </a:moveTo>
                  <a:lnTo>
                    <a:pt x="274" y="41"/>
                  </a:lnTo>
                  <a:lnTo>
                    <a:pt x="276" y="41"/>
                  </a:lnTo>
                  <a:lnTo>
                    <a:pt x="274" y="41"/>
                  </a:lnTo>
                  <a:lnTo>
                    <a:pt x="272" y="41"/>
                  </a:lnTo>
                  <a:lnTo>
                    <a:pt x="274" y="41"/>
                  </a:lnTo>
                  <a:lnTo>
                    <a:pt x="274" y="39"/>
                  </a:lnTo>
                  <a:close/>
                  <a:moveTo>
                    <a:pt x="251" y="0"/>
                  </a:moveTo>
                  <a:lnTo>
                    <a:pt x="253" y="0"/>
                  </a:lnTo>
                  <a:lnTo>
                    <a:pt x="253" y="2"/>
                  </a:lnTo>
                  <a:lnTo>
                    <a:pt x="251" y="2"/>
                  </a:lnTo>
                  <a:lnTo>
                    <a:pt x="251" y="0"/>
                  </a:lnTo>
                  <a:close/>
                  <a:moveTo>
                    <a:pt x="226" y="29"/>
                  </a:moveTo>
                  <a:lnTo>
                    <a:pt x="228" y="29"/>
                  </a:lnTo>
                  <a:lnTo>
                    <a:pt x="228" y="31"/>
                  </a:lnTo>
                  <a:lnTo>
                    <a:pt x="226" y="31"/>
                  </a:lnTo>
                  <a:lnTo>
                    <a:pt x="226" y="29"/>
                  </a:lnTo>
                  <a:close/>
                  <a:moveTo>
                    <a:pt x="13" y="39"/>
                  </a:moveTo>
                  <a:lnTo>
                    <a:pt x="15" y="39"/>
                  </a:lnTo>
                  <a:lnTo>
                    <a:pt x="15" y="41"/>
                  </a:lnTo>
                  <a:lnTo>
                    <a:pt x="13" y="41"/>
                  </a:lnTo>
                  <a:lnTo>
                    <a:pt x="13" y="39"/>
                  </a:lnTo>
                  <a:close/>
                  <a:moveTo>
                    <a:pt x="13" y="41"/>
                  </a:moveTo>
                  <a:lnTo>
                    <a:pt x="15" y="41"/>
                  </a:lnTo>
                  <a:lnTo>
                    <a:pt x="15" y="43"/>
                  </a:lnTo>
                  <a:lnTo>
                    <a:pt x="13" y="43"/>
                  </a:lnTo>
                  <a:lnTo>
                    <a:pt x="13" y="41"/>
                  </a:lnTo>
                  <a:close/>
                  <a:moveTo>
                    <a:pt x="23" y="64"/>
                  </a:moveTo>
                  <a:lnTo>
                    <a:pt x="25" y="64"/>
                  </a:lnTo>
                  <a:lnTo>
                    <a:pt x="25" y="66"/>
                  </a:lnTo>
                  <a:lnTo>
                    <a:pt x="23" y="66"/>
                  </a:lnTo>
                  <a:lnTo>
                    <a:pt x="23" y="64"/>
                  </a:lnTo>
                  <a:close/>
                  <a:moveTo>
                    <a:pt x="276" y="43"/>
                  </a:moveTo>
                  <a:lnTo>
                    <a:pt x="278" y="43"/>
                  </a:lnTo>
                  <a:lnTo>
                    <a:pt x="278" y="44"/>
                  </a:lnTo>
                  <a:lnTo>
                    <a:pt x="276" y="44"/>
                  </a:lnTo>
                  <a:lnTo>
                    <a:pt x="276" y="43"/>
                  </a:lnTo>
                  <a:close/>
                  <a:moveTo>
                    <a:pt x="261" y="44"/>
                  </a:moveTo>
                  <a:lnTo>
                    <a:pt x="263" y="44"/>
                  </a:lnTo>
                  <a:lnTo>
                    <a:pt x="263" y="46"/>
                  </a:lnTo>
                  <a:lnTo>
                    <a:pt x="261" y="46"/>
                  </a:lnTo>
                  <a:lnTo>
                    <a:pt x="261" y="44"/>
                  </a:lnTo>
                  <a:close/>
                  <a:moveTo>
                    <a:pt x="2" y="16"/>
                  </a:moveTo>
                  <a:lnTo>
                    <a:pt x="2" y="18"/>
                  </a:lnTo>
                  <a:lnTo>
                    <a:pt x="2" y="16"/>
                  </a:lnTo>
                  <a:close/>
                  <a:moveTo>
                    <a:pt x="257" y="4"/>
                  </a:moveTo>
                  <a:lnTo>
                    <a:pt x="259" y="4"/>
                  </a:lnTo>
                  <a:lnTo>
                    <a:pt x="259" y="6"/>
                  </a:lnTo>
                  <a:lnTo>
                    <a:pt x="257" y="6"/>
                  </a:lnTo>
                  <a:lnTo>
                    <a:pt x="257" y="4"/>
                  </a:lnTo>
                  <a:close/>
                  <a:moveTo>
                    <a:pt x="13" y="37"/>
                  </a:moveTo>
                  <a:lnTo>
                    <a:pt x="13" y="39"/>
                  </a:lnTo>
                  <a:lnTo>
                    <a:pt x="13" y="37"/>
                  </a:lnTo>
                  <a:close/>
                  <a:moveTo>
                    <a:pt x="267" y="23"/>
                  </a:moveTo>
                  <a:lnTo>
                    <a:pt x="269" y="23"/>
                  </a:lnTo>
                  <a:lnTo>
                    <a:pt x="267" y="23"/>
                  </a:lnTo>
                  <a:close/>
                  <a:moveTo>
                    <a:pt x="23" y="64"/>
                  </a:moveTo>
                  <a:lnTo>
                    <a:pt x="25" y="64"/>
                  </a:lnTo>
                  <a:lnTo>
                    <a:pt x="23" y="64"/>
                  </a:lnTo>
                  <a:close/>
                  <a:moveTo>
                    <a:pt x="261" y="46"/>
                  </a:moveTo>
                  <a:lnTo>
                    <a:pt x="263" y="46"/>
                  </a:lnTo>
                  <a:lnTo>
                    <a:pt x="263" y="48"/>
                  </a:lnTo>
                  <a:lnTo>
                    <a:pt x="261" y="48"/>
                  </a:lnTo>
                  <a:lnTo>
                    <a:pt x="261" y="46"/>
                  </a:lnTo>
                  <a:close/>
                  <a:moveTo>
                    <a:pt x="261" y="46"/>
                  </a:moveTo>
                  <a:lnTo>
                    <a:pt x="263" y="46"/>
                  </a:lnTo>
                  <a:lnTo>
                    <a:pt x="261" y="46"/>
                  </a:lnTo>
                  <a:close/>
                  <a:moveTo>
                    <a:pt x="263" y="20"/>
                  </a:moveTo>
                  <a:lnTo>
                    <a:pt x="265" y="20"/>
                  </a:lnTo>
                  <a:lnTo>
                    <a:pt x="265" y="21"/>
                  </a:lnTo>
                  <a:lnTo>
                    <a:pt x="263" y="21"/>
                  </a:lnTo>
                  <a:lnTo>
                    <a:pt x="263" y="20"/>
                  </a:lnTo>
                  <a:close/>
                  <a:moveTo>
                    <a:pt x="48" y="23"/>
                  </a:moveTo>
                  <a:lnTo>
                    <a:pt x="50" y="23"/>
                  </a:lnTo>
                  <a:lnTo>
                    <a:pt x="48" y="23"/>
                  </a:lnTo>
                  <a:close/>
                  <a:moveTo>
                    <a:pt x="23" y="64"/>
                  </a:moveTo>
                  <a:lnTo>
                    <a:pt x="25" y="64"/>
                  </a:lnTo>
                  <a:lnTo>
                    <a:pt x="25" y="66"/>
                  </a:lnTo>
                  <a:lnTo>
                    <a:pt x="23" y="66"/>
                  </a:lnTo>
                  <a:lnTo>
                    <a:pt x="23" y="64"/>
                  </a:lnTo>
                  <a:close/>
                  <a:moveTo>
                    <a:pt x="23" y="64"/>
                  </a:moveTo>
                  <a:lnTo>
                    <a:pt x="23" y="66"/>
                  </a:lnTo>
                  <a:lnTo>
                    <a:pt x="23" y="64"/>
                  </a:lnTo>
                  <a:close/>
                  <a:moveTo>
                    <a:pt x="272" y="35"/>
                  </a:moveTo>
                  <a:lnTo>
                    <a:pt x="274" y="35"/>
                  </a:lnTo>
                  <a:lnTo>
                    <a:pt x="274" y="37"/>
                  </a:lnTo>
                  <a:lnTo>
                    <a:pt x="272" y="37"/>
                  </a:lnTo>
                  <a:lnTo>
                    <a:pt x="272" y="35"/>
                  </a:lnTo>
                  <a:close/>
                  <a:moveTo>
                    <a:pt x="2" y="16"/>
                  </a:moveTo>
                  <a:lnTo>
                    <a:pt x="2" y="18"/>
                  </a:lnTo>
                  <a:lnTo>
                    <a:pt x="2" y="16"/>
                  </a:lnTo>
                  <a:close/>
                  <a:moveTo>
                    <a:pt x="71" y="71"/>
                  </a:moveTo>
                  <a:lnTo>
                    <a:pt x="71" y="73"/>
                  </a:lnTo>
                  <a:lnTo>
                    <a:pt x="71" y="71"/>
                  </a:lnTo>
                  <a:close/>
                  <a:moveTo>
                    <a:pt x="261" y="44"/>
                  </a:moveTo>
                  <a:lnTo>
                    <a:pt x="263" y="44"/>
                  </a:lnTo>
                  <a:lnTo>
                    <a:pt x="263" y="46"/>
                  </a:lnTo>
                  <a:lnTo>
                    <a:pt x="261" y="46"/>
                  </a:lnTo>
                  <a:lnTo>
                    <a:pt x="261" y="44"/>
                  </a:lnTo>
                  <a:close/>
                  <a:moveTo>
                    <a:pt x="238" y="20"/>
                  </a:moveTo>
                  <a:lnTo>
                    <a:pt x="240" y="20"/>
                  </a:lnTo>
                  <a:lnTo>
                    <a:pt x="240" y="21"/>
                  </a:lnTo>
                  <a:lnTo>
                    <a:pt x="238" y="21"/>
                  </a:lnTo>
                  <a:lnTo>
                    <a:pt x="238" y="20"/>
                  </a:lnTo>
                  <a:close/>
                  <a:moveTo>
                    <a:pt x="13" y="37"/>
                  </a:moveTo>
                  <a:lnTo>
                    <a:pt x="13" y="39"/>
                  </a:lnTo>
                  <a:lnTo>
                    <a:pt x="13" y="37"/>
                  </a:lnTo>
                  <a:close/>
                  <a:moveTo>
                    <a:pt x="276" y="41"/>
                  </a:moveTo>
                  <a:lnTo>
                    <a:pt x="276" y="43"/>
                  </a:lnTo>
                  <a:lnTo>
                    <a:pt x="276" y="41"/>
                  </a:lnTo>
                  <a:close/>
                  <a:moveTo>
                    <a:pt x="0" y="18"/>
                  </a:moveTo>
                  <a:lnTo>
                    <a:pt x="2" y="18"/>
                  </a:lnTo>
                  <a:lnTo>
                    <a:pt x="0" y="18"/>
                  </a:lnTo>
                  <a:close/>
                  <a:moveTo>
                    <a:pt x="44" y="21"/>
                  </a:moveTo>
                  <a:lnTo>
                    <a:pt x="46" y="21"/>
                  </a:lnTo>
                  <a:lnTo>
                    <a:pt x="44" y="21"/>
                  </a:lnTo>
                  <a:close/>
                  <a:moveTo>
                    <a:pt x="67" y="71"/>
                  </a:moveTo>
                  <a:lnTo>
                    <a:pt x="69" y="71"/>
                  </a:lnTo>
                  <a:lnTo>
                    <a:pt x="67" y="71"/>
                  </a:lnTo>
                  <a:close/>
                  <a:moveTo>
                    <a:pt x="278" y="41"/>
                  </a:moveTo>
                  <a:lnTo>
                    <a:pt x="280" y="41"/>
                  </a:lnTo>
                  <a:lnTo>
                    <a:pt x="278" y="41"/>
                  </a:lnTo>
                  <a:close/>
                  <a:moveTo>
                    <a:pt x="255" y="2"/>
                  </a:moveTo>
                  <a:lnTo>
                    <a:pt x="257" y="2"/>
                  </a:lnTo>
                  <a:lnTo>
                    <a:pt x="257" y="4"/>
                  </a:lnTo>
                  <a:lnTo>
                    <a:pt x="255" y="4"/>
                  </a:lnTo>
                  <a:lnTo>
                    <a:pt x="255" y="2"/>
                  </a:lnTo>
                  <a:close/>
                  <a:moveTo>
                    <a:pt x="280" y="29"/>
                  </a:moveTo>
                  <a:lnTo>
                    <a:pt x="282" y="29"/>
                  </a:lnTo>
                  <a:lnTo>
                    <a:pt x="280" y="29"/>
                  </a:lnTo>
                  <a:close/>
                  <a:moveTo>
                    <a:pt x="272" y="39"/>
                  </a:moveTo>
                  <a:lnTo>
                    <a:pt x="274" y="39"/>
                  </a:lnTo>
                  <a:lnTo>
                    <a:pt x="272" y="39"/>
                  </a:lnTo>
                  <a:close/>
                  <a:moveTo>
                    <a:pt x="54" y="89"/>
                  </a:moveTo>
                  <a:lnTo>
                    <a:pt x="55" y="89"/>
                  </a:lnTo>
                  <a:lnTo>
                    <a:pt x="54" y="89"/>
                  </a:lnTo>
                  <a:close/>
                  <a:moveTo>
                    <a:pt x="171" y="68"/>
                  </a:moveTo>
                  <a:lnTo>
                    <a:pt x="171" y="69"/>
                  </a:lnTo>
                  <a:lnTo>
                    <a:pt x="171" y="68"/>
                  </a:lnTo>
                  <a:close/>
                  <a:moveTo>
                    <a:pt x="274" y="39"/>
                  </a:moveTo>
                  <a:lnTo>
                    <a:pt x="274" y="41"/>
                  </a:lnTo>
                  <a:lnTo>
                    <a:pt x="274" y="39"/>
                  </a:lnTo>
                  <a:close/>
                  <a:moveTo>
                    <a:pt x="40" y="21"/>
                  </a:moveTo>
                  <a:lnTo>
                    <a:pt x="42" y="21"/>
                  </a:lnTo>
                  <a:lnTo>
                    <a:pt x="42" y="23"/>
                  </a:lnTo>
                  <a:lnTo>
                    <a:pt x="40" y="23"/>
                  </a:lnTo>
                  <a:lnTo>
                    <a:pt x="40" y="21"/>
                  </a:lnTo>
                  <a:close/>
                  <a:moveTo>
                    <a:pt x="63" y="75"/>
                  </a:moveTo>
                  <a:lnTo>
                    <a:pt x="65" y="75"/>
                  </a:lnTo>
                  <a:lnTo>
                    <a:pt x="65" y="77"/>
                  </a:lnTo>
                  <a:lnTo>
                    <a:pt x="63" y="77"/>
                  </a:lnTo>
                  <a:lnTo>
                    <a:pt x="63" y="75"/>
                  </a:lnTo>
                  <a:close/>
                  <a:moveTo>
                    <a:pt x="269" y="23"/>
                  </a:moveTo>
                  <a:lnTo>
                    <a:pt x="270" y="23"/>
                  </a:lnTo>
                  <a:lnTo>
                    <a:pt x="269" y="23"/>
                  </a:lnTo>
                  <a:close/>
                  <a:moveTo>
                    <a:pt x="57" y="39"/>
                  </a:moveTo>
                  <a:lnTo>
                    <a:pt x="59" y="39"/>
                  </a:lnTo>
                  <a:lnTo>
                    <a:pt x="57" y="39"/>
                  </a:lnTo>
                  <a:close/>
                  <a:moveTo>
                    <a:pt x="270" y="21"/>
                  </a:moveTo>
                  <a:lnTo>
                    <a:pt x="270" y="23"/>
                  </a:lnTo>
                  <a:lnTo>
                    <a:pt x="270" y="21"/>
                  </a:lnTo>
                  <a:close/>
                  <a:moveTo>
                    <a:pt x="257" y="2"/>
                  </a:moveTo>
                  <a:lnTo>
                    <a:pt x="259" y="2"/>
                  </a:lnTo>
                  <a:lnTo>
                    <a:pt x="257" y="2"/>
                  </a:lnTo>
                  <a:close/>
                  <a:moveTo>
                    <a:pt x="265" y="16"/>
                  </a:moveTo>
                  <a:lnTo>
                    <a:pt x="265" y="18"/>
                  </a:lnTo>
                  <a:lnTo>
                    <a:pt x="265" y="16"/>
                  </a:lnTo>
                  <a:close/>
                  <a:moveTo>
                    <a:pt x="257" y="0"/>
                  </a:moveTo>
                  <a:lnTo>
                    <a:pt x="257" y="2"/>
                  </a:lnTo>
                  <a:lnTo>
                    <a:pt x="257" y="0"/>
                  </a:lnTo>
                  <a:close/>
                  <a:moveTo>
                    <a:pt x="261" y="21"/>
                  </a:moveTo>
                  <a:lnTo>
                    <a:pt x="261" y="23"/>
                  </a:lnTo>
                  <a:lnTo>
                    <a:pt x="261" y="21"/>
                  </a:lnTo>
                  <a:close/>
                  <a:moveTo>
                    <a:pt x="257" y="2"/>
                  </a:moveTo>
                  <a:lnTo>
                    <a:pt x="259" y="2"/>
                  </a:lnTo>
                  <a:lnTo>
                    <a:pt x="257" y="2"/>
                  </a:lnTo>
                  <a:close/>
                  <a:moveTo>
                    <a:pt x="276" y="41"/>
                  </a:moveTo>
                  <a:lnTo>
                    <a:pt x="276" y="43"/>
                  </a:lnTo>
                  <a:lnTo>
                    <a:pt x="276" y="41"/>
                  </a:lnTo>
                  <a:close/>
                  <a:moveTo>
                    <a:pt x="226" y="31"/>
                  </a:moveTo>
                  <a:lnTo>
                    <a:pt x="226" y="33"/>
                  </a:lnTo>
                  <a:lnTo>
                    <a:pt x="226" y="31"/>
                  </a:lnTo>
                  <a:close/>
                  <a:moveTo>
                    <a:pt x="269" y="21"/>
                  </a:moveTo>
                  <a:lnTo>
                    <a:pt x="270" y="21"/>
                  </a:lnTo>
                  <a:lnTo>
                    <a:pt x="269" y="21"/>
                  </a:lnTo>
                  <a:close/>
                  <a:moveTo>
                    <a:pt x="274" y="41"/>
                  </a:moveTo>
                  <a:lnTo>
                    <a:pt x="276" y="41"/>
                  </a:lnTo>
                  <a:lnTo>
                    <a:pt x="274" y="41"/>
                  </a:lnTo>
                  <a:close/>
                  <a:moveTo>
                    <a:pt x="52" y="31"/>
                  </a:moveTo>
                  <a:lnTo>
                    <a:pt x="52" y="33"/>
                  </a:lnTo>
                  <a:lnTo>
                    <a:pt x="52" y="31"/>
                  </a:lnTo>
                  <a:close/>
                  <a:moveTo>
                    <a:pt x="46" y="23"/>
                  </a:moveTo>
                  <a:lnTo>
                    <a:pt x="48" y="23"/>
                  </a:lnTo>
                  <a:lnTo>
                    <a:pt x="46" y="23"/>
                  </a:lnTo>
                  <a:close/>
                  <a:moveTo>
                    <a:pt x="255" y="6"/>
                  </a:moveTo>
                  <a:lnTo>
                    <a:pt x="257" y="6"/>
                  </a:lnTo>
                  <a:lnTo>
                    <a:pt x="255" y="6"/>
                  </a:lnTo>
                  <a:close/>
                  <a:moveTo>
                    <a:pt x="244" y="14"/>
                  </a:moveTo>
                  <a:lnTo>
                    <a:pt x="244" y="16"/>
                  </a:lnTo>
                  <a:lnTo>
                    <a:pt x="244" y="14"/>
                  </a:lnTo>
                  <a:close/>
                  <a:moveTo>
                    <a:pt x="48" y="23"/>
                  </a:moveTo>
                  <a:lnTo>
                    <a:pt x="48" y="25"/>
                  </a:lnTo>
                  <a:lnTo>
                    <a:pt x="48" y="23"/>
                  </a:lnTo>
                  <a:close/>
                  <a:moveTo>
                    <a:pt x="280" y="27"/>
                  </a:moveTo>
                  <a:lnTo>
                    <a:pt x="280" y="29"/>
                  </a:lnTo>
                  <a:lnTo>
                    <a:pt x="280" y="27"/>
                  </a:lnTo>
                  <a:close/>
                  <a:moveTo>
                    <a:pt x="261" y="18"/>
                  </a:moveTo>
                  <a:lnTo>
                    <a:pt x="263" y="18"/>
                  </a:lnTo>
                  <a:lnTo>
                    <a:pt x="261" y="18"/>
                  </a:lnTo>
                  <a:close/>
                  <a:moveTo>
                    <a:pt x="280" y="44"/>
                  </a:moveTo>
                  <a:lnTo>
                    <a:pt x="280" y="46"/>
                  </a:lnTo>
                  <a:lnTo>
                    <a:pt x="280" y="44"/>
                  </a:lnTo>
                  <a:close/>
                  <a:moveTo>
                    <a:pt x="11" y="46"/>
                  </a:moveTo>
                  <a:lnTo>
                    <a:pt x="13" y="46"/>
                  </a:lnTo>
                  <a:lnTo>
                    <a:pt x="11" y="46"/>
                  </a:lnTo>
                  <a:close/>
                  <a:moveTo>
                    <a:pt x="269" y="25"/>
                  </a:moveTo>
                  <a:lnTo>
                    <a:pt x="270" y="25"/>
                  </a:lnTo>
                  <a:lnTo>
                    <a:pt x="269" y="25"/>
                  </a:lnTo>
                  <a:close/>
                  <a:moveTo>
                    <a:pt x="11" y="50"/>
                  </a:moveTo>
                  <a:lnTo>
                    <a:pt x="13" y="50"/>
                  </a:lnTo>
                  <a:lnTo>
                    <a:pt x="11" y="50"/>
                  </a:lnTo>
                  <a:close/>
                  <a:moveTo>
                    <a:pt x="240" y="21"/>
                  </a:moveTo>
                  <a:lnTo>
                    <a:pt x="240" y="23"/>
                  </a:lnTo>
                  <a:lnTo>
                    <a:pt x="240" y="21"/>
                  </a:lnTo>
                  <a:close/>
                  <a:moveTo>
                    <a:pt x="263" y="12"/>
                  </a:moveTo>
                  <a:lnTo>
                    <a:pt x="265" y="12"/>
                  </a:lnTo>
                  <a:lnTo>
                    <a:pt x="263" y="12"/>
                  </a:lnTo>
                  <a:close/>
                  <a:moveTo>
                    <a:pt x="61" y="71"/>
                  </a:moveTo>
                  <a:lnTo>
                    <a:pt x="63" y="71"/>
                  </a:lnTo>
                  <a:lnTo>
                    <a:pt x="61" y="71"/>
                  </a:lnTo>
                  <a:close/>
                  <a:moveTo>
                    <a:pt x="0" y="14"/>
                  </a:moveTo>
                  <a:lnTo>
                    <a:pt x="2" y="14"/>
                  </a:lnTo>
                  <a:lnTo>
                    <a:pt x="0" y="14"/>
                  </a:lnTo>
                  <a:close/>
                  <a:moveTo>
                    <a:pt x="257" y="2"/>
                  </a:moveTo>
                  <a:lnTo>
                    <a:pt x="257" y="4"/>
                  </a:lnTo>
                  <a:lnTo>
                    <a:pt x="257" y="2"/>
                  </a:lnTo>
                  <a:close/>
                  <a:moveTo>
                    <a:pt x="38" y="77"/>
                  </a:moveTo>
                  <a:lnTo>
                    <a:pt x="38" y="79"/>
                  </a:lnTo>
                  <a:lnTo>
                    <a:pt x="38" y="77"/>
                  </a:lnTo>
                  <a:close/>
                  <a:moveTo>
                    <a:pt x="238" y="23"/>
                  </a:moveTo>
                  <a:lnTo>
                    <a:pt x="240" y="23"/>
                  </a:lnTo>
                  <a:lnTo>
                    <a:pt x="238" y="23"/>
                  </a:lnTo>
                  <a:close/>
                  <a:moveTo>
                    <a:pt x="272" y="41"/>
                  </a:moveTo>
                  <a:lnTo>
                    <a:pt x="274" y="41"/>
                  </a:lnTo>
                  <a:lnTo>
                    <a:pt x="272" y="41"/>
                  </a:lnTo>
                  <a:close/>
                  <a:moveTo>
                    <a:pt x="257" y="0"/>
                  </a:moveTo>
                  <a:lnTo>
                    <a:pt x="259" y="0"/>
                  </a:lnTo>
                  <a:lnTo>
                    <a:pt x="257" y="0"/>
                  </a:lnTo>
                  <a:close/>
                  <a:moveTo>
                    <a:pt x="269" y="23"/>
                  </a:moveTo>
                  <a:lnTo>
                    <a:pt x="269" y="25"/>
                  </a:lnTo>
                  <a:lnTo>
                    <a:pt x="269" y="23"/>
                  </a:lnTo>
                  <a:close/>
                  <a:moveTo>
                    <a:pt x="50" y="23"/>
                  </a:moveTo>
                  <a:lnTo>
                    <a:pt x="50" y="25"/>
                  </a:lnTo>
                  <a:lnTo>
                    <a:pt x="50" y="23"/>
                  </a:lnTo>
                  <a:close/>
                  <a:moveTo>
                    <a:pt x="238" y="21"/>
                  </a:moveTo>
                  <a:lnTo>
                    <a:pt x="240" y="21"/>
                  </a:lnTo>
                  <a:lnTo>
                    <a:pt x="238" y="21"/>
                  </a:lnTo>
                  <a:close/>
                  <a:moveTo>
                    <a:pt x="240" y="21"/>
                  </a:moveTo>
                  <a:lnTo>
                    <a:pt x="240" y="23"/>
                  </a:lnTo>
                  <a:lnTo>
                    <a:pt x="240" y="21"/>
                  </a:lnTo>
                  <a:close/>
                  <a:moveTo>
                    <a:pt x="265" y="14"/>
                  </a:moveTo>
                  <a:lnTo>
                    <a:pt x="265" y="16"/>
                  </a:lnTo>
                  <a:lnTo>
                    <a:pt x="265" y="14"/>
                  </a:lnTo>
                  <a:close/>
                  <a:moveTo>
                    <a:pt x="228" y="29"/>
                  </a:moveTo>
                  <a:lnTo>
                    <a:pt x="230" y="29"/>
                  </a:lnTo>
                  <a:lnTo>
                    <a:pt x="228" y="29"/>
                  </a:lnTo>
                  <a:close/>
                  <a:moveTo>
                    <a:pt x="0" y="18"/>
                  </a:moveTo>
                  <a:lnTo>
                    <a:pt x="2" y="18"/>
                  </a:lnTo>
                  <a:lnTo>
                    <a:pt x="0" y="18"/>
                  </a:lnTo>
                  <a:close/>
                  <a:moveTo>
                    <a:pt x="2" y="16"/>
                  </a:moveTo>
                  <a:lnTo>
                    <a:pt x="4" y="16"/>
                  </a:lnTo>
                  <a:lnTo>
                    <a:pt x="2" y="16"/>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2" name="Freeform 421">
              <a:extLst>
                <a:ext uri="{FF2B5EF4-FFF2-40B4-BE49-F238E27FC236}">
                  <a16:creationId xmlns:a16="http://schemas.microsoft.com/office/drawing/2014/main" id="{EDE0F420-A23F-4795-BC7D-4E76ADEA946A}"/>
                </a:ext>
              </a:extLst>
            </p:cNvPr>
            <p:cNvSpPr>
              <a:spLocks noEditPoints="1"/>
            </p:cNvSpPr>
            <p:nvPr/>
          </p:nvSpPr>
          <p:spPr bwMode="gray">
            <a:xfrm>
              <a:off x="5256311" y="4277015"/>
              <a:ext cx="23302" cy="18396"/>
            </a:xfrm>
            <a:custGeom>
              <a:avLst/>
              <a:gdLst>
                <a:gd name="T0" fmla="*/ 13 w 19"/>
                <a:gd name="T1" fmla="*/ 4 h 15"/>
                <a:gd name="T2" fmla="*/ 10 w 19"/>
                <a:gd name="T3" fmla="*/ 4 h 15"/>
                <a:gd name="T4" fmla="*/ 10 w 19"/>
                <a:gd name="T5" fmla="*/ 8 h 15"/>
                <a:gd name="T6" fmla="*/ 11 w 19"/>
                <a:gd name="T7" fmla="*/ 9 h 15"/>
                <a:gd name="T8" fmla="*/ 10 w 19"/>
                <a:gd name="T9" fmla="*/ 11 h 15"/>
                <a:gd name="T10" fmla="*/ 10 w 19"/>
                <a:gd name="T11" fmla="*/ 11 h 15"/>
                <a:gd name="T12" fmla="*/ 10 w 19"/>
                <a:gd name="T13" fmla="*/ 15 h 15"/>
                <a:gd name="T14" fmla="*/ 8 w 19"/>
                <a:gd name="T15" fmla="*/ 13 h 15"/>
                <a:gd name="T16" fmla="*/ 6 w 19"/>
                <a:gd name="T17" fmla="*/ 11 h 15"/>
                <a:gd name="T18" fmla="*/ 4 w 19"/>
                <a:gd name="T19" fmla="*/ 9 h 15"/>
                <a:gd name="T20" fmla="*/ 4 w 19"/>
                <a:gd name="T21" fmla="*/ 9 h 15"/>
                <a:gd name="T22" fmla="*/ 0 w 19"/>
                <a:gd name="T23" fmla="*/ 6 h 15"/>
                <a:gd name="T24" fmla="*/ 4 w 19"/>
                <a:gd name="T25" fmla="*/ 6 h 15"/>
                <a:gd name="T26" fmla="*/ 4 w 19"/>
                <a:gd name="T27" fmla="*/ 6 h 15"/>
                <a:gd name="T28" fmla="*/ 6 w 19"/>
                <a:gd name="T29" fmla="*/ 4 h 15"/>
                <a:gd name="T30" fmla="*/ 8 w 19"/>
                <a:gd name="T31" fmla="*/ 2 h 15"/>
                <a:gd name="T32" fmla="*/ 10 w 19"/>
                <a:gd name="T33" fmla="*/ 0 h 15"/>
                <a:gd name="T34" fmla="*/ 11 w 19"/>
                <a:gd name="T35" fmla="*/ 2 h 15"/>
                <a:gd name="T36" fmla="*/ 11 w 19"/>
                <a:gd name="T37" fmla="*/ 2 h 15"/>
                <a:gd name="T38" fmla="*/ 11 w 19"/>
                <a:gd name="T39" fmla="*/ 2 h 15"/>
                <a:gd name="T40" fmla="*/ 11 w 19"/>
                <a:gd name="T41" fmla="*/ 2 h 15"/>
                <a:gd name="T42" fmla="*/ 11 w 19"/>
                <a:gd name="T43" fmla="*/ 2 h 15"/>
                <a:gd name="T44" fmla="*/ 13 w 19"/>
                <a:gd name="T45" fmla="*/ 0 h 15"/>
                <a:gd name="T46" fmla="*/ 11 w 19"/>
                <a:gd name="T47" fmla="*/ 2 h 15"/>
                <a:gd name="T48" fmla="*/ 13 w 19"/>
                <a:gd name="T49" fmla="*/ 4 h 15"/>
                <a:gd name="T50" fmla="*/ 13 w 19"/>
                <a:gd name="T51" fmla="*/ 4 h 15"/>
                <a:gd name="T52" fmla="*/ 15 w 19"/>
                <a:gd name="T53" fmla="*/ 2 h 15"/>
                <a:gd name="T54" fmla="*/ 17 w 19"/>
                <a:gd name="T55" fmla="*/ 6 h 15"/>
                <a:gd name="T56" fmla="*/ 17 w 19"/>
                <a:gd name="T57" fmla="*/ 9 h 15"/>
                <a:gd name="T58" fmla="*/ 17 w 19"/>
                <a:gd name="T59" fmla="*/ 9 h 15"/>
                <a:gd name="T60" fmla="*/ 17 w 19"/>
                <a:gd name="T61" fmla="*/ 9 h 15"/>
                <a:gd name="T62" fmla="*/ 13 w 19"/>
                <a:gd name="T63" fmla="*/ 9 h 15"/>
                <a:gd name="T64" fmla="*/ 13 w 19"/>
                <a:gd name="T65" fmla="*/ 9 h 15"/>
                <a:gd name="T66" fmla="*/ 13 w 19"/>
                <a:gd name="T67" fmla="*/ 9 h 15"/>
                <a:gd name="T68" fmla="*/ 15 w 19"/>
                <a:gd name="T69" fmla="*/ 8 h 15"/>
                <a:gd name="T70" fmla="*/ 15 w 19"/>
                <a:gd name="T71" fmla="*/ 8 h 15"/>
                <a:gd name="T72" fmla="*/ 13 w 19"/>
                <a:gd name="T73" fmla="*/ 6 h 15"/>
                <a:gd name="T74" fmla="*/ 11 w 19"/>
                <a:gd name="T75" fmla="*/ 2 h 15"/>
                <a:gd name="T76" fmla="*/ 11 w 19"/>
                <a:gd name="T77" fmla="*/ 2 h 15"/>
                <a:gd name="T78" fmla="*/ 15 w 19"/>
                <a:gd name="T79" fmla="*/ 0 h 15"/>
                <a:gd name="T80" fmla="*/ 13 w 19"/>
                <a:gd name="T81" fmla="*/ 0 h 15"/>
                <a:gd name="T82" fmla="*/ 13 w 19"/>
                <a:gd name="T8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 h="15">
                  <a:moveTo>
                    <a:pt x="13" y="2"/>
                  </a:moveTo>
                  <a:lnTo>
                    <a:pt x="13" y="4"/>
                  </a:lnTo>
                  <a:lnTo>
                    <a:pt x="11" y="4"/>
                  </a:lnTo>
                  <a:lnTo>
                    <a:pt x="10" y="4"/>
                  </a:lnTo>
                  <a:lnTo>
                    <a:pt x="10" y="6"/>
                  </a:lnTo>
                  <a:lnTo>
                    <a:pt x="10" y="8"/>
                  </a:lnTo>
                  <a:lnTo>
                    <a:pt x="10" y="9"/>
                  </a:lnTo>
                  <a:lnTo>
                    <a:pt x="11" y="9"/>
                  </a:lnTo>
                  <a:lnTo>
                    <a:pt x="11" y="11"/>
                  </a:lnTo>
                  <a:lnTo>
                    <a:pt x="10" y="11"/>
                  </a:lnTo>
                  <a:lnTo>
                    <a:pt x="11" y="11"/>
                  </a:lnTo>
                  <a:lnTo>
                    <a:pt x="10" y="11"/>
                  </a:lnTo>
                  <a:lnTo>
                    <a:pt x="10" y="13"/>
                  </a:lnTo>
                  <a:lnTo>
                    <a:pt x="10" y="15"/>
                  </a:lnTo>
                  <a:lnTo>
                    <a:pt x="8" y="15"/>
                  </a:lnTo>
                  <a:lnTo>
                    <a:pt x="8" y="13"/>
                  </a:lnTo>
                  <a:lnTo>
                    <a:pt x="6" y="13"/>
                  </a:lnTo>
                  <a:lnTo>
                    <a:pt x="6" y="11"/>
                  </a:lnTo>
                  <a:lnTo>
                    <a:pt x="4" y="11"/>
                  </a:lnTo>
                  <a:lnTo>
                    <a:pt x="4" y="9"/>
                  </a:lnTo>
                  <a:lnTo>
                    <a:pt x="2" y="9"/>
                  </a:lnTo>
                  <a:lnTo>
                    <a:pt x="4" y="9"/>
                  </a:lnTo>
                  <a:lnTo>
                    <a:pt x="2" y="8"/>
                  </a:lnTo>
                  <a:lnTo>
                    <a:pt x="0" y="6"/>
                  </a:lnTo>
                  <a:lnTo>
                    <a:pt x="2" y="6"/>
                  </a:lnTo>
                  <a:lnTo>
                    <a:pt x="4" y="6"/>
                  </a:lnTo>
                  <a:lnTo>
                    <a:pt x="2" y="6"/>
                  </a:lnTo>
                  <a:lnTo>
                    <a:pt x="4" y="6"/>
                  </a:lnTo>
                  <a:lnTo>
                    <a:pt x="6" y="6"/>
                  </a:lnTo>
                  <a:lnTo>
                    <a:pt x="6" y="4"/>
                  </a:lnTo>
                  <a:lnTo>
                    <a:pt x="8" y="4"/>
                  </a:lnTo>
                  <a:lnTo>
                    <a:pt x="8" y="2"/>
                  </a:lnTo>
                  <a:lnTo>
                    <a:pt x="10" y="2"/>
                  </a:lnTo>
                  <a:lnTo>
                    <a:pt x="10" y="0"/>
                  </a:lnTo>
                  <a:lnTo>
                    <a:pt x="10" y="2"/>
                  </a:lnTo>
                  <a:lnTo>
                    <a:pt x="11" y="2"/>
                  </a:lnTo>
                  <a:lnTo>
                    <a:pt x="10" y="2"/>
                  </a:lnTo>
                  <a:lnTo>
                    <a:pt x="11" y="2"/>
                  </a:lnTo>
                  <a:lnTo>
                    <a:pt x="11" y="0"/>
                  </a:lnTo>
                  <a:lnTo>
                    <a:pt x="11" y="2"/>
                  </a:lnTo>
                  <a:lnTo>
                    <a:pt x="11" y="0"/>
                  </a:lnTo>
                  <a:lnTo>
                    <a:pt x="11" y="2"/>
                  </a:lnTo>
                  <a:lnTo>
                    <a:pt x="11" y="0"/>
                  </a:lnTo>
                  <a:lnTo>
                    <a:pt x="11" y="2"/>
                  </a:lnTo>
                  <a:lnTo>
                    <a:pt x="11" y="0"/>
                  </a:lnTo>
                  <a:lnTo>
                    <a:pt x="13" y="0"/>
                  </a:lnTo>
                  <a:lnTo>
                    <a:pt x="13" y="2"/>
                  </a:lnTo>
                  <a:lnTo>
                    <a:pt x="11" y="2"/>
                  </a:lnTo>
                  <a:lnTo>
                    <a:pt x="13" y="2"/>
                  </a:lnTo>
                  <a:close/>
                  <a:moveTo>
                    <a:pt x="13" y="4"/>
                  </a:moveTo>
                  <a:lnTo>
                    <a:pt x="13" y="2"/>
                  </a:lnTo>
                  <a:lnTo>
                    <a:pt x="13" y="4"/>
                  </a:lnTo>
                  <a:lnTo>
                    <a:pt x="13" y="2"/>
                  </a:lnTo>
                  <a:lnTo>
                    <a:pt x="15" y="2"/>
                  </a:lnTo>
                  <a:lnTo>
                    <a:pt x="17" y="4"/>
                  </a:lnTo>
                  <a:lnTo>
                    <a:pt x="17" y="6"/>
                  </a:lnTo>
                  <a:lnTo>
                    <a:pt x="17" y="8"/>
                  </a:lnTo>
                  <a:lnTo>
                    <a:pt x="17" y="9"/>
                  </a:lnTo>
                  <a:lnTo>
                    <a:pt x="19" y="9"/>
                  </a:lnTo>
                  <a:lnTo>
                    <a:pt x="17" y="9"/>
                  </a:lnTo>
                  <a:lnTo>
                    <a:pt x="17" y="11"/>
                  </a:lnTo>
                  <a:lnTo>
                    <a:pt x="17" y="9"/>
                  </a:lnTo>
                  <a:lnTo>
                    <a:pt x="15" y="9"/>
                  </a:lnTo>
                  <a:lnTo>
                    <a:pt x="13" y="9"/>
                  </a:lnTo>
                  <a:lnTo>
                    <a:pt x="15" y="9"/>
                  </a:lnTo>
                  <a:lnTo>
                    <a:pt x="13" y="9"/>
                  </a:lnTo>
                  <a:lnTo>
                    <a:pt x="13" y="8"/>
                  </a:lnTo>
                  <a:lnTo>
                    <a:pt x="13" y="9"/>
                  </a:lnTo>
                  <a:lnTo>
                    <a:pt x="13" y="8"/>
                  </a:lnTo>
                  <a:lnTo>
                    <a:pt x="15" y="8"/>
                  </a:lnTo>
                  <a:lnTo>
                    <a:pt x="13" y="8"/>
                  </a:lnTo>
                  <a:lnTo>
                    <a:pt x="15" y="8"/>
                  </a:lnTo>
                  <a:lnTo>
                    <a:pt x="13" y="8"/>
                  </a:lnTo>
                  <a:lnTo>
                    <a:pt x="13" y="6"/>
                  </a:lnTo>
                  <a:lnTo>
                    <a:pt x="13" y="4"/>
                  </a:lnTo>
                  <a:close/>
                  <a:moveTo>
                    <a:pt x="11" y="2"/>
                  </a:moveTo>
                  <a:lnTo>
                    <a:pt x="13" y="2"/>
                  </a:lnTo>
                  <a:lnTo>
                    <a:pt x="11" y="2"/>
                  </a:lnTo>
                  <a:close/>
                  <a:moveTo>
                    <a:pt x="13" y="0"/>
                  </a:moveTo>
                  <a:lnTo>
                    <a:pt x="15" y="0"/>
                  </a:lnTo>
                  <a:lnTo>
                    <a:pt x="13" y="0"/>
                  </a:lnTo>
                  <a:close/>
                  <a:moveTo>
                    <a:pt x="13" y="0"/>
                  </a:moveTo>
                  <a:lnTo>
                    <a:pt x="15" y="0"/>
                  </a:lnTo>
                  <a:lnTo>
                    <a:pt x="13"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3" name="Freeform 422">
              <a:extLst>
                <a:ext uri="{FF2B5EF4-FFF2-40B4-BE49-F238E27FC236}">
                  <a16:creationId xmlns:a16="http://schemas.microsoft.com/office/drawing/2014/main" id="{61AF6B3D-3585-41F5-9EA6-50883A730833}"/>
                </a:ext>
              </a:extLst>
            </p:cNvPr>
            <p:cNvSpPr>
              <a:spLocks noEditPoints="1"/>
            </p:cNvSpPr>
            <p:nvPr/>
          </p:nvSpPr>
          <p:spPr bwMode="gray">
            <a:xfrm>
              <a:off x="5614413" y="4220602"/>
              <a:ext cx="11038" cy="23302"/>
            </a:xfrm>
            <a:custGeom>
              <a:avLst/>
              <a:gdLst>
                <a:gd name="T0" fmla="*/ 7 w 9"/>
                <a:gd name="T1" fmla="*/ 9 h 19"/>
                <a:gd name="T2" fmla="*/ 5 w 9"/>
                <a:gd name="T3" fmla="*/ 11 h 19"/>
                <a:gd name="T4" fmla="*/ 7 w 9"/>
                <a:gd name="T5" fmla="*/ 9 h 19"/>
                <a:gd name="T6" fmla="*/ 7 w 9"/>
                <a:gd name="T7" fmla="*/ 9 h 19"/>
                <a:gd name="T8" fmla="*/ 7 w 9"/>
                <a:gd name="T9" fmla="*/ 6 h 19"/>
                <a:gd name="T10" fmla="*/ 4 w 9"/>
                <a:gd name="T11" fmla="*/ 11 h 19"/>
                <a:gd name="T12" fmla="*/ 5 w 9"/>
                <a:gd name="T13" fmla="*/ 13 h 19"/>
                <a:gd name="T14" fmla="*/ 4 w 9"/>
                <a:gd name="T15" fmla="*/ 11 h 19"/>
                <a:gd name="T16" fmla="*/ 5 w 9"/>
                <a:gd name="T17" fmla="*/ 13 h 19"/>
                <a:gd name="T18" fmla="*/ 2 w 9"/>
                <a:gd name="T19" fmla="*/ 15 h 19"/>
                <a:gd name="T20" fmla="*/ 4 w 9"/>
                <a:gd name="T21" fmla="*/ 17 h 19"/>
                <a:gd name="T22" fmla="*/ 2 w 9"/>
                <a:gd name="T23" fmla="*/ 15 h 19"/>
                <a:gd name="T24" fmla="*/ 4 w 9"/>
                <a:gd name="T25" fmla="*/ 15 h 19"/>
                <a:gd name="T26" fmla="*/ 0 w 9"/>
                <a:gd name="T27" fmla="*/ 17 h 19"/>
                <a:gd name="T28" fmla="*/ 2 w 9"/>
                <a:gd name="T29" fmla="*/ 19 h 19"/>
                <a:gd name="T30" fmla="*/ 0 w 9"/>
                <a:gd name="T31" fmla="*/ 17 h 19"/>
                <a:gd name="T32" fmla="*/ 5 w 9"/>
                <a:gd name="T33" fmla="*/ 13 h 19"/>
                <a:gd name="T34" fmla="*/ 2 w 9"/>
                <a:gd name="T35" fmla="*/ 15 h 19"/>
                <a:gd name="T36" fmla="*/ 2 w 9"/>
                <a:gd name="T37" fmla="*/ 15 h 19"/>
                <a:gd name="T38" fmla="*/ 9 w 9"/>
                <a:gd name="T39" fmla="*/ 2 h 19"/>
                <a:gd name="T40" fmla="*/ 4 w 9"/>
                <a:gd name="T41" fmla="*/ 13 h 19"/>
                <a:gd name="T42" fmla="*/ 4 w 9"/>
                <a:gd name="T43" fmla="*/ 13 h 19"/>
                <a:gd name="T44" fmla="*/ 4 w 9"/>
                <a:gd name="T45" fmla="*/ 15 h 19"/>
                <a:gd name="T46" fmla="*/ 5 w 9"/>
                <a:gd name="T47" fmla="*/ 11 h 19"/>
                <a:gd name="T48" fmla="*/ 5 w 9"/>
                <a:gd name="T49" fmla="*/ 11 h 19"/>
                <a:gd name="T50" fmla="*/ 4 w 9"/>
                <a:gd name="T51" fmla="*/ 15 h 19"/>
                <a:gd name="T52" fmla="*/ 4 w 9"/>
                <a:gd name="T53" fmla="*/ 13 h 19"/>
                <a:gd name="T54" fmla="*/ 4 w 9"/>
                <a:gd name="T55" fmla="*/ 13 h 19"/>
                <a:gd name="T56" fmla="*/ 2 w 9"/>
                <a:gd name="T57" fmla="*/ 15 h 19"/>
                <a:gd name="T58" fmla="*/ 5 w 9"/>
                <a:gd name="T59" fmla="*/ 11 h 19"/>
                <a:gd name="T60" fmla="*/ 5 w 9"/>
                <a:gd name="T61" fmla="*/ 11 h 19"/>
                <a:gd name="T62" fmla="*/ 4 w 9"/>
                <a:gd name="T63" fmla="*/ 13 h 19"/>
                <a:gd name="T64" fmla="*/ 4 w 9"/>
                <a:gd name="T65" fmla="*/ 13 h 19"/>
                <a:gd name="T66" fmla="*/ 4 w 9"/>
                <a:gd name="T67"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 h="19">
                  <a:moveTo>
                    <a:pt x="7" y="7"/>
                  </a:moveTo>
                  <a:lnTo>
                    <a:pt x="7" y="9"/>
                  </a:lnTo>
                  <a:lnTo>
                    <a:pt x="7" y="11"/>
                  </a:lnTo>
                  <a:lnTo>
                    <a:pt x="5" y="11"/>
                  </a:lnTo>
                  <a:lnTo>
                    <a:pt x="5" y="9"/>
                  </a:lnTo>
                  <a:lnTo>
                    <a:pt x="7" y="9"/>
                  </a:lnTo>
                  <a:lnTo>
                    <a:pt x="5" y="9"/>
                  </a:lnTo>
                  <a:lnTo>
                    <a:pt x="7" y="9"/>
                  </a:lnTo>
                  <a:lnTo>
                    <a:pt x="7" y="7"/>
                  </a:lnTo>
                  <a:lnTo>
                    <a:pt x="7" y="6"/>
                  </a:lnTo>
                  <a:lnTo>
                    <a:pt x="7" y="7"/>
                  </a:lnTo>
                  <a:close/>
                  <a:moveTo>
                    <a:pt x="4" y="11"/>
                  </a:moveTo>
                  <a:lnTo>
                    <a:pt x="5" y="11"/>
                  </a:lnTo>
                  <a:lnTo>
                    <a:pt x="5" y="13"/>
                  </a:lnTo>
                  <a:lnTo>
                    <a:pt x="4" y="13"/>
                  </a:lnTo>
                  <a:lnTo>
                    <a:pt x="4" y="11"/>
                  </a:lnTo>
                  <a:close/>
                  <a:moveTo>
                    <a:pt x="5" y="11"/>
                  </a:moveTo>
                  <a:lnTo>
                    <a:pt x="5" y="13"/>
                  </a:lnTo>
                  <a:lnTo>
                    <a:pt x="5" y="11"/>
                  </a:lnTo>
                  <a:close/>
                  <a:moveTo>
                    <a:pt x="2" y="15"/>
                  </a:moveTo>
                  <a:lnTo>
                    <a:pt x="4" y="15"/>
                  </a:lnTo>
                  <a:lnTo>
                    <a:pt x="4" y="17"/>
                  </a:lnTo>
                  <a:lnTo>
                    <a:pt x="2" y="17"/>
                  </a:lnTo>
                  <a:lnTo>
                    <a:pt x="2" y="15"/>
                  </a:lnTo>
                  <a:close/>
                  <a:moveTo>
                    <a:pt x="4" y="13"/>
                  </a:moveTo>
                  <a:lnTo>
                    <a:pt x="4" y="15"/>
                  </a:lnTo>
                  <a:lnTo>
                    <a:pt x="4" y="13"/>
                  </a:lnTo>
                  <a:close/>
                  <a:moveTo>
                    <a:pt x="0" y="17"/>
                  </a:moveTo>
                  <a:lnTo>
                    <a:pt x="2" y="17"/>
                  </a:lnTo>
                  <a:lnTo>
                    <a:pt x="2" y="19"/>
                  </a:lnTo>
                  <a:lnTo>
                    <a:pt x="0" y="19"/>
                  </a:lnTo>
                  <a:lnTo>
                    <a:pt x="0" y="17"/>
                  </a:lnTo>
                  <a:close/>
                  <a:moveTo>
                    <a:pt x="4" y="13"/>
                  </a:moveTo>
                  <a:lnTo>
                    <a:pt x="5" y="13"/>
                  </a:lnTo>
                  <a:lnTo>
                    <a:pt x="4" y="13"/>
                  </a:lnTo>
                  <a:close/>
                  <a:moveTo>
                    <a:pt x="2" y="15"/>
                  </a:moveTo>
                  <a:lnTo>
                    <a:pt x="4" y="15"/>
                  </a:lnTo>
                  <a:lnTo>
                    <a:pt x="2" y="15"/>
                  </a:lnTo>
                  <a:close/>
                  <a:moveTo>
                    <a:pt x="9" y="0"/>
                  </a:moveTo>
                  <a:lnTo>
                    <a:pt x="9" y="2"/>
                  </a:lnTo>
                  <a:lnTo>
                    <a:pt x="9" y="0"/>
                  </a:lnTo>
                  <a:close/>
                  <a:moveTo>
                    <a:pt x="4" y="13"/>
                  </a:moveTo>
                  <a:lnTo>
                    <a:pt x="4" y="15"/>
                  </a:lnTo>
                  <a:lnTo>
                    <a:pt x="4" y="13"/>
                  </a:lnTo>
                  <a:close/>
                  <a:moveTo>
                    <a:pt x="2" y="15"/>
                  </a:moveTo>
                  <a:lnTo>
                    <a:pt x="4" y="15"/>
                  </a:lnTo>
                  <a:lnTo>
                    <a:pt x="2" y="15"/>
                  </a:lnTo>
                  <a:close/>
                  <a:moveTo>
                    <a:pt x="5" y="11"/>
                  </a:moveTo>
                  <a:lnTo>
                    <a:pt x="7" y="11"/>
                  </a:lnTo>
                  <a:lnTo>
                    <a:pt x="5" y="11"/>
                  </a:lnTo>
                  <a:close/>
                  <a:moveTo>
                    <a:pt x="4" y="13"/>
                  </a:moveTo>
                  <a:lnTo>
                    <a:pt x="4" y="15"/>
                  </a:lnTo>
                  <a:lnTo>
                    <a:pt x="4" y="13"/>
                  </a:lnTo>
                  <a:close/>
                  <a:moveTo>
                    <a:pt x="4" y="13"/>
                  </a:moveTo>
                  <a:lnTo>
                    <a:pt x="4" y="15"/>
                  </a:lnTo>
                  <a:lnTo>
                    <a:pt x="4" y="13"/>
                  </a:lnTo>
                  <a:close/>
                  <a:moveTo>
                    <a:pt x="2" y="13"/>
                  </a:moveTo>
                  <a:lnTo>
                    <a:pt x="2" y="15"/>
                  </a:lnTo>
                  <a:lnTo>
                    <a:pt x="2" y="13"/>
                  </a:lnTo>
                  <a:close/>
                  <a:moveTo>
                    <a:pt x="5" y="11"/>
                  </a:moveTo>
                  <a:lnTo>
                    <a:pt x="5" y="13"/>
                  </a:lnTo>
                  <a:lnTo>
                    <a:pt x="5" y="11"/>
                  </a:lnTo>
                  <a:close/>
                  <a:moveTo>
                    <a:pt x="2" y="13"/>
                  </a:moveTo>
                  <a:lnTo>
                    <a:pt x="4" y="13"/>
                  </a:lnTo>
                  <a:lnTo>
                    <a:pt x="2" y="13"/>
                  </a:lnTo>
                  <a:close/>
                  <a:moveTo>
                    <a:pt x="4" y="13"/>
                  </a:moveTo>
                  <a:lnTo>
                    <a:pt x="5" y="13"/>
                  </a:lnTo>
                  <a:lnTo>
                    <a:pt x="4" y="1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4" name="Freeform 423">
              <a:extLst>
                <a:ext uri="{FF2B5EF4-FFF2-40B4-BE49-F238E27FC236}">
                  <a16:creationId xmlns:a16="http://schemas.microsoft.com/office/drawing/2014/main" id="{053EDA0B-2859-4505-BBAC-52BADD0CB152}"/>
                </a:ext>
              </a:extLst>
            </p:cNvPr>
            <p:cNvSpPr>
              <a:spLocks noEditPoints="1"/>
            </p:cNvSpPr>
            <p:nvPr/>
          </p:nvSpPr>
          <p:spPr bwMode="gray">
            <a:xfrm>
              <a:off x="5684317" y="4185036"/>
              <a:ext cx="450081" cy="164334"/>
            </a:xfrm>
            <a:custGeom>
              <a:avLst/>
              <a:gdLst>
                <a:gd name="T0" fmla="*/ 298 w 367"/>
                <a:gd name="T1" fmla="*/ 46 h 134"/>
                <a:gd name="T2" fmla="*/ 294 w 367"/>
                <a:gd name="T3" fmla="*/ 50 h 134"/>
                <a:gd name="T4" fmla="*/ 365 w 367"/>
                <a:gd name="T5" fmla="*/ 69 h 134"/>
                <a:gd name="T6" fmla="*/ 367 w 367"/>
                <a:gd name="T7" fmla="*/ 71 h 134"/>
                <a:gd name="T8" fmla="*/ 365 w 367"/>
                <a:gd name="T9" fmla="*/ 69 h 134"/>
                <a:gd name="T10" fmla="*/ 4 w 367"/>
                <a:gd name="T11" fmla="*/ 8 h 134"/>
                <a:gd name="T12" fmla="*/ 0 w 367"/>
                <a:gd name="T13" fmla="*/ 10 h 134"/>
                <a:gd name="T14" fmla="*/ 198 w 367"/>
                <a:gd name="T15" fmla="*/ 40 h 134"/>
                <a:gd name="T16" fmla="*/ 198 w 367"/>
                <a:gd name="T17" fmla="*/ 40 h 134"/>
                <a:gd name="T18" fmla="*/ 204 w 367"/>
                <a:gd name="T19" fmla="*/ 38 h 134"/>
                <a:gd name="T20" fmla="*/ 202 w 367"/>
                <a:gd name="T21" fmla="*/ 40 h 134"/>
                <a:gd name="T22" fmla="*/ 202 w 367"/>
                <a:gd name="T23" fmla="*/ 40 h 134"/>
                <a:gd name="T24" fmla="*/ 202 w 367"/>
                <a:gd name="T25" fmla="*/ 40 h 134"/>
                <a:gd name="T26" fmla="*/ 254 w 367"/>
                <a:gd name="T27" fmla="*/ 36 h 134"/>
                <a:gd name="T28" fmla="*/ 254 w 367"/>
                <a:gd name="T29" fmla="*/ 36 h 134"/>
                <a:gd name="T30" fmla="*/ 256 w 367"/>
                <a:gd name="T31" fmla="*/ 38 h 134"/>
                <a:gd name="T32" fmla="*/ 254 w 367"/>
                <a:gd name="T33" fmla="*/ 36 h 134"/>
                <a:gd name="T34" fmla="*/ 202 w 367"/>
                <a:gd name="T35" fmla="*/ 40 h 134"/>
                <a:gd name="T36" fmla="*/ 204 w 367"/>
                <a:gd name="T37" fmla="*/ 40 h 134"/>
                <a:gd name="T38" fmla="*/ 204 w 367"/>
                <a:gd name="T39" fmla="*/ 40 h 134"/>
                <a:gd name="T40" fmla="*/ 37 w 367"/>
                <a:gd name="T41" fmla="*/ 6 h 134"/>
                <a:gd name="T42" fmla="*/ 171 w 367"/>
                <a:gd name="T43" fmla="*/ 21 h 134"/>
                <a:gd name="T44" fmla="*/ 171 w 367"/>
                <a:gd name="T45" fmla="*/ 21 h 134"/>
                <a:gd name="T46" fmla="*/ 238 w 367"/>
                <a:gd name="T47" fmla="*/ 31 h 134"/>
                <a:gd name="T48" fmla="*/ 229 w 367"/>
                <a:gd name="T49" fmla="*/ 71 h 134"/>
                <a:gd name="T50" fmla="*/ 229 w 367"/>
                <a:gd name="T51" fmla="*/ 71 h 134"/>
                <a:gd name="T52" fmla="*/ 294 w 367"/>
                <a:gd name="T53" fmla="*/ 48 h 134"/>
                <a:gd name="T54" fmla="*/ 292 w 367"/>
                <a:gd name="T55" fmla="*/ 50 h 134"/>
                <a:gd name="T56" fmla="*/ 231 w 367"/>
                <a:gd name="T57" fmla="*/ 67 h 134"/>
                <a:gd name="T58" fmla="*/ 231 w 367"/>
                <a:gd name="T59" fmla="*/ 67 h 134"/>
                <a:gd name="T60" fmla="*/ 256 w 367"/>
                <a:gd name="T61" fmla="*/ 38 h 134"/>
                <a:gd name="T62" fmla="*/ 254 w 367"/>
                <a:gd name="T63" fmla="*/ 40 h 134"/>
                <a:gd name="T64" fmla="*/ 85 w 367"/>
                <a:gd name="T65" fmla="*/ 40 h 134"/>
                <a:gd name="T66" fmla="*/ 85 w 367"/>
                <a:gd name="T67" fmla="*/ 40 h 134"/>
                <a:gd name="T68" fmla="*/ 223 w 367"/>
                <a:gd name="T69" fmla="*/ 61 h 134"/>
                <a:gd name="T70" fmla="*/ 202 w 367"/>
                <a:gd name="T71" fmla="*/ 40 h 134"/>
                <a:gd name="T72" fmla="*/ 202 w 367"/>
                <a:gd name="T73" fmla="*/ 40 h 134"/>
                <a:gd name="T74" fmla="*/ 206 w 367"/>
                <a:gd name="T75" fmla="*/ 42 h 134"/>
                <a:gd name="T76" fmla="*/ 177 w 367"/>
                <a:gd name="T77" fmla="*/ 17 h 134"/>
                <a:gd name="T78" fmla="*/ 177 w 367"/>
                <a:gd name="T79" fmla="*/ 17 h 134"/>
                <a:gd name="T80" fmla="*/ 229 w 367"/>
                <a:gd name="T81" fmla="*/ 67 h 134"/>
                <a:gd name="T82" fmla="*/ 221 w 367"/>
                <a:gd name="T83" fmla="*/ 61 h 134"/>
                <a:gd name="T84" fmla="*/ 221 w 367"/>
                <a:gd name="T85" fmla="*/ 61 h 134"/>
                <a:gd name="T86" fmla="*/ 27 w 367"/>
                <a:gd name="T87" fmla="*/ 0 h 134"/>
                <a:gd name="T88" fmla="*/ 25 w 367"/>
                <a:gd name="T89" fmla="*/ 2 h 134"/>
                <a:gd name="T90" fmla="*/ 227 w 367"/>
                <a:gd name="T91" fmla="*/ 67 h 134"/>
                <a:gd name="T92" fmla="*/ 227 w 367"/>
                <a:gd name="T93" fmla="*/ 67 h 134"/>
                <a:gd name="T94" fmla="*/ 296 w 367"/>
                <a:gd name="T95" fmla="*/ 50 h 134"/>
                <a:gd name="T96" fmla="*/ 121 w 367"/>
                <a:gd name="T97" fmla="*/ 38 h 134"/>
                <a:gd name="T98" fmla="*/ 121 w 367"/>
                <a:gd name="T99" fmla="*/ 38 h 134"/>
                <a:gd name="T100" fmla="*/ 206 w 367"/>
                <a:gd name="T101" fmla="*/ 46 h 134"/>
                <a:gd name="T102" fmla="*/ 229 w 367"/>
                <a:gd name="T103" fmla="*/ 65 h 134"/>
                <a:gd name="T104" fmla="*/ 229 w 367"/>
                <a:gd name="T105" fmla="*/ 65 h 134"/>
                <a:gd name="T106" fmla="*/ 204 w 367"/>
                <a:gd name="T107" fmla="*/ 44 h 134"/>
                <a:gd name="T108" fmla="*/ 129 w 367"/>
                <a:gd name="T109" fmla="*/ 29 h 134"/>
                <a:gd name="T110" fmla="*/ 129 w 367"/>
                <a:gd name="T111" fmla="*/ 29 h 134"/>
                <a:gd name="T112" fmla="*/ 231 w 367"/>
                <a:gd name="T113" fmla="*/ 69 h 134"/>
                <a:gd name="T114" fmla="*/ 290 w 367"/>
                <a:gd name="T115" fmla="*/ 44 h 134"/>
                <a:gd name="T116" fmla="*/ 290 w 367"/>
                <a:gd name="T117" fmla="*/ 44 h 134"/>
                <a:gd name="T118" fmla="*/ 246 w 367"/>
                <a:gd name="T119" fmla="*/ 134 h 134"/>
                <a:gd name="T120" fmla="*/ 23 w 367"/>
                <a:gd name="T121" fmla="*/ 0 h 134"/>
                <a:gd name="T122" fmla="*/ 23 w 367"/>
                <a:gd name="T123" fmla="*/ 0 h 134"/>
                <a:gd name="T124" fmla="*/ 231 w 367"/>
                <a:gd name="T125" fmla="*/ 7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7" h="134">
                  <a:moveTo>
                    <a:pt x="294" y="46"/>
                  </a:moveTo>
                  <a:lnTo>
                    <a:pt x="298" y="46"/>
                  </a:lnTo>
                  <a:lnTo>
                    <a:pt x="298" y="50"/>
                  </a:lnTo>
                  <a:lnTo>
                    <a:pt x="294" y="50"/>
                  </a:lnTo>
                  <a:lnTo>
                    <a:pt x="294" y="46"/>
                  </a:lnTo>
                  <a:close/>
                  <a:moveTo>
                    <a:pt x="365" y="69"/>
                  </a:moveTo>
                  <a:lnTo>
                    <a:pt x="367" y="69"/>
                  </a:lnTo>
                  <a:lnTo>
                    <a:pt x="367" y="71"/>
                  </a:lnTo>
                  <a:lnTo>
                    <a:pt x="365" y="71"/>
                  </a:lnTo>
                  <a:lnTo>
                    <a:pt x="365" y="69"/>
                  </a:lnTo>
                  <a:close/>
                  <a:moveTo>
                    <a:pt x="0" y="8"/>
                  </a:moveTo>
                  <a:lnTo>
                    <a:pt x="4" y="8"/>
                  </a:lnTo>
                  <a:lnTo>
                    <a:pt x="4" y="10"/>
                  </a:lnTo>
                  <a:lnTo>
                    <a:pt x="0" y="10"/>
                  </a:lnTo>
                  <a:lnTo>
                    <a:pt x="0" y="8"/>
                  </a:lnTo>
                  <a:close/>
                  <a:moveTo>
                    <a:pt x="198" y="40"/>
                  </a:moveTo>
                  <a:lnTo>
                    <a:pt x="200" y="40"/>
                  </a:lnTo>
                  <a:lnTo>
                    <a:pt x="198" y="40"/>
                  </a:lnTo>
                  <a:close/>
                  <a:moveTo>
                    <a:pt x="202" y="38"/>
                  </a:moveTo>
                  <a:lnTo>
                    <a:pt x="204" y="38"/>
                  </a:lnTo>
                  <a:lnTo>
                    <a:pt x="204" y="40"/>
                  </a:lnTo>
                  <a:lnTo>
                    <a:pt x="202" y="40"/>
                  </a:lnTo>
                  <a:lnTo>
                    <a:pt x="202" y="38"/>
                  </a:lnTo>
                  <a:close/>
                  <a:moveTo>
                    <a:pt x="202" y="40"/>
                  </a:moveTo>
                  <a:lnTo>
                    <a:pt x="204" y="40"/>
                  </a:lnTo>
                  <a:lnTo>
                    <a:pt x="202" y="40"/>
                  </a:lnTo>
                  <a:close/>
                  <a:moveTo>
                    <a:pt x="252" y="36"/>
                  </a:moveTo>
                  <a:lnTo>
                    <a:pt x="254" y="36"/>
                  </a:lnTo>
                  <a:lnTo>
                    <a:pt x="252" y="36"/>
                  </a:lnTo>
                  <a:close/>
                  <a:moveTo>
                    <a:pt x="254" y="36"/>
                  </a:moveTo>
                  <a:lnTo>
                    <a:pt x="256" y="36"/>
                  </a:lnTo>
                  <a:lnTo>
                    <a:pt x="256" y="38"/>
                  </a:lnTo>
                  <a:lnTo>
                    <a:pt x="254" y="38"/>
                  </a:lnTo>
                  <a:lnTo>
                    <a:pt x="254" y="36"/>
                  </a:lnTo>
                  <a:close/>
                  <a:moveTo>
                    <a:pt x="200" y="40"/>
                  </a:moveTo>
                  <a:lnTo>
                    <a:pt x="202" y="40"/>
                  </a:lnTo>
                  <a:lnTo>
                    <a:pt x="200" y="40"/>
                  </a:lnTo>
                  <a:close/>
                  <a:moveTo>
                    <a:pt x="204" y="40"/>
                  </a:moveTo>
                  <a:lnTo>
                    <a:pt x="204" y="42"/>
                  </a:lnTo>
                  <a:lnTo>
                    <a:pt x="204" y="40"/>
                  </a:lnTo>
                  <a:close/>
                  <a:moveTo>
                    <a:pt x="37" y="4"/>
                  </a:moveTo>
                  <a:lnTo>
                    <a:pt x="37" y="6"/>
                  </a:lnTo>
                  <a:lnTo>
                    <a:pt x="37" y="4"/>
                  </a:lnTo>
                  <a:close/>
                  <a:moveTo>
                    <a:pt x="171" y="21"/>
                  </a:moveTo>
                  <a:lnTo>
                    <a:pt x="171" y="23"/>
                  </a:lnTo>
                  <a:lnTo>
                    <a:pt x="171" y="21"/>
                  </a:lnTo>
                  <a:close/>
                  <a:moveTo>
                    <a:pt x="238" y="29"/>
                  </a:moveTo>
                  <a:lnTo>
                    <a:pt x="238" y="31"/>
                  </a:lnTo>
                  <a:lnTo>
                    <a:pt x="238" y="29"/>
                  </a:lnTo>
                  <a:close/>
                  <a:moveTo>
                    <a:pt x="229" y="71"/>
                  </a:moveTo>
                  <a:lnTo>
                    <a:pt x="231" y="71"/>
                  </a:lnTo>
                  <a:lnTo>
                    <a:pt x="229" y="71"/>
                  </a:lnTo>
                  <a:close/>
                  <a:moveTo>
                    <a:pt x="292" y="48"/>
                  </a:moveTo>
                  <a:lnTo>
                    <a:pt x="294" y="48"/>
                  </a:lnTo>
                  <a:lnTo>
                    <a:pt x="294" y="50"/>
                  </a:lnTo>
                  <a:lnTo>
                    <a:pt x="292" y="50"/>
                  </a:lnTo>
                  <a:lnTo>
                    <a:pt x="292" y="48"/>
                  </a:lnTo>
                  <a:close/>
                  <a:moveTo>
                    <a:pt x="231" y="67"/>
                  </a:moveTo>
                  <a:lnTo>
                    <a:pt x="232" y="67"/>
                  </a:lnTo>
                  <a:lnTo>
                    <a:pt x="231" y="67"/>
                  </a:lnTo>
                  <a:close/>
                  <a:moveTo>
                    <a:pt x="254" y="38"/>
                  </a:moveTo>
                  <a:lnTo>
                    <a:pt x="256" y="38"/>
                  </a:lnTo>
                  <a:lnTo>
                    <a:pt x="256" y="40"/>
                  </a:lnTo>
                  <a:lnTo>
                    <a:pt x="254" y="40"/>
                  </a:lnTo>
                  <a:lnTo>
                    <a:pt x="254" y="38"/>
                  </a:lnTo>
                  <a:close/>
                  <a:moveTo>
                    <a:pt x="85" y="40"/>
                  </a:moveTo>
                  <a:lnTo>
                    <a:pt x="87" y="40"/>
                  </a:lnTo>
                  <a:lnTo>
                    <a:pt x="85" y="40"/>
                  </a:lnTo>
                  <a:close/>
                  <a:moveTo>
                    <a:pt x="221" y="61"/>
                  </a:moveTo>
                  <a:lnTo>
                    <a:pt x="223" y="61"/>
                  </a:lnTo>
                  <a:lnTo>
                    <a:pt x="221" y="61"/>
                  </a:lnTo>
                  <a:close/>
                  <a:moveTo>
                    <a:pt x="202" y="40"/>
                  </a:moveTo>
                  <a:lnTo>
                    <a:pt x="202" y="42"/>
                  </a:lnTo>
                  <a:lnTo>
                    <a:pt x="202" y="40"/>
                  </a:lnTo>
                  <a:close/>
                  <a:moveTo>
                    <a:pt x="204" y="42"/>
                  </a:moveTo>
                  <a:lnTo>
                    <a:pt x="206" y="42"/>
                  </a:lnTo>
                  <a:lnTo>
                    <a:pt x="204" y="42"/>
                  </a:lnTo>
                  <a:close/>
                  <a:moveTo>
                    <a:pt x="177" y="17"/>
                  </a:moveTo>
                  <a:lnTo>
                    <a:pt x="179" y="17"/>
                  </a:lnTo>
                  <a:lnTo>
                    <a:pt x="177" y="17"/>
                  </a:lnTo>
                  <a:close/>
                  <a:moveTo>
                    <a:pt x="227" y="67"/>
                  </a:moveTo>
                  <a:lnTo>
                    <a:pt x="229" y="67"/>
                  </a:lnTo>
                  <a:lnTo>
                    <a:pt x="227" y="67"/>
                  </a:lnTo>
                  <a:close/>
                  <a:moveTo>
                    <a:pt x="221" y="61"/>
                  </a:moveTo>
                  <a:lnTo>
                    <a:pt x="223" y="61"/>
                  </a:lnTo>
                  <a:lnTo>
                    <a:pt x="221" y="61"/>
                  </a:lnTo>
                  <a:close/>
                  <a:moveTo>
                    <a:pt x="25" y="0"/>
                  </a:moveTo>
                  <a:lnTo>
                    <a:pt x="27" y="0"/>
                  </a:lnTo>
                  <a:lnTo>
                    <a:pt x="27" y="2"/>
                  </a:lnTo>
                  <a:lnTo>
                    <a:pt x="25" y="2"/>
                  </a:lnTo>
                  <a:lnTo>
                    <a:pt x="25" y="0"/>
                  </a:lnTo>
                  <a:close/>
                  <a:moveTo>
                    <a:pt x="227" y="67"/>
                  </a:moveTo>
                  <a:lnTo>
                    <a:pt x="227" y="69"/>
                  </a:lnTo>
                  <a:lnTo>
                    <a:pt x="227" y="67"/>
                  </a:lnTo>
                  <a:close/>
                  <a:moveTo>
                    <a:pt x="296" y="48"/>
                  </a:moveTo>
                  <a:lnTo>
                    <a:pt x="296" y="50"/>
                  </a:lnTo>
                  <a:lnTo>
                    <a:pt x="296" y="48"/>
                  </a:lnTo>
                  <a:close/>
                  <a:moveTo>
                    <a:pt x="121" y="38"/>
                  </a:moveTo>
                  <a:lnTo>
                    <a:pt x="123" y="38"/>
                  </a:lnTo>
                  <a:lnTo>
                    <a:pt x="121" y="38"/>
                  </a:lnTo>
                  <a:close/>
                  <a:moveTo>
                    <a:pt x="204" y="46"/>
                  </a:moveTo>
                  <a:lnTo>
                    <a:pt x="206" y="46"/>
                  </a:lnTo>
                  <a:lnTo>
                    <a:pt x="204" y="46"/>
                  </a:lnTo>
                  <a:close/>
                  <a:moveTo>
                    <a:pt x="229" y="65"/>
                  </a:moveTo>
                  <a:lnTo>
                    <a:pt x="229" y="67"/>
                  </a:lnTo>
                  <a:lnTo>
                    <a:pt x="229" y="65"/>
                  </a:lnTo>
                  <a:close/>
                  <a:moveTo>
                    <a:pt x="204" y="42"/>
                  </a:moveTo>
                  <a:lnTo>
                    <a:pt x="204" y="44"/>
                  </a:lnTo>
                  <a:lnTo>
                    <a:pt x="204" y="42"/>
                  </a:lnTo>
                  <a:close/>
                  <a:moveTo>
                    <a:pt x="129" y="29"/>
                  </a:moveTo>
                  <a:lnTo>
                    <a:pt x="129" y="31"/>
                  </a:lnTo>
                  <a:lnTo>
                    <a:pt x="129" y="29"/>
                  </a:lnTo>
                  <a:close/>
                  <a:moveTo>
                    <a:pt x="229" y="69"/>
                  </a:moveTo>
                  <a:lnTo>
                    <a:pt x="231" y="69"/>
                  </a:lnTo>
                  <a:lnTo>
                    <a:pt x="229" y="69"/>
                  </a:lnTo>
                  <a:close/>
                  <a:moveTo>
                    <a:pt x="290" y="44"/>
                  </a:moveTo>
                  <a:lnTo>
                    <a:pt x="290" y="46"/>
                  </a:lnTo>
                  <a:lnTo>
                    <a:pt x="290" y="44"/>
                  </a:lnTo>
                  <a:close/>
                  <a:moveTo>
                    <a:pt x="246" y="133"/>
                  </a:moveTo>
                  <a:lnTo>
                    <a:pt x="246" y="134"/>
                  </a:lnTo>
                  <a:lnTo>
                    <a:pt x="246" y="133"/>
                  </a:lnTo>
                  <a:close/>
                  <a:moveTo>
                    <a:pt x="23" y="0"/>
                  </a:moveTo>
                  <a:lnTo>
                    <a:pt x="25" y="0"/>
                  </a:lnTo>
                  <a:lnTo>
                    <a:pt x="23" y="0"/>
                  </a:lnTo>
                  <a:close/>
                  <a:moveTo>
                    <a:pt x="231" y="69"/>
                  </a:moveTo>
                  <a:lnTo>
                    <a:pt x="231" y="71"/>
                  </a:lnTo>
                  <a:lnTo>
                    <a:pt x="231" y="6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5" name="Freeform 424">
              <a:extLst>
                <a:ext uri="{FF2B5EF4-FFF2-40B4-BE49-F238E27FC236}">
                  <a16:creationId xmlns:a16="http://schemas.microsoft.com/office/drawing/2014/main" id="{FE0BDD72-7014-462C-9F17-CA3D66569EF5}"/>
                </a:ext>
              </a:extLst>
            </p:cNvPr>
            <p:cNvSpPr>
              <a:spLocks noEditPoints="1"/>
            </p:cNvSpPr>
            <p:nvPr/>
          </p:nvSpPr>
          <p:spPr bwMode="gray">
            <a:xfrm>
              <a:off x="5802049" y="4118812"/>
              <a:ext cx="7358" cy="9811"/>
            </a:xfrm>
            <a:custGeom>
              <a:avLst/>
              <a:gdLst>
                <a:gd name="T0" fmla="*/ 6 w 6"/>
                <a:gd name="T1" fmla="*/ 2 h 8"/>
                <a:gd name="T2" fmla="*/ 6 w 6"/>
                <a:gd name="T3" fmla="*/ 4 h 8"/>
                <a:gd name="T4" fmla="*/ 4 w 6"/>
                <a:gd name="T5" fmla="*/ 4 h 8"/>
                <a:gd name="T6" fmla="*/ 4 w 6"/>
                <a:gd name="T7" fmla="*/ 6 h 8"/>
                <a:gd name="T8" fmla="*/ 2 w 6"/>
                <a:gd name="T9" fmla="*/ 6 h 8"/>
                <a:gd name="T10" fmla="*/ 2 w 6"/>
                <a:gd name="T11" fmla="*/ 4 h 8"/>
                <a:gd name="T12" fmla="*/ 0 w 6"/>
                <a:gd name="T13" fmla="*/ 4 h 8"/>
                <a:gd name="T14" fmla="*/ 2 w 6"/>
                <a:gd name="T15" fmla="*/ 4 h 8"/>
                <a:gd name="T16" fmla="*/ 4 w 6"/>
                <a:gd name="T17" fmla="*/ 4 h 8"/>
                <a:gd name="T18" fmla="*/ 4 w 6"/>
                <a:gd name="T19" fmla="*/ 2 h 8"/>
                <a:gd name="T20" fmla="*/ 4 w 6"/>
                <a:gd name="T21" fmla="*/ 0 h 8"/>
                <a:gd name="T22" fmla="*/ 6 w 6"/>
                <a:gd name="T23" fmla="*/ 0 h 8"/>
                <a:gd name="T24" fmla="*/ 6 w 6"/>
                <a:gd name="T25" fmla="*/ 2 h 8"/>
                <a:gd name="T26" fmla="*/ 2 w 6"/>
                <a:gd name="T27" fmla="*/ 6 h 8"/>
                <a:gd name="T28" fmla="*/ 2 w 6"/>
                <a:gd name="T29" fmla="*/ 8 h 8"/>
                <a:gd name="T30" fmla="*/ 2 w 6"/>
                <a:gd name="T3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8">
                  <a:moveTo>
                    <a:pt x="6" y="2"/>
                  </a:moveTo>
                  <a:lnTo>
                    <a:pt x="6" y="4"/>
                  </a:lnTo>
                  <a:lnTo>
                    <a:pt x="4" y="4"/>
                  </a:lnTo>
                  <a:lnTo>
                    <a:pt x="4" y="6"/>
                  </a:lnTo>
                  <a:lnTo>
                    <a:pt x="2" y="6"/>
                  </a:lnTo>
                  <a:lnTo>
                    <a:pt x="2" y="4"/>
                  </a:lnTo>
                  <a:lnTo>
                    <a:pt x="0" y="4"/>
                  </a:lnTo>
                  <a:lnTo>
                    <a:pt x="2" y="4"/>
                  </a:lnTo>
                  <a:lnTo>
                    <a:pt x="4" y="4"/>
                  </a:lnTo>
                  <a:lnTo>
                    <a:pt x="4" y="2"/>
                  </a:lnTo>
                  <a:lnTo>
                    <a:pt x="4" y="0"/>
                  </a:lnTo>
                  <a:lnTo>
                    <a:pt x="6" y="0"/>
                  </a:lnTo>
                  <a:lnTo>
                    <a:pt x="6" y="2"/>
                  </a:lnTo>
                  <a:close/>
                  <a:moveTo>
                    <a:pt x="2" y="6"/>
                  </a:moveTo>
                  <a:lnTo>
                    <a:pt x="2" y="8"/>
                  </a:lnTo>
                  <a:lnTo>
                    <a:pt x="2" y="6"/>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6" name="Freeform 425">
              <a:extLst>
                <a:ext uri="{FF2B5EF4-FFF2-40B4-BE49-F238E27FC236}">
                  <a16:creationId xmlns:a16="http://schemas.microsoft.com/office/drawing/2014/main" id="{ECA4A8A2-8A98-4A2C-A45C-458CDB40C488}"/>
                </a:ext>
              </a:extLst>
            </p:cNvPr>
            <p:cNvSpPr>
              <a:spLocks noEditPoints="1"/>
            </p:cNvSpPr>
            <p:nvPr/>
          </p:nvSpPr>
          <p:spPr bwMode="gray">
            <a:xfrm>
              <a:off x="5811860" y="3998627"/>
              <a:ext cx="18396" cy="112827"/>
            </a:xfrm>
            <a:custGeom>
              <a:avLst/>
              <a:gdLst>
                <a:gd name="T0" fmla="*/ 10 w 15"/>
                <a:gd name="T1" fmla="*/ 73 h 92"/>
                <a:gd name="T2" fmla="*/ 11 w 15"/>
                <a:gd name="T3" fmla="*/ 73 h 92"/>
                <a:gd name="T4" fmla="*/ 11 w 15"/>
                <a:gd name="T5" fmla="*/ 77 h 92"/>
                <a:gd name="T6" fmla="*/ 10 w 15"/>
                <a:gd name="T7" fmla="*/ 77 h 92"/>
                <a:gd name="T8" fmla="*/ 10 w 15"/>
                <a:gd name="T9" fmla="*/ 73 h 92"/>
                <a:gd name="T10" fmla="*/ 8 w 15"/>
                <a:gd name="T11" fmla="*/ 77 h 92"/>
                <a:gd name="T12" fmla="*/ 10 w 15"/>
                <a:gd name="T13" fmla="*/ 77 h 92"/>
                <a:gd name="T14" fmla="*/ 10 w 15"/>
                <a:gd name="T15" fmla="*/ 79 h 92"/>
                <a:gd name="T16" fmla="*/ 8 w 15"/>
                <a:gd name="T17" fmla="*/ 79 h 92"/>
                <a:gd name="T18" fmla="*/ 8 w 15"/>
                <a:gd name="T19" fmla="*/ 77 h 92"/>
                <a:gd name="T20" fmla="*/ 0 w 15"/>
                <a:gd name="T21" fmla="*/ 90 h 92"/>
                <a:gd name="T22" fmla="*/ 4 w 15"/>
                <a:gd name="T23" fmla="*/ 90 h 92"/>
                <a:gd name="T24" fmla="*/ 4 w 15"/>
                <a:gd name="T25" fmla="*/ 92 h 92"/>
                <a:gd name="T26" fmla="*/ 0 w 15"/>
                <a:gd name="T27" fmla="*/ 92 h 92"/>
                <a:gd name="T28" fmla="*/ 0 w 15"/>
                <a:gd name="T29" fmla="*/ 90 h 92"/>
                <a:gd name="T30" fmla="*/ 10 w 15"/>
                <a:gd name="T31" fmla="*/ 29 h 92"/>
                <a:gd name="T32" fmla="*/ 11 w 15"/>
                <a:gd name="T33" fmla="*/ 29 h 92"/>
                <a:gd name="T34" fmla="*/ 11 w 15"/>
                <a:gd name="T35" fmla="*/ 31 h 92"/>
                <a:gd name="T36" fmla="*/ 10 w 15"/>
                <a:gd name="T37" fmla="*/ 31 h 92"/>
                <a:gd name="T38" fmla="*/ 10 w 15"/>
                <a:gd name="T39" fmla="*/ 29 h 92"/>
                <a:gd name="T40" fmla="*/ 8 w 15"/>
                <a:gd name="T41" fmla="*/ 19 h 92"/>
                <a:gd name="T42" fmla="*/ 10 w 15"/>
                <a:gd name="T43" fmla="*/ 19 h 92"/>
                <a:gd name="T44" fmla="*/ 10 w 15"/>
                <a:gd name="T45" fmla="*/ 21 h 92"/>
                <a:gd name="T46" fmla="*/ 8 w 15"/>
                <a:gd name="T47" fmla="*/ 21 h 92"/>
                <a:gd name="T48" fmla="*/ 8 w 15"/>
                <a:gd name="T49" fmla="*/ 19 h 92"/>
                <a:gd name="T50" fmla="*/ 8 w 15"/>
                <a:gd name="T51" fmla="*/ 58 h 92"/>
                <a:gd name="T52" fmla="*/ 10 w 15"/>
                <a:gd name="T53" fmla="*/ 58 h 92"/>
                <a:gd name="T54" fmla="*/ 8 w 15"/>
                <a:gd name="T55" fmla="*/ 58 h 92"/>
                <a:gd name="T56" fmla="*/ 4 w 15"/>
                <a:gd name="T57" fmla="*/ 6 h 92"/>
                <a:gd name="T58" fmla="*/ 6 w 15"/>
                <a:gd name="T59" fmla="*/ 6 h 92"/>
                <a:gd name="T60" fmla="*/ 4 w 15"/>
                <a:gd name="T61" fmla="*/ 6 h 92"/>
                <a:gd name="T62" fmla="*/ 6 w 15"/>
                <a:gd name="T63" fmla="*/ 81 h 92"/>
                <a:gd name="T64" fmla="*/ 8 w 15"/>
                <a:gd name="T65" fmla="*/ 81 h 92"/>
                <a:gd name="T66" fmla="*/ 6 w 15"/>
                <a:gd name="T67" fmla="*/ 81 h 92"/>
                <a:gd name="T68" fmla="*/ 13 w 15"/>
                <a:gd name="T69" fmla="*/ 64 h 92"/>
                <a:gd name="T70" fmla="*/ 15 w 15"/>
                <a:gd name="T71" fmla="*/ 64 h 92"/>
                <a:gd name="T72" fmla="*/ 13 w 15"/>
                <a:gd name="T73" fmla="*/ 64 h 92"/>
                <a:gd name="T74" fmla="*/ 2 w 15"/>
                <a:gd name="T75" fmla="*/ 0 h 92"/>
                <a:gd name="T76" fmla="*/ 2 w 15"/>
                <a:gd name="T77" fmla="*/ 2 h 92"/>
                <a:gd name="T78" fmla="*/ 2 w 15"/>
                <a:gd name="T79" fmla="*/ 0 h 92"/>
                <a:gd name="T80" fmla="*/ 2 w 15"/>
                <a:gd name="T81" fmla="*/ 0 h 92"/>
                <a:gd name="T82" fmla="*/ 2 w 15"/>
                <a:gd name="T83" fmla="*/ 2 h 92"/>
                <a:gd name="T84" fmla="*/ 2 w 15"/>
                <a:gd name="T8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 h="92">
                  <a:moveTo>
                    <a:pt x="10" y="73"/>
                  </a:moveTo>
                  <a:lnTo>
                    <a:pt x="11" y="73"/>
                  </a:lnTo>
                  <a:lnTo>
                    <a:pt x="11" y="77"/>
                  </a:lnTo>
                  <a:lnTo>
                    <a:pt x="10" y="77"/>
                  </a:lnTo>
                  <a:lnTo>
                    <a:pt x="10" y="73"/>
                  </a:lnTo>
                  <a:close/>
                  <a:moveTo>
                    <a:pt x="8" y="77"/>
                  </a:moveTo>
                  <a:lnTo>
                    <a:pt x="10" y="77"/>
                  </a:lnTo>
                  <a:lnTo>
                    <a:pt x="10" y="79"/>
                  </a:lnTo>
                  <a:lnTo>
                    <a:pt x="8" y="79"/>
                  </a:lnTo>
                  <a:lnTo>
                    <a:pt x="8" y="77"/>
                  </a:lnTo>
                  <a:close/>
                  <a:moveTo>
                    <a:pt x="0" y="90"/>
                  </a:moveTo>
                  <a:lnTo>
                    <a:pt x="4" y="90"/>
                  </a:lnTo>
                  <a:lnTo>
                    <a:pt x="4" y="92"/>
                  </a:lnTo>
                  <a:lnTo>
                    <a:pt x="0" y="92"/>
                  </a:lnTo>
                  <a:lnTo>
                    <a:pt x="0" y="90"/>
                  </a:lnTo>
                  <a:close/>
                  <a:moveTo>
                    <a:pt x="10" y="29"/>
                  </a:moveTo>
                  <a:lnTo>
                    <a:pt x="11" y="29"/>
                  </a:lnTo>
                  <a:lnTo>
                    <a:pt x="11" y="31"/>
                  </a:lnTo>
                  <a:lnTo>
                    <a:pt x="10" y="31"/>
                  </a:lnTo>
                  <a:lnTo>
                    <a:pt x="10" y="29"/>
                  </a:lnTo>
                  <a:close/>
                  <a:moveTo>
                    <a:pt x="8" y="19"/>
                  </a:moveTo>
                  <a:lnTo>
                    <a:pt x="10" y="19"/>
                  </a:lnTo>
                  <a:lnTo>
                    <a:pt x="10" y="21"/>
                  </a:lnTo>
                  <a:lnTo>
                    <a:pt x="8" y="21"/>
                  </a:lnTo>
                  <a:lnTo>
                    <a:pt x="8" y="19"/>
                  </a:lnTo>
                  <a:close/>
                  <a:moveTo>
                    <a:pt x="8" y="58"/>
                  </a:moveTo>
                  <a:lnTo>
                    <a:pt x="10" y="58"/>
                  </a:lnTo>
                  <a:lnTo>
                    <a:pt x="8" y="58"/>
                  </a:lnTo>
                  <a:close/>
                  <a:moveTo>
                    <a:pt x="4" y="6"/>
                  </a:moveTo>
                  <a:lnTo>
                    <a:pt x="6" y="6"/>
                  </a:lnTo>
                  <a:lnTo>
                    <a:pt x="4" y="6"/>
                  </a:lnTo>
                  <a:close/>
                  <a:moveTo>
                    <a:pt x="6" y="81"/>
                  </a:moveTo>
                  <a:lnTo>
                    <a:pt x="8" y="81"/>
                  </a:lnTo>
                  <a:lnTo>
                    <a:pt x="6" y="81"/>
                  </a:lnTo>
                  <a:close/>
                  <a:moveTo>
                    <a:pt x="13" y="64"/>
                  </a:moveTo>
                  <a:lnTo>
                    <a:pt x="15" y="64"/>
                  </a:lnTo>
                  <a:lnTo>
                    <a:pt x="13" y="64"/>
                  </a:lnTo>
                  <a:close/>
                  <a:moveTo>
                    <a:pt x="2" y="0"/>
                  </a:moveTo>
                  <a:lnTo>
                    <a:pt x="2" y="2"/>
                  </a:lnTo>
                  <a:lnTo>
                    <a:pt x="2" y="0"/>
                  </a:lnTo>
                  <a:close/>
                  <a:moveTo>
                    <a:pt x="2" y="0"/>
                  </a:moveTo>
                  <a:lnTo>
                    <a:pt x="2" y="2"/>
                  </a:lnTo>
                  <a:lnTo>
                    <a:pt x="2"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7" name="Freeform 426">
              <a:extLst>
                <a:ext uri="{FF2B5EF4-FFF2-40B4-BE49-F238E27FC236}">
                  <a16:creationId xmlns:a16="http://schemas.microsoft.com/office/drawing/2014/main" id="{EEE7EAB4-EBFA-4AB8-A75E-EB5C033B64C2}"/>
                </a:ext>
              </a:extLst>
            </p:cNvPr>
            <p:cNvSpPr>
              <a:spLocks noEditPoints="1"/>
            </p:cNvSpPr>
            <p:nvPr/>
          </p:nvSpPr>
          <p:spPr bwMode="gray">
            <a:xfrm>
              <a:off x="6093927" y="4100417"/>
              <a:ext cx="202353" cy="183956"/>
            </a:xfrm>
            <a:custGeom>
              <a:avLst/>
              <a:gdLst>
                <a:gd name="T0" fmla="*/ 154 w 165"/>
                <a:gd name="T1" fmla="*/ 113 h 150"/>
                <a:gd name="T2" fmla="*/ 158 w 165"/>
                <a:gd name="T3" fmla="*/ 113 h 150"/>
                <a:gd name="T4" fmla="*/ 160 w 165"/>
                <a:gd name="T5" fmla="*/ 113 h 150"/>
                <a:gd name="T6" fmla="*/ 165 w 165"/>
                <a:gd name="T7" fmla="*/ 129 h 150"/>
                <a:gd name="T8" fmla="*/ 146 w 165"/>
                <a:gd name="T9" fmla="*/ 65 h 150"/>
                <a:gd name="T10" fmla="*/ 106 w 165"/>
                <a:gd name="T11" fmla="*/ 134 h 150"/>
                <a:gd name="T12" fmla="*/ 165 w 165"/>
                <a:gd name="T13" fmla="*/ 129 h 150"/>
                <a:gd name="T14" fmla="*/ 102 w 165"/>
                <a:gd name="T15" fmla="*/ 90 h 150"/>
                <a:gd name="T16" fmla="*/ 115 w 165"/>
                <a:gd name="T17" fmla="*/ 150 h 150"/>
                <a:gd name="T18" fmla="*/ 117 w 165"/>
                <a:gd name="T19" fmla="*/ 0 h 150"/>
                <a:gd name="T20" fmla="*/ 113 w 165"/>
                <a:gd name="T21" fmla="*/ 109 h 150"/>
                <a:gd name="T22" fmla="*/ 75 w 165"/>
                <a:gd name="T23" fmla="*/ 67 h 150"/>
                <a:gd name="T24" fmla="*/ 21 w 165"/>
                <a:gd name="T25" fmla="*/ 50 h 150"/>
                <a:gd name="T26" fmla="*/ 102 w 165"/>
                <a:gd name="T27" fmla="*/ 86 h 150"/>
                <a:gd name="T28" fmla="*/ 154 w 165"/>
                <a:gd name="T29" fmla="*/ 113 h 150"/>
                <a:gd name="T30" fmla="*/ 123 w 165"/>
                <a:gd name="T31" fmla="*/ 73 h 150"/>
                <a:gd name="T32" fmla="*/ 79 w 165"/>
                <a:gd name="T33" fmla="*/ 86 h 150"/>
                <a:gd name="T34" fmla="*/ 119 w 165"/>
                <a:gd name="T35" fmla="*/ 71 h 150"/>
                <a:gd name="T36" fmla="*/ 127 w 165"/>
                <a:gd name="T37" fmla="*/ 129 h 150"/>
                <a:gd name="T38" fmla="*/ 65 w 165"/>
                <a:gd name="T39" fmla="*/ 48 h 150"/>
                <a:gd name="T40" fmla="*/ 108 w 165"/>
                <a:gd name="T41" fmla="*/ 104 h 150"/>
                <a:gd name="T42" fmla="*/ 131 w 165"/>
                <a:gd name="T43" fmla="*/ 129 h 150"/>
                <a:gd name="T44" fmla="*/ 135 w 165"/>
                <a:gd name="T45" fmla="*/ 63 h 150"/>
                <a:gd name="T46" fmla="*/ 133 w 165"/>
                <a:gd name="T47" fmla="*/ 63 h 150"/>
                <a:gd name="T48" fmla="*/ 123 w 165"/>
                <a:gd name="T49" fmla="*/ 73 h 150"/>
                <a:gd name="T50" fmla="*/ 90 w 165"/>
                <a:gd name="T51" fmla="*/ 50 h 150"/>
                <a:gd name="T52" fmla="*/ 136 w 165"/>
                <a:gd name="T53" fmla="*/ 79 h 150"/>
                <a:gd name="T54" fmla="*/ 110 w 165"/>
                <a:gd name="T55" fmla="*/ 102 h 150"/>
                <a:gd name="T56" fmla="*/ 94 w 165"/>
                <a:gd name="T57" fmla="*/ 82 h 150"/>
                <a:gd name="T58" fmla="*/ 81 w 165"/>
                <a:gd name="T59" fmla="*/ 54 h 150"/>
                <a:gd name="T60" fmla="*/ 65 w 165"/>
                <a:gd name="T61" fmla="*/ 44 h 150"/>
                <a:gd name="T62" fmla="*/ 135 w 165"/>
                <a:gd name="T63" fmla="*/ 77 h 150"/>
                <a:gd name="T64" fmla="*/ 69 w 165"/>
                <a:gd name="T65" fmla="*/ 46 h 150"/>
                <a:gd name="T66" fmla="*/ 127 w 165"/>
                <a:gd name="T67" fmla="*/ 130 h 150"/>
                <a:gd name="T68" fmla="*/ 123 w 165"/>
                <a:gd name="T69" fmla="*/ 73 h 150"/>
                <a:gd name="T70" fmla="*/ 133 w 165"/>
                <a:gd name="T71" fmla="*/ 65 h 150"/>
                <a:gd name="T72" fmla="*/ 133 w 165"/>
                <a:gd name="T73" fmla="*/ 80 h 150"/>
                <a:gd name="T74" fmla="*/ 136 w 165"/>
                <a:gd name="T75" fmla="*/ 79 h 150"/>
                <a:gd name="T76" fmla="*/ 148 w 165"/>
                <a:gd name="T77" fmla="*/ 86 h 150"/>
                <a:gd name="T78" fmla="*/ 123 w 165"/>
                <a:gd name="T79" fmla="*/ 73 h 150"/>
                <a:gd name="T80" fmla="*/ 138 w 165"/>
                <a:gd name="T81" fmla="*/ 79 h 150"/>
                <a:gd name="T82" fmla="*/ 127 w 165"/>
                <a:gd name="T83" fmla="*/ 132 h 150"/>
                <a:gd name="T84" fmla="*/ 158 w 165"/>
                <a:gd name="T85" fmla="*/ 113 h 150"/>
                <a:gd name="T86" fmla="*/ 161 w 165"/>
                <a:gd name="T87" fmla="*/ 127 h 150"/>
                <a:gd name="T88" fmla="*/ 158 w 165"/>
                <a:gd name="T89" fmla="*/ 111 h 150"/>
                <a:gd name="T90" fmla="*/ 108 w 165"/>
                <a:gd name="T91" fmla="*/ 102 h 150"/>
                <a:gd name="T92" fmla="*/ 135 w 165"/>
                <a:gd name="T93" fmla="*/ 82 h 150"/>
                <a:gd name="T94" fmla="*/ 150 w 165"/>
                <a:gd name="T95" fmla="*/ 88 h 150"/>
                <a:gd name="T96" fmla="*/ 160 w 165"/>
                <a:gd name="T97" fmla="*/ 127 h 150"/>
                <a:gd name="T98" fmla="*/ 133 w 165"/>
                <a:gd name="T99" fmla="*/ 52 h 150"/>
                <a:gd name="T100" fmla="*/ 100 w 165"/>
                <a:gd name="T101" fmla="*/ 84 h 150"/>
                <a:gd name="T102" fmla="*/ 165 w 165"/>
                <a:gd name="T103" fmla="*/ 127 h 150"/>
                <a:gd name="T104" fmla="*/ 71 w 165"/>
                <a:gd name="T105" fmla="*/ 82 h 150"/>
                <a:gd name="T106" fmla="*/ 75 w 165"/>
                <a:gd name="T107" fmla="*/ 69 h 150"/>
                <a:gd name="T108" fmla="*/ 64 w 165"/>
                <a:gd name="T109" fmla="*/ 46 h 150"/>
                <a:gd name="T110" fmla="*/ 160 w 165"/>
                <a:gd name="T111" fmla="*/ 113 h 150"/>
                <a:gd name="T112" fmla="*/ 135 w 165"/>
                <a:gd name="T113" fmla="*/ 7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5" h="150">
                  <a:moveTo>
                    <a:pt x="154" y="113"/>
                  </a:moveTo>
                  <a:lnTo>
                    <a:pt x="152" y="113"/>
                  </a:lnTo>
                  <a:lnTo>
                    <a:pt x="150" y="113"/>
                  </a:lnTo>
                  <a:lnTo>
                    <a:pt x="152" y="113"/>
                  </a:lnTo>
                  <a:lnTo>
                    <a:pt x="154" y="113"/>
                  </a:lnTo>
                  <a:close/>
                  <a:moveTo>
                    <a:pt x="158" y="113"/>
                  </a:moveTo>
                  <a:lnTo>
                    <a:pt x="160" y="113"/>
                  </a:lnTo>
                  <a:lnTo>
                    <a:pt x="160" y="115"/>
                  </a:lnTo>
                  <a:lnTo>
                    <a:pt x="158" y="115"/>
                  </a:lnTo>
                  <a:lnTo>
                    <a:pt x="158" y="113"/>
                  </a:lnTo>
                  <a:close/>
                  <a:moveTo>
                    <a:pt x="160" y="113"/>
                  </a:moveTo>
                  <a:lnTo>
                    <a:pt x="163" y="113"/>
                  </a:lnTo>
                  <a:lnTo>
                    <a:pt x="163" y="115"/>
                  </a:lnTo>
                  <a:lnTo>
                    <a:pt x="160" y="115"/>
                  </a:lnTo>
                  <a:lnTo>
                    <a:pt x="160" y="113"/>
                  </a:lnTo>
                  <a:close/>
                  <a:moveTo>
                    <a:pt x="129" y="130"/>
                  </a:moveTo>
                  <a:lnTo>
                    <a:pt x="129" y="132"/>
                  </a:lnTo>
                  <a:lnTo>
                    <a:pt x="129" y="130"/>
                  </a:lnTo>
                  <a:close/>
                  <a:moveTo>
                    <a:pt x="163" y="129"/>
                  </a:moveTo>
                  <a:lnTo>
                    <a:pt x="165" y="129"/>
                  </a:lnTo>
                  <a:lnTo>
                    <a:pt x="163" y="129"/>
                  </a:lnTo>
                  <a:close/>
                  <a:moveTo>
                    <a:pt x="115" y="111"/>
                  </a:moveTo>
                  <a:lnTo>
                    <a:pt x="117" y="111"/>
                  </a:lnTo>
                  <a:lnTo>
                    <a:pt x="115" y="111"/>
                  </a:lnTo>
                  <a:close/>
                  <a:moveTo>
                    <a:pt x="146" y="65"/>
                  </a:moveTo>
                  <a:lnTo>
                    <a:pt x="148" y="65"/>
                  </a:lnTo>
                  <a:lnTo>
                    <a:pt x="148" y="67"/>
                  </a:lnTo>
                  <a:lnTo>
                    <a:pt x="146" y="67"/>
                  </a:lnTo>
                  <a:lnTo>
                    <a:pt x="146" y="65"/>
                  </a:lnTo>
                  <a:close/>
                  <a:moveTo>
                    <a:pt x="106" y="134"/>
                  </a:moveTo>
                  <a:lnTo>
                    <a:pt x="108" y="134"/>
                  </a:lnTo>
                  <a:lnTo>
                    <a:pt x="108" y="136"/>
                  </a:lnTo>
                  <a:lnTo>
                    <a:pt x="106" y="136"/>
                  </a:lnTo>
                  <a:lnTo>
                    <a:pt x="106" y="134"/>
                  </a:lnTo>
                  <a:close/>
                  <a:moveTo>
                    <a:pt x="165" y="129"/>
                  </a:moveTo>
                  <a:lnTo>
                    <a:pt x="165" y="130"/>
                  </a:lnTo>
                  <a:lnTo>
                    <a:pt x="165" y="129"/>
                  </a:lnTo>
                  <a:close/>
                  <a:moveTo>
                    <a:pt x="100" y="88"/>
                  </a:moveTo>
                  <a:lnTo>
                    <a:pt x="102" y="88"/>
                  </a:lnTo>
                  <a:lnTo>
                    <a:pt x="102" y="90"/>
                  </a:lnTo>
                  <a:lnTo>
                    <a:pt x="100" y="90"/>
                  </a:lnTo>
                  <a:lnTo>
                    <a:pt x="100" y="88"/>
                  </a:lnTo>
                  <a:close/>
                  <a:moveTo>
                    <a:pt x="115" y="150"/>
                  </a:moveTo>
                  <a:lnTo>
                    <a:pt x="117" y="150"/>
                  </a:lnTo>
                  <a:lnTo>
                    <a:pt x="115" y="150"/>
                  </a:lnTo>
                  <a:close/>
                  <a:moveTo>
                    <a:pt x="117" y="0"/>
                  </a:moveTo>
                  <a:lnTo>
                    <a:pt x="119" y="0"/>
                  </a:lnTo>
                  <a:lnTo>
                    <a:pt x="119" y="2"/>
                  </a:lnTo>
                  <a:lnTo>
                    <a:pt x="117" y="2"/>
                  </a:lnTo>
                  <a:lnTo>
                    <a:pt x="117" y="0"/>
                  </a:lnTo>
                  <a:close/>
                  <a:moveTo>
                    <a:pt x="119" y="105"/>
                  </a:moveTo>
                  <a:lnTo>
                    <a:pt x="119" y="107"/>
                  </a:lnTo>
                  <a:lnTo>
                    <a:pt x="119" y="105"/>
                  </a:lnTo>
                  <a:close/>
                  <a:moveTo>
                    <a:pt x="113" y="107"/>
                  </a:moveTo>
                  <a:lnTo>
                    <a:pt x="113" y="109"/>
                  </a:lnTo>
                  <a:lnTo>
                    <a:pt x="113" y="107"/>
                  </a:lnTo>
                  <a:close/>
                  <a:moveTo>
                    <a:pt x="158" y="111"/>
                  </a:moveTo>
                  <a:lnTo>
                    <a:pt x="160" y="111"/>
                  </a:lnTo>
                  <a:lnTo>
                    <a:pt x="158" y="111"/>
                  </a:lnTo>
                  <a:close/>
                  <a:moveTo>
                    <a:pt x="75" y="67"/>
                  </a:moveTo>
                  <a:lnTo>
                    <a:pt x="77" y="67"/>
                  </a:lnTo>
                  <a:lnTo>
                    <a:pt x="77" y="69"/>
                  </a:lnTo>
                  <a:lnTo>
                    <a:pt x="75" y="69"/>
                  </a:lnTo>
                  <a:lnTo>
                    <a:pt x="75" y="67"/>
                  </a:lnTo>
                  <a:close/>
                  <a:moveTo>
                    <a:pt x="21" y="50"/>
                  </a:moveTo>
                  <a:lnTo>
                    <a:pt x="23" y="50"/>
                  </a:lnTo>
                  <a:lnTo>
                    <a:pt x="21" y="50"/>
                  </a:lnTo>
                  <a:close/>
                  <a:moveTo>
                    <a:pt x="102" y="86"/>
                  </a:moveTo>
                  <a:lnTo>
                    <a:pt x="102" y="88"/>
                  </a:lnTo>
                  <a:lnTo>
                    <a:pt x="102" y="86"/>
                  </a:lnTo>
                  <a:close/>
                  <a:moveTo>
                    <a:pt x="96" y="84"/>
                  </a:moveTo>
                  <a:lnTo>
                    <a:pt x="98" y="84"/>
                  </a:lnTo>
                  <a:lnTo>
                    <a:pt x="96" y="84"/>
                  </a:lnTo>
                  <a:close/>
                  <a:moveTo>
                    <a:pt x="152" y="113"/>
                  </a:moveTo>
                  <a:lnTo>
                    <a:pt x="154" y="113"/>
                  </a:lnTo>
                  <a:lnTo>
                    <a:pt x="152" y="113"/>
                  </a:lnTo>
                  <a:close/>
                  <a:moveTo>
                    <a:pt x="2" y="73"/>
                  </a:moveTo>
                  <a:lnTo>
                    <a:pt x="2" y="75"/>
                  </a:lnTo>
                  <a:lnTo>
                    <a:pt x="2" y="73"/>
                  </a:lnTo>
                  <a:close/>
                  <a:moveTo>
                    <a:pt x="123" y="73"/>
                  </a:moveTo>
                  <a:lnTo>
                    <a:pt x="125" y="73"/>
                  </a:lnTo>
                  <a:lnTo>
                    <a:pt x="123" y="73"/>
                  </a:lnTo>
                  <a:close/>
                  <a:moveTo>
                    <a:pt x="79" y="86"/>
                  </a:moveTo>
                  <a:lnTo>
                    <a:pt x="81" y="86"/>
                  </a:lnTo>
                  <a:lnTo>
                    <a:pt x="79" y="86"/>
                  </a:lnTo>
                  <a:close/>
                  <a:moveTo>
                    <a:pt x="129" y="130"/>
                  </a:moveTo>
                  <a:lnTo>
                    <a:pt x="131" y="130"/>
                  </a:lnTo>
                  <a:lnTo>
                    <a:pt x="129" y="130"/>
                  </a:lnTo>
                  <a:close/>
                  <a:moveTo>
                    <a:pt x="119" y="69"/>
                  </a:moveTo>
                  <a:lnTo>
                    <a:pt x="119" y="71"/>
                  </a:lnTo>
                  <a:lnTo>
                    <a:pt x="119" y="69"/>
                  </a:lnTo>
                  <a:close/>
                  <a:moveTo>
                    <a:pt x="127" y="127"/>
                  </a:moveTo>
                  <a:lnTo>
                    <a:pt x="129" y="127"/>
                  </a:lnTo>
                  <a:lnTo>
                    <a:pt x="129" y="129"/>
                  </a:lnTo>
                  <a:lnTo>
                    <a:pt x="127" y="129"/>
                  </a:lnTo>
                  <a:lnTo>
                    <a:pt x="127" y="127"/>
                  </a:lnTo>
                  <a:close/>
                  <a:moveTo>
                    <a:pt x="131" y="129"/>
                  </a:moveTo>
                  <a:lnTo>
                    <a:pt x="131" y="130"/>
                  </a:lnTo>
                  <a:lnTo>
                    <a:pt x="131" y="129"/>
                  </a:lnTo>
                  <a:close/>
                  <a:moveTo>
                    <a:pt x="65" y="48"/>
                  </a:moveTo>
                  <a:lnTo>
                    <a:pt x="67" y="48"/>
                  </a:lnTo>
                  <a:lnTo>
                    <a:pt x="65" y="48"/>
                  </a:lnTo>
                  <a:close/>
                  <a:moveTo>
                    <a:pt x="108" y="104"/>
                  </a:moveTo>
                  <a:lnTo>
                    <a:pt x="110" y="104"/>
                  </a:lnTo>
                  <a:lnTo>
                    <a:pt x="108" y="104"/>
                  </a:lnTo>
                  <a:close/>
                  <a:moveTo>
                    <a:pt x="104" y="98"/>
                  </a:moveTo>
                  <a:lnTo>
                    <a:pt x="106" y="98"/>
                  </a:lnTo>
                  <a:lnTo>
                    <a:pt x="104" y="98"/>
                  </a:lnTo>
                  <a:close/>
                  <a:moveTo>
                    <a:pt x="129" y="129"/>
                  </a:moveTo>
                  <a:lnTo>
                    <a:pt x="131" y="129"/>
                  </a:lnTo>
                  <a:lnTo>
                    <a:pt x="129" y="129"/>
                  </a:lnTo>
                  <a:close/>
                  <a:moveTo>
                    <a:pt x="125" y="130"/>
                  </a:moveTo>
                  <a:lnTo>
                    <a:pt x="127" y="130"/>
                  </a:lnTo>
                  <a:lnTo>
                    <a:pt x="125" y="130"/>
                  </a:lnTo>
                  <a:close/>
                  <a:moveTo>
                    <a:pt x="135" y="63"/>
                  </a:moveTo>
                  <a:lnTo>
                    <a:pt x="135" y="65"/>
                  </a:lnTo>
                  <a:lnTo>
                    <a:pt x="135" y="63"/>
                  </a:lnTo>
                  <a:close/>
                  <a:moveTo>
                    <a:pt x="133" y="63"/>
                  </a:moveTo>
                  <a:lnTo>
                    <a:pt x="135" y="63"/>
                  </a:lnTo>
                  <a:lnTo>
                    <a:pt x="133" y="63"/>
                  </a:lnTo>
                  <a:close/>
                  <a:moveTo>
                    <a:pt x="113" y="109"/>
                  </a:moveTo>
                  <a:lnTo>
                    <a:pt x="115" y="109"/>
                  </a:lnTo>
                  <a:lnTo>
                    <a:pt x="113" y="109"/>
                  </a:lnTo>
                  <a:close/>
                  <a:moveTo>
                    <a:pt x="121" y="73"/>
                  </a:moveTo>
                  <a:lnTo>
                    <a:pt x="123" y="73"/>
                  </a:lnTo>
                  <a:lnTo>
                    <a:pt x="121" y="73"/>
                  </a:lnTo>
                  <a:close/>
                  <a:moveTo>
                    <a:pt x="90" y="48"/>
                  </a:moveTo>
                  <a:lnTo>
                    <a:pt x="92" y="48"/>
                  </a:lnTo>
                  <a:lnTo>
                    <a:pt x="92" y="50"/>
                  </a:lnTo>
                  <a:lnTo>
                    <a:pt x="90" y="50"/>
                  </a:lnTo>
                  <a:lnTo>
                    <a:pt x="90" y="48"/>
                  </a:lnTo>
                  <a:close/>
                  <a:moveTo>
                    <a:pt x="0" y="73"/>
                  </a:moveTo>
                  <a:lnTo>
                    <a:pt x="2" y="73"/>
                  </a:lnTo>
                  <a:lnTo>
                    <a:pt x="0" y="73"/>
                  </a:lnTo>
                  <a:close/>
                  <a:moveTo>
                    <a:pt x="136" y="79"/>
                  </a:moveTo>
                  <a:lnTo>
                    <a:pt x="138" y="79"/>
                  </a:lnTo>
                  <a:lnTo>
                    <a:pt x="136" y="79"/>
                  </a:lnTo>
                  <a:close/>
                  <a:moveTo>
                    <a:pt x="110" y="102"/>
                  </a:moveTo>
                  <a:lnTo>
                    <a:pt x="110" y="104"/>
                  </a:lnTo>
                  <a:lnTo>
                    <a:pt x="110" y="102"/>
                  </a:lnTo>
                  <a:close/>
                  <a:moveTo>
                    <a:pt x="136" y="79"/>
                  </a:moveTo>
                  <a:lnTo>
                    <a:pt x="136" y="80"/>
                  </a:lnTo>
                  <a:lnTo>
                    <a:pt x="136" y="79"/>
                  </a:lnTo>
                  <a:close/>
                  <a:moveTo>
                    <a:pt x="92" y="82"/>
                  </a:moveTo>
                  <a:lnTo>
                    <a:pt x="94" y="82"/>
                  </a:lnTo>
                  <a:lnTo>
                    <a:pt x="92" y="82"/>
                  </a:lnTo>
                  <a:close/>
                  <a:moveTo>
                    <a:pt x="150" y="86"/>
                  </a:moveTo>
                  <a:lnTo>
                    <a:pt x="150" y="88"/>
                  </a:lnTo>
                  <a:lnTo>
                    <a:pt x="150" y="86"/>
                  </a:lnTo>
                  <a:close/>
                  <a:moveTo>
                    <a:pt x="81" y="54"/>
                  </a:moveTo>
                  <a:lnTo>
                    <a:pt x="83" y="54"/>
                  </a:lnTo>
                  <a:lnTo>
                    <a:pt x="81" y="54"/>
                  </a:lnTo>
                  <a:close/>
                  <a:moveTo>
                    <a:pt x="65" y="44"/>
                  </a:moveTo>
                  <a:lnTo>
                    <a:pt x="65" y="46"/>
                  </a:lnTo>
                  <a:lnTo>
                    <a:pt x="65" y="44"/>
                  </a:lnTo>
                  <a:close/>
                  <a:moveTo>
                    <a:pt x="115" y="109"/>
                  </a:moveTo>
                  <a:lnTo>
                    <a:pt x="115" y="111"/>
                  </a:lnTo>
                  <a:lnTo>
                    <a:pt x="115" y="109"/>
                  </a:lnTo>
                  <a:close/>
                  <a:moveTo>
                    <a:pt x="133" y="77"/>
                  </a:moveTo>
                  <a:lnTo>
                    <a:pt x="135" y="77"/>
                  </a:lnTo>
                  <a:lnTo>
                    <a:pt x="133" y="77"/>
                  </a:lnTo>
                  <a:close/>
                  <a:moveTo>
                    <a:pt x="90" y="80"/>
                  </a:moveTo>
                  <a:lnTo>
                    <a:pt x="92" y="80"/>
                  </a:lnTo>
                  <a:lnTo>
                    <a:pt x="90" y="80"/>
                  </a:lnTo>
                  <a:close/>
                  <a:moveTo>
                    <a:pt x="69" y="46"/>
                  </a:moveTo>
                  <a:lnTo>
                    <a:pt x="69" y="48"/>
                  </a:lnTo>
                  <a:lnTo>
                    <a:pt x="69" y="46"/>
                  </a:lnTo>
                  <a:close/>
                  <a:moveTo>
                    <a:pt x="127" y="130"/>
                  </a:moveTo>
                  <a:lnTo>
                    <a:pt x="127" y="132"/>
                  </a:lnTo>
                  <a:lnTo>
                    <a:pt x="127" y="130"/>
                  </a:lnTo>
                  <a:close/>
                  <a:moveTo>
                    <a:pt x="127" y="125"/>
                  </a:moveTo>
                  <a:lnTo>
                    <a:pt x="127" y="127"/>
                  </a:lnTo>
                  <a:lnTo>
                    <a:pt x="127" y="125"/>
                  </a:lnTo>
                  <a:close/>
                  <a:moveTo>
                    <a:pt x="123" y="71"/>
                  </a:moveTo>
                  <a:lnTo>
                    <a:pt x="123" y="73"/>
                  </a:lnTo>
                  <a:lnTo>
                    <a:pt x="123" y="71"/>
                  </a:lnTo>
                  <a:close/>
                  <a:moveTo>
                    <a:pt x="125" y="125"/>
                  </a:moveTo>
                  <a:lnTo>
                    <a:pt x="125" y="127"/>
                  </a:lnTo>
                  <a:lnTo>
                    <a:pt x="125" y="125"/>
                  </a:lnTo>
                  <a:close/>
                  <a:moveTo>
                    <a:pt x="133" y="65"/>
                  </a:moveTo>
                  <a:lnTo>
                    <a:pt x="133" y="67"/>
                  </a:lnTo>
                  <a:lnTo>
                    <a:pt x="133" y="65"/>
                  </a:lnTo>
                  <a:close/>
                  <a:moveTo>
                    <a:pt x="133" y="80"/>
                  </a:moveTo>
                  <a:lnTo>
                    <a:pt x="135" y="80"/>
                  </a:lnTo>
                  <a:lnTo>
                    <a:pt x="133" y="80"/>
                  </a:lnTo>
                  <a:close/>
                  <a:moveTo>
                    <a:pt x="152" y="96"/>
                  </a:moveTo>
                  <a:lnTo>
                    <a:pt x="152" y="98"/>
                  </a:lnTo>
                  <a:lnTo>
                    <a:pt x="152" y="96"/>
                  </a:lnTo>
                  <a:close/>
                  <a:moveTo>
                    <a:pt x="136" y="77"/>
                  </a:moveTo>
                  <a:lnTo>
                    <a:pt x="136" y="79"/>
                  </a:lnTo>
                  <a:lnTo>
                    <a:pt x="136" y="77"/>
                  </a:lnTo>
                  <a:close/>
                  <a:moveTo>
                    <a:pt x="136" y="79"/>
                  </a:moveTo>
                  <a:lnTo>
                    <a:pt x="138" y="79"/>
                  </a:lnTo>
                  <a:lnTo>
                    <a:pt x="136" y="79"/>
                  </a:lnTo>
                  <a:close/>
                  <a:moveTo>
                    <a:pt x="148" y="86"/>
                  </a:moveTo>
                  <a:lnTo>
                    <a:pt x="150" y="86"/>
                  </a:lnTo>
                  <a:lnTo>
                    <a:pt x="148" y="86"/>
                  </a:lnTo>
                  <a:close/>
                  <a:moveTo>
                    <a:pt x="123" y="73"/>
                  </a:moveTo>
                  <a:lnTo>
                    <a:pt x="125" y="73"/>
                  </a:lnTo>
                  <a:lnTo>
                    <a:pt x="123" y="73"/>
                  </a:lnTo>
                  <a:close/>
                  <a:moveTo>
                    <a:pt x="119" y="69"/>
                  </a:moveTo>
                  <a:lnTo>
                    <a:pt x="121" y="69"/>
                  </a:lnTo>
                  <a:lnTo>
                    <a:pt x="119" y="69"/>
                  </a:lnTo>
                  <a:close/>
                  <a:moveTo>
                    <a:pt x="136" y="79"/>
                  </a:moveTo>
                  <a:lnTo>
                    <a:pt x="138" y="79"/>
                  </a:lnTo>
                  <a:lnTo>
                    <a:pt x="136" y="79"/>
                  </a:lnTo>
                  <a:close/>
                  <a:moveTo>
                    <a:pt x="135" y="80"/>
                  </a:moveTo>
                  <a:lnTo>
                    <a:pt x="135" y="82"/>
                  </a:lnTo>
                  <a:lnTo>
                    <a:pt x="135" y="80"/>
                  </a:lnTo>
                  <a:close/>
                  <a:moveTo>
                    <a:pt x="127" y="132"/>
                  </a:moveTo>
                  <a:lnTo>
                    <a:pt x="129" y="132"/>
                  </a:lnTo>
                  <a:lnTo>
                    <a:pt x="127" y="132"/>
                  </a:lnTo>
                  <a:close/>
                  <a:moveTo>
                    <a:pt x="158" y="113"/>
                  </a:moveTo>
                  <a:lnTo>
                    <a:pt x="160" y="113"/>
                  </a:lnTo>
                  <a:lnTo>
                    <a:pt x="158" y="113"/>
                  </a:lnTo>
                  <a:close/>
                  <a:moveTo>
                    <a:pt x="148" y="90"/>
                  </a:moveTo>
                  <a:lnTo>
                    <a:pt x="150" y="90"/>
                  </a:lnTo>
                  <a:lnTo>
                    <a:pt x="148" y="90"/>
                  </a:lnTo>
                  <a:close/>
                  <a:moveTo>
                    <a:pt x="160" y="127"/>
                  </a:moveTo>
                  <a:lnTo>
                    <a:pt x="161" y="127"/>
                  </a:lnTo>
                  <a:lnTo>
                    <a:pt x="160" y="127"/>
                  </a:lnTo>
                  <a:close/>
                  <a:moveTo>
                    <a:pt x="127" y="129"/>
                  </a:moveTo>
                  <a:lnTo>
                    <a:pt x="127" y="130"/>
                  </a:lnTo>
                  <a:lnTo>
                    <a:pt x="127" y="129"/>
                  </a:lnTo>
                  <a:close/>
                  <a:moveTo>
                    <a:pt x="158" y="111"/>
                  </a:moveTo>
                  <a:lnTo>
                    <a:pt x="160" y="111"/>
                  </a:lnTo>
                  <a:lnTo>
                    <a:pt x="158" y="111"/>
                  </a:lnTo>
                  <a:close/>
                  <a:moveTo>
                    <a:pt x="108" y="102"/>
                  </a:moveTo>
                  <a:lnTo>
                    <a:pt x="110" y="102"/>
                  </a:lnTo>
                  <a:lnTo>
                    <a:pt x="108" y="102"/>
                  </a:lnTo>
                  <a:close/>
                  <a:moveTo>
                    <a:pt x="121" y="69"/>
                  </a:moveTo>
                  <a:lnTo>
                    <a:pt x="121" y="71"/>
                  </a:lnTo>
                  <a:lnTo>
                    <a:pt x="121" y="69"/>
                  </a:lnTo>
                  <a:close/>
                  <a:moveTo>
                    <a:pt x="133" y="82"/>
                  </a:moveTo>
                  <a:lnTo>
                    <a:pt x="135" y="82"/>
                  </a:lnTo>
                  <a:lnTo>
                    <a:pt x="133" y="82"/>
                  </a:lnTo>
                  <a:close/>
                  <a:moveTo>
                    <a:pt x="163" y="127"/>
                  </a:moveTo>
                  <a:lnTo>
                    <a:pt x="165" y="127"/>
                  </a:lnTo>
                  <a:lnTo>
                    <a:pt x="163" y="127"/>
                  </a:lnTo>
                  <a:close/>
                  <a:moveTo>
                    <a:pt x="150" y="88"/>
                  </a:moveTo>
                  <a:lnTo>
                    <a:pt x="152" y="88"/>
                  </a:lnTo>
                  <a:lnTo>
                    <a:pt x="150" y="88"/>
                  </a:lnTo>
                  <a:close/>
                  <a:moveTo>
                    <a:pt x="160" y="127"/>
                  </a:moveTo>
                  <a:lnTo>
                    <a:pt x="160" y="129"/>
                  </a:lnTo>
                  <a:lnTo>
                    <a:pt x="160" y="127"/>
                  </a:lnTo>
                  <a:close/>
                  <a:moveTo>
                    <a:pt x="135" y="65"/>
                  </a:moveTo>
                  <a:lnTo>
                    <a:pt x="135" y="67"/>
                  </a:lnTo>
                  <a:lnTo>
                    <a:pt x="135" y="65"/>
                  </a:lnTo>
                  <a:close/>
                  <a:moveTo>
                    <a:pt x="131" y="52"/>
                  </a:moveTo>
                  <a:lnTo>
                    <a:pt x="133" y="52"/>
                  </a:lnTo>
                  <a:lnTo>
                    <a:pt x="131" y="52"/>
                  </a:lnTo>
                  <a:close/>
                  <a:moveTo>
                    <a:pt x="89" y="52"/>
                  </a:moveTo>
                  <a:lnTo>
                    <a:pt x="89" y="54"/>
                  </a:lnTo>
                  <a:lnTo>
                    <a:pt x="89" y="52"/>
                  </a:lnTo>
                  <a:close/>
                  <a:moveTo>
                    <a:pt x="100" y="84"/>
                  </a:moveTo>
                  <a:lnTo>
                    <a:pt x="102" y="84"/>
                  </a:lnTo>
                  <a:lnTo>
                    <a:pt x="100" y="84"/>
                  </a:lnTo>
                  <a:close/>
                  <a:moveTo>
                    <a:pt x="165" y="127"/>
                  </a:moveTo>
                  <a:lnTo>
                    <a:pt x="165" y="129"/>
                  </a:lnTo>
                  <a:lnTo>
                    <a:pt x="165" y="127"/>
                  </a:lnTo>
                  <a:close/>
                  <a:moveTo>
                    <a:pt x="96" y="50"/>
                  </a:moveTo>
                  <a:lnTo>
                    <a:pt x="98" y="50"/>
                  </a:lnTo>
                  <a:lnTo>
                    <a:pt x="96" y="50"/>
                  </a:lnTo>
                  <a:close/>
                  <a:moveTo>
                    <a:pt x="69" y="82"/>
                  </a:moveTo>
                  <a:lnTo>
                    <a:pt x="71" y="82"/>
                  </a:lnTo>
                  <a:lnTo>
                    <a:pt x="69" y="82"/>
                  </a:lnTo>
                  <a:close/>
                  <a:moveTo>
                    <a:pt x="146" y="88"/>
                  </a:moveTo>
                  <a:lnTo>
                    <a:pt x="148" y="88"/>
                  </a:lnTo>
                  <a:lnTo>
                    <a:pt x="146" y="88"/>
                  </a:lnTo>
                  <a:close/>
                  <a:moveTo>
                    <a:pt x="75" y="69"/>
                  </a:moveTo>
                  <a:lnTo>
                    <a:pt x="77" y="69"/>
                  </a:lnTo>
                  <a:lnTo>
                    <a:pt x="75" y="69"/>
                  </a:lnTo>
                  <a:close/>
                  <a:moveTo>
                    <a:pt x="64" y="46"/>
                  </a:moveTo>
                  <a:lnTo>
                    <a:pt x="64" y="48"/>
                  </a:lnTo>
                  <a:lnTo>
                    <a:pt x="64" y="46"/>
                  </a:lnTo>
                  <a:close/>
                  <a:moveTo>
                    <a:pt x="161" y="129"/>
                  </a:moveTo>
                  <a:lnTo>
                    <a:pt x="163" y="129"/>
                  </a:lnTo>
                  <a:lnTo>
                    <a:pt x="161" y="129"/>
                  </a:lnTo>
                  <a:close/>
                  <a:moveTo>
                    <a:pt x="158" y="113"/>
                  </a:moveTo>
                  <a:lnTo>
                    <a:pt x="160" y="113"/>
                  </a:lnTo>
                  <a:lnTo>
                    <a:pt x="158" y="113"/>
                  </a:lnTo>
                  <a:close/>
                  <a:moveTo>
                    <a:pt x="121" y="71"/>
                  </a:moveTo>
                  <a:lnTo>
                    <a:pt x="123" y="71"/>
                  </a:lnTo>
                  <a:lnTo>
                    <a:pt x="121" y="71"/>
                  </a:lnTo>
                  <a:close/>
                  <a:moveTo>
                    <a:pt x="135" y="79"/>
                  </a:moveTo>
                  <a:lnTo>
                    <a:pt x="136" y="79"/>
                  </a:lnTo>
                  <a:lnTo>
                    <a:pt x="135" y="7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8" name="Freeform 427">
              <a:extLst>
                <a:ext uri="{FF2B5EF4-FFF2-40B4-BE49-F238E27FC236}">
                  <a16:creationId xmlns:a16="http://schemas.microsoft.com/office/drawing/2014/main" id="{FFB0EF3F-A319-40F3-9DBC-BF7C2DB79015}"/>
                </a:ext>
              </a:extLst>
            </p:cNvPr>
            <p:cNvSpPr>
              <a:spLocks noEditPoints="1"/>
            </p:cNvSpPr>
            <p:nvPr/>
          </p:nvSpPr>
          <p:spPr bwMode="gray">
            <a:xfrm>
              <a:off x="6367409" y="4469556"/>
              <a:ext cx="56413" cy="52735"/>
            </a:xfrm>
            <a:custGeom>
              <a:avLst/>
              <a:gdLst>
                <a:gd name="T0" fmla="*/ 38 w 46"/>
                <a:gd name="T1" fmla="*/ 25 h 43"/>
                <a:gd name="T2" fmla="*/ 38 w 46"/>
                <a:gd name="T3" fmla="*/ 27 h 43"/>
                <a:gd name="T4" fmla="*/ 38 w 46"/>
                <a:gd name="T5" fmla="*/ 25 h 43"/>
                <a:gd name="T6" fmla="*/ 15 w 46"/>
                <a:gd name="T7" fmla="*/ 22 h 43"/>
                <a:gd name="T8" fmla="*/ 17 w 46"/>
                <a:gd name="T9" fmla="*/ 22 h 43"/>
                <a:gd name="T10" fmla="*/ 17 w 46"/>
                <a:gd name="T11" fmla="*/ 23 h 43"/>
                <a:gd name="T12" fmla="*/ 15 w 46"/>
                <a:gd name="T13" fmla="*/ 23 h 43"/>
                <a:gd name="T14" fmla="*/ 15 w 46"/>
                <a:gd name="T15" fmla="*/ 22 h 43"/>
                <a:gd name="T16" fmla="*/ 34 w 46"/>
                <a:gd name="T17" fmla="*/ 33 h 43"/>
                <a:gd name="T18" fmla="*/ 34 w 46"/>
                <a:gd name="T19" fmla="*/ 35 h 43"/>
                <a:gd name="T20" fmla="*/ 34 w 46"/>
                <a:gd name="T21" fmla="*/ 33 h 43"/>
                <a:gd name="T22" fmla="*/ 46 w 46"/>
                <a:gd name="T23" fmla="*/ 41 h 43"/>
                <a:gd name="T24" fmla="*/ 46 w 46"/>
                <a:gd name="T25" fmla="*/ 43 h 43"/>
                <a:gd name="T26" fmla="*/ 46 w 46"/>
                <a:gd name="T27" fmla="*/ 41 h 43"/>
                <a:gd name="T28" fmla="*/ 0 w 46"/>
                <a:gd name="T29" fmla="*/ 0 h 43"/>
                <a:gd name="T30" fmla="*/ 2 w 46"/>
                <a:gd name="T31" fmla="*/ 0 h 43"/>
                <a:gd name="T32" fmla="*/ 0 w 46"/>
                <a:gd name="T33" fmla="*/ 0 h 43"/>
                <a:gd name="T34" fmla="*/ 44 w 46"/>
                <a:gd name="T35" fmla="*/ 43 h 43"/>
                <a:gd name="T36" fmla="*/ 46 w 46"/>
                <a:gd name="T37" fmla="*/ 43 h 43"/>
                <a:gd name="T38" fmla="*/ 44 w 46"/>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3">
                  <a:moveTo>
                    <a:pt x="38" y="25"/>
                  </a:moveTo>
                  <a:lnTo>
                    <a:pt x="38" y="27"/>
                  </a:lnTo>
                  <a:lnTo>
                    <a:pt x="38" y="25"/>
                  </a:lnTo>
                  <a:close/>
                  <a:moveTo>
                    <a:pt x="15" y="22"/>
                  </a:moveTo>
                  <a:lnTo>
                    <a:pt x="17" y="22"/>
                  </a:lnTo>
                  <a:lnTo>
                    <a:pt x="17" y="23"/>
                  </a:lnTo>
                  <a:lnTo>
                    <a:pt x="15" y="23"/>
                  </a:lnTo>
                  <a:lnTo>
                    <a:pt x="15" y="22"/>
                  </a:lnTo>
                  <a:close/>
                  <a:moveTo>
                    <a:pt x="34" y="33"/>
                  </a:moveTo>
                  <a:lnTo>
                    <a:pt x="34" y="35"/>
                  </a:lnTo>
                  <a:lnTo>
                    <a:pt x="34" y="33"/>
                  </a:lnTo>
                  <a:close/>
                  <a:moveTo>
                    <a:pt x="46" y="41"/>
                  </a:moveTo>
                  <a:lnTo>
                    <a:pt x="46" y="43"/>
                  </a:lnTo>
                  <a:lnTo>
                    <a:pt x="46" y="41"/>
                  </a:lnTo>
                  <a:close/>
                  <a:moveTo>
                    <a:pt x="0" y="0"/>
                  </a:moveTo>
                  <a:lnTo>
                    <a:pt x="2" y="0"/>
                  </a:lnTo>
                  <a:lnTo>
                    <a:pt x="0" y="0"/>
                  </a:lnTo>
                  <a:close/>
                  <a:moveTo>
                    <a:pt x="44" y="43"/>
                  </a:moveTo>
                  <a:lnTo>
                    <a:pt x="46" y="43"/>
                  </a:lnTo>
                  <a:lnTo>
                    <a:pt x="44" y="4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9" name="Freeform 428">
              <a:extLst>
                <a:ext uri="{FF2B5EF4-FFF2-40B4-BE49-F238E27FC236}">
                  <a16:creationId xmlns:a16="http://schemas.microsoft.com/office/drawing/2014/main" id="{89828131-576B-48DA-9BDD-F009966CFEEF}"/>
                </a:ext>
              </a:extLst>
            </p:cNvPr>
            <p:cNvSpPr>
              <a:spLocks noEditPoints="1"/>
            </p:cNvSpPr>
            <p:nvPr/>
          </p:nvSpPr>
          <p:spPr bwMode="gray">
            <a:xfrm>
              <a:off x="5998270" y="4463424"/>
              <a:ext cx="210937" cy="120185"/>
            </a:xfrm>
            <a:custGeom>
              <a:avLst/>
              <a:gdLst>
                <a:gd name="T0" fmla="*/ 69 w 172"/>
                <a:gd name="T1" fmla="*/ 67 h 98"/>
                <a:gd name="T2" fmla="*/ 61 w 172"/>
                <a:gd name="T3" fmla="*/ 61 h 98"/>
                <a:gd name="T4" fmla="*/ 69 w 172"/>
                <a:gd name="T5" fmla="*/ 59 h 98"/>
                <a:gd name="T6" fmla="*/ 59 w 172"/>
                <a:gd name="T7" fmla="*/ 44 h 98"/>
                <a:gd name="T8" fmla="*/ 48 w 172"/>
                <a:gd name="T9" fmla="*/ 38 h 98"/>
                <a:gd name="T10" fmla="*/ 44 w 172"/>
                <a:gd name="T11" fmla="*/ 32 h 98"/>
                <a:gd name="T12" fmla="*/ 53 w 172"/>
                <a:gd name="T13" fmla="*/ 36 h 98"/>
                <a:gd name="T14" fmla="*/ 63 w 172"/>
                <a:gd name="T15" fmla="*/ 44 h 98"/>
                <a:gd name="T16" fmla="*/ 82 w 172"/>
                <a:gd name="T17" fmla="*/ 57 h 98"/>
                <a:gd name="T18" fmla="*/ 76 w 172"/>
                <a:gd name="T19" fmla="*/ 53 h 98"/>
                <a:gd name="T20" fmla="*/ 80 w 172"/>
                <a:gd name="T21" fmla="*/ 50 h 98"/>
                <a:gd name="T22" fmla="*/ 84 w 172"/>
                <a:gd name="T23" fmla="*/ 59 h 98"/>
                <a:gd name="T24" fmla="*/ 26 w 172"/>
                <a:gd name="T25" fmla="*/ 28 h 98"/>
                <a:gd name="T26" fmla="*/ 15 w 172"/>
                <a:gd name="T27" fmla="*/ 19 h 98"/>
                <a:gd name="T28" fmla="*/ 26 w 172"/>
                <a:gd name="T29" fmla="*/ 28 h 98"/>
                <a:gd name="T30" fmla="*/ 92 w 172"/>
                <a:gd name="T31" fmla="*/ 80 h 98"/>
                <a:gd name="T32" fmla="*/ 86 w 172"/>
                <a:gd name="T33" fmla="*/ 73 h 98"/>
                <a:gd name="T34" fmla="*/ 36 w 172"/>
                <a:gd name="T35" fmla="*/ 46 h 98"/>
                <a:gd name="T36" fmla="*/ 32 w 172"/>
                <a:gd name="T37" fmla="*/ 44 h 98"/>
                <a:gd name="T38" fmla="*/ 26 w 172"/>
                <a:gd name="T39" fmla="*/ 44 h 98"/>
                <a:gd name="T40" fmla="*/ 28 w 172"/>
                <a:gd name="T41" fmla="*/ 40 h 98"/>
                <a:gd name="T42" fmla="*/ 32 w 172"/>
                <a:gd name="T43" fmla="*/ 42 h 98"/>
                <a:gd name="T44" fmla="*/ 65 w 172"/>
                <a:gd name="T45" fmla="*/ 92 h 98"/>
                <a:gd name="T46" fmla="*/ 21 w 172"/>
                <a:gd name="T47" fmla="*/ 40 h 98"/>
                <a:gd name="T48" fmla="*/ 15 w 172"/>
                <a:gd name="T49" fmla="*/ 34 h 98"/>
                <a:gd name="T50" fmla="*/ 155 w 172"/>
                <a:gd name="T51" fmla="*/ 80 h 98"/>
                <a:gd name="T52" fmla="*/ 36 w 172"/>
                <a:gd name="T53" fmla="*/ 50 h 98"/>
                <a:gd name="T54" fmla="*/ 90 w 172"/>
                <a:gd name="T55" fmla="*/ 65 h 98"/>
                <a:gd name="T56" fmla="*/ 28 w 172"/>
                <a:gd name="T57" fmla="*/ 46 h 98"/>
                <a:gd name="T58" fmla="*/ 71 w 172"/>
                <a:gd name="T59" fmla="*/ 55 h 98"/>
                <a:gd name="T60" fmla="*/ 168 w 172"/>
                <a:gd name="T61" fmla="*/ 94 h 98"/>
                <a:gd name="T62" fmla="*/ 72 w 172"/>
                <a:gd name="T63" fmla="*/ 57 h 98"/>
                <a:gd name="T64" fmla="*/ 40 w 172"/>
                <a:gd name="T65" fmla="*/ 51 h 98"/>
                <a:gd name="T66" fmla="*/ 40 w 172"/>
                <a:gd name="T67" fmla="*/ 30 h 98"/>
                <a:gd name="T68" fmla="*/ 1 w 172"/>
                <a:gd name="T69" fmla="*/ 28 h 98"/>
                <a:gd name="T70" fmla="*/ 19 w 172"/>
                <a:gd name="T71" fmla="*/ 40 h 98"/>
                <a:gd name="T72" fmla="*/ 76 w 172"/>
                <a:gd name="T73" fmla="*/ 44 h 98"/>
                <a:gd name="T74" fmla="*/ 67 w 172"/>
                <a:gd name="T75" fmla="*/ 53 h 98"/>
                <a:gd name="T76" fmla="*/ 172 w 172"/>
                <a:gd name="T77" fmla="*/ 67 h 98"/>
                <a:gd name="T78" fmla="*/ 38 w 172"/>
                <a:gd name="T79" fmla="*/ 48 h 98"/>
                <a:gd name="T80" fmla="*/ 5 w 172"/>
                <a:gd name="T81" fmla="*/ 25 h 98"/>
                <a:gd name="T82" fmla="*/ 82 w 172"/>
                <a:gd name="T83" fmla="*/ 50 h 98"/>
                <a:gd name="T84" fmla="*/ 40 w 172"/>
                <a:gd name="T85" fmla="*/ 48 h 98"/>
                <a:gd name="T86" fmla="*/ 46 w 172"/>
                <a:gd name="T87" fmla="*/ 34 h 98"/>
                <a:gd name="T88" fmla="*/ 46 w 172"/>
                <a:gd name="T89" fmla="*/ 34 h 98"/>
                <a:gd name="T90" fmla="*/ 84 w 172"/>
                <a:gd name="T91" fmla="*/ 61 h 98"/>
                <a:gd name="T92" fmla="*/ 48 w 172"/>
                <a:gd name="T93" fmla="*/ 30 h 98"/>
                <a:gd name="T94" fmla="*/ 30 w 172"/>
                <a:gd name="T95" fmla="*/ 30 h 98"/>
                <a:gd name="T96" fmla="*/ 34 w 172"/>
                <a:gd name="T97" fmla="*/ 50 h 98"/>
                <a:gd name="T98" fmla="*/ 36 w 172"/>
                <a:gd name="T99" fmla="*/ 30 h 98"/>
                <a:gd name="T100" fmla="*/ 7 w 172"/>
                <a:gd name="T101" fmla="*/ 21 h 98"/>
                <a:gd name="T102" fmla="*/ 53 w 172"/>
                <a:gd name="T103" fmla="*/ 40 h 98"/>
                <a:gd name="T104" fmla="*/ 30 w 172"/>
                <a:gd name="T105" fmla="*/ 28 h 98"/>
                <a:gd name="T106" fmla="*/ 42 w 172"/>
                <a:gd name="T107" fmla="*/ 30 h 98"/>
                <a:gd name="T108" fmla="*/ 34 w 172"/>
                <a:gd name="T109" fmla="*/ 30 h 98"/>
                <a:gd name="T110" fmla="*/ 67 w 172"/>
                <a:gd name="T111" fmla="*/ 51 h 98"/>
                <a:gd name="T112" fmla="*/ 61 w 172"/>
                <a:gd name="T113" fmla="*/ 2 h 98"/>
                <a:gd name="T114" fmla="*/ 24 w 172"/>
                <a:gd name="T115" fmla="*/ 28 h 98"/>
                <a:gd name="T116" fmla="*/ 23 w 172"/>
                <a:gd name="T117" fmla="*/ 42 h 98"/>
                <a:gd name="T118" fmla="*/ 13 w 172"/>
                <a:gd name="T119" fmla="*/ 21 h 98"/>
                <a:gd name="T120" fmla="*/ 42 w 172"/>
                <a:gd name="T121" fmla="*/ 32 h 98"/>
                <a:gd name="T122" fmla="*/ 46 w 172"/>
                <a:gd name="T123" fmla="*/ 34 h 98"/>
                <a:gd name="T124" fmla="*/ 24 w 172"/>
                <a:gd name="T125" fmla="*/ 4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98">
                  <a:moveTo>
                    <a:pt x="78" y="67"/>
                  </a:moveTo>
                  <a:lnTo>
                    <a:pt x="76" y="67"/>
                  </a:lnTo>
                  <a:lnTo>
                    <a:pt x="74" y="69"/>
                  </a:lnTo>
                  <a:lnTo>
                    <a:pt x="74" y="67"/>
                  </a:lnTo>
                  <a:lnTo>
                    <a:pt x="72" y="67"/>
                  </a:lnTo>
                  <a:lnTo>
                    <a:pt x="71" y="67"/>
                  </a:lnTo>
                  <a:lnTo>
                    <a:pt x="71" y="65"/>
                  </a:lnTo>
                  <a:lnTo>
                    <a:pt x="69" y="65"/>
                  </a:lnTo>
                  <a:lnTo>
                    <a:pt x="69" y="67"/>
                  </a:lnTo>
                  <a:lnTo>
                    <a:pt x="69" y="65"/>
                  </a:lnTo>
                  <a:lnTo>
                    <a:pt x="69" y="67"/>
                  </a:lnTo>
                  <a:lnTo>
                    <a:pt x="69" y="65"/>
                  </a:lnTo>
                  <a:lnTo>
                    <a:pt x="69" y="67"/>
                  </a:lnTo>
                  <a:lnTo>
                    <a:pt x="69" y="65"/>
                  </a:lnTo>
                  <a:lnTo>
                    <a:pt x="69" y="67"/>
                  </a:lnTo>
                  <a:lnTo>
                    <a:pt x="67" y="67"/>
                  </a:lnTo>
                  <a:lnTo>
                    <a:pt x="67" y="65"/>
                  </a:lnTo>
                  <a:lnTo>
                    <a:pt x="67" y="67"/>
                  </a:lnTo>
                  <a:lnTo>
                    <a:pt x="67" y="65"/>
                  </a:lnTo>
                  <a:lnTo>
                    <a:pt x="65" y="65"/>
                  </a:lnTo>
                  <a:lnTo>
                    <a:pt x="63" y="65"/>
                  </a:lnTo>
                  <a:lnTo>
                    <a:pt x="61" y="65"/>
                  </a:lnTo>
                  <a:lnTo>
                    <a:pt x="63" y="65"/>
                  </a:lnTo>
                  <a:lnTo>
                    <a:pt x="63" y="63"/>
                  </a:lnTo>
                  <a:lnTo>
                    <a:pt x="61" y="63"/>
                  </a:lnTo>
                  <a:lnTo>
                    <a:pt x="61" y="61"/>
                  </a:lnTo>
                  <a:lnTo>
                    <a:pt x="61" y="63"/>
                  </a:lnTo>
                  <a:lnTo>
                    <a:pt x="61" y="61"/>
                  </a:lnTo>
                  <a:lnTo>
                    <a:pt x="61" y="63"/>
                  </a:lnTo>
                  <a:lnTo>
                    <a:pt x="61" y="61"/>
                  </a:lnTo>
                  <a:lnTo>
                    <a:pt x="61" y="63"/>
                  </a:lnTo>
                  <a:lnTo>
                    <a:pt x="61" y="61"/>
                  </a:lnTo>
                  <a:lnTo>
                    <a:pt x="61" y="59"/>
                  </a:lnTo>
                  <a:lnTo>
                    <a:pt x="61" y="57"/>
                  </a:lnTo>
                  <a:lnTo>
                    <a:pt x="63" y="57"/>
                  </a:lnTo>
                  <a:lnTo>
                    <a:pt x="63" y="59"/>
                  </a:lnTo>
                  <a:lnTo>
                    <a:pt x="65" y="59"/>
                  </a:lnTo>
                  <a:lnTo>
                    <a:pt x="65" y="61"/>
                  </a:lnTo>
                  <a:lnTo>
                    <a:pt x="65" y="59"/>
                  </a:lnTo>
                  <a:lnTo>
                    <a:pt x="65" y="61"/>
                  </a:lnTo>
                  <a:lnTo>
                    <a:pt x="67" y="61"/>
                  </a:lnTo>
                  <a:lnTo>
                    <a:pt x="67" y="59"/>
                  </a:lnTo>
                  <a:lnTo>
                    <a:pt x="67" y="61"/>
                  </a:lnTo>
                  <a:lnTo>
                    <a:pt x="69" y="61"/>
                  </a:lnTo>
                  <a:lnTo>
                    <a:pt x="69" y="59"/>
                  </a:lnTo>
                  <a:lnTo>
                    <a:pt x="71" y="59"/>
                  </a:lnTo>
                  <a:lnTo>
                    <a:pt x="72" y="59"/>
                  </a:lnTo>
                  <a:lnTo>
                    <a:pt x="72" y="61"/>
                  </a:lnTo>
                  <a:lnTo>
                    <a:pt x="74" y="61"/>
                  </a:lnTo>
                  <a:lnTo>
                    <a:pt x="74" y="63"/>
                  </a:lnTo>
                  <a:lnTo>
                    <a:pt x="76" y="63"/>
                  </a:lnTo>
                  <a:lnTo>
                    <a:pt x="76" y="65"/>
                  </a:lnTo>
                  <a:lnTo>
                    <a:pt x="78" y="65"/>
                  </a:lnTo>
                  <a:lnTo>
                    <a:pt x="78" y="67"/>
                  </a:lnTo>
                  <a:close/>
                  <a:moveTo>
                    <a:pt x="65" y="48"/>
                  </a:moveTo>
                  <a:lnTo>
                    <a:pt x="63" y="48"/>
                  </a:lnTo>
                  <a:lnTo>
                    <a:pt x="63" y="46"/>
                  </a:lnTo>
                  <a:lnTo>
                    <a:pt x="61" y="46"/>
                  </a:lnTo>
                  <a:lnTo>
                    <a:pt x="61" y="44"/>
                  </a:lnTo>
                  <a:lnTo>
                    <a:pt x="59" y="44"/>
                  </a:lnTo>
                  <a:lnTo>
                    <a:pt x="57" y="44"/>
                  </a:lnTo>
                  <a:lnTo>
                    <a:pt x="59" y="44"/>
                  </a:lnTo>
                  <a:lnTo>
                    <a:pt x="57" y="44"/>
                  </a:lnTo>
                  <a:lnTo>
                    <a:pt x="57" y="42"/>
                  </a:lnTo>
                  <a:lnTo>
                    <a:pt x="57" y="44"/>
                  </a:lnTo>
                  <a:lnTo>
                    <a:pt x="57" y="42"/>
                  </a:lnTo>
                  <a:lnTo>
                    <a:pt x="57" y="44"/>
                  </a:lnTo>
                  <a:lnTo>
                    <a:pt x="57" y="42"/>
                  </a:lnTo>
                  <a:lnTo>
                    <a:pt x="55" y="42"/>
                  </a:lnTo>
                  <a:lnTo>
                    <a:pt x="53" y="42"/>
                  </a:lnTo>
                  <a:lnTo>
                    <a:pt x="53" y="40"/>
                  </a:lnTo>
                  <a:lnTo>
                    <a:pt x="51" y="40"/>
                  </a:lnTo>
                  <a:lnTo>
                    <a:pt x="49" y="40"/>
                  </a:lnTo>
                  <a:lnTo>
                    <a:pt x="49" y="38"/>
                  </a:lnTo>
                  <a:lnTo>
                    <a:pt x="48" y="38"/>
                  </a:lnTo>
                  <a:lnTo>
                    <a:pt x="48" y="36"/>
                  </a:lnTo>
                  <a:lnTo>
                    <a:pt x="48" y="38"/>
                  </a:lnTo>
                  <a:lnTo>
                    <a:pt x="48" y="36"/>
                  </a:lnTo>
                  <a:lnTo>
                    <a:pt x="48" y="38"/>
                  </a:lnTo>
                  <a:lnTo>
                    <a:pt x="48" y="36"/>
                  </a:lnTo>
                  <a:lnTo>
                    <a:pt x="48" y="38"/>
                  </a:lnTo>
                  <a:lnTo>
                    <a:pt x="48" y="36"/>
                  </a:lnTo>
                  <a:lnTo>
                    <a:pt x="46" y="36"/>
                  </a:lnTo>
                  <a:lnTo>
                    <a:pt x="46" y="34"/>
                  </a:lnTo>
                  <a:lnTo>
                    <a:pt x="46" y="36"/>
                  </a:lnTo>
                  <a:lnTo>
                    <a:pt x="46" y="34"/>
                  </a:lnTo>
                  <a:lnTo>
                    <a:pt x="44" y="34"/>
                  </a:lnTo>
                  <a:lnTo>
                    <a:pt x="44" y="32"/>
                  </a:lnTo>
                  <a:lnTo>
                    <a:pt x="44" y="34"/>
                  </a:lnTo>
                  <a:lnTo>
                    <a:pt x="44" y="32"/>
                  </a:lnTo>
                  <a:lnTo>
                    <a:pt x="42" y="32"/>
                  </a:lnTo>
                  <a:lnTo>
                    <a:pt x="42" y="34"/>
                  </a:lnTo>
                  <a:lnTo>
                    <a:pt x="44" y="34"/>
                  </a:lnTo>
                  <a:lnTo>
                    <a:pt x="42" y="34"/>
                  </a:lnTo>
                  <a:lnTo>
                    <a:pt x="42" y="32"/>
                  </a:lnTo>
                  <a:lnTo>
                    <a:pt x="44" y="32"/>
                  </a:lnTo>
                  <a:lnTo>
                    <a:pt x="46" y="32"/>
                  </a:lnTo>
                  <a:lnTo>
                    <a:pt x="48" y="32"/>
                  </a:lnTo>
                  <a:lnTo>
                    <a:pt x="48" y="34"/>
                  </a:lnTo>
                  <a:lnTo>
                    <a:pt x="49" y="34"/>
                  </a:lnTo>
                  <a:lnTo>
                    <a:pt x="49" y="36"/>
                  </a:lnTo>
                  <a:lnTo>
                    <a:pt x="49" y="34"/>
                  </a:lnTo>
                  <a:lnTo>
                    <a:pt x="49" y="36"/>
                  </a:lnTo>
                  <a:lnTo>
                    <a:pt x="51" y="36"/>
                  </a:lnTo>
                  <a:lnTo>
                    <a:pt x="53" y="36"/>
                  </a:lnTo>
                  <a:lnTo>
                    <a:pt x="53" y="38"/>
                  </a:lnTo>
                  <a:lnTo>
                    <a:pt x="55" y="38"/>
                  </a:lnTo>
                  <a:lnTo>
                    <a:pt x="53" y="38"/>
                  </a:lnTo>
                  <a:lnTo>
                    <a:pt x="55" y="38"/>
                  </a:lnTo>
                  <a:lnTo>
                    <a:pt x="53" y="38"/>
                  </a:lnTo>
                  <a:lnTo>
                    <a:pt x="55" y="38"/>
                  </a:lnTo>
                  <a:lnTo>
                    <a:pt x="57" y="38"/>
                  </a:lnTo>
                  <a:lnTo>
                    <a:pt x="57" y="40"/>
                  </a:lnTo>
                  <a:lnTo>
                    <a:pt x="57" y="38"/>
                  </a:lnTo>
                  <a:lnTo>
                    <a:pt x="57" y="40"/>
                  </a:lnTo>
                  <a:lnTo>
                    <a:pt x="59" y="40"/>
                  </a:lnTo>
                  <a:lnTo>
                    <a:pt x="59" y="42"/>
                  </a:lnTo>
                  <a:lnTo>
                    <a:pt x="61" y="42"/>
                  </a:lnTo>
                  <a:lnTo>
                    <a:pt x="63" y="42"/>
                  </a:lnTo>
                  <a:lnTo>
                    <a:pt x="63" y="44"/>
                  </a:lnTo>
                  <a:lnTo>
                    <a:pt x="65" y="44"/>
                  </a:lnTo>
                  <a:lnTo>
                    <a:pt x="63" y="44"/>
                  </a:lnTo>
                  <a:lnTo>
                    <a:pt x="63" y="46"/>
                  </a:lnTo>
                  <a:lnTo>
                    <a:pt x="65" y="46"/>
                  </a:lnTo>
                  <a:lnTo>
                    <a:pt x="65" y="48"/>
                  </a:lnTo>
                  <a:lnTo>
                    <a:pt x="65" y="46"/>
                  </a:lnTo>
                  <a:lnTo>
                    <a:pt x="65" y="48"/>
                  </a:lnTo>
                  <a:close/>
                  <a:moveTo>
                    <a:pt x="86" y="63"/>
                  </a:moveTo>
                  <a:lnTo>
                    <a:pt x="86" y="61"/>
                  </a:lnTo>
                  <a:lnTo>
                    <a:pt x="84" y="61"/>
                  </a:lnTo>
                  <a:lnTo>
                    <a:pt x="84" y="59"/>
                  </a:lnTo>
                  <a:lnTo>
                    <a:pt x="82" y="59"/>
                  </a:lnTo>
                  <a:lnTo>
                    <a:pt x="82" y="57"/>
                  </a:lnTo>
                  <a:lnTo>
                    <a:pt x="82" y="59"/>
                  </a:lnTo>
                  <a:lnTo>
                    <a:pt x="82" y="57"/>
                  </a:lnTo>
                  <a:lnTo>
                    <a:pt x="80" y="57"/>
                  </a:lnTo>
                  <a:lnTo>
                    <a:pt x="82" y="57"/>
                  </a:lnTo>
                  <a:lnTo>
                    <a:pt x="82" y="59"/>
                  </a:lnTo>
                  <a:lnTo>
                    <a:pt x="82" y="57"/>
                  </a:lnTo>
                  <a:lnTo>
                    <a:pt x="80" y="57"/>
                  </a:lnTo>
                  <a:lnTo>
                    <a:pt x="78" y="57"/>
                  </a:lnTo>
                  <a:lnTo>
                    <a:pt x="78" y="55"/>
                  </a:lnTo>
                  <a:lnTo>
                    <a:pt x="78" y="53"/>
                  </a:lnTo>
                  <a:lnTo>
                    <a:pt x="76" y="53"/>
                  </a:lnTo>
                  <a:lnTo>
                    <a:pt x="78" y="53"/>
                  </a:lnTo>
                  <a:lnTo>
                    <a:pt x="76" y="53"/>
                  </a:lnTo>
                  <a:lnTo>
                    <a:pt x="78" y="53"/>
                  </a:lnTo>
                  <a:lnTo>
                    <a:pt x="76" y="53"/>
                  </a:lnTo>
                  <a:lnTo>
                    <a:pt x="78" y="53"/>
                  </a:lnTo>
                  <a:lnTo>
                    <a:pt x="76" y="53"/>
                  </a:lnTo>
                  <a:lnTo>
                    <a:pt x="78" y="53"/>
                  </a:lnTo>
                  <a:lnTo>
                    <a:pt x="76" y="53"/>
                  </a:lnTo>
                  <a:lnTo>
                    <a:pt x="78" y="53"/>
                  </a:lnTo>
                  <a:lnTo>
                    <a:pt x="76" y="51"/>
                  </a:lnTo>
                  <a:lnTo>
                    <a:pt x="76" y="50"/>
                  </a:lnTo>
                  <a:lnTo>
                    <a:pt x="76" y="48"/>
                  </a:lnTo>
                  <a:lnTo>
                    <a:pt x="76" y="46"/>
                  </a:lnTo>
                  <a:lnTo>
                    <a:pt x="74" y="46"/>
                  </a:lnTo>
                  <a:lnTo>
                    <a:pt x="74" y="44"/>
                  </a:lnTo>
                  <a:lnTo>
                    <a:pt x="76" y="44"/>
                  </a:lnTo>
                  <a:lnTo>
                    <a:pt x="78" y="44"/>
                  </a:lnTo>
                  <a:lnTo>
                    <a:pt x="78" y="46"/>
                  </a:lnTo>
                  <a:lnTo>
                    <a:pt x="80" y="46"/>
                  </a:lnTo>
                  <a:lnTo>
                    <a:pt x="80" y="48"/>
                  </a:lnTo>
                  <a:lnTo>
                    <a:pt x="80" y="50"/>
                  </a:lnTo>
                  <a:lnTo>
                    <a:pt x="80" y="51"/>
                  </a:lnTo>
                  <a:lnTo>
                    <a:pt x="82" y="51"/>
                  </a:lnTo>
                  <a:lnTo>
                    <a:pt x="82" y="53"/>
                  </a:lnTo>
                  <a:lnTo>
                    <a:pt x="82" y="51"/>
                  </a:lnTo>
                  <a:lnTo>
                    <a:pt x="82" y="53"/>
                  </a:lnTo>
                  <a:lnTo>
                    <a:pt x="84" y="53"/>
                  </a:lnTo>
                  <a:lnTo>
                    <a:pt x="82" y="53"/>
                  </a:lnTo>
                  <a:lnTo>
                    <a:pt x="84" y="53"/>
                  </a:lnTo>
                  <a:lnTo>
                    <a:pt x="84" y="55"/>
                  </a:lnTo>
                  <a:lnTo>
                    <a:pt x="84" y="57"/>
                  </a:lnTo>
                  <a:lnTo>
                    <a:pt x="84" y="59"/>
                  </a:lnTo>
                  <a:lnTo>
                    <a:pt x="84" y="57"/>
                  </a:lnTo>
                  <a:lnTo>
                    <a:pt x="84" y="59"/>
                  </a:lnTo>
                  <a:lnTo>
                    <a:pt x="86" y="59"/>
                  </a:lnTo>
                  <a:lnTo>
                    <a:pt x="84" y="59"/>
                  </a:lnTo>
                  <a:lnTo>
                    <a:pt x="86" y="59"/>
                  </a:lnTo>
                  <a:lnTo>
                    <a:pt x="86" y="61"/>
                  </a:lnTo>
                  <a:lnTo>
                    <a:pt x="86" y="59"/>
                  </a:lnTo>
                  <a:lnTo>
                    <a:pt x="86" y="61"/>
                  </a:lnTo>
                  <a:lnTo>
                    <a:pt x="86" y="63"/>
                  </a:lnTo>
                  <a:close/>
                  <a:moveTo>
                    <a:pt x="30" y="30"/>
                  </a:moveTo>
                  <a:lnTo>
                    <a:pt x="28" y="30"/>
                  </a:lnTo>
                  <a:lnTo>
                    <a:pt x="26" y="30"/>
                  </a:lnTo>
                  <a:lnTo>
                    <a:pt x="26" y="28"/>
                  </a:lnTo>
                  <a:lnTo>
                    <a:pt x="26" y="30"/>
                  </a:lnTo>
                  <a:lnTo>
                    <a:pt x="26" y="28"/>
                  </a:lnTo>
                  <a:lnTo>
                    <a:pt x="26" y="30"/>
                  </a:lnTo>
                  <a:lnTo>
                    <a:pt x="26" y="28"/>
                  </a:lnTo>
                  <a:lnTo>
                    <a:pt x="26" y="30"/>
                  </a:lnTo>
                  <a:lnTo>
                    <a:pt x="26" y="28"/>
                  </a:lnTo>
                  <a:lnTo>
                    <a:pt x="24" y="28"/>
                  </a:lnTo>
                  <a:lnTo>
                    <a:pt x="24" y="30"/>
                  </a:lnTo>
                  <a:lnTo>
                    <a:pt x="24" y="28"/>
                  </a:lnTo>
                  <a:lnTo>
                    <a:pt x="23" y="28"/>
                  </a:lnTo>
                  <a:lnTo>
                    <a:pt x="21" y="28"/>
                  </a:lnTo>
                  <a:lnTo>
                    <a:pt x="21" y="27"/>
                  </a:lnTo>
                  <a:lnTo>
                    <a:pt x="19" y="27"/>
                  </a:lnTo>
                  <a:lnTo>
                    <a:pt x="19" y="25"/>
                  </a:lnTo>
                  <a:lnTo>
                    <a:pt x="17" y="25"/>
                  </a:lnTo>
                  <a:lnTo>
                    <a:pt x="17" y="23"/>
                  </a:lnTo>
                  <a:lnTo>
                    <a:pt x="15" y="23"/>
                  </a:lnTo>
                  <a:lnTo>
                    <a:pt x="15" y="21"/>
                  </a:lnTo>
                  <a:lnTo>
                    <a:pt x="13" y="21"/>
                  </a:lnTo>
                  <a:lnTo>
                    <a:pt x="13" y="19"/>
                  </a:lnTo>
                  <a:lnTo>
                    <a:pt x="15" y="19"/>
                  </a:lnTo>
                  <a:lnTo>
                    <a:pt x="17" y="19"/>
                  </a:lnTo>
                  <a:lnTo>
                    <a:pt x="17" y="21"/>
                  </a:lnTo>
                  <a:lnTo>
                    <a:pt x="19" y="21"/>
                  </a:lnTo>
                  <a:lnTo>
                    <a:pt x="21" y="21"/>
                  </a:lnTo>
                  <a:lnTo>
                    <a:pt x="21" y="23"/>
                  </a:lnTo>
                  <a:lnTo>
                    <a:pt x="21" y="21"/>
                  </a:lnTo>
                  <a:lnTo>
                    <a:pt x="21" y="23"/>
                  </a:lnTo>
                  <a:lnTo>
                    <a:pt x="23" y="23"/>
                  </a:lnTo>
                  <a:lnTo>
                    <a:pt x="24" y="23"/>
                  </a:lnTo>
                  <a:lnTo>
                    <a:pt x="24" y="25"/>
                  </a:lnTo>
                  <a:lnTo>
                    <a:pt x="24" y="27"/>
                  </a:lnTo>
                  <a:lnTo>
                    <a:pt x="26" y="27"/>
                  </a:lnTo>
                  <a:lnTo>
                    <a:pt x="26" y="28"/>
                  </a:lnTo>
                  <a:lnTo>
                    <a:pt x="28" y="28"/>
                  </a:lnTo>
                  <a:lnTo>
                    <a:pt x="26" y="28"/>
                  </a:lnTo>
                  <a:lnTo>
                    <a:pt x="28" y="28"/>
                  </a:lnTo>
                  <a:lnTo>
                    <a:pt x="26" y="28"/>
                  </a:lnTo>
                  <a:lnTo>
                    <a:pt x="28" y="28"/>
                  </a:lnTo>
                  <a:lnTo>
                    <a:pt x="30" y="28"/>
                  </a:lnTo>
                  <a:lnTo>
                    <a:pt x="30" y="30"/>
                  </a:lnTo>
                  <a:close/>
                  <a:moveTo>
                    <a:pt x="101" y="80"/>
                  </a:moveTo>
                  <a:lnTo>
                    <a:pt x="99" y="80"/>
                  </a:lnTo>
                  <a:lnTo>
                    <a:pt x="99" y="82"/>
                  </a:lnTo>
                  <a:lnTo>
                    <a:pt x="99" y="80"/>
                  </a:lnTo>
                  <a:lnTo>
                    <a:pt x="97" y="80"/>
                  </a:lnTo>
                  <a:lnTo>
                    <a:pt x="95" y="80"/>
                  </a:lnTo>
                  <a:lnTo>
                    <a:pt x="94" y="80"/>
                  </a:lnTo>
                  <a:lnTo>
                    <a:pt x="92" y="80"/>
                  </a:lnTo>
                  <a:lnTo>
                    <a:pt x="92" y="78"/>
                  </a:lnTo>
                  <a:lnTo>
                    <a:pt x="92" y="80"/>
                  </a:lnTo>
                  <a:lnTo>
                    <a:pt x="92" y="78"/>
                  </a:lnTo>
                  <a:lnTo>
                    <a:pt x="90" y="78"/>
                  </a:lnTo>
                  <a:lnTo>
                    <a:pt x="90" y="76"/>
                  </a:lnTo>
                  <a:lnTo>
                    <a:pt x="90" y="78"/>
                  </a:lnTo>
                  <a:lnTo>
                    <a:pt x="90" y="76"/>
                  </a:lnTo>
                  <a:lnTo>
                    <a:pt x="88" y="76"/>
                  </a:lnTo>
                  <a:lnTo>
                    <a:pt x="88" y="75"/>
                  </a:lnTo>
                  <a:lnTo>
                    <a:pt x="88" y="76"/>
                  </a:lnTo>
                  <a:lnTo>
                    <a:pt x="88" y="75"/>
                  </a:lnTo>
                  <a:lnTo>
                    <a:pt x="86" y="75"/>
                  </a:lnTo>
                  <a:lnTo>
                    <a:pt x="86" y="73"/>
                  </a:lnTo>
                  <a:lnTo>
                    <a:pt x="86" y="75"/>
                  </a:lnTo>
                  <a:lnTo>
                    <a:pt x="84" y="75"/>
                  </a:lnTo>
                  <a:lnTo>
                    <a:pt x="84" y="73"/>
                  </a:lnTo>
                  <a:lnTo>
                    <a:pt x="86" y="73"/>
                  </a:lnTo>
                  <a:lnTo>
                    <a:pt x="86" y="71"/>
                  </a:lnTo>
                  <a:lnTo>
                    <a:pt x="86" y="73"/>
                  </a:lnTo>
                  <a:lnTo>
                    <a:pt x="88" y="73"/>
                  </a:lnTo>
                  <a:lnTo>
                    <a:pt x="90" y="73"/>
                  </a:lnTo>
                  <a:lnTo>
                    <a:pt x="90" y="75"/>
                  </a:lnTo>
                  <a:lnTo>
                    <a:pt x="92" y="75"/>
                  </a:lnTo>
                  <a:lnTo>
                    <a:pt x="94" y="75"/>
                  </a:lnTo>
                  <a:lnTo>
                    <a:pt x="95" y="75"/>
                  </a:lnTo>
                  <a:lnTo>
                    <a:pt x="95" y="76"/>
                  </a:lnTo>
                  <a:lnTo>
                    <a:pt x="97" y="76"/>
                  </a:lnTo>
                  <a:lnTo>
                    <a:pt x="97" y="78"/>
                  </a:lnTo>
                  <a:lnTo>
                    <a:pt x="99" y="78"/>
                  </a:lnTo>
                  <a:lnTo>
                    <a:pt x="99" y="80"/>
                  </a:lnTo>
                  <a:lnTo>
                    <a:pt x="101" y="80"/>
                  </a:lnTo>
                  <a:close/>
                  <a:moveTo>
                    <a:pt x="36" y="46"/>
                  </a:moveTo>
                  <a:lnTo>
                    <a:pt x="36" y="48"/>
                  </a:lnTo>
                  <a:lnTo>
                    <a:pt x="34" y="48"/>
                  </a:lnTo>
                  <a:lnTo>
                    <a:pt x="36" y="48"/>
                  </a:lnTo>
                  <a:lnTo>
                    <a:pt x="34" y="48"/>
                  </a:lnTo>
                  <a:lnTo>
                    <a:pt x="36" y="48"/>
                  </a:lnTo>
                  <a:lnTo>
                    <a:pt x="34" y="48"/>
                  </a:lnTo>
                  <a:lnTo>
                    <a:pt x="32" y="48"/>
                  </a:lnTo>
                  <a:lnTo>
                    <a:pt x="32" y="46"/>
                  </a:lnTo>
                  <a:lnTo>
                    <a:pt x="34" y="46"/>
                  </a:lnTo>
                  <a:lnTo>
                    <a:pt x="32" y="46"/>
                  </a:lnTo>
                  <a:lnTo>
                    <a:pt x="30" y="46"/>
                  </a:lnTo>
                  <a:lnTo>
                    <a:pt x="30" y="44"/>
                  </a:lnTo>
                  <a:lnTo>
                    <a:pt x="30" y="46"/>
                  </a:lnTo>
                  <a:lnTo>
                    <a:pt x="32" y="46"/>
                  </a:lnTo>
                  <a:lnTo>
                    <a:pt x="32" y="44"/>
                  </a:lnTo>
                  <a:lnTo>
                    <a:pt x="30" y="44"/>
                  </a:lnTo>
                  <a:lnTo>
                    <a:pt x="30" y="42"/>
                  </a:lnTo>
                  <a:lnTo>
                    <a:pt x="30" y="44"/>
                  </a:lnTo>
                  <a:lnTo>
                    <a:pt x="28" y="44"/>
                  </a:lnTo>
                  <a:lnTo>
                    <a:pt x="28" y="42"/>
                  </a:lnTo>
                  <a:lnTo>
                    <a:pt x="30" y="42"/>
                  </a:lnTo>
                  <a:lnTo>
                    <a:pt x="28" y="42"/>
                  </a:lnTo>
                  <a:lnTo>
                    <a:pt x="28" y="44"/>
                  </a:lnTo>
                  <a:lnTo>
                    <a:pt x="28" y="42"/>
                  </a:lnTo>
                  <a:lnTo>
                    <a:pt x="28" y="44"/>
                  </a:lnTo>
                  <a:lnTo>
                    <a:pt x="28" y="42"/>
                  </a:lnTo>
                  <a:lnTo>
                    <a:pt x="28" y="44"/>
                  </a:lnTo>
                  <a:lnTo>
                    <a:pt x="28" y="42"/>
                  </a:lnTo>
                  <a:lnTo>
                    <a:pt x="26" y="42"/>
                  </a:lnTo>
                  <a:lnTo>
                    <a:pt x="26" y="44"/>
                  </a:lnTo>
                  <a:lnTo>
                    <a:pt x="24" y="44"/>
                  </a:lnTo>
                  <a:lnTo>
                    <a:pt x="26" y="44"/>
                  </a:lnTo>
                  <a:lnTo>
                    <a:pt x="24" y="44"/>
                  </a:lnTo>
                  <a:lnTo>
                    <a:pt x="26" y="44"/>
                  </a:lnTo>
                  <a:lnTo>
                    <a:pt x="24" y="44"/>
                  </a:lnTo>
                  <a:lnTo>
                    <a:pt x="24" y="42"/>
                  </a:lnTo>
                  <a:lnTo>
                    <a:pt x="24" y="44"/>
                  </a:lnTo>
                  <a:lnTo>
                    <a:pt x="24" y="42"/>
                  </a:lnTo>
                  <a:lnTo>
                    <a:pt x="26" y="42"/>
                  </a:lnTo>
                  <a:lnTo>
                    <a:pt x="24" y="42"/>
                  </a:lnTo>
                  <a:lnTo>
                    <a:pt x="26" y="42"/>
                  </a:lnTo>
                  <a:lnTo>
                    <a:pt x="26" y="40"/>
                  </a:lnTo>
                  <a:lnTo>
                    <a:pt x="28" y="40"/>
                  </a:lnTo>
                  <a:lnTo>
                    <a:pt x="26" y="40"/>
                  </a:lnTo>
                  <a:lnTo>
                    <a:pt x="28" y="40"/>
                  </a:lnTo>
                  <a:lnTo>
                    <a:pt x="28" y="38"/>
                  </a:lnTo>
                  <a:lnTo>
                    <a:pt x="30" y="38"/>
                  </a:lnTo>
                  <a:lnTo>
                    <a:pt x="30" y="40"/>
                  </a:lnTo>
                  <a:lnTo>
                    <a:pt x="32" y="40"/>
                  </a:lnTo>
                  <a:lnTo>
                    <a:pt x="30" y="40"/>
                  </a:lnTo>
                  <a:lnTo>
                    <a:pt x="32" y="40"/>
                  </a:lnTo>
                  <a:lnTo>
                    <a:pt x="30" y="40"/>
                  </a:lnTo>
                  <a:lnTo>
                    <a:pt x="30" y="42"/>
                  </a:lnTo>
                  <a:lnTo>
                    <a:pt x="32" y="42"/>
                  </a:lnTo>
                  <a:lnTo>
                    <a:pt x="32" y="40"/>
                  </a:lnTo>
                  <a:lnTo>
                    <a:pt x="32" y="42"/>
                  </a:lnTo>
                  <a:lnTo>
                    <a:pt x="32" y="40"/>
                  </a:lnTo>
                  <a:lnTo>
                    <a:pt x="32" y="42"/>
                  </a:lnTo>
                  <a:lnTo>
                    <a:pt x="30" y="42"/>
                  </a:lnTo>
                  <a:lnTo>
                    <a:pt x="32" y="42"/>
                  </a:lnTo>
                  <a:lnTo>
                    <a:pt x="34" y="42"/>
                  </a:lnTo>
                  <a:lnTo>
                    <a:pt x="34" y="44"/>
                  </a:lnTo>
                  <a:lnTo>
                    <a:pt x="34" y="46"/>
                  </a:lnTo>
                  <a:lnTo>
                    <a:pt x="36" y="46"/>
                  </a:lnTo>
                  <a:close/>
                  <a:moveTo>
                    <a:pt x="76" y="96"/>
                  </a:moveTo>
                  <a:lnTo>
                    <a:pt x="74" y="96"/>
                  </a:lnTo>
                  <a:lnTo>
                    <a:pt x="74" y="98"/>
                  </a:lnTo>
                  <a:lnTo>
                    <a:pt x="74" y="96"/>
                  </a:lnTo>
                  <a:lnTo>
                    <a:pt x="72" y="96"/>
                  </a:lnTo>
                  <a:lnTo>
                    <a:pt x="72" y="94"/>
                  </a:lnTo>
                  <a:lnTo>
                    <a:pt x="71" y="94"/>
                  </a:lnTo>
                  <a:lnTo>
                    <a:pt x="69" y="94"/>
                  </a:lnTo>
                  <a:lnTo>
                    <a:pt x="67" y="94"/>
                  </a:lnTo>
                  <a:lnTo>
                    <a:pt x="67" y="92"/>
                  </a:lnTo>
                  <a:lnTo>
                    <a:pt x="65" y="92"/>
                  </a:lnTo>
                  <a:lnTo>
                    <a:pt x="65" y="90"/>
                  </a:lnTo>
                  <a:lnTo>
                    <a:pt x="67" y="90"/>
                  </a:lnTo>
                  <a:lnTo>
                    <a:pt x="67" y="92"/>
                  </a:lnTo>
                  <a:lnTo>
                    <a:pt x="69" y="92"/>
                  </a:lnTo>
                  <a:lnTo>
                    <a:pt x="71" y="92"/>
                  </a:lnTo>
                  <a:lnTo>
                    <a:pt x="71" y="94"/>
                  </a:lnTo>
                  <a:lnTo>
                    <a:pt x="72" y="94"/>
                  </a:lnTo>
                  <a:lnTo>
                    <a:pt x="74" y="94"/>
                  </a:lnTo>
                  <a:lnTo>
                    <a:pt x="74" y="96"/>
                  </a:lnTo>
                  <a:lnTo>
                    <a:pt x="76" y="96"/>
                  </a:lnTo>
                  <a:close/>
                  <a:moveTo>
                    <a:pt x="24" y="40"/>
                  </a:moveTo>
                  <a:lnTo>
                    <a:pt x="24" y="42"/>
                  </a:lnTo>
                  <a:lnTo>
                    <a:pt x="24" y="40"/>
                  </a:lnTo>
                  <a:lnTo>
                    <a:pt x="23" y="40"/>
                  </a:lnTo>
                  <a:lnTo>
                    <a:pt x="21" y="40"/>
                  </a:lnTo>
                  <a:lnTo>
                    <a:pt x="23" y="40"/>
                  </a:lnTo>
                  <a:lnTo>
                    <a:pt x="21" y="40"/>
                  </a:lnTo>
                  <a:lnTo>
                    <a:pt x="21" y="38"/>
                  </a:lnTo>
                  <a:lnTo>
                    <a:pt x="23" y="38"/>
                  </a:lnTo>
                  <a:lnTo>
                    <a:pt x="23" y="36"/>
                  </a:lnTo>
                  <a:lnTo>
                    <a:pt x="24" y="36"/>
                  </a:lnTo>
                  <a:lnTo>
                    <a:pt x="24" y="38"/>
                  </a:lnTo>
                  <a:lnTo>
                    <a:pt x="24" y="40"/>
                  </a:lnTo>
                  <a:close/>
                  <a:moveTo>
                    <a:pt x="19" y="34"/>
                  </a:moveTo>
                  <a:lnTo>
                    <a:pt x="19" y="36"/>
                  </a:lnTo>
                  <a:lnTo>
                    <a:pt x="19" y="38"/>
                  </a:lnTo>
                  <a:lnTo>
                    <a:pt x="17" y="38"/>
                  </a:lnTo>
                  <a:lnTo>
                    <a:pt x="17" y="36"/>
                  </a:lnTo>
                  <a:lnTo>
                    <a:pt x="15" y="36"/>
                  </a:lnTo>
                  <a:lnTo>
                    <a:pt x="15" y="34"/>
                  </a:lnTo>
                  <a:lnTo>
                    <a:pt x="15" y="32"/>
                  </a:lnTo>
                  <a:lnTo>
                    <a:pt x="15" y="34"/>
                  </a:lnTo>
                  <a:lnTo>
                    <a:pt x="15" y="32"/>
                  </a:lnTo>
                  <a:lnTo>
                    <a:pt x="17" y="32"/>
                  </a:lnTo>
                  <a:lnTo>
                    <a:pt x="17" y="34"/>
                  </a:lnTo>
                  <a:lnTo>
                    <a:pt x="17" y="32"/>
                  </a:lnTo>
                  <a:lnTo>
                    <a:pt x="17" y="34"/>
                  </a:lnTo>
                  <a:lnTo>
                    <a:pt x="19" y="34"/>
                  </a:lnTo>
                  <a:lnTo>
                    <a:pt x="17" y="34"/>
                  </a:lnTo>
                  <a:lnTo>
                    <a:pt x="19" y="34"/>
                  </a:lnTo>
                  <a:close/>
                  <a:moveTo>
                    <a:pt x="157" y="78"/>
                  </a:moveTo>
                  <a:lnTo>
                    <a:pt x="155" y="78"/>
                  </a:lnTo>
                  <a:lnTo>
                    <a:pt x="157" y="78"/>
                  </a:lnTo>
                  <a:lnTo>
                    <a:pt x="155" y="78"/>
                  </a:lnTo>
                  <a:lnTo>
                    <a:pt x="155" y="80"/>
                  </a:lnTo>
                  <a:lnTo>
                    <a:pt x="153" y="80"/>
                  </a:lnTo>
                  <a:lnTo>
                    <a:pt x="155" y="80"/>
                  </a:lnTo>
                  <a:lnTo>
                    <a:pt x="153" y="80"/>
                  </a:lnTo>
                  <a:lnTo>
                    <a:pt x="151" y="80"/>
                  </a:lnTo>
                  <a:lnTo>
                    <a:pt x="151" y="82"/>
                  </a:lnTo>
                  <a:lnTo>
                    <a:pt x="151" y="80"/>
                  </a:lnTo>
                  <a:lnTo>
                    <a:pt x="151" y="78"/>
                  </a:lnTo>
                  <a:lnTo>
                    <a:pt x="151" y="80"/>
                  </a:lnTo>
                  <a:lnTo>
                    <a:pt x="151" y="78"/>
                  </a:lnTo>
                  <a:lnTo>
                    <a:pt x="153" y="78"/>
                  </a:lnTo>
                  <a:lnTo>
                    <a:pt x="155" y="78"/>
                  </a:lnTo>
                  <a:lnTo>
                    <a:pt x="157" y="78"/>
                  </a:lnTo>
                  <a:close/>
                  <a:moveTo>
                    <a:pt x="38" y="48"/>
                  </a:moveTo>
                  <a:lnTo>
                    <a:pt x="38" y="50"/>
                  </a:lnTo>
                  <a:lnTo>
                    <a:pt x="36" y="50"/>
                  </a:lnTo>
                  <a:lnTo>
                    <a:pt x="34" y="50"/>
                  </a:lnTo>
                  <a:lnTo>
                    <a:pt x="36" y="50"/>
                  </a:lnTo>
                  <a:lnTo>
                    <a:pt x="36" y="48"/>
                  </a:lnTo>
                  <a:lnTo>
                    <a:pt x="34" y="48"/>
                  </a:lnTo>
                  <a:lnTo>
                    <a:pt x="36" y="48"/>
                  </a:lnTo>
                  <a:lnTo>
                    <a:pt x="36" y="46"/>
                  </a:lnTo>
                  <a:lnTo>
                    <a:pt x="36" y="48"/>
                  </a:lnTo>
                  <a:lnTo>
                    <a:pt x="36" y="46"/>
                  </a:lnTo>
                  <a:lnTo>
                    <a:pt x="36" y="48"/>
                  </a:lnTo>
                  <a:lnTo>
                    <a:pt x="36" y="46"/>
                  </a:lnTo>
                  <a:lnTo>
                    <a:pt x="36" y="48"/>
                  </a:lnTo>
                  <a:lnTo>
                    <a:pt x="38" y="48"/>
                  </a:lnTo>
                  <a:lnTo>
                    <a:pt x="38" y="46"/>
                  </a:lnTo>
                  <a:lnTo>
                    <a:pt x="38" y="48"/>
                  </a:lnTo>
                  <a:close/>
                  <a:moveTo>
                    <a:pt x="90" y="65"/>
                  </a:moveTo>
                  <a:lnTo>
                    <a:pt x="88" y="65"/>
                  </a:lnTo>
                  <a:lnTo>
                    <a:pt x="88" y="63"/>
                  </a:lnTo>
                  <a:lnTo>
                    <a:pt x="86" y="63"/>
                  </a:lnTo>
                  <a:lnTo>
                    <a:pt x="86" y="61"/>
                  </a:lnTo>
                  <a:lnTo>
                    <a:pt x="86" y="59"/>
                  </a:lnTo>
                  <a:lnTo>
                    <a:pt x="86" y="61"/>
                  </a:lnTo>
                  <a:lnTo>
                    <a:pt x="86" y="59"/>
                  </a:lnTo>
                  <a:lnTo>
                    <a:pt x="88" y="59"/>
                  </a:lnTo>
                  <a:lnTo>
                    <a:pt x="88" y="61"/>
                  </a:lnTo>
                  <a:lnTo>
                    <a:pt x="88" y="63"/>
                  </a:lnTo>
                  <a:lnTo>
                    <a:pt x="90" y="63"/>
                  </a:lnTo>
                  <a:lnTo>
                    <a:pt x="88" y="63"/>
                  </a:lnTo>
                  <a:lnTo>
                    <a:pt x="90" y="63"/>
                  </a:lnTo>
                  <a:lnTo>
                    <a:pt x="90" y="65"/>
                  </a:lnTo>
                  <a:close/>
                  <a:moveTo>
                    <a:pt x="28" y="46"/>
                  </a:moveTo>
                  <a:lnTo>
                    <a:pt x="28" y="48"/>
                  </a:lnTo>
                  <a:lnTo>
                    <a:pt x="26" y="48"/>
                  </a:lnTo>
                  <a:lnTo>
                    <a:pt x="26" y="50"/>
                  </a:lnTo>
                  <a:lnTo>
                    <a:pt x="28" y="50"/>
                  </a:lnTo>
                  <a:lnTo>
                    <a:pt x="26" y="50"/>
                  </a:lnTo>
                  <a:lnTo>
                    <a:pt x="26" y="48"/>
                  </a:lnTo>
                  <a:lnTo>
                    <a:pt x="24" y="48"/>
                  </a:lnTo>
                  <a:lnTo>
                    <a:pt x="26" y="48"/>
                  </a:lnTo>
                  <a:lnTo>
                    <a:pt x="26" y="46"/>
                  </a:lnTo>
                  <a:lnTo>
                    <a:pt x="28" y="46"/>
                  </a:lnTo>
                  <a:lnTo>
                    <a:pt x="26" y="46"/>
                  </a:lnTo>
                  <a:lnTo>
                    <a:pt x="28" y="46"/>
                  </a:lnTo>
                  <a:close/>
                  <a:moveTo>
                    <a:pt x="67" y="53"/>
                  </a:moveTo>
                  <a:lnTo>
                    <a:pt x="71" y="53"/>
                  </a:lnTo>
                  <a:lnTo>
                    <a:pt x="71" y="55"/>
                  </a:lnTo>
                  <a:lnTo>
                    <a:pt x="67" y="55"/>
                  </a:lnTo>
                  <a:lnTo>
                    <a:pt x="67" y="53"/>
                  </a:lnTo>
                  <a:close/>
                  <a:moveTo>
                    <a:pt x="3" y="23"/>
                  </a:moveTo>
                  <a:lnTo>
                    <a:pt x="5" y="23"/>
                  </a:lnTo>
                  <a:lnTo>
                    <a:pt x="5" y="27"/>
                  </a:lnTo>
                  <a:lnTo>
                    <a:pt x="3" y="27"/>
                  </a:lnTo>
                  <a:lnTo>
                    <a:pt x="3" y="23"/>
                  </a:lnTo>
                  <a:close/>
                  <a:moveTo>
                    <a:pt x="59" y="44"/>
                  </a:moveTo>
                  <a:lnTo>
                    <a:pt x="61" y="44"/>
                  </a:lnTo>
                  <a:lnTo>
                    <a:pt x="61" y="48"/>
                  </a:lnTo>
                  <a:lnTo>
                    <a:pt x="59" y="48"/>
                  </a:lnTo>
                  <a:lnTo>
                    <a:pt x="59" y="44"/>
                  </a:lnTo>
                  <a:close/>
                  <a:moveTo>
                    <a:pt x="165" y="92"/>
                  </a:moveTo>
                  <a:lnTo>
                    <a:pt x="168" y="92"/>
                  </a:lnTo>
                  <a:lnTo>
                    <a:pt x="168" y="94"/>
                  </a:lnTo>
                  <a:lnTo>
                    <a:pt x="165" y="94"/>
                  </a:lnTo>
                  <a:lnTo>
                    <a:pt x="165" y="92"/>
                  </a:lnTo>
                  <a:close/>
                  <a:moveTo>
                    <a:pt x="15" y="38"/>
                  </a:moveTo>
                  <a:lnTo>
                    <a:pt x="17" y="38"/>
                  </a:lnTo>
                  <a:lnTo>
                    <a:pt x="17" y="42"/>
                  </a:lnTo>
                  <a:lnTo>
                    <a:pt x="15" y="42"/>
                  </a:lnTo>
                  <a:lnTo>
                    <a:pt x="15" y="38"/>
                  </a:lnTo>
                  <a:close/>
                  <a:moveTo>
                    <a:pt x="51" y="53"/>
                  </a:moveTo>
                  <a:lnTo>
                    <a:pt x="55" y="53"/>
                  </a:lnTo>
                  <a:lnTo>
                    <a:pt x="55" y="55"/>
                  </a:lnTo>
                  <a:lnTo>
                    <a:pt x="51" y="55"/>
                  </a:lnTo>
                  <a:lnTo>
                    <a:pt x="51" y="53"/>
                  </a:lnTo>
                  <a:close/>
                  <a:moveTo>
                    <a:pt x="69" y="55"/>
                  </a:moveTo>
                  <a:lnTo>
                    <a:pt x="72" y="55"/>
                  </a:lnTo>
                  <a:lnTo>
                    <a:pt x="72" y="57"/>
                  </a:lnTo>
                  <a:lnTo>
                    <a:pt x="69" y="57"/>
                  </a:lnTo>
                  <a:lnTo>
                    <a:pt x="69" y="55"/>
                  </a:lnTo>
                  <a:close/>
                  <a:moveTo>
                    <a:pt x="28" y="50"/>
                  </a:moveTo>
                  <a:lnTo>
                    <a:pt x="32" y="50"/>
                  </a:lnTo>
                  <a:lnTo>
                    <a:pt x="32" y="51"/>
                  </a:lnTo>
                  <a:lnTo>
                    <a:pt x="28" y="51"/>
                  </a:lnTo>
                  <a:lnTo>
                    <a:pt x="28" y="50"/>
                  </a:lnTo>
                  <a:close/>
                  <a:moveTo>
                    <a:pt x="23" y="42"/>
                  </a:moveTo>
                  <a:lnTo>
                    <a:pt x="24" y="42"/>
                  </a:lnTo>
                  <a:lnTo>
                    <a:pt x="24" y="44"/>
                  </a:lnTo>
                  <a:lnTo>
                    <a:pt x="23" y="44"/>
                  </a:lnTo>
                  <a:lnTo>
                    <a:pt x="23" y="42"/>
                  </a:lnTo>
                  <a:close/>
                  <a:moveTo>
                    <a:pt x="38" y="50"/>
                  </a:moveTo>
                  <a:lnTo>
                    <a:pt x="40" y="50"/>
                  </a:lnTo>
                  <a:lnTo>
                    <a:pt x="40" y="51"/>
                  </a:lnTo>
                  <a:lnTo>
                    <a:pt x="38" y="51"/>
                  </a:lnTo>
                  <a:lnTo>
                    <a:pt x="38" y="50"/>
                  </a:lnTo>
                  <a:close/>
                  <a:moveTo>
                    <a:pt x="32" y="30"/>
                  </a:moveTo>
                  <a:lnTo>
                    <a:pt x="34" y="30"/>
                  </a:lnTo>
                  <a:lnTo>
                    <a:pt x="32" y="30"/>
                  </a:lnTo>
                  <a:close/>
                  <a:moveTo>
                    <a:pt x="161" y="86"/>
                  </a:moveTo>
                  <a:lnTo>
                    <a:pt x="163" y="86"/>
                  </a:lnTo>
                  <a:lnTo>
                    <a:pt x="163" y="88"/>
                  </a:lnTo>
                  <a:lnTo>
                    <a:pt x="161" y="88"/>
                  </a:lnTo>
                  <a:lnTo>
                    <a:pt x="161" y="86"/>
                  </a:lnTo>
                  <a:close/>
                  <a:moveTo>
                    <a:pt x="40" y="30"/>
                  </a:moveTo>
                  <a:lnTo>
                    <a:pt x="44" y="30"/>
                  </a:lnTo>
                  <a:lnTo>
                    <a:pt x="44" y="32"/>
                  </a:lnTo>
                  <a:lnTo>
                    <a:pt x="40" y="32"/>
                  </a:lnTo>
                  <a:lnTo>
                    <a:pt x="40" y="30"/>
                  </a:lnTo>
                  <a:close/>
                  <a:moveTo>
                    <a:pt x="7" y="21"/>
                  </a:moveTo>
                  <a:lnTo>
                    <a:pt x="9" y="21"/>
                  </a:lnTo>
                  <a:lnTo>
                    <a:pt x="9" y="25"/>
                  </a:lnTo>
                  <a:lnTo>
                    <a:pt x="7" y="25"/>
                  </a:lnTo>
                  <a:lnTo>
                    <a:pt x="7" y="21"/>
                  </a:lnTo>
                  <a:close/>
                  <a:moveTo>
                    <a:pt x="23" y="42"/>
                  </a:moveTo>
                  <a:lnTo>
                    <a:pt x="24" y="42"/>
                  </a:lnTo>
                  <a:lnTo>
                    <a:pt x="24" y="44"/>
                  </a:lnTo>
                  <a:lnTo>
                    <a:pt x="23" y="44"/>
                  </a:lnTo>
                  <a:lnTo>
                    <a:pt x="23" y="42"/>
                  </a:lnTo>
                  <a:close/>
                  <a:moveTo>
                    <a:pt x="30" y="30"/>
                  </a:moveTo>
                  <a:lnTo>
                    <a:pt x="32" y="30"/>
                  </a:lnTo>
                  <a:lnTo>
                    <a:pt x="30" y="30"/>
                  </a:lnTo>
                  <a:close/>
                  <a:moveTo>
                    <a:pt x="0" y="28"/>
                  </a:moveTo>
                  <a:lnTo>
                    <a:pt x="1" y="28"/>
                  </a:lnTo>
                  <a:lnTo>
                    <a:pt x="1" y="30"/>
                  </a:lnTo>
                  <a:lnTo>
                    <a:pt x="0" y="30"/>
                  </a:lnTo>
                  <a:lnTo>
                    <a:pt x="0" y="28"/>
                  </a:lnTo>
                  <a:close/>
                  <a:moveTo>
                    <a:pt x="95" y="65"/>
                  </a:moveTo>
                  <a:lnTo>
                    <a:pt x="95" y="67"/>
                  </a:lnTo>
                  <a:lnTo>
                    <a:pt x="95" y="65"/>
                  </a:lnTo>
                  <a:close/>
                  <a:moveTo>
                    <a:pt x="53" y="53"/>
                  </a:moveTo>
                  <a:lnTo>
                    <a:pt x="55" y="53"/>
                  </a:lnTo>
                  <a:lnTo>
                    <a:pt x="55" y="55"/>
                  </a:lnTo>
                  <a:lnTo>
                    <a:pt x="53" y="55"/>
                  </a:lnTo>
                  <a:lnTo>
                    <a:pt x="53" y="53"/>
                  </a:lnTo>
                  <a:close/>
                  <a:moveTo>
                    <a:pt x="40" y="30"/>
                  </a:moveTo>
                  <a:lnTo>
                    <a:pt x="42" y="30"/>
                  </a:lnTo>
                  <a:lnTo>
                    <a:pt x="40" y="30"/>
                  </a:lnTo>
                  <a:close/>
                  <a:moveTo>
                    <a:pt x="19" y="40"/>
                  </a:moveTo>
                  <a:lnTo>
                    <a:pt x="21" y="40"/>
                  </a:lnTo>
                  <a:lnTo>
                    <a:pt x="19" y="40"/>
                  </a:lnTo>
                  <a:close/>
                  <a:moveTo>
                    <a:pt x="67" y="53"/>
                  </a:moveTo>
                  <a:lnTo>
                    <a:pt x="69" y="53"/>
                  </a:lnTo>
                  <a:lnTo>
                    <a:pt x="67" y="53"/>
                  </a:lnTo>
                  <a:close/>
                  <a:moveTo>
                    <a:pt x="15" y="36"/>
                  </a:moveTo>
                  <a:lnTo>
                    <a:pt x="17" y="36"/>
                  </a:lnTo>
                  <a:lnTo>
                    <a:pt x="15" y="36"/>
                  </a:lnTo>
                  <a:close/>
                  <a:moveTo>
                    <a:pt x="168" y="92"/>
                  </a:moveTo>
                  <a:lnTo>
                    <a:pt x="168" y="94"/>
                  </a:lnTo>
                  <a:lnTo>
                    <a:pt x="168" y="92"/>
                  </a:lnTo>
                  <a:close/>
                  <a:moveTo>
                    <a:pt x="7" y="21"/>
                  </a:moveTo>
                  <a:lnTo>
                    <a:pt x="9" y="21"/>
                  </a:lnTo>
                  <a:lnTo>
                    <a:pt x="7" y="21"/>
                  </a:lnTo>
                  <a:close/>
                  <a:moveTo>
                    <a:pt x="76" y="44"/>
                  </a:moveTo>
                  <a:lnTo>
                    <a:pt x="78" y="44"/>
                  </a:lnTo>
                  <a:lnTo>
                    <a:pt x="76" y="44"/>
                  </a:lnTo>
                  <a:close/>
                  <a:moveTo>
                    <a:pt x="74" y="38"/>
                  </a:moveTo>
                  <a:lnTo>
                    <a:pt x="76" y="38"/>
                  </a:lnTo>
                  <a:lnTo>
                    <a:pt x="74" y="38"/>
                  </a:lnTo>
                  <a:close/>
                  <a:moveTo>
                    <a:pt x="28" y="44"/>
                  </a:moveTo>
                  <a:lnTo>
                    <a:pt x="30" y="44"/>
                  </a:lnTo>
                  <a:lnTo>
                    <a:pt x="28" y="44"/>
                  </a:lnTo>
                  <a:close/>
                  <a:moveTo>
                    <a:pt x="101" y="80"/>
                  </a:moveTo>
                  <a:lnTo>
                    <a:pt x="103" y="80"/>
                  </a:lnTo>
                  <a:lnTo>
                    <a:pt x="103" y="82"/>
                  </a:lnTo>
                  <a:lnTo>
                    <a:pt x="101" y="82"/>
                  </a:lnTo>
                  <a:lnTo>
                    <a:pt x="101" y="80"/>
                  </a:lnTo>
                  <a:close/>
                  <a:moveTo>
                    <a:pt x="67" y="51"/>
                  </a:moveTo>
                  <a:lnTo>
                    <a:pt x="67" y="53"/>
                  </a:lnTo>
                  <a:lnTo>
                    <a:pt x="67" y="51"/>
                  </a:lnTo>
                  <a:close/>
                  <a:moveTo>
                    <a:pt x="44" y="34"/>
                  </a:moveTo>
                  <a:lnTo>
                    <a:pt x="46" y="34"/>
                  </a:lnTo>
                  <a:lnTo>
                    <a:pt x="44" y="34"/>
                  </a:lnTo>
                  <a:close/>
                  <a:moveTo>
                    <a:pt x="15" y="42"/>
                  </a:moveTo>
                  <a:lnTo>
                    <a:pt x="15" y="44"/>
                  </a:lnTo>
                  <a:lnTo>
                    <a:pt x="15" y="42"/>
                  </a:lnTo>
                  <a:close/>
                  <a:moveTo>
                    <a:pt x="5" y="25"/>
                  </a:moveTo>
                  <a:lnTo>
                    <a:pt x="5" y="27"/>
                  </a:lnTo>
                  <a:lnTo>
                    <a:pt x="5" y="25"/>
                  </a:lnTo>
                  <a:close/>
                  <a:moveTo>
                    <a:pt x="26" y="44"/>
                  </a:moveTo>
                  <a:lnTo>
                    <a:pt x="28" y="44"/>
                  </a:lnTo>
                  <a:lnTo>
                    <a:pt x="26" y="44"/>
                  </a:lnTo>
                  <a:close/>
                  <a:moveTo>
                    <a:pt x="170" y="67"/>
                  </a:moveTo>
                  <a:lnTo>
                    <a:pt x="172" y="67"/>
                  </a:lnTo>
                  <a:lnTo>
                    <a:pt x="170" y="67"/>
                  </a:lnTo>
                  <a:close/>
                  <a:moveTo>
                    <a:pt x="40" y="50"/>
                  </a:moveTo>
                  <a:lnTo>
                    <a:pt x="42" y="50"/>
                  </a:lnTo>
                  <a:lnTo>
                    <a:pt x="42" y="51"/>
                  </a:lnTo>
                  <a:lnTo>
                    <a:pt x="40" y="51"/>
                  </a:lnTo>
                  <a:lnTo>
                    <a:pt x="40" y="50"/>
                  </a:lnTo>
                  <a:close/>
                  <a:moveTo>
                    <a:pt x="78" y="65"/>
                  </a:moveTo>
                  <a:lnTo>
                    <a:pt x="78" y="67"/>
                  </a:lnTo>
                  <a:lnTo>
                    <a:pt x="78" y="65"/>
                  </a:lnTo>
                  <a:close/>
                  <a:moveTo>
                    <a:pt x="34" y="42"/>
                  </a:moveTo>
                  <a:lnTo>
                    <a:pt x="34" y="44"/>
                  </a:lnTo>
                  <a:lnTo>
                    <a:pt x="34" y="42"/>
                  </a:lnTo>
                  <a:close/>
                  <a:moveTo>
                    <a:pt x="36" y="46"/>
                  </a:moveTo>
                  <a:lnTo>
                    <a:pt x="38" y="46"/>
                  </a:lnTo>
                  <a:lnTo>
                    <a:pt x="38" y="48"/>
                  </a:lnTo>
                  <a:lnTo>
                    <a:pt x="36" y="48"/>
                  </a:lnTo>
                  <a:lnTo>
                    <a:pt x="36" y="46"/>
                  </a:lnTo>
                  <a:close/>
                  <a:moveTo>
                    <a:pt x="38" y="30"/>
                  </a:moveTo>
                  <a:lnTo>
                    <a:pt x="40" y="30"/>
                  </a:lnTo>
                  <a:lnTo>
                    <a:pt x="38" y="30"/>
                  </a:lnTo>
                  <a:close/>
                  <a:moveTo>
                    <a:pt x="159" y="71"/>
                  </a:moveTo>
                  <a:lnTo>
                    <a:pt x="159" y="73"/>
                  </a:lnTo>
                  <a:lnTo>
                    <a:pt x="159" y="71"/>
                  </a:lnTo>
                  <a:close/>
                  <a:moveTo>
                    <a:pt x="30" y="44"/>
                  </a:moveTo>
                  <a:lnTo>
                    <a:pt x="30" y="46"/>
                  </a:lnTo>
                  <a:lnTo>
                    <a:pt x="30" y="44"/>
                  </a:lnTo>
                  <a:close/>
                  <a:moveTo>
                    <a:pt x="32" y="42"/>
                  </a:moveTo>
                  <a:lnTo>
                    <a:pt x="34" y="42"/>
                  </a:lnTo>
                  <a:lnTo>
                    <a:pt x="32" y="42"/>
                  </a:lnTo>
                  <a:close/>
                  <a:moveTo>
                    <a:pt x="5" y="25"/>
                  </a:moveTo>
                  <a:lnTo>
                    <a:pt x="5" y="27"/>
                  </a:lnTo>
                  <a:lnTo>
                    <a:pt x="5" y="25"/>
                  </a:lnTo>
                  <a:close/>
                  <a:moveTo>
                    <a:pt x="34" y="44"/>
                  </a:moveTo>
                  <a:lnTo>
                    <a:pt x="36" y="44"/>
                  </a:lnTo>
                  <a:lnTo>
                    <a:pt x="36" y="46"/>
                  </a:lnTo>
                  <a:lnTo>
                    <a:pt x="34" y="46"/>
                  </a:lnTo>
                  <a:lnTo>
                    <a:pt x="34" y="44"/>
                  </a:lnTo>
                  <a:close/>
                  <a:moveTo>
                    <a:pt x="59" y="40"/>
                  </a:moveTo>
                  <a:lnTo>
                    <a:pt x="61" y="40"/>
                  </a:lnTo>
                  <a:lnTo>
                    <a:pt x="59" y="40"/>
                  </a:lnTo>
                  <a:close/>
                  <a:moveTo>
                    <a:pt x="48" y="32"/>
                  </a:moveTo>
                  <a:lnTo>
                    <a:pt x="49" y="32"/>
                  </a:lnTo>
                  <a:lnTo>
                    <a:pt x="48" y="32"/>
                  </a:lnTo>
                  <a:close/>
                  <a:moveTo>
                    <a:pt x="80" y="50"/>
                  </a:moveTo>
                  <a:lnTo>
                    <a:pt x="82" y="50"/>
                  </a:lnTo>
                  <a:lnTo>
                    <a:pt x="80" y="50"/>
                  </a:lnTo>
                  <a:close/>
                  <a:moveTo>
                    <a:pt x="90" y="71"/>
                  </a:moveTo>
                  <a:lnTo>
                    <a:pt x="92" y="71"/>
                  </a:lnTo>
                  <a:lnTo>
                    <a:pt x="90" y="71"/>
                  </a:lnTo>
                  <a:close/>
                  <a:moveTo>
                    <a:pt x="40" y="48"/>
                  </a:moveTo>
                  <a:lnTo>
                    <a:pt x="40" y="50"/>
                  </a:lnTo>
                  <a:lnTo>
                    <a:pt x="40" y="48"/>
                  </a:lnTo>
                  <a:close/>
                  <a:moveTo>
                    <a:pt x="78" y="65"/>
                  </a:moveTo>
                  <a:lnTo>
                    <a:pt x="78" y="67"/>
                  </a:lnTo>
                  <a:lnTo>
                    <a:pt x="78" y="65"/>
                  </a:lnTo>
                  <a:close/>
                  <a:moveTo>
                    <a:pt x="94" y="71"/>
                  </a:moveTo>
                  <a:lnTo>
                    <a:pt x="95" y="71"/>
                  </a:lnTo>
                  <a:lnTo>
                    <a:pt x="94" y="71"/>
                  </a:lnTo>
                  <a:close/>
                  <a:moveTo>
                    <a:pt x="40" y="46"/>
                  </a:moveTo>
                  <a:lnTo>
                    <a:pt x="40" y="48"/>
                  </a:lnTo>
                  <a:lnTo>
                    <a:pt x="40" y="46"/>
                  </a:lnTo>
                  <a:close/>
                  <a:moveTo>
                    <a:pt x="28" y="30"/>
                  </a:moveTo>
                  <a:lnTo>
                    <a:pt x="30" y="30"/>
                  </a:lnTo>
                  <a:lnTo>
                    <a:pt x="28" y="30"/>
                  </a:lnTo>
                  <a:close/>
                  <a:moveTo>
                    <a:pt x="40" y="30"/>
                  </a:moveTo>
                  <a:lnTo>
                    <a:pt x="42" y="30"/>
                  </a:lnTo>
                  <a:lnTo>
                    <a:pt x="40" y="30"/>
                  </a:lnTo>
                  <a:close/>
                  <a:moveTo>
                    <a:pt x="65" y="46"/>
                  </a:moveTo>
                  <a:lnTo>
                    <a:pt x="65" y="48"/>
                  </a:lnTo>
                  <a:lnTo>
                    <a:pt x="65" y="46"/>
                  </a:lnTo>
                  <a:close/>
                  <a:moveTo>
                    <a:pt x="86" y="59"/>
                  </a:moveTo>
                  <a:lnTo>
                    <a:pt x="86" y="61"/>
                  </a:lnTo>
                  <a:lnTo>
                    <a:pt x="86" y="59"/>
                  </a:lnTo>
                  <a:close/>
                  <a:moveTo>
                    <a:pt x="44" y="34"/>
                  </a:moveTo>
                  <a:lnTo>
                    <a:pt x="46" y="34"/>
                  </a:lnTo>
                  <a:lnTo>
                    <a:pt x="44" y="34"/>
                  </a:lnTo>
                  <a:close/>
                  <a:moveTo>
                    <a:pt x="1" y="25"/>
                  </a:moveTo>
                  <a:lnTo>
                    <a:pt x="3" y="25"/>
                  </a:lnTo>
                  <a:lnTo>
                    <a:pt x="1" y="25"/>
                  </a:lnTo>
                  <a:close/>
                  <a:moveTo>
                    <a:pt x="51" y="53"/>
                  </a:moveTo>
                  <a:lnTo>
                    <a:pt x="53" y="53"/>
                  </a:lnTo>
                  <a:lnTo>
                    <a:pt x="51" y="53"/>
                  </a:lnTo>
                  <a:close/>
                  <a:moveTo>
                    <a:pt x="65" y="51"/>
                  </a:moveTo>
                  <a:lnTo>
                    <a:pt x="67" y="51"/>
                  </a:lnTo>
                  <a:lnTo>
                    <a:pt x="65" y="51"/>
                  </a:lnTo>
                  <a:close/>
                  <a:moveTo>
                    <a:pt x="32" y="40"/>
                  </a:moveTo>
                  <a:lnTo>
                    <a:pt x="32" y="42"/>
                  </a:lnTo>
                  <a:lnTo>
                    <a:pt x="32" y="40"/>
                  </a:lnTo>
                  <a:close/>
                  <a:moveTo>
                    <a:pt x="44" y="34"/>
                  </a:moveTo>
                  <a:lnTo>
                    <a:pt x="46" y="34"/>
                  </a:lnTo>
                  <a:lnTo>
                    <a:pt x="44" y="34"/>
                  </a:lnTo>
                  <a:close/>
                  <a:moveTo>
                    <a:pt x="76" y="51"/>
                  </a:moveTo>
                  <a:lnTo>
                    <a:pt x="76" y="53"/>
                  </a:lnTo>
                  <a:lnTo>
                    <a:pt x="76" y="51"/>
                  </a:lnTo>
                  <a:close/>
                  <a:moveTo>
                    <a:pt x="84" y="55"/>
                  </a:moveTo>
                  <a:lnTo>
                    <a:pt x="84" y="57"/>
                  </a:lnTo>
                  <a:lnTo>
                    <a:pt x="84" y="55"/>
                  </a:lnTo>
                  <a:close/>
                  <a:moveTo>
                    <a:pt x="53" y="55"/>
                  </a:moveTo>
                  <a:lnTo>
                    <a:pt x="55" y="55"/>
                  </a:lnTo>
                  <a:lnTo>
                    <a:pt x="53" y="55"/>
                  </a:lnTo>
                  <a:close/>
                  <a:moveTo>
                    <a:pt x="38" y="46"/>
                  </a:moveTo>
                  <a:lnTo>
                    <a:pt x="40" y="46"/>
                  </a:lnTo>
                  <a:lnTo>
                    <a:pt x="38" y="46"/>
                  </a:lnTo>
                  <a:close/>
                  <a:moveTo>
                    <a:pt x="84" y="59"/>
                  </a:moveTo>
                  <a:lnTo>
                    <a:pt x="84" y="61"/>
                  </a:lnTo>
                  <a:lnTo>
                    <a:pt x="84" y="59"/>
                  </a:lnTo>
                  <a:close/>
                  <a:moveTo>
                    <a:pt x="30" y="40"/>
                  </a:moveTo>
                  <a:lnTo>
                    <a:pt x="32" y="40"/>
                  </a:lnTo>
                  <a:lnTo>
                    <a:pt x="30" y="40"/>
                  </a:lnTo>
                  <a:close/>
                  <a:moveTo>
                    <a:pt x="34" y="48"/>
                  </a:moveTo>
                  <a:lnTo>
                    <a:pt x="34" y="50"/>
                  </a:lnTo>
                  <a:lnTo>
                    <a:pt x="34" y="48"/>
                  </a:lnTo>
                  <a:close/>
                  <a:moveTo>
                    <a:pt x="84" y="53"/>
                  </a:moveTo>
                  <a:lnTo>
                    <a:pt x="84" y="55"/>
                  </a:lnTo>
                  <a:lnTo>
                    <a:pt x="84" y="53"/>
                  </a:lnTo>
                  <a:close/>
                  <a:moveTo>
                    <a:pt x="34" y="42"/>
                  </a:moveTo>
                  <a:lnTo>
                    <a:pt x="34" y="44"/>
                  </a:lnTo>
                  <a:lnTo>
                    <a:pt x="34" y="42"/>
                  </a:lnTo>
                  <a:close/>
                  <a:moveTo>
                    <a:pt x="46" y="30"/>
                  </a:moveTo>
                  <a:lnTo>
                    <a:pt x="48" y="30"/>
                  </a:lnTo>
                  <a:lnTo>
                    <a:pt x="48" y="32"/>
                  </a:lnTo>
                  <a:lnTo>
                    <a:pt x="46" y="32"/>
                  </a:lnTo>
                  <a:lnTo>
                    <a:pt x="46" y="30"/>
                  </a:lnTo>
                  <a:close/>
                  <a:moveTo>
                    <a:pt x="15" y="36"/>
                  </a:moveTo>
                  <a:lnTo>
                    <a:pt x="17" y="36"/>
                  </a:lnTo>
                  <a:lnTo>
                    <a:pt x="15" y="36"/>
                  </a:lnTo>
                  <a:close/>
                  <a:moveTo>
                    <a:pt x="88" y="61"/>
                  </a:moveTo>
                  <a:lnTo>
                    <a:pt x="90" y="61"/>
                  </a:lnTo>
                  <a:lnTo>
                    <a:pt x="90" y="63"/>
                  </a:lnTo>
                  <a:lnTo>
                    <a:pt x="88" y="63"/>
                  </a:lnTo>
                  <a:lnTo>
                    <a:pt x="88" y="61"/>
                  </a:lnTo>
                  <a:close/>
                  <a:moveTo>
                    <a:pt x="36" y="46"/>
                  </a:moveTo>
                  <a:lnTo>
                    <a:pt x="38" y="46"/>
                  </a:lnTo>
                  <a:lnTo>
                    <a:pt x="36" y="46"/>
                  </a:lnTo>
                  <a:close/>
                  <a:moveTo>
                    <a:pt x="30" y="30"/>
                  </a:moveTo>
                  <a:lnTo>
                    <a:pt x="30" y="32"/>
                  </a:lnTo>
                  <a:lnTo>
                    <a:pt x="30" y="30"/>
                  </a:lnTo>
                  <a:close/>
                  <a:moveTo>
                    <a:pt x="23" y="42"/>
                  </a:moveTo>
                  <a:lnTo>
                    <a:pt x="24" y="42"/>
                  </a:lnTo>
                  <a:lnTo>
                    <a:pt x="23" y="42"/>
                  </a:lnTo>
                  <a:close/>
                  <a:moveTo>
                    <a:pt x="84" y="61"/>
                  </a:moveTo>
                  <a:lnTo>
                    <a:pt x="86" y="61"/>
                  </a:lnTo>
                  <a:lnTo>
                    <a:pt x="84" y="61"/>
                  </a:lnTo>
                  <a:close/>
                  <a:moveTo>
                    <a:pt x="36" y="46"/>
                  </a:moveTo>
                  <a:lnTo>
                    <a:pt x="36" y="48"/>
                  </a:lnTo>
                  <a:lnTo>
                    <a:pt x="36" y="46"/>
                  </a:lnTo>
                  <a:close/>
                  <a:moveTo>
                    <a:pt x="32" y="30"/>
                  </a:moveTo>
                  <a:lnTo>
                    <a:pt x="32" y="32"/>
                  </a:lnTo>
                  <a:lnTo>
                    <a:pt x="32" y="30"/>
                  </a:lnTo>
                  <a:close/>
                  <a:moveTo>
                    <a:pt x="34" y="50"/>
                  </a:moveTo>
                  <a:lnTo>
                    <a:pt x="34" y="51"/>
                  </a:lnTo>
                  <a:lnTo>
                    <a:pt x="34" y="50"/>
                  </a:lnTo>
                  <a:close/>
                  <a:moveTo>
                    <a:pt x="155" y="78"/>
                  </a:moveTo>
                  <a:lnTo>
                    <a:pt x="155" y="80"/>
                  </a:lnTo>
                  <a:lnTo>
                    <a:pt x="155" y="78"/>
                  </a:lnTo>
                  <a:close/>
                  <a:moveTo>
                    <a:pt x="59" y="2"/>
                  </a:moveTo>
                  <a:lnTo>
                    <a:pt x="61" y="2"/>
                  </a:lnTo>
                  <a:lnTo>
                    <a:pt x="61" y="3"/>
                  </a:lnTo>
                  <a:lnTo>
                    <a:pt x="59" y="3"/>
                  </a:lnTo>
                  <a:lnTo>
                    <a:pt x="59" y="2"/>
                  </a:lnTo>
                  <a:close/>
                  <a:moveTo>
                    <a:pt x="15" y="21"/>
                  </a:moveTo>
                  <a:lnTo>
                    <a:pt x="15" y="23"/>
                  </a:lnTo>
                  <a:lnTo>
                    <a:pt x="15" y="21"/>
                  </a:lnTo>
                  <a:close/>
                  <a:moveTo>
                    <a:pt x="34" y="30"/>
                  </a:moveTo>
                  <a:lnTo>
                    <a:pt x="36" y="30"/>
                  </a:lnTo>
                  <a:lnTo>
                    <a:pt x="36" y="32"/>
                  </a:lnTo>
                  <a:lnTo>
                    <a:pt x="34" y="32"/>
                  </a:lnTo>
                  <a:lnTo>
                    <a:pt x="34" y="30"/>
                  </a:lnTo>
                  <a:close/>
                  <a:moveTo>
                    <a:pt x="42" y="32"/>
                  </a:moveTo>
                  <a:lnTo>
                    <a:pt x="42" y="34"/>
                  </a:lnTo>
                  <a:lnTo>
                    <a:pt x="42" y="32"/>
                  </a:lnTo>
                  <a:close/>
                  <a:moveTo>
                    <a:pt x="55" y="53"/>
                  </a:moveTo>
                  <a:lnTo>
                    <a:pt x="55" y="55"/>
                  </a:lnTo>
                  <a:lnTo>
                    <a:pt x="55" y="53"/>
                  </a:lnTo>
                  <a:close/>
                  <a:moveTo>
                    <a:pt x="13" y="19"/>
                  </a:moveTo>
                  <a:lnTo>
                    <a:pt x="13" y="21"/>
                  </a:lnTo>
                  <a:lnTo>
                    <a:pt x="13" y="19"/>
                  </a:lnTo>
                  <a:close/>
                  <a:moveTo>
                    <a:pt x="7" y="21"/>
                  </a:moveTo>
                  <a:lnTo>
                    <a:pt x="7" y="23"/>
                  </a:lnTo>
                  <a:lnTo>
                    <a:pt x="7" y="21"/>
                  </a:lnTo>
                  <a:close/>
                  <a:moveTo>
                    <a:pt x="24" y="28"/>
                  </a:moveTo>
                  <a:lnTo>
                    <a:pt x="24" y="30"/>
                  </a:lnTo>
                  <a:lnTo>
                    <a:pt x="24" y="28"/>
                  </a:lnTo>
                  <a:close/>
                  <a:moveTo>
                    <a:pt x="55" y="53"/>
                  </a:moveTo>
                  <a:lnTo>
                    <a:pt x="55" y="55"/>
                  </a:lnTo>
                  <a:lnTo>
                    <a:pt x="55" y="53"/>
                  </a:lnTo>
                  <a:close/>
                  <a:moveTo>
                    <a:pt x="65" y="46"/>
                  </a:moveTo>
                  <a:lnTo>
                    <a:pt x="65" y="48"/>
                  </a:lnTo>
                  <a:lnTo>
                    <a:pt x="65" y="46"/>
                  </a:lnTo>
                  <a:close/>
                  <a:moveTo>
                    <a:pt x="69" y="42"/>
                  </a:moveTo>
                  <a:lnTo>
                    <a:pt x="69" y="44"/>
                  </a:lnTo>
                  <a:lnTo>
                    <a:pt x="69" y="42"/>
                  </a:lnTo>
                  <a:close/>
                  <a:moveTo>
                    <a:pt x="53" y="40"/>
                  </a:moveTo>
                  <a:lnTo>
                    <a:pt x="53" y="42"/>
                  </a:lnTo>
                  <a:lnTo>
                    <a:pt x="53" y="40"/>
                  </a:lnTo>
                  <a:close/>
                  <a:moveTo>
                    <a:pt x="32" y="30"/>
                  </a:moveTo>
                  <a:lnTo>
                    <a:pt x="32" y="32"/>
                  </a:lnTo>
                  <a:lnTo>
                    <a:pt x="32" y="30"/>
                  </a:lnTo>
                  <a:close/>
                  <a:moveTo>
                    <a:pt x="61" y="0"/>
                  </a:moveTo>
                  <a:lnTo>
                    <a:pt x="61" y="2"/>
                  </a:lnTo>
                  <a:lnTo>
                    <a:pt x="61" y="0"/>
                  </a:lnTo>
                  <a:close/>
                  <a:moveTo>
                    <a:pt x="46" y="30"/>
                  </a:moveTo>
                  <a:lnTo>
                    <a:pt x="46" y="32"/>
                  </a:lnTo>
                  <a:lnTo>
                    <a:pt x="46" y="30"/>
                  </a:lnTo>
                  <a:close/>
                  <a:moveTo>
                    <a:pt x="24" y="28"/>
                  </a:moveTo>
                  <a:lnTo>
                    <a:pt x="24" y="30"/>
                  </a:lnTo>
                  <a:lnTo>
                    <a:pt x="24" y="28"/>
                  </a:lnTo>
                  <a:close/>
                  <a:moveTo>
                    <a:pt x="30" y="28"/>
                  </a:moveTo>
                  <a:lnTo>
                    <a:pt x="30" y="30"/>
                  </a:lnTo>
                  <a:lnTo>
                    <a:pt x="30" y="28"/>
                  </a:lnTo>
                  <a:close/>
                  <a:moveTo>
                    <a:pt x="38" y="48"/>
                  </a:moveTo>
                  <a:lnTo>
                    <a:pt x="40" y="48"/>
                  </a:lnTo>
                  <a:lnTo>
                    <a:pt x="38" y="48"/>
                  </a:lnTo>
                  <a:close/>
                  <a:moveTo>
                    <a:pt x="78" y="65"/>
                  </a:moveTo>
                  <a:lnTo>
                    <a:pt x="78" y="67"/>
                  </a:lnTo>
                  <a:lnTo>
                    <a:pt x="78" y="65"/>
                  </a:lnTo>
                  <a:close/>
                  <a:moveTo>
                    <a:pt x="57" y="2"/>
                  </a:moveTo>
                  <a:lnTo>
                    <a:pt x="59" y="2"/>
                  </a:lnTo>
                  <a:lnTo>
                    <a:pt x="57" y="2"/>
                  </a:lnTo>
                  <a:close/>
                  <a:moveTo>
                    <a:pt x="34" y="50"/>
                  </a:moveTo>
                  <a:lnTo>
                    <a:pt x="36" y="50"/>
                  </a:lnTo>
                  <a:lnTo>
                    <a:pt x="34" y="50"/>
                  </a:lnTo>
                  <a:close/>
                  <a:moveTo>
                    <a:pt x="42" y="30"/>
                  </a:moveTo>
                  <a:lnTo>
                    <a:pt x="42" y="32"/>
                  </a:lnTo>
                  <a:lnTo>
                    <a:pt x="42" y="30"/>
                  </a:lnTo>
                  <a:close/>
                  <a:moveTo>
                    <a:pt x="38" y="30"/>
                  </a:moveTo>
                  <a:lnTo>
                    <a:pt x="38" y="32"/>
                  </a:lnTo>
                  <a:lnTo>
                    <a:pt x="38" y="30"/>
                  </a:lnTo>
                  <a:close/>
                  <a:moveTo>
                    <a:pt x="155" y="78"/>
                  </a:moveTo>
                  <a:lnTo>
                    <a:pt x="157" y="78"/>
                  </a:lnTo>
                  <a:lnTo>
                    <a:pt x="155" y="78"/>
                  </a:lnTo>
                  <a:close/>
                  <a:moveTo>
                    <a:pt x="23" y="42"/>
                  </a:moveTo>
                  <a:lnTo>
                    <a:pt x="24" y="42"/>
                  </a:lnTo>
                  <a:lnTo>
                    <a:pt x="23" y="42"/>
                  </a:lnTo>
                  <a:close/>
                  <a:moveTo>
                    <a:pt x="38" y="50"/>
                  </a:moveTo>
                  <a:lnTo>
                    <a:pt x="40" y="50"/>
                  </a:lnTo>
                  <a:lnTo>
                    <a:pt x="38" y="50"/>
                  </a:lnTo>
                  <a:close/>
                  <a:moveTo>
                    <a:pt x="34" y="30"/>
                  </a:moveTo>
                  <a:lnTo>
                    <a:pt x="36" y="30"/>
                  </a:lnTo>
                  <a:lnTo>
                    <a:pt x="34" y="30"/>
                  </a:lnTo>
                  <a:close/>
                  <a:moveTo>
                    <a:pt x="74" y="61"/>
                  </a:moveTo>
                  <a:lnTo>
                    <a:pt x="76" y="61"/>
                  </a:lnTo>
                  <a:lnTo>
                    <a:pt x="74" y="61"/>
                  </a:lnTo>
                  <a:close/>
                  <a:moveTo>
                    <a:pt x="82" y="59"/>
                  </a:moveTo>
                  <a:lnTo>
                    <a:pt x="84" y="59"/>
                  </a:lnTo>
                  <a:lnTo>
                    <a:pt x="82" y="59"/>
                  </a:lnTo>
                  <a:close/>
                  <a:moveTo>
                    <a:pt x="30" y="30"/>
                  </a:moveTo>
                  <a:lnTo>
                    <a:pt x="32" y="30"/>
                  </a:lnTo>
                  <a:lnTo>
                    <a:pt x="30" y="30"/>
                  </a:lnTo>
                  <a:close/>
                  <a:moveTo>
                    <a:pt x="67" y="53"/>
                  </a:moveTo>
                  <a:lnTo>
                    <a:pt x="69" y="53"/>
                  </a:lnTo>
                  <a:lnTo>
                    <a:pt x="69" y="55"/>
                  </a:lnTo>
                  <a:lnTo>
                    <a:pt x="67" y="55"/>
                  </a:lnTo>
                  <a:lnTo>
                    <a:pt x="67" y="53"/>
                  </a:lnTo>
                  <a:close/>
                  <a:moveTo>
                    <a:pt x="67" y="51"/>
                  </a:moveTo>
                  <a:lnTo>
                    <a:pt x="67" y="53"/>
                  </a:lnTo>
                  <a:lnTo>
                    <a:pt x="67" y="51"/>
                  </a:lnTo>
                  <a:close/>
                  <a:moveTo>
                    <a:pt x="63" y="46"/>
                  </a:moveTo>
                  <a:lnTo>
                    <a:pt x="65" y="46"/>
                  </a:lnTo>
                  <a:lnTo>
                    <a:pt x="63" y="46"/>
                  </a:lnTo>
                  <a:close/>
                  <a:moveTo>
                    <a:pt x="17" y="34"/>
                  </a:moveTo>
                  <a:lnTo>
                    <a:pt x="19" y="34"/>
                  </a:lnTo>
                  <a:lnTo>
                    <a:pt x="17" y="34"/>
                  </a:lnTo>
                  <a:close/>
                  <a:moveTo>
                    <a:pt x="97" y="80"/>
                  </a:moveTo>
                  <a:lnTo>
                    <a:pt x="99" y="80"/>
                  </a:lnTo>
                  <a:lnTo>
                    <a:pt x="97" y="80"/>
                  </a:lnTo>
                  <a:close/>
                  <a:moveTo>
                    <a:pt x="24" y="28"/>
                  </a:moveTo>
                  <a:lnTo>
                    <a:pt x="24" y="30"/>
                  </a:lnTo>
                  <a:lnTo>
                    <a:pt x="24" y="28"/>
                  </a:lnTo>
                  <a:close/>
                  <a:moveTo>
                    <a:pt x="61" y="2"/>
                  </a:moveTo>
                  <a:lnTo>
                    <a:pt x="61" y="3"/>
                  </a:lnTo>
                  <a:lnTo>
                    <a:pt x="61" y="2"/>
                  </a:lnTo>
                  <a:close/>
                  <a:moveTo>
                    <a:pt x="38" y="48"/>
                  </a:moveTo>
                  <a:lnTo>
                    <a:pt x="40" y="48"/>
                  </a:lnTo>
                  <a:lnTo>
                    <a:pt x="38" y="48"/>
                  </a:lnTo>
                  <a:close/>
                  <a:moveTo>
                    <a:pt x="34" y="46"/>
                  </a:moveTo>
                  <a:lnTo>
                    <a:pt x="36" y="46"/>
                  </a:lnTo>
                  <a:lnTo>
                    <a:pt x="34" y="46"/>
                  </a:lnTo>
                  <a:close/>
                  <a:moveTo>
                    <a:pt x="44" y="32"/>
                  </a:moveTo>
                  <a:lnTo>
                    <a:pt x="44" y="34"/>
                  </a:lnTo>
                  <a:lnTo>
                    <a:pt x="44" y="32"/>
                  </a:lnTo>
                  <a:close/>
                  <a:moveTo>
                    <a:pt x="21" y="40"/>
                  </a:moveTo>
                  <a:lnTo>
                    <a:pt x="21" y="42"/>
                  </a:lnTo>
                  <a:lnTo>
                    <a:pt x="21" y="40"/>
                  </a:lnTo>
                  <a:close/>
                  <a:moveTo>
                    <a:pt x="24" y="28"/>
                  </a:moveTo>
                  <a:lnTo>
                    <a:pt x="24" y="30"/>
                  </a:lnTo>
                  <a:lnTo>
                    <a:pt x="24" y="28"/>
                  </a:lnTo>
                  <a:close/>
                  <a:moveTo>
                    <a:pt x="24" y="42"/>
                  </a:moveTo>
                  <a:lnTo>
                    <a:pt x="24" y="44"/>
                  </a:lnTo>
                  <a:lnTo>
                    <a:pt x="24" y="42"/>
                  </a:lnTo>
                  <a:close/>
                  <a:moveTo>
                    <a:pt x="34" y="48"/>
                  </a:moveTo>
                  <a:lnTo>
                    <a:pt x="34" y="50"/>
                  </a:lnTo>
                  <a:lnTo>
                    <a:pt x="34" y="48"/>
                  </a:lnTo>
                  <a:close/>
                  <a:moveTo>
                    <a:pt x="38" y="48"/>
                  </a:moveTo>
                  <a:lnTo>
                    <a:pt x="38" y="50"/>
                  </a:lnTo>
                  <a:lnTo>
                    <a:pt x="38" y="48"/>
                  </a:lnTo>
                  <a:close/>
                  <a:moveTo>
                    <a:pt x="38" y="46"/>
                  </a:moveTo>
                  <a:lnTo>
                    <a:pt x="38" y="48"/>
                  </a:lnTo>
                  <a:lnTo>
                    <a:pt x="38" y="46"/>
                  </a:lnTo>
                  <a:close/>
                  <a:moveTo>
                    <a:pt x="23" y="42"/>
                  </a:moveTo>
                  <a:lnTo>
                    <a:pt x="24" y="42"/>
                  </a:lnTo>
                  <a:lnTo>
                    <a:pt x="23" y="42"/>
                  </a:lnTo>
                  <a:close/>
                  <a:moveTo>
                    <a:pt x="42" y="30"/>
                  </a:moveTo>
                  <a:lnTo>
                    <a:pt x="42" y="32"/>
                  </a:lnTo>
                  <a:lnTo>
                    <a:pt x="42" y="30"/>
                  </a:lnTo>
                  <a:close/>
                  <a:moveTo>
                    <a:pt x="24" y="42"/>
                  </a:moveTo>
                  <a:lnTo>
                    <a:pt x="24" y="44"/>
                  </a:lnTo>
                  <a:lnTo>
                    <a:pt x="24" y="42"/>
                  </a:lnTo>
                  <a:close/>
                  <a:moveTo>
                    <a:pt x="34" y="48"/>
                  </a:moveTo>
                  <a:lnTo>
                    <a:pt x="36" y="48"/>
                  </a:lnTo>
                  <a:lnTo>
                    <a:pt x="36" y="50"/>
                  </a:lnTo>
                  <a:lnTo>
                    <a:pt x="34" y="50"/>
                  </a:lnTo>
                  <a:lnTo>
                    <a:pt x="34" y="48"/>
                  </a:lnTo>
                  <a:close/>
                  <a:moveTo>
                    <a:pt x="13" y="19"/>
                  </a:moveTo>
                  <a:lnTo>
                    <a:pt x="13" y="21"/>
                  </a:lnTo>
                  <a:lnTo>
                    <a:pt x="13" y="19"/>
                  </a:lnTo>
                  <a:close/>
                  <a:moveTo>
                    <a:pt x="7" y="23"/>
                  </a:moveTo>
                  <a:lnTo>
                    <a:pt x="9" y="23"/>
                  </a:lnTo>
                  <a:lnTo>
                    <a:pt x="7" y="23"/>
                  </a:lnTo>
                  <a:close/>
                  <a:moveTo>
                    <a:pt x="34" y="44"/>
                  </a:moveTo>
                  <a:lnTo>
                    <a:pt x="34" y="46"/>
                  </a:lnTo>
                  <a:lnTo>
                    <a:pt x="34" y="44"/>
                  </a:lnTo>
                  <a:close/>
                  <a:moveTo>
                    <a:pt x="34" y="30"/>
                  </a:moveTo>
                  <a:lnTo>
                    <a:pt x="34" y="32"/>
                  </a:lnTo>
                  <a:lnTo>
                    <a:pt x="34" y="30"/>
                  </a:lnTo>
                  <a:close/>
                  <a:moveTo>
                    <a:pt x="34" y="30"/>
                  </a:moveTo>
                  <a:lnTo>
                    <a:pt x="34" y="32"/>
                  </a:lnTo>
                  <a:lnTo>
                    <a:pt x="34" y="30"/>
                  </a:lnTo>
                  <a:close/>
                  <a:moveTo>
                    <a:pt x="42" y="30"/>
                  </a:moveTo>
                  <a:lnTo>
                    <a:pt x="42" y="32"/>
                  </a:lnTo>
                  <a:lnTo>
                    <a:pt x="42" y="30"/>
                  </a:lnTo>
                  <a:close/>
                  <a:moveTo>
                    <a:pt x="30" y="50"/>
                  </a:moveTo>
                  <a:lnTo>
                    <a:pt x="30" y="51"/>
                  </a:lnTo>
                  <a:lnTo>
                    <a:pt x="30" y="50"/>
                  </a:lnTo>
                  <a:close/>
                  <a:moveTo>
                    <a:pt x="15" y="36"/>
                  </a:moveTo>
                  <a:lnTo>
                    <a:pt x="17" y="36"/>
                  </a:lnTo>
                  <a:lnTo>
                    <a:pt x="15" y="36"/>
                  </a:lnTo>
                  <a:close/>
                  <a:moveTo>
                    <a:pt x="40" y="46"/>
                  </a:moveTo>
                  <a:lnTo>
                    <a:pt x="40" y="48"/>
                  </a:lnTo>
                  <a:lnTo>
                    <a:pt x="40" y="46"/>
                  </a:lnTo>
                  <a:close/>
                  <a:moveTo>
                    <a:pt x="38" y="48"/>
                  </a:moveTo>
                  <a:lnTo>
                    <a:pt x="40" y="48"/>
                  </a:lnTo>
                  <a:lnTo>
                    <a:pt x="38" y="48"/>
                  </a:lnTo>
                  <a:close/>
                  <a:moveTo>
                    <a:pt x="44" y="34"/>
                  </a:moveTo>
                  <a:lnTo>
                    <a:pt x="46" y="34"/>
                  </a:lnTo>
                  <a:lnTo>
                    <a:pt x="44" y="34"/>
                  </a:lnTo>
                  <a:close/>
                  <a:moveTo>
                    <a:pt x="19" y="40"/>
                  </a:moveTo>
                  <a:lnTo>
                    <a:pt x="21" y="40"/>
                  </a:lnTo>
                  <a:lnTo>
                    <a:pt x="19" y="40"/>
                  </a:lnTo>
                  <a:close/>
                  <a:moveTo>
                    <a:pt x="26" y="46"/>
                  </a:moveTo>
                  <a:lnTo>
                    <a:pt x="28" y="46"/>
                  </a:lnTo>
                  <a:lnTo>
                    <a:pt x="26" y="46"/>
                  </a:lnTo>
                  <a:close/>
                  <a:moveTo>
                    <a:pt x="36" y="46"/>
                  </a:moveTo>
                  <a:lnTo>
                    <a:pt x="36" y="48"/>
                  </a:lnTo>
                  <a:lnTo>
                    <a:pt x="36" y="46"/>
                  </a:lnTo>
                  <a:close/>
                  <a:moveTo>
                    <a:pt x="30" y="44"/>
                  </a:moveTo>
                  <a:lnTo>
                    <a:pt x="32" y="44"/>
                  </a:lnTo>
                  <a:lnTo>
                    <a:pt x="30" y="44"/>
                  </a:lnTo>
                  <a:close/>
                  <a:moveTo>
                    <a:pt x="24" y="42"/>
                  </a:moveTo>
                  <a:lnTo>
                    <a:pt x="24" y="44"/>
                  </a:lnTo>
                  <a:lnTo>
                    <a:pt x="24" y="42"/>
                  </a:lnTo>
                  <a:close/>
                  <a:moveTo>
                    <a:pt x="28" y="42"/>
                  </a:moveTo>
                  <a:lnTo>
                    <a:pt x="28" y="44"/>
                  </a:lnTo>
                  <a:lnTo>
                    <a:pt x="28" y="42"/>
                  </a:lnTo>
                  <a:close/>
                  <a:moveTo>
                    <a:pt x="86" y="59"/>
                  </a:moveTo>
                  <a:lnTo>
                    <a:pt x="86" y="61"/>
                  </a:lnTo>
                  <a:lnTo>
                    <a:pt x="86" y="59"/>
                  </a:lnTo>
                  <a:close/>
                  <a:moveTo>
                    <a:pt x="44" y="34"/>
                  </a:moveTo>
                  <a:lnTo>
                    <a:pt x="46" y="34"/>
                  </a:lnTo>
                  <a:lnTo>
                    <a:pt x="44" y="34"/>
                  </a:lnTo>
                  <a:close/>
                  <a:moveTo>
                    <a:pt x="15" y="36"/>
                  </a:moveTo>
                  <a:lnTo>
                    <a:pt x="17" y="36"/>
                  </a:lnTo>
                  <a:lnTo>
                    <a:pt x="15" y="36"/>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0" name="Rectangle 429">
              <a:extLst>
                <a:ext uri="{FF2B5EF4-FFF2-40B4-BE49-F238E27FC236}">
                  <a16:creationId xmlns:a16="http://schemas.microsoft.com/office/drawing/2014/main" id="{617536F4-4DAB-4793-B796-9AFC6CB1581D}"/>
                </a:ext>
              </a:extLst>
            </p:cNvPr>
            <p:cNvSpPr>
              <a:spLocks noChangeArrowheads="1"/>
            </p:cNvSpPr>
            <p:nvPr/>
          </p:nvSpPr>
          <p:spPr bwMode="gray">
            <a:xfrm>
              <a:off x="6203074" y="4376351"/>
              <a:ext cx="1227" cy="1227"/>
            </a:xfrm>
            <a:prstGeom prst="rect">
              <a:avLst/>
            </a:prstGeom>
            <a:solidFill>
              <a:srgbClr val="D0D0D0"/>
            </a:solidFill>
            <a:ln w="6350">
              <a:solidFill>
                <a:schemeClr val="tx1">
                  <a:alpha val="38000"/>
                </a:schemeClr>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1" name="Freeform 430">
              <a:extLst>
                <a:ext uri="{FF2B5EF4-FFF2-40B4-BE49-F238E27FC236}">
                  <a16:creationId xmlns:a16="http://schemas.microsoft.com/office/drawing/2014/main" id="{838E567D-2BA3-473D-9671-3AF808680D7C}"/>
                </a:ext>
              </a:extLst>
            </p:cNvPr>
            <p:cNvSpPr>
              <a:spLocks noEditPoints="1"/>
            </p:cNvSpPr>
            <p:nvPr/>
          </p:nvSpPr>
          <p:spPr bwMode="gray">
            <a:xfrm>
              <a:off x="5735825" y="4389842"/>
              <a:ext cx="271030" cy="188862"/>
            </a:xfrm>
            <a:custGeom>
              <a:avLst/>
              <a:gdLst>
                <a:gd name="T0" fmla="*/ 2 w 221"/>
                <a:gd name="T1" fmla="*/ 50 h 154"/>
                <a:gd name="T2" fmla="*/ 24 w 221"/>
                <a:gd name="T3" fmla="*/ 27 h 154"/>
                <a:gd name="T4" fmla="*/ 50 w 221"/>
                <a:gd name="T5" fmla="*/ 38 h 154"/>
                <a:gd name="T6" fmla="*/ 70 w 221"/>
                <a:gd name="T7" fmla="*/ 50 h 154"/>
                <a:gd name="T8" fmla="*/ 73 w 221"/>
                <a:gd name="T9" fmla="*/ 58 h 154"/>
                <a:gd name="T10" fmla="*/ 95 w 221"/>
                <a:gd name="T11" fmla="*/ 67 h 154"/>
                <a:gd name="T12" fmla="*/ 93 w 221"/>
                <a:gd name="T13" fmla="*/ 88 h 154"/>
                <a:gd name="T14" fmla="*/ 106 w 221"/>
                <a:gd name="T15" fmla="*/ 102 h 154"/>
                <a:gd name="T16" fmla="*/ 121 w 221"/>
                <a:gd name="T17" fmla="*/ 121 h 154"/>
                <a:gd name="T18" fmla="*/ 143 w 221"/>
                <a:gd name="T19" fmla="*/ 135 h 154"/>
                <a:gd name="T20" fmla="*/ 135 w 221"/>
                <a:gd name="T21" fmla="*/ 136 h 154"/>
                <a:gd name="T22" fmla="*/ 114 w 221"/>
                <a:gd name="T23" fmla="*/ 131 h 154"/>
                <a:gd name="T24" fmla="*/ 98 w 221"/>
                <a:gd name="T25" fmla="*/ 125 h 154"/>
                <a:gd name="T26" fmla="*/ 89 w 221"/>
                <a:gd name="T27" fmla="*/ 115 h 154"/>
                <a:gd name="T28" fmla="*/ 77 w 221"/>
                <a:gd name="T29" fmla="*/ 100 h 154"/>
                <a:gd name="T30" fmla="*/ 58 w 221"/>
                <a:gd name="T31" fmla="*/ 92 h 154"/>
                <a:gd name="T32" fmla="*/ 48 w 221"/>
                <a:gd name="T33" fmla="*/ 94 h 154"/>
                <a:gd name="T34" fmla="*/ 35 w 221"/>
                <a:gd name="T35" fmla="*/ 96 h 154"/>
                <a:gd name="T36" fmla="*/ 37 w 221"/>
                <a:gd name="T37" fmla="*/ 113 h 154"/>
                <a:gd name="T38" fmla="*/ 166 w 221"/>
                <a:gd name="T39" fmla="*/ 42 h 154"/>
                <a:gd name="T40" fmla="*/ 162 w 221"/>
                <a:gd name="T41" fmla="*/ 58 h 154"/>
                <a:gd name="T42" fmla="*/ 146 w 221"/>
                <a:gd name="T43" fmla="*/ 69 h 154"/>
                <a:gd name="T44" fmla="*/ 119 w 221"/>
                <a:gd name="T45" fmla="*/ 69 h 154"/>
                <a:gd name="T46" fmla="*/ 131 w 221"/>
                <a:gd name="T47" fmla="*/ 62 h 154"/>
                <a:gd name="T48" fmla="*/ 146 w 221"/>
                <a:gd name="T49" fmla="*/ 62 h 154"/>
                <a:gd name="T50" fmla="*/ 204 w 221"/>
                <a:gd name="T51" fmla="*/ 63 h 154"/>
                <a:gd name="T52" fmla="*/ 221 w 221"/>
                <a:gd name="T53" fmla="*/ 81 h 154"/>
                <a:gd name="T54" fmla="*/ 148 w 221"/>
                <a:gd name="T55" fmla="*/ 21 h 154"/>
                <a:gd name="T56" fmla="*/ 175 w 221"/>
                <a:gd name="T57" fmla="*/ 40 h 154"/>
                <a:gd name="T58" fmla="*/ 162 w 221"/>
                <a:gd name="T59" fmla="*/ 31 h 154"/>
                <a:gd name="T60" fmla="*/ 93 w 221"/>
                <a:gd name="T61" fmla="*/ 10 h 154"/>
                <a:gd name="T62" fmla="*/ 85 w 221"/>
                <a:gd name="T63" fmla="*/ 10 h 154"/>
                <a:gd name="T64" fmla="*/ 141 w 221"/>
                <a:gd name="T65" fmla="*/ 119 h 154"/>
                <a:gd name="T66" fmla="*/ 179 w 221"/>
                <a:gd name="T67" fmla="*/ 115 h 154"/>
                <a:gd name="T68" fmla="*/ 150 w 221"/>
                <a:gd name="T69" fmla="*/ 129 h 154"/>
                <a:gd name="T70" fmla="*/ 102 w 221"/>
                <a:gd name="T71" fmla="*/ 62 h 154"/>
                <a:gd name="T72" fmla="*/ 183 w 221"/>
                <a:gd name="T73" fmla="*/ 150 h 154"/>
                <a:gd name="T74" fmla="*/ 91 w 221"/>
                <a:gd name="T75" fmla="*/ 62 h 154"/>
                <a:gd name="T76" fmla="*/ 194 w 221"/>
                <a:gd name="T77" fmla="*/ 148 h 154"/>
                <a:gd name="T78" fmla="*/ 171 w 221"/>
                <a:gd name="T79" fmla="*/ 138 h 154"/>
                <a:gd name="T80" fmla="*/ 144 w 221"/>
                <a:gd name="T81" fmla="*/ 25 h 154"/>
                <a:gd name="T82" fmla="*/ 52 w 221"/>
                <a:gd name="T83" fmla="*/ 90 h 154"/>
                <a:gd name="T84" fmla="*/ 181 w 221"/>
                <a:gd name="T85" fmla="*/ 146 h 154"/>
                <a:gd name="T86" fmla="*/ 96 w 221"/>
                <a:gd name="T87" fmla="*/ 12 h 154"/>
                <a:gd name="T88" fmla="*/ 148 w 221"/>
                <a:gd name="T89" fmla="*/ 106 h 154"/>
                <a:gd name="T90" fmla="*/ 48 w 221"/>
                <a:gd name="T91" fmla="*/ 29 h 154"/>
                <a:gd name="T92" fmla="*/ 194 w 221"/>
                <a:gd name="T93" fmla="*/ 46 h 154"/>
                <a:gd name="T94" fmla="*/ 37 w 221"/>
                <a:gd name="T95" fmla="*/ 108 h 154"/>
                <a:gd name="T96" fmla="*/ 50 w 221"/>
                <a:gd name="T97" fmla="*/ 92 h 154"/>
                <a:gd name="T98" fmla="*/ 43 w 221"/>
                <a:gd name="T99" fmla="*/ 94 h 154"/>
                <a:gd name="T100" fmla="*/ 41 w 221"/>
                <a:gd name="T101" fmla="*/ 104 h 154"/>
                <a:gd name="T102" fmla="*/ 35 w 221"/>
                <a:gd name="T103" fmla="*/ 29 h 154"/>
                <a:gd name="T104" fmla="*/ 56 w 221"/>
                <a:gd name="T105" fmla="*/ 92 h 154"/>
                <a:gd name="T106" fmla="*/ 144 w 221"/>
                <a:gd name="T107" fmla="*/ 119 h 154"/>
                <a:gd name="T108" fmla="*/ 177 w 221"/>
                <a:gd name="T109" fmla="*/ 140 h 154"/>
                <a:gd name="T110" fmla="*/ 119 w 221"/>
                <a:gd name="T111" fmla="*/ 71 h 154"/>
                <a:gd name="T112" fmla="*/ 39 w 221"/>
                <a:gd name="T113" fmla="*/ 31 h 154"/>
                <a:gd name="T114" fmla="*/ 169 w 221"/>
                <a:gd name="T115" fmla="*/ 144 h 154"/>
                <a:gd name="T116" fmla="*/ 131 w 221"/>
                <a:gd name="T117" fmla="*/ 73 h 154"/>
                <a:gd name="T118" fmla="*/ 89 w 221"/>
                <a:gd name="T119" fmla="*/ 14 h 154"/>
                <a:gd name="T120" fmla="*/ 139 w 221"/>
                <a:gd name="T121" fmla="*/ 119 h 154"/>
                <a:gd name="T122" fmla="*/ 143 w 221"/>
                <a:gd name="T123" fmla="*/ 136 h 154"/>
                <a:gd name="T124" fmla="*/ 144 w 221"/>
                <a:gd name="T125" fmla="*/ 13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1" h="154">
                  <a:moveTo>
                    <a:pt x="2" y="115"/>
                  </a:moveTo>
                  <a:lnTo>
                    <a:pt x="2" y="111"/>
                  </a:lnTo>
                  <a:lnTo>
                    <a:pt x="2" y="96"/>
                  </a:lnTo>
                  <a:lnTo>
                    <a:pt x="2" y="94"/>
                  </a:lnTo>
                  <a:lnTo>
                    <a:pt x="2" y="85"/>
                  </a:lnTo>
                  <a:lnTo>
                    <a:pt x="2" y="83"/>
                  </a:lnTo>
                  <a:lnTo>
                    <a:pt x="0" y="83"/>
                  </a:lnTo>
                  <a:lnTo>
                    <a:pt x="2" y="83"/>
                  </a:lnTo>
                  <a:lnTo>
                    <a:pt x="0" y="83"/>
                  </a:lnTo>
                  <a:lnTo>
                    <a:pt x="0" y="81"/>
                  </a:lnTo>
                  <a:lnTo>
                    <a:pt x="0" y="79"/>
                  </a:lnTo>
                  <a:lnTo>
                    <a:pt x="0" y="77"/>
                  </a:lnTo>
                  <a:lnTo>
                    <a:pt x="0" y="79"/>
                  </a:lnTo>
                  <a:lnTo>
                    <a:pt x="0" y="77"/>
                  </a:lnTo>
                  <a:lnTo>
                    <a:pt x="2" y="77"/>
                  </a:lnTo>
                  <a:lnTo>
                    <a:pt x="0" y="77"/>
                  </a:lnTo>
                  <a:lnTo>
                    <a:pt x="2" y="77"/>
                  </a:lnTo>
                  <a:lnTo>
                    <a:pt x="0" y="77"/>
                  </a:lnTo>
                  <a:lnTo>
                    <a:pt x="0" y="75"/>
                  </a:lnTo>
                  <a:lnTo>
                    <a:pt x="2" y="75"/>
                  </a:lnTo>
                  <a:lnTo>
                    <a:pt x="0" y="75"/>
                  </a:lnTo>
                  <a:lnTo>
                    <a:pt x="2" y="75"/>
                  </a:lnTo>
                  <a:lnTo>
                    <a:pt x="0" y="75"/>
                  </a:lnTo>
                  <a:lnTo>
                    <a:pt x="2" y="75"/>
                  </a:lnTo>
                  <a:lnTo>
                    <a:pt x="2" y="73"/>
                  </a:lnTo>
                  <a:lnTo>
                    <a:pt x="2" y="67"/>
                  </a:lnTo>
                  <a:lnTo>
                    <a:pt x="2" y="60"/>
                  </a:lnTo>
                  <a:lnTo>
                    <a:pt x="2" y="58"/>
                  </a:lnTo>
                  <a:lnTo>
                    <a:pt x="2" y="54"/>
                  </a:lnTo>
                  <a:lnTo>
                    <a:pt x="2" y="50"/>
                  </a:lnTo>
                  <a:lnTo>
                    <a:pt x="2" y="48"/>
                  </a:lnTo>
                  <a:lnTo>
                    <a:pt x="2" y="42"/>
                  </a:lnTo>
                  <a:lnTo>
                    <a:pt x="2" y="40"/>
                  </a:lnTo>
                  <a:lnTo>
                    <a:pt x="2" y="38"/>
                  </a:lnTo>
                  <a:lnTo>
                    <a:pt x="2" y="33"/>
                  </a:lnTo>
                  <a:lnTo>
                    <a:pt x="2" y="31"/>
                  </a:lnTo>
                  <a:lnTo>
                    <a:pt x="2" y="29"/>
                  </a:lnTo>
                  <a:lnTo>
                    <a:pt x="2" y="27"/>
                  </a:lnTo>
                  <a:lnTo>
                    <a:pt x="2" y="25"/>
                  </a:lnTo>
                  <a:lnTo>
                    <a:pt x="2" y="23"/>
                  </a:lnTo>
                  <a:lnTo>
                    <a:pt x="2" y="19"/>
                  </a:lnTo>
                  <a:lnTo>
                    <a:pt x="4" y="19"/>
                  </a:lnTo>
                  <a:lnTo>
                    <a:pt x="6" y="19"/>
                  </a:lnTo>
                  <a:lnTo>
                    <a:pt x="6" y="21"/>
                  </a:lnTo>
                  <a:lnTo>
                    <a:pt x="8" y="21"/>
                  </a:lnTo>
                  <a:lnTo>
                    <a:pt x="10" y="21"/>
                  </a:lnTo>
                  <a:lnTo>
                    <a:pt x="10" y="23"/>
                  </a:lnTo>
                  <a:lnTo>
                    <a:pt x="12" y="23"/>
                  </a:lnTo>
                  <a:lnTo>
                    <a:pt x="14" y="23"/>
                  </a:lnTo>
                  <a:lnTo>
                    <a:pt x="14" y="25"/>
                  </a:lnTo>
                  <a:lnTo>
                    <a:pt x="16" y="25"/>
                  </a:lnTo>
                  <a:lnTo>
                    <a:pt x="18" y="25"/>
                  </a:lnTo>
                  <a:lnTo>
                    <a:pt x="18" y="27"/>
                  </a:lnTo>
                  <a:lnTo>
                    <a:pt x="20" y="27"/>
                  </a:lnTo>
                  <a:lnTo>
                    <a:pt x="18" y="27"/>
                  </a:lnTo>
                  <a:lnTo>
                    <a:pt x="18" y="25"/>
                  </a:lnTo>
                  <a:lnTo>
                    <a:pt x="18" y="27"/>
                  </a:lnTo>
                  <a:lnTo>
                    <a:pt x="20" y="27"/>
                  </a:lnTo>
                  <a:lnTo>
                    <a:pt x="22" y="27"/>
                  </a:lnTo>
                  <a:lnTo>
                    <a:pt x="24" y="27"/>
                  </a:lnTo>
                  <a:lnTo>
                    <a:pt x="24" y="29"/>
                  </a:lnTo>
                  <a:lnTo>
                    <a:pt x="25" y="29"/>
                  </a:lnTo>
                  <a:lnTo>
                    <a:pt x="27" y="29"/>
                  </a:lnTo>
                  <a:lnTo>
                    <a:pt x="29" y="29"/>
                  </a:lnTo>
                  <a:lnTo>
                    <a:pt x="29" y="31"/>
                  </a:lnTo>
                  <a:lnTo>
                    <a:pt x="31" y="31"/>
                  </a:lnTo>
                  <a:lnTo>
                    <a:pt x="33" y="31"/>
                  </a:lnTo>
                  <a:lnTo>
                    <a:pt x="35" y="31"/>
                  </a:lnTo>
                  <a:lnTo>
                    <a:pt x="37" y="31"/>
                  </a:lnTo>
                  <a:lnTo>
                    <a:pt x="39" y="31"/>
                  </a:lnTo>
                  <a:lnTo>
                    <a:pt x="39" y="33"/>
                  </a:lnTo>
                  <a:lnTo>
                    <a:pt x="41" y="33"/>
                  </a:lnTo>
                  <a:lnTo>
                    <a:pt x="41" y="35"/>
                  </a:lnTo>
                  <a:lnTo>
                    <a:pt x="41" y="33"/>
                  </a:lnTo>
                  <a:lnTo>
                    <a:pt x="43" y="33"/>
                  </a:lnTo>
                  <a:lnTo>
                    <a:pt x="43" y="35"/>
                  </a:lnTo>
                  <a:lnTo>
                    <a:pt x="41" y="35"/>
                  </a:lnTo>
                  <a:lnTo>
                    <a:pt x="43" y="35"/>
                  </a:lnTo>
                  <a:lnTo>
                    <a:pt x="45" y="35"/>
                  </a:lnTo>
                  <a:lnTo>
                    <a:pt x="45" y="37"/>
                  </a:lnTo>
                  <a:lnTo>
                    <a:pt x="47" y="37"/>
                  </a:lnTo>
                  <a:lnTo>
                    <a:pt x="48" y="37"/>
                  </a:lnTo>
                  <a:lnTo>
                    <a:pt x="47" y="37"/>
                  </a:lnTo>
                  <a:lnTo>
                    <a:pt x="47" y="38"/>
                  </a:lnTo>
                  <a:lnTo>
                    <a:pt x="48" y="38"/>
                  </a:lnTo>
                  <a:lnTo>
                    <a:pt x="48" y="37"/>
                  </a:lnTo>
                  <a:lnTo>
                    <a:pt x="48" y="38"/>
                  </a:lnTo>
                  <a:lnTo>
                    <a:pt x="48" y="37"/>
                  </a:lnTo>
                  <a:lnTo>
                    <a:pt x="48" y="38"/>
                  </a:lnTo>
                  <a:lnTo>
                    <a:pt x="50" y="38"/>
                  </a:lnTo>
                  <a:lnTo>
                    <a:pt x="50" y="37"/>
                  </a:lnTo>
                  <a:lnTo>
                    <a:pt x="50" y="38"/>
                  </a:lnTo>
                  <a:lnTo>
                    <a:pt x="50" y="37"/>
                  </a:lnTo>
                  <a:lnTo>
                    <a:pt x="52" y="37"/>
                  </a:lnTo>
                  <a:lnTo>
                    <a:pt x="52" y="38"/>
                  </a:lnTo>
                  <a:lnTo>
                    <a:pt x="50" y="38"/>
                  </a:lnTo>
                  <a:lnTo>
                    <a:pt x="52" y="38"/>
                  </a:lnTo>
                  <a:lnTo>
                    <a:pt x="52" y="37"/>
                  </a:lnTo>
                  <a:lnTo>
                    <a:pt x="52" y="38"/>
                  </a:lnTo>
                  <a:lnTo>
                    <a:pt x="52" y="37"/>
                  </a:lnTo>
                  <a:lnTo>
                    <a:pt x="50" y="37"/>
                  </a:lnTo>
                  <a:lnTo>
                    <a:pt x="52" y="37"/>
                  </a:lnTo>
                  <a:lnTo>
                    <a:pt x="50" y="37"/>
                  </a:lnTo>
                  <a:lnTo>
                    <a:pt x="52" y="37"/>
                  </a:lnTo>
                  <a:lnTo>
                    <a:pt x="54" y="37"/>
                  </a:lnTo>
                  <a:lnTo>
                    <a:pt x="54" y="38"/>
                  </a:lnTo>
                  <a:lnTo>
                    <a:pt x="54" y="40"/>
                  </a:lnTo>
                  <a:lnTo>
                    <a:pt x="56" y="40"/>
                  </a:lnTo>
                  <a:lnTo>
                    <a:pt x="58" y="40"/>
                  </a:lnTo>
                  <a:lnTo>
                    <a:pt x="58" y="42"/>
                  </a:lnTo>
                  <a:lnTo>
                    <a:pt x="60" y="42"/>
                  </a:lnTo>
                  <a:lnTo>
                    <a:pt x="60" y="44"/>
                  </a:lnTo>
                  <a:lnTo>
                    <a:pt x="62" y="44"/>
                  </a:lnTo>
                  <a:lnTo>
                    <a:pt x="62" y="46"/>
                  </a:lnTo>
                  <a:lnTo>
                    <a:pt x="64" y="46"/>
                  </a:lnTo>
                  <a:lnTo>
                    <a:pt x="66" y="46"/>
                  </a:lnTo>
                  <a:lnTo>
                    <a:pt x="68" y="46"/>
                  </a:lnTo>
                  <a:lnTo>
                    <a:pt x="68" y="48"/>
                  </a:lnTo>
                  <a:lnTo>
                    <a:pt x="70" y="48"/>
                  </a:lnTo>
                  <a:lnTo>
                    <a:pt x="70" y="50"/>
                  </a:lnTo>
                  <a:lnTo>
                    <a:pt x="70" y="52"/>
                  </a:lnTo>
                  <a:lnTo>
                    <a:pt x="72" y="52"/>
                  </a:lnTo>
                  <a:lnTo>
                    <a:pt x="73" y="52"/>
                  </a:lnTo>
                  <a:lnTo>
                    <a:pt x="73" y="54"/>
                  </a:lnTo>
                  <a:lnTo>
                    <a:pt x="72" y="54"/>
                  </a:lnTo>
                  <a:lnTo>
                    <a:pt x="72" y="56"/>
                  </a:lnTo>
                  <a:lnTo>
                    <a:pt x="73" y="56"/>
                  </a:lnTo>
                  <a:lnTo>
                    <a:pt x="72" y="56"/>
                  </a:lnTo>
                  <a:lnTo>
                    <a:pt x="73" y="56"/>
                  </a:lnTo>
                  <a:lnTo>
                    <a:pt x="72" y="56"/>
                  </a:lnTo>
                  <a:lnTo>
                    <a:pt x="73" y="56"/>
                  </a:lnTo>
                  <a:lnTo>
                    <a:pt x="72" y="56"/>
                  </a:lnTo>
                  <a:lnTo>
                    <a:pt x="73" y="56"/>
                  </a:lnTo>
                  <a:lnTo>
                    <a:pt x="72" y="56"/>
                  </a:lnTo>
                  <a:lnTo>
                    <a:pt x="73" y="56"/>
                  </a:lnTo>
                  <a:lnTo>
                    <a:pt x="72" y="56"/>
                  </a:lnTo>
                  <a:lnTo>
                    <a:pt x="73" y="56"/>
                  </a:lnTo>
                  <a:lnTo>
                    <a:pt x="72" y="56"/>
                  </a:lnTo>
                  <a:lnTo>
                    <a:pt x="72" y="58"/>
                  </a:lnTo>
                  <a:lnTo>
                    <a:pt x="73" y="58"/>
                  </a:lnTo>
                  <a:lnTo>
                    <a:pt x="72" y="58"/>
                  </a:lnTo>
                  <a:lnTo>
                    <a:pt x="73" y="58"/>
                  </a:lnTo>
                  <a:lnTo>
                    <a:pt x="72" y="58"/>
                  </a:lnTo>
                  <a:lnTo>
                    <a:pt x="73" y="58"/>
                  </a:lnTo>
                  <a:lnTo>
                    <a:pt x="72" y="58"/>
                  </a:lnTo>
                  <a:lnTo>
                    <a:pt x="73" y="58"/>
                  </a:lnTo>
                  <a:lnTo>
                    <a:pt x="72" y="58"/>
                  </a:lnTo>
                  <a:lnTo>
                    <a:pt x="73" y="58"/>
                  </a:lnTo>
                  <a:lnTo>
                    <a:pt x="72" y="58"/>
                  </a:lnTo>
                  <a:lnTo>
                    <a:pt x="73" y="58"/>
                  </a:lnTo>
                  <a:lnTo>
                    <a:pt x="72" y="58"/>
                  </a:lnTo>
                  <a:lnTo>
                    <a:pt x="73" y="58"/>
                  </a:lnTo>
                  <a:lnTo>
                    <a:pt x="72" y="58"/>
                  </a:lnTo>
                  <a:lnTo>
                    <a:pt x="73" y="58"/>
                  </a:lnTo>
                  <a:lnTo>
                    <a:pt x="72" y="58"/>
                  </a:lnTo>
                  <a:lnTo>
                    <a:pt x="73" y="58"/>
                  </a:lnTo>
                  <a:lnTo>
                    <a:pt x="72" y="58"/>
                  </a:lnTo>
                  <a:lnTo>
                    <a:pt x="73" y="58"/>
                  </a:lnTo>
                  <a:lnTo>
                    <a:pt x="72" y="58"/>
                  </a:lnTo>
                  <a:lnTo>
                    <a:pt x="72" y="60"/>
                  </a:lnTo>
                  <a:lnTo>
                    <a:pt x="72" y="62"/>
                  </a:lnTo>
                  <a:lnTo>
                    <a:pt x="73" y="62"/>
                  </a:lnTo>
                  <a:lnTo>
                    <a:pt x="75" y="62"/>
                  </a:lnTo>
                  <a:lnTo>
                    <a:pt x="77" y="62"/>
                  </a:lnTo>
                  <a:lnTo>
                    <a:pt x="77" y="63"/>
                  </a:lnTo>
                  <a:lnTo>
                    <a:pt x="79" y="63"/>
                  </a:lnTo>
                  <a:lnTo>
                    <a:pt x="81" y="63"/>
                  </a:lnTo>
                  <a:lnTo>
                    <a:pt x="83" y="63"/>
                  </a:lnTo>
                  <a:lnTo>
                    <a:pt x="83" y="65"/>
                  </a:lnTo>
                  <a:lnTo>
                    <a:pt x="85" y="65"/>
                  </a:lnTo>
                  <a:lnTo>
                    <a:pt x="85" y="67"/>
                  </a:lnTo>
                  <a:lnTo>
                    <a:pt x="87" y="67"/>
                  </a:lnTo>
                  <a:lnTo>
                    <a:pt x="89" y="67"/>
                  </a:lnTo>
                  <a:lnTo>
                    <a:pt x="89" y="69"/>
                  </a:lnTo>
                  <a:lnTo>
                    <a:pt x="91" y="69"/>
                  </a:lnTo>
                  <a:lnTo>
                    <a:pt x="91" y="67"/>
                  </a:lnTo>
                  <a:lnTo>
                    <a:pt x="91" y="69"/>
                  </a:lnTo>
                  <a:lnTo>
                    <a:pt x="93" y="69"/>
                  </a:lnTo>
                  <a:lnTo>
                    <a:pt x="95" y="69"/>
                  </a:lnTo>
                  <a:lnTo>
                    <a:pt x="95" y="67"/>
                  </a:lnTo>
                  <a:lnTo>
                    <a:pt x="95" y="69"/>
                  </a:lnTo>
                  <a:lnTo>
                    <a:pt x="95" y="67"/>
                  </a:lnTo>
                  <a:lnTo>
                    <a:pt x="95" y="69"/>
                  </a:lnTo>
                  <a:lnTo>
                    <a:pt x="95" y="67"/>
                  </a:lnTo>
                  <a:lnTo>
                    <a:pt x="95" y="69"/>
                  </a:lnTo>
                  <a:lnTo>
                    <a:pt x="96" y="69"/>
                  </a:lnTo>
                  <a:lnTo>
                    <a:pt x="98" y="69"/>
                  </a:lnTo>
                  <a:lnTo>
                    <a:pt x="98" y="71"/>
                  </a:lnTo>
                  <a:lnTo>
                    <a:pt x="100" y="71"/>
                  </a:lnTo>
                  <a:lnTo>
                    <a:pt x="100" y="73"/>
                  </a:lnTo>
                  <a:lnTo>
                    <a:pt x="102" y="73"/>
                  </a:lnTo>
                  <a:lnTo>
                    <a:pt x="102" y="75"/>
                  </a:lnTo>
                  <a:lnTo>
                    <a:pt x="102" y="77"/>
                  </a:lnTo>
                  <a:lnTo>
                    <a:pt x="102" y="79"/>
                  </a:lnTo>
                  <a:lnTo>
                    <a:pt x="100" y="79"/>
                  </a:lnTo>
                  <a:lnTo>
                    <a:pt x="100" y="81"/>
                  </a:lnTo>
                  <a:lnTo>
                    <a:pt x="100" y="79"/>
                  </a:lnTo>
                  <a:lnTo>
                    <a:pt x="100" y="81"/>
                  </a:lnTo>
                  <a:lnTo>
                    <a:pt x="98" y="81"/>
                  </a:lnTo>
                  <a:lnTo>
                    <a:pt x="96" y="81"/>
                  </a:lnTo>
                  <a:lnTo>
                    <a:pt x="95" y="81"/>
                  </a:lnTo>
                  <a:lnTo>
                    <a:pt x="93" y="81"/>
                  </a:lnTo>
                  <a:lnTo>
                    <a:pt x="91" y="81"/>
                  </a:lnTo>
                  <a:lnTo>
                    <a:pt x="89" y="81"/>
                  </a:lnTo>
                  <a:lnTo>
                    <a:pt x="89" y="83"/>
                  </a:lnTo>
                  <a:lnTo>
                    <a:pt x="89" y="85"/>
                  </a:lnTo>
                  <a:lnTo>
                    <a:pt x="91" y="85"/>
                  </a:lnTo>
                  <a:lnTo>
                    <a:pt x="91" y="87"/>
                  </a:lnTo>
                  <a:lnTo>
                    <a:pt x="93" y="87"/>
                  </a:lnTo>
                  <a:lnTo>
                    <a:pt x="93" y="88"/>
                  </a:lnTo>
                  <a:lnTo>
                    <a:pt x="93" y="90"/>
                  </a:lnTo>
                  <a:lnTo>
                    <a:pt x="93" y="92"/>
                  </a:lnTo>
                  <a:lnTo>
                    <a:pt x="95" y="92"/>
                  </a:lnTo>
                  <a:lnTo>
                    <a:pt x="95" y="90"/>
                  </a:lnTo>
                  <a:lnTo>
                    <a:pt x="95" y="92"/>
                  </a:lnTo>
                  <a:lnTo>
                    <a:pt x="95" y="90"/>
                  </a:lnTo>
                  <a:lnTo>
                    <a:pt x="95" y="92"/>
                  </a:lnTo>
                  <a:lnTo>
                    <a:pt x="96" y="92"/>
                  </a:lnTo>
                  <a:lnTo>
                    <a:pt x="95" y="92"/>
                  </a:lnTo>
                  <a:lnTo>
                    <a:pt x="96" y="92"/>
                  </a:lnTo>
                  <a:lnTo>
                    <a:pt x="96" y="94"/>
                  </a:lnTo>
                  <a:lnTo>
                    <a:pt x="96" y="92"/>
                  </a:lnTo>
                  <a:lnTo>
                    <a:pt x="96" y="94"/>
                  </a:lnTo>
                  <a:lnTo>
                    <a:pt x="98" y="94"/>
                  </a:lnTo>
                  <a:lnTo>
                    <a:pt x="96" y="94"/>
                  </a:lnTo>
                  <a:lnTo>
                    <a:pt x="98" y="94"/>
                  </a:lnTo>
                  <a:lnTo>
                    <a:pt x="96" y="94"/>
                  </a:lnTo>
                  <a:lnTo>
                    <a:pt x="98" y="94"/>
                  </a:lnTo>
                  <a:lnTo>
                    <a:pt x="96" y="94"/>
                  </a:lnTo>
                  <a:lnTo>
                    <a:pt x="98" y="94"/>
                  </a:lnTo>
                  <a:lnTo>
                    <a:pt x="98" y="96"/>
                  </a:lnTo>
                  <a:lnTo>
                    <a:pt x="100" y="96"/>
                  </a:lnTo>
                  <a:lnTo>
                    <a:pt x="100" y="98"/>
                  </a:lnTo>
                  <a:lnTo>
                    <a:pt x="102" y="98"/>
                  </a:lnTo>
                  <a:lnTo>
                    <a:pt x="104" y="98"/>
                  </a:lnTo>
                  <a:lnTo>
                    <a:pt x="104" y="100"/>
                  </a:lnTo>
                  <a:lnTo>
                    <a:pt x="106" y="100"/>
                  </a:lnTo>
                  <a:lnTo>
                    <a:pt x="106" y="102"/>
                  </a:lnTo>
                  <a:lnTo>
                    <a:pt x="108" y="102"/>
                  </a:lnTo>
                  <a:lnTo>
                    <a:pt x="106" y="102"/>
                  </a:lnTo>
                  <a:lnTo>
                    <a:pt x="108" y="102"/>
                  </a:lnTo>
                  <a:lnTo>
                    <a:pt x="108" y="104"/>
                  </a:lnTo>
                  <a:lnTo>
                    <a:pt x="108" y="106"/>
                  </a:lnTo>
                  <a:lnTo>
                    <a:pt x="108" y="108"/>
                  </a:lnTo>
                  <a:lnTo>
                    <a:pt x="110" y="108"/>
                  </a:lnTo>
                  <a:lnTo>
                    <a:pt x="110" y="110"/>
                  </a:lnTo>
                  <a:lnTo>
                    <a:pt x="112" y="110"/>
                  </a:lnTo>
                  <a:lnTo>
                    <a:pt x="112" y="111"/>
                  </a:lnTo>
                  <a:lnTo>
                    <a:pt x="112" y="113"/>
                  </a:lnTo>
                  <a:lnTo>
                    <a:pt x="114" y="113"/>
                  </a:lnTo>
                  <a:lnTo>
                    <a:pt x="114" y="115"/>
                  </a:lnTo>
                  <a:lnTo>
                    <a:pt x="116" y="115"/>
                  </a:lnTo>
                  <a:lnTo>
                    <a:pt x="118" y="115"/>
                  </a:lnTo>
                  <a:lnTo>
                    <a:pt x="119" y="115"/>
                  </a:lnTo>
                  <a:lnTo>
                    <a:pt x="121" y="115"/>
                  </a:lnTo>
                  <a:lnTo>
                    <a:pt x="119" y="115"/>
                  </a:lnTo>
                  <a:lnTo>
                    <a:pt x="119" y="113"/>
                  </a:lnTo>
                  <a:lnTo>
                    <a:pt x="121" y="113"/>
                  </a:lnTo>
                  <a:lnTo>
                    <a:pt x="119" y="113"/>
                  </a:lnTo>
                  <a:lnTo>
                    <a:pt x="121" y="113"/>
                  </a:lnTo>
                  <a:lnTo>
                    <a:pt x="123" y="113"/>
                  </a:lnTo>
                  <a:lnTo>
                    <a:pt x="123" y="115"/>
                  </a:lnTo>
                  <a:lnTo>
                    <a:pt x="123" y="117"/>
                  </a:lnTo>
                  <a:lnTo>
                    <a:pt x="123" y="115"/>
                  </a:lnTo>
                  <a:lnTo>
                    <a:pt x="123" y="117"/>
                  </a:lnTo>
                  <a:lnTo>
                    <a:pt x="123" y="115"/>
                  </a:lnTo>
                  <a:lnTo>
                    <a:pt x="123" y="117"/>
                  </a:lnTo>
                  <a:lnTo>
                    <a:pt x="123" y="119"/>
                  </a:lnTo>
                  <a:lnTo>
                    <a:pt x="121" y="119"/>
                  </a:lnTo>
                  <a:lnTo>
                    <a:pt x="121" y="121"/>
                  </a:lnTo>
                  <a:lnTo>
                    <a:pt x="123" y="121"/>
                  </a:lnTo>
                  <a:lnTo>
                    <a:pt x="125" y="121"/>
                  </a:lnTo>
                  <a:lnTo>
                    <a:pt x="125" y="123"/>
                  </a:lnTo>
                  <a:lnTo>
                    <a:pt x="127" y="123"/>
                  </a:lnTo>
                  <a:lnTo>
                    <a:pt x="129" y="123"/>
                  </a:lnTo>
                  <a:lnTo>
                    <a:pt x="131" y="123"/>
                  </a:lnTo>
                  <a:lnTo>
                    <a:pt x="133" y="123"/>
                  </a:lnTo>
                  <a:lnTo>
                    <a:pt x="135" y="123"/>
                  </a:lnTo>
                  <a:lnTo>
                    <a:pt x="135" y="125"/>
                  </a:lnTo>
                  <a:lnTo>
                    <a:pt x="133" y="125"/>
                  </a:lnTo>
                  <a:lnTo>
                    <a:pt x="131" y="125"/>
                  </a:lnTo>
                  <a:lnTo>
                    <a:pt x="129" y="125"/>
                  </a:lnTo>
                  <a:lnTo>
                    <a:pt x="129" y="127"/>
                  </a:lnTo>
                  <a:lnTo>
                    <a:pt x="131" y="127"/>
                  </a:lnTo>
                  <a:lnTo>
                    <a:pt x="131" y="129"/>
                  </a:lnTo>
                  <a:lnTo>
                    <a:pt x="133" y="129"/>
                  </a:lnTo>
                  <a:lnTo>
                    <a:pt x="133" y="131"/>
                  </a:lnTo>
                  <a:lnTo>
                    <a:pt x="135" y="131"/>
                  </a:lnTo>
                  <a:lnTo>
                    <a:pt x="137" y="131"/>
                  </a:lnTo>
                  <a:lnTo>
                    <a:pt x="139" y="131"/>
                  </a:lnTo>
                  <a:lnTo>
                    <a:pt x="139" y="133"/>
                  </a:lnTo>
                  <a:lnTo>
                    <a:pt x="141" y="133"/>
                  </a:lnTo>
                  <a:lnTo>
                    <a:pt x="141" y="131"/>
                  </a:lnTo>
                  <a:lnTo>
                    <a:pt x="141" y="133"/>
                  </a:lnTo>
                  <a:lnTo>
                    <a:pt x="143" y="133"/>
                  </a:lnTo>
                  <a:lnTo>
                    <a:pt x="144" y="133"/>
                  </a:lnTo>
                  <a:lnTo>
                    <a:pt x="146" y="133"/>
                  </a:lnTo>
                  <a:lnTo>
                    <a:pt x="144" y="133"/>
                  </a:lnTo>
                  <a:lnTo>
                    <a:pt x="143" y="133"/>
                  </a:lnTo>
                  <a:lnTo>
                    <a:pt x="143" y="135"/>
                  </a:lnTo>
                  <a:lnTo>
                    <a:pt x="143" y="133"/>
                  </a:lnTo>
                  <a:lnTo>
                    <a:pt x="141" y="133"/>
                  </a:lnTo>
                  <a:lnTo>
                    <a:pt x="141" y="135"/>
                  </a:lnTo>
                  <a:lnTo>
                    <a:pt x="141" y="133"/>
                  </a:lnTo>
                  <a:lnTo>
                    <a:pt x="139" y="133"/>
                  </a:lnTo>
                  <a:lnTo>
                    <a:pt x="139" y="135"/>
                  </a:lnTo>
                  <a:lnTo>
                    <a:pt x="139" y="133"/>
                  </a:lnTo>
                  <a:lnTo>
                    <a:pt x="139" y="135"/>
                  </a:lnTo>
                  <a:lnTo>
                    <a:pt x="141" y="135"/>
                  </a:lnTo>
                  <a:lnTo>
                    <a:pt x="143" y="135"/>
                  </a:lnTo>
                  <a:lnTo>
                    <a:pt x="143" y="136"/>
                  </a:lnTo>
                  <a:lnTo>
                    <a:pt x="144" y="136"/>
                  </a:lnTo>
                  <a:lnTo>
                    <a:pt x="143" y="136"/>
                  </a:lnTo>
                  <a:lnTo>
                    <a:pt x="143" y="138"/>
                  </a:lnTo>
                  <a:lnTo>
                    <a:pt x="141" y="138"/>
                  </a:lnTo>
                  <a:lnTo>
                    <a:pt x="139" y="138"/>
                  </a:lnTo>
                  <a:lnTo>
                    <a:pt x="137" y="138"/>
                  </a:lnTo>
                  <a:lnTo>
                    <a:pt x="135" y="138"/>
                  </a:lnTo>
                  <a:lnTo>
                    <a:pt x="135" y="136"/>
                  </a:lnTo>
                  <a:lnTo>
                    <a:pt x="133" y="138"/>
                  </a:lnTo>
                  <a:lnTo>
                    <a:pt x="133" y="136"/>
                  </a:lnTo>
                  <a:lnTo>
                    <a:pt x="133" y="138"/>
                  </a:lnTo>
                  <a:lnTo>
                    <a:pt x="133" y="136"/>
                  </a:lnTo>
                  <a:lnTo>
                    <a:pt x="131" y="136"/>
                  </a:lnTo>
                  <a:lnTo>
                    <a:pt x="133" y="136"/>
                  </a:lnTo>
                  <a:lnTo>
                    <a:pt x="131" y="136"/>
                  </a:lnTo>
                  <a:lnTo>
                    <a:pt x="133" y="136"/>
                  </a:lnTo>
                  <a:lnTo>
                    <a:pt x="135" y="136"/>
                  </a:lnTo>
                  <a:lnTo>
                    <a:pt x="135" y="135"/>
                  </a:lnTo>
                  <a:lnTo>
                    <a:pt x="135" y="136"/>
                  </a:lnTo>
                  <a:lnTo>
                    <a:pt x="135" y="135"/>
                  </a:lnTo>
                  <a:lnTo>
                    <a:pt x="135" y="136"/>
                  </a:lnTo>
                  <a:lnTo>
                    <a:pt x="135" y="135"/>
                  </a:lnTo>
                  <a:lnTo>
                    <a:pt x="133" y="135"/>
                  </a:lnTo>
                  <a:lnTo>
                    <a:pt x="133" y="136"/>
                  </a:lnTo>
                  <a:lnTo>
                    <a:pt x="133" y="135"/>
                  </a:lnTo>
                  <a:lnTo>
                    <a:pt x="131" y="135"/>
                  </a:lnTo>
                  <a:lnTo>
                    <a:pt x="129" y="135"/>
                  </a:lnTo>
                  <a:lnTo>
                    <a:pt x="127" y="135"/>
                  </a:lnTo>
                  <a:lnTo>
                    <a:pt x="127" y="133"/>
                  </a:lnTo>
                  <a:lnTo>
                    <a:pt x="127" y="135"/>
                  </a:lnTo>
                  <a:lnTo>
                    <a:pt x="127" y="133"/>
                  </a:lnTo>
                  <a:lnTo>
                    <a:pt x="125" y="133"/>
                  </a:lnTo>
                  <a:lnTo>
                    <a:pt x="125" y="135"/>
                  </a:lnTo>
                  <a:lnTo>
                    <a:pt x="125" y="133"/>
                  </a:lnTo>
                  <a:lnTo>
                    <a:pt x="125" y="135"/>
                  </a:lnTo>
                  <a:lnTo>
                    <a:pt x="125" y="133"/>
                  </a:lnTo>
                  <a:lnTo>
                    <a:pt x="123" y="133"/>
                  </a:lnTo>
                  <a:lnTo>
                    <a:pt x="121" y="133"/>
                  </a:lnTo>
                  <a:lnTo>
                    <a:pt x="119" y="133"/>
                  </a:lnTo>
                  <a:lnTo>
                    <a:pt x="118" y="133"/>
                  </a:lnTo>
                  <a:lnTo>
                    <a:pt x="116" y="133"/>
                  </a:lnTo>
                  <a:lnTo>
                    <a:pt x="116" y="131"/>
                  </a:lnTo>
                  <a:lnTo>
                    <a:pt x="116" y="133"/>
                  </a:lnTo>
                  <a:lnTo>
                    <a:pt x="116" y="131"/>
                  </a:lnTo>
                  <a:lnTo>
                    <a:pt x="116" y="133"/>
                  </a:lnTo>
                  <a:lnTo>
                    <a:pt x="116" y="131"/>
                  </a:lnTo>
                  <a:lnTo>
                    <a:pt x="114" y="131"/>
                  </a:lnTo>
                  <a:lnTo>
                    <a:pt x="116" y="131"/>
                  </a:lnTo>
                  <a:lnTo>
                    <a:pt x="114" y="131"/>
                  </a:lnTo>
                  <a:lnTo>
                    <a:pt x="116" y="131"/>
                  </a:lnTo>
                  <a:lnTo>
                    <a:pt x="114" y="131"/>
                  </a:lnTo>
                  <a:lnTo>
                    <a:pt x="116" y="131"/>
                  </a:lnTo>
                  <a:lnTo>
                    <a:pt x="114" y="131"/>
                  </a:lnTo>
                  <a:lnTo>
                    <a:pt x="112" y="131"/>
                  </a:lnTo>
                  <a:lnTo>
                    <a:pt x="114" y="131"/>
                  </a:lnTo>
                  <a:lnTo>
                    <a:pt x="112" y="131"/>
                  </a:lnTo>
                  <a:lnTo>
                    <a:pt x="110" y="131"/>
                  </a:lnTo>
                  <a:lnTo>
                    <a:pt x="110" y="133"/>
                  </a:lnTo>
                  <a:lnTo>
                    <a:pt x="110" y="131"/>
                  </a:lnTo>
                  <a:lnTo>
                    <a:pt x="108" y="131"/>
                  </a:lnTo>
                  <a:lnTo>
                    <a:pt x="108" y="129"/>
                  </a:lnTo>
                  <a:lnTo>
                    <a:pt x="108" y="131"/>
                  </a:lnTo>
                  <a:lnTo>
                    <a:pt x="106" y="129"/>
                  </a:lnTo>
                  <a:lnTo>
                    <a:pt x="106" y="131"/>
                  </a:lnTo>
                  <a:lnTo>
                    <a:pt x="108" y="131"/>
                  </a:lnTo>
                  <a:lnTo>
                    <a:pt x="106" y="131"/>
                  </a:lnTo>
                  <a:lnTo>
                    <a:pt x="104" y="131"/>
                  </a:lnTo>
                  <a:lnTo>
                    <a:pt x="102" y="131"/>
                  </a:lnTo>
                  <a:lnTo>
                    <a:pt x="102" y="129"/>
                  </a:lnTo>
                  <a:lnTo>
                    <a:pt x="102" y="131"/>
                  </a:lnTo>
                  <a:lnTo>
                    <a:pt x="102" y="129"/>
                  </a:lnTo>
                  <a:lnTo>
                    <a:pt x="100" y="129"/>
                  </a:lnTo>
                  <a:lnTo>
                    <a:pt x="100" y="131"/>
                  </a:lnTo>
                  <a:lnTo>
                    <a:pt x="100" y="129"/>
                  </a:lnTo>
                  <a:lnTo>
                    <a:pt x="98" y="129"/>
                  </a:lnTo>
                  <a:lnTo>
                    <a:pt x="98" y="127"/>
                  </a:lnTo>
                  <a:lnTo>
                    <a:pt x="96" y="127"/>
                  </a:lnTo>
                  <a:lnTo>
                    <a:pt x="98" y="127"/>
                  </a:lnTo>
                  <a:lnTo>
                    <a:pt x="98" y="125"/>
                  </a:lnTo>
                  <a:lnTo>
                    <a:pt x="96" y="125"/>
                  </a:lnTo>
                  <a:lnTo>
                    <a:pt x="96" y="123"/>
                  </a:lnTo>
                  <a:lnTo>
                    <a:pt x="95" y="123"/>
                  </a:lnTo>
                  <a:lnTo>
                    <a:pt x="95" y="121"/>
                  </a:lnTo>
                  <a:lnTo>
                    <a:pt x="93" y="121"/>
                  </a:lnTo>
                  <a:lnTo>
                    <a:pt x="95" y="121"/>
                  </a:lnTo>
                  <a:lnTo>
                    <a:pt x="93" y="121"/>
                  </a:lnTo>
                  <a:lnTo>
                    <a:pt x="95" y="121"/>
                  </a:lnTo>
                  <a:lnTo>
                    <a:pt x="93" y="121"/>
                  </a:lnTo>
                  <a:lnTo>
                    <a:pt x="95" y="121"/>
                  </a:lnTo>
                  <a:lnTo>
                    <a:pt x="93" y="121"/>
                  </a:lnTo>
                  <a:lnTo>
                    <a:pt x="93" y="119"/>
                  </a:lnTo>
                  <a:lnTo>
                    <a:pt x="91" y="119"/>
                  </a:lnTo>
                  <a:lnTo>
                    <a:pt x="91" y="121"/>
                  </a:lnTo>
                  <a:lnTo>
                    <a:pt x="91" y="119"/>
                  </a:lnTo>
                  <a:lnTo>
                    <a:pt x="91" y="121"/>
                  </a:lnTo>
                  <a:lnTo>
                    <a:pt x="93" y="121"/>
                  </a:lnTo>
                  <a:lnTo>
                    <a:pt x="91" y="121"/>
                  </a:lnTo>
                  <a:lnTo>
                    <a:pt x="93" y="121"/>
                  </a:lnTo>
                  <a:lnTo>
                    <a:pt x="91" y="121"/>
                  </a:lnTo>
                  <a:lnTo>
                    <a:pt x="93" y="121"/>
                  </a:lnTo>
                  <a:lnTo>
                    <a:pt x="91" y="121"/>
                  </a:lnTo>
                  <a:lnTo>
                    <a:pt x="93" y="121"/>
                  </a:lnTo>
                  <a:lnTo>
                    <a:pt x="91" y="121"/>
                  </a:lnTo>
                  <a:lnTo>
                    <a:pt x="93" y="121"/>
                  </a:lnTo>
                  <a:lnTo>
                    <a:pt x="91" y="121"/>
                  </a:lnTo>
                  <a:lnTo>
                    <a:pt x="91" y="119"/>
                  </a:lnTo>
                  <a:lnTo>
                    <a:pt x="91" y="117"/>
                  </a:lnTo>
                  <a:lnTo>
                    <a:pt x="89" y="117"/>
                  </a:lnTo>
                  <a:lnTo>
                    <a:pt x="89" y="115"/>
                  </a:lnTo>
                  <a:lnTo>
                    <a:pt x="91" y="115"/>
                  </a:lnTo>
                  <a:lnTo>
                    <a:pt x="89" y="115"/>
                  </a:lnTo>
                  <a:lnTo>
                    <a:pt x="91" y="115"/>
                  </a:lnTo>
                  <a:lnTo>
                    <a:pt x="89" y="115"/>
                  </a:lnTo>
                  <a:lnTo>
                    <a:pt x="91" y="115"/>
                  </a:lnTo>
                  <a:lnTo>
                    <a:pt x="89" y="115"/>
                  </a:lnTo>
                  <a:lnTo>
                    <a:pt x="89" y="113"/>
                  </a:lnTo>
                  <a:lnTo>
                    <a:pt x="89" y="115"/>
                  </a:lnTo>
                  <a:lnTo>
                    <a:pt x="89" y="113"/>
                  </a:lnTo>
                  <a:lnTo>
                    <a:pt x="89" y="115"/>
                  </a:lnTo>
                  <a:lnTo>
                    <a:pt x="87" y="115"/>
                  </a:lnTo>
                  <a:lnTo>
                    <a:pt x="85" y="115"/>
                  </a:lnTo>
                  <a:lnTo>
                    <a:pt x="85" y="113"/>
                  </a:lnTo>
                  <a:lnTo>
                    <a:pt x="83" y="113"/>
                  </a:lnTo>
                  <a:lnTo>
                    <a:pt x="83" y="111"/>
                  </a:lnTo>
                  <a:lnTo>
                    <a:pt x="85" y="111"/>
                  </a:lnTo>
                  <a:lnTo>
                    <a:pt x="83" y="111"/>
                  </a:lnTo>
                  <a:lnTo>
                    <a:pt x="85" y="111"/>
                  </a:lnTo>
                  <a:lnTo>
                    <a:pt x="83" y="111"/>
                  </a:lnTo>
                  <a:lnTo>
                    <a:pt x="83" y="110"/>
                  </a:lnTo>
                  <a:lnTo>
                    <a:pt x="83" y="108"/>
                  </a:lnTo>
                  <a:lnTo>
                    <a:pt x="81" y="108"/>
                  </a:lnTo>
                  <a:lnTo>
                    <a:pt x="81" y="106"/>
                  </a:lnTo>
                  <a:lnTo>
                    <a:pt x="79" y="106"/>
                  </a:lnTo>
                  <a:lnTo>
                    <a:pt x="79" y="104"/>
                  </a:lnTo>
                  <a:lnTo>
                    <a:pt x="79" y="102"/>
                  </a:lnTo>
                  <a:lnTo>
                    <a:pt x="77" y="102"/>
                  </a:lnTo>
                  <a:lnTo>
                    <a:pt x="77" y="100"/>
                  </a:lnTo>
                  <a:lnTo>
                    <a:pt x="77" y="102"/>
                  </a:lnTo>
                  <a:lnTo>
                    <a:pt x="77" y="100"/>
                  </a:lnTo>
                  <a:lnTo>
                    <a:pt x="77" y="102"/>
                  </a:lnTo>
                  <a:lnTo>
                    <a:pt x="77" y="100"/>
                  </a:lnTo>
                  <a:lnTo>
                    <a:pt x="75" y="100"/>
                  </a:lnTo>
                  <a:lnTo>
                    <a:pt x="73" y="100"/>
                  </a:lnTo>
                  <a:lnTo>
                    <a:pt x="75" y="100"/>
                  </a:lnTo>
                  <a:lnTo>
                    <a:pt x="73" y="100"/>
                  </a:lnTo>
                  <a:lnTo>
                    <a:pt x="72" y="100"/>
                  </a:lnTo>
                  <a:lnTo>
                    <a:pt x="72" y="98"/>
                  </a:lnTo>
                  <a:lnTo>
                    <a:pt x="73" y="98"/>
                  </a:lnTo>
                  <a:lnTo>
                    <a:pt x="72" y="98"/>
                  </a:lnTo>
                  <a:lnTo>
                    <a:pt x="73" y="98"/>
                  </a:lnTo>
                  <a:lnTo>
                    <a:pt x="72" y="98"/>
                  </a:lnTo>
                  <a:lnTo>
                    <a:pt x="73" y="98"/>
                  </a:lnTo>
                  <a:lnTo>
                    <a:pt x="72" y="98"/>
                  </a:lnTo>
                  <a:lnTo>
                    <a:pt x="70" y="98"/>
                  </a:lnTo>
                  <a:lnTo>
                    <a:pt x="68" y="98"/>
                  </a:lnTo>
                  <a:lnTo>
                    <a:pt x="66" y="98"/>
                  </a:lnTo>
                  <a:lnTo>
                    <a:pt x="66" y="96"/>
                  </a:lnTo>
                  <a:lnTo>
                    <a:pt x="64" y="96"/>
                  </a:lnTo>
                  <a:lnTo>
                    <a:pt x="62" y="96"/>
                  </a:lnTo>
                  <a:lnTo>
                    <a:pt x="64" y="96"/>
                  </a:lnTo>
                  <a:lnTo>
                    <a:pt x="62" y="96"/>
                  </a:lnTo>
                  <a:lnTo>
                    <a:pt x="60" y="96"/>
                  </a:lnTo>
                  <a:lnTo>
                    <a:pt x="58" y="96"/>
                  </a:lnTo>
                  <a:lnTo>
                    <a:pt x="58" y="94"/>
                  </a:lnTo>
                  <a:lnTo>
                    <a:pt x="58" y="92"/>
                  </a:lnTo>
                  <a:lnTo>
                    <a:pt x="58" y="94"/>
                  </a:lnTo>
                  <a:lnTo>
                    <a:pt x="58" y="92"/>
                  </a:lnTo>
                  <a:lnTo>
                    <a:pt x="56" y="92"/>
                  </a:lnTo>
                  <a:lnTo>
                    <a:pt x="58" y="92"/>
                  </a:lnTo>
                  <a:lnTo>
                    <a:pt x="58" y="90"/>
                  </a:lnTo>
                  <a:lnTo>
                    <a:pt x="56" y="90"/>
                  </a:lnTo>
                  <a:lnTo>
                    <a:pt x="58" y="90"/>
                  </a:lnTo>
                  <a:lnTo>
                    <a:pt x="56" y="90"/>
                  </a:lnTo>
                  <a:lnTo>
                    <a:pt x="58" y="90"/>
                  </a:lnTo>
                  <a:lnTo>
                    <a:pt x="56" y="90"/>
                  </a:lnTo>
                  <a:lnTo>
                    <a:pt x="58" y="90"/>
                  </a:lnTo>
                  <a:lnTo>
                    <a:pt x="56" y="90"/>
                  </a:lnTo>
                  <a:lnTo>
                    <a:pt x="58" y="90"/>
                  </a:lnTo>
                  <a:lnTo>
                    <a:pt x="56" y="90"/>
                  </a:lnTo>
                  <a:lnTo>
                    <a:pt x="56" y="92"/>
                  </a:lnTo>
                  <a:lnTo>
                    <a:pt x="56" y="90"/>
                  </a:lnTo>
                  <a:lnTo>
                    <a:pt x="54" y="90"/>
                  </a:lnTo>
                  <a:lnTo>
                    <a:pt x="54" y="92"/>
                  </a:lnTo>
                  <a:lnTo>
                    <a:pt x="52" y="92"/>
                  </a:lnTo>
                  <a:lnTo>
                    <a:pt x="52" y="90"/>
                  </a:lnTo>
                  <a:lnTo>
                    <a:pt x="54" y="90"/>
                  </a:lnTo>
                  <a:lnTo>
                    <a:pt x="52" y="90"/>
                  </a:lnTo>
                  <a:lnTo>
                    <a:pt x="50" y="90"/>
                  </a:lnTo>
                  <a:lnTo>
                    <a:pt x="50" y="92"/>
                  </a:lnTo>
                  <a:lnTo>
                    <a:pt x="48" y="92"/>
                  </a:lnTo>
                  <a:lnTo>
                    <a:pt x="50" y="92"/>
                  </a:lnTo>
                  <a:lnTo>
                    <a:pt x="48" y="92"/>
                  </a:lnTo>
                  <a:lnTo>
                    <a:pt x="48" y="94"/>
                  </a:lnTo>
                  <a:lnTo>
                    <a:pt x="48" y="92"/>
                  </a:lnTo>
                  <a:lnTo>
                    <a:pt x="48" y="94"/>
                  </a:lnTo>
                  <a:lnTo>
                    <a:pt x="50" y="94"/>
                  </a:lnTo>
                  <a:lnTo>
                    <a:pt x="48" y="94"/>
                  </a:lnTo>
                  <a:lnTo>
                    <a:pt x="48" y="92"/>
                  </a:lnTo>
                  <a:lnTo>
                    <a:pt x="48" y="94"/>
                  </a:lnTo>
                  <a:lnTo>
                    <a:pt x="48" y="92"/>
                  </a:lnTo>
                  <a:lnTo>
                    <a:pt x="47" y="92"/>
                  </a:lnTo>
                  <a:lnTo>
                    <a:pt x="48" y="92"/>
                  </a:lnTo>
                  <a:lnTo>
                    <a:pt x="48" y="94"/>
                  </a:lnTo>
                  <a:lnTo>
                    <a:pt x="48" y="96"/>
                  </a:lnTo>
                  <a:lnTo>
                    <a:pt x="47" y="96"/>
                  </a:lnTo>
                  <a:lnTo>
                    <a:pt x="47" y="94"/>
                  </a:lnTo>
                  <a:lnTo>
                    <a:pt x="45" y="94"/>
                  </a:lnTo>
                  <a:lnTo>
                    <a:pt x="43" y="94"/>
                  </a:lnTo>
                  <a:lnTo>
                    <a:pt x="43" y="92"/>
                  </a:lnTo>
                  <a:lnTo>
                    <a:pt x="41" y="92"/>
                  </a:lnTo>
                  <a:lnTo>
                    <a:pt x="43" y="92"/>
                  </a:lnTo>
                  <a:lnTo>
                    <a:pt x="43" y="94"/>
                  </a:lnTo>
                  <a:lnTo>
                    <a:pt x="43" y="96"/>
                  </a:lnTo>
                  <a:lnTo>
                    <a:pt x="45" y="96"/>
                  </a:lnTo>
                  <a:lnTo>
                    <a:pt x="45" y="98"/>
                  </a:lnTo>
                  <a:lnTo>
                    <a:pt x="45" y="100"/>
                  </a:lnTo>
                  <a:lnTo>
                    <a:pt x="45" y="98"/>
                  </a:lnTo>
                  <a:lnTo>
                    <a:pt x="45" y="100"/>
                  </a:lnTo>
                  <a:lnTo>
                    <a:pt x="43" y="100"/>
                  </a:lnTo>
                  <a:lnTo>
                    <a:pt x="41" y="100"/>
                  </a:lnTo>
                  <a:lnTo>
                    <a:pt x="41" y="98"/>
                  </a:lnTo>
                  <a:lnTo>
                    <a:pt x="39" y="98"/>
                  </a:lnTo>
                  <a:lnTo>
                    <a:pt x="39" y="100"/>
                  </a:lnTo>
                  <a:lnTo>
                    <a:pt x="39" y="98"/>
                  </a:lnTo>
                  <a:lnTo>
                    <a:pt x="37" y="98"/>
                  </a:lnTo>
                  <a:lnTo>
                    <a:pt x="37" y="96"/>
                  </a:lnTo>
                  <a:lnTo>
                    <a:pt x="37" y="98"/>
                  </a:lnTo>
                  <a:lnTo>
                    <a:pt x="35" y="98"/>
                  </a:lnTo>
                  <a:lnTo>
                    <a:pt x="35" y="96"/>
                  </a:lnTo>
                  <a:lnTo>
                    <a:pt x="35" y="98"/>
                  </a:lnTo>
                  <a:lnTo>
                    <a:pt x="37" y="98"/>
                  </a:lnTo>
                  <a:lnTo>
                    <a:pt x="37" y="96"/>
                  </a:lnTo>
                  <a:lnTo>
                    <a:pt x="37" y="98"/>
                  </a:lnTo>
                  <a:lnTo>
                    <a:pt x="37" y="100"/>
                  </a:lnTo>
                  <a:lnTo>
                    <a:pt x="39" y="100"/>
                  </a:lnTo>
                  <a:lnTo>
                    <a:pt x="39" y="102"/>
                  </a:lnTo>
                  <a:lnTo>
                    <a:pt x="41" y="102"/>
                  </a:lnTo>
                  <a:lnTo>
                    <a:pt x="43" y="102"/>
                  </a:lnTo>
                  <a:lnTo>
                    <a:pt x="41" y="102"/>
                  </a:lnTo>
                  <a:lnTo>
                    <a:pt x="39" y="102"/>
                  </a:lnTo>
                  <a:lnTo>
                    <a:pt x="37" y="102"/>
                  </a:lnTo>
                  <a:lnTo>
                    <a:pt x="35" y="102"/>
                  </a:lnTo>
                  <a:lnTo>
                    <a:pt x="35" y="104"/>
                  </a:lnTo>
                  <a:lnTo>
                    <a:pt x="33" y="104"/>
                  </a:lnTo>
                  <a:lnTo>
                    <a:pt x="31" y="104"/>
                  </a:lnTo>
                  <a:lnTo>
                    <a:pt x="29" y="104"/>
                  </a:lnTo>
                  <a:lnTo>
                    <a:pt x="27" y="104"/>
                  </a:lnTo>
                  <a:lnTo>
                    <a:pt x="25" y="104"/>
                  </a:lnTo>
                  <a:lnTo>
                    <a:pt x="27" y="104"/>
                  </a:lnTo>
                  <a:lnTo>
                    <a:pt x="29" y="104"/>
                  </a:lnTo>
                  <a:lnTo>
                    <a:pt x="29" y="106"/>
                  </a:lnTo>
                  <a:lnTo>
                    <a:pt x="31" y="106"/>
                  </a:lnTo>
                  <a:lnTo>
                    <a:pt x="33" y="106"/>
                  </a:lnTo>
                  <a:lnTo>
                    <a:pt x="35" y="106"/>
                  </a:lnTo>
                  <a:lnTo>
                    <a:pt x="35" y="108"/>
                  </a:lnTo>
                  <a:lnTo>
                    <a:pt x="37" y="108"/>
                  </a:lnTo>
                  <a:lnTo>
                    <a:pt x="37" y="110"/>
                  </a:lnTo>
                  <a:lnTo>
                    <a:pt x="37" y="111"/>
                  </a:lnTo>
                  <a:lnTo>
                    <a:pt x="37" y="113"/>
                  </a:lnTo>
                  <a:lnTo>
                    <a:pt x="35" y="113"/>
                  </a:lnTo>
                  <a:lnTo>
                    <a:pt x="33" y="113"/>
                  </a:lnTo>
                  <a:lnTo>
                    <a:pt x="33" y="115"/>
                  </a:lnTo>
                  <a:lnTo>
                    <a:pt x="31" y="115"/>
                  </a:lnTo>
                  <a:lnTo>
                    <a:pt x="31" y="117"/>
                  </a:lnTo>
                  <a:lnTo>
                    <a:pt x="29" y="117"/>
                  </a:lnTo>
                  <a:lnTo>
                    <a:pt x="27" y="117"/>
                  </a:lnTo>
                  <a:lnTo>
                    <a:pt x="27" y="119"/>
                  </a:lnTo>
                  <a:lnTo>
                    <a:pt x="25" y="119"/>
                  </a:lnTo>
                  <a:lnTo>
                    <a:pt x="25" y="117"/>
                  </a:lnTo>
                  <a:lnTo>
                    <a:pt x="24" y="117"/>
                  </a:lnTo>
                  <a:lnTo>
                    <a:pt x="22" y="117"/>
                  </a:lnTo>
                  <a:lnTo>
                    <a:pt x="22" y="115"/>
                  </a:lnTo>
                  <a:lnTo>
                    <a:pt x="20" y="115"/>
                  </a:lnTo>
                  <a:lnTo>
                    <a:pt x="18" y="115"/>
                  </a:lnTo>
                  <a:lnTo>
                    <a:pt x="18" y="117"/>
                  </a:lnTo>
                  <a:lnTo>
                    <a:pt x="18" y="115"/>
                  </a:lnTo>
                  <a:lnTo>
                    <a:pt x="18" y="117"/>
                  </a:lnTo>
                  <a:lnTo>
                    <a:pt x="16" y="117"/>
                  </a:lnTo>
                  <a:lnTo>
                    <a:pt x="14" y="117"/>
                  </a:lnTo>
                  <a:lnTo>
                    <a:pt x="12" y="117"/>
                  </a:lnTo>
                  <a:lnTo>
                    <a:pt x="10" y="117"/>
                  </a:lnTo>
                  <a:lnTo>
                    <a:pt x="10" y="115"/>
                  </a:lnTo>
                  <a:lnTo>
                    <a:pt x="8" y="115"/>
                  </a:lnTo>
                  <a:lnTo>
                    <a:pt x="6" y="115"/>
                  </a:lnTo>
                  <a:lnTo>
                    <a:pt x="6" y="117"/>
                  </a:lnTo>
                  <a:lnTo>
                    <a:pt x="4" y="117"/>
                  </a:lnTo>
                  <a:lnTo>
                    <a:pt x="2" y="117"/>
                  </a:lnTo>
                  <a:lnTo>
                    <a:pt x="2" y="115"/>
                  </a:lnTo>
                  <a:close/>
                  <a:moveTo>
                    <a:pt x="166" y="42"/>
                  </a:moveTo>
                  <a:lnTo>
                    <a:pt x="166" y="44"/>
                  </a:lnTo>
                  <a:lnTo>
                    <a:pt x="167" y="44"/>
                  </a:lnTo>
                  <a:lnTo>
                    <a:pt x="166" y="44"/>
                  </a:lnTo>
                  <a:lnTo>
                    <a:pt x="166" y="42"/>
                  </a:lnTo>
                  <a:lnTo>
                    <a:pt x="166" y="44"/>
                  </a:lnTo>
                  <a:lnTo>
                    <a:pt x="167" y="44"/>
                  </a:lnTo>
                  <a:lnTo>
                    <a:pt x="169" y="44"/>
                  </a:lnTo>
                  <a:lnTo>
                    <a:pt x="169" y="46"/>
                  </a:lnTo>
                  <a:lnTo>
                    <a:pt x="167" y="46"/>
                  </a:lnTo>
                  <a:lnTo>
                    <a:pt x="167" y="48"/>
                  </a:lnTo>
                  <a:lnTo>
                    <a:pt x="169" y="48"/>
                  </a:lnTo>
                  <a:lnTo>
                    <a:pt x="167" y="48"/>
                  </a:lnTo>
                  <a:lnTo>
                    <a:pt x="169" y="48"/>
                  </a:lnTo>
                  <a:lnTo>
                    <a:pt x="167" y="48"/>
                  </a:lnTo>
                  <a:lnTo>
                    <a:pt x="169" y="48"/>
                  </a:lnTo>
                  <a:lnTo>
                    <a:pt x="169" y="50"/>
                  </a:lnTo>
                  <a:lnTo>
                    <a:pt x="167" y="50"/>
                  </a:lnTo>
                  <a:lnTo>
                    <a:pt x="167" y="52"/>
                  </a:lnTo>
                  <a:lnTo>
                    <a:pt x="169" y="52"/>
                  </a:lnTo>
                  <a:lnTo>
                    <a:pt x="167" y="52"/>
                  </a:lnTo>
                  <a:lnTo>
                    <a:pt x="169" y="52"/>
                  </a:lnTo>
                  <a:lnTo>
                    <a:pt x="167" y="52"/>
                  </a:lnTo>
                  <a:lnTo>
                    <a:pt x="167" y="54"/>
                  </a:lnTo>
                  <a:lnTo>
                    <a:pt x="166" y="54"/>
                  </a:lnTo>
                  <a:lnTo>
                    <a:pt x="164" y="54"/>
                  </a:lnTo>
                  <a:lnTo>
                    <a:pt x="162" y="54"/>
                  </a:lnTo>
                  <a:lnTo>
                    <a:pt x="164" y="54"/>
                  </a:lnTo>
                  <a:lnTo>
                    <a:pt x="162" y="54"/>
                  </a:lnTo>
                  <a:lnTo>
                    <a:pt x="162" y="56"/>
                  </a:lnTo>
                  <a:lnTo>
                    <a:pt x="162" y="58"/>
                  </a:lnTo>
                  <a:lnTo>
                    <a:pt x="164" y="58"/>
                  </a:lnTo>
                  <a:lnTo>
                    <a:pt x="164" y="60"/>
                  </a:lnTo>
                  <a:lnTo>
                    <a:pt x="166" y="60"/>
                  </a:lnTo>
                  <a:lnTo>
                    <a:pt x="166" y="62"/>
                  </a:lnTo>
                  <a:lnTo>
                    <a:pt x="164" y="62"/>
                  </a:lnTo>
                  <a:lnTo>
                    <a:pt x="162" y="62"/>
                  </a:lnTo>
                  <a:lnTo>
                    <a:pt x="162" y="63"/>
                  </a:lnTo>
                  <a:lnTo>
                    <a:pt x="162" y="62"/>
                  </a:lnTo>
                  <a:lnTo>
                    <a:pt x="162" y="63"/>
                  </a:lnTo>
                  <a:lnTo>
                    <a:pt x="160" y="63"/>
                  </a:lnTo>
                  <a:lnTo>
                    <a:pt x="160" y="62"/>
                  </a:lnTo>
                  <a:lnTo>
                    <a:pt x="158" y="62"/>
                  </a:lnTo>
                  <a:lnTo>
                    <a:pt x="158" y="63"/>
                  </a:lnTo>
                  <a:lnTo>
                    <a:pt x="156" y="63"/>
                  </a:lnTo>
                  <a:lnTo>
                    <a:pt x="156" y="62"/>
                  </a:lnTo>
                  <a:lnTo>
                    <a:pt x="156" y="63"/>
                  </a:lnTo>
                  <a:lnTo>
                    <a:pt x="156" y="62"/>
                  </a:lnTo>
                  <a:lnTo>
                    <a:pt x="156" y="63"/>
                  </a:lnTo>
                  <a:lnTo>
                    <a:pt x="156" y="62"/>
                  </a:lnTo>
                  <a:lnTo>
                    <a:pt x="156" y="63"/>
                  </a:lnTo>
                  <a:lnTo>
                    <a:pt x="154" y="63"/>
                  </a:lnTo>
                  <a:lnTo>
                    <a:pt x="156" y="63"/>
                  </a:lnTo>
                  <a:lnTo>
                    <a:pt x="156" y="65"/>
                  </a:lnTo>
                  <a:lnTo>
                    <a:pt x="154" y="65"/>
                  </a:lnTo>
                  <a:lnTo>
                    <a:pt x="154" y="67"/>
                  </a:lnTo>
                  <a:lnTo>
                    <a:pt x="152" y="67"/>
                  </a:lnTo>
                  <a:lnTo>
                    <a:pt x="152" y="69"/>
                  </a:lnTo>
                  <a:lnTo>
                    <a:pt x="150" y="69"/>
                  </a:lnTo>
                  <a:lnTo>
                    <a:pt x="148" y="69"/>
                  </a:lnTo>
                  <a:lnTo>
                    <a:pt x="146" y="69"/>
                  </a:lnTo>
                  <a:lnTo>
                    <a:pt x="144" y="69"/>
                  </a:lnTo>
                  <a:lnTo>
                    <a:pt x="146" y="69"/>
                  </a:lnTo>
                  <a:lnTo>
                    <a:pt x="144" y="69"/>
                  </a:lnTo>
                  <a:lnTo>
                    <a:pt x="146" y="69"/>
                  </a:lnTo>
                  <a:lnTo>
                    <a:pt x="144" y="69"/>
                  </a:lnTo>
                  <a:lnTo>
                    <a:pt x="146" y="69"/>
                  </a:lnTo>
                  <a:lnTo>
                    <a:pt x="144" y="69"/>
                  </a:lnTo>
                  <a:lnTo>
                    <a:pt x="144" y="71"/>
                  </a:lnTo>
                  <a:lnTo>
                    <a:pt x="143" y="71"/>
                  </a:lnTo>
                  <a:lnTo>
                    <a:pt x="143" y="73"/>
                  </a:lnTo>
                  <a:lnTo>
                    <a:pt x="141" y="73"/>
                  </a:lnTo>
                  <a:lnTo>
                    <a:pt x="139" y="73"/>
                  </a:lnTo>
                  <a:lnTo>
                    <a:pt x="137" y="73"/>
                  </a:lnTo>
                  <a:lnTo>
                    <a:pt x="135" y="73"/>
                  </a:lnTo>
                  <a:lnTo>
                    <a:pt x="135" y="75"/>
                  </a:lnTo>
                  <a:lnTo>
                    <a:pt x="133" y="75"/>
                  </a:lnTo>
                  <a:lnTo>
                    <a:pt x="133" y="73"/>
                  </a:lnTo>
                  <a:lnTo>
                    <a:pt x="135" y="73"/>
                  </a:lnTo>
                  <a:lnTo>
                    <a:pt x="133" y="73"/>
                  </a:lnTo>
                  <a:lnTo>
                    <a:pt x="135" y="73"/>
                  </a:lnTo>
                  <a:lnTo>
                    <a:pt x="133" y="73"/>
                  </a:lnTo>
                  <a:lnTo>
                    <a:pt x="131" y="73"/>
                  </a:lnTo>
                  <a:lnTo>
                    <a:pt x="129" y="73"/>
                  </a:lnTo>
                  <a:lnTo>
                    <a:pt x="127" y="73"/>
                  </a:lnTo>
                  <a:lnTo>
                    <a:pt x="127" y="71"/>
                  </a:lnTo>
                  <a:lnTo>
                    <a:pt x="125" y="71"/>
                  </a:lnTo>
                  <a:lnTo>
                    <a:pt x="123" y="71"/>
                  </a:lnTo>
                  <a:lnTo>
                    <a:pt x="121" y="71"/>
                  </a:lnTo>
                  <a:lnTo>
                    <a:pt x="119" y="71"/>
                  </a:lnTo>
                  <a:lnTo>
                    <a:pt x="119" y="69"/>
                  </a:lnTo>
                  <a:lnTo>
                    <a:pt x="118" y="69"/>
                  </a:lnTo>
                  <a:lnTo>
                    <a:pt x="118" y="67"/>
                  </a:lnTo>
                  <a:lnTo>
                    <a:pt x="116" y="67"/>
                  </a:lnTo>
                  <a:lnTo>
                    <a:pt x="116" y="69"/>
                  </a:lnTo>
                  <a:lnTo>
                    <a:pt x="116" y="67"/>
                  </a:lnTo>
                  <a:lnTo>
                    <a:pt x="114" y="67"/>
                  </a:lnTo>
                  <a:lnTo>
                    <a:pt x="112" y="67"/>
                  </a:lnTo>
                  <a:lnTo>
                    <a:pt x="112" y="65"/>
                  </a:lnTo>
                  <a:lnTo>
                    <a:pt x="110" y="65"/>
                  </a:lnTo>
                  <a:lnTo>
                    <a:pt x="110" y="63"/>
                  </a:lnTo>
                  <a:lnTo>
                    <a:pt x="110" y="62"/>
                  </a:lnTo>
                  <a:lnTo>
                    <a:pt x="112" y="62"/>
                  </a:lnTo>
                  <a:lnTo>
                    <a:pt x="112" y="63"/>
                  </a:lnTo>
                  <a:lnTo>
                    <a:pt x="114" y="63"/>
                  </a:lnTo>
                  <a:lnTo>
                    <a:pt x="114" y="62"/>
                  </a:lnTo>
                  <a:lnTo>
                    <a:pt x="116" y="62"/>
                  </a:lnTo>
                  <a:lnTo>
                    <a:pt x="116" y="63"/>
                  </a:lnTo>
                  <a:lnTo>
                    <a:pt x="116" y="62"/>
                  </a:lnTo>
                  <a:lnTo>
                    <a:pt x="118" y="62"/>
                  </a:lnTo>
                  <a:lnTo>
                    <a:pt x="119" y="62"/>
                  </a:lnTo>
                  <a:lnTo>
                    <a:pt x="121" y="62"/>
                  </a:lnTo>
                  <a:lnTo>
                    <a:pt x="121" y="63"/>
                  </a:lnTo>
                  <a:lnTo>
                    <a:pt x="123" y="63"/>
                  </a:lnTo>
                  <a:lnTo>
                    <a:pt x="125" y="63"/>
                  </a:lnTo>
                  <a:lnTo>
                    <a:pt x="127" y="63"/>
                  </a:lnTo>
                  <a:lnTo>
                    <a:pt x="127" y="62"/>
                  </a:lnTo>
                  <a:lnTo>
                    <a:pt x="129" y="62"/>
                  </a:lnTo>
                  <a:lnTo>
                    <a:pt x="129" y="63"/>
                  </a:lnTo>
                  <a:lnTo>
                    <a:pt x="131" y="63"/>
                  </a:lnTo>
                  <a:lnTo>
                    <a:pt x="131" y="62"/>
                  </a:lnTo>
                  <a:lnTo>
                    <a:pt x="133" y="62"/>
                  </a:lnTo>
                  <a:lnTo>
                    <a:pt x="133" y="60"/>
                  </a:lnTo>
                  <a:lnTo>
                    <a:pt x="133" y="62"/>
                  </a:lnTo>
                  <a:lnTo>
                    <a:pt x="133" y="60"/>
                  </a:lnTo>
                  <a:lnTo>
                    <a:pt x="133" y="58"/>
                  </a:lnTo>
                  <a:lnTo>
                    <a:pt x="133" y="60"/>
                  </a:lnTo>
                  <a:lnTo>
                    <a:pt x="133" y="58"/>
                  </a:lnTo>
                  <a:lnTo>
                    <a:pt x="135" y="58"/>
                  </a:lnTo>
                  <a:lnTo>
                    <a:pt x="133" y="58"/>
                  </a:lnTo>
                  <a:lnTo>
                    <a:pt x="133" y="56"/>
                  </a:lnTo>
                  <a:lnTo>
                    <a:pt x="135" y="56"/>
                  </a:lnTo>
                  <a:lnTo>
                    <a:pt x="135" y="54"/>
                  </a:lnTo>
                  <a:lnTo>
                    <a:pt x="135" y="56"/>
                  </a:lnTo>
                  <a:lnTo>
                    <a:pt x="137" y="56"/>
                  </a:lnTo>
                  <a:lnTo>
                    <a:pt x="135" y="56"/>
                  </a:lnTo>
                  <a:lnTo>
                    <a:pt x="135" y="58"/>
                  </a:lnTo>
                  <a:lnTo>
                    <a:pt x="135" y="60"/>
                  </a:lnTo>
                  <a:lnTo>
                    <a:pt x="135" y="62"/>
                  </a:lnTo>
                  <a:lnTo>
                    <a:pt x="135" y="63"/>
                  </a:lnTo>
                  <a:lnTo>
                    <a:pt x="137" y="63"/>
                  </a:lnTo>
                  <a:lnTo>
                    <a:pt x="139" y="63"/>
                  </a:lnTo>
                  <a:lnTo>
                    <a:pt x="139" y="62"/>
                  </a:lnTo>
                  <a:lnTo>
                    <a:pt x="141" y="62"/>
                  </a:lnTo>
                  <a:lnTo>
                    <a:pt x="143" y="62"/>
                  </a:lnTo>
                  <a:lnTo>
                    <a:pt x="143" y="63"/>
                  </a:lnTo>
                  <a:lnTo>
                    <a:pt x="144" y="63"/>
                  </a:lnTo>
                  <a:lnTo>
                    <a:pt x="143" y="63"/>
                  </a:lnTo>
                  <a:lnTo>
                    <a:pt x="144" y="63"/>
                  </a:lnTo>
                  <a:lnTo>
                    <a:pt x="144" y="62"/>
                  </a:lnTo>
                  <a:lnTo>
                    <a:pt x="146" y="62"/>
                  </a:lnTo>
                  <a:lnTo>
                    <a:pt x="148" y="62"/>
                  </a:lnTo>
                  <a:lnTo>
                    <a:pt x="148" y="60"/>
                  </a:lnTo>
                  <a:lnTo>
                    <a:pt x="148" y="58"/>
                  </a:lnTo>
                  <a:lnTo>
                    <a:pt x="150" y="58"/>
                  </a:lnTo>
                  <a:lnTo>
                    <a:pt x="150" y="56"/>
                  </a:lnTo>
                  <a:lnTo>
                    <a:pt x="152" y="56"/>
                  </a:lnTo>
                  <a:lnTo>
                    <a:pt x="152" y="54"/>
                  </a:lnTo>
                  <a:lnTo>
                    <a:pt x="154" y="54"/>
                  </a:lnTo>
                  <a:lnTo>
                    <a:pt x="156" y="54"/>
                  </a:lnTo>
                  <a:lnTo>
                    <a:pt x="158" y="54"/>
                  </a:lnTo>
                  <a:lnTo>
                    <a:pt x="158" y="52"/>
                  </a:lnTo>
                  <a:lnTo>
                    <a:pt x="158" y="50"/>
                  </a:lnTo>
                  <a:lnTo>
                    <a:pt x="158" y="48"/>
                  </a:lnTo>
                  <a:lnTo>
                    <a:pt x="158" y="46"/>
                  </a:lnTo>
                  <a:lnTo>
                    <a:pt x="156" y="46"/>
                  </a:lnTo>
                  <a:lnTo>
                    <a:pt x="156" y="44"/>
                  </a:lnTo>
                  <a:lnTo>
                    <a:pt x="156" y="42"/>
                  </a:lnTo>
                  <a:lnTo>
                    <a:pt x="158" y="42"/>
                  </a:lnTo>
                  <a:lnTo>
                    <a:pt x="160" y="42"/>
                  </a:lnTo>
                  <a:lnTo>
                    <a:pt x="160" y="44"/>
                  </a:lnTo>
                  <a:lnTo>
                    <a:pt x="160" y="42"/>
                  </a:lnTo>
                  <a:lnTo>
                    <a:pt x="160" y="44"/>
                  </a:lnTo>
                  <a:lnTo>
                    <a:pt x="160" y="42"/>
                  </a:lnTo>
                  <a:lnTo>
                    <a:pt x="160" y="44"/>
                  </a:lnTo>
                  <a:lnTo>
                    <a:pt x="162" y="44"/>
                  </a:lnTo>
                  <a:lnTo>
                    <a:pt x="164" y="44"/>
                  </a:lnTo>
                  <a:lnTo>
                    <a:pt x="164" y="42"/>
                  </a:lnTo>
                  <a:lnTo>
                    <a:pt x="166" y="42"/>
                  </a:lnTo>
                  <a:close/>
                  <a:moveTo>
                    <a:pt x="204" y="62"/>
                  </a:moveTo>
                  <a:lnTo>
                    <a:pt x="204" y="63"/>
                  </a:lnTo>
                  <a:lnTo>
                    <a:pt x="204" y="62"/>
                  </a:lnTo>
                  <a:lnTo>
                    <a:pt x="206" y="62"/>
                  </a:lnTo>
                  <a:lnTo>
                    <a:pt x="206" y="63"/>
                  </a:lnTo>
                  <a:lnTo>
                    <a:pt x="208" y="63"/>
                  </a:lnTo>
                  <a:lnTo>
                    <a:pt x="208" y="65"/>
                  </a:lnTo>
                  <a:lnTo>
                    <a:pt x="210" y="65"/>
                  </a:lnTo>
                  <a:lnTo>
                    <a:pt x="210" y="67"/>
                  </a:lnTo>
                  <a:lnTo>
                    <a:pt x="212" y="67"/>
                  </a:lnTo>
                  <a:lnTo>
                    <a:pt x="212" y="69"/>
                  </a:lnTo>
                  <a:lnTo>
                    <a:pt x="214" y="69"/>
                  </a:lnTo>
                  <a:lnTo>
                    <a:pt x="214" y="71"/>
                  </a:lnTo>
                  <a:lnTo>
                    <a:pt x="215" y="71"/>
                  </a:lnTo>
                  <a:lnTo>
                    <a:pt x="215" y="73"/>
                  </a:lnTo>
                  <a:lnTo>
                    <a:pt x="215" y="71"/>
                  </a:lnTo>
                  <a:lnTo>
                    <a:pt x="215" y="73"/>
                  </a:lnTo>
                  <a:lnTo>
                    <a:pt x="215" y="71"/>
                  </a:lnTo>
                  <a:lnTo>
                    <a:pt x="215" y="73"/>
                  </a:lnTo>
                  <a:lnTo>
                    <a:pt x="217" y="73"/>
                  </a:lnTo>
                  <a:lnTo>
                    <a:pt x="217" y="75"/>
                  </a:lnTo>
                  <a:lnTo>
                    <a:pt x="219" y="75"/>
                  </a:lnTo>
                  <a:lnTo>
                    <a:pt x="219" y="77"/>
                  </a:lnTo>
                  <a:lnTo>
                    <a:pt x="221" y="77"/>
                  </a:lnTo>
                  <a:lnTo>
                    <a:pt x="221" y="79"/>
                  </a:lnTo>
                  <a:lnTo>
                    <a:pt x="221" y="81"/>
                  </a:lnTo>
                  <a:lnTo>
                    <a:pt x="219" y="81"/>
                  </a:lnTo>
                  <a:lnTo>
                    <a:pt x="221" y="81"/>
                  </a:lnTo>
                  <a:lnTo>
                    <a:pt x="219" y="81"/>
                  </a:lnTo>
                  <a:lnTo>
                    <a:pt x="221" y="81"/>
                  </a:lnTo>
                  <a:lnTo>
                    <a:pt x="219" y="81"/>
                  </a:lnTo>
                  <a:lnTo>
                    <a:pt x="221" y="81"/>
                  </a:lnTo>
                  <a:lnTo>
                    <a:pt x="219" y="81"/>
                  </a:lnTo>
                  <a:lnTo>
                    <a:pt x="217" y="81"/>
                  </a:lnTo>
                  <a:lnTo>
                    <a:pt x="217" y="83"/>
                  </a:lnTo>
                  <a:lnTo>
                    <a:pt x="215" y="83"/>
                  </a:lnTo>
                  <a:lnTo>
                    <a:pt x="214" y="83"/>
                  </a:lnTo>
                  <a:lnTo>
                    <a:pt x="214" y="81"/>
                  </a:lnTo>
                  <a:lnTo>
                    <a:pt x="212" y="81"/>
                  </a:lnTo>
                  <a:lnTo>
                    <a:pt x="212" y="79"/>
                  </a:lnTo>
                  <a:lnTo>
                    <a:pt x="210" y="79"/>
                  </a:lnTo>
                  <a:lnTo>
                    <a:pt x="210" y="77"/>
                  </a:lnTo>
                  <a:lnTo>
                    <a:pt x="210" y="75"/>
                  </a:lnTo>
                  <a:lnTo>
                    <a:pt x="210" y="73"/>
                  </a:lnTo>
                  <a:lnTo>
                    <a:pt x="208" y="73"/>
                  </a:lnTo>
                  <a:lnTo>
                    <a:pt x="206" y="73"/>
                  </a:lnTo>
                  <a:lnTo>
                    <a:pt x="206" y="71"/>
                  </a:lnTo>
                  <a:lnTo>
                    <a:pt x="206" y="69"/>
                  </a:lnTo>
                  <a:lnTo>
                    <a:pt x="204" y="69"/>
                  </a:lnTo>
                  <a:lnTo>
                    <a:pt x="204" y="67"/>
                  </a:lnTo>
                  <a:lnTo>
                    <a:pt x="202" y="67"/>
                  </a:lnTo>
                  <a:lnTo>
                    <a:pt x="202" y="65"/>
                  </a:lnTo>
                  <a:lnTo>
                    <a:pt x="202" y="63"/>
                  </a:lnTo>
                  <a:lnTo>
                    <a:pt x="204" y="63"/>
                  </a:lnTo>
                  <a:lnTo>
                    <a:pt x="202" y="63"/>
                  </a:lnTo>
                  <a:lnTo>
                    <a:pt x="204" y="63"/>
                  </a:lnTo>
                  <a:lnTo>
                    <a:pt x="204" y="62"/>
                  </a:lnTo>
                  <a:lnTo>
                    <a:pt x="202" y="62"/>
                  </a:lnTo>
                  <a:lnTo>
                    <a:pt x="204" y="62"/>
                  </a:lnTo>
                  <a:close/>
                  <a:moveTo>
                    <a:pt x="146" y="19"/>
                  </a:moveTo>
                  <a:lnTo>
                    <a:pt x="148" y="19"/>
                  </a:lnTo>
                  <a:lnTo>
                    <a:pt x="148" y="21"/>
                  </a:lnTo>
                  <a:lnTo>
                    <a:pt x="150" y="21"/>
                  </a:lnTo>
                  <a:lnTo>
                    <a:pt x="150" y="23"/>
                  </a:lnTo>
                  <a:lnTo>
                    <a:pt x="150" y="21"/>
                  </a:lnTo>
                  <a:lnTo>
                    <a:pt x="150" y="23"/>
                  </a:lnTo>
                  <a:lnTo>
                    <a:pt x="152" y="23"/>
                  </a:lnTo>
                  <a:lnTo>
                    <a:pt x="150" y="23"/>
                  </a:lnTo>
                  <a:lnTo>
                    <a:pt x="152" y="23"/>
                  </a:lnTo>
                  <a:lnTo>
                    <a:pt x="154" y="23"/>
                  </a:lnTo>
                  <a:lnTo>
                    <a:pt x="154" y="25"/>
                  </a:lnTo>
                  <a:lnTo>
                    <a:pt x="156" y="25"/>
                  </a:lnTo>
                  <a:lnTo>
                    <a:pt x="158" y="25"/>
                  </a:lnTo>
                  <a:lnTo>
                    <a:pt x="158" y="27"/>
                  </a:lnTo>
                  <a:lnTo>
                    <a:pt x="158" y="25"/>
                  </a:lnTo>
                  <a:lnTo>
                    <a:pt x="158" y="27"/>
                  </a:lnTo>
                  <a:lnTo>
                    <a:pt x="160" y="27"/>
                  </a:lnTo>
                  <a:lnTo>
                    <a:pt x="160" y="29"/>
                  </a:lnTo>
                  <a:lnTo>
                    <a:pt x="162" y="29"/>
                  </a:lnTo>
                  <a:lnTo>
                    <a:pt x="164" y="29"/>
                  </a:lnTo>
                  <a:lnTo>
                    <a:pt x="164" y="31"/>
                  </a:lnTo>
                  <a:lnTo>
                    <a:pt x="166" y="31"/>
                  </a:lnTo>
                  <a:lnTo>
                    <a:pt x="166" y="33"/>
                  </a:lnTo>
                  <a:lnTo>
                    <a:pt x="167" y="33"/>
                  </a:lnTo>
                  <a:lnTo>
                    <a:pt x="167" y="35"/>
                  </a:lnTo>
                  <a:lnTo>
                    <a:pt x="169" y="35"/>
                  </a:lnTo>
                  <a:lnTo>
                    <a:pt x="171" y="35"/>
                  </a:lnTo>
                  <a:lnTo>
                    <a:pt x="171" y="37"/>
                  </a:lnTo>
                  <a:lnTo>
                    <a:pt x="173" y="37"/>
                  </a:lnTo>
                  <a:lnTo>
                    <a:pt x="173" y="38"/>
                  </a:lnTo>
                  <a:lnTo>
                    <a:pt x="175" y="38"/>
                  </a:lnTo>
                  <a:lnTo>
                    <a:pt x="175" y="40"/>
                  </a:lnTo>
                  <a:lnTo>
                    <a:pt x="177" y="40"/>
                  </a:lnTo>
                  <a:lnTo>
                    <a:pt x="177" y="42"/>
                  </a:lnTo>
                  <a:lnTo>
                    <a:pt x="179" y="42"/>
                  </a:lnTo>
                  <a:lnTo>
                    <a:pt x="179" y="44"/>
                  </a:lnTo>
                  <a:lnTo>
                    <a:pt x="179" y="46"/>
                  </a:lnTo>
                  <a:lnTo>
                    <a:pt x="179" y="48"/>
                  </a:lnTo>
                  <a:lnTo>
                    <a:pt x="179" y="50"/>
                  </a:lnTo>
                  <a:lnTo>
                    <a:pt x="177" y="50"/>
                  </a:lnTo>
                  <a:lnTo>
                    <a:pt x="179" y="50"/>
                  </a:lnTo>
                  <a:lnTo>
                    <a:pt x="177" y="50"/>
                  </a:lnTo>
                  <a:lnTo>
                    <a:pt x="177" y="52"/>
                  </a:lnTo>
                  <a:lnTo>
                    <a:pt x="175" y="52"/>
                  </a:lnTo>
                  <a:lnTo>
                    <a:pt x="175" y="50"/>
                  </a:lnTo>
                  <a:lnTo>
                    <a:pt x="173" y="50"/>
                  </a:lnTo>
                  <a:lnTo>
                    <a:pt x="173" y="48"/>
                  </a:lnTo>
                  <a:lnTo>
                    <a:pt x="173" y="46"/>
                  </a:lnTo>
                  <a:lnTo>
                    <a:pt x="173" y="44"/>
                  </a:lnTo>
                  <a:lnTo>
                    <a:pt x="173" y="42"/>
                  </a:lnTo>
                  <a:lnTo>
                    <a:pt x="171" y="42"/>
                  </a:lnTo>
                  <a:lnTo>
                    <a:pt x="171" y="40"/>
                  </a:lnTo>
                  <a:lnTo>
                    <a:pt x="171" y="38"/>
                  </a:lnTo>
                  <a:lnTo>
                    <a:pt x="169" y="38"/>
                  </a:lnTo>
                  <a:lnTo>
                    <a:pt x="169" y="37"/>
                  </a:lnTo>
                  <a:lnTo>
                    <a:pt x="167" y="37"/>
                  </a:lnTo>
                  <a:lnTo>
                    <a:pt x="167" y="35"/>
                  </a:lnTo>
                  <a:lnTo>
                    <a:pt x="167" y="33"/>
                  </a:lnTo>
                  <a:lnTo>
                    <a:pt x="166" y="33"/>
                  </a:lnTo>
                  <a:lnTo>
                    <a:pt x="164" y="33"/>
                  </a:lnTo>
                  <a:lnTo>
                    <a:pt x="162" y="33"/>
                  </a:lnTo>
                  <a:lnTo>
                    <a:pt x="162" y="31"/>
                  </a:lnTo>
                  <a:lnTo>
                    <a:pt x="160" y="31"/>
                  </a:lnTo>
                  <a:lnTo>
                    <a:pt x="160" y="29"/>
                  </a:lnTo>
                  <a:lnTo>
                    <a:pt x="158" y="29"/>
                  </a:lnTo>
                  <a:lnTo>
                    <a:pt x="158" y="27"/>
                  </a:lnTo>
                  <a:lnTo>
                    <a:pt x="156" y="27"/>
                  </a:lnTo>
                  <a:lnTo>
                    <a:pt x="154" y="27"/>
                  </a:lnTo>
                  <a:lnTo>
                    <a:pt x="154" y="25"/>
                  </a:lnTo>
                  <a:lnTo>
                    <a:pt x="152" y="25"/>
                  </a:lnTo>
                  <a:lnTo>
                    <a:pt x="150" y="25"/>
                  </a:lnTo>
                  <a:lnTo>
                    <a:pt x="150" y="23"/>
                  </a:lnTo>
                  <a:lnTo>
                    <a:pt x="148" y="23"/>
                  </a:lnTo>
                  <a:lnTo>
                    <a:pt x="148" y="21"/>
                  </a:lnTo>
                  <a:lnTo>
                    <a:pt x="146" y="21"/>
                  </a:lnTo>
                  <a:lnTo>
                    <a:pt x="146" y="23"/>
                  </a:lnTo>
                  <a:lnTo>
                    <a:pt x="144" y="23"/>
                  </a:lnTo>
                  <a:lnTo>
                    <a:pt x="144" y="21"/>
                  </a:lnTo>
                  <a:lnTo>
                    <a:pt x="146" y="21"/>
                  </a:lnTo>
                  <a:lnTo>
                    <a:pt x="144" y="21"/>
                  </a:lnTo>
                  <a:lnTo>
                    <a:pt x="146" y="21"/>
                  </a:lnTo>
                  <a:lnTo>
                    <a:pt x="146" y="19"/>
                  </a:lnTo>
                  <a:lnTo>
                    <a:pt x="146" y="21"/>
                  </a:lnTo>
                  <a:lnTo>
                    <a:pt x="146" y="19"/>
                  </a:lnTo>
                  <a:lnTo>
                    <a:pt x="146" y="21"/>
                  </a:lnTo>
                  <a:lnTo>
                    <a:pt x="146" y="19"/>
                  </a:lnTo>
                  <a:lnTo>
                    <a:pt x="144" y="19"/>
                  </a:lnTo>
                  <a:lnTo>
                    <a:pt x="146" y="19"/>
                  </a:lnTo>
                  <a:close/>
                  <a:moveTo>
                    <a:pt x="87" y="10"/>
                  </a:moveTo>
                  <a:lnTo>
                    <a:pt x="89" y="10"/>
                  </a:lnTo>
                  <a:lnTo>
                    <a:pt x="91" y="10"/>
                  </a:lnTo>
                  <a:lnTo>
                    <a:pt x="93" y="10"/>
                  </a:lnTo>
                  <a:lnTo>
                    <a:pt x="91" y="10"/>
                  </a:lnTo>
                  <a:lnTo>
                    <a:pt x="93" y="10"/>
                  </a:lnTo>
                  <a:lnTo>
                    <a:pt x="93" y="12"/>
                  </a:lnTo>
                  <a:lnTo>
                    <a:pt x="93" y="10"/>
                  </a:lnTo>
                  <a:lnTo>
                    <a:pt x="93" y="12"/>
                  </a:lnTo>
                  <a:lnTo>
                    <a:pt x="93" y="10"/>
                  </a:lnTo>
                  <a:lnTo>
                    <a:pt x="93" y="12"/>
                  </a:lnTo>
                  <a:lnTo>
                    <a:pt x="95" y="12"/>
                  </a:lnTo>
                  <a:lnTo>
                    <a:pt x="95" y="14"/>
                  </a:lnTo>
                  <a:lnTo>
                    <a:pt x="93" y="14"/>
                  </a:lnTo>
                  <a:lnTo>
                    <a:pt x="91" y="14"/>
                  </a:lnTo>
                  <a:lnTo>
                    <a:pt x="89" y="14"/>
                  </a:lnTo>
                  <a:lnTo>
                    <a:pt x="87" y="14"/>
                  </a:lnTo>
                  <a:lnTo>
                    <a:pt x="85" y="14"/>
                  </a:lnTo>
                  <a:lnTo>
                    <a:pt x="83" y="14"/>
                  </a:lnTo>
                  <a:lnTo>
                    <a:pt x="83" y="15"/>
                  </a:lnTo>
                  <a:lnTo>
                    <a:pt x="83" y="14"/>
                  </a:lnTo>
                  <a:lnTo>
                    <a:pt x="83" y="15"/>
                  </a:lnTo>
                  <a:lnTo>
                    <a:pt x="83" y="14"/>
                  </a:lnTo>
                  <a:lnTo>
                    <a:pt x="83" y="12"/>
                  </a:lnTo>
                  <a:lnTo>
                    <a:pt x="83" y="14"/>
                  </a:lnTo>
                  <a:lnTo>
                    <a:pt x="83" y="12"/>
                  </a:lnTo>
                  <a:lnTo>
                    <a:pt x="83" y="14"/>
                  </a:lnTo>
                  <a:lnTo>
                    <a:pt x="85" y="14"/>
                  </a:lnTo>
                  <a:lnTo>
                    <a:pt x="85" y="12"/>
                  </a:lnTo>
                  <a:lnTo>
                    <a:pt x="83" y="12"/>
                  </a:lnTo>
                  <a:lnTo>
                    <a:pt x="83" y="10"/>
                  </a:lnTo>
                  <a:lnTo>
                    <a:pt x="83" y="12"/>
                  </a:lnTo>
                  <a:lnTo>
                    <a:pt x="85" y="12"/>
                  </a:lnTo>
                  <a:lnTo>
                    <a:pt x="85" y="10"/>
                  </a:lnTo>
                  <a:lnTo>
                    <a:pt x="85" y="12"/>
                  </a:lnTo>
                  <a:lnTo>
                    <a:pt x="85" y="10"/>
                  </a:lnTo>
                  <a:lnTo>
                    <a:pt x="85" y="12"/>
                  </a:lnTo>
                  <a:lnTo>
                    <a:pt x="85" y="10"/>
                  </a:lnTo>
                  <a:lnTo>
                    <a:pt x="87" y="10"/>
                  </a:lnTo>
                  <a:lnTo>
                    <a:pt x="87" y="12"/>
                  </a:lnTo>
                  <a:lnTo>
                    <a:pt x="87" y="10"/>
                  </a:lnTo>
                  <a:lnTo>
                    <a:pt x="87" y="12"/>
                  </a:lnTo>
                  <a:lnTo>
                    <a:pt x="87" y="10"/>
                  </a:lnTo>
                  <a:close/>
                  <a:moveTo>
                    <a:pt x="141" y="119"/>
                  </a:moveTo>
                  <a:lnTo>
                    <a:pt x="143" y="119"/>
                  </a:lnTo>
                  <a:lnTo>
                    <a:pt x="144" y="119"/>
                  </a:lnTo>
                  <a:lnTo>
                    <a:pt x="144" y="121"/>
                  </a:lnTo>
                  <a:lnTo>
                    <a:pt x="144" y="119"/>
                  </a:lnTo>
                  <a:lnTo>
                    <a:pt x="146" y="119"/>
                  </a:lnTo>
                  <a:lnTo>
                    <a:pt x="146" y="121"/>
                  </a:lnTo>
                  <a:lnTo>
                    <a:pt x="146" y="123"/>
                  </a:lnTo>
                  <a:lnTo>
                    <a:pt x="148" y="123"/>
                  </a:lnTo>
                  <a:lnTo>
                    <a:pt x="146" y="123"/>
                  </a:lnTo>
                  <a:lnTo>
                    <a:pt x="146" y="125"/>
                  </a:lnTo>
                  <a:lnTo>
                    <a:pt x="146" y="123"/>
                  </a:lnTo>
                  <a:lnTo>
                    <a:pt x="146" y="125"/>
                  </a:lnTo>
                  <a:lnTo>
                    <a:pt x="146" y="123"/>
                  </a:lnTo>
                  <a:lnTo>
                    <a:pt x="144" y="123"/>
                  </a:lnTo>
                  <a:lnTo>
                    <a:pt x="143" y="123"/>
                  </a:lnTo>
                  <a:lnTo>
                    <a:pt x="141" y="123"/>
                  </a:lnTo>
                  <a:lnTo>
                    <a:pt x="141" y="121"/>
                  </a:lnTo>
                  <a:lnTo>
                    <a:pt x="141" y="123"/>
                  </a:lnTo>
                  <a:lnTo>
                    <a:pt x="141" y="121"/>
                  </a:lnTo>
                  <a:lnTo>
                    <a:pt x="141" y="119"/>
                  </a:lnTo>
                  <a:close/>
                  <a:moveTo>
                    <a:pt x="137" y="15"/>
                  </a:moveTo>
                  <a:lnTo>
                    <a:pt x="137" y="17"/>
                  </a:lnTo>
                  <a:lnTo>
                    <a:pt x="137" y="15"/>
                  </a:lnTo>
                  <a:lnTo>
                    <a:pt x="137" y="17"/>
                  </a:lnTo>
                  <a:lnTo>
                    <a:pt x="139" y="17"/>
                  </a:lnTo>
                  <a:lnTo>
                    <a:pt x="141" y="17"/>
                  </a:lnTo>
                  <a:lnTo>
                    <a:pt x="141" y="19"/>
                  </a:lnTo>
                  <a:lnTo>
                    <a:pt x="141" y="21"/>
                  </a:lnTo>
                  <a:lnTo>
                    <a:pt x="139" y="21"/>
                  </a:lnTo>
                  <a:lnTo>
                    <a:pt x="137" y="21"/>
                  </a:lnTo>
                  <a:lnTo>
                    <a:pt x="139" y="21"/>
                  </a:lnTo>
                  <a:lnTo>
                    <a:pt x="137" y="21"/>
                  </a:lnTo>
                  <a:lnTo>
                    <a:pt x="137" y="19"/>
                  </a:lnTo>
                  <a:lnTo>
                    <a:pt x="135" y="19"/>
                  </a:lnTo>
                  <a:lnTo>
                    <a:pt x="135" y="21"/>
                  </a:lnTo>
                  <a:lnTo>
                    <a:pt x="135" y="19"/>
                  </a:lnTo>
                  <a:lnTo>
                    <a:pt x="135" y="17"/>
                  </a:lnTo>
                  <a:lnTo>
                    <a:pt x="133" y="17"/>
                  </a:lnTo>
                  <a:lnTo>
                    <a:pt x="135" y="17"/>
                  </a:lnTo>
                  <a:lnTo>
                    <a:pt x="137" y="17"/>
                  </a:lnTo>
                  <a:lnTo>
                    <a:pt x="137" y="15"/>
                  </a:lnTo>
                  <a:lnTo>
                    <a:pt x="137" y="17"/>
                  </a:lnTo>
                  <a:lnTo>
                    <a:pt x="137" y="15"/>
                  </a:lnTo>
                  <a:close/>
                  <a:moveTo>
                    <a:pt x="169" y="113"/>
                  </a:moveTo>
                  <a:lnTo>
                    <a:pt x="171" y="113"/>
                  </a:lnTo>
                  <a:lnTo>
                    <a:pt x="173" y="113"/>
                  </a:lnTo>
                  <a:lnTo>
                    <a:pt x="175" y="113"/>
                  </a:lnTo>
                  <a:lnTo>
                    <a:pt x="175" y="115"/>
                  </a:lnTo>
                  <a:lnTo>
                    <a:pt x="177" y="115"/>
                  </a:lnTo>
                  <a:lnTo>
                    <a:pt x="179" y="115"/>
                  </a:lnTo>
                  <a:lnTo>
                    <a:pt x="177" y="115"/>
                  </a:lnTo>
                  <a:lnTo>
                    <a:pt x="177" y="117"/>
                  </a:lnTo>
                  <a:lnTo>
                    <a:pt x="175" y="117"/>
                  </a:lnTo>
                  <a:lnTo>
                    <a:pt x="173" y="117"/>
                  </a:lnTo>
                  <a:lnTo>
                    <a:pt x="173" y="115"/>
                  </a:lnTo>
                  <a:lnTo>
                    <a:pt x="173" y="117"/>
                  </a:lnTo>
                  <a:lnTo>
                    <a:pt x="173" y="115"/>
                  </a:lnTo>
                  <a:lnTo>
                    <a:pt x="171" y="115"/>
                  </a:lnTo>
                  <a:lnTo>
                    <a:pt x="171" y="113"/>
                  </a:lnTo>
                  <a:lnTo>
                    <a:pt x="171" y="115"/>
                  </a:lnTo>
                  <a:lnTo>
                    <a:pt x="171" y="113"/>
                  </a:lnTo>
                  <a:lnTo>
                    <a:pt x="171" y="115"/>
                  </a:lnTo>
                  <a:lnTo>
                    <a:pt x="169" y="115"/>
                  </a:lnTo>
                  <a:lnTo>
                    <a:pt x="169" y="113"/>
                  </a:lnTo>
                  <a:lnTo>
                    <a:pt x="171" y="113"/>
                  </a:lnTo>
                  <a:lnTo>
                    <a:pt x="169" y="113"/>
                  </a:lnTo>
                  <a:lnTo>
                    <a:pt x="169" y="115"/>
                  </a:lnTo>
                  <a:lnTo>
                    <a:pt x="169" y="113"/>
                  </a:lnTo>
                  <a:close/>
                  <a:moveTo>
                    <a:pt x="144" y="125"/>
                  </a:moveTo>
                  <a:lnTo>
                    <a:pt x="146" y="125"/>
                  </a:lnTo>
                  <a:lnTo>
                    <a:pt x="146" y="127"/>
                  </a:lnTo>
                  <a:lnTo>
                    <a:pt x="148" y="127"/>
                  </a:lnTo>
                  <a:lnTo>
                    <a:pt x="150" y="127"/>
                  </a:lnTo>
                  <a:lnTo>
                    <a:pt x="150" y="129"/>
                  </a:lnTo>
                  <a:lnTo>
                    <a:pt x="148" y="129"/>
                  </a:lnTo>
                  <a:lnTo>
                    <a:pt x="148" y="127"/>
                  </a:lnTo>
                  <a:lnTo>
                    <a:pt x="148" y="129"/>
                  </a:lnTo>
                  <a:lnTo>
                    <a:pt x="148" y="127"/>
                  </a:lnTo>
                  <a:lnTo>
                    <a:pt x="148" y="129"/>
                  </a:lnTo>
                  <a:lnTo>
                    <a:pt x="150" y="129"/>
                  </a:lnTo>
                  <a:lnTo>
                    <a:pt x="148" y="129"/>
                  </a:lnTo>
                  <a:lnTo>
                    <a:pt x="150" y="129"/>
                  </a:lnTo>
                  <a:lnTo>
                    <a:pt x="150" y="127"/>
                  </a:lnTo>
                  <a:lnTo>
                    <a:pt x="152" y="127"/>
                  </a:lnTo>
                  <a:lnTo>
                    <a:pt x="152" y="129"/>
                  </a:lnTo>
                  <a:lnTo>
                    <a:pt x="152" y="131"/>
                  </a:lnTo>
                  <a:lnTo>
                    <a:pt x="150" y="131"/>
                  </a:lnTo>
                  <a:lnTo>
                    <a:pt x="148" y="131"/>
                  </a:lnTo>
                  <a:lnTo>
                    <a:pt x="148" y="129"/>
                  </a:lnTo>
                  <a:lnTo>
                    <a:pt x="146" y="129"/>
                  </a:lnTo>
                  <a:lnTo>
                    <a:pt x="146" y="127"/>
                  </a:lnTo>
                  <a:lnTo>
                    <a:pt x="146" y="125"/>
                  </a:lnTo>
                  <a:lnTo>
                    <a:pt x="146" y="127"/>
                  </a:lnTo>
                  <a:lnTo>
                    <a:pt x="146" y="125"/>
                  </a:lnTo>
                  <a:lnTo>
                    <a:pt x="144" y="125"/>
                  </a:lnTo>
                  <a:close/>
                  <a:moveTo>
                    <a:pt x="102" y="62"/>
                  </a:moveTo>
                  <a:lnTo>
                    <a:pt x="102" y="63"/>
                  </a:lnTo>
                  <a:lnTo>
                    <a:pt x="104" y="63"/>
                  </a:lnTo>
                  <a:lnTo>
                    <a:pt x="104" y="62"/>
                  </a:lnTo>
                  <a:lnTo>
                    <a:pt x="104" y="63"/>
                  </a:lnTo>
                  <a:lnTo>
                    <a:pt x="106" y="63"/>
                  </a:lnTo>
                  <a:lnTo>
                    <a:pt x="106" y="65"/>
                  </a:lnTo>
                  <a:lnTo>
                    <a:pt x="106" y="67"/>
                  </a:lnTo>
                  <a:lnTo>
                    <a:pt x="104" y="67"/>
                  </a:lnTo>
                  <a:lnTo>
                    <a:pt x="104" y="65"/>
                  </a:lnTo>
                  <a:lnTo>
                    <a:pt x="102" y="65"/>
                  </a:lnTo>
                  <a:lnTo>
                    <a:pt x="102" y="63"/>
                  </a:lnTo>
                  <a:lnTo>
                    <a:pt x="100" y="63"/>
                  </a:lnTo>
                  <a:lnTo>
                    <a:pt x="100" y="62"/>
                  </a:lnTo>
                  <a:lnTo>
                    <a:pt x="102" y="62"/>
                  </a:lnTo>
                  <a:close/>
                  <a:moveTo>
                    <a:pt x="181" y="148"/>
                  </a:moveTo>
                  <a:lnTo>
                    <a:pt x="181" y="150"/>
                  </a:lnTo>
                  <a:lnTo>
                    <a:pt x="183" y="150"/>
                  </a:lnTo>
                  <a:lnTo>
                    <a:pt x="183" y="148"/>
                  </a:lnTo>
                  <a:lnTo>
                    <a:pt x="183" y="150"/>
                  </a:lnTo>
                  <a:lnTo>
                    <a:pt x="185" y="150"/>
                  </a:lnTo>
                  <a:lnTo>
                    <a:pt x="187" y="150"/>
                  </a:lnTo>
                  <a:lnTo>
                    <a:pt x="187" y="152"/>
                  </a:lnTo>
                  <a:lnTo>
                    <a:pt x="189" y="152"/>
                  </a:lnTo>
                  <a:lnTo>
                    <a:pt x="189" y="154"/>
                  </a:lnTo>
                  <a:lnTo>
                    <a:pt x="189" y="152"/>
                  </a:lnTo>
                  <a:lnTo>
                    <a:pt x="189" y="154"/>
                  </a:lnTo>
                  <a:lnTo>
                    <a:pt x="187" y="152"/>
                  </a:lnTo>
                  <a:lnTo>
                    <a:pt x="187" y="154"/>
                  </a:lnTo>
                  <a:lnTo>
                    <a:pt x="189" y="154"/>
                  </a:lnTo>
                  <a:lnTo>
                    <a:pt x="187" y="154"/>
                  </a:lnTo>
                  <a:lnTo>
                    <a:pt x="187" y="152"/>
                  </a:lnTo>
                  <a:lnTo>
                    <a:pt x="187" y="154"/>
                  </a:lnTo>
                  <a:lnTo>
                    <a:pt x="187" y="152"/>
                  </a:lnTo>
                  <a:lnTo>
                    <a:pt x="187" y="154"/>
                  </a:lnTo>
                  <a:lnTo>
                    <a:pt x="185" y="154"/>
                  </a:lnTo>
                  <a:lnTo>
                    <a:pt x="187" y="154"/>
                  </a:lnTo>
                  <a:lnTo>
                    <a:pt x="187" y="152"/>
                  </a:lnTo>
                  <a:lnTo>
                    <a:pt x="185" y="152"/>
                  </a:lnTo>
                  <a:lnTo>
                    <a:pt x="183" y="152"/>
                  </a:lnTo>
                  <a:lnTo>
                    <a:pt x="185" y="152"/>
                  </a:lnTo>
                  <a:lnTo>
                    <a:pt x="183" y="152"/>
                  </a:lnTo>
                  <a:lnTo>
                    <a:pt x="183" y="150"/>
                  </a:lnTo>
                  <a:lnTo>
                    <a:pt x="183" y="152"/>
                  </a:lnTo>
                  <a:lnTo>
                    <a:pt x="183" y="150"/>
                  </a:lnTo>
                  <a:lnTo>
                    <a:pt x="183" y="152"/>
                  </a:lnTo>
                  <a:lnTo>
                    <a:pt x="181" y="152"/>
                  </a:lnTo>
                  <a:lnTo>
                    <a:pt x="181" y="150"/>
                  </a:lnTo>
                  <a:lnTo>
                    <a:pt x="183" y="150"/>
                  </a:lnTo>
                  <a:lnTo>
                    <a:pt x="181" y="150"/>
                  </a:lnTo>
                  <a:lnTo>
                    <a:pt x="181" y="148"/>
                  </a:lnTo>
                  <a:close/>
                  <a:moveTo>
                    <a:pt x="137" y="117"/>
                  </a:moveTo>
                  <a:lnTo>
                    <a:pt x="139" y="117"/>
                  </a:lnTo>
                  <a:lnTo>
                    <a:pt x="139" y="119"/>
                  </a:lnTo>
                  <a:lnTo>
                    <a:pt x="139" y="121"/>
                  </a:lnTo>
                  <a:lnTo>
                    <a:pt x="137" y="121"/>
                  </a:lnTo>
                  <a:lnTo>
                    <a:pt x="137" y="119"/>
                  </a:lnTo>
                  <a:lnTo>
                    <a:pt x="135" y="119"/>
                  </a:lnTo>
                  <a:lnTo>
                    <a:pt x="135" y="117"/>
                  </a:lnTo>
                  <a:lnTo>
                    <a:pt x="137" y="117"/>
                  </a:lnTo>
                  <a:close/>
                  <a:moveTo>
                    <a:pt x="202" y="56"/>
                  </a:moveTo>
                  <a:lnTo>
                    <a:pt x="202" y="58"/>
                  </a:lnTo>
                  <a:lnTo>
                    <a:pt x="202" y="60"/>
                  </a:lnTo>
                  <a:lnTo>
                    <a:pt x="202" y="62"/>
                  </a:lnTo>
                  <a:lnTo>
                    <a:pt x="202" y="60"/>
                  </a:lnTo>
                  <a:lnTo>
                    <a:pt x="200" y="60"/>
                  </a:lnTo>
                  <a:lnTo>
                    <a:pt x="200" y="58"/>
                  </a:lnTo>
                  <a:lnTo>
                    <a:pt x="200" y="56"/>
                  </a:lnTo>
                  <a:lnTo>
                    <a:pt x="202" y="56"/>
                  </a:lnTo>
                  <a:lnTo>
                    <a:pt x="202" y="54"/>
                  </a:lnTo>
                  <a:lnTo>
                    <a:pt x="202" y="56"/>
                  </a:lnTo>
                  <a:close/>
                  <a:moveTo>
                    <a:pt x="91" y="58"/>
                  </a:moveTo>
                  <a:lnTo>
                    <a:pt x="93" y="58"/>
                  </a:lnTo>
                  <a:lnTo>
                    <a:pt x="93" y="62"/>
                  </a:lnTo>
                  <a:lnTo>
                    <a:pt x="91" y="62"/>
                  </a:lnTo>
                  <a:lnTo>
                    <a:pt x="91" y="58"/>
                  </a:lnTo>
                  <a:close/>
                  <a:moveTo>
                    <a:pt x="73" y="48"/>
                  </a:moveTo>
                  <a:lnTo>
                    <a:pt x="77" y="48"/>
                  </a:lnTo>
                  <a:lnTo>
                    <a:pt x="77" y="52"/>
                  </a:lnTo>
                  <a:lnTo>
                    <a:pt x="73" y="52"/>
                  </a:lnTo>
                  <a:lnTo>
                    <a:pt x="73" y="48"/>
                  </a:lnTo>
                  <a:close/>
                  <a:moveTo>
                    <a:pt x="127" y="0"/>
                  </a:moveTo>
                  <a:lnTo>
                    <a:pt x="131" y="0"/>
                  </a:lnTo>
                  <a:lnTo>
                    <a:pt x="131" y="4"/>
                  </a:lnTo>
                  <a:lnTo>
                    <a:pt x="127" y="4"/>
                  </a:lnTo>
                  <a:lnTo>
                    <a:pt x="127" y="0"/>
                  </a:lnTo>
                  <a:close/>
                  <a:moveTo>
                    <a:pt x="37" y="106"/>
                  </a:moveTo>
                  <a:lnTo>
                    <a:pt x="39" y="106"/>
                  </a:lnTo>
                  <a:lnTo>
                    <a:pt x="39" y="108"/>
                  </a:lnTo>
                  <a:lnTo>
                    <a:pt x="41" y="108"/>
                  </a:lnTo>
                  <a:lnTo>
                    <a:pt x="41" y="110"/>
                  </a:lnTo>
                  <a:lnTo>
                    <a:pt x="39" y="110"/>
                  </a:lnTo>
                  <a:lnTo>
                    <a:pt x="39" y="108"/>
                  </a:lnTo>
                  <a:lnTo>
                    <a:pt x="37" y="108"/>
                  </a:lnTo>
                  <a:lnTo>
                    <a:pt x="37" y="106"/>
                  </a:lnTo>
                  <a:lnTo>
                    <a:pt x="35" y="106"/>
                  </a:lnTo>
                  <a:lnTo>
                    <a:pt x="37" y="106"/>
                  </a:lnTo>
                  <a:close/>
                  <a:moveTo>
                    <a:pt x="196" y="148"/>
                  </a:moveTo>
                  <a:lnTo>
                    <a:pt x="196" y="150"/>
                  </a:lnTo>
                  <a:lnTo>
                    <a:pt x="194" y="150"/>
                  </a:lnTo>
                  <a:lnTo>
                    <a:pt x="192" y="150"/>
                  </a:lnTo>
                  <a:lnTo>
                    <a:pt x="192" y="148"/>
                  </a:lnTo>
                  <a:lnTo>
                    <a:pt x="192" y="150"/>
                  </a:lnTo>
                  <a:lnTo>
                    <a:pt x="192" y="148"/>
                  </a:lnTo>
                  <a:lnTo>
                    <a:pt x="194" y="148"/>
                  </a:lnTo>
                  <a:lnTo>
                    <a:pt x="192" y="148"/>
                  </a:lnTo>
                  <a:lnTo>
                    <a:pt x="194" y="148"/>
                  </a:lnTo>
                  <a:lnTo>
                    <a:pt x="192" y="148"/>
                  </a:lnTo>
                  <a:lnTo>
                    <a:pt x="194" y="148"/>
                  </a:lnTo>
                  <a:lnTo>
                    <a:pt x="196" y="148"/>
                  </a:lnTo>
                  <a:close/>
                  <a:moveTo>
                    <a:pt x="150" y="106"/>
                  </a:moveTo>
                  <a:lnTo>
                    <a:pt x="150" y="108"/>
                  </a:lnTo>
                  <a:lnTo>
                    <a:pt x="150" y="110"/>
                  </a:lnTo>
                  <a:lnTo>
                    <a:pt x="150" y="111"/>
                  </a:lnTo>
                  <a:lnTo>
                    <a:pt x="150" y="110"/>
                  </a:lnTo>
                  <a:lnTo>
                    <a:pt x="148" y="110"/>
                  </a:lnTo>
                  <a:lnTo>
                    <a:pt x="150" y="110"/>
                  </a:lnTo>
                  <a:lnTo>
                    <a:pt x="150" y="108"/>
                  </a:lnTo>
                  <a:lnTo>
                    <a:pt x="148" y="108"/>
                  </a:lnTo>
                  <a:lnTo>
                    <a:pt x="148" y="106"/>
                  </a:lnTo>
                  <a:lnTo>
                    <a:pt x="150" y="106"/>
                  </a:lnTo>
                  <a:close/>
                  <a:moveTo>
                    <a:pt x="162" y="21"/>
                  </a:moveTo>
                  <a:lnTo>
                    <a:pt x="164" y="21"/>
                  </a:lnTo>
                  <a:lnTo>
                    <a:pt x="164" y="23"/>
                  </a:lnTo>
                  <a:lnTo>
                    <a:pt x="162" y="23"/>
                  </a:lnTo>
                  <a:lnTo>
                    <a:pt x="164" y="23"/>
                  </a:lnTo>
                  <a:lnTo>
                    <a:pt x="164" y="25"/>
                  </a:lnTo>
                  <a:lnTo>
                    <a:pt x="164" y="23"/>
                  </a:lnTo>
                  <a:lnTo>
                    <a:pt x="164" y="25"/>
                  </a:lnTo>
                  <a:lnTo>
                    <a:pt x="164" y="23"/>
                  </a:lnTo>
                  <a:lnTo>
                    <a:pt x="162" y="23"/>
                  </a:lnTo>
                  <a:lnTo>
                    <a:pt x="162" y="21"/>
                  </a:lnTo>
                  <a:close/>
                  <a:moveTo>
                    <a:pt x="175" y="138"/>
                  </a:moveTo>
                  <a:lnTo>
                    <a:pt x="173" y="138"/>
                  </a:lnTo>
                  <a:lnTo>
                    <a:pt x="171" y="138"/>
                  </a:lnTo>
                  <a:lnTo>
                    <a:pt x="173" y="138"/>
                  </a:lnTo>
                  <a:lnTo>
                    <a:pt x="175" y="138"/>
                  </a:lnTo>
                  <a:close/>
                  <a:moveTo>
                    <a:pt x="171" y="25"/>
                  </a:moveTo>
                  <a:lnTo>
                    <a:pt x="173" y="25"/>
                  </a:lnTo>
                  <a:lnTo>
                    <a:pt x="173" y="29"/>
                  </a:lnTo>
                  <a:lnTo>
                    <a:pt x="171" y="29"/>
                  </a:lnTo>
                  <a:lnTo>
                    <a:pt x="171" y="25"/>
                  </a:lnTo>
                  <a:close/>
                  <a:moveTo>
                    <a:pt x="37" y="104"/>
                  </a:moveTo>
                  <a:lnTo>
                    <a:pt x="39" y="104"/>
                  </a:lnTo>
                  <a:lnTo>
                    <a:pt x="41" y="104"/>
                  </a:lnTo>
                  <a:lnTo>
                    <a:pt x="39" y="104"/>
                  </a:lnTo>
                  <a:lnTo>
                    <a:pt x="41" y="104"/>
                  </a:lnTo>
                  <a:lnTo>
                    <a:pt x="39" y="104"/>
                  </a:lnTo>
                  <a:lnTo>
                    <a:pt x="39" y="106"/>
                  </a:lnTo>
                  <a:lnTo>
                    <a:pt x="37" y="106"/>
                  </a:lnTo>
                  <a:lnTo>
                    <a:pt x="37" y="104"/>
                  </a:lnTo>
                  <a:close/>
                  <a:moveTo>
                    <a:pt x="52" y="92"/>
                  </a:moveTo>
                  <a:lnTo>
                    <a:pt x="54" y="92"/>
                  </a:lnTo>
                  <a:lnTo>
                    <a:pt x="54" y="94"/>
                  </a:lnTo>
                  <a:lnTo>
                    <a:pt x="52" y="94"/>
                  </a:lnTo>
                  <a:lnTo>
                    <a:pt x="52" y="92"/>
                  </a:lnTo>
                  <a:close/>
                  <a:moveTo>
                    <a:pt x="146" y="23"/>
                  </a:moveTo>
                  <a:lnTo>
                    <a:pt x="146" y="25"/>
                  </a:lnTo>
                  <a:lnTo>
                    <a:pt x="148" y="25"/>
                  </a:lnTo>
                  <a:lnTo>
                    <a:pt x="146" y="25"/>
                  </a:lnTo>
                  <a:lnTo>
                    <a:pt x="144" y="25"/>
                  </a:lnTo>
                  <a:lnTo>
                    <a:pt x="146" y="25"/>
                  </a:lnTo>
                  <a:lnTo>
                    <a:pt x="144" y="25"/>
                  </a:lnTo>
                  <a:lnTo>
                    <a:pt x="146" y="25"/>
                  </a:lnTo>
                  <a:lnTo>
                    <a:pt x="144" y="25"/>
                  </a:lnTo>
                  <a:lnTo>
                    <a:pt x="146" y="25"/>
                  </a:lnTo>
                  <a:lnTo>
                    <a:pt x="146" y="23"/>
                  </a:lnTo>
                  <a:lnTo>
                    <a:pt x="146" y="25"/>
                  </a:lnTo>
                  <a:lnTo>
                    <a:pt x="146" y="23"/>
                  </a:lnTo>
                  <a:lnTo>
                    <a:pt x="146" y="25"/>
                  </a:lnTo>
                  <a:lnTo>
                    <a:pt x="146" y="23"/>
                  </a:lnTo>
                  <a:lnTo>
                    <a:pt x="146" y="25"/>
                  </a:lnTo>
                  <a:lnTo>
                    <a:pt x="146" y="23"/>
                  </a:lnTo>
                  <a:close/>
                  <a:moveTo>
                    <a:pt x="146" y="136"/>
                  </a:moveTo>
                  <a:lnTo>
                    <a:pt x="150" y="136"/>
                  </a:lnTo>
                  <a:lnTo>
                    <a:pt x="150" y="138"/>
                  </a:lnTo>
                  <a:lnTo>
                    <a:pt x="146" y="138"/>
                  </a:lnTo>
                  <a:lnTo>
                    <a:pt x="146" y="136"/>
                  </a:lnTo>
                  <a:close/>
                  <a:moveTo>
                    <a:pt x="37" y="98"/>
                  </a:moveTo>
                  <a:lnTo>
                    <a:pt x="41" y="98"/>
                  </a:lnTo>
                  <a:lnTo>
                    <a:pt x="41" y="100"/>
                  </a:lnTo>
                  <a:lnTo>
                    <a:pt x="37" y="100"/>
                  </a:lnTo>
                  <a:lnTo>
                    <a:pt x="37" y="98"/>
                  </a:lnTo>
                  <a:close/>
                  <a:moveTo>
                    <a:pt x="100" y="14"/>
                  </a:moveTo>
                  <a:lnTo>
                    <a:pt x="102" y="14"/>
                  </a:lnTo>
                  <a:lnTo>
                    <a:pt x="102" y="15"/>
                  </a:lnTo>
                  <a:lnTo>
                    <a:pt x="100" y="15"/>
                  </a:lnTo>
                  <a:lnTo>
                    <a:pt x="100" y="14"/>
                  </a:lnTo>
                  <a:close/>
                  <a:moveTo>
                    <a:pt x="144" y="136"/>
                  </a:moveTo>
                  <a:lnTo>
                    <a:pt x="146" y="136"/>
                  </a:lnTo>
                  <a:lnTo>
                    <a:pt x="146" y="138"/>
                  </a:lnTo>
                  <a:lnTo>
                    <a:pt x="144" y="138"/>
                  </a:lnTo>
                  <a:lnTo>
                    <a:pt x="144" y="136"/>
                  </a:lnTo>
                  <a:close/>
                  <a:moveTo>
                    <a:pt x="50" y="90"/>
                  </a:moveTo>
                  <a:lnTo>
                    <a:pt x="52" y="90"/>
                  </a:lnTo>
                  <a:lnTo>
                    <a:pt x="52" y="94"/>
                  </a:lnTo>
                  <a:lnTo>
                    <a:pt x="50" y="94"/>
                  </a:lnTo>
                  <a:lnTo>
                    <a:pt x="50" y="90"/>
                  </a:lnTo>
                  <a:close/>
                  <a:moveTo>
                    <a:pt x="37" y="106"/>
                  </a:moveTo>
                  <a:lnTo>
                    <a:pt x="41" y="106"/>
                  </a:lnTo>
                  <a:lnTo>
                    <a:pt x="37" y="106"/>
                  </a:lnTo>
                  <a:close/>
                  <a:moveTo>
                    <a:pt x="54" y="92"/>
                  </a:moveTo>
                  <a:lnTo>
                    <a:pt x="56" y="92"/>
                  </a:lnTo>
                  <a:lnTo>
                    <a:pt x="56" y="94"/>
                  </a:lnTo>
                  <a:lnTo>
                    <a:pt x="54" y="94"/>
                  </a:lnTo>
                  <a:lnTo>
                    <a:pt x="54" y="92"/>
                  </a:lnTo>
                  <a:close/>
                  <a:moveTo>
                    <a:pt x="187" y="40"/>
                  </a:moveTo>
                  <a:lnTo>
                    <a:pt x="187" y="42"/>
                  </a:lnTo>
                  <a:lnTo>
                    <a:pt x="187" y="40"/>
                  </a:lnTo>
                  <a:close/>
                  <a:moveTo>
                    <a:pt x="39" y="100"/>
                  </a:moveTo>
                  <a:lnTo>
                    <a:pt x="41" y="100"/>
                  </a:lnTo>
                  <a:lnTo>
                    <a:pt x="39" y="100"/>
                  </a:lnTo>
                  <a:close/>
                  <a:moveTo>
                    <a:pt x="52" y="92"/>
                  </a:moveTo>
                  <a:lnTo>
                    <a:pt x="52" y="96"/>
                  </a:lnTo>
                  <a:lnTo>
                    <a:pt x="52" y="92"/>
                  </a:lnTo>
                  <a:close/>
                  <a:moveTo>
                    <a:pt x="60" y="40"/>
                  </a:moveTo>
                  <a:lnTo>
                    <a:pt x="62" y="40"/>
                  </a:lnTo>
                  <a:lnTo>
                    <a:pt x="62" y="42"/>
                  </a:lnTo>
                  <a:lnTo>
                    <a:pt x="60" y="42"/>
                  </a:lnTo>
                  <a:lnTo>
                    <a:pt x="60" y="40"/>
                  </a:lnTo>
                  <a:close/>
                  <a:moveTo>
                    <a:pt x="41" y="100"/>
                  </a:moveTo>
                  <a:lnTo>
                    <a:pt x="41" y="102"/>
                  </a:lnTo>
                  <a:lnTo>
                    <a:pt x="41" y="100"/>
                  </a:lnTo>
                  <a:close/>
                  <a:moveTo>
                    <a:pt x="179" y="146"/>
                  </a:moveTo>
                  <a:lnTo>
                    <a:pt x="181" y="146"/>
                  </a:lnTo>
                  <a:lnTo>
                    <a:pt x="181" y="148"/>
                  </a:lnTo>
                  <a:lnTo>
                    <a:pt x="179" y="148"/>
                  </a:lnTo>
                  <a:lnTo>
                    <a:pt x="179" y="146"/>
                  </a:lnTo>
                  <a:close/>
                  <a:moveTo>
                    <a:pt x="39" y="104"/>
                  </a:moveTo>
                  <a:lnTo>
                    <a:pt x="41" y="104"/>
                  </a:lnTo>
                  <a:lnTo>
                    <a:pt x="41" y="106"/>
                  </a:lnTo>
                  <a:lnTo>
                    <a:pt x="39" y="106"/>
                  </a:lnTo>
                  <a:lnTo>
                    <a:pt x="39" y="104"/>
                  </a:lnTo>
                  <a:close/>
                  <a:moveTo>
                    <a:pt x="45" y="94"/>
                  </a:moveTo>
                  <a:lnTo>
                    <a:pt x="47" y="94"/>
                  </a:lnTo>
                  <a:lnTo>
                    <a:pt x="47" y="96"/>
                  </a:lnTo>
                  <a:lnTo>
                    <a:pt x="45" y="96"/>
                  </a:lnTo>
                  <a:lnTo>
                    <a:pt x="45" y="94"/>
                  </a:lnTo>
                  <a:close/>
                  <a:moveTo>
                    <a:pt x="150" y="54"/>
                  </a:moveTo>
                  <a:lnTo>
                    <a:pt x="152" y="54"/>
                  </a:lnTo>
                  <a:lnTo>
                    <a:pt x="150" y="54"/>
                  </a:lnTo>
                  <a:close/>
                  <a:moveTo>
                    <a:pt x="125" y="50"/>
                  </a:moveTo>
                  <a:lnTo>
                    <a:pt x="127" y="50"/>
                  </a:lnTo>
                  <a:lnTo>
                    <a:pt x="125" y="50"/>
                  </a:lnTo>
                  <a:close/>
                  <a:moveTo>
                    <a:pt x="162" y="19"/>
                  </a:moveTo>
                  <a:lnTo>
                    <a:pt x="164" y="19"/>
                  </a:lnTo>
                  <a:lnTo>
                    <a:pt x="164" y="21"/>
                  </a:lnTo>
                  <a:lnTo>
                    <a:pt x="162" y="21"/>
                  </a:lnTo>
                  <a:lnTo>
                    <a:pt x="162" y="19"/>
                  </a:lnTo>
                  <a:close/>
                  <a:moveTo>
                    <a:pt x="41" y="106"/>
                  </a:moveTo>
                  <a:lnTo>
                    <a:pt x="41" y="108"/>
                  </a:lnTo>
                  <a:lnTo>
                    <a:pt x="41" y="106"/>
                  </a:lnTo>
                  <a:close/>
                  <a:moveTo>
                    <a:pt x="95" y="10"/>
                  </a:moveTo>
                  <a:lnTo>
                    <a:pt x="96" y="10"/>
                  </a:lnTo>
                  <a:lnTo>
                    <a:pt x="96" y="12"/>
                  </a:lnTo>
                  <a:lnTo>
                    <a:pt x="95" y="12"/>
                  </a:lnTo>
                  <a:lnTo>
                    <a:pt x="95" y="10"/>
                  </a:lnTo>
                  <a:close/>
                  <a:moveTo>
                    <a:pt x="39" y="31"/>
                  </a:moveTo>
                  <a:lnTo>
                    <a:pt x="41" y="31"/>
                  </a:lnTo>
                  <a:lnTo>
                    <a:pt x="39" y="31"/>
                  </a:lnTo>
                  <a:close/>
                  <a:moveTo>
                    <a:pt x="33" y="104"/>
                  </a:moveTo>
                  <a:lnTo>
                    <a:pt x="35" y="104"/>
                  </a:lnTo>
                  <a:lnTo>
                    <a:pt x="33" y="104"/>
                  </a:lnTo>
                  <a:close/>
                  <a:moveTo>
                    <a:pt x="169" y="42"/>
                  </a:moveTo>
                  <a:lnTo>
                    <a:pt x="171" y="42"/>
                  </a:lnTo>
                  <a:lnTo>
                    <a:pt x="169" y="42"/>
                  </a:lnTo>
                  <a:close/>
                  <a:moveTo>
                    <a:pt x="56" y="92"/>
                  </a:moveTo>
                  <a:lnTo>
                    <a:pt x="58" y="92"/>
                  </a:lnTo>
                  <a:lnTo>
                    <a:pt x="58" y="94"/>
                  </a:lnTo>
                  <a:lnTo>
                    <a:pt x="56" y="94"/>
                  </a:lnTo>
                  <a:lnTo>
                    <a:pt x="56" y="92"/>
                  </a:lnTo>
                  <a:close/>
                  <a:moveTo>
                    <a:pt x="52" y="94"/>
                  </a:moveTo>
                  <a:lnTo>
                    <a:pt x="54" y="94"/>
                  </a:lnTo>
                  <a:lnTo>
                    <a:pt x="54" y="96"/>
                  </a:lnTo>
                  <a:lnTo>
                    <a:pt x="52" y="96"/>
                  </a:lnTo>
                  <a:lnTo>
                    <a:pt x="52" y="94"/>
                  </a:lnTo>
                  <a:close/>
                  <a:moveTo>
                    <a:pt x="54" y="90"/>
                  </a:moveTo>
                  <a:lnTo>
                    <a:pt x="54" y="92"/>
                  </a:lnTo>
                  <a:lnTo>
                    <a:pt x="54" y="90"/>
                  </a:lnTo>
                  <a:close/>
                  <a:moveTo>
                    <a:pt x="48" y="96"/>
                  </a:moveTo>
                  <a:lnTo>
                    <a:pt x="50" y="96"/>
                  </a:lnTo>
                  <a:lnTo>
                    <a:pt x="48" y="96"/>
                  </a:lnTo>
                  <a:close/>
                  <a:moveTo>
                    <a:pt x="148" y="106"/>
                  </a:moveTo>
                  <a:lnTo>
                    <a:pt x="148" y="108"/>
                  </a:lnTo>
                  <a:lnTo>
                    <a:pt x="148" y="106"/>
                  </a:lnTo>
                  <a:close/>
                  <a:moveTo>
                    <a:pt x="50" y="92"/>
                  </a:moveTo>
                  <a:lnTo>
                    <a:pt x="52" y="92"/>
                  </a:lnTo>
                  <a:lnTo>
                    <a:pt x="52" y="94"/>
                  </a:lnTo>
                  <a:lnTo>
                    <a:pt x="50" y="94"/>
                  </a:lnTo>
                  <a:lnTo>
                    <a:pt x="50" y="92"/>
                  </a:lnTo>
                  <a:close/>
                  <a:moveTo>
                    <a:pt x="106" y="60"/>
                  </a:moveTo>
                  <a:lnTo>
                    <a:pt x="106" y="62"/>
                  </a:lnTo>
                  <a:lnTo>
                    <a:pt x="106" y="60"/>
                  </a:lnTo>
                  <a:close/>
                  <a:moveTo>
                    <a:pt x="39" y="31"/>
                  </a:moveTo>
                  <a:lnTo>
                    <a:pt x="41" y="31"/>
                  </a:lnTo>
                  <a:lnTo>
                    <a:pt x="41" y="33"/>
                  </a:lnTo>
                  <a:lnTo>
                    <a:pt x="39" y="33"/>
                  </a:lnTo>
                  <a:lnTo>
                    <a:pt x="39" y="31"/>
                  </a:lnTo>
                  <a:close/>
                  <a:moveTo>
                    <a:pt x="50" y="90"/>
                  </a:moveTo>
                  <a:lnTo>
                    <a:pt x="50" y="92"/>
                  </a:lnTo>
                  <a:lnTo>
                    <a:pt x="50" y="90"/>
                  </a:lnTo>
                  <a:close/>
                  <a:moveTo>
                    <a:pt x="35" y="104"/>
                  </a:moveTo>
                  <a:lnTo>
                    <a:pt x="39" y="104"/>
                  </a:lnTo>
                  <a:lnTo>
                    <a:pt x="35" y="104"/>
                  </a:lnTo>
                  <a:close/>
                  <a:moveTo>
                    <a:pt x="37" y="113"/>
                  </a:moveTo>
                  <a:lnTo>
                    <a:pt x="39" y="113"/>
                  </a:lnTo>
                  <a:lnTo>
                    <a:pt x="37" y="113"/>
                  </a:lnTo>
                  <a:close/>
                  <a:moveTo>
                    <a:pt x="133" y="6"/>
                  </a:moveTo>
                  <a:lnTo>
                    <a:pt x="135" y="6"/>
                  </a:lnTo>
                  <a:lnTo>
                    <a:pt x="133" y="6"/>
                  </a:lnTo>
                  <a:close/>
                  <a:moveTo>
                    <a:pt x="181" y="31"/>
                  </a:moveTo>
                  <a:lnTo>
                    <a:pt x="181" y="33"/>
                  </a:lnTo>
                  <a:lnTo>
                    <a:pt x="181" y="31"/>
                  </a:lnTo>
                  <a:close/>
                  <a:moveTo>
                    <a:pt x="47" y="29"/>
                  </a:moveTo>
                  <a:lnTo>
                    <a:pt x="48" y="29"/>
                  </a:lnTo>
                  <a:lnTo>
                    <a:pt x="47" y="29"/>
                  </a:lnTo>
                  <a:close/>
                  <a:moveTo>
                    <a:pt x="121" y="52"/>
                  </a:moveTo>
                  <a:lnTo>
                    <a:pt x="121" y="54"/>
                  </a:lnTo>
                  <a:lnTo>
                    <a:pt x="121" y="52"/>
                  </a:lnTo>
                  <a:close/>
                  <a:moveTo>
                    <a:pt x="56" y="90"/>
                  </a:moveTo>
                  <a:lnTo>
                    <a:pt x="58" y="90"/>
                  </a:lnTo>
                  <a:lnTo>
                    <a:pt x="58" y="92"/>
                  </a:lnTo>
                  <a:lnTo>
                    <a:pt x="56" y="92"/>
                  </a:lnTo>
                  <a:lnTo>
                    <a:pt x="56" y="90"/>
                  </a:lnTo>
                  <a:close/>
                  <a:moveTo>
                    <a:pt x="54" y="92"/>
                  </a:moveTo>
                  <a:lnTo>
                    <a:pt x="54" y="94"/>
                  </a:lnTo>
                  <a:lnTo>
                    <a:pt x="54" y="92"/>
                  </a:lnTo>
                  <a:close/>
                  <a:moveTo>
                    <a:pt x="54" y="90"/>
                  </a:moveTo>
                  <a:lnTo>
                    <a:pt x="56" y="90"/>
                  </a:lnTo>
                  <a:lnTo>
                    <a:pt x="56" y="92"/>
                  </a:lnTo>
                  <a:lnTo>
                    <a:pt x="54" y="92"/>
                  </a:lnTo>
                  <a:lnTo>
                    <a:pt x="54" y="90"/>
                  </a:lnTo>
                  <a:close/>
                  <a:moveTo>
                    <a:pt x="50" y="90"/>
                  </a:moveTo>
                  <a:lnTo>
                    <a:pt x="52" y="90"/>
                  </a:lnTo>
                  <a:lnTo>
                    <a:pt x="52" y="92"/>
                  </a:lnTo>
                  <a:lnTo>
                    <a:pt x="50" y="92"/>
                  </a:lnTo>
                  <a:lnTo>
                    <a:pt x="50" y="90"/>
                  </a:lnTo>
                  <a:close/>
                  <a:moveTo>
                    <a:pt x="52" y="92"/>
                  </a:moveTo>
                  <a:lnTo>
                    <a:pt x="52" y="94"/>
                  </a:lnTo>
                  <a:lnTo>
                    <a:pt x="52" y="92"/>
                  </a:lnTo>
                  <a:close/>
                  <a:moveTo>
                    <a:pt x="194" y="46"/>
                  </a:moveTo>
                  <a:lnTo>
                    <a:pt x="196" y="46"/>
                  </a:lnTo>
                  <a:lnTo>
                    <a:pt x="196" y="48"/>
                  </a:lnTo>
                  <a:lnTo>
                    <a:pt x="194" y="48"/>
                  </a:lnTo>
                  <a:lnTo>
                    <a:pt x="194" y="46"/>
                  </a:lnTo>
                  <a:close/>
                  <a:moveTo>
                    <a:pt x="181" y="31"/>
                  </a:moveTo>
                  <a:lnTo>
                    <a:pt x="183" y="31"/>
                  </a:lnTo>
                  <a:lnTo>
                    <a:pt x="181" y="31"/>
                  </a:lnTo>
                  <a:close/>
                  <a:moveTo>
                    <a:pt x="167" y="138"/>
                  </a:moveTo>
                  <a:lnTo>
                    <a:pt x="169" y="138"/>
                  </a:lnTo>
                  <a:lnTo>
                    <a:pt x="169" y="140"/>
                  </a:lnTo>
                  <a:lnTo>
                    <a:pt x="167" y="140"/>
                  </a:lnTo>
                  <a:lnTo>
                    <a:pt x="167" y="138"/>
                  </a:lnTo>
                  <a:close/>
                  <a:moveTo>
                    <a:pt x="177" y="146"/>
                  </a:moveTo>
                  <a:lnTo>
                    <a:pt x="179" y="146"/>
                  </a:lnTo>
                  <a:lnTo>
                    <a:pt x="177" y="146"/>
                  </a:lnTo>
                  <a:close/>
                  <a:moveTo>
                    <a:pt x="95" y="15"/>
                  </a:moveTo>
                  <a:lnTo>
                    <a:pt x="96" y="15"/>
                  </a:lnTo>
                  <a:lnTo>
                    <a:pt x="96" y="17"/>
                  </a:lnTo>
                  <a:lnTo>
                    <a:pt x="95" y="17"/>
                  </a:lnTo>
                  <a:lnTo>
                    <a:pt x="95" y="15"/>
                  </a:lnTo>
                  <a:close/>
                  <a:moveTo>
                    <a:pt x="48" y="92"/>
                  </a:moveTo>
                  <a:lnTo>
                    <a:pt x="50" y="92"/>
                  </a:lnTo>
                  <a:lnTo>
                    <a:pt x="50" y="94"/>
                  </a:lnTo>
                  <a:lnTo>
                    <a:pt x="48" y="94"/>
                  </a:lnTo>
                  <a:lnTo>
                    <a:pt x="48" y="92"/>
                  </a:lnTo>
                  <a:close/>
                  <a:moveTo>
                    <a:pt x="141" y="21"/>
                  </a:moveTo>
                  <a:lnTo>
                    <a:pt x="143" y="21"/>
                  </a:lnTo>
                  <a:lnTo>
                    <a:pt x="141" y="21"/>
                  </a:lnTo>
                  <a:close/>
                  <a:moveTo>
                    <a:pt x="50" y="90"/>
                  </a:moveTo>
                  <a:lnTo>
                    <a:pt x="50" y="92"/>
                  </a:lnTo>
                  <a:lnTo>
                    <a:pt x="50" y="90"/>
                  </a:lnTo>
                  <a:close/>
                  <a:moveTo>
                    <a:pt x="35" y="106"/>
                  </a:moveTo>
                  <a:lnTo>
                    <a:pt x="37" y="106"/>
                  </a:lnTo>
                  <a:lnTo>
                    <a:pt x="37" y="108"/>
                  </a:lnTo>
                  <a:lnTo>
                    <a:pt x="35" y="108"/>
                  </a:lnTo>
                  <a:lnTo>
                    <a:pt x="35" y="106"/>
                  </a:lnTo>
                  <a:close/>
                  <a:moveTo>
                    <a:pt x="187" y="40"/>
                  </a:moveTo>
                  <a:lnTo>
                    <a:pt x="189" y="40"/>
                  </a:lnTo>
                  <a:lnTo>
                    <a:pt x="187" y="40"/>
                  </a:lnTo>
                  <a:close/>
                  <a:moveTo>
                    <a:pt x="144" y="136"/>
                  </a:moveTo>
                  <a:lnTo>
                    <a:pt x="144" y="138"/>
                  </a:lnTo>
                  <a:lnTo>
                    <a:pt x="144" y="136"/>
                  </a:lnTo>
                  <a:close/>
                  <a:moveTo>
                    <a:pt x="31" y="104"/>
                  </a:moveTo>
                  <a:lnTo>
                    <a:pt x="33" y="104"/>
                  </a:lnTo>
                  <a:lnTo>
                    <a:pt x="33" y="106"/>
                  </a:lnTo>
                  <a:lnTo>
                    <a:pt x="31" y="106"/>
                  </a:lnTo>
                  <a:lnTo>
                    <a:pt x="31" y="104"/>
                  </a:lnTo>
                  <a:close/>
                  <a:moveTo>
                    <a:pt x="152" y="108"/>
                  </a:moveTo>
                  <a:lnTo>
                    <a:pt x="154" y="108"/>
                  </a:lnTo>
                  <a:lnTo>
                    <a:pt x="154" y="110"/>
                  </a:lnTo>
                  <a:lnTo>
                    <a:pt x="152" y="110"/>
                  </a:lnTo>
                  <a:lnTo>
                    <a:pt x="152" y="108"/>
                  </a:lnTo>
                  <a:close/>
                  <a:moveTo>
                    <a:pt x="202" y="62"/>
                  </a:moveTo>
                  <a:lnTo>
                    <a:pt x="202" y="63"/>
                  </a:lnTo>
                  <a:lnTo>
                    <a:pt x="202" y="62"/>
                  </a:lnTo>
                  <a:close/>
                  <a:moveTo>
                    <a:pt x="31" y="104"/>
                  </a:moveTo>
                  <a:lnTo>
                    <a:pt x="33" y="104"/>
                  </a:lnTo>
                  <a:lnTo>
                    <a:pt x="31" y="104"/>
                  </a:lnTo>
                  <a:close/>
                  <a:moveTo>
                    <a:pt x="143" y="21"/>
                  </a:moveTo>
                  <a:lnTo>
                    <a:pt x="144" y="21"/>
                  </a:lnTo>
                  <a:lnTo>
                    <a:pt x="143" y="21"/>
                  </a:lnTo>
                  <a:close/>
                  <a:moveTo>
                    <a:pt x="50" y="92"/>
                  </a:moveTo>
                  <a:lnTo>
                    <a:pt x="50" y="94"/>
                  </a:lnTo>
                  <a:lnTo>
                    <a:pt x="50" y="92"/>
                  </a:lnTo>
                  <a:close/>
                  <a:moveTo>
                    <a:pt x="150" y="111"/>
                  </a:moveTo>
                  <a:lnTo>
                    <a:pt x="152" y="111"/>
                  </a:lnTo>
                  <a:lnTo>
                    <a:pt x="150" y="111"/>
                  </a:lnTo>
                  <a:close/>
                  <a:moveTo>
                    <a:pt x="52" y="90"/>
                  </a:moveTo>
                  <a:lnTo>
                    <a:pt x="52" y="92"/>
                  </a:lnTo>
                  <a:lnTo>
                    <a:pt x="52" y="90"/>
                  </a:lnTo>
                  <a:close/>
                  <a:moveTo>
                    <a:pt x="54" y="90"/>
                  </a:moveTo>
                  <a:lnTo>
                    <a:pt x="54" y="92"/>
                  </a:lnTo>
                  <a:lnTo>
                    <a:pt x="54" y="90"/>
                  </a:lnTo>
                  <a:close/>
                  <a:moveTo>
                    <a:pt x="141" y="17"/>
                  </a:moveTo>
                  <a:lnTo>
                    <a:pt x="143" y="17"/>
                  </a:lnTo>
                  <a:lnTo>
                    <a:pt x="143" y="19"/>
                  </a:lnTo>
                  <a:lnTo>
                    <a:pt x="141" y="19"/>
                  </a:lnTo>
                  <a:lnTo>
                    <a:pt x="141" y="17"/>
                  </a:lnTo>
                  <a:close/>
                  <a:moveTo>
                    <a:pt x="35" y="104"/>
                  </a:moveTo>
                  <a:lnTo>
                    <a:pt x="35" y="106"/>
                  </a:lnTo>
                  <a:lnTo>
                    <a:pt x="35" y="104"/>
                  </a:lnTo>
                  <a:close/>
                  <a:moveTo>
                    <a:pt x="58" y="94"/>
                  </a:moveTo>
                  <a:lnTo>
                    <a:pt x="60" y="94"/>
                  </a:lnTo>
                  <a:lnTo>
                    <a:pt x="60" y="96"/>
                  </a:lnTo>
                  <a:lnTo>
                    <a:pt x="58" y="96"/>
                  </a:lnTo>
                  <a:lnTo>
                    <a:pt x="58" y="94"/>
                  </a:lnTo>
                  <a:close/>
                  <a:moveTo>
                    <a:pt x="37" y="110"/>
                  </a:moveTo>
                  <a:lnTo>
                    <a:pt x="39" y="110"/>
                  </a:lnTo>
                  <a:lnTo>
                    <a:pt x="37" y="110"/>
                  </a:lnTo>
                  <a:close/>
                  <a:moveTo>
                    <a:pt x="100" y="12"/>
                  </a:moveTo>
                  <a:lnTo>
                    <a:pt x="102" y="12"/>
                  </a:lnTo>
                  <a:lnTo>
                    <a:pt x="100" y="12"/>
                  </a:lnTo>
                  <a:close/>
                  <a:moveTo>
                    <a:pt x="43" y="92"/>
                  </a:moveTo>
                  <a:lnTo>
                    <a:pt x="43" y="94"/>
                  </a:lnTo>
                  <a:lnTo>
                    <a:pt x="43" y="92"/>
                  </a:lnTo>
                  <a:close/>
                  <a:moveTo>
                    <a:pt x="48" y="37"/>
                  </a:moveTo>
                  <a:lnTo>
                    <a:pt x="50" y="37"/>
                  </a:lnTo>
                  <a:lnTo>
                    <a:pt x="48" y="37"/>
                  </a:lnTo>
                  <a:close/>
                  <a:moveTo>
                    <a:pt x="183" y="148"/>
                  </a:moveTo>
                  <a:lnTo>
                    <a:pt x="185" y="148"/>
                  </a:lnTo>
                  <a:lnTo>
                    <a:pt x="183" y="148"/>
                  </a:lnTo>
                  <a:close/>
                  <a:moveTo>
                    <a:pt x="37" y="104"/>
                  </a:moveTo>
                  <a:lnTo>
                    <a:pt x="39" y="104"/>
                  </a:lnTo>
                  <a:lnTo>
                    <a:pt x="37" y="104"/>
                  </a:lnTo>
                  <a:close/>
                  <a:moveTo>
                    <a:pt x="43" y="106"/>
                  </a:moveTo>
                  <a:lnTo>
                    <a:pt x="43" y="108"/>
                  </a:lnTo>
                  <a:lnTo>
                    <a:pt x="43" y="106"/>
                  </a:lnTo>
                  <a:close/>
                  <a:moveTo>
                    <a:pt x="33" y="106"/>
                  </a:moveTo>
                  <a:lnTo>
                    <a:pt x="35" y="106"/>
                  </a:lnTo>
                  <a:lnTo>
                    <a:pt x="33" y="106"/>
                  </a:lnTo>
                  <a:close/>
                  <a:moveTo>
                    <a:pt x="162" y="113"/>
                  </a:moveTo>
                  <a:lnTo>
                    <a:pt x="164" y="113"/>
                  </a:lnTo>
                  <a:lnTo>
                    <a:pt x="162" y="113"/>
                  </a:lnTo>
                  <a:close/>
                  <a:moveTo>
                    <a:pt x="52" y="90"/>
                  </a:moveTo>
                  <a:lnTo>
                    <a:pt x="52" y="92"/>
                  </a:lnTo>
                  <a:lnTo>
                    <a:pt x="52" y="90"/>
                  </a:lnTo>
                  <a:close/>
                  <a:moveTo>
                    <a:pt x="143" y="19"/>
                  </a:moveTo>
                  <a:lnTo>
                    <a:pt x="143" y="21"/>
                  </a:lnTo>
                  <a:lnTo>
                    <a:pt x="143" y="19"/>
                  </a:lnTo>
                  <a:close/>
                  <a:moveTo>
                    <a:pt x="164" y="40"/>
                  </a:moveTo>
                  <a:lnTo>
                    <a:pt x="164" y="42"/>
                  </a:lnTo>
                  <a:lnTo>
                    <a:pt x="164" y="40"/>
                  </a:lnTo>
                  <a:close/>
                  <a:moveTo>
                    <a:pt x="39" y="104"/>
                  </a:moveTo>
                  <a:lnTo>
                    <a:pt x="41" y="104"/>
                  </a:lnTo>
                  <a:lnTo>
                    <a:pt x="41" y="106"/>
                  </a:lnTo>
                  <a:lnTo>
                    <a:pt x="39" y="106"/>
                  </a:lnTo>
                  <a:lnTo>
                    <a:pt x="39" y="104"/>
                  </a:lnTo>
                  <a:close/>
                  <a:moveTo>
                    <a:pt x="48" y="37"/>
                  </a:moveTo>
                  <a:lnTo>
                    <a:pt x="50" y="37"/>
                  </a:lnTo>
                  <a:lnTo>
                    <a:pt x="50" y="38"/>
                  </a:lnTo>
                  <a:lnTo>
                    <a:pt x="48" y="38"/>
                  </a:lnTo>
                  <a:lnTo>
                    <a:pt x="48" y="37"/>
                  </a:lnTo>
                  <a:close/>
                  <a:moveTo>
                    <a:pt x="35" y="106"/>
                  </a:moveTo>
                  <a:lnTo>
                    <a:pt x="37" y="106"/>
                  </a:lnTo>
                  <a:lnTo>
                    <a:pt x="35" y="106"/>
                  </a:lnTo>
                  <a:close/>
                  <a:moveTo>
                    <a:pt x="50" y="92"/>
                  </a:moveTo>
                  <a:lnTo>
                    <a:pt x="50" y="94"/>
                  </a:lnTo>
                  <a:lnTo>
                    <a:pt x="50" y="92"/>
                  </a:lnTo>
                  <a:close/>
                  <a:moveTo>
                    <a:pt x="56" y="90"/>
                  </a:moveTo>
                  <a:lnTo>
                    <a:pt x="56" y="92"/>
                  </a:lnTo>
                  <a:lnTo>
                    <a:pt x="56" y="90"/>
                  </a:lnTo>
                  <a:close/>
                  <a:moveTo>
                    <a:pt x="83" y="110"/>
                  </a:moveTo>
                  <a:lnTo>
                    <a:pt x="83" y="111"/>
                  </a:lnTo>
                  <a:lnTo>
                    <a:pt x="83" y="110"/>
                  </a:lnTo>
                  <a:close/>
                  <a:moveTo>
                    <a:pt x="93" y="90"/>
                  </a:moveTo>
                  <a:lnTo>
                    <a:pt x="95" y="90"/>
                  </a:lnTo>
                  <a:lnTo>
                    <a:pt x="93" y="90"/>
                  </a:lnTo>
                  <a:close/>
                  <a:moveTo>
                    <a:pt x="37" y="108"/>
                  </a:moveTo>
                  <a:lnTo>
                    <a:pt x="37" y="110"/>
                  </a:lnTo>
                  <a:lnTo>
                    <a:pt x="37" y="108"/>
                  </a:lnTo>
                  <a:close/>
                  <a:moveTo>
                    <a:pt x="16" y="117"/>
                  </a:moveTo>
                  <a:lnTo>
                    <a:pt x="18" y="117"/>
                  </a:lnTo>
                  <a:lnTo>
                    <a:pt x="16" y="117"/>
                  </a:lnTo>
                  <a:close/>
                  <a:moveTo>
                    <a:pt x="35" y="29"/>
                  </a:moveTo>
                  <a:lnTo>
                    <a:pt x="37" y="29"/>
                  </a:lnTo>
                  <a:lnTo>
                    <a:pt x="35" y="29"/>
                  </a:lnTo>
                  <a:close/>
                  <a:moveTo>
                    <a:pt x="60" y="96"/>
                  </a:moveTo>
                  <a:lnTo>
                    <a:pt x="62" y="96"/>
                  </a:lnTo>
                  <a:lnTo>
                    <a:pt x="60" y="96"/>
                  </a:lnTo>
                  <a:close/>
                  <a:moveTo>
                    <a:pt x="52" y="94"/>
                  </a:moveTo>
                  <a:lnTo>
                    <a:pt x="52" y="96"/>
                  </a:lnTo>
                  <a:lnTo>
                    <a:pt x="52" y="94"/>
                  </a:lnTo>
                  <a:close/>
                  <a:moveTo>
                    <a:pt x="143" y="138"/>
                  </a:moveTo>
                  <a:lnTo>
                    <a:pt x="144" y="138"/>
                  </a:lnTo>
                  <a:lnTo>
                    <a:pt x="143" y="138"/>
                  </a:lnTo>
                  <a:close/>
                  <a:moveTo>
                    <a:pt x="98" y="12"/>
                  </a:moveTo>
                  <a:lnTo>
                    <a:pt x="100" y="12"/>
                  </a:lnTo>
                  <a:lnTo>
                    <a:pt x="98" y="12"/>
                  </a:lnTo>
                  <a:close/>
                  <a:moveTo>
                    <a:pt x="173" y="21"/>
                  </a:moveTo>
                  <a:lnTo>
                    <a:pt x="173" y="23"/>
                  </a:lnTo>
                  <a:lnTo>
                    <a:pt x="173" y="21"/>
                  </a:lnTo>
                  <a:close/>
                  <a:moveTo>
                    <a:pt x="144" y="117"/>
                  </a:moveTo>
                  <a:lnTo>
                    <a:pt x="144" y="119"/>
                  </a:lnTo>
                  <a:lnTo>
                    <a:pt x="144" y="117"/>
                  </a:lnTo>
                  <a:close/>
                  <a:moveTo>
                    <a:pt x="127" y="4"/>
                  </a:moveTo>
                  <a:lnTo>
                    <a:pt x="129" y="4"/>
                  </a:lnTo>
                  <a:lnTo>
                    <a:pt x="127" y="4"/>
                  </a:lnTo>
                  <a:close/>
                  <a:moveTo>
                    <a:pt x="169" y="42"/>
                  </a:moveTo>
                  <a:lnTo>
                    <a:pt x="169" y="44"/>
                  </a:lnTo>
                  <a:lnTo>
                    <a:pt x="169" y="42"/>
                  </a:lnTo>
                  <a:close/>
                  <a:moveTo>
                    <a:pt x="123" y="50"/>
                  </a:moveTo>
                  <a:lnTo>
                    <a:pt x="125" y="50"/>
                  </a:lnTo>
                  <a:lnTo>
                    <a:pt x="123" y="50"/>
                  </a:lnTo>
                  <a:close/>
                  <a:moveTo>
                    <a:pt x="56" y="92"/>
                  </a:moveTo>
                  <a:lnTo>
                    <a:pt x="56" y="94"/>
                  </a:lnTo>
                  <a:lnTo>
                    <a:pt x="56" y="92"/>
                  </a:lnTo>
                  <a:close/>
                  <a:moveTo>
                    <a:pt x="33" y="104"/>
                  </a:moveTo>
                  <a:lnTo>
                    <a:pt x="35" y="104"/>
                  </a:lnTo>
                  <a:lnTo>
                    <a:pt x="33" y="104"/>
                  </a:lnTo>
                  <a:close/>
                  <a:moveTo>
                    <a:pt x="141" y="19"/>
                  </a:moveTo>
                  <a:lnTo>
                    <a:pt x="143" y="19"/>
                  </a:lnTo>
                  <a:lnTo>
                    <a:pt x="141" y="19"/>
                  </a:lnTo>
                  <a:close/>
                  <a:moveTo>
                    <a:pt x="162" y="111"/>
                  </a:moveTo>
                  <a:lnTo>
                    <a:pt x="162" y="113"/>
                  </a:lnTo>
                  <a:lnTo>
                    <a:pt x="162" y="111"/>
                  </a:lnTo>
                  <a:close/>
                  <a:moveTo>
                    <a:pt x="135" y="135"/>
                  </a:moveTo>
                  <a:lnTo>
                    <a:pt x="135" y="136"/>
                  </a:lnTo>
                  <a:lnTo>
                    <a:pt x="135" y="135"/>
                  </a:lnTo>
                  <a:close/>
                  <a:moveTo>
                    <a:pt x="54" y="33"/>
                  </a:moveTo>
                  <a:lnTo>
                    <a:pt x="56" y="33"/>
                  </a:lnTo>
                  <a:lnTo>
                    <a:pt x="54" y="33"/>
                  </a:lnTo>
                  <a:close/>
                  <a:moveTo>
                    <a:pt x="169" y="121"/>
                  </a:moveTo>
                  <a:lnTo>
                    <a:pt x="169" y="123"/>
                  </a:lnTo>
                  <a:lnTo>
                    <a:pt x="169" y="121"/>
                  </a:lnTo>
                  <a:close/>
                  <a:moveTo>
                    <a:pt x="146" y="104"/>
                  </a:moveTo>
                  <a:lnTo>
                    <a:pt x="146" y="106"/>
                  </a:lnTo>
                  <a:lnTo>
                    <a:pt x="146" y="104"/>
                  </a:lnTo>
                  <a:close/>
                  <a:moveTo>
                    <a:pt x="29" y="104"/>
                  </a:moveTo>
                  <a:lnTo>
                    <a:pt x="31" y="104"/>
                  </a:lnTo>
                  <a:lnTo>
                    <a:pt x="29" y="104"/>
                  </a:lnTo>
                  <a:close/>
                  <a:moveTo>
                    <a:pt x="144" y="117"/>
                  </a:moveTo>
                  <a:lnTo>
                    <a:pt x="146" y="117"/>
                  </a:lnTo>
                  <a:lnTo>
                    <a:pt x="146" y="119"/>
                  </a:lnTo>
                  <a:lnTo>
                    <a:pt x="144" y="119"/>
                  </a:lnTo>
                  <a:lnTo>
                    <a:pt x="144" y="117"/>
                  </a:lnTo>
                  <a:close/>
                  <a:moveTo>
                    <a:pt x="137" y="138"/>
                  </a:moveTo>
                  <a:lnTo>
                    <a:pt x="139" y="138"/>
                  </a:lnTo>
                  <a:lnTo>
                    <a:pt x="139" y="140"/>
                  </a:lnTo>
                  <a:lnTo>
                    <a:pt x="137" y="140"/>
                  </a:lnTo>
                  <a:lnTo>
                    <a:pt x="137" y="138"/>
                  </a:lnTo>
                  <a:close/>
                  <a:moveTo>
                    <a:pt x="146" y="117"/>
                  </a:moveTo>
                  <a:lnTo>
                    <a:pt x="148" y="117"/>
                  </a:lnTo>
                  <a:lnTo>
                    <a:pt x="146" y="117"/>
                  </a:lnTo>
                  <a:close/>
                  <a:moveTo>
                    <a:pt x="141" y="19"/>
                  </a:moveTo>
                  <a:lnTo>
                    <a:pt x="141" y="21"/>
                  </a:lnTo>
                  <a:lnTo>
                    <a:pt x="141" y="19"/>
                  </a:lnTo>
                  <a:close/>
                  <a:moveTo>
                    <a:pt x="146" y="138"/>
                  </a:moveTo>
                  <a:lnTo>
                    <a:pt x="148" y="138"/>
                  </a:lnTo>
                  <a:lnTo>
                    <a:pt x="146" y="138"/>
                  </a:lnTo>
                  <a:close/>
                  <a:moveTo>
                    <a:pt x="118" y="71"/>
                  </a:moveTo>
                  <a:lnTo>
                    <a:pt x="119" y="71"/>
                  </a:lnTo>
                  <a:lnTo>
                    <a:pt x="118" y="71"/>
                  </a:lnTo>
                  <a:close/>
                  <a:moveTo>
                    <a:pt x="164" y="135"/>
                  </a:moveTo>
                  <a:lnTo>
                    <a:pt x="166" y="135"/>
                  </a:lnTo>
                  <a:lnTo>
                    <a:pt x="164" y="135"/>
                  </a:lnTo>
                  <a:close/>
                  <a:moveTo>
                    <a:pt x="35" y="104"/>
                  </a:moveTo>
                  <a:lnTo>
                    <a:pt x="37" y="104"/>
                  </a:lnTo>
                  <a:lnTo>
                    <a:pt x="35" y="104"/>
                  </a:lnTo>
                  <a:close/>
                  <a:moveTo>
                    <a:pt x="135" y="73"/>
                  </a:moveTo>
                  <a:lnTo>
                    <a:pt x="135" y="75"/>
                  </a:lnTo>
                  <a:lnTo>
                    <a:pt x="135" y="73"/>
                  </a:lnTo>
                  <a:close/>
                  <a:moveTo>
                    <a:pt x="177" y="140"/>
                  </a:moveTo>
                  <a:lnTo>
                    <a:pt x="177" y="142"/>
                  </a:lnTo>
                  <a:lnTo>
                    <a:pt x="177" y="140"/>
                  </a:lnTo>
                  <a:close/>
                  <a:moveTo>
                    <a:pt x="144" y="117"/>
                  </a:moveTo>
                  <a:lnTo>
                    <a:pt x="144" y="119"/>
                  </a:lnTo>
                  <a:lnTo>
                    <a:pt x="144" y="117"/>
                  </a:lnTo>
                  <a:close/>
                  <a:moveTo>
                    <a:pt x="100" y="14"/>
                  </a:moveTo>
                  <a:lnTo>
                    <a:pt x="102" y="14"/>
                  </a:lnTo>
                  <a:lnTo>
                    <a:pt x="100" y="14"/>
                  </a:lnTo>
                  <a:close/>
                  <a:moveTo>
                    <a:pt x="152" y="136"/>
                  </a:moveTo>
                  <a:lnTo>
                    <a:pt x="152" y="138"/>
                  </a:lnTo>
                  <a:lnTo>
                    <a:pt x="152" y="136"/>
                  </a:lnTo>
                  <a:close/>
                  <a:moveTo>
                    <a:pt x="148" y="142"/>
                  </a:moveTo>
                  <a:lnTo>
                    <a:pt x="150" y="142"/>
                  </a:lnTo>
                  <a:lnTo>
                    <a:pt x="148" y="142"/>
                  </a:lnTo>
                  <a:close/>
                  <a:moveTo>
                    <a:pt x="139" y="140"/>
                  </a:moveTo>
                  <a:lnTo>
                    <a:pt x="141" y="140"/>
                  </a:lnTo>
                  <a:lnTo>
                    <a:pt x="139" y="140"/>
                  </a:lnTo>
                  <a:close/>
                  <a:moveTo>
                    <a:pt x="189" y="117"/>
                  </a:moveTo>
                  <a:lnTo>
                    <a:pt x="189" y="119"/>
                  </a:lnTo>
                  <a:lnTo>
                    <a:pt x="189" y="117"/>
                  </a:lnTo>
                  <a:close/>
                  <a:moveTo>
                    <a:pt x="139" y="138"/>
                  </a:moveTo>
                  <a:lnTo>
                    <a:pt x="139" y="140"/>
                  </a:lnTo>
                  <a:lnTo>
                    <a:pt x="139" y="138"/>
                  </a:lnTo>
                  <a:close/>
                  <a:moveTo>
                    <a:pt x="47" y="92"/>
                  </a:moveTo>
                  <a:lnTo>
                    <a:pt x="48" y="92"/>
                  </a:lnTo>
                  <a:lnTo>
                    <a:pt x="47" y="92"/>
                  </a:lnTo>
                  <a:close/>
                  <a:moveTo>
                    <a:pt x="144" y="19"/>
                  </a:moveTo>
                  <a:lnTo>
                    <a:pt x="144" y="21"/>
                  </a:lnTo>
                  <a:lnTo>
                    <a:pt x="144" y="19"/>
                  </a:lnTo>
                  <a:close/>
                  <a:moveTo>
                    <a:pt x="119" y="71"/>
                  </a:moveTo>
                  <a:lnTo>
                    <a:pt x="119" y="73"/>
                  </a:lnTo>
                  <a:lnTo>
                    <a:pt x="119" y="71"/>
                  </a:lnTo>
                  <a:close/>
                  <a:moveTo>
                    <a:pt x="35" y="106"/>
                  </a:moveTo>
                  <a:lnTo>
                    <a:pt x="37" y="106"/>
                  </a:lnTo>
                  <a:lnTo>
                    <a:pt x="35" y="106"/>
                  </a:lnTo>
                  <a:close/>
                  <a:moveTo>
                    <a:pt x="50" y="90"/>
                  </a:moveTo>
                  <a:lnTo>
                    <a:pt x="52" y="90"/>
                  </a:lnTo>
                  <a:lnTo>
                    <a:pt x="52" y="92"/>
                  </a:lnTo>
                  <a:lnTo>
                    <a:pt x="50" y="92"/>
                  </a:lnTo>
                  <a:lnTo>
                    <a:pt x="50" y="90"/>
                  </a:lnTo>
                  <a:close/>
                  <a:moveTo>
                    <a:pt x="131" y="73"/>
                  </a:moveTo>
                  <a:lnTo>
                    <a:pt x="131" y="75"/>
                  </a:lnTo>
                  <a:lnTo>
                    <a:pt x="131" y="73"/>
                  </a:lnTo>
                  <a:close/>
                  <a:moveTo>
                    <a:pt x="118" y="71"/>
                  </a:moveTo>
                  <a:lnTo>
                    <a:pt x="119" y="71"/>
                  </a:lnTo>
                  <a:lnTo>
                    <a:pt x="119" y="73"/>
                  </a:lnTo>
                  <a:lnTo>
                    <a:pt x="118" y="73"/>
                  </a:lnTo>
                  <a:lnTo>
                    <a:pt x="118" y="71"/>
                  </a:lnTo>
                  <a:close/>
                  <a:moveTo>
                    <a:pt x="162" y="133"/>
                  </a:moveTo>
                  <a:lnTo>
                    <a:pt x="162" y="135"/>
                  </a:lnTo>
                  <a:lnTo>
                    <a:pt x="162" y="133"/>
                  </a:lnTo>
                  <a:close/>
                  <a:moveTo>
                    <a:pt x="152" y="140"/>
                  </a:moveTo>
                  <a:lnTo>
                    <a:pt x="154" y="140"/>
                  </a:lnTo>
                  <a:lnTo>
                    <a:pt x="152" y="140"/>
                  </a:lnTo>
                  <a:close/>
                  <a:moveTo>
                    <a:pt x="187" y="117"/>
                  </a:moveTo>
                  <a:lnTo>
                    <a:pt x="189" y="117"/>
                  </a:lnTo>
                  <a:lnTo>
                    <a:pt x="187" y="117"/>
                  </a:lnTo>
                  <a:close/>
                  <a:moveTo>
                    <a:pt x="104" y="69"/>
                  </a:moveTo>
                  <a:lnTo>
                    <a:pt x="106" y="69"/>
                  </a:lnTo>
                  <a:lnTo>
                    <a:pt x="104" y="69"/>
                  </a:lnTo>
                  <a:close/>
                  <a:moveTo>
                    <a:pt x="37" y="31"/>
                  </a:moveTo>
                  <a:lnTo>
                    <a:pt x="39" y="31"/>
                  </a:lnTo>
                  <a:lnTo>
                    <a:pt x="37" y="31"/>
                  </a:lnTo>
                  <a:close/>
                  <a:moveTo>
                    <a:pt x="173" y="117"/>
                  </a:moveTo>
                  <a:lnTo>
                    <a:pt x="175" y="117"/>
                  </a:lnTo>
                  <a:lnTo>
                    <a:pt x="173" y="117"/>
                  </a:lnTo>
                  <a:close/>
                  <a:moveTo>
                    <a:pt x="143" y="19"/>
                  </a:moveTo>
                  <a:lnTo>
                    <a:pt x="143" y="21"/>
                  </a:lnTo>
                  <a:lnTo>
                    <a:pt x="143" y="19"/>
                  </a:lnTo>
                  <a:close/>
                  <a:moveTo>
                    <a:pt x="144" y="136"/>
                  </a:moveTo>
                  <a:lnTo>
                    <a:pt x="144" y="138"/>
                  </a:lnTo>
                  <a:lnTo>
                    <a:pt x="144" y="136"/>
                  </a:lnTo>
                  <a:close/>
                  <a:moveTo>
                    <a:pt x="98" y="94"/>
                  </a:moveTo>
                  <a:lnTo>
                    <a:pt x="100" y="94"/>
                  </a:lnTo>
                  <a:lnTo>
                    <a:pt x="98" y="94"/>
                  </a:lnTo>
                  <a:close/>
                  <a:moveTo>
                    <a:pt x="217" y="71"/>
                  </a:moveTo>
                  <a:lnTo>
                    <a:pt x="217" y="73"/>
                  </a:lnTo>
                  <a:lnTo>
                    <a:pt x="217" y="71"/>
                  </a:lnTo>
                  <a:close/>
                  <a:moveTo>
                    <a:pt x="87" y="15"/>
                  </a:moveTo>
                  <a:lnTo>
                    <a:pt x="87" y="17"/>
                  </a:lnTo>
                  <a:lnTo>
                    <a:pt x="87" y="15"/>
                  </a:lnTo>
                  <a:close/>
                  <a:moveTo>
                    <a:pt x="96" y="15"/>
                  </a:moveTo>
                  <a:lnTo>
                    <a:pt x="96" y="17"/>
                  </a:lnTo>
                  <a:lnTo>
                    <a:pt x="96" y="15"/>
                  </a:lnTo>
                  <a:close/>
                  <a:moveTo>
                    <a:pt x="135" y="15"/>
                  </a:moveTo>
                  <a:lnTo>
                    <a:pt x="135" y="17"/>
                  </a:lnTo>
                  <a:lnTo>
                    <a:pt x="135" y="15"/>
                  </a:lnTo>
                  <a:close/>
                  <a:moveTo>
                    <a:pt x="169" y="144"/>
                  </a:moveTo>
                  <a:lnTo>
                    <a:pt x="171" y="144"/>
                  </a:lnTo>
                  <a:lnTo>
                    <a:pt x="171" y="146"/>
                  </a:lnTo>
                  <a:lnTo>
                    <a:pt x="169" y="146"/>
                  </a:lnTo>
                  <a:lnTo>
                    <a:pt x="169" y="144"/>
                  </a:lnTo>
                  <a:close/>
                  <a:moveTo>
                    <a:pt x="166" y="140"/>
                  </a:moveTo>
                  <a:lnTo>
                    <a:pt x="167" y="140"/>
                  </a:lnTo>
                  <a:lnTo>
                    <a:pt x="166" y="140"/>
                  </a:lnTo>
                  <a:close/>
                  <a:moveTo>
                    <a:pt x="89" y="115"/>
                  </a:moveTo>
                  <a:lnTo>
                    <a:pt x="91" y="115"/>
                  </a:lnTo>
                  <a:lnTo>
                    <a:pt x="89" y="115"/>
                  </a:lnTo>
                  <a:close/>
                  <a:moveTo>
                    <a:pt x="139" y="106"/>
                  </a:moveTo>
                  <a:lnTo>
                    <a:pt x="139" y="108"/>
                  </a:lnTo>
                  <a:lnTo>
                    <a:pt x="139" y="106"/>
                  </a:lnTo>
                  <a:close/>
                  <a:moveTo>
                    <a:pt x="146" y="69"/>
                  </a:moveTo>
                  <a:lnTo>
                    <a:pt x="148" y="69"/>
                  </a:lnTo>
                  <a:lnTo>
                    <a:pt x="146" y="69"/>
                  </a:lnTo>
                  <a:close/>
                  <a:moveTo>
                    <a:pt x="154" y="136"/>
                  </a:moveTo>
                  <a:lnTo>
                    <a:pt x="154" y="138"/>
                  </a:lnTo>
                  <a:lnTo>
                    <a:pt x="154" y="136"/>
                  </a:lnTo>
                  <a:close/>
                  <a:moveTo>
                    <a:pt x="91" y="121"/>
                  </a:moveTo>
                  <a:lnTo>
                    <a:pt x="93" y="121"/>
                  </a:lnTo>
                  <a:lnTo>
                    <a:pt x="91" y="121"/>
                  </a:lnTo>
                  <a:close/>
                  <a:moveTo>
                    <a:pt x="219" y="81"/>
                  </a:moveTo>
                  <a:lnTo>
                    <a:pt x="219" y="83"/>
                  </a:lnTo>
                  <a:lnTo>
                    <a:pt x="219" y="81"/>
                  </a:lnTo>
                  <a:close/>
                  <a:moveTo>
                    <a:pt x="131" y="75"/>
                  </a:moveTo>
                  <a:lnTo>
                    <a:pt x="133" y="75"/>
                  </a:lnTo>
                  <a:lnTo>
                    <a:pt x="131" y="75"/>
                  </a:lnTo>
                  <a:close/>
                  <a:moveTo>
                    <a:pt x="133" y="17"/>
                  </a:moveTo>
                  <a:lnTo>
                    <a:pt x="135" y="17"/>
                  </a:lnTo>
                  <a:lnTo>
                    <a:pt x="133" y="17"/>
                  </a:lnTo>
                  <a:close/>
                  <a:moveTo>
                    <a:pt x="131" y="73"/>
                  </a:moveTo>
                  <a:lnTo>
                    <a:pt x="133" y="73"/>
                  </a:lnTo>
                  <a:lnTo>
                    <a:pt x="131" y="73"/>
                  </a:lnTo>
                  <a:close/>
                  <a:moveTo>
                    <a:pt x="162" y="117"/>
                  </a:moveTo>
                  <a:lnTo>
                    <a:pt x="164" y="117"/>
                  </a:lnTo>
                  <a:lnTo>
                    <a:pt x="164" y="119"/>
                  </a:lnTo>
                  <a:lnTo>
                    <a:pt x="162" y="119"/>
                  </a:lnTo>
                  <a:lnTo>
                    <a:pt x="162" y="117"/>
                  </a:lnTo>
                  <a:close/>
                  <a:moveTo>
                    <a:pt x="41" y="106"/>
                  </a:moveTo>
                  <a:lnTo>
                    <a:pt x="43" y="106"/>
                  </a:lnTo>
                  <a:lnTo>
                    <a:pt x="41" y="106"/>
                  </a:lnTo>
                  <a:close/>
                  <a:moveTo>
                    <a:pt x="169" y="140"/>
                  </a:moveTo>
                  <a:lnTo>
                    <a:pt x="171" y="140"/>
                  </a:lnTo>
                  <a:lnTo>
                    <a:pt x="169" y="140"/>
                  </a:lnTo>
                  <a:close/>
                  <a:moveTo>
                    <a:pt x="83" y="14"/>
                  </a:moveTo>
                  <a:lnTo>
                    <a:pt x="83" y="15"/>
                  </a:lnTo>
                  <a:lnTo>
                    <a:pt x="83" y="14"/>
                  </a:lnTo>
                  <a:close/>
                  <a:moveTo>
                    <a:pt x="93" y="88"/>
                  </a:moveTo>
                  <a:lnTo>
                    <a:pt x="93" y="90"/>
                  </a:lnTo>
                  <a:lnTo>
                    <a:pt x="93" y="88"/>
                  </a:lnTo>
                  <a:close/>
                  <a:moveTo>
                    <a:pt x="106" y="62"/>
                  </a:moveTo>
                  <a:lnTo>
                    <a:pt x="106" y="63"/>
                  </a:lnTo>
                  <a:lnTo>
                    <a:pt x="106" y="62"/>
                  </a:lnTo>
                  <a:close/>
                  <a:moveTo>
                    <a:pt x="118" y="71"/>
                  </a:moveTo>
                  <a:lnTo>
                    <a:pt x="119" y="71"/>
                  </a:lnTo>
                  <a:lnTo>
                    <a:pt x="118" y="71"/>
                  </a:lnTo>
                  <a:close/>
                  <a:moveTo>
                    <a:pt x="148" y="133"/>
                  </a:moveTo>
                  <a:lnTo>
                    <a:pt x="150" y="133"/>
                  </a:lnTo>
                  <a:lnTo>
                    <a:pt x="148" y="133"/>
                  </a:lnTo>
                  <a:close/>
                  <a:moveTo>
                    <a:pt x="156" y="42"/>
                  </a:moveTo>
                  <a:lnTo>
                    <a:pt x="158" y="42"/>
                  </a:lnTo>
                  <a:lnTo>
                    <a:pt x="156" y="42"/>
                  </a:lnTo>
                  <a:close/>
                  <a:moveTo>
                    <a:pt x="89" y="14"/>
                  </a:moveTo>
                  <a:lnTo>
                    <a:pt x="91" y="14"/>
                  </a:lnTo>
                  <a:lnTo>
                    <a:pt x="89" y="14"/>
                  </a:lnTo>
                  <a:close/>
                  <a:moveTo>
                    <a:pt x="148" y="133"/>
                  </a:moveTo>
                  <a:lnTo>
                    <a:pt x="150" y="133"/>
                  </a:lnTo>
                  <a:lnTo>
                    <a:pt x="148" y="133"/>
                  </a:lnTo>
                  <a:close/>
                  <a:moveTo>
                    <a:pt x="81" y="23"/>
                  </a:moveTo>
                  <a:lnTo>
                    <a:pt x="83" y="23"/>
                  </a:lnTo>
                  <a:lnTo>
                    <a:pt x="81" y="23"/>
                  </a:lnTo>
                  <a:close/>
                  <a:moveTo>
                    <a:pt x="173" y="146"/>
                  </a:moveTo>
                  <a:lnTo>
                    <a:pt x="175" y="146"/>
                  </a:lnTo>
                  <a:lnTo>
                    <a:pt x="173" y="146"/>
                  </a:lnTo>
                  <a:close/>
                  <a:moveTo>
                    <a:pt x="127" y="73"/>
                  </a:moveTo>
                  <a:lnTo>
                    <a:pt x="127" y="75"/>
                  </a:lnTo>
                  <a:lnTo>
                    <a:pt x="127" y="73"/>
                  </a:lnTo>
                  <a:close/>
                  <a:moveTo>
                    <a:pt x="143" y="104"/>
                  </a:moveTo>
                  <a:lnTo>
                    <a:pt x="143" y="106"/>
                  </a:lnTo>
                  <a:lnTo>
                    <a:pt x="143" y="104"/>
                  </a:lnTo>
                  <a:close/>
                  <a:moveTo>
                    <a:pt x="118" y="71"/>
                  </a:moveTo>
                  <a:lnTo>
                    <a:pt x="119" y="71"/>
                  </a:lnTo>
                  <a:lnTo>
                    <a:pt x="118" y="71"/>
                  </a:lnTo>
                  <a:close/>
                  <a:moveTo>
                    <a:pt x="85" y="10"/>
                  </a:moveTo>
                  <a:lnTo>
                    <a:pt x="85" y="12"/>
                  </a:lnTo>
                  <a:lnTo>
                    <a:pt x="85" y="10"/>
                  </a:lnTo>
                  <a:close/>
                  <a:moveTo>
                    <a:pt x="152" y="135"/>
                  </a:moveTo>
                  <a:lnTo>
                    <a:pt x="154" y="135"/>
                  </a:lnTo>
                  <a:lnTo>
                    <a:pt x="152" y="135"/>
                  </a:lnTo>
                  <a:close/>
                  <a:moveTo>
                    <a:pt x="146" y="133"/>
                  </a:moveTo>
                  <a:lnTo>
                    <a:pt x="148" y="133"/>
                  </a:lnTo>
                  <a:lnTo>
                    <a:pt x="146" y="133"/>
                  </a:lnTo>
                  <a:close/>
                  <a:moveTo>
                    <a:pt x="139" y="119"/>
                  </a:moveTo>
                  <a:lnTo>
                    <a:pt x="141" y="119"/>
                  </a:lnTo>
                  <a:lnTo>
                    <a:pt x="139" y="119"/>
                  </a:lnTo>
                  <a:close/>
                  <a:moveTo>
                    <a:pt x="143" y="135"/>
                  </a:moveTo>
                  <a:lnTo>
                    <a:pt x="144" y="135"/>
                  </a:lnTo>
                  <a:lnTo>
                    <a:pt x="143" y="135"/>
                  </a:lnTo>
                  <a:close/>
                  <a:moveTo>
                    <a:pt x="150" y="135"/>
                  </a:moveTo>
                  <a:lnTo>
                    <a:pt x="152" y="135"/>
                  </a:lnTo>
                  <a:lnTo>
                    <a:pt x="150" y="135"/>
                  </a:lnTo>
                  <a:close/>
                  <a:moveTo>
                    <a:pt x="104" y="10"/>
                  </a:moveTo>
                  <a:lnTo>
                    <a:pt x="106" y="10"/>
                  </a:lnTo>
                  <a:lnTo>
                    <a:pt x="104" y="10"/>
                  </a:lnTo>
                  <a:close/>
                  <a:moveTo>
                    <a:pt x="123" y="135"/>
                  </a:moveTo>
                  <a:lnTo>
                    <a:pt x="125" y="135"/>
                  </a:lnTo>
                  <a:lnTo>
                    <a:pt x="123" y="135"/>
                  </a:lnTo>
                  <a:close/>
                  <a:moveTo>
                    <a:pt x="139" y="73"/>
                  </a:moveTo>
                  <a:lnTo>
                    <a:pt x="141" y="73"/>
                  </a:lnTo>
                  <a:lnTo>
                    <a:pt x="139" y="73"/>
                  </a:lnTo>
                  <a:close/>
                  <a:moveTo>
                    <a:pt x="146" y="125"/>
                  </a:moveTo>
                  <a:lnTo>
                    <a:pt x="146" y="127"/>
                  </a:lnTo>
                  <a:lnTo>
                    <a:pt x="146" y="125"/>
                  </a:lnTo>
                  <a:close/>
                  <a:moveTo>
                    <a:pt x="139" y="73"/>
                  </a:moveTo>
                  <a:lnTo>
                    <a:pt x="141" y="73"/>
                  </a:lnTo>
                  <a:lnTo>
                    <a:pt x="139" y="73"/>
                  </a:lnTo>
                  <a:close/>
                  <a:moveTo>
                    <a:pt x="144" y="108"/>
                  </a:moveTo>
                  <a:lnTo>
                    <a:pt x="146" y="108"/>
                  </a:lnTo>
                  <a:lnTo>
                    <a:pt x="144" y="108"/>
                  </a:lnTo>
                  <a:close/>
                  <a:moveTo>
                    <a:pt x="144" y="142"/>
                  </a:moveTo>
                  <a:lnTo>
                    <a:pt x="146" y="142"/>
                  </a:lnTo>
                  <a:lnTo>
                    <a:pt x="144" y="142"/>
                  </a:lnTo>
                  <a:close/>
                  <a:moveTo>
                    <a:pt x="143" y="136"/>
                  </a:moveTo>
                  <a:lnTo>
                    <a:pt x="144" y="136"/>
                  </a:lnTo>
                  <a:lnTo>
                    <a:pt x="143" y="136"/>
                  </a:lnTo>
                  <a:close/>
                  <a:moveTo>
                    <a:pt x="160" y="138"/>
                  </a:moveTo>
                  <a:lnTo>
                    <a:pt x="160" y="140"/>
                  </a:lnTo>
                  <a:lnTo>
                    <a:pt x="160" y="138"/>
                  </a:lnTo>
                  <a:close/>
                  <a:moveTo>
                    <a:pt x="169" y="42"/>
                  </a:moveTo>
                  <a:lnTo>
                    <a:pt x="169" y="44"/>
                  </a:lnTo>
                  <a:lnTo>
                    <a:pt x="169" y="42"/>
                  </a:lnTo>
                  <a:close/>
                  <a:moveTo>
                    <a:pt x="166" y="33"/>
                  </a:moveTo>
                  <a:lnTo>
                    <a:pt x="167" y="33"/>
                  </a:lnTo>
                  <a:lnTo>
                    <a:pt x="166" y="33"/>
                  </a:lnTo>
                  <a:close/>
                  <a:moveTo>
                    <a:pt x="173" y="144"/>
                  </a:moveTo>
                  <a:lnTo>
                    <a:pt x="173" y="146"/>
                  </a:lnTo>
                  <a:lnTo>
                    <a:pt x="173" y="144"/>
                  </a:lnTo>
                  <a:close/>
                  <a:moveTo>
                    <a:pt x="129" y="73"/>
                  </a:moveTo>
                  <a:lnTo>
                    <a:pt x="131" y="73"/>
                  </a:lnTo>
                  <a:lnTo>
                    <a:pt x="129" y="73"/>
                  </a:lnTo>
                  <a:close/>
                  <a:moveTo>
                    <a:pt x="135" y="136"/>
                  </a:moveTo>
                  <a:lnTo>
                    <a:pt x="135" y="138"/>
                  </a:lnTo>
                  <a:lnTo>
                    <a:pt x="135" y="136"/>
                  </a:lnTo>
                  <a:close/>
                  <a:moveTo>
                    <a:pt x="156" y="144"/>
                  </a:moveTo>
                  <a:lnTo>
                    <a:pt x="156" y="146"/>
                  </a:lnTo>
                  <a:lnTo>
                    <a:pt x="156" y="144"/>
                  </a:lnTo>
                  <a:close/>
                  <a:moveTo>
                    <a:pt x="144" y="117"/>
                  </a:moveTo>
                  <a:lnTo>
                    <a:pt x="146" y="117"/>
                  </a:lnTo>
                  <a:lnTo>
                    <a:pt x="144" y="117"/>
                  </a:lnTo>
                  <a:close/>
                  <a:moveTo>
                    <a:pt x="187" y="119"/>
                  </a:moveTo>
                  <a:lnTo>
                    <a:pt x="189" y="119"/>
                  </a:lnTo>
                  <a:lnTo>
                    <a:pt x="187" y="119"/>
                  </a:lnTo>
                  <a:close/>
                  <a:moveTo>
                    <a:pt x="144" y="136"/>
                  </a:moveTo>
                  <a:lnTo>
                    <a:pt x="144" y="138"/>
                  </a:lnTo>
                  <a:lnTo>
                    <a:pt x="144" y="136"/>
                  </a:lnTo>
                  <a:close/>
                  <a:moveTo>
                    <a:pt x="104" y="65"/>
                  </a:moveTo>
                  <a:lnTo>
                    <a:pt x="104" y="67"/>
                  </a:lnTo>
                  <a:lnTo>
                    <a:pt x="104" y="65"/>
                  </a:lnTo>
                  <a:close/>
                  <a:moveTo>
                    <a:pt x="169" y="119"/>
                  </a:moveTo>
                  <a:lnTo>
                    <a:pt x="171" y="119"/>
                  </a:lnTo>
                  <a:lnTo>
                    <a:pt x="169" y="119"/>
                  </a:lnTo>
                  <a:close/>
                  <a:moveTo>
                    <a:pt x="160" y="140"/>
                  </a:moveTo>
                  <a:lnTo>
                    <a:pt x="162" y="140"/>
                  </a:lnTo>
                  <a:lnTo>
                    <a:pt x="160" y="140"/>
                  </a:lnTo>
                  <a:close/>
                  <a:moveTo>
                    <a:pt x="160" y="138"/>
                  </a:moveTo>
                  <a:lnTo>
                    <a:pt x="160" y="140"/>
                  </a:lnTo>
                  <a:lnTo>
                    <a:pt x="160" y="138"/>
                  </a:lnTo>
                  <a:close/>
                  <a:moveTo>
                    <a:pt x="73" y="56"/>
                  </a:moveTo>
                  <a:lnTo>
                    <a:pt x="73" y="58"/>
                  </a:lnTo>
                  <a:lnTo>
                    <a:pt x="73" y="56"/>
                  </a:lnTo>
                  <a:close/>
                  <a:moveTo>
                    <a:pt x="73" y="56"/>
                  </a:moveTo>
                  <a:lnTo>
                    <a:pt x="73" y="58"/>
                  </a:lnTo>
                  <a:lnTo>
                    <a:pt x="73" y="56"/>
                  </a:lnTo>
                  <a:close/>
                  <a:moveTo>
                    <a:pt x="127" y="62"/>
                  </a:moveTo>
                  <a:lnTo>
                    <a:pt x="127" y="63"/>
                  </a:lnTo>
                  <a:lnTo>
                    <a:pt x="127" y="62"/>
                  </a:lnTo>
                  <a:close/>
                  <a:moveTo>
                    <a:pt x="133" y="104"/>
                  </a:moveTo>
                  <a:lnTo>
                    <a:pt x="133" y="106"/>
                  </a:lnTo>
                  <a:lnTo>
                    <a:pt x="133" y="104"/>
                  </a:lnTo>
                  <a:close/>
                  <a:moveTo>
                    <a:pt x="146" y="125"/>
                  </a:moveTo>
                  <a:lnTo>
                    <a:pt x="146" y="127"/>
                  </a:lnTo>
                  <a:lnTo>
                    <a:pt x="146" y="12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2" name="Freeform 431">
              <a:extLst>
                <a:ext uri="{FF2B5EF4-FFF2-40B4-BE49-F238E27FC236}">
                  <a16:creationId xmlns:a16="http://schemas.microsoft.com/office/drawing/2014/main" id="{400FF7CC-2546-47E8-AD44-BE319B45F5E1}"/>
                </a:ext>
              </a:extLst>
            </p:cNvPr>
            <p:cNvSpPr>
              <a:spLocks noEditPoints="1"/>
            </p:cNvSpPr>
            <p:nvPr/>
          </p:nvSpPr>
          <p:spPr bwMode="gray">
            <a:xfrm>
              <a:off x="6144208" y="4724642"/>
              <a:ext cx="152071" cy="63772"/>
            </a:xfrm>
            <a:custGeom>
              <a:avLst/>
              <a:gdLst>
                <a:gd name="T0" fmla="*/ 48 w 124"/>
                <a:gd name="T1" fmla="*/ 46 h 52"/>
                <a:gd name="T2" fmla="*/ 44 w 124"/>
                <a:gd name="T3" fmla="*/ 42 h 52"/>
                <a:gd name="T4" fmla="*/ 42 w 124"/>
                <a:gd name="T5" fmla="*/ 44 h 52"/>
                <a:gd name="T6" fmla="*/ 40 w 124"/>
                <a:gd name="T7" fmla="*/ 42 h 52"/>
                <a:gd name="T8" fmla="*/ 40 w 124"/>
                <a:gd name="T9" fmla="*/ 42 h 52"/>
                <a:gd name="T10" fmla="*/ 36 w 124"/>
                <a:gd name="T11" fmla="*/ 38 h 52"/>
                <a:gd name="T12" fmla="*/ 36 w 124"/>
                <a:gd name="T13" fmla="*/ 38 h 52"/>
                <a:gd name="T14" fmla="*/ 36 w 124"/>
                <a:gd name="T15" fmla="*/ 38 h 52"/>
                <a:gd name="T16" fmla="*/ 32 w 124"/>
                <a:gd name="T17" fmla="*/ 34 h 52"/>
                <a:gd name="T18" fmla="*/ 26 w 124"/>
                <a:gd name="T19" fmla="*/ 32 h 52"/>
                <a:gd name="T20" fmla="*/ 23 w 124"/>
                <a:gd name="T21" fmla="*/ 29 h 52"/>
                <a:gd name="T22" fmla="*/ 19 w 124"/>
                <a:gd name="T23" fmla="*/ 25 h 52"/>
                <a:gd name="T24" fmla="*/ 19 w 124"/>
                <a:gd name="T25" fmla="*/ 25 h 52"/>
                <a:gd name="T26" fmla="*/ 17 w 124"/>
                <a:gd name="T27" fmla="*/ 23 h 52"/>
                <a:gd name="T28" fmla="*/ 11 w 124"/>
                <a:gd name="T29" fmla="*/ 21 h 52"/>
                <a:gd name="T30" fmla="*/ 7 w 124"/>
                <a:gd name="T31" fmla="*/ 13 h 52"/>
                <a:gd name="T32" fmla="*/ 7 w 124"/>
                <a:gd name="T33" fmla="*/ 13 h 52"/>
                <a:gd name="T34" fmla="*/ 7 w 124"/>
                <a:gd name="T35" fmla="*/ 9 h 52"/>
                <a:gd name="T36" fmla="*/ 9 w 124"/>
                <a:gd name="T37" fmla="*/ 11 h 52"/>
                <a:gd name="T38" fmla="*/ 9 w 124"/>
                <a:gd name="T39" fmla="*/ 11 h 52"/>
                <a:gd name="T40" fmla="*/ 15 w 124"/>
                <a:gd name="T41" fmla="*/ 13 h 52"/>
                <a:gd name="T42" fmla="*/ 19 w 124"/>
                <a:gd name="T43" fmla="*/ 17 h 52"/>
                <a:gd name="T44" fmla="*/ 24 w 124"/>
                <a:gd name="T45" fmla="*/ 23 h 52"/>
                <a:gd name="T46" fmla="*/ 28 w 124"/>
                <a:gd name="T47" fmla="*/ 27 h 52"/>
                <a:gd name="T48" fmla="*/ 32 w 124"/>
                <a:gd name="T49" fmla="*/ 27 h 52"/>
                <a:gd name="T50" fmla="*/ 34 w 124"/>
                <a:gd name="T51" fmla="*/ 29 h 52"/>
                <a:gd name="T52" fmla="*/ 38 w 124"/>
                <a:gd name="T53" fmla="*/ 32 h 52"/>
                <a:gd name="T54" fmla="*/ 40 w 124"/>
                <a:gd name="T55" fmla="*/ 34 h 52"/>
                <a:gd name="T56" fmla="*/ 48 w 124"/>
                <a:gd name="T57" fmla="*/ 38 h 52"/>
                <a:gd name="T58" fmla="*/ 57 w 124"/>
                <a:gd name="T59" fmla="*/ 25 h 52"/>
                <a:gd name="T60" fmla="*/ 53 w 124"/>
                <a:gd name="T61" fmla="*/ 25 h 52"/>
                <a:gd name="T62" fmla="*/ 49 w 124"/>
                <a:gd name="T63" fmla="*/ 21 h 52"/>
                <a:gd name="T64" fmla="*/ 53 w 124"/>
                <a:gd name="T65" fmla="*/ 17 h 52"/>
                <a:gd name="T66" fmla="*/ 55 w 124"/>
                <a:gd name="T67" fmla="*/ 23 h 52"/>
                <a:gd name="T68" fmla="*/ 67 w 124"/>
                <a:gd name="T69" fmla="*/ 32 h 52"/>
                <a:gd name="T70" fmla="*/ 61 w 124"/>
                <a:gd name="T71" fmla="*/ 31 h 52"/>
                <a:gd name="T72" fmla="*/ 65 w 124"/>
                <a:gd name="T73" fmla="*/ 31 h 52"/>
                <a:gd name="T74" fmla="*/ 55 w 124"/>
                <a:gd name="T75" fmla="*/ 48 h 52"/>
                <a:gd name="T76" fmla="*/ 42 w 124"/>
                <a:gd name="T77" fmla="*/ 17 h 52"/>
                <a:gd name="T78" fmla="*/ 0 w 124"/>
                <a:gd name="T79" fmla="*/ 2 h 52"/>
                <a:gd name="T80" fmla="*/ 48 w 124"/>
                <a:gd name="T81" fmla="*/ 44 h 52"/>
                <a:gd name="T82" fmla="*/ 9 w 124"/>
                <a:gd name="T83" fmla="*/ 9 h 52"/>
                <a:gd name="T84" fmla="*/ 3 w 124"/>
                <a:gd name="T85" fmla="*/ 8 h 52"/>
                <a:gd name="T86" fmla="*/ 36 w 124"/>
                <a:gd name="T87" fmla="*/ 38 h 52"/>
                <a:gd name="T88" fmla="*/ 40 w 124"/>
                <a:gd name="T89" fmla="*/ 19 h 52"/>
                <a:gd name="T90" fmla="*/ 42 w 124"/>
                <a:gd name="T91" fmla="*/ 13 h 52"/>
                <a:gd name="T92" fmla="*/ 1 w 124"/>
                <a:gd name="T93" fmla="*/ 4 h 52"/>
                <a:gd name="T94" fmla="*/ 38 w 124"/>
                <a:gd name="T95" fmla="*/ 17 h 52"/>
                <a:gd name="T96" fmla="*/ 55 w 124"/>
                <a:gd name="T97" fmla="*/ 50 h 52"/>
                <a:gd name="T98" fmla="*/ 9 w 124"/>
                <a:gd name="T99" fmla="*/ 11 h 52"/>
                <a:gd name="T100" fmla="*/ 38 w 124"/>
                <a:gd name="T101" fmla="*/ 38 h 52"/>
                <a:gd name="T102" fmla="*/ 57 w 124"/>
                <a:gd name="T103" fmla="*/ 48 h 52"/>
                <a:gd name="T104" fmla="*/ 40 w 124"/>
                <a:gd name="T105" fmla="*/ 17 h 52"/>
                <a:gd name="T106" fmla="*/ 40 w 124"/>
                <a:gd name="T107" fmla="*/ 15 h 52"/>
                <a:gd name="T108" fmla="*/ 5 w 124"/>
                <a:gd name="T109" fmla="*/ 9 h 52"/>
                <a:gd name="T110" fmla="*/ 30 w 124"/>
                <a:gd name="T111" fmla="*/ 34 h 52"/>
                <a:gd name="T112" fmla="*/ 44 w 124"/>
                <a:gd name="T113" fmla="*/ 46 h 52"/>
                <a:gd name="T114" fmla="*/ 1 w 124"/>
                <a:gd name="T115" fmla="*/ 8 h 52"/>
                <a:gd name="T116" fmla="*/ 21 w 124"/>
                <a:gd name="T117" fmla="*/ 19 h 52"/>
                <a:gd name="T118" fmla="*/ 3 w 124"/>
                <a:gd name="T119" fmla="*/ 13 h 52"/>
                <a:gd name="T120" fmla="*/ 3 w 124"/>
                <a:gd name="T121"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 h="52">
                  <a:moveTo>
                    <a:pt x="49" y="42"/>
                  </a:moveTo>
                  <a:lnTo>
                    <a:pt x="49" y="44"/>
                  </a:lnTo>
                  <a:lnTo>
                    <a:pt x="48" y="44"/>
                  </a:lnTo>
                  <a:lnTo>
                    <a:pt x="48" y="46"/>
                  </a:lnTo>
                  <a:lnTo>
                    <a:pt x="48" y="44"/>
                  </a:lnTo>
                  <a:lnTo>
                    <a:pt x="48" y="46"/>
                  </a:lnTo>
                  <a:lnTo>
                    <a:pt x="48" y="44"/>
                  </a:lnTo>
                  <a:lnTo>
                    <a:pt x="48" y="46"/>
                  </a:lnTo>
                  <a:lnTo>
                    <a:pt x="48" y="44"/>
                  </a:lnTo>
                  <a:lnTo>
                    <a:pt x="46" y="44"/>
                  </a:lnTo>
                  <a:lnTo>
                    <a:pt x="44" y="44"/>
                  </a:lnTo>
                  <a:lnTo>
                    <a:pt x="44" y="42"/>
                  </a:lnTo>
                  <a:lnTo>
                    <a:pt x="42" y="42"/>
                  </a:lnTo>
                  <a:lnTo>
                    <a:pt x="42" y="44"/>
                  </a:lnTo>
                  <a:lnTo>
                    <a:pt x="42" y="42"/>
                  </a:lnTo>
                  <a:lnTo>
                    <a:pt x="42" y="44"/>
                  </a:lnTo>
                  <a:lnTo>
                    <a:pt x="42" y="42"/>
                  </a:lnTo>
                  <a:lnTo>
                    <a:pt x="42" y="44"/>
                  </a:lnTo>
                  <a:lnTo>
                    <a:pt x="42" y="42"/>
                  </a:lnTo>
                  <a:lnTo>
                    <a:pt x="40" y="42"/>
                  </a:lnTo>
                  <a:lnTo>
                    <a:pt x="42" y="42"/>
                  </a:lnTo>
                  <a:lnTo>
                    <a:pt x="40" y="42"/>
                  </a:lnTo>
                  <a:lnTo>
                    <a:pt x="42" y="42"/>
                  </a:lnTo>
                  <a:lnTo>
                    <a:pt x="40" y="42"/>
                  </a:lnTo>
                  <a:lnTo>
                    <a:pt x="40" y="40"/>
                  </a:lnTo>
                  <a:lnTo>
                    <a:pt x="40" y="42"/>
                  </a:lnTo>
                  <a:lnTo>
                    <a:pt x="40" y="40"/>
                  </a:lnTo>
                  <a:lnTo>
                    <a:pt x="40" y="42"/>
                  </a:lnTo>
                  <a:lnTo>
                    <a:pt x="40" y="40"/>
                  </a:lnTo>
                  <a:lnTo>
                    <a:pt x="40" y="42"/>
                  </a:lnTo>
                  <a:lnTo>
                    <a:pt x="38" y="42"/>
                  </a:lnTo>
                  <a:lnTo>
                    <a:pt x="38" y="40"/>
                  </a:lnTo>
                  <a:lnTo>
                    <a:pt x="36" y="40"/>
                  </a:lnTo>
                  <a:lnTo>
                    <a:pt x="38" y="40"/>
                  </a:lnTo>
                  <a:lnTo>
                    <a:pt x="36" y="40"/>
                  </a:lnTo>
                  <a:lnTo>
                    <a:pt x="36" y="38"/>
                  </a:lnTo>
                  <a:lnTo>
                    <a:pt x="36" y="40"/>
                  </a:lnTo>
                  <a:lnTo>
                    <a:pt x="38" y="40"/>
                  </a:lnTo>
                  <a:lnTo>
                    <a:pt x="38" y="38"/>
                  </a:lnTo>
                  <a:lnTo>
                    <a:pt x="38" y="40"/>
                  </a:lnTo>
                  <a:lnTo>
                    <a:pt x="38" y="38"/>
                  </a:lnTo>
                  <a:lnTo>
                    <a:pt x="36" y="38"/>
                  </a:lnTo>
                  <a:lnTo>
                    <a:pt x="38" y="38"/>
                  </a:lnTo>
                  <a:lnTo>
                    <a:pt x="36" y="38"/>
                  </a:lnTo>
                  <a:lnTo>
                    <a:pt x="38" y="38"/>
                  </a:lnTo>
                  <a:lnTo>
                    <a:pt x="36" y="38"/>
                  </a:lnTo>
                  <a:lnTo>
                    <a:pt x="36" y="36"/>
                  </a:lnTo>
                  <a:lnTo>
                    <a:pt x="36" y="38"/>
                  </a:lnTo>
                  <a:lnTo>
                    <a:pt x="34" y="38"/>
                  </a:lnTo>
                  <a:lnTo>
                    <a:pt x="36" y="38"/>
                  </a:lnTo>
                  <a:lnTo>
                    <a:pt x="34" y="38"/>
                  </a:lnTo>
                  <a:lnTo>
                    <a:pt x="34" y="36"/>
                  </a:lnTo>
                  <a:lnTo>
                    <a:pt x="32" y="36"/>
                  </a:lnTo>
                  <a:lnTo>
                    <a:pt x="32" y="34"/>
                  </a:lnTo>
                  <a:lnTo>
                    <a:pt x="30" y="34"/>
                  </a:lnTo>
                  <a:lnTo>
                    <a:pt x="28" y="34"/>
                  </a:lnTo>
                  <a:lnTo>
                    <a:pt x="30" y="34"/>
                  </a:lnTo>
                  <a:lnTo>
                    <a:pt x="28" y="34"/>
                  </a:lnTo>
                  <a:lnTo>
                    <a:pt x="26" y="34"/>
                  </a:lnTo>
                  <a:lnTo>
                    <a:pt x="26" y="32"/>
                  </a:lnTo>
                  <a:lnTo>
                    <a:pt x="28" y="32"/>
                  </a:lnTo>
                  <a:lnTo>
                    <a:pt x="26" y="32"/>
                  </a:lnTo>
                  <a:lnTo>
                    <a:pt x="24" y="32"/>
                  </a:lnTo>
                  <a:lnTo>
                    <a:pt x="24" y="31"/>
                  </a:lnTo>
                  <a:lnTo>
                    <a:pt x="23" y="31"/>
                  </a:lnTo>
                  <a:lnTo>
                    <a:pt x="23" y="29"/>
                  </a:lnTo>
                  <a:lnTo>
                    <a:pt x="23" y="31"/>
                  </a:lnTo>
                  <a:lnTo>
                    <a:pt x="23" y="29"/>
                  </a:lnTo>
                  <a:lnTo>
                    <a:pt x="21" y="29"/>
                  </a:lnTo>
                  <a:lnTo>
                    <a:pt x="19" y="29"/>
                  </a:lnTo>
                  <a:lnTo>
                    <a:pt x="19" y="27"/>
                  </a:lnTo>
                  <a:lnTo>
                    <a:pt x="19" y="25"/>
                  </a:lnTo>
                  <a:lnTo>
                    <a:pt x="19" y="27"/>
                  </a:lnTo>
                  <a:lnTo>
                    <a:pt x="19" y="25"/>
                  </a:lnTo>
                  <a:lnTo>
                    <a:pt x="17" y="25"/>
                  </a:lnTo>
                  <a:lnTo>
                    <a:pt x="19" y="25"/>
                  </a:lnTo>
                  <a:lnTo>
                    <a:pt x="17" y="25"/>
                  </a:lnTo>
                  <a:lnTo>
                    <a:pt x="19" y="25"/>
                  </a:lnTo>
                  <a:lnTo>
                    <a:pt x="17" y="25"/>
                  </a:lnTo>
                  <a:lnTo>
                    <a:pt x="19" y="25"/>
                  </a:lnTo>
                  <a:lnTo>
                    <a:pt x="17" y="25"/>
                  </a:lnTo>
                  <a:lnTo>
                    <a:pt x="17" y="23"/>
                  </a:lnTo>
                  <a:lnTo>
                    <a:pt x="17" y="25"/>
                  </a:lnTo>
                  <a:lnTo>
                    <a:pt x="17" y="23"/>
                  </a:lnTo>
                  <a:lnTo>
                    <a:pt x="15" y="23"/>
                  </a:lnTo>
                  <a:lnTo>
                    <a:pt x="17" y="23"/>
                  </a:lnTo>
                  <a:lnTo>
                    <a:pt x="15" y="23"/>
                  </a:lnTo>
                  <a:lnTo>
                    <a:pt x="15" y="21"/>
                  </a:lnTo>
                  <a:lnTo>
                    <a:pt x="13" y="21"/>
                  </a:lnTo>
                  <a:lnTo>
                    <a:pt x="11" y="21"/>
                  </a:lnTo>
                  <a:lnTo>
                    <a:pt x="11" y="19"/>
                  </a:lnTo>
                  <a:lnTo>
                    <a:pt x="11" y="17"/>
                  </a:lnTo>
                  <a:lnTo>
                    <a:pt x="9" y="17"/>
                  </a:lnTo>
                  <a:lnTo>
                    <a:pt x="9" y="15"/>
                  </a:lnTo>
                  <a:lnTo>
                    <a:pt x="7" y="15"/>
                  </a:lnTo>
                  <a:lnTo>
                    <a:pt x="7" y="13"/>
                  </a:lnTo>
                  <a:lnTo>
                    <a:pt x="9" y="13"/>
                  </a:lnTo>
                  <a:lnTo>
                    <a:pt x="7" y="13"/>
                  </a:lnTo>
                  <a:lnTo>
                    <a:pt x="9" y="13"/>
                  </a:lnTo>
                  <a:lnTo>
                    <a:pt x="7" y="13"/>
                  </a:lnTo>
                  <a:lnTo>
                    <a:pt x="9" y="13"/>
                  </a:lnTo>
                  <a:lnTo>
                    <a:pt x="7" y="13"/>
                  </a:lnTo>
                  <a:lnTo>
                    <a:pt x="9" y="13"/>
                  </a:lnTo>
                  <a:lnTo>
                    <a:pt x="7" y="13"/>
                  </a:lnTo>
                  <a:lnTo>
                    <a:pt x="7" y="11"/>
                  </a:lnTo>
                  <a:lnTo>
                    <a:pt x="5" y="11"/>
                  </a:lnTo>
                  <a:lnTo>
                    <a:pt x="7" y="11"/>
                  </a:lnTo>
                  <a:lnTo>
                    <a:pt x="7" y="9"/>
                  </a:lnTo>
                  <a:lnTo>
                    <a:pt x="7" y="11"/>
                  </a:lnTo>
                  <a:lnTo>
                    <a:pt x="7" y="9"/>
                  </a:lnTo>
                  <a:lnTo>
                    <a:pt x="5" y="9"/>
                  </a:lnTo>
                  <a:lnTo>
                    <a:pt x="7" y="9"/>
                  </a:lnTo>
                  <a:lnTo>
                    <a:pt x="7" y="11"/>
                  </a:lnTo>
                  <a:lnTo>
                    <a:pt x="9" y="11"/>
                  </a:lnTo>
                  <a:lnTo>
                    <a:pt x="11" y="11"/>
                  </a:lnTo>
                  <a:lnTo>
                    <a:pt x="11" y="13"/>
                  </a:lnTo>
                  <a:lnTo>
                    <a:pt x="11" y="11"/>
                  </a:lnTo>
                  <a:lnTo>
                    <a:pt x="9" y="11"/>
                  </a:lnTo>
                  <a:lnTo>
                    <a:pt x="11" y="11"/>
                  </a:lnTo>
                  <a:lnTo>
                    <a:pt x="9" y="11"/>
                  </a:lnTo>
                  <a:lnTo>
                    <a:pt x="11" y="11"/>
                  </a:lnTo>
                  <a:lnTo>
                    <a:pt x="9" y="11"/>
                  </a:lnTo>
                  <a:lnTo>
                    <a:pt x="11" y="11"/>
                  </a:lnTo>
                  <a:lnTo>
                    <a:pt x="13" y="11"/>
                  </a:lnTo>
                  <a:lnTo>
                    <a:pt x="13" y="13"/>
                  </a:lnTo>
                  <a:lnTo>
                    <a:pt x="15" y="13"/>
                  </a:lnTo>
                  <a:lnTo>
                    <a:pt x="15" y="15"/>
                  </a:lnTo>
                  <a:lnTo>
                    <a:pt x="17" y="15"/>
                  </a:lnTo>
                  <a:lnTo>
                    <a:pt x="17" y="17"/>
                  </a:lnTo>
                  <a:lnTo>
                    <a:pt x="19" y="17"/>
                  </a:lnTo>
                  <a:lnTo>
                    <a:pt x="19" y="19"/>
                  </a:lnTo>
                  <a:lnTo>
                    <a:pt x="19" y="17"/>
                  </a:lnTo>
                  <a:lnTo>
                    <a:pt x="21" y="17"/>
                  </a:lnTo>
                  <a:lnTo>
                    <a:pt x="21" y="19"/>
                  </a:lnTo>
                  <a:lnTo>
                    <a:pt x="23" y="19"/>
                  </a:lnTo>
                  <a:lnTo>
                    <a:pt x="24" y="19"/>
                  </a:lnTo>
                  <a:lnTo>
                    <a:pt x="24" y="21"/>
                  </a:lnTo>
                  <a:lnTo>
                    <a:pt x="24" y="23"/>
                  </a:lnTo>
                  <a:lnTo>
                    <a:pt x="26" y="23"/>
                  </a:lnTo>
                  <a:lnTo>
                    <a:pt x="26" y="25"/>
                  </a:lnTo>
                  <a:lnTo>
                    <a:pt x="28" y="25"/>
                  </a:lnTo>
                  <a:lnTo>
                    <a:pt x="26" y="25"/>
                  </a:lnTo>
                  <a:lnTo>
                    <a:pt x="28" y="25"/>
                  </a:lnTo>
                  <a:lnTo>
                    <a:pt x="28" y="27"/>
                  </a:lnTo>
                  <a:lnTo>
                    <a:pt x="30" y="27"/>
                  </a:lnTo>
                  <a:lnTo>
                    <a:pt x="28" y="27"/>
                  </a:lnTo>
                  <a:lnTo>
                    <a:pt x="30" y="27"/>
                  </a:lnTo>
                  <a:lnTo>
                    <a:pt x="30" y="29"/>
                  </a:lnTo>
                  <a:lnTo>
                    <a:pt x="30" y="27"/>
                  </a:lnTo>
                  <a:lnTo>
                    <a:pt x="32" y="27"/>
                  </a:lnTo>
                  <a:lnTo>
                    <a:pt x="32" y="29"/>
                  </a:lnTo>
                  <a:lnTo>
                    <a:pt x="34" y="29"/>
                  </a:lnTo>
                  <a:lnTo>
                    <a:pt x="32" y="29"/>
                  </a:lnTo>
                  <a:lnTo>
                    <a:pt x="34" y="29"/>
                  </a:lnTo>
                  <a:lnTo>
                    <a:pt x="32" y="29"/>
                  </a:lnTo>
                  <a:lnTo>
                    <a:pt x="34" y="29"/>
                  </a:lnTo>
                  <a:lnTo>
                    <a:pt x="34" y="31"/>
                  </a:lnTo>
                  <a:lnTo>
                    <a:pt x="34" y="29"/>
                  </a:lnTo>
                  <a:lnTo>
                    <a:pt x="34" y="31"/>
                  </a:lnTo>
                  <a:lnTo>
                    <a:pt x="36" y="31"/>
                  </a:lnTo>
                  <a:lnTo>
                    <a:pt x="38" y="31"/>
                  </a:lnTo>
                  <a:lnTo>
                    <a:pt x="38" y="32"/>
                  </a:lnTo>
                  <a:lnTo>
                    <a:pt x="40" y="32"/>
                  </a:lnTo>
                  <a:lnTo>
                    <a:pt x="40" y="34"/>
                  </a:lnTo>
                  <a:lnTo>
                    <a:pt x="40" y="32"/>
                  </a:lnTo>
                  <a:lnTo>
                    <a:pt x="40" y="34"/>
                  </a:lnTo>
                  <a:lnTo>
                    <a:pt x="42" y="34"/>
                  </a:lnTo>
                  <a:lnTo>
                    <a:pt x="40" y="34"/>
                  </a:lnTo>
                  <a:lnTo>
                    <a:pt x="42" y="34"/>
                  </a:lnTo>
                  <a:lnTo>
                    <a:pt x="42" y="36"/>
                  </a:lnTo>
                  <a:lnTo>
                    <a:pt x="44" y="36"/>
                  </a:lnTo>
                  <a:lnTo>
                    <a:pt x="44" y="38"/>
                  </a:lnTo>
                  <a:lnTo>
                    <a:pt x="46" y="38"/>
                  </a:lnTo>
                  <a:lnTo>
                    <a:pt x="48" y="38"/>
                  </a:lnTo>
                  <a:lnTo>
                    <a:pt x="48" y="40"/>
                  </a:lnTo>
                  <a:lnTo>
                    <a:pt x="49" y="40"/>
                  </a:lnTo>
                  <a:lnTo>
                    <a:pt x="49" y="42"/>
                  </a:lnTo>
                  <a:lnTo>
                    <a:pt x="48" y="42"/>
                  </a:lnTo>
                  <a:lnTo>
                    <a:pt x="49" y="42"/>
                  </a:lnTo>
                  <a:close/>
                  <a:moveTo>
                    <a:pt x="57" y="25"/>
                  </a:moveTo>
                  <a:lnTo>
                    <a:pt x="55" y="25"/>
                  </a:lnTo>
                  <a:lnTo>
                    <a:pt x="55" y="27"/>
                  </a:lnTo>
                  <a:lnTo>
                    <a:pt x="55" y="25"/>
                  </a:lnTo>
                  <a:lnTo>
                    <a:pt x="55" y="27"/>
                  </a:lnTo>
                  <a:lnTo>
                    <a:pt x="55" y="25"/>
                  </a:lnTo>
                  <a:lnTo>
                    <a:pt x="53" y="25"/>
                  </a:lnTo>
                  <a:lnTo>
                    <a:pt x="51" y="25"/>
                  </a:lnTo>
                  <a:lnTo>
                    <a:pt x="51" y="23"/>
                  </a:lnTo>
                  <a:lnTo>
                    <a:pt x="49" y="23"/>
                  </a:lnTo>
                  <a:lnTo>
                    <a:pt x="51" y="23"/>
                  </a:lnTo>
                  <a:lnTo>
                    <a:pt x="49" y="23"/>
                  </a:lnTo>
                  <a:lnTo>
                    <a:pt x="49" y="21"/>
                  </a:lnTo>
                  <a:lnTo>
                    <a:pt x="51" y="21"/>
                  </a:lnTo>
                  <a:lnTo>
                    <a:pt x="51" y="19"/>
                  </a:lnTo>
                  <a:lnTo>
                    <a:pt x="49" y="19"/>
                  </a:lnTo>
                  <a:lnTo>
                    <a:pt x="51" y="19"/>
                  </a:lnTo>
                  <a:lnTo>
                    <a:pt x="51" y="17"/>
                  </a:lnTo>
                  <a:lnTo>
                    <a:pt x="53" y="17"/>
                  </a:lnTo>
                  <a:lnTo>
                    <a:pt x="53" y="19"/>
                  </a:lnTo>
                  <a:lnTo>
                    <a:pt x="53" y="21"/>
                  </a:lnTo>
                  <a:lnTo>
                    <a:pt x="53" y="23"/>
                  </a:lnTo>
                  <a:lnTo>
                    <a:pt x="55" y="23"/>
                  </a:lnTo>
                  <a:lnTo>
                    <a:pt x="55" y="25"/>
                  </a:lnTo>
                  <a:lnTo>
                    <a:pt x="55" y="23"/>
                  </a:lnTo>
                  <a:lnTo>
                    <a:pt x="57" y="23"/>
                  </a:lnTo>
                  <a:lnTo>
                    <a:pt x="57" y="25"/>
                  </a:lnTo>
                  <a:close/>
                  <a:moveTo>
                    <a:pt x="67" y="31"/>
                  </a:moveTo>
                  <a:lnTo>
                    <a:pt x="67" y="32"/>
                  </a:lnTo>
                  <a:lnTo>
                    <a:pt x="65" y="32"/>
                  </a:lnTo>
                  <a:lnTo>
                    <a:pt x="67" y="32"/>
                  </a:lnTo>
                  <a:lnTo>
                    <a:pt x="65" y="32"/>
                  </a:lnTo>
                  <a:lnTo>
                    <a:pt x="63" y="32"/>
                  </a:lnTo>
                  <a:lnTo>
                    <a:pt x="61" y="32"/>
                  </a:lnTo>
                  <a:lnTo>
                    <a:pt x="63" y="32"/>
                  </a:lnTo>
                  <a:lnTo>
                    <a:pt x="63" y="31"/>
                  </a:lnTo>
                  <a:lnTo>
                    <a:pt x="61" y="31"/>
                  </a:lnTo>
                  <a:lnTo>
                    <a:pt x="61" y="29"/>
                  </a:lnTo>
                  <a:lnTo>
                    <a:pt x="63" y="29"/>
                  </a:lnTo>
                  <a:lnTo>
                    <a:pt x="65" y="29"/>
                  </a:lnTo>
                  <a:lnTo>
                    <a:pt x="63" y="29"/>
                  </a:lnTo>
                  <a:lnTo>
                    <a:pt x="63" y="31"/>
                  </a:lnTo>
                  <a:lnTo>
                    <a:pt x="65" y="31"/>
                  </a:lnTo>
                  <a:lnTo>
                    <a:pt x="67" y="31"/>
                  </a:lnTo>
                  <a:close/>
                  <a:moveTo>
                    <a:pt x="55" y="48"/>
                  </a:moveTo>
                  <a:lnTo>
                    <a:pt x="57" y="48"/>
                  </a:lnTo>
                  <a:lnTo>
                    <a:pt x="57" y="50"/>
                  </a:lnTo>
                  <a:lnTo>
                    <a:pt x="55" y="50"/>
                  </a:lnTo>
                  <a:lnTo>
                    <a:pt x="55" y="48"/>
                  </a:lnTo>
                  <a:close/>
                  <a:moveTo>
                    <a:pt x="46" y="15"/>
                  </a:moveTo>
                  <a:lnTo>
                    <a:pt x="44" y="15"/>
                  </a:lnTo>
                  <a:lnTo>
                    <a:pt x="44" y="17"/>
                  </a:lnTo>
                  <a:lnTo>
                    <a:pt x="44" y="19"/>
                  </a:lnTo>
                  <a:lnTo>
                    <a:pt x="42" y="19"/>
                  </a:lnTo>
                  <a:lnTo>
                    <a:pt x="42" y="17"/>
                  </a:lnTo>
                  <a:lnTo>
                    <a:pt x="44" y="17"/>
                  </a:lnTo>
                  <a:lnTo>
                    <a:pt x="44" y="15"/>
                  </a:lnTo>
                  <a:lnTo>
                    <a:pt x="44" y="13"/>
                  </a:lnTo>
                  <a:lnTo>
                    <a:pt x="44" y="15"/>
                  </a:lnTo>
                  <a:lnTo>
                    <a:pt x="46" y="15"/>
                  </a:lnTo>
                  <a:close/>
                  <a:moveTo>
                    <a:pt x="0" y="2"/>
                  </a:moveTo>
                  <a:lnTo>
                    <a:pt x="1" y="2"/>
                  </a:lnTo>
                  <a:lnTo>
                    <a:pt x="1" y="4"/>
                  </a:lnTo>
                  <a:lnTo>
                    <a:pt x="0" y="4"/>
                  </a:lnTo>
                  <a:lnTo>
                    <a:pt x="0" y="2"/>
                  </a:lnTo>
                  <a:close/>
                  <a:moveTo>
                    <a:pt x="46" y="44"/>
                  </a:moveTo>
                  <a:lnTo>
                    <a:pt x="48" y="44"/>
                  </a:lnTo>
                  <a:lnTo>
                    <a:pt x="48" y="46"/>
                  </a:lnTo>
                  <a:lnTo>
                    <a:pt x="46" y="46"/>
                  </a:lnTo>
                  <a:lnTo>
                    <a:pt x="46" y="44"/>
                  </a:lnTo>
                  <a:close/>
                  <a:moveTo>
                    <a:pt x="7" y="8"/>
                  </a:moveTo>
                  <a:lnTo>
                    <a:pt x="9" y="8"/>
                  </a:lnTo>
                  <a:lnTo>
                    <a:pt x="9" y="9"/>
                  </a:lnTo>
                  <a:lnTo>
                    <a:pt x="7" y="9"/>
                  </a:lnTo>
                  <a:lnTo>
                    <a:pt x="7" y="8"/>
                  </a:lnTo>
                  <a:close/>
                  <a:moveTo>
                    <a:pt x="5" y="8"/>
                  </a:moveTo>
                  <a:lnTo>
                    <a:pt x="5" y="9"/>
                  </a:lnTo>
                  <a:lnTo>
                    <a:pt x="5" y="8"/>
                  </a:lnTo>
                  <a:close/>
                  <a:moveTo>
                    <a:pt x="3" y="8"/>
                  </a:moveTo>
                  <a:lnTo>
                    <a:pt x="3" y="9"/>
                  </a:lnTo>
                  <a:lnTo>
                    <a:pt x="3" y="8"/>
                  </a:lnTo>
                  <a:close/>
                  <a:moveTo>
                    <a:pt x="0" y="0"/>
                  </a:moveTo>
                  <a:lnTo>
                    <a:pt x="0" y="2"/>
                  </a:lnTo>
                  <a:lnTo>
                    <a:pt x="0" y="0"/>
                  </a:lnTo>
                  <a:close/>
                  <a:moveTo>
                    <a:pt x="36" y="38"/>
                  </a:moveTo>
                  <a:lnTo>
                    <a:pt x="36" y="40"/>
                  </a:lnTo>
                  <a:lnTo>
                    <a:pt x="36" y="38"/>
                  </a:lnTo>
                  <a:close/>
                  <a:moveTo>
                    <a:pt x="34" y="38"/>
                  </a:moveTo>
                  <a:lnTo>
                    <a:pt x="36" y="38"/>
                  </a:lnTo>
                  <a:lnTo>
                    <a:pt x="34" y="38"/>
                  </a:lnTo>
                  <a:close/>
                  <a:moveTo>
                    <a:pt x="40" y="19"/>
                  </a:moveTo>
                  <a:lnTo>
                    <a:pt x="42" y="19"/>
                  </a:lnTo>
                  <a:lnTo>
                    <a:pt x="40" y="19"/>
                  </a:lnTo>
                  <a:close/>
                  <a:moveTo>
                    <a:pt x="3" y="9"/>
                  </a:moveTo>
                  <a:lnTo>
                    <a:pt x="5" y="9"/>
                  </a:lnTo>
                  <a:lnTo>
                    <a:pt x="3" y="9"/>
                  </a:lnTo>
                  <a:close/>
                  <a:moveTo>
                    <a:pt x="42" y="13"/>
                  </a:moveTo>
                  <a:lnTo>
                    <a:pt x="44" y="13"/>
                  </a:lnTo>
                  <a:lnTo>
                    <a:pt x="42" y="13"/>
                  </a:lnTo>
                  <a:close/>
                  <a:moveTo>
                    <a:pt x="7" y="11"/>
                  </a:moveTo>
                  <a:lnTo>
                    <a:pt x="7" y="13"/>
                  </a:lnTo>
                  <a:lnTo>
                    <a:pt x="7" y="11"/>
                  </a:lnTo>
                  <a:close/>
                  <a:moveTo>
                    <a:pt x="1" y="4"/>
                  </a:moveTo>
                  <a:lnTo>
                    <a:pt x="1" y="6"/>
                  </a:lnTo>
                  <a:lnTo>
                    <a:pt x="1" y="4"/>
                  </a:lnTo>
                  <a:close/>
                  <a:moveTo>
                    <a:pt x="49" y="42"/>
                  </a:moveTo>
                  <a:lnTo>
                    <a:pt x="49" y="44"/>
                  </a:lnTo>
                  <a:lnTo>
                    <a:pt x="49" y="42"/>
                  </a:lnTo>
                  <a:close/>
                  <a:moveTo>
                    <a:pt x="38" y="17"/>
                  </a:moveTo>
                  <a:lnTo>
                    <a:pt x="40" y="17"/>
                  </a:lnTo>
                  <a:lnTo>
                    <a:pt x="38" y="17"/>
                  </a:lnTo>
                  <a:close/>
                  <a:moveTo>
                    <a:pt x="7" y="11"/>
                  </a:moveTo>
                  <a:lnTo>
                    <a:pt x="7" y="13"/>
                  </a:lnTo>
                  <a:lnTo>
                    <a:pt x="7" y="11"/>
                  </a:lnTo>
                  <a:close/>
                  <a:moveTo>
                    <a:pt x="55" y="50"/>
                  </a:moveTo>
                  <a:lnTo>
                    <a:pt x="57" y="50"/>
                  </a:lnTo>
                  <a:lnTo>
                    <a:pt x="55" y="50"/>
                  </a:lnTo>
                  <a:close/>
                  <a:moveTo>
                    <a:pt x="124" y="44"/>
                  </a:moveTo>
                  <a:lnTo>
                    <a:pt x="124" y="46"/>
                  </a:lnTo>
                  <a:lnTo>
                    <a:pt x="124" y="44"/>
                  </a:lnTo>
                  <a:close/>
                  <a:moveTo>
                    <a:pt x="9" y="11"/>
                  </a:moveTo>
                  <a:lnTo>
                    <a:pt x="11" y="11"/>
                  </a:lnTo>
                  <a:lnTo>
                    <a:pt x="9" y="11"/>
                  </a:lnTo>
                  <a:close/>
                  <a:moveTo>
                    <a:pt x="36" y="13"/>
                  </a:moveTo>
                  <a:lnTo>
                    <a:pt x="38" y="13"/>
                  </a:lnTo>
                  <a:lnTo>
                    <a:pt x="36" y="13"/>
                  </a:lnTo>
                  <a:close/>
                  <a:moveTo>
                    <a:pt x="38" y="38"/>
                  </a:moveTo>
                  <a:lnTo>
                    <a:pt x="38" y="40"/>
                  </a:lnTo>
                  <a:lnTo>
                    <a:pt x="38" y="38"/>
                  </a:lnTo>
                  <a:close/>
                  <a:moveTo>
                    <a:pt x="40" y="42"/>
                  </a:moveTo>
                  <a:lnTo>
                    <a:pt x="42" y="42"/>
                  </a:lnTo>
                  <a:lnTo>
                    <a:pt x="40" y="42"/>
                  </a:lnTo>
                  <a:close/>
                  <a:moveTo>
                    <a:pt x="57" y="48"/>
                  </a:moveTo>
                  <a:lnTo>
                    <a:pt x="57" y="50"/>
                  </a:lnTo>
                  <a:lnTo>
                    <a:pt x="57" y="48"/>
                  </a:lnTo>
                  <a:close/>
                  <a:moveTo>
                    <a:pt x="40" y="15"/>
                  </a:moveTo>
                  <a:lnTo>
                    <a:pt x="42" y="15"/>
                  </a:lnTo>
                  <a:lnTo>
                    <a:pt x="40" y="15"/>
                  </a:lnTo>
                  <a:close/>
                  <a:moveTo>
                    <a:pt x="40" y="17"/>
                  </a:moveTo>
                  <a:lnTo>
                    <a:pt x="40" y="19"/>
                  </a:lnTo>
                  <a:lnTo>
                    <a:pt x="40" y="17"/>
                  </a:lnTo>
                  <a:close/>
                  <a:moveTo>
                    <a:pt x="57" y="50"/>
                  </a:moveTo>
                  <a:lnTo>
                    <a:pt x="57" y="52"/>
                  </a:lnTo>
                  <a:lnTo>
                    <a:pt x="57" y="50"/>
                  </a:lnTo>
                  <a:close/>
                  <a:moveTo>
                    <a:pt x="40" y="15"/>
                  </a:moveTo>
                  <a:lnTo>
                    <a:pt x="42" y="15"/>
                  </a:lnTo>
                  <a:lnTo>
                    <a:pt x="40" y="15"/>
                  </a:lnTo>
                  <a:close/>
                  <a:moveTo>
                    <a:pt x="57" y="50"/>
                  </a:moveTo>
                  <a:lnTo>
                    <a:pt x="59" y="50"/>
                  </a:lnTo>
                  <a:lnTo>
                    <a:pt x="57" y="50"/>
                  </a:lnTo>
                  <a:close/>
                  <a:moveTo>
                    <a:pt x="5" y="9"/>
                  </a:moveTo>
                  <a:lnTo>
                    <a:pt x="7" y="9"/>
                  </a:lnTo>
                  <a:lnTo>
                    <a:pt x="5" y="9"/>
                  </a:lnTo>
                  <a:close/>
                  <a:moveTo>
                    <a:pt x="36" y="38"/>
                  </a:moveTo>
                  <a:lnTo>
                    <a:pt x="38" y="38"/>
                  </a:lnTo>
                  <a:lnTo>
                    <a:pt x="36" y="38"/>
                  </a:lnTo>
                  <a:close/>
                  <a:moveTo>
                    <a:pt x="30" y="34"/>
                  </a:moveTo>
                  <a:lnTo>
                    <a:pt x="30" y="36"/>
                  </a:lnTo>
                  <a:lnTo>
                    <a:pt x="30" y="34"/>
                  </a:lnTo>
                  <a:close/>
                  <a:moveTo>
                    <a:pt x="42" y="13"/>
                  </a:moveTo>
                  <a:lnTo>
                    <a:pt x="42" y="15"/>
                  </a:lnTo>
                  <a:lnTo>
                    <a:pt x="42" y="13"/>
                  </a:lnTo>
                  <a:close/>
                  <a:moveTo>
                    <a:pt x="44" y="46"/>
                  </a:moveTo>
                  <a:lnTo>
                    <a:pt x="44" y="48"/>
                  </a:lnTo>
                  <a:lnTo>
                    <a:pt x="44" y="46"/>
                  </a:lnTo>
                  <a:close/>
                  <a:moveTo>
                    <a:pt x="55" y="46"/>
                  </a:moveTo>
                  <a:lnTo>
                    <a:pt x="55" y="48"/>
                  </a:lnTo>
                  <a:lnTo>
                    <a:pt x="55" y="46"/>
                  </a:lnTo>
                  <a:close/>
                  <a:moveTo>
                    <a:pt x="1" y="8"/>
                  </a:moveTo>
                  <a:lnTo>
                    <a:pt x="1" y="9"/>
                  </a:lnTo>
                  <a:lnTo>
                    <a:pt x="1" y="8"/>
                  </a:lnTo>
                  <a:close/>
                  <a:moveTo>
                    <a:pt x="42" y="42"/>
                  </a:moveTo>
                  <a:lnTo>
                    <a:pt x="42" y="44"/>
                  </a:lnTo>
                  <a:lnTo>
                    <a:pt x="42" y="42"/>
                  </a:lnTo>
                  <a:close/>
                  <a:moveTo>
                    <a:pt x="21" y="19"/>
                  </a:moveTo>
                  <a:lnTo>
                    <a:pt x="23" y="19"/>
                  </a:lnTo>
                  <a:lnTo>
                    <a:pt x="21" y="19"/>
                  </a:lnTo>
                  <a:close/>
                  <a:moveTo>
                    <a:pt x="48" y="46"/>
                  </a:moveTo>
                  <a:lnTo>
                    <a:pt x="49" y="46"/>
                  </a:lnTo>
                  <a:lnTo>
                    <a:pt x="48" y="46"/>
                  </a:lnTo>
                  <a:close/>
                  <a:moveTo>
                    <a:pt x="3" y="13"/>
                  </a:moveTo>
                  <a:lnTo>
                    <a:pt x="5" y="13"/>
                  </a:lnTo>
                  <a:lnTo>
                    <a:pt x="3" y="13"/>
                  </a:lnTo>
                  <a:close/>
                  <a:moveTo>
                    <a:pt x="46" y="46"/>
                  </a:moveTo>
                  <a:lnTo>
                    <a:pt x="46" y="48"/>
                  </a:lnTo>
                  <a:lnTo>
                    <a:pt x="46" y="46"/>
                  </a:lnTo>
                  <a:close/>
                  <a:moveTo>
                    <a:pt x="3" y="11"/>
                  </a:moveTo>
                  <a:lnTo>
                    <a:pt x="3" y="13"/>
                  </a:lnTo>
                  <a:lnTo>
                    <a:pt x="3" y="11"/>
                  </a:lnTo>
                  <a:close/>
                  <a:moveTo>
                    <a:pt x="38" y="17"/>
                  </a:moveTo>
                  <a:lnTo>
                    <a:pt x="40" y="17"/>
                  </a:lnTo>
                  <a:lnTo>
                    <a:pt x="38" y="1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3" name="Freeform 432">
              <a:extLst>
                <a:ext uri="{FF2B5EF4-FFF2-40B4-BE49-F238E27FC236}">
                  <a16:creationId xmlns:a16="http://schemas.microsoft.com/office/drawing/2014/main" id="{DAB86EFF-8289-4599-9131-64E4A388394D}"/>
                </a:ext>
              </a:extLst>
            </p:cNvPr>
            <p:cNvSpPr>
              <a:spLocks noEditPoints="1"/>
            </p:cNvSpPr>
            <p:nvPr/>
          </p:nvSpPr>
          <p:spPr bwMode="gray">
            <a:xfrm>
              <a:off x="6198169" y="4604457"/>
              <a:ext cx="64998" cy="133675"/>
            </a:xfrm>
            <a:custGeom>
              <a:avLst/>
              <a:gdLst>
                <a:gd name="T0" fmla="*/ 4 w 53"/>
                <a:gd name="T1" fmla="*/ 38 h 109"/>
                <a:gd name="T2" fmla="*/ 2 w 53"/>
                <a:gd name="T3" fmla="*/ 34 h 109"/>
                <a:gd name="T4" fmla="*/ 0 w 53"/>
                <a:gd name="T5" fmla="*/ 31 h 109"/>
                <a:gd name="T6" fmla="*/ 0 w 53"/>
                <a:gd name="T7" fmla="*/ 25 h 109"/>
                <a:gd name="T8" fmla="*/ 4 w 53"/>
                <a:gd name="T9" fmla="*/ 31 h 109"/>
                <a:gd name="T10" fmla="*/ 7 w 53"/>
                <a:gd name="T11" fmla="*/ 29 h 109"/>
                <a:gd name="T12" fmla="*/ 5 w 53"/>
                <a:gd name="T13" fmla="*/ 29 h 109"/>
                <a:gd name="T14" fmla="*/ 7 w 53"/>
                <a:gd name="T15" fmla="*/ 33 h 109"/>
                <a:gd name="T16" fmla="*/ 7 w 53"/>
                <a:gd name="T17" fmla="*/ 34 h 109"/>
                <a:gd name="T18" fmla="*/ 17 w 53"/>
                <a:gd name="T19" fmla="*/ 52 h 109"/>
                <a:gd name="T20" fmla="*/ 13 w 53"/>
                <a:gd name="T21" fmla="*/ 54 h 109"/>
                <a:gd name="T22" fmla="*/ 11 w 53"/>
                <a:gd name="T23" fmla="*/ 50 h 109"/>
                <a:gd name="T24" fmla="*/ 9 w 53"/>
                <a:gd name="T25" fmla="*/ 46 h 109"/>
                <a:gd name="T26" fmla="*/ 11 w 53"/>
                <a:gd name="T27" fmla="*/ 42 h 109"/>
                <a:gd name="T28" fmla="*/ 15 w 53"/>
                <a:gd name="T29" fmla="*/ 48 h 109"/>
                <a:gd name="T30" fmla="*/ 17 w 53"/>
                <a:gd name="T31" fmla="*/ 52 h 109"/>
                <a:gd name="T32" fmla="*/ 36 w 53"/>
                <a:gd name="T33" fmla="*/ 88 h 109"/>
                <a:gd name="T34" fmla="*/ 38 w 53"/>
                <a:gd name="T35" fmla="*/ 84 h 109"/>
                <a:gd name="T36" fmla="*/ 28 w 53"/>
                <a:gd name="T37" fmla="*/ 71 h 109"/>
                <a:gd name="T38" fmla="*/ 23 w 53"/>
                <a:gd name="T39" fmla="*/ 71 h 109"/>
                <a:gd name="T40" fmla="*/ 25 w 53"/>
                <a:gd name="T41" fmla="*/ 67 h 109"/>
                <a:gd name="T42" fmla="*/ 28 w 53"/>
                <a:gd name="T43" fmla="*/ 69 h 109"/>
                <a:gd name="T44" fmla="*/ 21 w 53"/>
                <a:gd name="T45" fmla="*/ 48 h 109"/>
                <a:gd name="T46" fmla="*/ 23 w 53"/>
                <a:gd name="T47" fmla="*/ 48 h 109"/>
                <a:gd name="T48" fmla="*/ 38 w 53"/>
                <a:gd name="T49" fmla="*/ 100 h 109"/>
                <a:gd name="T50" fmla="*/ 40 w 53"/>
                <a:gd name="T51" fmla="*/ 96 h 109"/>
                <a:gd name="T52" fmla="*/ 23 w 53"/>
                <a:gd name="T53" fmla="*/ 44 h 109"/>
                <a:gd name="T54" fmla="*/ 23 w 53"/>
                <a:gd name="T55" fmla="*/ 38 h 109"/>
                <a:gd name="T56" fmla="*/ 23 w 53"/>
                <a:gd name="T57" fmla="*/ 36 h 109"/>
                <a:gd name="T58" fmla="*/ 27 w 53"/>
                <a:gd name="T59" fmla="*/ 56 h 109"/>
                <a:gd name="T60" fmla="*/ 27 w 53"/>
                <a:gd name="T61" fmla="*/ 58 h 109"/>
                <a:gd name="T62" fmla="*/ 23 w 53"/>
                <a:gd name="T63" fmla="*/ 52 h 109"/>
                <a:gd name="T64" fmla="*/ 21 w 53"/>
                <a:gd name="T65" fmla="*/ 33 h 109"/>
                <a:gd name="T66" fmla="*/ 15 w 53"/>
                <a:gd name="T67" fmla="*/ 36 h 109"/>
                <a:gd name="T68" fmla="*/ 21 w 53"/>
                <a:gd name="T69" fmla="*/ 33 h 109"/>
                <a:gd name="T70" fmla="*/ 11 w 53"/>
                <a:gd name="T71" fmla="*/ 9 h 109"/>
                <a:gd name="T72" fmla="*/ 11 w 53"/>
                <a:gd name="T73" fmla="*/ 17 h 109"/>
                <a:gd name="T74" fmla="*/ 23 w 53"/>
                <a:gd name="T75" fmla="*/ 33 h 109"/>
                <a:gd name="T76" fmla="*/ 23 w 53"/>
                <a:gd name="T77" fmla="*/ 31 h 109"/>
                <a:gd name="T78" fmla="*/ 23 w 53"/>
                <a:gd name="T79" fmla="*/ 29 h 109"/>
                <a:gd name="T80" fmla="*/ 21 w 53"/>
                <a:gd name="T81" fmla="*/ 29 h 109"/>
                <a:gd name="T82" fmla="*/ 9 w 53"/>
                <a:gd name="T83" fmla="*/ 38 h 109"/>
                <a:gd name="T84" fmla="*/ 48 w 53"/>
                <a:gd name="T85" fmla="*/ 107 h 109"/>
                <a:gd name="T86" fmla="*/ 9 w 53"/>
                <a:gd name="T87" fmla="*/ 36 h 109"/>
                <a:gd name="T88" fmla="*/ 0 w 53"/>
                <a:gd name="T89" fmla="*/ 2 h 109"/>
                <a:gd name="T90" fmla="*/ 9 w 53"/>
                <a:gd name="T91" fmla="*/ 8 h 109"/>
                <a:gd name="T92" fmla="*/ 15 w 53"/>
                <a:gd name="T93" fmla="*/ 9 h 109"/>
                <a:gd name="T94" fmla="*/ 25 w 53"/>
                <a:gd name="T95" fmla="*/ 61 h 109"/>
                <a:gd name="T96" fmla="*/ 23 w 53"/>
                <a:gd name="T97" fmla="*/ 52 h 109"/>
                <a:gd name="T98" fmla="*/ 25 w 53"/>
                <a:gd name="T99" fmla="*/ 67 h 109"/>
                <a:gd name="T100" fmla="*/ 2 w 53"/>
                <a:gd name="T101" fmla="*/ 4 h 109"/>
                <a:gd name="T102" fmla="*/ 9 w 53"/>
                <a:gd name="T103" fmla="*/ 36 h 109"/>
                <a:gd name="T104" fmla="*/ 7 w 53"/>
                <a:gd name="T105" fmla="*/ 29 h 109"/>
                <a:gd name="T106" fmla="*/ 27 w 53"/>
                <a:gd name="T107" fmla="*/ 67 h 109"/>
                <a:gd name="T108" fmla="*/ 23 w 53"/>
                <a:gd name="T109" fmla="*/ 67 h 109"/>
                <a:gd name="T110" fmla="*/ 9 w 53"/>
                <a:gd name="T111" fmla="*/ 33 h 109"/>
                <a:gd name="T112" fmla="*/ 11 w 53"/>
                <a:gd name="T113" fmla="*/ 46 h 109"/>
                <a:gd name="T114" fmla="*/ 11 w 53"/>
                <a:gd name="T115" fmla="*/ 44 h 109"/>
                <a:gd name="T116" fmla="*/ 28 w 53"/>
                <a:gd name="T117" fmla="*/ 59 h 109"/>
                <a:gd name="T118" fmla="*/ 25 w 53"/>
                <a:gd name="T119" fmla="*/ 56 h 109"/>
                <a:gd name="T120" fmla="*/ 7 w 53"/>
                <a:gd name="T121" fmla="*/ 34 h 109"/>
                <a:gd name="T122" fmla="*/ 19 w 53"/>
                <a:gd name="T123" fmla="*/ 5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 h="109">
                  <a:moveTo>
                    <a:pt x="9" y="36"/>
                  </a:moveTo>
                  <a:lnTo>
                    <a:pt x="7" y="36"/>
                  </a:lnTo>
                  <a:lnTo>
                    <a:pt x="7" y="38"/>
                  </a:lnTo>
                  <a:lnTo>
                    <a:pt x="5" y="38"/>
                  </a:lnTo>
                  <a:lnTo>
                    <a:pt x="4" y="38"/>
                  </a:lnTo>
                  <a:lnTo>
                    <a:pt x="2" y="38"/>
                  </a:lnTo>
                  <a:lnTo>
                    <a:pt x="2" y="36"/>
                  </a:lnTo>
                  <a:lnTo>
                    <a:pt x="2" y="34"/>
                  </a:lnTo>
                  <a:lnTo>
                    <a:pt x="0" y="34"/>
                  </a:lnTo>
                  <a:lnTo>
                    <a:pt x="2" y="34"/>
                  </a:lnTo>
                  <a:lnTo>
                    <a:pt x="0" y="34"/>
                  </a:lnTo>
                  <a:lnTo>
                    <a:pt x="0" y="33"/>
                  </a:lnTo>
                  <a:lnTo>
                    <a:pt x="2" y="33"/>
                  </a:lnTo>
                  <a:lnTo>
                    <a:pt x="0" y="33"/>
                  </a:lnTo>
                  <a:lnTo>
                    <a:pt x="0" y="31"/>
                  </a:lnTo>
                  <a:lnTo>
                    <a:pt x="0" y="29"/>
                  </a:lnTo>
                  <a:lnTo>
                    <a:pt x="0" y="27"/>
                  </a:lnTo>
                  <a:lnTo>
                    <a:pt x="0" y="25"/>
                  </a:lnTo>
                  <a:lnTo>
                    <a:pt x="0" y="23"/>
                  </a:lnTo>
                  <a:lnTo>
                    <a:pt x="0" y="25"/>
                  </a:lnTo>
                  <a:lnTo>
                    <a:pt x="2" y="25"/>
                  </a:lnTo>
                  <a:lnTo>
                    <a:pt x="2" y="27"/>
                  </a:lnTo>
                  <a:lnTo>
                    <a:pt x="2" y="29"/>
                  </a:lnTo>
                  <a:lnTo>
                    <a:pt x="4" y="29"/>
                  </a:lnTo>
                  <a:lnTo>
                    <a:pt x="4" y="31"/>
                  </a:lnTo>
                  <a:lnTo>
                    <a:pt x="5" y="31"/>
                  </a:lnTo>
                  <a:lnTo>
                    <a:pt x="5" y="29"/>
                  </a:lnTo>
                  <a:lnTo>
                    <a:pt x="5" y="27"/>
                  </a:lnTo>
                  <a:lnTo>
                    <a:pt x="5" y="29"/>
                  </a:lnTo>
                  <a:lnTo>
                    <a:pt x="7" y="29"/>
                  </a:lnTo>
                  <a:lnTo>
                    <a:pt x="7" y="27"/>
                  </a:lnTo>
                  <a:lnTo>
                    <a:pt x="7" y="29"/>
                  </a:lnTo>
                  <a:lnTo>
                    <a:pt x="7" y="27"/>
                  </a:lnTo>
                  <a:lnTo>
                    <a:pt x="7" y="29"/>
                  </a:lnTo>
                  <a:lnTo>
                    <a:pt x="5" y="29"/>
                  </a:lnTo>
                  <a:lnTo>
                    <a:pt x="7" y="29"/>
                  </a:lnTo>
                  <a:lnTo>
                    <a:pt x="5" y="29"/>
                  </a:lnTo>
                  <a:lnTo>
                    <a:pt x="7" y="29"/>
                  </a:lnTo>
                  <a:lnTo>
                    <a:pt x="7" y="31"/>
                  </a:lnTo>
                  <a:lnTo>
                    <a:pt x="7" y="33"/>
                  </a:lnTo>
                  <a:lnTo>
                    <a:pt x="9" y="33"/>
                  </a:lnTo>
                  <a:lnTo>
                    <a:pt x="9" y="34"/>
                  </a:lnTo>
                  <a:lnTo>
                    <a:pt x="7" y="34"/>
                  </a:lnTo>
                  <a:lnTo>
                    <a:pt x="9" y="34"/>
                  </a:lnTo>
                  <a:lnTo>
                    <a:pt x="7" y="34"/>
                  </a:lnTo>
                  <a:lnTo>
                    <a:pt x="9" y="34"/>
                  </a:lnTo>
                  <a:lnTo>
                    <a:pt x="9" y="36"/>
                  </a:lnTo>
                  <a:close/>
                  <a:moveTo>
                    <a:pt x="17" y="52"/>
                  </a:moveTo>
                  <a:lnTo>
                    <a:pt x="15" y="52"/>
                  </a:lnTo>
                  <a:lnTo>
                    <a:pt x="17" y="52"/>
                  </a:lnTo>
                  <a:lnTo>
                    <a:pt x="15" y="52"/>
                  </a:lnTo>
                  <a:lnTo>
                    <a:pt x="13" y="52"/>
                  </a:lnTo>
                  <a:lnTo>
                    <a:pt x="15" y="52"/>
                  </a:lnTo>
                  <a:lnTo>
                    <a:pt x="13" y="52"/>
                  </a:lnTo>
                  <a:lnTo>
                    <a:pt x="13" y="54"/>
                  </a:lnTo>
                  <a:lnTo>
                    <a:pt x="13" y="52"/>
                  </a:lnTo>
                  <a:lnTo>
                    <a:pt x="13" y="54"/>
                  </a:lnTo>
                  <a:lnTo>
                    <a:pt x="13" y="52"/>
                  </a:lnTo>
                  <a:lnTo>
                    <a:pt x="11" y="52"/>
                  </a:lnTo>
                  <a:lnTo>
                    <a:pt x="11" y="50"/>
                  </a:lnTo>
                  <a:lnTo>
                    <a:pt x="11" y="48"/>
                  </a:lnTo>
                  <a:lnTo>
                    <a:pt x="11" y="46"/>
                  </a:lnTo>
                  <a:lnTo>
                    <a:pt x="9" y="46"/>
                  </a:lnTo>
                  <a:lnTo>
                    <a:pt x="7" y="46"/>
                  </a:lnTo>
                  <a:lnTo>
                    <a:pt x="9" y="46"/>
                  </a:lnTo>
                  <a:lnTo>
                    <a:pt x="7" y="46"/>
                  </a:lnTo>
                  <a:lnTo>
                    <a:pt x="7" y="44"/>
                  </a:lnTo>
                  <a:lnTo>
                    <a:pt x="7" y="42"/>
                  </a:lnTo>
                  <a:lnTo>
                    <a:pt x="9" y="42"/>
                  </a:lnTo>
                  <a:lnTo>
                    <a:pt x="11" y="42"/>
                  </a:lnTo>
                  <a:lnTo>
                    <a:pt x="11" y="44"/>
                  </a:lnTo>
                  <a:lnTo>
                    <a:pt x="11" y="46"/>
                  </a:lnTo>
                  <a:lnTo>
                    <a:pt x="13" y="46"/>
                  </a:lnTo>
                  <a:lnTo>
                    <a:pt x="13" y="48"/>
                  </a:lnTo>
                  <a:lnTo>
                    <a:pt x="15" y="48"/>
                  </a:lnTo>
                  <a:lnTo>
                    <a:pt x="17" y="48"/>
                  </a:lnTo>
                  <a:lnTo>
                    <a:pt x="17" y="50"/>
                  </a:lnTo>
                  <a:lnTo>
                    <a:pt x="17" y="52"/>
                  </a:lnTo>
                  <a:lnTo>
                    <a:pt x="17" y="50"/>
                  </a:lnTo>
                  <a:lnTo>
                    <a:pt x="17" y="52"/>
                  </a:lnTo>
                  <a:close/>
                  <a:moveTo>
                    <a:pt x="40" y="88"/>
                  </a:moveTo>
                  <a:lnTo>
                    <a:pt x="40" y="90"/>
                  </a:lnTo>
                  <a:lnTo>
                    <a:pt x="38" y="90"/>
                  </a:lnTo>
                  <a:lnTo>
                    <a:pt x="38" y="88"/>
                  </a:lnTo>
                  <a:lnTo>
                    <a:pt x="36" y="88"/>
                  </a:lnTo>
                  <a:lnTo>
                    <a:pt x="34" y="88"/>
                  </a:lnTo>
                  <a:lnTo>
                    <a:pt x="34" y="86"/>
                  </a:lnTo>
                  <a:lnTo>
                    <a:pt x="34" y="84"/>
                  </a:lnTo>
                  <a:lnTo>
                    <a:pt x="36" y="84"/>
                  </a:lnTo>
                  <a:lnTo>
                    <a:pt x="38" y="84"/>
                  </a:lnTo>
                  <a:lnTo>
                    <a:pt x="38" y="86"/>
                  </a:lnTo>
                  <a:lnTo>
                    <a:pt x="38" y="88"/>
                  </a:lnTo>
                  <a:lnTo>
                    <a:pt x="40" y="88"/>
                  </a:lnTo>
                  <a:close/>
                  <a:moveTo>
                    <a:pt x="28" y="69"/>
                  </a:moveTo>
                  <a:lnTo>
                    <a:pt x="28" y="71"/>
                  </a:lnTo>
                  <a:lnTo>
                    <a:pt x="27" y="71"/>
                  </a:lnTo>
                  <a:lnTo>
                    <a:pt x="25" y="71"/>
                  </a:lnTo>
                  <a:lnTo>
                    <a:pt x="25" y="69"/>
                  </a:lnTo>
                  <a:lnTo>
                    <a:pt x="23" y="69"/>
                  </a:lnTo>
                  <a:lnTo>
                    <a:pt x="23" y="71"/>
                  </a:lnTo>
                  <a:lnTo>
                    <a:pt x="23" y="69"/>
                  </a:lnTo>
                  <a:lnTo>
                    <a:pt x="23" y="71"/>
                  </a:lnTo>
                  <a:lnTo>
                    <a:pt x="23" y="69"/>
                  </a:lnTo>
                  <a:lnTo>
                    <a:pt x="25" y="69"/>
                  </a:lnTo>
                  <a:lnTo>
                    <a:pt x="25" y="67"/>
                  </a:lnTo>
                  <a:lnTo>
                    <a:pt x="27" y="67"/>
                  </a:lnTo>
                  <a:lnTo>
                    <a:pt x="27" y="69"/>
                  </a:lnTo>
                  <a:lnTo>
                    <a:pt x="28" y="69"/>
                  </a:lnTo>
                  <a:lnTo>
                    <a:pt x="27" y="69"/>
                  </a:lnTo>
                  <a:lnTo>
                    <a:pt x="28" y="69"/>
                  </a:lnTo>
                  <a:close/>
                  <a:moveTo>
                    <a:pt x="25" y="48"/>
                  </a:moveTo>
                  <a:lnTo>
                    <a:pt x="25" y="50"/>
                  </a:lnTo>
                  <a:lnTo>
                    <a:pt x="23" y="50"/>
                  </a:lnTo>
                  <a:lnTo>
                    <a:pt x="21" y="50"/>
                  </a:lnTo>
                  <a:lnTo>
                    <a:pt x="21" y="48"/>
                  </a:lnTo>
                  <a:lnTo>
                    <a:pt x="19" y="48"/>
                  </a:lnTo>
                  <a:lnTo>
                    <a:pt x="19" y="46"/>
                  </a:lnTo>
                  <a:lnTo>
                    <a:pt x="21" y="46"/>
                  </a:lnTo>
                  <a:lnTo>
                    <a:pt x="23" y="46"/>
                  </a:lnTo>
                  <a:lnTo>
                    <a:pt x="23" y="48"/>
                  </a:lnTo>
                  <a:lnTo>
                    <a:pt x="25" y="48"/>
                  </a:lnTo>
                  <a:close/>
                  <a:moveTo>
                    <a:pt x="42" y="98"/>
                  </a:moveTo>
                  <a:lnTo>
                    <a:pt x="42" y="100"/>
                  </a:lnTo>
                  <a:lnTo>
                    <a:pt x="40" y="100"/>
                  </a:lnTo>
                  <a:lnTo>
                    <a:pt x="38" y="100"/>
                  </a:lnTo>
                  <a:lnTo>
                    <a:pt x="38" y="98"/>
                  </a:lnTo>
                  <a:lnTo>
                    <a:pt x="38" y="96"/>
                  </a:lnTo>
                  <a:lnTo>
                    <a:pt x="38" y="94"/>
                  </a:lnTo>
                  <a:lnTo>
                    <a:pt x="40" y="94"/>
                  </a:lnTo>
                  <a:lnTo>
                    <a:pt x="40" y="96"/>
                  </a:lnTo>
                  <a:lnTo>
                    <a:pt x="40" y="98"/>
                  </a:lnTo>
                  <a:lnTo>
                    <a:pt x="42" y="98"/>
                  </a:lnTo>
                  <a:close/>
                  <a:moveTo>
                    <a:pt x="25" y="42"/>
                  </a:moveTo>
                  <a:lnTo>
                    <a:pt x="25" y="44"/>
                  </a:lnTo>
                  <a:lnTo>
                    <a:pt x="23" y="44"/>
                  </a:lnTo>
                  <a:lnTo>
                    <a:pt x="23" y="42"/>
                  </a:lnTo>
                  <a:lnTo>
                    <a:pt x="23" y="40"/>
                  </a:lnTo>
                  <a:lnTo>
                    <a:pt x="23" y="38"/>
                  </a:lnTo>
                  <a:lnTo>
                    <a:pt x="21" y="38"/>
                  </a:lnTo>
                  <a:lnTo>
                    <a:pt x="23" y="38"/>
                  </a:lnTo>
                  <a:lnTo>
                    <a:pt x="23" y="36"/>
                  </a:lnTo>
                  <a:lnTo>
                    <a:pt x="23" y="34"/>
                  </a:lnTo>
                  <a:lnTo>
                    <a:pt x="23" y="36"/>
                  </a:lnTo>
                  <a:lnTo>
                    <a:pt x="23" y="34"/>
                  </a:lnTo>
                  <a:lnTo>
                    <a:pt x="23" y="36"/>
                  </a:lnTo>
                  <a:lnTo>
                    <a:pt x="23" y="38"/>
                  </a:lnTo>
                  <a:lnTo>
                    <a:pt x="23" y="40"/>
                  </a:lnTo>
                  <a:lnTo>
                    <a:pt x="25" y="40"/>
                  </a:lnTo>
                  <a:lnTo>
                    <a:pt x="25" y="42"/>
                  </a:lnTo>
                  <a:close/>
                  <a:moveTo>
                    <a:pt x="27" y="56"/>
                  </a:moveTo>
                  <a:lnTo>
                    <a:pt x="27" y="58"/>
                  </a:lnTo>
                  <a:lnTo>
                    <a:pt x="27" y="56"/>
                  </a:lnTo>
                  <a:lnTo>
                    <a:pt x="27" y="58"/>
                  </a:lnTo>
                  <a:lnTo>
                    <a:pt x="27" y="56"/>
                  </a:lnTo>
                  <a:lnTo>
                    <a:pt x="27" y="58"/>
                  </a:lnTo>
                  <a:lnTo>
                    <a:pt x="27" y="56"/>
                  </a:lnTo>
                  <a:lnTo>
                    <a:pt x="25" y="56"/>
                  </a:lnTo>
                  <a:lnTo>
                    <a:pt x="23" y="56"/>
                  </a:lnTo>
                  <a:lnTo>
                    <a:pt x="23" y="54"/>
                  </a:lnTo>
                  <a:lnTo>
                    <a:pt x="23" y="52"/>
                  </a:lnTo>
                  <a:lnTo>
                    <a:pt x="23" y="54"/>
                  </a:lnTo>
                  <a:lnTo>
                    <a:pt x="25" y="54"/>
                  </a:lnTo>
                  <a:lnTo>
                    <a:pt x="25" y="56"/>
                  </a:lnTo>
                  <a:lnTo>
                    <a:pt x="27" y="56"/>
                  </a:lnTo>
                  <a:close/>
                  <a:moveTo>
                    <a:pt x="21" y="33"/>
                  </a:moveTo>
                  <a:lnTo>
                    <a:pt x="19" y="33"/>
                  </a:lnTo>
                  <a:lnTo>
                    <a:pt x="19" y="34"/>
                  </a:lnTo>
                  <a:lnTo>
                    <a:pt x="19" y="36"/>
                  </a:lnTo>
                  <a:lnTo>
                    <a:pt x="17" y="36"/>
                  </a:lnTo>
                  <a:lnTo>
                    <a:pt x="15" y="36"/>
                  </a:lnTo>
                  <a:lnTo>
                    <a:pt x="15" y="34"/>
                  </a:lnTo>
                  <a:lnTo>
                    <a:pt x="17" y="34"/>
                  </a:lnTo>
                  <a:lnTo>
                    <a:pt x="17" y="33"/>
                  </a:lnTo>
                  <a:lnTo>
                    <a:pt x="19" y="33"/>
                  </a:lnTo>
                  <a:lnTo>
                    <a:pt x="21" y="33"/>
                  </a:lnTo>
                  <a:close/>
                  <a:moveTo>
                    <a:pt x="13" y="11"/>
                  </a:moveTo>
                  <a:lnTo>
                    <a:pt x="13" y="13"/>
                  </a:lnTo>
                  <a:lnTo>
                    <a:pt x="11" y="13"/>
                  </a:lnTo>
                  <a:lnTo>
                    <a:pt x="11" y="11"/>
                  </a:lnTo>
                  <a:lnTo>
                    <a:pt x="11" y="9"/>
                  </a:lnTo>
                  <a:lnTo>
                    <a:pt x="13" y="9"/>
                  </a:lnTo>
                  <a:lnTo>
                    <a:pt x="13" y="11"/>
                  </a:lnTo>
                  <a:lnTo>
                    <a:pt x="13" y="9"/>
                  </a:lnTo>
                  <a:lnTo>
                    <a:pt x="13" y="11"/>
                  </a:lnTo>
                  <a:close/>
                  <a:moveTo>
                    <a:pt x="11" y="17"/>
                  </a:moveTo>
                  <a:lnTo>
                    <a:pt x="15" y="17"/>
                  </a:lnTo>
                  <a:lnTo>
                    <a:pt x="15" y="19"/>
                  </a:lnTo>
                  <a:lnTo>
                    <a:pt x="11" y="19"/>
                  </a:lnTo>
                  <a:lnTo>
                    <a:pt x="11" y="17"/>
                  </a:lnTo>
                  <a:close/>
                  <a:moveTo>
                    <a:pt x="23" y="33"/>
                  </a:moveTo>
                  <a:lnTo>
                    <a:pt x="23" y="34"/>
                  </a:lnTo>
                  <a:lnTo>
                    <a:pt x="23" y="33"/>
                  </a:lnTo>
                  <a:lnTo>
                    <a:pt x="21" y="33"/>
                  </a:lnTo>
                  <a:lnTo>
                    <a:pt x="23" y="33"/>
                  </a:lnTo>
                  <a:lnTo>
                    <a:pt x="23" y="31"/>
                  </a:lnTo>
                  <a:lnTo>
                    <a:pt x="21" y="31"/>
                  </a:lnTo>
                  <a:lnTo>
                    <a:pt x="21" y="29"/>
                  </a:lnTo>
                  <a:lnTo>
                    <a:pt x="21" y="27"/>
                  </a:lnTo>
                  <a:lnTo>
                    <a:pt x="21" y="29"/>
                  </a:lnTo>
                  <a:lnTo>
                    <a:pt x="23" y="29"/>
                  </a:lnTo>
                  <a:lnTo>
                    <a:pt x="21" y="29"/>
                  </a:lnTo>
                  <a:lnTo>
                    <a:pt x="23" y="29"/>
                  </a:lnTo>
                  <a:lnTo>
                    <a:pt x="21" y="29"/>
                  </a:lnTo>
                  <a:lnTo>
                    <a:pt x="23" y="29"/>
                  </a:lnTo>
                  <a:lnTo>
                    <a:pt x="21" y="29"/>
                  </a:lnTo>
                  <a:lnTo>
                    <a:pt x="23" y="29"/>
                  </a:lnTo>
                  <a:lnTo>
                    <a:pt x="23" y="31"/>
                  </a:lnTo>
                  <a:lnTo>
                    <a:pt x="23" y="33"/>
                  </a:lnTo>
                  <a:close/>
                  <a:moveTo>
                    <a:pt x="7" y="38"/>
                  </a:moveTo>
                  <a:lnTo>
                    <a:pt x="9" y="38"/>
                  </a:lnTo>
                  <a:lnTo>
                    <a:pt x="9" y="40"/>
                  </a:lnTo>
                  <a:lnTo>
                    <a:pt x="7" y="40"/>
                  </a:lnTo>
                  <a:lnTo>
                    <a:pt x="7" y="38"/>
                  </a:lnTo>
                  <a:close/>
                  <a:moveTo>
                    <a:pt x="46" y="107"/>
                  </a:moveTo>
                  <a:lnTo>
                    <a:pt x="48" y="107"/>
                  </a:lnTo>
                  <a:lnTo>
                    <a:pt x="48" y="109"/>
                  </a:lnTo>
                  <a:lnTo>
                    <a:pt x="46" y="109"/>
                  </a:lnTo>
                  <a:lnTo>
                    <a:pt x="46" y="107"/>
                  </a:lnTo>
                  <a:close/>
                  <a:moveTo>
                    <a:pt x="7" y="36"/>
                  </a:moveTo>
                  <a:lnTo>
                    <a:pt x="9" y="36"/>
                  </a:lnTo>
                  <a:lnTo>
                    <a:pt x="9" y="38"/>
                  </a:lnTo>
                  <a:lnTo>
                    <a:pt x="7" y="38"/>
                  </a:lnTo>
                  <a:lnTo>
                    <a:pt x="7" y="36"/>
                  </a:lnTo>
                  <a:close/>
                  <a:moveTo>
                    <a:pt x="0" y="0"/>
                  </a:moveTo>
                  <a:lnTo>
                    <a:pt x="0" y="2"/>
                  </a:lnTo>
                  <a:lnTo>
                    <a:pt x="0" y="0"/>
                  </a:lnTo>
                  <a:close/>
                  <a:moveTo>
                    <a:pt x="9" y="6"/>
                  </a:moveTo>
                  <a:lnTo>
                    <a:pt x="11" y="6"/>
                  </a:lnTo>
                  <a:lnTo>
                    <a:pt x="11" y="8"/>
                  </a:lnTo>
                  <a:lnTo>
                    <a:pt x="9" y="8"/>
                  </a:lnTo>
                  <a:lnTo>
                    <a:pt x="9" y="6"/>
                  </a:lnTo>
                  <a:close/>
                  <a:moveTo>
                    <a:pt x="15" y="8"/>
                  </a:moveTo>
                  <a:lnTo>
                    <a:pt x="17" y="8"/>
                  </a:lnTo>
                  <a:lnTo>
                    <a:pt x="17" y="9"/>
                  </a:lnTo>
                  <a:lnTo>
                    <a:pt x="15" y="9"/>
                  </a:lnTo>
                  <a:lnTo>
                    <a:pt x="15" y="8"/>
                  </a:lnTo>
                  <a:close/>
                  <a:moveTo>
                    <a:pt x="25" y="59"/>
                  </a:moveTo>
                  <a:lnTo>
                    <a:pt x="27" y="59"/>
                  </a:lnTo>
                  <a:lnTo>
                    <a:pt x="27" y="61"/>
                  </a:lnTo>
                  <a:lnTo>
                    <a:pt x="25" y="61"/>
                  </a:lnTo>
                  <a:lnTo>
                    <a:pt x="25" y="59"/>
                  </a:lnTo>
                  <a:close/>
                  <a:moveTo>
                    <a:pt x="23" y="50"/>
                  </a:moveTo>
                  <a:lnTo>
                    <a:pt x="25" y="50"/>
                  </a:lnTo>
                  <a:lnTo>
                    <a:pt x="25" y="52"/>
                  </a:lnTo>
                  <a:lnTo>
                    <a:pt x="23" y="52"/>
                  </a:lnTo>
                  <a:lnTo>
                    <a:pt x="23" y="50"/>
                  </a:lnTo>
                  <a:close/>
                  <a:moveTo>
                    <a:pt x="25" y="65"/>
                  </a:moveTo>
                  <a:lnTo>
                    <a:pt x="27" y="65"/>
                  </a:lnTo>
                  <a:lnTo>
                    <a:pt x="27" y="67"/>
                  </a:lnTo>
                  <a:lnTo>
                    <a:pt x="25" y="67"/>
                  </a:lnTo>
                  <a:lnTo>
                    <a:pt x="25" y="65"/>
                  </a:lnTo>
                  <a:close/>
                  <a:moveTo>
                    <a:pt x="23" y="67"/>
                  </a:moveTo>
                  <a:lnTo>
                    <a:pt x="25" y="67"/>
                  </a:lnTo>
                  <a:lnTo>
                    <a:pt x="23" y="67"/>
                  </a:lnTo>
                  <a:close/>
                  <a:moveTo>
                    <a:pt x="2" y="4"/>
                  </a:moveTo>
                  <a:lnTo>
                    <a:pt x="2" y="6"/>
                  </a:lnTo>
                  <a:lnTo>
                    <a:pt x="2" y="4"/>
                  </a:lnTo>
                  <a:close/>
                  <a:moveTo>
                    <a:pt x="9" y="36"/>
                  </a:moveTo>
                  <a:lnTo>
                    <a:pt x="9" y="38"/>
                  </a:lnTo>
                  <a:lnTo>
                    <a:pt x="9" y="36"/>
                  </a:lnTo>
                  <a:close/>
                  <a:moveTo>
                    <a:pt x="51" y="98"/>
                  </a:moveTo>
                  <a:lnTo>
                    <a:pt x="53" y="98"/>
                  </a:lnTo>
                  <a:lnTo>
                    <a:pt x="51" y="98"/>
                  </a:lnTo>
                  <a:close/>
                  <a:moveTo>
                    <a:pt x="7" y="27"/>
                  </a:moveTo>
                  <a:lnTo>
                    <a:pt x="7" y="29"/>
                  </a:lnTo>
                  <a:lnTo>
                    <a:pt x="7" y="27"/>
                  </a:lnTo>
                  <a:close/>
                  <a:moveTo>
                    <a:pt x="9" y="34"/>
                  </a:moveTo>
                  <a:lnTo>
                    <a:pt x="9" y="36"/>
                  </a:lnTo>
                  <a:lnTo>
                    <a:pt x="9" y="34"/>
                  </a:lnTo>
                  <a:close/>
                  <a:moveTo>
                    <a:pt x="27" y="67"/>
                  </a:moveTo>
                  <a:lnTo>
                    <a:pt x="28" y="67"/>
                  </a:lnTo>
                  <a:lnTo>
                    <a:pt x="27" y="67"/>
                  </a:lnTo>
                  <a:close/>
                  <a:moveTo>
                    <a:pt x="23" y="67"/>
                  </a:moveTo>
                  <a:lnTo>
                    <a:pt x="23" y="69"/>
                  </a:lnTo>
                  <a:lnTo>
                    <a:pt x="23" y="67"/>
                  </a:lnTo>
                  <a:close/>
                  <a:moveTo>
                    <a:pt x="28" y="59"/>
                  </a:moveTo>
                  <a:lnTo>
                    <a:pt x="30" y="59"/>
                  </a:lnTo>
                  <a:lnTo>
                    <a:pt x="28" y="59"/>
                  </a:lnTo>
                  <a:close/>
                  <a:moveTo>
                    <a:pt x="7" y="33"/>
                  </a:moveTo>
                  <a:lnTo>
                    <a:pt x="9" y="33"/>
                  </a:lnTo>
                  <a:lnTo>
                    <a:pt x="7" y="33"/>
                  </a:lnTo>
                  <a:close/>
                  <a:moveTo>
                    <a:pt x="13" y="52"/>
                  </a:moveTo>
                  <a:lnTo>
                    <a:pt x="13" y="54"/>
                  </a:lnTo>
                  <a:lnTo>
                    <a:pt x="13" y="52"/>
                  </a:lnTo>
                  <a:close/>
                  <a:moveTo>
                    <a:pt x="11" y="46"/>
                  </a:moveTo>
                  <a:lnTo>
                    <a:pt x="13" y="46"/>
                  </a:lnTo>
                  <a:lnTo>
                    <a:pt x="11" y="46"/>
                  </a:lnTo>
                  <a:close/>
                  <a:moveTo>
                    <a:pt x="11" y="44"/>
                  </a:moveTo>
                  <a:lnTo>
                    <a:pt x="13" y="44"/>
                  </a:lnTo>
                  <a:lnTo>
                    <a:pt x="11" y="44"/>
                  </a:lnTo>
                  <a:close/>
                  <a:moveTo>
                    <a:pt x="23" y="52"/>
                  </a:moveTo>
                  <a:lnTo>
                    <a:pt x="23" y="54"/>
                  </a:lnTo>
                  <a:lnTo>
                    <a:pt x="23" y="52"/>
                  </a:lnTo>
                  <a:close/>
                  <a:moveTo>
                    <a:pt x="28" y="58"/>
                  </a:moveTo>
                  <a:lnTo>
                    <a:pt x="28" y="59"/>
                  </a:lnTo>
                  <a:lnTo>
                    <a:pt x="28" y="58"/>
                  </a:lnTo>
                  <a:close/>
                  <a:moveTo>
                    <a:pt x="17" y="52"/>
                  </a:moveTo>
                  <a:lnTo>
                    <a:pt x="19" y="52"/>
                  </a:lnTo>
                  <a:lnTo>
                    <a:pt x="17" y="52"/>
                  </a:lnTo>
                  <a:close/>
                  <a:moveTo>
                    <a:pt x="25" y="56"/>
                  </a:moveTo>
                  <a:lnTo>
                    <a:pt x="25" y="58"/>
                  </a:lnTo>
                  <a:lnTo>
                    <a:pt x="25" y="56"/>
                  </a:lnTo>
                  <a:close/>
                  <a:moveTo>
                    <a:pt x="7" y="34"/>
                  </a:moveTo>
                  <a:lnTo>
                    <a:pt x="9" y="34"/>
                  </a:lnTo>
                  <a:lnTo>
                    <a:pt x="7" y="34"/>
                  </a:lnTo>
                  <a:close/>
                  <a:moveTo>
                    <a:pt x="9" y="38"/>
                  </a:moveTo>
                  <a:lnTo>
                    <a:pt x="9" y="40"/>
                  </a:lnTo>
                  <a:lnTo>
                    <a:pt x="9" y="38"/>
                  </a:lnTo>
                  <a:close/>
                  <a:moveTo>
                    <a:pt x="17" y="52"/>
                  </a:moveTo>
                  <a:lnTo>
                    <a:pt x="19" y="52"/>
                  </a:lnTo>
                  <a:lnTo>
                    <a:pt x="17" y="52"/>
                  </a:lnTo>
                  <a:close/>
                  <a:moveTo>
                    <a:pt x="7" y="38"/>
                  </a:moveTo>
                  <a:lnTo>
                    <a:pt x="9" y="38"/>
                  </a:lnTo>
                  <a:lnTo>
                    <a:pt x="7" y="38"/>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4" name="Freeform 433">
              <a:extLst>
                <a:ext uri="{FF2B5EF4-FFF2-40B4-BE49-F238E27FC236}">
                  <a16:creationId xmlns:a16="http://schemas.microsoft.com/office/drawing/2014/main" id="{90E61504-6BC6-416C-90EE-B22B5297D6D5}"/>
                </a:ext>
              </a:extLst>
            </p:cNvPr>
            <p:cNvSpPr>
              <a:spLocks noEditPoints="1"/>
            </p:cNvSpPr>
            <p:nvPr/>
          </p:nvSpPr>
          <p:spPr bwMode="gray">
            <a:xfrm>
              <a:off x="6380899" y="4592193"/>
              <a:ext cx="89526" cy="139807"/>
            </a:xfrm>
            <a:custGeom>
              <a:avLst/>
              <a:gdLst>
                <a:gd name="T0" fmla="*/ 23 w 73"/>
                <a:gd name="T1" fmla="*/ 87 h 114"/>
                <a:gd name="T2" fmla="*/ 14 w 73"/>
                <a:gd name="T3" fmla="*/ 89 h 114"/>
                <a:gd name="T4" fmla="*/ 8 w 73"/>
                <a:gd name="T5" fmla="*/ 83 h 114"/>
                <a:gd name="T6" fmla="*/ 10 w 73"/>
                <a:gd name="T7" fmla="*/ 77 h 114"/>
                <a:gd name="T8" fmla="*/ 16 w 73"/>
                <a:gd name="T9" fmla="*/ 75 h 114"/>
                <a:gd name="T10" fmla="*/ 20 w 73"/>
                <a:gd name="T11" fmla="*/ 75 h 114"/>
                <a:gd name="T12" fmla="*/ 21 w 73"/>
                <a:gd name="T13" fmla="*/ 77 h 114"/>
                <a:gd name="T14" fmla="*/ 27 w 73"/>
                <a:gd name="T15" fmla="*/ 83 h 114"/>
                <a:gd name="T16" fmla="*/ 27 w 73"/>
                <a:gd name="T17" fmla="*/ 83 h 114"/>
                <a:gd name="T18" fmla="*/ 43 w 73"/>
                <a:gd name="T19" fmla="*/ 60 h 114"/>
                <a:gd name="T20" fmla="*/ 41 w 73"/>
                <a:gd name="T21" fmla="*/ 66 h 114"/>
                <a:gd name="T22" fmla="*/ 45 w 73"/>
                <a:gd name="T23" fmla="*/ 62 h 114"/>
                <a:gd name="T24" fmla="*/ 41 w 73"/>
                <a:gd name="T25" fmla="*/ 66 h 114"/>
                <a:gd name="T26" fmla="*/ 31 w 73"/>
                <a:gd name="T27" fmla="*/ 68 h 114"/>
                <a:gd name="T28" fmla="*/ 27 w 73"/>
                <a:gd name="T29" fmla="*/ 68 h 114"/>
                <a:gd name="T30" fmla="*/ 25 w 73"/>
                <a:gd name="T31" fmla="*/ 66 h 114"/>
                <a:gd name="T32" fmla="*/ 33 w 73"/>
                <a:gd name="T33" fmla="*/ 62 h 114"/>
                <a:gd name="T34" fmla="*/ 41 w 73"/>
                <a:gd name="T35" fmla="*/ 58 h 114"/>
                <a:gd name="T36" fmla="*/ 45 w 73"/>
                <a:gd name="T37" fmla="*/ 58 h 114"/>
                <a:gd name="T38" fmla="*/ 23 w 73"/>
                <a:gd name="T39" fmla="*/ 100 h 114"/>
                <a:gd name="T40" fmla="*/ 20 w 73"/>
                <a:gd name="T41" fmla="*/ 100 h 114"/>
                <a:gd name="T42" fmla="*/ 23 w 73"/>
                <a:gd name="T43" fmla="*/ 100 h 114"/>
                <a:gd name="T44" fmla="*/ 46 w 73"/>
                <a:gd name="T45" fmla="*/ 68 h 114"/>
                <a:gd name="T46" fmla="*/ 46 w 73"/>
                <a:gd name="T47" fmla="*/ 69 h 114"/>
                <a:gd name="T48" fmla="*/ 27 w 73"/>
                <a:gd name="T49" fmla="*/ 79 h 114"/>
                <a:gd name="T50" fmla="*/ 37 w 73"/>
                <a:gd name="T51" fmla="*/ 75 h 114"/>
                <a:gd name="T52" fmla="*/ 66 w 73"/>
                <a:gd name="T53" fmla="*/ 87 h 114"/>
                <a:gd name="T54" fmla="*/ 60 w 73"/>
                <a:gd name="T55" fmla="*/ 71 h 114"/>
                <a:gd name="T56" fmla="*/ 4 w 73"/>
                <a:gd name="T57" fmla="*/ 2 h 114"/>
                <a:gd name="T58" fmla="*/ 56 w 73"/>
                <a:gd name="T59" fmla="*/ 81 h 114"/>
                <a:gd name="T60" fmla="*/ 50 w 73"/>
                <a:gd name="T61" fmla="*/ 100 h 114"/>
                <a:gd name="T62" fmla="*/ 23 w 73"/>
                <a:gd name="T63" fmla="*/ 98 h 114"/>
                <a:gd name="T64" fmla="*/ 39 w 73"/>
                <a:gd name="T65" fmla="*/ 81 h 114"/>
                <a:gd name="T66" fmla="*/ 60 w 73"/>
                <a:gd name="T67" fmla="*/ 75 h 114"/>
                <a:gd name="T68" fmla="*/ 62 w 73"/>
                <a:gd name="T69" fmla="*/ 83 h 114"/>
                <a:gd name="T70" fmla="*/ 27 w 73"/>
                <a:gd name="T71" fmla="*/ 79 h 114"/>
                <a:gd name="T72" fmla="*/ 60 w 73"/>
                <a:gd name="T73" fmla="*/ 73 h 114"/>
                <a:gd name="T74" fmla="*/ 68 w 73"/>
                <a:gd name="T75" fmla="*/ 94 h 114"/>
                <a:gd name="T76" fmla="*/ 27 w 73"/>
                <a:gd name="T77" fmla="*/ 64 h 114"/>
                <a:gd name="T78" fmla="*/ 37 w 73"/>
                <a:gd name="T79" fmla="*/ 58 h 114"/>
                <a:gd name="T80" fmla="*/ 33 w 73"/>
                <a:gd name="T81" fmla="*/ 79 h 114"/>
                <a:gd name="T82" fmla="*/ 4 w 73"/>
                <a:gd name="T83" fmla="*/ 73 h 114"/>
                <a:gd name="T84" fmla="*/ 73 w 73"/>
                <a:gd name="T85" fmla="*/ 114 h 114"/>
                <a:gd name="T86" fmla="*/ 20 w 73"/>
                <a:gd name="T87" fmla="*/ 100 h 114"/>
                <a:gd name="T88" fmla="*/ 8 w 73"/>
                <a:gd name="T89" fmla="*/ 69 h 114"/>
                <a:gd name="T90" fmla="*/ 66 w 73"/>
                <a:gd name="T91" fmla="*/ 94 h 114"/>
                <a:gd name="T92" fmla="*/ 58 w 73"/>
                <a:gd name="T93" fmla="*/ 56 h 114"/>
                <a:gd name="T94" fmla="*/ 10 w 73"/>
                <a:gd name="T95" fmla="*/ 79 h 114"/>
                <a:gd name="T96" fmla="*/ 52 w 73"/>
                <a:gd name="T97" fmla="*/ 60 h 114"/>
                <a:gd name="T98" fmla="*/ 66 w 73"/>
                <a:gd name="T99" fmla="*/ 89 h 114"/>
                <a:gd name="T100" fmla="*/ 27 w 73"/>
                <a:gd name="T101" fmla="*/ 81 h 114"/>
                <a:gd name="T102" fmla="*/ 4 w 73"/>
                <a:gd name="T103" fmla="*/ 75 h 114"/>
                <a:gd name="T104" fmla="*/ 25 w 73"/>
                <a:gd name="T105" fmla="*/ 85 h 114"/>
                <a:gd name="T106" fmla="*/ 62 w 73"/>
                <a:gd name="T107" fmla="*/ 85 h 114"/>
                <a:gd name="T108" fmla="*/ 6 w 73"/>
                <a:gd name="T109" fmla="*/ 71 h 114"/>
                <a:gd name="T110" fmla="*/ 33 w 73"/>
                <a:gd name="T111" fmla="*/ 8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 h="114">
                  <a:moveTo>
                    <a:pt x="27" y="85"/>
                  </a:moveTo>
                  <a:lnTo>
                    <a:pt x="27" y="87"/>
                  </a:lnTo>
                  <a:lnTo>
                    <a:pt x="27" y="85"/>
                  </a:lnTo>
                  <a:lnTo>
                    <a:pt x="27" y="87"/>
                  </a:lnTo>
                  <a:lnTo>
                    <a:pt x="25" y="87"/>
                  </a:lnTo>
                  <a:lnTo>
                    <a:pt x="25" y="85"/>
                  </a:lnTo>
                  <a:lnTo>
                    <a:pt x="25" y="87"/>
                  </a:lnTo>
                  <a:lnTo>
                    <a:pt x="23" y="87"/>
                  </a:lnTo>
                  <a:lnTo>
                    <a:pt x="21" y="87"/>
                  </a:lnTo>
                  <a:lnTo>
                    <a:pt x="23" y="87"/>
                  </a:lnTo>
                  <a:lnTo>
                    <a:pt x="21" y="87"/>
                  </a:lnTo>
                  <a:lnTo>
                    <a:pt x="20" y="87"/>
                  </a:lnTo>
                  <a:lnTo>
                    <a:pt x="20" y="89"/>
                  </a:lnTo>
                  <a:lnTo>
                    <a:pt x="18" y="89"/>
                  </a:lnTo>
                  <a:lnTo>
                    <a:pt x="16" y="89"/>
                  </a:lnTo>
                  <a:lnTo>
                    <a:pt x="14" y="89"/>
                  </a:lnTo>
                  <a:lnTo>
                    <a:pt x="14" y="87"/>
                  </a:lnTo>
                  <a:lnTo>
                    <a:pt x="12" y="87"/>
                  </a:lnTo>
                  <a:lnTo>
                    <a:pt x="10" y="87"/>
                  </a:lnTo>
                  <a:lnTo>
                    <a:pt x="8" y="87"/>
                  </a:lnTo>
                  <a:lnTo>
                    <a:pt x="8" y="85"/>
                  </a:lnTo>
                  <a:lnTo>
                    <a:pt x="6" y="85"/>
                  </a:lnTo>
                  <a:lnTo>
                    <a:pt x="6" y="83"/>
                  </a:lnTo>
                  <a:lnTo>
                    <a:pt x="8" y="83"/>
                  </a:lnTo>
                  <a:lnTo>
                    <a:pt x="8" y="81"/>
                  </a:lnTo>
                  <a:lnTo>
                    <a:pt x="10" y="81"/>
                  </a:lnTo>
                  <a:lnTo>
                    <a:pt x="8" y="81"/>
                  </a:lnTo>
                  <a:lnTo>
                    <a:pt x="10" y="81"/>
                  </a:lnTo>
                  <a:lnTo>
                    <a:pt x="8" y="81"/>
                  </a:lnTo>
                  <a:lnTo>
                    <a:pt x="8" y="79"/>
                  </a:lnTo>
                  <a:lnTo>
                    <a:pt x="10" y="79"/>
                  </a:lnTo>
                  <a:lnTo>
                    <a:pt x="10" y="77"/>
                  </a:lnTo>
                  <a:lnTo>
                    <a:pt x="12" y="77"/>
                  </a:lnTo>
                  <a:lnTo>
                    <a:pt x="12" y="75"/>
                  </a:lnTo>
                  <a:lnTo>
                    <a:pt x="14" y="75"/>
                  </a:lnTo>
                  <a:lnTo>
                    <a:pt x="16" y="75"/>
                  </a:lnTo>
                  <a:lnTo>
                    <a:pt x="14" y="75"/>
                  </a:lnTo>
                  <a:lnTo>
                    <a:pt x="16" y="75"/>
                  </a:lnTo>
                  <a:lnTo>
                    <a:pt x="14" y="75"/>
                  </a:lnTo>
                  <a:lnTo>
                    <a:pt x="16" y="75"/>
                  </a:lnTo>
                  <a:lnTo>
                    <a:pt x="14" y="75"/>
                  </a:lnTo>
                  <a:lnTo>
                    <a:pt x="16" y="75"/>
                  </a:lnTo>
                  <a:lnTo>
                    <a:pt x="14" y="75"/>
                  </a:lnTo>
                  <a:lnTo>
                    <a:pt x="16" y="75"/>
                  </a:lnTo>
                  <a:lnTo>
                    <a:pt x="14" y="75"/>
                  </a:lnTo>
                  <a:lnTo>
                    <a:pt x="16" y="75"/>
                  </a:lnTo>
                  <a:lnTo>
                    <a:pt x="18" y="75"/>
                  </a:lnTo>
                  <a:lnTo>
                    <a:pt x="20" y="75"/>
                  </a:lnTo>
                  <a:lnTo>
                    <a:pt x="20" y="73"/>
                  </a:lnTo>
                  <a:lnTo>
                    <a:pt x="20" y="75"/>
                  </a:lnTo>
                  <a:lnTo>
                    <a:pt x="21" y="75"/>
                  </a:lnTo>
                  <a:lnTo>
                    <a:pt x="21" y="77"/>
                  </a:lnTo>
                  <a:lnTo>
                    <a:pt x="21" y="75"/>
                  </a:lnTo>
                  <a:lnTo>
                    <a:pt x="21" y="77"/>
                  </a:lnTo>
                  <a:lnTo>
                    <a:pt x="21" y="75"/>
                  </a:lnTo>
                  <a:lnTo>
                    <a:pt x="21" y="77"/>
                  </a:lnTo>
                  <a:lnTo>
                    <a:pt x="23" y="77"/>
                  </a:lnTo>
                  <a:lnTo>
                    <a:pt x="21" y="77"/>
                  </a:lnTo>
                  <a:lnTo>
                    <a:pt x="23" y="77"/>
                  </a:lnTo>
                  <a:lnTo>
                    <a:pt x="25" y="77"/>
                  </a:lnTo>
                  <a:lnTo>
                    <a:pt x="25" y="79"/>
                  </a:lnTo>
                  <a:lnTo>
                    <a:pt x="25" y="81"/>
                  </a:lnTo>
                  <a:lnTo>
                    <a:pt x="27" y="81"/>
                  </a:lnTo>
                  <a:lnTo>
                    <a:pt x="27" y="83"/>
                  </a:lnTo>
                  <a:lnTo>
                    <a:pt x="25" y="83"/>
                  </a:lnTo>
                  <a:lnTo>
                    <a:pt x="27" y="83"/>
                  </a:lnTo>
                  <a:lnTo>
                    <a:pt x="25" y="83"/>
                  </a:lnTo>
                  <a:lnTo>
                    <a:pt x="27" y="83"/>
                  </a:lnTo>
                  <a:lnTo>
                    <a:pt x="25" y="83"/>
                  </a:lnTo>
                  <a:lnTo>
                    <a:pt x="27" y="83"/>
                  </a:lnTo>
                  <a:lnTo>
                    <a:pt x="25" y="83"/>
                  </a:lnTo>
                  <a:lnTo>
                    <a:pt x="27" y="83"/>
                  </a:lnTo>
                  <a:lnTo>
                    <a:pt x="27" y="85"/>
                  </a:lnTo>
                  <a:lnTo>
                    <a:pt x="25" y="85"/>
                  </a:lnTo>
                  <a:lnTo>
                    <a:pt x="27" y="85"/>
                  </a:lnTo>
                  <a:close/>
                  <a:moveTo>
                    <a:pt x="46" y="56"/>
                  </a:moveTo>
                  <a:lnTo>
                    <a:pt x="46" y="58"/>
                  </a:lnTo>
                  <a:lnTo>
                    <a:pt x="45" y="58"/>
                  </a:lnTo>
                  <a:lnTo>
                    <a:pt x="45" y="60"/>
                  </a:lnTo>
                  <a:lnTo>
                    <a:pt x="43" y="60"/>
                  </a:lnTo>
                  <a:lnTo>
                    <a:pt x="43" y="62"/>
                  </a:lnTo>
                  <a:lnTo>
                    <a:pt x="41" y="62"/>
                  </a:lnTo>
                  <a:lnTo>
                    <a:pt x="41" y="64"/>
                  </a:lnTo>
                  <a:lnTo>
                    <a:pt x="41" y="62"/>
                  </a:lnTo>
                  <a:lnTo>
                    <a:pt x="41" y="64"/>
                  </a:lnTo>
                  <a:lnTo>
                    <a:pt x="39" y="64"/>
                  </a:lnTo>
                  <a:lnTo>
                    <a:pt x="39" y="66"/>
                  </a:lnTo>
                  <a:lnTo>
                    <a:pt x="41" y="66"/>
                  </a:lnTo>
                  <a:lnTo>
                    <a:pt x="41" y="64"/>
                  </a:lnTo>
                  <a:lnTo>
                    <a:pt x="43" y="64"/>
                  </a:lnTo>
                  <a:lnTo>
                    <a:pt x="43" y="62"/>
                  </a:lnTo>
                  <a:lnTo>
                    <a:pt x="45" y="62"/>
                  </a:lnTo>
                  <a:lnTo>
                    <a:pt x="46" y="62"/>
                  </a:lnTo>
                  <a:lnTo>
                    <a:pt x="45" y="62"/>
                  </a:lnTo>
                  <a:lnTo>
                    <a:pt x="46" y="62"/>
                  </a:lnTo>
                  <a:lnTo>
                    <a:pt x="45" y="62"/>
                  </a:lnTo>
                  <a:lnTo>
                    <a:pt x="45" y="64"/>
                  </a:lnTo>
                  <a:lnTo>
                    <a:pt x="45" y="66"/>
                  </a:lnTo>
                  <a:lnTo>
                    <a:pt x="46" y="66"/>
                  </a:lnTo>
                  <a:lnTo>
                    <a:pt x="45" y="66"/>
                  </a:lnTo>
                  <a:lnTo>
                    <a:pt x="43" y="66"/>
                  </a:lnTo>
                  <a:lnTo>
                    <a:pt x="41" y="66"/>
                  </a:lnTo>
                  <a:lnTo>
                    <a:pt x="39" y="66"/>
                  </a:lnTo>
                  <a:lnTo>
                    <a:pt x="41" y="66"/>
                  </a:lnTo>
                  <a:lnTo>
                    <a:pt x="39" y="66"/>
                  </a:lnTo>
                  <a:lnTo>
                    <a:pt x="37" y="66"/>
                  </a:lnTo>
                  <a:lnTo>
                    <a:pt x="37" y="64"/>
                  </a:lnTo>
                  <a:lnTo>
                    <a:pt x="35" y="64"/>
                  </a:lnTo>
                  <a:lnTo>
                    <a:pt x="35" y="66"/>
                  </a:lnTo>
                  <a:lnTo>
                    <a:pt x="33" y="66"/>
                  </a:lnTo>
                  <a:lnTo>
                    <a:pt x="33" y="68"/>
                  </a:lnTo>
                  <a:lnTo>
                    <a:pt x="31" y="68"/>
                  </a:lnTo>
                  <a:lnTo>
                    <a:pt x="29" y="68"/>
                  </a:lnTo>
                  <a:lnTo>
                    <a:pt x="29" y="69"/>
                  </a:lnTo>
                  <a:lnTo>
                    <a:pt x="29" y="68"/>
                  </a:lnTo>
                  <a:lnTo>
                    <a:pt x="29" y="69"/>
                  </a:lnTo>
                  <a:lnTo>
                    <a:pt x="29" y="68"/>
                  </a:lnTo>
                  <a:lnTo>
                    <a:pt x="29" y="69"/>
                  </a:lnTo>
                  <a:lnTo>
                    <a:pt x="27" y="69"/>
                  </a:lnTo>
                  <a:lnTo>
                    <a:pt x="27" y="68"/>
                  </a:lnTo>
                  <a:lnTo>
                    <a:pt x="25" y="68"/>
                  </a:lnTo>
                  <a:lnTo>
                    <a:pt x="27" y="68"/>
                  </a:lnTo>
                  <a:lnTo>
                    <a:pt x="27" y="66"/>
                  </a:lnTo>
                  <a:lnTo>
                    <a:pt x="25" y="66"/>
                  </a:lnTo>
                  <a:lnTo>
                    <a:pt x="23" y="66"/>
                  </a:lnTo>
                  <a:lnTo>
                    <a:pt x="25" y="66"/>
                  </a:lnTo>
                  <a:lnTo>
                    <a:pt x="23" y="66"/>
                  </a:lnTo>
                  <a:lnTo>
                    <a:pt x="25" y="66"/>
                  </a:lnTo>
                  <a:lnTo>
                    <a:pt x="25" y="64"/>
                  </a:lnTo>
                  <a:lnTo>
                    <a:pt x="25" y="66"/>
                  </a:lnTo>
                  <a:lnTo>
                    <a:pt x="25" y="64"/>
                  </a:lnTo>
                  <a:lnTo>
                    <a:pt x="27" y="64"/>
                  </a:lnTo>
                  <a:lnTo>
                    <a:pt x="29" y="64"/>
                  </a:lnTo>
                  <a:lnTo>
                    <a:pt x="29" y="62"/>
                  </a:lnTo>
                  <a:lnTo>
                    <a:pt x="31" y="62"/>
                  </a:lnTo>
                  <a:lnTo>
                    <a:pt x="33" y="62"/>
                  </a:lnTo>
                  <a:lnTo>
                    <a:pt x="33" y="60"/>
                  </a:lnTo>
                  <a:lnTo>
                    <a:pt x="35" y="60"/>
                  </a:lnTo>
                  <a:lnTo>
                    <a:pt x="37" y="60"/>
                  </a:lnTo>
                  <a:lnTo>
                    <a:pt x="39" y="60"/>
                  </a:lnTo>
                  <a:lnTo>
                    <a:pt x="39" y="58"/>
                  </a:lnTo>
                  <a:lnTo>
                    <a:pt x="39" y="60"/>
                  </a:lnTo>
                  <a:lnTo>
                    <a:pt x="39" y="58"/>
                  </a:lnTo>
                  <a:lnTo>
                    <a:pt x="41" y="58"/>
                  </a:lnTo>
                  <a:lnTo>
                    <a:pt x="41" y="56"/>
                  </a:lnTo>
                  <a:lnTo>
                    <a:pt x="43" y="56"/>
                  </a:lnTo>
                  <a:lnTo>
                    <a:pt x="43" y="58"/>
                  </a:lnTo>
                  <a:lnTo>
                    <a:pt x="43" y="56"/>
                  </a:lnTo>
                  <a:lnTo>
                    <a:pt x="43" y="58"/>
                  </a:lnTo>
                  <a:lnTo>
                    <a:pt x="45" y="58"/>
                  </a:lnTo>
                  <a:lnTo>
                    <a:pt x="45" y="56"/>
                  </a:lnTo>
                  <a:lnTo>
                    <a:pt x="45" y="58"/>
                  </a:lnTo>
                  <a:lnTo>
                    <a:pt x="45" y="56"/>
                  </a:lnTo>
                  <a:lnTo>
                    <a:pt x="45" y="58"/>
                  </a:lnTo>
                  <a:lnTo>
                    <a:pt x="45" y="56"/>
                  </a:lnTo>
                  <a:lnTo>
                    <a:pt x="46" y="56"/>
                  </a:lnTo>
                  <a:close/>
                  <a:moveTo>
                    <a:pt x="25" y="100"/>
                  </a:moveTo>
                  <a:lnTo>
                    <a:pt x="23" y="100"/>
                  </a:lnTo>
                  <a:lnTo>
                    <a:pt x="25" y="100"/>
                  </a:lnTo>
                  <a:lnTo>
                    <a:pt x="23" y="100"/>
                  </a:lnTo>
                  <a:lnTo>
                    <a:pt x="21" y="100"/>
                  </a:lnTo>
                  <a:lnTo>
                    <a:pt x="20" y="100"/>
                  </a:lnTo>
                  <a:lnTo>
                    <a:pt x="20" y="102"/>
                  </a:lnTo>
                  <a:lnTo>
                    <a:pt x="18" y="102"/>
                  </a:lnTo>
                  <a:lnTo>
                    <a:pt x="16" y="102"/>
                  </a:lnTo>
                  <a:lnTo>
                    <a:pt x="18" y="102"/>
                  </a:lnTo>
                  <a:lnTo>
                    <a:pt x="18" y="100"/>
                  </a:lnTo>
                  <a:lnTo>
                    <a:pt x="20" y="100"/>
                  </a:lnTo>
                  <a:lnTo>
                    <a:pt x="21" y="100"/>
                  </a:lnTo>
                  <a:lnTo>
                    <a:pt x="21" y="98"/>
                  </a:lnTo>
                  <a:lnTo>
                    <a:pt x="23" y="98"/>
                  </a:lnTo>
                  <a:lnTo>
                    <a:pt x="23" y="100"/>
                  </a:lnTo>
                  <a:lnTo>
                    <a:pt x="23" y="98"/>
                  </a:lnTo>
                  <a:lnTo>
                    <a:pt x="23" y="100"/>
                  </a:lnTo>
                  <a:lnTo>
                    <a:pt x="23" y="98"/>
                  </a:lnTo>
                  <a:lnTo>
                    <a:pt x="23" y="100"/>
                  </a:lnTo>
                  <a:lnTo>
                    <a:pt x="25" y="100"/>
                  </a:lnTo>
                  <a:lnTo>
                    <a:pt x="23" y="100"/>
                  </a:lnTo>
                  <a:lnTo>
                    <a:pt x="25" y="100"/>
                  </a:lnTo>
                  <a:lnTo>
                    <a:pt x="23" y="100"/>
                  </a:lnTo>
                  <a:lnTo>
                    <a:pt x="25" y="100"/>
                  </a:lnTo>
                  <a:close/>
                  <a:moveTo>
                    <a:pt x="48" y="66"/>
                  </a:moveTo>
                  <a:lnTo>
                    <a:pt x="48" y="68"/>
                  </a:lnTo>
                  <a:lnTo>
                    <a:pt x="46" y="68"/>
                  </a:lnTo>
                  <a:lnTo>
                    <a:pt x="46" y="69"/>
                  </a:lnTo>
                  <a:lnTo>
                    <a:pt x="46" y="66"/>
                  </a:lnTo>
                  <a:lnTo>
                    <a:pt x="48" y="66"/>
                  </a:lnTo>
                  <a:lnTo>
                    <a:pt x="48" y="64"/>
                  </a:lnTo>
                  <a:lnTo>
                    <a:pt x="48" y="66"/>
                  </a:lnTo>
                  <a:close/>
                  <a:moveTo>
                    <a:pt x="45" y="66"/>
                  </a:moveTo>
                  <a:lnTo>
                    <a:pt x="46" y="66"/>
                  </a:lnTo>
                  <a:lnTo>
                    <a:pt x="46" y="69"/>
                  </a:lnTo>
                  <a:lnTo>
                    <a:pt x="45" y="69"/>
                  </a:lnTo>
                  <a:lnTo>
                    <a:pt x="45" y="66"/>
                  </a:lnTo>
                  <a:close/>
                  <a:moveTo>
                    <a:pt x="35" y="83"/>
                  </a:moveTo>
                  <a:lnTo>
                    <a:pt x="37" y="83"/>
                  </a:lnTo>
                  <a:lnTo>
                    <a:pt x="37" y="87"/>
                  </a:lnTo>
                  <a:lnTo>
                    <a:pt x="35" y="87"/>
                  </a:lnTo>
                  <a:lnTo>
                    <a:pt x="35" y="83"/>
                  </a:lnTo>
                  <a:close/>
                  <a:moveTo>
                    <a:pt x="27" y="79"/>
                  </a:moveTo>
                  <a:lnTo>
                    <a:pt x="29" y="79"/>
                  </a:lnTo>
                  <a:lnTo>
                    <a:pt x="29" y="81"/>
                  </a:lnTo>
                  <a:lnTo>
                    <a:pt x="27" y="81"/>
                  </a:lnTo>
                  <a:lnTo>
                    <a:pt x="27" y="79"/>
                  </a:lnTo>
                  <a:close/>
                  <a:moveTo>
                    <a:pt x="37" y="73"/>
                  </a:moveTo>
                  <a:lnTo>
                    <a:pt x="39" y="73"/>
                  </a:lnTo>
                  <a:lnTo>
                    <a:pt x="39" y="75"/>
                  </a:lnTo>
                  <a:lnTo>
                    <a:pt x="37" y="75"/>
                  </a:lnTo>
                  <a:lnTo>
                    <a:pt x="37" y="73"/>
                  </a:lnTo>
                  <a:close/>
                  <a:moveTo>
                    <a:pt x="45" y="92"/>
                  </a:moveTo>
                  <a:lnTo>
                    <a:pt x="46" y="92"/>
                  </a:lnTo>
                  <a:lnTo>
                    <a:pt x="46" y="94"/>
                  </a:lnTo>
                  <a:lnTo>
                    <a:pt x="45" y="94"/>
                  </a:lnTo>
                  <a:lnTo>
                    <a:pt x="45" y="92"/>
                  </a:lnTo>
                  <a:close/>
                  <a:moveTo>
                    <a:pt x="64" y="87"/>
                  </a:moveTo>
                  <a:lnTo>
                    <a:pt x="66" y="87"/>
                  </a:lnTo>
                  <a:lnTo>
                    <a:pt x="66" y="89"/>
                  </a:lnTo>
                  <a:lnTo>
                    <a:pt x="64" y="89"/>
                  </a:lnTo>
                  <a:lnTo>
                    <a:pt x="64" y="87"/>
                  </a:lnTo>
                  <a:close/>
                  <a:moveTo>
                    <a:pt x="60" y="71"/>
                  </a:moveTo>
                  <a:lnTo>
                    <a:pt x="62" y="71"/>
                  </a:lnTo>
                  <a:lnTo>
                    <a:pt x="62" y="73"/>
                  </a:lnTo>
                  <a:lnTo>
                    <a:pt x="60" y="73"/>
                  </a:lnTo>
                  <a:lnTo>
                    <a:pt x="60" y="71"/>
                  </a:lnTo>
                  <a:close/>
                  <a:moveTo>
                    <a:pt x="46" y="60"/>
                  </a:moveTo>
                  <a:lnTo>
                    <a:pt x="48" y="60"/>
                  </a:lnTo>
                  <a:lnTo>
                    <a:pt x="48" y="62"/>
                  </a:lnTo>
                  <a:lnTo>
                    <a:pt x="46" y="62"/>
                  </a:lnTo>
                  <a:lnTo>
                    <a:pt x="46" y="60"/>
                  </a:lnTo>
                  <a:close/>
                  <a:moveTo>
                    <a:pt x="2" y="0"/>
                  </a:moveTo>
                  <a:lnTo>
                    <a:pt x="4" y="0"/>
                  </a:lnTo>
                  <a:lnTo>
                    <a:pt x="4" y="2"/>
                  </a:lnTo>
                  <a:lnTo>
                    <a:pt x="2" y="2"/>
                  </a:lnTo>
                  <a:lnTo>
                    <a:pt x="2" y="0"/>
                  </a:lnTo>
                  <a:close/>
                  <a:moveTo>
                    <a:pt x="6" y="69"/>
                  </a:moveTo>
                  <a:lnTo>
                    <a:pt x="6" y="71"/>
                  </a:lnTo>
                  <a:lnTo>
                    <a:pt x="6" y="69"/>
                  </a:lnTo>
                  <a:close/>
                  <a:moveTo>
                    <a:pt x="56" y="81"/>
                  </a:moveTo>
                  <a:lnTo>
                    <a:pt x="58" y="81"/>
                  </a:lnTo>
                  <a:lnTo>
                    <a:pt x="56" y="81"/>
                  </a:lnTo>
                  <a:close/>
                  <a:moveTo>
                    <a:pt x="10" y="64"/>
                  </a:moveTo>
                  <a:lnTo>
                    <a:pt x="12" y="64"/>
                  </a:lnTo>
                  <a:lnTo>
                    <a:pt x="12" y="68"/>
                  </a:lnTo>
                  <a:lnTo>
                    <a:pt x="10" y="68"/>
                  </a:lnTo>
                  <a:lnTo>
                    <a:pt x="10" y="64"/>
                  </a:lnTo>
                  <a:close/>
                  <a:moveTo>
                    <a:pt x="48" y="98"/>
                  </a:moveTo>
                  <a:lnTo>
                    <a:pt x="50" y="98"/>
                  </a:lnTo>
                  <a:lnTo>
                    <a:pt x="50" y="100"/>
                  </a:lnTo>
                  <a:lnTo>
                    <a:pt x="48" y="100"/>
                  </a:lnTo>
                  <a:lnTo>
                    <a:pt x="48" y="98"/>
                  </a:lnTo>
                  <a:close/>
                  <a:moveTo>
                    <a:pt x="62" y="98"/>
                  </a:moveTo>
                  <a:lnTo>
                    <a:pt x="62" y="100"/>
                  </a:lnTo>
                  <a:lnTo>
                    <a:pt x="62" y="98"/>
                  </a:lnTo>
                  <a:close/>
                  <a:moveTo>
                    <a:pt x="23" y="98"/>
                  </a:moveTo>
                  <a:lnTo>
                    <a:pt x="25" y="98"/>
                  </a:lnTo>
                  <a:lnTo>
                    <a:pt x="23" y="98"/>
                  </a:lnTo>
                  <a:close/>
                  <a:moveTo>
                    <a:pt x="43" y="102"/>
                  </a:moveTo>
                  <a:lnTo>
                    <a:pt x="45" y="102"/>
                  </a:lnTo>
                  <a:lnTo>
                    <a:pt x="43" y="102"/>
                  </a:lnTo>
                  <a:close/>
                  <a:moveTo>
                    <a:pt x="12" y="92"/>
                  </a:moveTo>
                  <a:lnTo>
                    <a:pt x="12" y="94"/>
                  </a:lnTo>
                  <a:lnTo>
                    <a:pt x="12" y="92"/>
                  </a:lnTo>
                  <a:close/>
                  <a:moveTo>
                    <a:pt x="37" y="81"/>
                  </a:moveTo>
                  <a:lnTo>
                    <a:pt x="39" y="81"/>
                  </a:lnTo>
                  <a:lnTo>
                    <a:pt x="39" y="83"/>
                  </a:lnTo>
                  <a:lnTo>
                    <a:pt x="37" y="83"/>
                  </a:lnTo>
                  <a:lnTo>
                    <a:pt x="37" y="81"/>
                  </a:lnTo>
                  <a:close/>
                  <a:moveTo>
                    <a:pt x="8" y="68"/>
                  </a:moveTo>
                  <a:lnTo>
                    <a:pt x="10" y="68"/>
                  </a:lnTo>
                  <a:lnTo>
                    <a:pt x="8" y="68"/>
                  </a:lnTo>
                  <a:close/>
                  <a:moveTo>
                    <a:pt x="58" y="75"/>
                  </a:moveTo>
                  <a:lnTo>
                    <a:pt x="60" y="75"/>
                  </a:lnTo>
                  <a:lnTo>
                    <a:pt x="60" y="77"/>
                  </a:lnTo>
                  <a:lnTo>
                    <a:pt x="58" y="77"/>
                  </a:lnTo>
                  <a:lnTo>
                    <a:pt x="58" y="75"/>
                  </a:lnTo>
                  <a:close/>
                  <a:moveTo>
                    <a:pt x="45" y="64"/>
                  </a:moveTo>
                  <a:lnTo>
                    <a:pt x="46" y="64"/>
                  </a:lnTo>
                  <a:lnTo>
                    <a:pt x="45" y="64"/>
                  </a:lnTo>
                  <a:close/>
                  <a:moveTo>
                    <a:pt x="60" y="83"/>
                  </a:moveTo>
                  <a:lnTo>
                    <a:pt x="62" y="83"/>
                  </a:lnTo>
                  <a:lnTo>
                    <a:pt x="62" y="85"/>
                  </a:lnTo>
                  <a:lnTo>
                    <a:pt x="60" y="85"/>
                  </a:lnTo>
                  <a:lnTo>
                    <a:pt x="60" y="83"/>
                  </a:lnTo>
                  <a:close/>
                  <a:moveTo>
                    <a:pt x="27" y="79"/>
                  </a:moveTo>
                  <a:lnTo>
                    <a:pt x="29" y="79"/>
                  </a:lnTo>
                  <a:lnTo>
                    <a:pt x="29" y="81"/>
                  </a:lnTo>
                  <a:lnTo>
                    <a:pt x="27" y="81"/>
                  </a:lnTo>
                  <a:lnTo>
                    <a:pt x="27" y="79"/>
                  </a:lnTo>
                  <a:close/>
                  <a:moveTo>
                    <a:pt x="21" y="66"/>
                  </a:moveTo>
                  <a:lnTo>
                    <a:pt x="21" y="68"/>
                  </a:lnTo>
                  <a:lnTo>
                    <a:pt x="21" y="66"/>
                  </a:lnTo>
                  <a:close/>
                  <a:moveTo>
                    <a:pt x="46" y="50"/>
                  </a:moveTo>
                  <a:lnTo>
                    <a:pt x="48" y="50"/>
                  </a:lnTo>
                  <a:lnTo>
                    <a:pt x="46" y="50"/>
                  </a:lnTo>
                  <a:close/>
                  <a:moveTo>
                    <a:pt x="58" y="73"/>
                  </a:moveTo>
                  <a:lnTo>
                    <a:pt x="60" y="73"/>
                  </a:lnTo>
                  <a:lnTo>
                    <a:pt x="58" y="73"/>
                  </a:lnTo>
                  <a:close/>
                  <a:moveTo>
                    <a:pt x="50" y="66"/>
                  </a:moveTo>
                  <a:lnTo>
                    <a:pt x="52" y="66"/>
                  </a:lnTo>
                  <a:lnTo>
                    <a:pt x="50" y="66"/>
                  </a:lnTo>
                  <a:close/>
                  <a:moveTo>
                    <a:pt x="66" y="98"/>
                  </a:moveTo>
                  <a:lnTo>
                    <a:pt x="68" y="98"/>
                  </a:lnTo>
                  <a:lnTo>
                    <a:pt x="66" y="98"/>
                  </a:lnTo>
                  <a:close/>
                  <a:moveTo>
                    <a:pt x="68" y="94"/>
                  </a:moveTo>
                  <a:lnTo>
                    <a:pt x="69" y="94"/>
                  </a:lnTo>
                  <a:lnTo>
                    <a:pt x="68" y="94"/>
                  </a:lnTo>
                  <a:close/>
                  <a:moveTo>
                    <a:pt x="4" y="81"/>
                  </a:moveTo>
                  <a:lnTo>
                    <a:pt x="6" y="81"/>
                  </a:lnTo>
                  <a:lnTo>
                    <a:pt x="4" y="81"/>
                  </a:lnTo>
                  <a:close/>
                  <a:moveTo>
                    <a:pt x="25" y="62"/>
                  </a:moveTo>
                  <a:lnTo>
                    <a:pt x="27" y="62"/>
                  </a:lnTo>
                  <a:lnTo>
                    <a:pt x="27" y="64"/>
                  </a:lnTo>
                  <a:lnTo>
                    <a:pt x="25" y="64"/>
                  </a:lnTo>
                  <a:lnTo>
                    <a:pt x="25" y="62"/>
                  </a:lnTo>
                  <a:close/>
                  <a:moveTo>
                    <a:pt x="8" y="68"/>
                  </a:moveTo>
                  <a:lnTo>
                    <a:pt x="8" y="69"/>
                  </a:lnTo>
                  <a:lnTo>
                    <a:pt x="8" y="68"/>
                  </a:lnTo>
                  <a:close/>
                  <a:moveTo>
                    <a:pt x="37" y="58"/>
                  </a:moveTo>
                  <a:lnTo>
                    <a:pt x="37" y="60"/>
                  </a:lnTo>
                  <a:lnTo>
                    <a:pt x="37" y="58"/>
                  </a:lnTo>
                  <a:close/>
                  <a:moveTo>
                    <a:pt x="62" y="98"/>
                  </a:moveTo>
                  <a:lnTo>
                    <a:pt x="64" y="98"/>
                  </a:lnTo>
                  <a:lnTo>
                    <a:pt x="62" y="98"/>
                  </a:lnTo>
                  <a:close/>
                  <a:moveTo>
                    <a:pt x="31" y="75"/>
                  </a:moveTo>
                  <a:lnTo>
                    <a:pt x="31" y="77"/>
                  </a:lnTo>
                  <a:lnTo>
                    <a:pt x="31" y="75"/>
                  </a:lnTo>
                  <a:close/>
                  <a:moveTo>
                    <a:pt x="31" y="79"/>
                  </a:moveTo>
                  <a:lnTo>
                    <a:pt x="33" y="79"/>
                  </a:lnTo>
                  <a:lnTo>
                    <a:pt x="31" y="79"/>
                  </a:lnTo>
                  <a:close/>
                  <a:moveTo>
                    <a:pt x="33" y="60"/>
                  </a:moveTo>
                  <a:lnTo>
                    <a:pt x="35" y="60"/>
                  </a:lnTo>
                  <a:lnTo>
                    <a:pt x="33" y="60"/>
                  </a:lnTo>
                  <a:close/>
                  <a:moveTo>
                    <a:pt x="56" y="69"/>
                  </a:moveTo>
                  <a:lnTo>
                    <a:pt x="58" y="69"/>
                  </a:lnTo>
                  <a:lnTo>
                    <a:pt x="56" y="69"/>
                  </a:lnTo>
                  <a:close/>
                  <a:moveTo>
                    <a:pt x="4" y="73"/>
                  </a:moveTo>
                  <a:lnTo>
                    <a:pt x="4" y="75"/>
                  </a:lnTo>
                  <a:lnTo>
                    <a:pt x="4" y="73"/>
                  </a:lnTo>
                  <a:close/>
                  <a:moveTo>
                    <a:pt x="69" y="102"/>
                  </a:moveTo>
                  <a:lnTo>
                    <a:pt x="69" y="104"/>
                  </a:lnTo>
                  <a:lnTo>
                    <a:pt x="69" y="102"/>
                  </a:lnTo>
                  <a:close/>
                  <a:moveTo>
                    <a:pt x="71" y="112"/>
                  </a:moveTo>
                  <a:lnTo>
                    <a:pt x="73" y="112"/>
                  </a:lnTo>
                  <a:lnTo>
                    <a:pt x="73" y="114"/>
                  </a:lnTo>
                  <a:lnTo>
                    <a:pt x="71" y="114"/>
                  </a:lnTo>
                  <a:lnTo>
                    <a:pt x="71" y="112"/>
                  </a:lnTo>
                  <a:close/>
                  <a:moveTo>
                    <a:pt x="41" y="56"/>
                  </a:moveTo>
                  <a:lnTo>
                    <a:pt x="41" y="58"/>
                  </a:lnTo>
                  <a:lnTo>
                    <a:pt x="41" y="56"/>
                  </a:lnTo>
                  <a:close/>
                  <a:moveTo>
                    <a:pt x="20" y="100"/>
                  </a:moveTo>
                  <a:lnTo>
                    <a:pt x="20" y="102"/>
                  </a:lnTo>
                  <a:lnTo>
                    <a:pt x="20" y="100"/>
                  </a:lnTo>
                  <a:close/>
                  <a:moveTo>
                    <a:pt x="62" y="73"/>
                  </a:moveTo>
                  <a:lnTo>
                    <a:pt x="62" y="75"/>
                  </a:lnTo>
                  <a:lnTo>
                    <a:pt x="62" y="73"/>
                  </a:lnTo>
                  <a:close/>
                  <a:moveTo>
                    <a:pt x="20" y="73"/>
                  </a:moveTo>
                  <a:lnTo>
                    <a:pt x="21" y="73"/>
                  </a:lnTo>
                  <a:lnTo>
                    <a:pt x="20" y="73"/>
                  </a:lnTo>
                  <a:close/>
                  <a:moveTo>
                    <a:pt x="8" y="68"/>
                  </a:moveTo>
                  <a:lnTo>
                    <a:pt x="8" y="69"/>
                  </a:lnTo>
                  <a:lnTo>
                    <a:pt x="8" y="68"/>
                  </a:lnTo>
                  <a:close/>
                  <a:moveTo>
                    <a:pt x="62" y="71"/>
                  </a:moveTo>
                  <a:lnTo>
                    <a:pt x="64" y="71"/>
                  </a:lnTo>
                  <a:lnTo>
                    <a:pt x="62" y="71"/>
                  </a:lnTo>
                  <a:close/>
                  <a:moveTo>
                    <a:pt x="27" y="77"/>
                  </a:moveTo>
                  <a:lnTo>
                    <a:pt x="27" y="79"/>
                  </a:lnTo>
                  <a:lnTo>
                    <a:pt x="27" y="77"/>
                  </a:lnTo>
                  <a:close/>
                  <a:moveTo>
                    <a:pt x="66" y="94"/>
                  </a:moveTo>
                  <a:lnTo>
                    <a:pt x="68" y="94"/>
                  </a:lnTo>
                  <a:lnTo>
                    <a:pt x="66" y="94"/>
                  </a:lnTo>
                  <a:close/>
                  <a:moveTo>
                    <a:pt x="62" y="73"/>
                  </a:moveTo>
                  <a:lnTo>
                    <a:pt x="62" y="75"/>
                  </a:lnTo>
                  <a:lnTo>
                    <a:pt x="62" y="73"/>
                  </a:lnTo>
                  <a:close/>
                  <a:moveTo>
                    <a:pt x="58" y="56"/>
                  </a:moveTo>
                  <a:lnTo>
                    <a:pt x="60" y="56"/>
                  </a:lnTo>
                  <a:lnTo>
                    <a:pt x="58" y="56"/>
                  </a:lnTo>
                  <a:close/>
                  <a:moveTo>
                    <a:pt x="25" y="96"/>
                  </a:moveTo>
                  <a:lnTo>
                    <a:pt x="25" y="98"/>
                  </a:lnTo>
                  <a:lnTo>
                    <a:pt x="25" y="96"/>
                  </a:lnTo>
                  <a:close/>
                  <a:moveTo>
                    <a:pt x="4" y="77"/>
                  </a:moveTo>
                  <a:lnTo>
                    <a:pt x="4" y="79"/>
                  </a:lnTo>
                  <a:lnTo>
                    <a:pt x="4" y="77"/>
                  </a:lnTo>
                  <a:close/>
                  <a:moveTo>
                    <a:pt x="10" y="77"/>
                  </a:moveTo>
                  <a:lnTo>
                    <a:pt x="10" y="79"/>
                  </a:lnTo>
                  <a:lnTo>
                    <a:pt x="10" y="77"/>
                  </a:lnTo>
                  <a:close/>
                  <a:moveTo>
                    <a:pt x="43" y="56"/>
                  </a:moveTo>
                  <a:lnTo>
                    <a:pt x="43" y="58"/>
                  </a:lnTo>
                  <a:lnTo>
                    <a:pt x="43" y="56"/>
                  </a:lnTo>
                  <a:close/>
                  <a:moveTo>
                    <a:pt x="14" y="75"/>
                  </a:moveTo>
                  <a:lnTo>
                    <a:pt x="16" y="75"/>
                  </a:lnTo>
                  <a:lnTo>
                    <a:pt x="14" y="75"/>
                  </a:lnTo>
                  <a:close/>
                  <a:moveTo>
                    <a:pt x="52" y="60"/>
                  </a:moveTo>
                  <a:lnTo>
                    <a:pt x="52" y="62"/>
                  </a:lnTo>
                  <a:lnTo>
                    <a:pt x="52" y="60"/>
                  </a:lnTo>
                  <a:close/>
                  <a:moveTo>
                    <a:pt x="21" y="66"/>
                  </a:moveTo>
                  <a:lnTo>
                    <a:pt x="21" y="68"/>
                  </a:lnTo>
                  <a:lnTo>
                    <a:pt x="21" y="66"/>
                  </a:lnTo>
                  <a:close/>
                  <a:moveTo>
                    <a:pt x="66" y="89"/>
                  </a:moveTo>
                  <a:lnTo>
                    <a:pt x="66" y="91"/>
                  </a:lnTo>
                  <a:lnTo>
                    <a:pt x="66" y="89"/>
                  </a:lnTo>
                  <a:close/>
                  <a:moveTo>
                    <a:pt x="6" y="71"/>
                  </a:moveTo>
                  <a:lnTo>
                    <a:pt x="6" y="73"/>
                  </a:lnTo>
                  <a:lnTo>
                    <a:pt x="6" y="71"/>
                  </a:lnTo>
                  <a:close/>
                  <a:moveTo>
                    <a:pt x="56" y="52"/>
                  </a:moveTo>
                  <a:lnTo>
                    <a:pt x="56" y="54"/>
                  </a:lnTo>
                  <a:lnTo>
                    <a:pt x="56" y="52"/>
                  </a:lnTo>
                  <a:close/>
                  <a:moveTo>
                    <a:pt x="25" y="81"/>
                  </a:moveTo>
                  <a:lnTo>
                    <a:pt x="27" y="81"/>
                  </a:lnTo>
                  <a:lnTo>
                    <a:pt x="25" y="81"/>
                  </a:lnTo>
                  <a:close/>
                  <a:moveTo>
                    <a:pt x="8" y="87"/>
                  </a:moveTo>
                  <a:lnTo>
                    <a:pt x="10" y="87"/>
                  </a:lnTo>
                  <a:lnTo>
                    <a:pt x="8" y="87"/>
                  </a:lnTo>
                  <a:close/>
                  <a:moveTo>
                    <a:pt x="2" y="79"/>
                  </a:moveTo>
                  <a:lnTo>
                    <a:pt x="4" y="79"/>
                  </a:lnTo>
                  <a:lnTo>
                    <a:pt x="2" y="79"/>
                  </a:lnTo>
                  <a:close/>
                  <a:moveTo>
                    <a:pt x="4" y="75"/>
                  </a:moveTo>
                  <a:lnTo>
                    <a:pt x="4" y="77"/>
                  </a:lnTo>
                  <a:lnTo>
                    <a:pt x="4" y="75"/>
                  </a:lnTo>
                  <a:close/>
                  <a:moveTo>
                    <a:pt x="50" y="62"/>
                  </a:moveTo>
                  <a:lnTo>
                    <a:pt x="52" y="62"/>
                  </a:lnTo>
                  <a:lnTo>
                    <a:pt x="50" y="62"/>
                  </a:lnTo>
                  <a:close/>
                  <a:moveTo>
                    <a:pt x="25" y="85"/>
                  </a:moveTo>
                  <a:lnTo>
                    <a:pt x="25" y="87"/>
                  </a:lnTo>
                  <a:lnTo>
                    <a:pt x="25" y="85"/>
                  </a:lnTo>
                  <a:close/>
                  <a:moveTo>
                    <a:pt x="25" y="79"/>
                  </a:moveTo>
                  <a:lnTo>
                    <a:pt x="27" y="79"/>
                  </a:lnTo>
                  <a:lnTo>
                    <a:pt x="25" y="79"/>
                  </a:lnTo>
                  <a:close/>
                  <a:moveTo>
                    <a:pt x="43" y="102"/>
                  </a:moveTo>
                  <a:lnTo>
                    <a:pt x="45" y="102"/>
                  </a:lnTo>
                  <a:lnTo>
                    <a:pt x="43" y="102"/>
                  </a:lnTo>
                  <a:close/>
                  <a:moveTo>
                    <a:pt x="60" y="85"/>
                  </a:moveTo>
                  <a:lnTo>
                    <a:pt x="62" y="85"/>
                  </a:lnTo>
                  <a:lnTo>
                    <a:pt x="60" y="85"/>
                  </a:lnTo>
                  <a:close/>
                  <a:moveTo>
                    <a:pt x="0" y="71"/>
                  </a:moveTo>
                  <a:lnTo>
                    <a:pt x="2" y="71"/>
                  </a:lnTo>
                  <a:lnTo>
                    <a:pt x="0" y="71"/>
                  </a:lnTo>
                  <a:close/>
                  <a:moveTo>
                    <a:pt x="6" y="71"/>
                  </a:moveTo>
                  <a:lnTo>
                    <a:pt x="8" y="71"/>
                  </a:lnTo>
                  <a:lnTo>
                    <a:pt x="6" y="71"/>
                  </a:lnTo>
                  <a:close/>
                  <a:moveTo>
                    <a:pt x="6" y="71"/>
                  </a:moveTo>
                  <a:lnTo>
                    <a:pt x="8" y="71"/>
                  </a:lnTo>
                  <a:lnTo>
                    <a:pt x="6" y="71"/>
                  </a:lnTo>
                  <a:close/>
                  <a:moveTo>
                    <a:pt x="8" y="69"/>
                  </a:moveTo>
                  <a:lnTo>
                    <a:pt x="8" y="71"/>
                  </a:lnTo>
                  <a:lnTo>
                    <a:pt x="8" y="69"/>
                  </a:lnTo>
                  <a:close/>
                  <a:moveTo>
                    <a:pt x="33" y="81"/>
                  </a:moveTo>
                  <a:lnTo>
                    <a:pt x="35" y="81"/>
                  </a:lnTo>
                  <a:lnTo>
                    <a:pt x="33" y="81"/>
                  </a:lnTo>
                  <a:close/>
                  <a:moveTo>
                    <a:pt x="25" y="64"/>
                  </a:moveTo>
                  <a:lnTo>
                    <a:pt x="27" y="64"/>
                  </a:lnTo>
                  <a:lnTo>
                    <a:pt x="25" y="6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5" name="Rectangle 434">
              <a:extLst>
                <a:ext uri="{FF2B5EF4-FFF2-40B4-BE49-F238E27FC236}">
                  <a16:creationId xmlns:a16="http://schemas.microsoft.com/office/drawing/2014/main" id="{4F8E4D7E-D3AE-45AC-A26E-B0FEC310D8F7}"/>
                </a:ext>
              </a:extLst>
            </p:cNvPr>
            <p:cNvSpPr>
              <a:spLocks noChangeArrowheads="1"/>
            </p:cNvSpPr>
            <p:nvPr/>
          </p:nvSpPr>
          <p:spPr bwMode="gray">
            <a:xfrm>
              <a:off x="6221470" y="4911051"/>
              <a:ext cx="2453" cy="3680"/>
            </a:xfrm>
            <a:prstGeom prst="rect">
              <a:avLst/>
            </a:prstGeom>
            <a:solidFill>
              <a:srgbClr val="D0D0D0"/>
            </a:solidFill>
            <a:ln w="6350">
              <a:solidFill>
                <a:schemeClr val="tx1">
                  <a:alpha val="38000"/>
                </a:schemeClr>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6" name="Freeform 435">
              <a:extLst>
                <a:ext uri="{FF2B5EF4-FFF2-40B4-BE49-F238E27FC236}">
                  <a16:creationId xmlns:a16="http://schemas.microsoft.com/office/drawing/2014/main" id="{8C1F77BE-7758-44A0-866E-21D78D4DD8A5}"/>
                </a:ext>
              </a:extLst>
            </p:cNvPr>
            <p:cNvSpPr>
              <a:spLocks noEditPoints="1"/>
            </p:cNvSpPr>
            <p:nvPr/>
          </p:nvSpPr>
          <p:spPr bwMode="gray">
            <a:xfrm>
              <a:off x="6183452" y="5018972"/>
              <a:ext cx="322538" cy="461118"/>
            </a:xfrm>
            <a:custGeom>
              <a:avLst/>
              <a:gdLst>
                <a:gd name="T0" fmla="*/ 113 w 263"/>
                <a:gd name="T1" fmla="*/ 131 h 376"/>
                <a:gd name="T2" fmla="*/ 117 w 263"/>
                <a:gd name="T3" fmla="*/ 131 h 376"/>
                <a:gd name="T4" fmla="*/ 119 w 263"/>
                <a:gd name="T5" fmla="*/ 131 h 376"/>
                <a:gd name="T6" fmla="*/ 123 w 263"/>
                <a:gd name="T7" fmla="*/ 129 h 376"/>
                <a:gd name="T8" fmla="*/ 123 w 263"/>
                <a:gd name="T9" fmla="*/ 134 h 376"/>
                <a:gd name="T10" fmla="*/ 111 w 263"/>
                <a:gd name="T11" fmla="*/ 161 h 376"/>
                <a:gd name="T12" fmla="*/ 104 w 263"/>
                <a:gd name="T13" fmla="*/ 179 h 376"/>
                <a:gd name="T14" fmla="*/ 98 w 263"/>
                <a:gd name="T15" fmla="*/ 182 h 376"/>
                <a:gd name="T16" fmla="*/ 79 w 263"/>
                <a:gd name="T17" fmla="*/ 202 h 376"/>
                <a:gd name="T18" fmla="*/ 73 w 263"/>
                <a:gd name="T19" fmla="*/ 225 h 376"/>
                <a:gd name="T20" fmla="*/ 46 w 263"/>
                <a:gd name="T21" fmla="*/ 242 h 376"/>
                <a:gd name="T22" fmla="*/ 31 w 263"/>
                <a:gd name="T23" fmla="*/ 236 h 376"/>
                <a:gd name="T24" fmla="*/ 14 w 263"/>
                <a:gd name="T25" fmla="*/ 229 h 376"/>
                <a:gd name="T26" fmla="*/ 14 w 263"/>
                <a:gd name="T27" fmla="*/ 221 h 376"/>
                <a:gd name="T28" fmla="*/ 19 w 263"/>
                <a:gd name="T29" fmla="*/ 213 h 376"/>
                <a:gd name="T30" fmla="*/ 27 w 263"/>
                <a:gd name="T31" fmla="*/ 200 h 376"/>
                <a:gd name="T32" fmla="*/ 50 w 263"/>
                <a:gd name="T33" fmla="*/ 181 h 376"/>
                <a:gd name="T34" fmla="*/ 69 w 263"/>
                <a:gd name="T35" fmla="*/ 167 h 376"/>
                <a:gd name="T36" fmla="*/ 92 w 263"/>
                <a:gd name="T37" fmla="*/ 131 h 376"/>
                <a:gd name="T38" fmla="*/ 106 w 263"/>
                <a:gd name="T39" fmla="*/ 119 h 376"/>
                <a:gd name="T40" fmla="*/ 108 w 263"/>
                <a:gd name="T41" fmla="*/ 11 h 376"/>
                <a:gd name="T42" fmla="*/ 115 w 263"/>
                <a:gd name="T43" fmla="*/ 17 h 376"/>
                <a:gd name="T44" fmla="*/ 119 w 263"/>
                <a:gd name="T45" fmla="*/ 19 h 376"/>
                <a:gd name="T46" fmla="*/ 125 w 263"/>
                <a:gd name="T47" fmla="*/ 19 h 376"/>
                <a:gd name="T48" fmla="*/ 127 w 263"/>
                <a:gd name="T49" fmla="*/ 27 h 376"/>
                <a:gd name="T50" fmla="*/ 133 w 263"/>
                <a:gd name="T51" fmla="*/ 38 h 376"/>
                <a:gd name="T52" fmla="*/ 129 w 263"/>
                <a:gd name="T53" fmla="*/ 48 h 376"/>
                <a:gd name="T54" fmla="*/ 133 w 263"/>
                <a:gd name="T55" fmla="*/ 50 h 376"/>
                <a:gd name="T56" fmla="*/ 140 w 263"/>
                <a:gd name="T57" fmla="*/ 48 h 376"/>
                <a:gd name="T58" fmla="*/ 148 w 263"/>
                <a:gd name="T59" fmla="*/ 50 h 376"/>
                <a:gd name="T60" fmla="*/ 150 w 263"/>
                <a:gd name="T61" fmla="*/ 65 h 376"/>
                <a:gd name="T62" fmla="*/ 177 w 263"/>
                <a:gd name="T63" fmla="*/ 63 h 376"/>
                <a:gd name="T64" fmla="*/ 184 w 263"/>
                <a:gd name="T65" fmla="*/ 77 h 376"/>
                <a:gd name="T66" fmla="*/ 169 w 263"/>
                <a:gd name="T67" fmla="*/ 90 h 376"/>
                <a:gd name="T68" fmla="*/ 152 w 263"/>
                <a:gd name="T69" fmla="*/ 127 h 376"/>
                <a:gd name="T70" fmla="*/ 131 w 263"/>
                <a:gd name="T71" fmla="*/ 134 h 376"/>
                <a:gd name="T72" fmla="*/ 136 w 263"/>
                <a:gd name="T73" fmla="*/ 108 h 376"/>
                <a:gd name="T74" fmla="*/ 127 w 263"/>
                <a:gd name="T75" fmla="*/ 88 h 376"/>
                <a:gd name="T76" fmla="*/ 135 w 263"/>
                <a:gd name="T77" fmla="*/ 67 h 376"/>
                <a:gd name="T78" fmla="*/ 131 w 263"/>
                <a:gd name="T79" fmla="*/ 58 h 376"/>
                <a:gd name="T80" fmla="*/ 131 w 263"/>
                <a:gd name="T81" fmla="*/ 52 h 376"/>
                <a:gd name="T82" fmla="*/ 127 w 263"/>
                <a:gd name="T83" fmla="*/ 46 h 376"/>
                <a:gd name="T84" fmla="*/ 125 w 263"/>
                <a:gd name="T85" fmla="*/ 38 h 376"/>
                <a:gd name="T86" fmla="*/ 121 w 263"/>
                <a:gd name="T87" fmla="*/ 40 h 376"/>
                <a:gd name="T88" fmla="*/ 115 w 263"/>
                <a:gd name="T89" fmla="*/ 21 h 376"/>
                <a:gd name="T90" fmla="*/ 108 w 263"/>
                <a:gd name="T91" fmla="*/ 15 h 376"/>
                <a:gd name="T92" fmla="*/ 31 w 263"/>
                <a:gd name="T93" fmla="*/ 248 h 376"/>
                <a:gd name="T94" fmla="*/ 33 w 263"/>
                <a:gd name="T95" fmla="*/ 252 h 376"/>
                <a:gd name="T96" fmla="*/ 23 w 263"/>
                <a:gd name="T97" fmla="*/ 255 h 376"/>
                <a:gd name="T98" fmla="*/ 261 w 263"/>
                <a:gd name="T99" fmla="*/ 184 h 376"/>
                <a:gd name="T100" fmla="*/ 6 w 263"/>
                <a:gd name="T101" fmla="*/ 328 h 376"/>
                <a:gd name="T102" fmla="*/ 2 w 263"/>
                <a:gd name="T103" fmla="*/ 334 h 376"/>
                <a:gd name="T104" fmla="*/ 138 w 263"/>
                <a:gd name="T105" fmla="*/ 38 h 376"/>
                <a:gd name="T106" fmla="*/ 117 w 263"/>
                <a:gd name="T107" fmla="*/ 123 h 376"/>
                <a:gd name="T108" fmla="*/ 125 w 263"/>
                <a:gd name="T109" fmla="*/ 132 h 376"/>
                <a:gd name="T110" fmla="*/ 133 w 263"/>
                <a:gd name="T111" fmla="*/ 42 h 376"/>
                <a:gd name="T112" fmla="*/ 6 w 263"/>
                <a:gd name="T113" fmla="*/ 328 h 376"/>
                <a:gd name="T114" fmla="*/ 12 w 263"/>
                <a:gd name="T115" fmla="*/ 219 h 376"/>
                <a:gd name="T116" fmla="*/ 125 w 263"/>
                <a:gd name="T117" fmla="*/ 131 h 376"/>
                <a:gd name="T118" fmla="*/ 123 w 263"/>
                <a:gd name="T119" fmla="*/ 129 h 376"/>
                <a:gd name="T120" fmla="*/ 140 w 263"/>
                <a:gd name="T121" fmla="*/ 50 h 376"/>
                <a:gd name="T122" fmla="*/ 125 w 263"/>
                <a:gd name="T123" fmla="*/ 132 h 376"/>
                <a:gd name="T124" fmla="*/ 29 w 263"/>
                <a:gd name="T125" fmla="*/ 24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 h="376">
                  <a:moveTo>
                    <a:pt x="100" y="121"/>
                  </a:moveTo>
                  <a:lnTo>
                    <a:pt x="100" y="123"/>
                  </a:lnTo>
                  <a:lnTo>
                    <a:pt x="102" y="123"/>
                  </a:lnTo>
                  <a:lnTo>
                    <a:pt x="102" y="125"/>
                  </a:lnTo>
                  <a:lnTo>
                    <a:pt x="104" y="125"/>
                  </a:lnTo>
                  <a:lnTo>
                    <a:pt x="104" y="123"/>
                  </a:lnTo>
                  <a:lnTo>
                    <a:pt x="104" y="125"/>
                  </a:lnTo>
                  <a:lnTo>
                    <a:pt x="104" y="123"/>
                  </a:lnTo>
                  <a:lnTo>
                    <a:pt x="104" y="125"/>
                  </a:lnTo>
                  <a:lnTo>
                    <a:pt x="104" y="123"/>
                  </a:lnTo>
                  <a:lnTo>
                    <a:pt x="106" y="123"/>
                  </a:lnTo>
                  <a:lnTo>
                    <a:pt x="106" y="125"/>
                  </a:lnTo>
                  <a:lnTo>
                    <a:pt x="106" y="127"/>
                  </a:lnTo>
                  <a:lnTo>
                    <a:pt x="106" y="129"/>
                  </a:lnTo>
                  <a:lnTo>
                    <a:pt x="106" y="131"/>
                  </a:lnTo>
                  <a:lnTo>
                    <a:pt x="106" y="132"/>
                  </a:lnTo>
                  <a:lnTo>
                    <a:pt x="108" y="132"/>
                  </a:lnTo>
                  <a:lnTo>
                    <a:pt x="106" y="132"/>
                  </a:lnTo>
                  <a:lnTo>
                    <a:pt x="108" y="132"/>
                  </a:lnTo>
                  <a:lnTo>
                    <a:pt x="106" y="132"/>
                  </a:lnTo>
                  <a:lnTo>
                    <a:pt x="108" y="132"/>
                  </a:lnTo>
                  <a:lnTo>
                    <a:pt x="108" y="134"/>
                  </a:lnTo>
                  <a:lnTo>
                    <a:pt x="108" y="132"/>
                  </a:lnTo>
                  <a:lnTo>
                    <a:pt x="110" y="132"/>
                  </a:lnTo>
                  <a:lnTo>
                    <a:pt x="110" y="131"/>
                  </a:lnTo>
                  <a:lnTo>
                    <a:pt x="111" y="131"/>
                  </a:lnTo>
                  <a:lnTo>
                    <a:pt x="113" y="131"/>
                  </a:lnTo>
                  <a:lnTo>
                    <a:pt x="113" y="129"/>
                  </a:lnTo>
                  <a:lnTo>
                    <a:pt x="113" y="131"/>
                  </a:lnTo>
                  <a:lnTo>
                    <a:pt x="113" y="129"/>
                  </a:lnTo>
                  <a:lnTo>
                    <a:pt x="115" y="129"/>
                  </a:lnTo>
                  <a:lnTo>
                    <a:pt x="113" y="129"/>
                  </a:lnTo>
                  <a:lnTo>
                    <a:pt x="113" y="131"/>
                  </a:lnTo>
                  <a:lnTo>
                    <a:pt x="115" y="129"/>
                  </a:lnTo>
                  <a:lnTo>
                    <a:pt x="115" y="131"/>
                  </a:lnTo>
                  <a:lnTo>
                    <a:pt x="115" y="129"/>
                  </a:lnTo>
                  <a:lnTo>
                    <a:pt x="117" y="129"/>
                  </a:lnTo>
                  <a:lnTo>
                    <a:pt x="115" y="129"/>
                  </a:lnTo>
                  <a:lnTo>
                    <a:pt x="117" y="129"/>
                  </a:lnTo>
                  <a:lnTo>
                    <a:pt x="115" y="129"/>
                  </a:lnTo>
                  <a:lnTo>
                    <a:pt x="115" y="127"/>
                  </a:lnTo>
                  <a:lnTo>
                    <a:pt x="115" y="129"/>
                  </a:lnTo>
                  <a:lnTo>
                    <a:pt x="115" y="127"/>
                  </a:lnTo>
                  <a:lnTo>
                    <a:pt x="115" y="129"/>
                  </a:lnTo>
                  <a:lnTo>
                    <a:pt x="115" y="127"/>
                  </a:lnTo>
                  <a:lnTo>
                    <a:pt x="117" y="127"/>
                  </a:lnTo>
                  <a:lnTo>
                    <a:pt x="119" y="127"/>
                  </a:lnTo>
                  <a:lnTo>
                    <a:pt x="117" y="127"/>
                  </a:lnTo>
                  <a:lnTo>
                    <a:pt x="119" y="127"/>
                  </a:lnTo>
                  <a:lnTo>
                    <a:pt x="119" y="125"/>
                  </a:lnTo>
                  <a:lnTo>
                    <a:pt x="119" y="127"/>
                  </a:lnTo>
                  <a:lnTo>
                    <a:pt x="121" y="127"/>
                  </a:lnTo>
                  <a:lnTo>
                    <a:pt x="119" y="127"/>
                  </a:lnTo>
                  <a:lnTo>
                    <a:pt x="121" y="127"/>
                  </a:lnTo>
                  <a:lnTo>
                    <a:pt x="119" y="127"/>
                  </a:lnTo>
                  <a:lnTo>
                    <a:pt x="119" y="129"/>
                  </a:lnTo>
                  <a:lnTo>
                    <a:pt x="119" y="127"/>
                  </a:lnTo>
                  <a:lnTo>
                    <a:pt x="117" y="127"/>
                  </a:lnTo>
                  <a:lnTo>
                    <a:pt x="117" y="129"/>
                  </a:lnTo>
                  <a:lnTo>
                    <a:pt x="117" y="127"/>
                  </a:lnTo>
                  <a:lnTo>
                    <a:pt x="117" y="129"/>
                  </a:lnTo>
                  <a:lnTo>
                    <a:pt x="115" y="129"/>
                  </a:lnTo>
                  <a:lnTo>
                    <a:pt x="117" y="129"/>
                  </a:lnTo>
                  <a:lnTo>
                    <a:pt x="115" y="129"/>
                  </a:lnTo>
                  <a:lnTo>
                    <a:pt x="117" y="129"/>
                  </a:lnTo>
                  <a:lnTo>
                    <a:pt x="117" y="131"/>
                  </a:lnTo>
                  <a:lnTo>
                    <a:pt x="117" y="129"/>
                  </a:lnTo>
                  <a:lnTo>
                    <a:pt x="119" y="129"/>
                  </a:lnTo>
                  <a:lnTo>
                    <a:pt x="117" y="129"/>
                  </a:lnTo>
                  <a:lnTo>
                    <a:pt x="119" y="129"/>
                  </a:lnTo>
                  <a:lnTo>
                    <a:pt x="119" y="131"/>
                  </a:lnTo>
                  <a:lnTo>
                    <a:pt x="117" y="131"/>
                  </a:lnTo>
                  <a:lnTo>
                    <a:pt x="119" y="131"/>
                  </a:lnTo>
                  <a:lnTo>
                    <a:pt x="117" y="131"/>
                  </a:lnTo>
                  <a:lnTo>
                    <a:pt x="119" y="131"/>
                  </a:lnTo>
                  <a:lnTo>
                    <a:pt x="117" y="131"/>
                  </a:lnTo>
                  <a:lnTo>
                    <a:pt x="117" y="132"/>
                  </a:lnTo>
                  <a:lnTo>
                    <a:pt x="115" y="132"/>
                  </a:lnTo>
                  <a:lnTo>
                    <a:pt x="117" y="132"/>
                  </a:lnTo>
                  <a:lnTo>
                    <a:pt x="119" y="132"/>
                  </a:lnTo>
                  <a:lnTo>
                    <a:pt x="117" y="132"/>
                  </a:lnTo>
                  <a:lnTo>
                    <a:pt x="119" y="132"/>
                  </a:lnTo>
                  <a:lnTo>
                    <a:pt x="119" y="131"/>
                  </a:lnTo>
                  <a:lnTo>
                    <a:pt x="119" y="132"/>
                  </a:lnTo>
                  <a:lnTo>
                    <a:pt x="119" y="131"/>
                  </a:lnTo>
                  <a:lnTo>
                    <a:pt x="121" y="131"/>
                  </a:lnTo>
                  <a:lnTo>
                    <a:pt x="119" y="131"/>
                  </a:lnTo>
                  <a:lnTo>
                    <a:pt x="117" y="131"/>
                  </a:lnTo>
                  <a:lnTo>
                    <a:pt x="117" y="132"/>
                  </a:lnTo>
                  <a:lnTo>
                    <a:pt x="117" y="131"/>
                  </a:lnTo>
                  <a:lnTo>
                    <a:pt x="119" y="131"/>
                  </a:lnTo>
                  <a:lnTo>
                    <a:pt x="117" y="131"/>
                  </a:lnTo>
                  <a:lnTo>
                    <a:pt x="119" y="131"/>
                  </a:lnTo>
                  <a:lnTo>
                    <a:pt x="117" y="131"/>
                  </a:lnTo>
                  <a:lnTo>
                    <a:pt x="119" y="131"/>
                  </a:lnTo>
                  <a:lnTo>
                    <a:pt x="117" y="131"/>
                  </a:lnTo>
                  <a:lnTo>
                    <a:pt x="119" y="131"/>
                  </a:lnTo>
                  <a:lnTo>
                    <a:pt x="119" y="129"/>
                  </a:lnTo>
                  <a:lnTo>
                    <a:pt x="119" y="131"/>
                  </a:lnTo>
                  <a:lnTo>
                    <a:pt x="119" y="129"/>
                  </a:lnTo>
                  <a:lnTo>
                    <a:pt x="119" y="131"/>
                  </a:lnTo>
                  <a:lnTo>
                    <a:pt x="119" y="129"/>
                  </a:lnTo>
                  <a:lnTo>
                    <a:pt x="121" y="129"/>
                  </a:lnTo>
                  <a:lnTo>
                    <a:pt x="121" y="131"/>
                  </a:lnTo>
                  <a:lnTo>
                    <a:pt x="121" y="129"/>
                  </a:lnTo>
                  <a:lnTo>
                    <a:pt x="119" y="129"/>
                  </a:lnTo>
                  <a:lnTo>
                    <a:pt x="121" y="129"/>
                  </a:lnTo>
                  <a:lnTo>
                    <a:pt x="119" y="129"/>
                  </a:lnTo>
                  <a:lnTo>
                    <a:pt x="121" y="129"/>
                  </a:lnTo>
                  <a:lnTo>
                    <a:pt x="119" y="129"/>
                  </a:lnTo>
                  <a:lnTo>
                    <a:pt x="119" y="127"/>
                  </a:lnTo>
                  <a:lnTo>
                    <a:pt x="121" y="127"/>
                  </a:lnTo>
                  <a:lnTo>
                    <a:pt x="119" y="127"/>
                  </a:lnTo>
                  <a:lnTo>
                    <a:pt x="121" y="127"/>
                  </a:lnTo>
                  <a:lnTo>
                    <a:pt x="119" y="127"/>
                  </a:lnTo>
                  <a:lnTo>
                    <a:pt x="121" y="127"/>
                  </a:lnTo>
                  <a:lnTo>
                    <a:pt x="119" y="127"/>
                  </a:lnTo>
                  <a:lnTo>
                    <a:pt x="119" y="129"/>
                  </a:lnTo>
                  <a:lnTo>
                    <a:pt x="121" y="129"/>
                  </a:lnTo>
                  <a:lnTo>
                    <a:pt x="121" y="127"/>
                  </a:lnTo>
                  <a:lnTo>
                    <a:pt x="121" y="129"/>
                  </a:lnTo>
                  <a:lnTo>
                    <a:pt x="121" y="127"/>
                  </a:lnTo>
                  <a:lnTo>
                    <a:pt x="121" y="129"/>
                  </a:lnTo>
                  <a:lnTo>
                    <a:pt x="121" y="127"/>
                  </a:lnTo>
                  <a:lnTo>
                    <a:pt x="121" y="129"/>
                  </a:lnTo>
                  <a:lnTo>
                    <a:pt x="123" y="129"/>
                  </a:lnTo>
                  <a:lnTo>
                    <a:pt x="121" y="129"/>
                  </a:lnTo>
                  <a:lnTo>
                    <a:pt x="121" y="127"/>
                  </a:lnTo>
                  <a:lnTo>
                    <a:pt x="123" y="127"/>
                  </a:lnTo>
                  <a:lnTo>
                    <a:pt x="123" y="129"/>
                  </a:lnTo>
                  <a:lnTo>
                    <a:pt x="123" y="127"/>
                  </a:lnTo>
                  <a:lnTo>
                    <a:pt x="123" y="129"/>
                  </a:lnTo>
                  <a:lnTo>
                    <a:pt x="125" y="129"/>
                  </a:lnTo>
                  <a:lnTo>
                    <a:pt x="125" y="127"/>
                  </a:lnTo>
                  <a:lnTo>
                    <a:pt x="125" y="129"/>
                  </a:lnTo>
                  <a:lnTo>
                    <a:pt x="123" y="129"/>
                  </a:lnTo>
                  <a:lnTo>
                    <a:pt x="123" y="131"/>
                  </a:lnTo>
                  <a:lnTo>
                    <a:pt x="123" y="129"/>
                  </a:lnTo>
                  <a:lnTo>
                    <a:pt x="123" y="131"/>
                  </a:lnTo>
                  <a:lnTo>
                    <a:pt x="123" y="129"/>
                  </a:lnTo>
                  <a:lnTo>
                    <a:pt x="123" y="131"/>
                  </a:lnTo>
                  <a:lnTo>
                    <a:pt x="121" y="131"/>
                  </a:lnTo>
                  <a:lnTo>
                    <a:pt x="123" y="131"/>
                  </a:lnTo>
                  <a:lnTo>
                    <a:pt x="123" y="132"/>
                  </a:lnTo>
                  <a:lnTo>
                    <a:pt x="121" y="132"/>
                  </a:lnTo>
                  <a:lnTo>
                    <a:pt x="121" y="131"/>
                  </a:lnTo>
                  <a:lnTo>
                    <a:pt x="121" y="132"/>
                  </a:lnTo>
                  <a:lnTo>
                    <a:pt x="121" y="131"/>
                  </a:lnTo>
                  <a:lnTo>
                    <a:pt x="121" y="132"/>
                  </a:lnTo>
                  <a:lnTo>
                    <a:pt x="119" y="132"/>
                  </a:lnTo>
                  <a:lnTo>
                    <a:pt x="121" y="132"/>
                  </a:lnTo>
                  <a:lnTo>
                    <a:pt x="119" y="132"/>
                  </a:lnTo>
                  <a:lnTo>
                    <a:pt x="121" y="132"/>
                  </a:lnTo>
                  <a:lnTo>
                    <a:pt x="119" y="132"/>
                  </a:lnTo>
                  <a:lnTo>
                    <a:pt x="121" y="132"/>
                  </a:lnTo>
                  <a:lnTo>
                    <a:pt x="123" y="132"/>
                  </a:lnTo>
                  <a:lnTo>
                    <a:pt x="121" y="132"/>
                  </a:lnTo>
                  <a:lnTo>
                    <a:pt x="123" y="132"/>
                  </a:lnTo>
                  <a:lnTo>
                    <a:pt x="125" y="132"/>
                  </a:lnTo>
                  <a:lnTo>
                    <a:pt x="123" y="132"/>
                  </a:lnTo>
                  <a:lnTo>
                    <a:pt x="125" y="132"/>
                  </a:lnTo>
                  <a:lnTo>
                    <a:pt x="123" y="132"/>
                  </a:lnTo>
                  <a:lnTo>
                    <a:pt x="123" y="134"/>
                  </a:lnTo>
                  <a:lnTo>
                    <a:pt x="121" y="134"/>
                  </a:lnTo>
                  <a:lnTo>
                    <a:pt x="123" y="134"/>
                  </a:lnTo>
                  <a:lnTo>
                    <a:pt x="121" y="134"/>
                  </a:lnTo>
                  <a:lnTo>
                    <a:pt x="123" y="134"/>
                  </a:lnTo>
                  <a:lnTo>
                    <a:pt x="123" y="132"/>
                  </a:lnTo>
                  <a:lnTo>
                    <a:pt x="123" y="134"/>
                  </a:lnTo>
                  <a:lnTo>
                    <a:pt x="123" y="132"/>
                  </a:lnTo>
                  <a:lnTo>
                    <a:pt x="123" y="134"/>
                  </a:lnTo>
                  <a:lnTo>
                    <a:pt x="121" y="134"/>
                  </a:lnTo>
                  <a:lnTo>
                    <a:pt x="123" y="134"/>
                  </a:lnTo>
                  <a:lnTo>
                    <a:pt x="121" y="132"/>
                  </a:lnTo>
                  <a:lnTo>
                    <a:pt x="123" y="132"/>
                  </a:lnTo>
                  <a:lnTo>
                    <a:pt x="121" y="132"/>
                  </a:lnTo>
                  <a:lnTo>
                    <a:pt x="121" y="134"/>
                  </a:lnTo>
                  <a:lnTo>
                    <a:pt x="121" y="136"/>
                  </a:lnTo>
                  <a:lnTo>
                    <a:pt x="121" y="138"/>
                  </a:lnTo>
                  <a:lnTo>
                    <a:pt x="123" y="138"/>
                  </a:lnTo>
                  <a:lnTo>
                    <a:pt x="123" y="140"/>
                  </a:lnTo>
                  <a:lnTo>
                    <a:pt x="123" y="142"/>
                  </a:lnTo>
                  <a:lnTo>
                    <a:pt x="123" y="144"/>
                  </a:lnTo>
                  <a:lnTo>
                    <a:pt x="121" y="144"/>
                  </a:lnTo>
                  <a:lnTo>
                    <a:pt x="121" y="146"/>
                  </a:lnTo>
                  <a:lnTo>
                    <a:pt x="121" y="148"/>
                  </a:lnTo>
                  <a:lnTo>
                    <a:pt x="119" y="148"/>
                  </a:lnTo>
                  <a:lnTo>
                    <a:pt x="119" y="150"/>
                  </a:lnTo>
                  <a:lnTo>
                    <a:pt x="119" y="152"/>
                  </a:lnTo>
                  <a:lnTo>
                    <a:pt x="117" y="152"/>
                  </a:lnTo>
                  <a:lnTo>
                    <a:pt x="117" y="154"/>
                  </a:lnTo>
                  <a:lnTo>
                    <a:pt x="115" y="154"/>
                  </a:lnTo>
                  <a:lnTo>
                    <a:pt x="115" y="156"/>
                  </a:lnTo>
                  <a:lnTo>
                    <a:pt x="113" y="156"/>
                  </a:lnTo>
                  <a:lnTo>
                    <a:pt x="113" y="157"/>
                  </a:lnTo>
                  <a:lnTo>
                    <a:pt x="113" y="159"/>
                  </a:lnTo>
                  <a:lnTo>
                    <a:pt x="111" y="159"/>
                  </a:lnTo>
                  <a:lnTo>
                    <a:pt x="111" y="161"/>
                  </a:lnTo>
                  <a:lnTo>
                    <a:pt x="111" y="163"/>
                  </a:lnTo>
                  <a:lnTo>
                    <a:pt x="110" y="163"/>
                  </a:lnTo>
                  <a:lnTo>
                    <a:pt x="110" y="165"/>
                  </a:lnTo>
                  <a:lnTo>
                    <a:pt x="110" y="167"/>
                  </a:lnTo>
                  <a:lnTo>
                    <a:pt x="108" y="167"/>
                  </a:lnTo>
                  <a:lnTo>
                    <a:pt x="106" y="167"/>
                  </a:lnTo>
                  <a:lnTo>
                    <a:pt x="106" y="169"/>
                  </a:lnTo>
                  <a:lnTo>
                    <a:pt x="104" y="169"/>
                  </a:lnTo>
                  <a:lnTo>
                    <a:pt x="102" y="169"/>
                  </a:lnTo>
                  <a:lnTo>
                    <a:pt x="102" y="171"/>
                  </a:lnTo>
                  <a:lnTo>
                    <a:pt x="102" y="173"/>
                  </a:lnTo>
                  <a:lnTo>
                    <a:pt x="102" y="175"/>
                  </a:lnTo>
                  <a:lnTo>
                    <a:pt x="100" y="175"/>
                  </a:lnTo>
                  <a:lnTo>
                    <a:pt x="102" y="175"/>
                  </a:lnTo>
                  <a:lnTo>
                    <a:pt x="100" y="175"/>
                  </a:lnTo>
                  <a:lnTo>
                    <a:pt x="102" y="175"/>
                  </a:lnTo>
                  <a:lnTo>
                    <a:pt x="102" y="177"/>
                  </a:lnTo>
                  <a:lnTo>
                    <a:pt x="102" y="179"/>
                  </a:lnTo>
                  <a:lnTo>
                    <a:pt x="102" y="177"/>
                  </a:lnTo>
                  <a:lnTo>
                    <a:pt x="102" y="179"/>
                  </a:lnTo>
                  <a:lnTo>
                    <a:pt x="100" y="179"/>
                  </a:lnTo>
                  <a:lnTo>
                    <a:pt x="102" y="179"/>
                  </a:lnTo>
                  <a:lnTo>
                    <a:pt x="100" y="179"/>
                  </a:lnTo>
                  <a:lnTo>
                    <a:pt x="100" y="181"/>
                  </a:lnTo>
                  <a:lnTo>
                    <a:pt x="102" y="181"/>
                  </a:lnTo>
                  <a:lnTo>
                    <a:pt x="102" y="179"/>
                  </a:lnTo>
                  <a:lnTo>
                    <a:pt x="102" y="181"/>
                  </a:lnTo>
                  <a:lnTo>
                    <a:pt x="102" y="179"/>
                  </a:lnTo>
                  <a:lnTo>
                    <a:pt x="102" y="181"/>
                  </a:lnTo>
                  <a:lnTo>
                    <a:pt x="104" y="181"/>
                  </a:lnTo>
                  <a:lnTo>
                    <a:pt x="104" y="179"/>
                  </a:lnTo>
                  <a:lnTo>
                    <a:pt x="104" y="181"/>
                  </a:lnTo>
                  <a:lnTo>
                    <a:pt x="104" y="179"/>
                  </a:lnTo>
                  <a:lnTo>
                    <a:pt x="104" y="181"/>
                  </a:lnTo>
                  <a:lnTo>
                    <a:pt x="104" y="179"/>
                  </a:lnTo>
                  <a:lnTo>
                    <a:pt x="104" y="181"/>
                  </a:lnTo>
                  <a:lnTo>
                    <a:pt x="104" y="179"/>
                  </a:lnTo>
                  <a:lnTo>
                    <a:pt x="104" y="181"/>
                  </a:lnTo>
                  <a:lnTo>
                    <a:pt x="106" y="181"/>
                  </a:lnTo>
                  <a:lnTo>
                    <a:pt x="108" y="181"/>
                  </a:lnTo>
                  <a:lnTo>
                    <a:pt x="108" y="182"/>
                  </a:lnTo>
                  <a:lnTo>
                    <a:pt x="108" y="181"/>
                  </a:lnTo>
                  <a:lnTo>
                    <a:pt x="108" y="182"/>
                  </a:lnTo>
                  <a:lnTo>
                    <a:pt x="106" y="182"/>
                  </a:lnTo>
                  <a:lnTo>
                    <a:pt x="108" y="182"/>
                  </a:lnTo>
                  <a:lnTo>
                    <a:pt x="106" y="182"/>
                  </a:lnTo>
                  <a:lnTo>
                    <a:pt x="108" y="182"/>
                  </a:lnTo>
                  <a:lnTo>
                    <a:pt x="108" y="184"/>
                  </a:lnTo>
                  <a:lnTo>
                    <a:pt x="106" y="184"/>
                  </a:lnTo>
                  <a:lnTo>
                    <a:pt x="108" y="184"/>
                  </a:lnTo>
                  <a:lnTo>
                    <a:pt x="106" y="184"/>
                  </a:lnTo>
                  <a:lnTo>
                    <a:pt x="104" y="184"/>
                  </a:lnTo>
                  <a:lnTo>
                    <a:pt x="104" y="182"/>
                  </a:lnTo>
                  <a:lnTo>
                    <a:pt x="106" y="182"/>
                  </a:lnTo>
                  <a:lnTo>
                    <a:pt x="104" y="182"/>
                  </a:lnTo>
                  <a:lnTo>
                    <a:pt x="106" y="182"/>
                  </a:lnTo>
                  <a:lnTo>
                    <a:pt x="104" y="182"/>
                  </a:lnTo>
                  <a:lnTo>
                    <a:pt x="104" y="184"/>
                  </a:lnTo>
                  <a:lnTo>
                    <a:pt x="102" y="184"/>
                  </a:lnTo>
                  <a:lnTo>
                    <a:pt x="104" y="184"/>
                  </a:lnTo>
                  <a:lnTo>
                    <a:pt x="102" y="184"/>
                  </a:lnTo>
                  <a:lnTo>
                    <a:pt x="100" y="184"/>
                  </a:lnTo>
                  <a:lnTo>
                    <a:pt x="98" y="184"/>
                  </a:lnTo>
                  <a:lnTo>
                    <a:pt x="96" y="184"/>
                  </a:lnTo>
                  <a:lnTo>
                    <a:pt x="98" y="184"/>
                  </a:lnTo>
                  <a:lnTo>
                    <a:pt x="98" y="182"/>
                  </a:lnTo>
                  <a:lnTo>
                    <a:pt x="100" y="182"/>
                  </a:lnTo>
                  <a:lnTo>
                    <a:pt x="98" y="182"/>
                  </a:lnTo>
                  <a:lnTo>
                    <a:pt x="98" y="181"/>
                  </a:lnTo>
                  <a:lnTo>
                    <a:pt x="98" y="182"/>
                  </a:lnTo>
                  <a:lnTo>
                    <a:pt x="98" y="181"/>
                  </a:lnTo>
                  <a:lnTo>
                    <a:pt x="98" y="182"/>
                  </a:lnTo>
                  <a:lnTo>
                    <a:pt x="96" y="182"/>
                  </a:lnTo>
                  <a:lnTo>
                    <a:pt x="96" y="184"/>
                  </a:lnTo>
                  <a:lnTo>
                    <a:pt x="94" y="184"/>
                  </a:lnTo>
                  <a:lnTo>
                    <a:pt x="92" y="186"/>
                  </a:lnTo>
                  <a:lnTo>
                    <a:pt x="90" y="186"/>
                  </a:lnTo>
                  <a:lnTo>
                    <a:pt x="90" y="188"/>
                  </a:lnTo>
                  <a:lnTo>
                    <a:pt x="88" y="188"/>
                  </a:lnTo>
                  <a:lnTo>
                    <a:pt x="87" y="188"/>
                  </a:lnTo>
                  <a:lnTo>
                    <a:pt x="87" y="190"/>
                  </a:lnTo>
                  <a:lnTo>
                    <a:pt x="85" y="190"/>
                  </a:lnTo>
                  <a:lnTo>
                    <a:pt x="83" y="190"/>
                  </a:lnTo>
                  <a:lnTo>
                    <a:pt x="83" y="192"/>
                  </a:lnTo>
                  <a:lnTo>
                    <a:pt x="81" y="192"/>
                  </a:lnTo>
                  <a:lnTo>
                    <a:pt x="81" y="194"/>
                  </a:lnTo>
                  <a:lnTo>
                    <a:pt x="79" y="194"/>
                  </a:lnTo>
                  <a:lnTo>
                    <a:pt x="79" y="196"/>
                  </a:lnTo>
                  <a:lnTo>
                    <a:pt x="81" y="196"/>
                  </a:lnTo>
                  <a:lnTo>
                    <a:pt x="79" y="196"/>
                  </a:lnTo>
                  <a:lnTo>
                    <a:pt x="81" y="196"/>
                  </a:lnTo>
                  <a:lnTo>
                    <a:pt x="79" y="196"/>
                  </a:lnTo>
                  <a:lnTo>
                    <a:pt x="81" y="196"/>
                  </a:lnTo>
                  <a:lnTo>
                    <a:pt x="79" y="196"/>
                  </a:lnTo>
                  <a:lnTo>
                    <a:pt x="81" y="196"/>
                  </a:lnTo>
                  <a:lnTo>
                    <a:pt x="79" y="196"/>
                  </a:lnTo>
                  <a:lnTo>
                    <a:pt x="79" y="198"/>
                  </a:lnTo>
                  <a:lnTo>
                    <a:pt x="79" y="200"/>
                  </a:lnTo>
                  <a:lnTo>
                    <a:pt x="79" y="202"/>
                  </a:lnTo>
                  <a:lnTo>
                    <a:pt x="79" y="204"/>
                  </a:lnTo>
                  <a:lnTo>
                    <a:pt x="79" y="205"/>
                  </a:lnTo>
                  <a:lnTo>
                    <a:pt x="79" y="207"/>
                  </a:lnTo>
                  <a:lnTo>
                    <a:pt x="77" y="207"/>
                  </a:lnTo>
                  <a:lnTo>
                    <a:pt x="77" y="209"/>
                  </a:lnTo>
                  <a:lnTo>
                    <a:pt x="75" y="209"/>
                  </a:lnTo>
                  <a:lnTo>
                    <a:pt x="75" y="211"/>
                  </a:lnTo>
                  <a:lnTo>
                    <a:pt x="75" y="213"/>
                  </a:lnTo>
                  <a:lnTo>
                    <a:pt x="73" y="213"/>
                  </a:lnTo>
                  <a:lnTo>
                    <a:pt x="73" y="215"/>
                  </a:lnTo>
                  <a:lnTo>
                    <a:pt x="75" y="215"/>
                  </a:lnTo>
                  <a:lnTo>
                    <a:pt x="73" y="215"/>
                  </a:lnTo>
                  <a:lnTo>
                    <a:pt x="75" y="215"/>
                  </a:lnTo>
                  <a:lnTo>
                    <a:pt x="73" y="215"/>
                  </a:lnTo>
                  <a:lnTo>
                    <a:pt x="73" y="217"/>
                  </a:lnTo>
                  <a:lnTo>
                    <a:pt x="73" y="219"/>
                  </a:lnTo>
                  <a:lnTo>
                    <a:pt x="71" y="219"/>
                  </a:lnTo>
                  <a:lnTo>
                    <a:pt x="71" y="221"/>
                  </a:lnTo>
                  <a:lnTo>
                    <a:pt x="71" y="223"/>
                  </a:lnTo>
                  <a:lnTo>
                    <a:pt x="69" y="223"/>
                  </a:lnTo>
                  <a:lnTo>
                    <a:pt x="71" y="223"/>
                  </a:lnTo>
                  <a:lnTo>
                    <a:pt x="71" y="225"/>
                  </a:lnTo>
                  <a:lnTo>
                    <a:pt x="69" y="225"/>
                  </a:lnTo>
                  <a:lnTo>
                    <a:pt x="71" y="225"/>
                  </a:lnTo>
                  <a:lnTo>
                    <a:pt x="69" y="225"/>
                  </a:lnTo>
                  <a:lnTo>
                    <a:pt x="69" y="227"/>
                  </a:lnTo>
                  <a:lnTo>
                    <a:pt x="69" y="225"/>
                  </a:lnTo>
                  <a:lnTo>
                    <a:pt x="71" y="225"/>
                  </a:lnTo>
                  <a:lnTo>
                    <a:pt x="73" y="225"/>
                  </a:lnTo>
                  <a:lnTo>
                    <a:pt x="71" y="225"/>
                  </a:lnTo>
                  <a:lnTo>
                    <a:pt x="73" y="225"/>
                  </a:lnTo>
                  <a:lnTo>
                    <a:pt x="71" y="225"/>
                  </a:lnTo>
                  <a:lnTo>
                    <a:pt x="73" y="225"/>
                  </a:lnTo>
                  <a:lnTo>
                    <a:pt x="73" y="227"/>
                  </a:lnTo>
                  <a:lnTo>
                    <a:pt x="71" y="227"/>
                  </a:lnTo>
                  <a:lnTo>
                    <a:pt x="71" y="225"/>
                  </a:lnTo>
                  <a:lnTo>
                    <a:pt x="71" y="227"/>
                  </a:lnTo>
                  <a:lnTo>
                    <a:pt x="69" y="227"/>
                  </a:lnTo>
                  <a:lnTo>
                    <a:pt x="67" y="227"/>
                  </a:lnTo>
                  <a:lnTo>
                    <a:pt x="65" y="227"/>
                  </a:lnTo>
                  <a:lnTo>
                    <a:pt x="65" y="229"/>
                  </a:lnTo>
                  <a:lnTo>
                    <a:pt x="65" y="230"/>
                  </a:lnTo>
                  <a:lnTo>
                    <a:pt x="63" y="230"/>
                  </a:lnTo>
                  <a:lnTo>
                    <a:pt x="63" y="232"/>
                  </a:lnTo>
                  <a:lnTo>
                    <a:pt x="62" y="232"/>
                  </a:lnTo>
                  <a:lnTo>
                    <a:pt x="62" y="234"/>
                  </a:lnTo>
                  <a:lnTo>
                    <a:pt x="60" y="234"/>
                  </a:lnTo>
                  <a:lnTo>
                    <a:pt x="60" y="236"/>
                  </a:lnTo>
                  <a:lnTo>
                    <a:pt x="58" y="236"/>
                  </a:lnTo>
                  <a:lnTo>
                    <a:pt x="58" y="238"/>
                  </a:lnTo>
                  <a:lnTo>
                    <a:pt x="60" y="238"/>
                  </a:lnTo>
                  <a:lnTo>
                    <a:pt x="58" y="238"/>
                  </a:lnTo>
                  <a:lnTo>
                    <a:pt x="60" y="238"/>
                  </a:lnTo>
                  <a:lnTo>
                    <a:pt x="58" y="238"/>
                  </a:lnTo>
                  <a:lnTo>
                    <a:pt x="56" y="238"/>
                  </a:lnTo>
                  <a:lnTo>
                    <a:pt x="58" y="238"/>
                  </a:lnTo>
                  <a:lnTo>
                    <a:pt x="58" y="240"/>
                  </a:lnTo>
                  <a:lnTo>
                    <a:pt x="56" y="240"/>
                  </a:lnTo>
                  <a:lnTo>
                    <a:pt x="54" y="240"/>
                  </a:lnTo>
                  <a:lnTo>
                    <a:pt x="54" y="242"/>
                  </a:lnTo>
                  <a:lnTo>
                    <a:pt x="52" y="242"/>
                  </a:lnTo>
                  <a:lnTo>
                    <a:pt x="50" y="242"/>
                  </a:lnTo>
                  <a:lnTo>
                    <a:pt x="48" y="242"/>
                  </a:lnTo>
                  <a:lnTo>
                    <a:pt x="50" y="242"/>
                  </a:lnTo>
                  <a:lnTo>
                    <a:pt x="48" y="242"/>
                  </a:lnTo>
                  <a:lnTo>
                    <a:pt x="46" y="242"/>
                  </a:lnTo>
                  <a:lnTo>
                    <a:pt x="44" y="242"/>
                  </a:lnTo>
                  <a:lnTo>
                    <a:pt x="44" y="240"/>
                  </a:lnTo>
                  <a:lnTo>
                    <a:pt x="42" y="240"/>
                  </a:lnTo>
                  <a:lnTo>
                    <a:pt x="40" y="240"/>
                  </a:lnTo>
                  <a:lnTo>
                    <a:pt x="40" y="242"/>
                  </a:lnTo>
                  <a:lnTo>
                    <a:pt x="39" y="242"/>
                  </a:lnTo>
                  <a:lnTo>
                    <a:pt x="37" y="242"/>
                  </a:lnTo>
                  <a:lnTo>
                    <a:pt x="39" y="242"/>
                  </a:lnTo>
                  <a:lnTo>
                    <a:pt x="39" y="240"/>
                  </a:lnTo>
                  <a:lnTo>
                    <a:pt x="39" y="242"/>
                  </a:lnTo>
                  <a:lnTo>
                    <a:pt x="39" y="240"/>
                  </a:lnTo>
                  <a:lnTo>
                    <a:pt x="39" y="242"/>
                  </a:lnTo>
                  <a:lnTo>
                    <a:pt x="40" y="242"/>
                  </a:lnTo>
                  <a:lnTo>
                    <a:pt x="40" y="240"/>
                  </a:lnTo>
                  <a:lnTo>
                    <a:pt x="39" y="240"/>
                  </a:lnTo>
                  <a:lnTo>
                    <a:pt x="37" y="240"/>
                  </a:lnTo>
                  <a:lnTo>
                    <a:pt x="39" y="240"/>
                  </a:lnTo>
                  <a:lnTo>
                    <a:pt x="37" y="240"/>
                  </a:lnTo>
                  <a:lnTo>
                    <a:pt x="37" y="242"/>
                  </a:lnTo>
                  <a:lnTo>
                    <a:pt x="37" y="240"/>
                  </a:lnTo>
                  <a:lnTo>
                    <a:pt x="35" y="240"/>
                  </a:lnTo>
                  <a:lnTo>
                    <a:pt x="37" y="240"/>
                  </a:lnTo>
                  <a:lnTo>
                    <a:pt x="37" y="238"/>
                  </a:lnTo>
                  <a:lnTo>
                    <a:pt x="39" y="238"/>
                  </a:lnTo>
                  <a:lnTo>
                    <a:pt x="37" y="238"/>
                  </a:lnTo>
                  <a:lnTo>
                    <a:pt x="37" y="240"/>
                  </a:lnTo>
                  <a:lnTo>
                    <a:pt x="37" y="238"/>
                  </a:lnTo>
                  <a:lnTo>
                    <a:pt x="35" y="238"/>
                  </a:lnTo>
                  <a:lnTo>
                    <a:pt x="35" y="236"/>
                  </a:lnTo>
                  <a:lnTo>
                    <a:pt x="33" y="236"/>
                  </a:lnTo>
                  <a:lnTo>
                    <a:pt x="31" y="236"/>
                  </a:lnTo>
                  <a:lnTo>
                    <a:pt x="33" y="236"/>
                  </a:lnTo>
                  <a:lnTo>
                    <a:pt x="31" y="236"/>
                  </a:lnTo>
                  <a:lnTo>
                    <a:pt x="29" y="236"/>
                  </a:lnTo>
                  <a:lnTo>
                    <a:pt x="27" y="236"/>
                  </a:lnTo>
                  <a:lnTo>
                    <a:pt x="27" y="234"/>
                  </a:lnTo>
                  <a:lnTo>
                    <a:pt x="29" y="234"/>
                  </a:lnTo>
                  <a:lnTo>
                    <a:pt x="27" y="234"/>
                  </a:lnTo>
                  <a:lnTo>
                    <a:pt x="27" y="232"/>
                  </a:lnTo>
                  <a:lnTo>
                    <a:pt x="25" y="232"/>
                  </a:lnTo>
                  <a:lnTo>
                    <a:pt x="23" y="232"/>
                  </a:lnTo>
                  <a:lnTo>
                    <a:pt x="23" y="234"/>
                  </a:lnTo>
                  <a:lnTo>
                    <a:pt x="21" y="234"/>
                  </a:lnTo>
                  <a:lnTo>
                    <a:pt x="19" y="234"/>
                  </a:lnTo>
                  <a:lnTo>
                    <a:pt x="17" y="234"/>
                  </a:lnTo>
                  <a:lnTo>
                    <a:pt x="17" y="232"/>
                  </a:lnTo>
                  <a:lnTo>
                    <a:pt x="17" y="234"/>
                  </a:lnTo>
                  <a:lnTo>
                    <a:pt x="17" y="232"/>
                  </a:lnTo>
                  <a:lnTo>
                    <a:pt x="17" y="234"/>
                  </a:lnTo>
                  <a:lnTo>
                    <a:pt x="17" y="232"/>
                  </a:lnTo>
                  <a:lnTo>
                    <a:pt x="16" y="232"/>
                  </a:lnTo>
                  <a:lnTo>
                    <a:pt x="14" y="232"/>
                  </a:lnTo>
                  <a:lnTo>
                    <a:pt x="14" y="234"/>
                  </a:lnTo>
                  <a:lnTo>
                    <a:pt x="14" y="232"/>
                  </a:lnTo>
                  <a:lnTo>
                    <a:pt x="12" y="232"/>
                  </a:lnTo>
                  <a:lnTo>
                    <a:pt x="12" y="230"/>
                  </a:lnTo>
                  <a:lnTo>
                    <a:pt x="14" y="230"/>
                  </a:lnTo>
                  <a:lnTo>
                    <a:pt x="14" y="229"/>
                  </a:lnTo>
                  <a:lnTo>
                    <a:pt x="16" y="229"/>
                  </a:lnTo>
                  <a:lnTo>
                    <a:pt x="16" y="227"/>
                  </a:lnTo>
                  <a:lnTo>
                    <a:pt x="16" y="229"/>
                  </a:lnTo>
                  <a:lnTo>
                    <a:pt x="14" y="229"/>
                  </a:lnTo>
                  <a:lnTo>
                    <a:pt x="14" y="230"/>
                  </a:lnTo>
                  <a:lnTo>
                    <a:pt x="14" y="229"/>
                  </a:lnTo>
                  <a:lnTo>
                    <a:pt x="14" y="230"/>
                  </a:lnTo>
                  <a:lnTo>
                    <a:pt x="14" y="229"/>
                  </a:lnTo>
                  <a:lnTo>
                    <a:pt x="14" y="230"/>
                  </a:lnTo>
                  <a:lnTo>
                    <a:pt x="12" y="230"/>
                  </a:lnTo>
                  <a:lnTo>
                    <a:pt x="12" y="229"/>
                  </a:lnTo>
                  <a:lnTo>
                    <a:pt x="12" y="230"/>
                  </a:lnTo>
                  <a:lnTo>
                    <a:pt x="12" y="229"/>
                  </a:lnTo>
                  <a:lnTo>
                    <a:pt x="14" y="229"/>
                  </a:lnTo>
                  <a:lnTo>
                    <a:pt x="14" y="227"/>
                  </a:lnTo>
                  <a:lnTo>
                    <a:pt x="14" y="229"/>
                  </a:lnTo>
                  <a:lnTo>
                    <a:pt x="12" y="227"/>
                  </a:lnTo>
                  <a:lnTo>
                    <a:pt x="14" y="227"/>
                  </a:lnTo>
                  <a:lnTo>
                    <a:pt x="14" y="225"/>
                  </a:lnTo>
                  <a:lnTo>
                    <a:pt x="14" y="227"/>
                  </a:lnTo>
                  <a:lnTo>
                    <a:pt x="12" y="227"/>
                  </a:lnTo>
                  <a:lnTo>
                    <a:pt x="12" y="229"/>
                  </a:lnTo>
                  <a:lnTo>
                    <a:pt x="10" y="229"/>
                  </a:lnTo>
                  <a:lnTo>
                    <a:pt x="10" y="227"/>
                  </a:lnTo>
                  <a:lnTo>
                    <a:pt x="10" y="225"/>
                  </a:lnTo>
                  <a:lnTo>
                    <a:pt x="12" y="225"/>
                  </a:lnTo>
                  <a:lnTo>
                    <a:pt x="14" y="225"/>
                  </a:lnTo>
                  <a:lnTo>
                    <a:pt x="14" y="223"/>
                  </a:lnTo>
                  <a:lnTo>
                    <a:pt x="16" y="223"/>
                  </a:lnTo>
                  <a:lnTo>
                    <a:pt x="16" y="225"/>
                  </a:lnTo>
                  <a:lnTo>
                    <a:pt x="16" y="223"/>
                  </a:lnTo>
                  <a:lnTo>
                    <a:pt x="17" y="223"/>
                  </a:lnTo>
                  <a:lnTo>
                    <a:pt x="16" y="223"/>
                  </a:lnTo>
                  <a:lnTo>
                    <a:pt x="17" y="223"/>
                  </a:lnTo>
                  <a:lnTo>
                    <a:pt x="16" y="223"/>
                  </a:lnTo>
                  <a:lnTo>
                    <a:pt x="14" y="223"/>
                  </a:lnTo>
                  <a:lnTo>
                    <a:pt x="14" y="221"/>
                  </a:lnTo>
                  <a:lnTo>
                    <a:pt x="16" y="221"/>
                  </a:lnTo>
                  <a:lnTo>
                    <a:pt x="17" y="221"/>
                  </a:lnTo>
                  <a:lnTo>
                    <a:pt x="16" y="221"/>
                  </a:lnTo>
                  <a:lnTo>
                    <a:pt x="14" y="221"/>
                  </a:lnTo>
                  <a:lnTo>
                    <a:pt x="14" y="219"/>
                  </a:lnTo>
                  <a:lnTo>
                    <a:pt x="16" y="219"/>
                  </a:lnTo>
                  <a:lnTo>
                    <a:pt x="17" y="219"/>
                  </a:lnTo>
                  <a:lnTo>
                    <a:pt x="16" y="219"/>
                  </a:lnTo>
                  <a:lnTo>
                    <a:pt x="17" y="219"/>
                  </a:lnTo>
                  <a:lnTo>
                    <a:pt x="17" y="217"/>
                  </a:lnTo>
                  <a:lnTo>
                    <a:pt x="17" y="219"/>
                  </a:lnTo>
                  <a:lnTo>
                    <a:pt x="16" y="219"/>
                  </a:lnTo>
                  <a:lnTo>
                    <a:pt x="14" y="219"/>
                  </a:lnTo>
                  <a:lnTo>
                    <a:pt x="14" y="217"/>
                  </a:lnTo>
                  <a:lnTo>
                    <a:pt x="14" y="215"/>
                  </a:lnTo>
                  <a:lnTo>
                    <a:pt x="16" y="215"/>
                  </a:lnTo>
                  <a:lnTo>
                    <a:pt x="16" y="213"/>
                  </a:lnTo>
                  <a:lnTo>
                    <a:pt x="17" y="213"/>
                  </a:lnTo>
                  <a:lnTo>
                    <a:pt x="17" y="215"/>
                  </a:lnTo>
                  <a:lnTo>
                    <a:pt x="16" y="215"/>
                  </a:lnTo>
                  <a:lnTo>
                    <a:pt x="17" y="215"/>
                  </a:lnTo>
                  <a:lnTo>
                    <a:pt x="17" y="217"/>
                  </a:lnTo>
                  <a:lnTo>
                    <a:pt x="17" y="215"/>
                  </a:lnTo>
                  <a:lnTo>
                    <a:pt x="17" y="217"/>
                  </a:lnTo>
                  <a:lnTo>
                    <a:pt x="16" y="217"/>
                  </a:lnTo>
                  <a:lnTo>
                    <a:pt x="17" y="217"/>
                  </a:lnTo>
                  <a:lnTo>
                    <a:pt x="17" y="215"/>
                  </a:lnTo>
                  <a:lnTo>
                    <a:pt x="19" y="215"/>
                  </a:lnTo>
                  <a:lnTo>
                    <a:pt x="19" y="217"/>
                  </a:lnTo>
                  <a:lnTo>
                    <a:pt x="19" y="219"/>
                  </a:lnTo>
                  <a:lnTo>
                    <a:pt x="17" y="219"/>
                  </a:lnTo>
                  <a:lnTo>
                    <a:pt x="19" y="219"/>
                  </a:lnTo>
                  <a:lnTo>
                    <a:pt x="19" y="217"/>
                  </a:lnTo>
                  <a:lnTo>
                    <a:pt x="19" y="215"/>
                  </a:lnTo>
                  <a:lnTo>
                    <a:pt x="17" y="215"/>
                  </a:lnTo>
                  <a:lnTo>
                    <a:pt x="17" y="213"/>
                  </a:lnTo>
                  <a:lnTo>
                    <a:pt x="19" y="213"/>
                  </a:lnTo>
                  <a:lnTo>
                    <a:pt x="19" y="215"/>
                  </a:lnTo>
                  <a:lnTo>
                    <a:pt x="21" y="215"/>
                  </a:lnTo>
                  <a:lnTo>
                    <a:pt x="19" y="215"/>
                  </a:lnTo>
                  <a:lnTo>
                    <a:pt x="19" y="213"/>
                  </a:lnTo>
                  <a:lnTo>
                    <a:pt x="17" y="213"/>
                  </a:lnTo>
                  <a:lnTo>
                    <a:pt x="17" y="211"/>
                  </a:lnTo>
                  <a:lnTo>
                    <a:pt x="17" y="209"/>
                  </a:lnTo>
                  <a:lnTo>
                    <a:pt x="19" y="209"/>
                  </a:lnTo>
                  <a:lnTo>
                    <a:pt x="19" y="207"/>
                  </a:lnTo>
                  <a:lnTo>
                    <a:pt x="21" y="207"/>
                  </a:lnTo>
                  <a:lnTo>
                    <a:pt x="19" y="207"/>
                  </a:lnTo>
                  <a:lnTo>
                    <a:pt x="21" y="207"/>
                  </a:lnTo>
                  <a:lnTo>
                    <a:pt x="19" y="207"/>
                  </a:lnTo>
                  <a:lnTo>
                    <a:pt x="21" y="207"/>
                  </a:lnTo>
                  <a:lnTo>
                    <a:pt x="21" y="205"/>
                  </a:lnTo>
                  <a:lnTo>
                    <a:pt x="23" y="205"/>
                  </a:lnTo>
                  <a:lnTo>
                    <a:pt x="21" y="205"/>
                  </a:lnTo>
                  <a:lnTo>
                    <a:pt x="23" y="205"/>
                  </a:lnTo>
                  <a:lnTo>
                    <a:pt x="23" y="204"/>
                  </a:lnTo>
                  <a:lnTo>
                    <a:pt x="23" y="205"/>
                  </a:lnTo>
                  <a:lnTo>
                    <a:pt x="23" y="207"/>
                  </a:lnTo>
                  <a:lnTo>
                    <a:pt x="23" y="205"/>
                  </a:lnTo>
                  <a:lnTo>
                    <a:pt x="23" y="204"/>
                  </a:lnTo>
                  <a:lnTo>
                    <a:pt x="25" y="204"/>
                  </a:lnTo>
                  <a:lnTo>
                    <a:pt x="25" y="205"/>
                  </a:lnTo>
                  <a:lnTo>
                    <a:pt x="25" y="204"/>
                  </a:lnTo>
                  <a:lnTo>
                    <a:pt x="25" y="202"/>
                  </a:lnTo>
                  <a:lnTo>
                    <a:pt x="27" y="202"/>
                  </a:lnTo>
                  <a:lnTo>
                    <a:pt x="27" y="204"/>
                  </a:lnTo>
                  <a:lnTo>
                    <a:pt x="27" y="202"/>
                  </a:lnTo>
                  <a:lnTo>
                    <a:pt x="25" y="202"/>
                  </a:lnTo>
                  <a:lnTo>
                    <a:pt x="27" y="202"/>
                  </a:lnTo>
                  <a:lnTo>
                    <a:pt x="27" y="200"/>
                  </a:lnTo>
                  <a:lnTo>
                    <a:pt x="27" y="202"/>
                  </a:lnTo>
                  <a:lnTo>
                    <a:pt x="27" y="200"/>
                  </a:lnTo>
                  <a:lnTo>
                    <a:pt x="29" y="200"/>
                  </a:lnTo>
                  <a:lnTo>
                    <a:pt x="31" y="200"/>
                  </a:lnTo>
                  <a:lnTo>
                    <a:pt x="31" y="202"/>
                  </a:lnTo>
                  <a:lnTo>
                    <a:pt x="31" y="200"/>
                  </a:lnTo>
                  <a:lnTo>
                    <a:pt x="29" y="200"/>
                  </a:lnTo>
                  <a:lnTo>
                    <a:pt x="29" y="198"/>
                  </a:lnTo>
                  <a:lnTo>
                    <a:pt x="31" y="198"/>
                  </a:lnTo>
                  <a:lnTo>
                    <a:pt x="31" y="196"/>
                  </a:lnTo>
                  <a:lnTo>
                    <a:pt x="33" y="196"/>
                  </a:lnTo>
                  <a:lnTo>
                    <a:pt x="33" y="194"/>
                  </a:lnTo>
                  <a:lnTo>
                    <a:pt x="35" y="194"/>
                  </a:lnTo>
                  <a:lnTo>
                    <a:pt x="35" y="192"/>
                  </a:lnTo>
                  <a:lnTo>
                    <a:pt x="33" y="192"/>
                  </a:lnTo>
                  <a:lnTo>
                    <a:pt x="35" y="192"/>
                  </a:lnTo>
                  <a:lnTo>
                    <a:pt x="35" y="190"/>
                  </a:lnTo>
                  <a:lnTo>
                    <a:pt x="37" y="190"/>
                  </a:lnTo>
                  <a:lnTo>
                    <a:pt x="37" y="188"/>
                  </a:lnTo>
                  <a:lnTo>
                    <a:pt x="39" y="188"/>
                  </a:lnTo>
                  <a:lnTo>
                    <a:pt x="39" y="186"/>
                  </a:lnTo>
                  <a:lnTo>
                    <a:pt x="39" y="188"/>
                  </a:lnTo>
                  <a:lnTo>
                    <a:pt x="39" y="186"/>
                  </a:lnTo>
                  <a:lnTo>
                    <a:pt x="39" y="188"/>
                  </a:lnTo>
                  <a:lnTo>
                    <a:pt x="40" y="186"/>
                  </a:lnTo>
                  <a:lnTo>
                    <a:pt x="42" y="186"/>
                  </a:lnTo>
                  <a:lnTo>
                    <a:pt x="44" y="186"/>
                  </a:lnTo>
                  <a:lnTo>
                    <a:pt x="44" y="184"/>
                  </a:lnTo>
                  <a:lnTo>
                    <a:pt x="46" y="184"/>
                  </a:lnTo>
                  <a:lnTo>
                    <a:pt x="48" y="184"/>
                  </a:lnTo>
                  <a:lnTo>
                    <a:pt x="48" y="182"/>
                  </a:lnTo>
                  <a:lnTo>
                    <a:pt x="50" y="182"/>
                  </a:lnTo>
                  <a:lnTo>
                    <a:pt x="50" y="181"/>
                  </a:lnTo>
                  <a:lnTo>
                    <a:pt x="52" y="181"/>
                  </a:lnTo>
                  <a:lnTo>
                    <a:pt x="54" y="181"/>
                  </a:lnTo>
                  <a:lnTo>
                    <a:pt x="54" y="179"/>
                  </a:lnTo>
                  <a:lnTo>
                    <a:pt x="54" y="181"/>
                  </a:lnTo>
                  <a:lnTo>
                    <a:pt x="54" y="179"/>
                  </a:lnTo>
                  <a:lnTo>
                    <a:pt x="56" y="179"/>
                  </a:lnTo>
                  <a:lnTo>
                    <a:pt x="58" y="179"/>
                  </a:lnTo>
                  <a:lnTo>
                    <a:pt x="58" y="177"/>
                  </a:lnTo>
                  <a:lnTo>
                    <a:pt x="58" y="175"/>
                  </a:lnTo>
                  <a:lnTo>
                    <a:pt x="60" y="175"/>
                  </a:lnTo>
                  <a:lnTo>
                    <a:pt x="62" y="175"/>
                  </a:lnTo>
                  <a:lnTo>
                    <a:pt x="62" y="173"/>
                  </a:lnTo>
                  <a:lnTo>
                    <a:pt x="63" y="173"/>
                  </a:lnTo>
                  <a:lnTo>
                    <a:pt x="63" y="171"/>
                  </a:lnTo>
                  <a:lnTo>
                    <a:pt x="65" y="171"/>
                  </a:lnTo>
                  <a:lnTo>
                    <a:pt x="63" y="171"/>
                  </a:lnTo>
                  <a:lnTo>
                    <a:pt x="65" y="171"/>
                  </a:lnTo>
                  <a:lnTo>
                    <a:pt x="63" y="171"/>
                  </a:lnTo>
                  <a:lnTo>
                    <a:pt x="65" y="171"/>
                  </a:lnTo>
                  <a:lnTo>
                    <a:pt x="63" y="171"/>
                  </a:lnTo>
                  <a:lnTo>
                    <a:pt x="65" y="171"/>
                  </a:lnTo>
                  <a:lnTo>
                    <a:pt x="63" y="171"/>
                  </a:lnTo>
                  <a:lnTo>
                    <a:pt x="65" y="171"/>
                  </a:lnTo>
                  <a:lnTo>
                    <a:pt x="63" y="171"/>
                  </a:lnTo>
                  <a:lnTo>
                    <a:pt x="65" y="171"/>
                  </a:lnTo>
                  <a:lnTo>
                    <a:pt x="63" y="171"/>
                  </a:lnTo>
                  <a:lnTo>
                    <a:pt x="65" y="171"/>
                  </a:lnTo>
                  <a:lnTo>
                    <a:pt x="63" y="171"/>
                  </a:lnTo>
                  <a:lnTo>
                    <a:pt x="65" y="171"/>
                  </a:lnTo>
                  <a:lnTo>
                    <a:pt x="65" y="169"/>
                  </a:lnTo>
                  <a:lnTo>
                    <a:pt x="67" y="169"/>
                  </a:lnTo>
                  <a:lnTo>
                    <a:pt x="67" y="167"/>
                  </a:lnTo>
                  <a:lnTo>
                    <a:pt x="69" y="167"/>
                  </a:lnTo>
                  <a:lnTo>
                    <a:pt x="71" y="167"/>
                  </a:lnTo>
                  <a:lnTo>
                    <a:pt x="71" y="165"/>
                  </a:lnTo>
                  <a:lnTo>
                    <a:pt x="73" y="165"/>
                  </a:lnTo>
                  <a:lnTo>
                    <a:pt x="73" y="163"/>
                  </a:lnTo>
                  <a:lnTo>
                    <a:pt x="75" y="163"/>
                  </a:lnTo>
                  <a:lnTo>
                    <a:pt x="75" y="161"/>
                  </a:lnTo>
                  <a:lnTo>
                    <a:pt x="77" y="161"/>
                  </a:lnTo>
                  <a:lnTo>
                    <a:pt x="77" y="159"/>
                  </a:lnTo>
                  <a:lnTo>
                    <a:pt x="77" y="157"/>
                  </a:lnTo>
                  <a:lnTo>
                    <a:pt x="79" y="157"/>
                  </a:lnTo>
                  <a:lnTo>
                    <a:pt x="79" y="156"/>
                  </a:lnTo>
                  <a:lnTo>
                    <a:pt x="79" y="154"/>
                  </a:lnTo>
                  <a:lnTo>
                    <a:pt x="81" y="154"/>
                  </a:lnTo>
                  <a:lnTo>
                    <a:pt x="81" y="152"/>
                  </a:lnTo>
                  <a:lnTo>
                    <a:pt x="81" y="150"/>
                  </a:lnTo>
                  <a:lnTo>
                    <a:pt x="81" y="148"/>
                  </a:lnTo>
                  <a:lnTo>
                    <a:pt x="83" y="148"/>
                  </a:lnTo>
                  <a:lnTo>
                    <a:pt x="83" y="146"/>
                  </a:lnTo>
                  <a:lnTo>
                    <a:pt x="83" y="144"/>
                  </a:lnTo>
                  <a:lnTo>
                    <a:pt x="83" y="146"/>
                  </a:lnTo>
                  <a:lnTo>
                    <a:pt x="83" y="144"/>
                  </a:lnTo>
                  <a:lnTo>
                    <a:pt x="83" y="142"/>
                  </a:lnTo>
                  <a:lnTo>
                    <a:pt x="85" y="142"/>
                  </a:lnTo>
                  <a:lnTo>
                    <a:pt x="87" y="142"/>
                  </a:lnTo>
                  <a:lnTo>
                    <a:pt x="87" y="140"/>
                  </a:lnTo>
                  <a:lnTo>
                    <a:pt x="88" y="140"/>
                  </a:lnTo>
                  <a:lnTo>
                    <a:pt x="88" y="138"/>
                  </a:lnTo>
                  <a:lnTo>
                    <a:pt x="90" y="138"/>
                  </a:lnTo>
                  <a:lnTo>
                    <a:pt x="90" y="136"/>
                  </a:lnTo>
                  <a:lnTo>
                    <a:pt x="90" y="134"/>
                  </a:lnTo>
                  <a:lnTo>
                    <a:pt x="92" y="134"/>
                  </a:lnTo>
                  <a:lnTo>
                    <a:pt x="92" y="132"/>
                  </a:lnTo>
                  <a:lnTo>
                    <a:pt x="92" y="131"/>
                  </a:lnTo>
                  <a:lnTo>
                    <a:pt x="92" y="129"/>
                  </a:lnTo>
                  <a:lnTo>
                    <a:pt x="92" y="127"/>
                  </a:lnTo>
                  <a:lnTo>
                    <a:pt x="92" y="125"/>
                  </a:lnTo>
                  <a:lnTo>
                    <a:pt x="94" y="125"/>
                  </a:lnTo>
                  <a:lnTo>
                    <a:pt x="94" y="123"/>
                  </a:lnTo>
                  <a:lnTo>
                    <a:pt x="96" y="123"/>
                  </a:lnTo>
                  <a:lnTo>
                    <a:pt x="96" y="121"/>
                  </a:lnTo>
                  <a:lnTo>
                    <a:pt x="98" y="121"/>
                  </a:lnTo>
                  <a:lnTo>
                    <a:pt x="98" y="119"/>
                  </a:lnTo>
                  <a:lnTo>
                    <a:pt x="98" y="121"/>
                  </a:lnTo>
                  <a:lnTo>
                    <a:pt x="98" y="119"/>
                  </a:lnTo>
                  <a:lnTo>
                    <a:pt x="98" y="121"/>
                  </a:lnTo>
                  <a:lnTo>
                    <a:pt x="100" y="121"/>
                  </a:lnTo>
                  <a:lnTo>
                    <a:pt x="100" y="119"/>
                  </a:lnTo>
                  <a:lnTo>
                    <a:pt x="100" y="121"/>
                  </a:lnTo>
                  <a:lnTo>
                    <a:pt x="100" y="119"/>
                  </a:lnTo>
                  <a:lnTo>
                    <a:pt x="100" y="121"/>
                  </a:lnTo>
                  <a:lnTo>
                    <a:pt x="100" y="119"/>
                  </a:lnTo>
                  <a:lnTo>
                    <a:pt x="98" y="119"/>
                  </a:lnTo>
                  <a:lnTo>
                    <a:pt x="100" y="119"/>
                  </a:lnTo>
                  <a:lnTo>
                    <a:pt x="98" y="119"/>
                  </a:lnTo>
                  <a:lnTo>
                    <a:pt x="100" y="119"/>
                  </a:lnTo>
                  <a:lnTo>
                    <a:pt x="98" y="119"/>
                  </a:lnTo>
                  <a:lnTo>
                    <a:pt x="100" y="119"/>
                  </a:lnTo>
                  <a:lnTo>
                    <a:pt x="100" y="117"/>
                  </a:lnTo>
                  <a:lnTo>
                    <a:pt x="100" y="119"/>
                  </a:lnTo>
                  <a:lnTo>
                    <a:pt x="100" y="117"/>
                  </a:lnTo>
                  <a:lnTo>
                    <a:pt x="102" y="117"/>
                  </a:lnTo>
                  <a:lnTo>
                    <a:pt x="102" y="119"/>
                  </a:lnTo>
                  <a:lnTo>
                    <a:pt x="102" y="117"/>
                  </a:lnTo>
                  <a:lnTo>
                    <a:pt x="104" y="117"/>
                  </a:lnTo>
                  <a:lnTo>
                    <a:pt x="104" y="119"/>
                  </a:lnTo>
                  <a:lnTo>
                    <a:pt x="106" y="119"/>
                  </a:lnTo>
                  <a:lnTo>
                    <a:pt x="104" y="119"/>
                  </a:lnTo>
                  <a:lnTo>
                    <a:pt x="106" y="119"/>
                  </a:lnTo>
                  <a:lnTo>
                    <a:pt x="104" y="119"/>
                  </a:lnTo>
                  <a:lnTo>
                    <a:pt x="102" y="119"/>
                  </a:lnTo>
                  <a:lnTo>
                    <a:pt x="100" y="119"/>
                  </a:lnTo>
                  <a:lnTo>
                    <a:pt x="100" y="121"/>
                  </a:lnTo>
                  <a:close/>
                  <a:moveTo>
                    <a:pt x="106" y="6"/>
                  </a:moveTo>
                  <a:lnTo>
                    <a:pt x="106" y="8"/>
                  </a:lnTo>
                  <a:lnTo>
                    <a:pt x="104" y="8"/>
                  </a:lnTo>
                  <a:lnTo>
                    <a:pt x="104" y="6"/>
                  </a:lnTo>
                  <a:lnTo>
                    <a:pt x="104" y="8"/>
                  </a:lnTo>
                  <a:lnTo>
                    <a:pt x="104" y="6"/>
                  </a:lnTo>
                  <a:lnTo>
                    <a:pt x="104" y="8"/>
                  </a:lnTo>
                  <a:lnTo>
                    <a:pt x="104" y="6"/>
                  </a:lnTo>
                  <a:lnTo>
                    <a:pt x="104" y="8"/>
                  </a:lnTo>
                  <a:lnTo>
                    <a:pt x="104" y="10"/>
                  </a:lnTo>
                  <a:lnTo>
                    <a:pt x="104" y="8"/>
                  </a:lnTo>
                  <a:lnTo>
                    <a:pt x="106" y="8"/>
                  </a:lnTo>
                  <a:lnTo>
                    <a:pt x="104" y="8"/>
                  </a:lnTo>
                  <a:lnTo>
                    <a:pt x="104" y="10"/>
                  </a:lnTo>
                  <a:lnTo>
                    <a:pt x="104" y="8"/>
                  </a:lnTo>
                  <a:lnTo>
                    <a:pt x="104" y="10"/>
                  </a:lnTo>
                  <a:lnTo>
                    <a:pt x="106" y="10"/>
                  </a:lnTo>
                  <a:lnTo>
                    <a:pt x="106" y="8"/>
                  </a:lnTo>
                  <a:lnTo>
                    <a:pt x="104" y="8"/>
                  </a:lnTo>
                  <a:lnTo>
                    <a:pt x="106" y="8"/>
                  </a:lnTo>
                  <a:lnTo>
                    <a:pt x="106" y="10"/>
                  </a:lnTo>
                  <a:lnTo>
                    <a:pt x="106" y="11"/>
                  </a:lnTo>
                  <a:lnTo>
                    <a:pt x="108" y="11"/>
                  </a:lnTo>
                  <a:lnTo>
                    <a:pt x="108" y="13"/>
                  </a:lnTo>
                  <a:lnTo>
                    <a:pt x="108" y="11"/>
                  </a:lnTo>
                  <a:lnTo>
                    <a:pt x="106" y="11"/>
                  </a:lnTo>
                  <a:lnTo>
                    <a:pt x="108" y="11"/>
                  </a:lnTo>
                  <a:lnTo>
                    <a:pt x="108" y="13"/>
                  </a:lnTo>
                  <a:lnTo>
                    <a:pt x="110" y="13"/>
                  </a:lnTo>
                  <a:lnTo>
                    <a:pt x="110" y="15"/>
                  </a:lnTo>
                  <a:lnTo>
                    <a:pt x="110" y="13"/>
                  </a:lnTo>
                  <a:lnTo>
                    <a:pt x="110" y="15"/>
                  </a:lnTo>
                  <a:lnTo>
                    <a:pt x="108" y="15"/>
                  </a:lnTo>
                  <a:lnTo>
                    <a:pt x="110" y="15"/>
                  </a:lnTo>
                  <a:lnTo>
                    <a:pt x="108" y="15"/>
                  </a:lnTo>
                  <a:lnTo>
                    <a:pt x="110" y="15"/>
                  </a:lnTo>
                  <a:lnTo>
                    <a:pt x="108" y="15"/>
                  </a:lnTo>
                  <a:lnTo>
                    <a:pt x="110" y="15"/>
                  </a:lnTo>
                  <a:lnTo>
                    <a:pt x="110" y="17"/>
                  </a:lnTo>
                  <a:lnTo>
                    <a:pt x="110" y="15"/>
                  </a:lnTo>
                  <a:lnTo>
                    <a:pt x="110" y="17"/>
                  </a:lnTo>
                  <a:lnTo>
                    <a:pt x="110" y="15"/>
                  </a:lnTo>
                  <a:lnTo>
                    <a:pt x="110" y="17"/>
                  </a:lnTo>
                  <a:lnTo>
                    <a:pt x="110" y="15"/>
                  </a:lnTo>
                  <a:lnTo>
                    <a:pt x="110" y="17"/>
                  </a:lnTo>
                  <a:lnTo>
                    <a:pt x="110" y="15"/>
                  </a:lnTo>
                  <a:lnTo>
                    <a:pt x="110" y="17"/>
                  </a:lnTo>
                  <a:lnTo>
                    <a:pt x="110" y="15"/>
                  </a:lnTo>
                  <a:lnTo>
                    <a:pt x="110" y="13"/>
                  </a:lnTo>
                  <a:lnTo>
                    <a:pt x="111" y="13"/>
                  </a:lnTo>
                  <a:lnTo>
                    <a:pt x="111" y="11"/>
                  </a:lnTo>
                  <a:lnTo>
                    <a:pt x="111" y="13"/>
                  </a:lnTo>
                  <a:lnTo>
                    <a:pt x="111" y="15"/>
                  </a:lnTo>
                  <a:lnTo>
                    <a:pt x="113" y="15"/>
                  </a:lnTo>
                  <a:lnTo>
                    <a:pt x="115" y="15"/>
                  </a:lnTo>
                  <a:lnTo>
                    <a:pt x="113" y="15"/>
                  </a:lnTo>
                  <a:lnTo>
                    <a:pt x="115" y="15"/>
                  </a:lnTo>
                  <a:lnTo>
                    <a:pt x="117" y="15"/>
                  </a:lnTo>
                  <a:lnTo>
                    <a:pt x="115" y="15"/>
                  </a:lnTo>
                  <a:lnTo>
                    <a:pt x="115" y="17"/>
                  </a:lnTo>
                  <a:lnTo>
                    <a:pt x="115" y="15"/>
                  </a:lnTo>
                  <a:lnTo>
                    <a:pt x="115" y="17"/>
                  </a:lnTo>
                  <a:lnTo>
                    <a:pt x="117" y="17"/>
                  </a:lnTo>
                  <a:lnTo>
                    <a:pt x="115" y="17"/>
                  </a:lnTo>
                  <a:lnTo>
                    <a:pt x="117" y="17"/>
                  </a:lnTo>
                  <a:lnTo>
                    <a:pt x="117" y="15"/>
                  </a:lnTo>
                  <a:lnTo>
                    <a:pt x="117" y="17"/>
                  </a:lnTo>
                  <a:lnTo>
                    <a:pt x="119" y="17"/>
                  </a:lnTo>
                  <a:lnTo>
                    <a:pt x="119" y="15"/>
                  </a:lnTo>
                  <a:lnTo>
                    <a:pt x="119" y="17"/>
                  </a:lnTo>
                  <a:lnTo>
                    <a:pt x="119" y="15"/>
                  </a:lnTo>
                  <a:lnTo>
                    <a:pt x="119" y="17"/>
                  </a:lnTo>
                  <a:lnTo>
                    <a:pt x="119" y="19"/>
                  </a:lnTo>
                  <a:lnTo>
                    <a:pt x="119" y="17"/>
                  </a:lnTo>
                  <a:lnTo>
                    <a:pt x="119" y="19"/>
                  </a:lnTo>
                  <a:lnTo>
                    <a:pt x="119" y="17"/>
                  </a:lnTo>
                  <a:lnTo>
                    <a:pt x="119" y="19"/>
                  </a:lnTo>
                  <a:lnTo>
                    <a:pt x="119" y="17"/>
                  </a:lnTo>
                  <a:lnTo>
                    <a:pt x="119" y="19"/>
                  </a:lnTo>
                  <a:lnTo>
                    <a:pt x="119" y="17"/>
                  </a:lnTo>
                  <a:lnTo>
                    <a:pt x="119" y="19"/>
                  </a:lnTo>
                  <a:lnTo>
                    <a:pt x="119" y="17"/>
                  </a:lnTo>
                  <a:lnTo>
                    <a:pt x="121" y="17"/>
                  </a:lnTo>
                  <a:lnTo>
                    <a:pt x="121" y="19"/>
                  </a:lnTo>
                  <a:lnTo>
                    <a:pt x="119" y="19"/>
                  </a:lnTo>
                  <a:lnTo>
                    <a:pt x="121" y="19"/>
                  </a:lnTo>
                  <a:lnTo>
                    <a:pt x="119" y="19"/>
                  </a:lnTo>
                  <a:lnTo>
                    <a:pt x="121" y="19"/>
                  </a:lnTo>
                  <a:lnTo>
                    <a:pt x="119" y="19"/>
                  </a:lnTo>
                  <a:lnTo>
                    <a:pt x="121" y="19"/>
                  </a:lnTo>
                  <a:lnTo>
                    <a:pt x="119" y="19"/>
                  </a:lnTo>
                  <a:lnTo>
                    <a:pt x="121" y="19"/>
                  </a:lnTo>
                  <a:lnTo>
                    <a:pt x="119" y="19"/>
                  </a:lnTo>
                  <a:lnTo>
                    <a:pt x="121" y="19"/>
                  </a:lnTo>
                  <a:lnTo>
                    <a:pt x="119" y="19"/>
                  </a:lnTo>
                  <a:lnTo>
                    <a:pt x="121" y="19"/>
                  </a:lnTo>
                  <a:lnTo>
                    <a:pt x="121" y="21"/>
                  </a:lnTo>
                  <a:lnTo>
                    <a:pt x="121" y="23"/>
                  </a:lnTo>
                  <a:lnTo>
                    <a:pt x="121" y="21"/>
                  </a:lnTo>
                  <a:lnTo>
                    <a:pt x="121" y="23"/>
                  </a:lnTo>
                  <a:lnTo>
                    <a:pt x="121" y="21"/>
                  </a:lnTo>
                  <a:lnTo>
                    <a:pt x="121" y="23"/>
                  </a:lnTo>
                  <a:lnTo>
                    <a:pt x="121" y="21"/>
                  </a:lnTo>
                  <a:lnTo>
                    <a:pt x="121" y="23"/>
                  </a:lnTo>
                  <a:lnTo>
                    <a:pt x="121" y="21"/>
                  </a:lnTo>
                  <a:lnTo>
                    <a:pt x="123" y="21"/>
                  </a:lnTo>
                  <a:lnTo>
                    <a:pt x="123" y="23"/>
                  </a:lnTo>
                  <a:lnTo>
                    <a:pt x="123" y="21"/>
                  </a:lnTo>
                  <a:lnTo>
                    <a:pt x="123" y="23"/>
                  </a:lnTo>
                  <a:lnTo>
                    <a:pt x="123" y="21"/>
                  </a:lnTo>
                  <a:lnTo>
                    <a:pt x="123" y="23"/>
                  </a:lnTo>
                  <a:lnTo>
                    <a:pt x="123" y="21"/>
                  </a:lnTo>
                  <a:lnTo>
                    <a:pt x="121" y="21"/>
                  </a:lnTo>
                  <a:lnTo>
                    <a:pt x="123" y="21"/>
                  </a:lnTo>
                  <a:lnTo>
                    <a:pt x="123" y="23"/>
                  </a:lnTo>
                  <a:lnTo>
                    <a:pt x="123" y="21"/>
                  </a:lnTo>
                  <a:lnTo>
                    <a:pt x="121" y="21"/>
                  </a:lnTo>
                  <a:lnTo>
                    <a:pt x="123" y="21"/>
                  </a:lnTo>
                  <a:lnTo>
                    <a:pt x="121" y="21"/>
                  </a:lnTo>
                  <a:lnTo>
                    <a:pt x="123" y="21"/>
                  </a:lnTo>
                  <a:lnTo>
                    <a:pt x="123" y="19"/>
                  </a:lnTo>
                  <a:lnTo>
                    <a:pt x="123" y="21"/>
                  </a:lnTo>
                  <a:lnTo>
                    <a:pt x="123" y="19"/>
                  </a:lnTo>
                  <a:lnTo>
                    <a:pt x="123" y="21"/>
                  </a:lnTo>
                  <a:lnTo>
                    <a:pt x="123" y="19"/>
                  </a:lnTo>
                  <a:lnTo>
                    <a:pt x="125" y="19"/>
                  </a:lnTo>
                  <a:lnTo>
                    <a:pt x="125" y="21"/>
                  </a:lnTo>
                  <a:lnTo>
                    <a:pt x="125" y="23"/>
                  </a:lnTo>
                  <a:lnTo>
                    <a:pt x="125" y="21"/>
                  </a:lnTo>
                  <a:lnTo>
                    <a:pt x="125" y="23"/>
                  </a:lnTo>
                  <a:lnTo>
                    <a:pt x="125" y="21"/>
                  </a:lnTo>
                  <a:lnTo>
                    <a:pt x="125" y="23"/>
                  </a:lnTo>
                  <a:lnTo>
                    <a:pt x="125" y="21"/>
                  </a:lnTo>
                  <a:lnTo>
                    <a:pt x="125" y="23"/>
                  </a:lnTo>
                  <a:lnTo>
                    <a:pt x="125" y="21"/>
                  </a:lnTo>
                  <a:lnTo>
                    <a:pt x="125" y="23"/>
                  </a:lnTo>
                  <a:lnTo>
                    <a:pt x="125" y="21"/>
                  </a:lnTo>
                  <a:lnTo>
                    <a:pt x="125" y="23"/>
                  </a:lnTo>
                  <a:lnTo>
                    <a:pt x="125" y="21"/>
                  </a:lnTo>
                  <a:lnTo>
                    <a:pt x="125" y="23"/>
                  </a:lnTo>
                  <a:lnTo>
                    <a:pt x="125" y="21"/>
                  </a:lnTo>
                  <a:lnTo>
                    <a:pt x="125" y="23"/>
                  </a:lnTo>
                  <a:lnTo>
                    <a:pt x="125" y="25"/>
                  </a:lnTo>
                  <a:lnTo>
                    <a:pt x="125" y="23"/>
                  </a:lnTo>
                  <a:lnTo>
                    <a:pt x="125" y="25"/>
                  </a:lnTo>
                  <a:lnTo>
                    <a:pt x="127" y="25"/>
                  </a:lnTo>
                  <a:lnTo>
                    <a:pt x="127" y="23"/>
                  </a:lnTo>
                  <a:lnTo>
                    <a:pt x="127" y="25"/>
                  </a:lnTo>
                  <a:lnTo>
                    <a:pt x="127" y="27"/>
                  </a:lnTo>
                  <a:lnTo>
                    <a:pt x="129" y="27"/>
                  </a:lnTo>
                  <a:lnTo>
                    <a:pt x="127" y="27"/>
                  </a:lnTo>
                  <a:lnTo>
                    <a:pt x="129" y="27"/>
                  </a:lnTo>
                  <a:lnTo>
                    <a:pt x="127" y="27"/>
                  </a:lnTo>
                  <a:lnTo>
                    <a:pt x="129" y="27"/>
                  </a:lnTo>
                  <a:lnTo>
                    <a:pt x="127" y="27"/>
                  </a:lnTo>
                  <a:lnTo>
                    <a:pt x="129" y="27"/>
                  </a:lnTo>
                  <a:lnTo>
                    <a:pt x="127" y="27"/>
                  </a:lnTo>
                  <a:lnTo>
                    <a:pt x="129" y="27"/>
                  </a:lnTo>
                  <a:lnTo>
                    <a:pt x="127" y="27"/>
                  </a:lnTo>
                  <a:lnTo>
                    <a:pt x="127" y="29"/>
                  </a:lnTo>
                  <a:lnTo>
                    <a:pt x="129" y="29"/>
                  </a:lnTo>
                  <a:lnTo>
                    <a:pt x="127" y="29"/>
                  </a:lnTo>
                  <a:lnTo>
                    <a:pt x="129" y="29"/>
                  </a:lnTo>
                  <a:lnTo>
                    <a:pt x="127" y="29"/>
                  </a:lnTo>
                  <a:lnTo>
                    <a:pt x="129" y="29"/>
                  </a:lnTo>
                  <a:lnTo>
                    <a:pt x="127" y="29"/>
                  </a:lnTo>
                  <a:lnTo>
                    <a:pt x="129" y="29"/>
                  </a:lnTo>
                  <a:lnTo>
                    <a:pt x="127" y="29"/>
                  </a:lnTo>
                  <a:lnTo>
                    <a:pt x="129" y="29"/>
                  </a:lnTo>
                  <a:lnTo>
                    <a:pt x="127" y="29"/>
                  </a:lnTo>
                  <a:lnTo>
                    <a:pt x="129" y="29"/>
                  </a:lnTo>
                  <a:lnTo>
                    <a:pt x="129" y="31"/>
                  </a:lnTo>
                  <a:lnTo>
                    <a:pt x="129" y="29"/>
                  </a:lnTo>
                  <a:lnTo>
                    <a:pt x="129" y="31"/>
                  </a:lnTo>
                  <a:lnTo>
                    <a:pt x="129" y="29"/>
                  </a:lnTo>
                  <a:lnTo>
                    <a:pt x="129" y="31"/>
                  </a:lnTo>
                  <a:lnTo>
                    <a:pt x="127" y="31"/>
                  </a:lnTo>
                  <a:lnTo>
                    <a:pt x="125" y="31"/>
                  </a:lnTo>
                  <a:lnTo>
                    <a:pt x="125" y="29"/>
                  </a:lnTo>
                  <a:lnTo>
                    <a:pt x="125" y="31"/>
                  </a:lnTo>
                  <a:lnTo>
                    <a:pt x="125" y="29"/>
                  </a:lnTo>
                  <a:lnTo>
                    <a:pt x="125" y="31"/>
                  </a:lnTo>
                  <a:lnTo>
                    <a:pt x="127" y="31"/>
                  </a:lnTo>
                  <a:lnTo>
                    <a:pt x="127" y="33"/>
                  </a:lnTo>
                  <a:lnTo>
                    <a:pt x="127" y="35"/>
                  </a:lnTo>
                  <a:lnTo>
                    <a:pt x="129" y="35"/>
                  </a:lnTo>
                  <a:lnTo>
                    <a:pt x="129" y="36"/>
                  </a:lnTo>
                  <a:lnTo>
                    <a:pt x="129" y="35"/>
                  </a:lnTo>
                  <a:lnTo>
                    <a:pt x="129" y="36"/>
                  </a:lnTo>
                  <a:lnTo>
                    <a:pt x="129" y="38"/>
                  </a:lnTo>
                  <a:lnTo>
                    <a:pt x="131" y="38"/>
                  </a:lnTo>
                  <a:lnTo>
                    <a:pt x="133" y="38"/>
                  </a:lnTo>
                  <a:lnTo>
                    <a:pt x="133" y="40"/>
                  </a:lnTo>
                  <a:lnTo>
                    <a:pt x="131" y="40"/>
                  </a:lnTo>
                  <a:lnTo>
                    <a:pt x="133" y="40"/>
                  </a:lnTo>
                  <a:lnTo>
                    <a:pt x="131" y="40"/>
                  </a:lnTo>
                  <a:lnTo>
                    <a:pt x="131" y="42"/>
                  </a:lnTo>
                  <a:lnTo>
                    <a:pt x="131" y="44"/>
                  </a:lnTo>
                  <a:lnTo>
                    <a:pt x="129" y="44"/>
                  </a:lnTo>
                  <a:lnTo>
                    <a:pt x="131" y="44"/>
                  </a:lnTo>
                  <a:lnTo>
                    <a:pt x="129" y="44"/>
                  </a:lnTo>
                  <a:lnTo>
                    <a:pt x="131" y="44"/>
                  </a:lnTo>
                  <a:lnTo>
                    <a:pt x="131" y="46"/>
                  </a:lnTo>
                  <a:lnTo>
                    <a:pt x="131" y="44"/>
                  </a:lnTo>
                  <a:lnTo>
                    <a:pt x="133" y="44"/>
                  </a:lnTo>
                  <a:lnTo>
                    <a:pt x="133" y="46"/>
                  </a:lnTo>
                  <a:lnTo>
                    <a:pt x="133" y="44"/>
                  </a:lnTo>
                  <a:lnTo>
                    <a:pt x="133" y="46"/>
                  </a:lnTo>
                  <a:lnTo>
                    <a:pt x="131" y="46"/>
                  </a:lnTo>
                  <a:lnTo>
                    <a:pt x="131" y="48"/>
                  </a:lnTo>
                  <a:lnTo>
                    <a:pt x="133" y="48"/>
                  </a:lnTo>
                  <a:lnTo>
                    <a:pt x="133" y="50"/>
                  </a:lnTo>
                  <a:lnTo>
                    <a:pt x="131" y="50"/>
                  </a:lnTo>
                  <a:lnTo>
                    <a:pt x="131" y="48"/>
                  </a:lnTo>
                  <a:lnTo>
                    <a:pt x="131" y="50"/>
                  </a:lnTo>
                  <a:lnTo>
                    <a:pt x="131" y="48"/>
                  </a:lnTo>
                  <a:lnTo>
                    <a:pt x="131" y="50"/>
                  </a:lnTo>
                  <a:lnTo>
                    <a:pt x="131" y="48"/>
                  </a:lnTo>
                  <a:lnTo>
                    <a:pt x="131" y="50"/>
                  </a:lnTo>
                  <a:lnTo>
                    <a:pt x="131" y="48"/>
                  </a:lnTo>
                  <a:lnTo>
                    <a:pt x="131" y="50"/>
                  </a:lnTo>
                  <a:lnTo>
                    <a:pt x="131" y="48"/>
                  </a:lnTo>
                  <a:lnTo>
                    <a:pt x="129" y="48"/>
                  </a:lnTo>
                  <a:lnTo>
                    <a:pt x="131" y="48"/>
                  </a:lnTo>
                  <a:lnTo>
                    <a:pt x="129" y="48"/>
                  </a:lnTo>
                  <a:lnTo>
                    <a:pt x="131" y="48"/>
                  </a:lnTo>
                  <a:lnTo>
                    <a:pt x="129" y="48"/>
                  </a:lnTo>
                  <a:lnTo>
                    <a:pt x="131" y="48"/>
                  </a:lnTo>
                  <a:lnTo>
                    <a:pt x="129" y="48"/>
                  </a:lnTo>
                  <a:lnTo>
                    <a:pt x="131" y="48"/>
                  </a:lnTo>
                  <a:lnTo>
                    <a:pt x="129" y="48"/>
                  </a:lnTo>
                  <a:lnTo>
                    <a:pt x="131" y="48"/>
                  </a:lnTo>
                  <a:lnTo>
                    <a:pt x="129" y="48"/>
                  </a:lnTo>
                  <a:lnTo>
                    <a:pt x="131" y="48"/>
                  </a:lnTo>
                  <a:lnTo>
                    <a:pt x="129" y="48"/>
                  </a:lnTo>
                  <a:lnTo>
                    <a:pt x="129" y="50"/>
                  </a:lnTo>
                  <a:lnTo>
                    <a:pt x="131" y="50"/>
                  </a:lnTo>
                  <a:lnTo>
                    <a:pt x="129" y="50"/>
                  </a:lnTo>
                  <a:lnTo>
                    <a:pt x="131" y="50"/>
                  </a:lnTo>
                  <a:lnTo>
                    <a:pt x="129" y="50"/>
                  </a:lnTo>
                  <a:lnTo>
                    <a:pt x="131" y="50"/>
                  </a:lnTo>
                  <a:lnTo>
                    <a:pt x="133" y="50"/>
                  </a:lnTo>
                  <a:lnTo>
                    <a:pt x="133" y="52"/>
                  </a:lnTo>
                  <a:lnTo>
                    <a:pt x="133" y="50"/>
                  </a:lnTo>
                  <a:lnTo>
                    <a:pt x="133" y="52"/>
                  </a:lnTo>
                  <a:lnTo>
                    <a:pt x="133" y="50"/>
                  </a:lnTo>
                  <a:lnTo>
                    <a:pt x="133" y="52"/>
                  </a:lnTo>
                  <a:lnTo>
                    <a:pt x="133" y="50"/>
                  </a:lnTo>
                  <a:lnTo>
                    <a:pt x="133" y="52"/>
                  </a:lnTo>
                  <a:lnTo>
                    <a:pt x="133" y="50"/>
                  </a:lnTo>
                  <a:lnTo>
                    <a:pt x="133" y="52"/>
                  </a:lnTo>
                  <a:lnTo>
                    <a:pt x="133" y="50"/>
                  </a:lnTo>
                  <a:lnTo>
                    <a:pt x="133" y="52"/>
                  </a:lnTo>
                  <a:lnTo>
                    <a:pt x="133" y="50"/>
                  </a:lnTo>
                  <a:lnTo>
                    <a:pt x="133" y="52"/>
                  </a:lnTo>
                  <a:lnTo>
                    <a:pt x="133" y="50"/>
                  </a:lnTo>
                  <a:lnTo>
                    <a:pt x="133" y="52"/>
                  </a:lnTo>
                  <a:lnTo>
                    <a:pt x="133" y="50"/>
                  </a:lnTo>
                  <a:lnTo>
                    <a:pt x="135" y="50"/>
                  </a:lnTo>
                  <a:lnTo>
                    <a:pt x="135" y="52"/>
                  </a:lnTo>
                  <a:lnTo>
                    <a:pt x="135" y="50"/>
                  </a:lnTo>
                  <a:lnTo>
                    <a:pt x="135" y="52"/>
                  </a:lnTo>
                  <a:lnTo>
                    <a:pt x="135" y="50"/>
                  </a:lnTo>
                  <a:lnTo>
                    <a:pt x="135" y="52"/>
                  </a:lnTo>
                  <a:lnTo>
                    <a:pt x="135" y="50"/>
                  </a:lnTo>
                  <a:lnTo>
                    <a:pt x="135" y="52"/>
                  </a:lnTo>
                  <a:lnTo>
                    <a:pt x="135" y="50"/>
                  </a:lnTo>
                  <a:lnTo>
                    <a:pt x="136" y="50"/>
                  </a:lnTo>
                  <a:lnTo>
                    <a:pt x="136" y="52"/>
                  </a:lnTo>
                  <a:lnTo>
                    <a:pt x="138" y="52"/>
                  </a:lnTo>
                  <a:lnTo>
                    <a:pt x="138" y="54"/>
                  </a:lnTo>
                  <a:lnTo>
                    <a:pt x="138" y="56"/>
                  </a:lnTo>
                  <a:lnTo>
                    <a:pt x="140" y="56"/>
                  </a:lnTo>
                  <a:lnTo>
                    <a:pt x="142" y="56"/>
                  </a:lnTo>
                  <a:lnTo>
                    <a:pt x="142" y="54"/>
                  </a:lnTo>
                  <a:lnTo>
                    <a:pt x="142" y="52"/>
                  </a:lnTo>
                  <a:lnTo>
                    <a:pt x="140" y="52"/>
                  </a:lnTo>
                  <a:lnTo>
                    <a:pt x="140" y="50"/>
                  </a:lnTo>
                  <a:lnTo>
                    <a:pt x="142" y="50"/>
                  </a:lnTo>
                  <a:lnTo>
                    <a:pt x="140" y="50"/>
                  </a:lnTo>
                  <a:lnTo>
                    <a:pt x="142" y="50"/>
                  </a:lnTo>
                  <a:lnTo>
                    <a:pt x="140" y="50"/>
                  </a:lnTo>
                  <a:lnTo>
                    <a:pt x="140" y="48"/>
                  </a:lnTo>
                  <a:lnTo>
                    <a:pt x="140" y="50"/>
                  </a:lnTo>
                  <a:lnTo>
                    <a:pt x="140" y="48"/>
                  </a:lnTo>
                  <a:lnTo>
                    <a:pt x="140" y="50"/>
                  </a:lnTo>
                  <a:lnTo>
                    <a:pt x="140" y="48"/>
                  </a:lnTo>
                  <a:lnTo>
                    <a:pt x="142" y="48"/>
                  </a:lnTo>
                  <a:lnTo>
                    <a:pt x="140" y="48"/>
                  </a:lnTo>
                  <a:lnTo>
                    <a:pt x="142" y="48"/>
                  </a:lnTo>
                  <a:lnTo>
                    <a:pt x="140" y="48"/>
                  </a:lnTo>
                  <a:lnTo>
                    <a:pt x="140" y="46"/>
                  </a:lnTo>
                  <a:lnTo>
                    <a:pt x="142" y="46"/>
                  </a:lnTo>
                  <a:lnTo>
                    <a:pt x="140" y="46"/>
                  </a:lnTo>
                  <a:lnTo>
                    <a:pt x="140" y="44"/>
                  </a:lnTo>
                  <a:lnTo>
                    <a:pt x="140" y="46"/>
                  </a:lnTo>
                  <a:lnTo>
                    <a:pt x="140" y="44"/>
                  </a:lnTo>
                  <a:lnTo>
                    <a:pt x="138" y="44"/>
                  </a:lnTo>
                  <a:lnTo>
                    <a:pt x="140" y="44"/>
                  </a:lnTo>
                  <a:lnTo>
                    <a:pt x="138" y="44"/>
                  </a:lnTo>
                  <a:lnTo>
                    <a:pt x="140" y="44"/>
                  </a:lnTo>
                  <a:lnTo>
                    <a:pt x="140" y="42"/>
                  </a:lnTo>
                  <a:lnTo>
                    <a:pt x="138" y="42"/>
                  </a:lnTo>
                  <a:lnTo>
                    <a:pt x="140" y="42"/>
                  </a:lnTo>
                  <a:lnTo>
                    <a:pt x="138" y="42"/>
                  </a:lnTo>
                  <a:lnTo>
                    <a:pt x="140" y="42"/>
                  </a:lnTo>
                  <a:lnTo>
                    <a:pt x="138" y="42"/>
                  </a:lnTo>
                  <a:lnTo>
                    <a:pt x="140" y="42"/>
                  </a:lnTo>
                  <a:lnTo>
                    <a:pt x="140" y="44"/>
                  </a:lnTo>
                  <a:lnTo>
                    <a:pt x="140" y="42"/>
                  </a:lnTo>
                  <a:lnTo>
                    <a:pt x="140" y="44"/>
                  </a:lnTo>
                  <a:lnTo>
                    <a:pt x="142" y="44"/>
                  </a:lnTo>
                  <a:lnTo>
                    <a:pt x="142" y="46"/>
                  </a:lnTo>
                  <a:lnTo>
                    <a:pt x="144" y="46"/>
                  </a:lnTo>
                  <a:lnTo>
                    <a:pt x="144" y="48"/>
                  </a:lnTo>
                  <a:lnTo>
                    <a:pt x="146" y="48"/>
                  </a:lnTo>
                  <a:lnTo>
                    <a:pt x="146" y="46"/>
                  </a:lnTo>
                  <a:lnTo>
                    <a:pt x="146" y="48"/>
                  </a:lnTo>
                  <a:lnTo>
                    <a:pt x="144" y="48"/>
                  </a:lnTo>
                  <a:lnTo>
                    <a:pt x="144" y="50"/>
                  </a:lnTo>
                  <a:lnTo>
                    <a:pt x="146" y="50"/>
                  </a:lnTo>
                  <a:lnTo>
                    <a:pt x="146" y="48"/>
                  </a:lnTo>
                  <a:lnTo>
                    <a:pt x="146" y="50"/>
                  </a:lnTo>
                  <a:lnTo>
                    <a:pt x="148" y="50"/>
                  </a:lnTo>
                  <a:lnTo>
                    <a:pt x="148" y="52"/>
                  </a:lnTo>
                  <a:lnTo>
                    <a:pt x="146" y="52"/>
                  </a:lnTo>
                  <a:lnTo>
                    <a:pt x="148" y="52"/>
                  </a:lnTo>
                  <a:lnTo>
                    <a:pt x="146" y="52"/>
                  </a:lnTo>
                  <a:lnTo>
                    <a:pt x="148" y="52"/>
                  </a:lnTo>
                  <a:lnTo>
                    <a:pt x="146" y="52"/>
                  </a:lnTo>
                  <a:lnTo>
                    <a:pt x="146" y="54"/>
                  </a:lnTo>
                  <a:lnTo>
                    <a:pt x="146" y="52"/>
                  </a:lnTo>
                  <a:lnTo>
                    <a:pt x="148" y="52"/>
                  </a:lnTo>
                  <a:lnTo>
                    <a:pt x="148" y="54"/>
                  </a:lnTo>
                  <a:lnTo>
                    <a:pt x="148" y="56"/>
                  </a:lnTo>
                  <a:lnTo>
                    <a:pt x="146" y="56"/>
                  </a:lnTo>
                  <a:lnTo>
                    <a:pt x="148" y="56"/>
                  </a:lnTo>
                  <a:lnTo>
                    <a:pt x="146" y="56"/>
                  </a:lnTo>
                  <a:lnTo>
                    <a:pt x="148" y="56"/>
                  </a:lnTo>
                  <a:lnTo>
                    <a:pt x="146" y="56"/>
                  </a:lnTo>
                  <a:lnTo>
                    <a:pt x="148" y="56"/>
                  </a:lnTo>
                  <a:lnTo>
                    <a:pt x="148" y="58"/>
                  </a:lnTo>
                  <a:lnTo>
                    <a:pt x="148" y="59"/>
                  </a:lnTo>
                  <a:lnTo>
                    <a:pt x="148" y="61"/>
                  </a:lnTo>
                  <a:lnTo>
                    <a:pt x="150" y="61"/>
                  </a:lnTo>
                  <a:lnTo>
                    <a:pt x="148" y="61"/>
                  </a:lnTo>
                  <a:lnTo>
                    <a:pt x="148" y="59"/>
                  </a:lnTo>
                  <a:lnTo>
                    <a:pt x="148" y="61"/>
                  </a:lnTo>
                  <a:lnTo>
                    <a:pt x="148" y="59"/>
                  </a:lnTo>
                  <a:lnTo>
                    <a:pt x="148" y="61"/>
                  </a:lnTo>
                  <a:lnTo>
                    <a:pt x="148" y="59"/>
                  </a:lnTo>
                  <a:lnTo>
                    <a:pt x="148" y="61"/>
                  </a:lnTo>
                  <a:lnTo>
                    <a:pt x="148" y="63"/>
                  </a:lnTo>
                  <a:lnTo>
                    <a:pt x="150" y="63"/>
                  </a:lnTo>
                  <a:lnTo>
                    <a:pt x="150" y="65"/>
                  </a:lnTo>
                  <a:lnTo>
                    <a:pt x="150" y="63"/>
                  </a:lnTo>
                  <a:lnTo>
                    <a:pt x="150" y="65"/>
                  </a:lnTo>
                  <a:lnTo>
                    <a:pt x="152" y="65"/>
                  </a:lnTo>
                  <a:lnTo>
                    <a:pt x="150" y="65"/>
                  </a:lnTo>
                  <a:lnTo>
                    <a:pt x="152" y="65"/>
                  </a:lnTo>
                  <a:lnTo>
                    <a:pt x="152" y="63"/>
                  </a:lnTo>
                  <a:lnTo>
                    <a:pt x="152" y="65"/>
                  </a:lnTo>
                  <a:lnTo>
                    <a:pt x="154" y="65"/>
                  </a:lnTo>
                  <a:lnTo>
                    <a:pt x="156" y="65"/>
                  </a:lnTo>
                  <a:lnTo>
                    <a:pt x="156" y="67"/>
                  </a:lnTo>
                  <a:lnTo>
                    <a:pt x="156" y="65"/>
                  </a:lnTo>
                  <a:lnTo>
                    <a:pt x="156" y="67"/>
                  </a:lnTo>
                  <a:lnTo>
                    <a:pt x="156" y="65"/>
                  </a:lnTo>
                  <a:lnTo>
                    <a:pt x="156" y="67"/>
                  </a:lnTo>
                  <a:lnTo>
                    <a:pt x="156" y="65"/>
                  </a:lnTo>
                  <a:lnTo>
                    <a:pt x="156" y="67"/>
                  </a:lnTo>
                  <a:lnTo>
                    <a:pt x="156" y="65"/>
                  </a:lnTo>
                  <a:lnTo>
                    <a:pt x="156" y="67"/>
                  </a:lnTo>
                  <a:lnTo>
                    <a:pt x="158" y="67"/>
                  </a:lnTo>
                  <a:lnTo>
                    <a:pt x="159" y="67"/>
                  </a:lnTo>
                  <a:lnTo>
                    <a:pt x="159" y="69"/>
                  </a:lnTo>
                  <a:lnTo>
                    <a:pt x="161" y="69"/>
                  </a:lnTo>
                  <a:lnTo>
                    <a:pt x="163" y="69"/>
                  </a:lnTo>
                  <a:lnTo>
                    <a:pt x="165" y="69"/>
                  </a:lnTo>
                  <a:lnTo>
                    <a:pt x="165" y="71"/>
                  </a:lnTo>
                  <a:lnTo>
                    <a:pt x="167" y="71"/>
                  </a:lnTo>
                  <a:lnTo>
                    <a:pt x="169" y="71"/>
                  </a:lnTo>
                  <a:lnTo>
                    <a:pt x="171" y="71"/>
                  </a:lnTo>
                  <a:lnTo>
                    <a:pt x="171" y="69"/>
                  </a:lnTo>
                  <a:lnTo>
                    <a:pt x="173" y="69"/>
                  </a:lnTo>
                  <a:lnTo>
                    <a:pt x="173" y="67"/>
                  </a:lnTo>
                  <a:lnTo>
                    <a:pt x="173" y="65"/>
                  </a:lnTo>
                  <a:lnTo>
                    <a:pt x="175" y="65"/>
                  </a:lnTo>
                  <a:lnTo>
                    <a:pt x="177" y="65"/>
                  </a:lnTo>
                  <a:lnTo>
                    <a:pt x="177" y="63"/>
                  </a:lnTo>
                  <a:lnTo>
                    <a:pt x="177" y="65"/>
                  </a:lnTo>
                  <a:lnTo>
                    <a:pt x="177" y="63"/>
                  </a:lnTo>
                  <a:lnTo>
                    <a:pt x="179" y="63"/>
                  </a:lnTo>
                  <a:lnTo>
                    <a:pt x="179" y="61"/>
                  </a:lnTo>
                  <a:lnTo>
                    <a:pt x="179" y="63"/>
                  </a:lnTo>
                  <a:lnTo>
                    <a:pt x="179" y="61"/>
                  </a:lnTo>
                  <a:lnTo>
                    <a:pt x="181" y="61"/>
                  </a:lnTo>
                  <a:lnTo>
                    <a:pt x="181" y="63"/>
                  </a:lnTo>
                  <a:lnTo>
                    <a:pt x="181" y="61"/>
                  </a:lnTo>
                  <a:lnTo>
                    <a:pt x="182" y="61"/>
                  </a:lnTo>
                  <a:lnTo>
                    <a:pt x="181" y="61"/>
                  </a:lnTo>
                  <a:lnTo>
                    <a:pt x="182" y="61"/>
                  </a:lnTo>
                  <a:lnTo>
                    <a:pt x="182" y="63"/>
                  </a:lnTo>
                  <a:lnTo>
                    <a:pt x="182" y="61"/>
                  </a:lnTo>
                  <a:lnTo>
                    <a:pt x="182" y="63"/>
                  </a:lnTo>
                  <a:lnTo>
                    <a:pt x="184" y="63"/>
                  </a:lnTo>
                  <a:lnTo>
                    <a:pt x="186" y="63"/>
                  </a:lnTo>
                  <a:lnTo>
                    <a:pt x="186" y="65"/>
                  </a:lnTo>
                  <a:lnTo>
                    <a:pt x="186" y="67"/>
                  </a:lnTo>
                  <a:lnTo>
                    <a:pt x="184" y="67"/>
                  </a:lnTo>
                  <a:lnTo>
                    <a:pt x="184" y="69"/>
                  </a:lnTo>
                  <a:lnTo>
                    <a:pt x="184" y="71"/>
                  </a:lnTo>
                  <a:lnTo>
                    <a:pt x="182" y="71"/>
                  </a:lnTo>
                  <a:lnTo>
                    <a:pt x="184" y="71"/>
                  </a:lnTo>
                  <a:lnTo>
                    <a:pt x="184" y="73"/>
                  </a:lnTo>
                  <a:lnTo>
                    <a:pt x="184" y="71"/>
                  </a:lnTo>
                  <a:lnTo>
                    <a:pt x="184" y="73"/>
                  </a:lnTo>
                  <a:lnTo>
                    <a:pt x="182" y="73"/>
                  </a:lnTo>
                  <a:lnTo>
                    <a:pt x="184" y="73"/>
                  </a:lnTo>
                  <a:lnTo>
                    <a:pt x="184" y="75"/>
                  </a:lnTo>
                  <a:lnTo>
                    <a:pt x="182" y="75"/>
                  </a:lnTo>
                  <a:lnTo>
                    <a:pt x="182" y="77"/>
                  </a:lnTo>
                  <a:lnTo>
                    <a:pt x="184" y="77"/>
                  </a:lnTo>
                  <a:lnTo>
                    <a:pt x="182" y="77"/>
                  </a:lnTo>
                  <a:lnTo>
                    <a:pt x="182" y="79"/>
                  </a:lnTo>
                  <a:lnTo>
                    <a:pt x="182" y="77"/>
                  </a:lnTo>
                  <a:lnTo>
                    <a:pt x="182" y="79"/>
                  </a:lnTo>
                  <a:lnTo>
                    <a:pt x="182" y="77"/>
                  </a:lnTo>
                  <a:lnTo>
                    <a:pt x="182" y="79"/>
                  </a:lnTo>
                  <a:lnTo>
                    <a:pt x="184" y="79"/>
                  </a:lnTo>
                  <a:lnTo>
                    <a:pt x="182" y="79"/>
                  </a:lnTo>
                  <a:lnTo>
                    <a:pt x="182" y="81"/>
                  </a:lnTo>
                  <a:lnTo>
                    <a:pt x="181" y="81"/>
                  </a:lnTo>
                  <a:lnTo>
                    <a:pt x="181" y="83"/>
                  </a:lnTo>
                  <a:lnTo>
                    <a:pt x="179" y="83"/>
                  </a:lnTo>
                  <a:lnTo>
                    <a:pt x="179" y="84"/>
                  </a:lnTo>
                  <a:lnTo>
                    <a:pt x="179" y="83"/>
                  </a:lnTo>
                  <a:lnTo>
                    <a:pt x="179" y="84"/>
                  </a:lnTo>
                  <a:lnTo>
                    <a:pt x="177" y="84"/>
                  </a:lnTo>
                  <a:lnTo>
                    <a:pt x="179" y="84"/>
                  </a:lnTo>
                  <a:lnTo>
                    <a:pt x="177" y="84"/>
                  </a:lnTo>
                  <a:lnTo>
                    <a:pt x="177" y="86"/>
                  </a:lnTo>
                  <a:lnTo>
                    <a:pt x="177" y="88"/>
                  </a:lnTo>
                  <a:lnTo>
                    <a:pt x="177" y="90"/>
                  </a:lnTo>
                  <a:lnTo>
                    <a:pt x="179" y="90"/>
                  </a:lnTo>
                  <a:lnTo>
                    <a:pt x="179" y="92"/>
                  </a:lnTo>
                  <a:lnTo>
                    <a:pt x="177" y="92"/>
                  </a:lnTo>
                  <a:lnTo>
                    <a:pt x="179" y="92"/>
                  </a:lnTo>
                  <a:lnTo>
                    <a:pt x="177" y="92"/>
                  </a:lnTo>
                  <a:lnTo>
                    <a:pt x="177" y="94"/>
                  </a:lnTo>
                  <a:lnTo>
                    <a:pt x="177" y="92"/>
                  </a:lnTo>
                  <a:lnTo>
                    <a:pt x="177" y="90"/>
                  </a:lnTo>
                  <a:lnTo>
                    <a:pt x="175" y="90"/>
                  </a:lnTo>
                  <a:lnTo>
                    <a:pt x="173" y="90"/>
                  </a:lnTo>
                  <a:lnTo>
                    <a:pt x="171" y="90"/>
                  </a:lnTo>
                  <a:lnTo>
                    <a:pt x="169" y="90"/>
                  </a:lnTo>
                  <a:lnTo>
                    <a:pt x="167" y="90"/>
                  </a:lnTo>
                  <a:lnTo>
                    <a:pt x="167" y="92"/>
                  </a:lnTo>
                  <a:lnTo>
                    <a:pt x="165" y="92"/>
                  </a:lnTo>
                  <a:lnTo>
                    <a:pt x="165" y="94"/>
                  </a:lnTo>
                  <a:lnTo>
                    <a:pt x="163" y="94"/>
                  </a:lnTo>
                  <a:lnTo>
                    <a:pt x="163" y="96"/>
                  </a:lnTo>
                  <a:lnTo>
                    <a:pt x="161" y="96"/>
                  </a:lnTo>
                  <a:lnTo>
                    <a:pt x="161" y="98"/>
                  </a:lnTo>
                  <a:lnTo>
                    <a:pt x="163" y="98"/>
                  </a:lnTo>
                  <a:lnTo>
                    <a:pt x="163" y="100"/>
                  </a:lnTo>
                  <a:lnTo>
                    <a:pt x="163" y="102"/>
                  </a:lnTo>
                  <a:lnTo>
                    <a:pt x="165" y="102"/>
                  </a:lnTo>
                  <a:lnTo>
                    <a:pt x="165" y="104"/>
                  </a:lnTo>
                  <a:lnTo>
                    <a:pt x="163" y="104"/>
                  </a:lnTo>
                  <a:lnTo>
                    <a:pt x="163" y="106"/>
                  </a:lnTo>
                  <a:lnTo>
                    <a:pt x="163" y="108"/>
                  </a:lnTo>
                  <a:lnTo>
                    <a:pt x="161" y="109"/>
                  </a:lnTo>
                  <a:lnTo>
                    <a:pt x="161" y="111"/>
                  </a:lnTo>
                  <a:lnTo>
                    <a:pt x="161" y="113"/>
                  </a:lnTo>
                  <a:lnTo>
                    <a:pt x="159" y="113"/>
                  </a:lnTo>
                  <a:lnTo>
                    <a:pt x="159" y="115"/>
                  </a:lnTo>
                  <a:lnTo>
                    <a:pt x="158" y="115"/>
                  </a:lnTo>
                  <a:lnTo>
                    <a:pt x="158" y="117"/>
                  </a:lnTo>
                  <a:lnTo>
                    <a:pt x="158" y="119"/>
                  </a:lnTo>
                  <a:lnTo>
                    <a:pt x="156" y="119"/>
                  </a:lnTo>
                  <a:lnTo>
                    <a:pt x="156" y="121"/>
                  </a:lnTo>
                  <a:lnTo>
                    <a:pt x="154" y="121"/>
                  </a:lnTo>
                  <a:lnTo>
                    <a:pt x="156" y="121"/>
                  </a:lnTo>
                  <a:lnTo>
                    <a:pt x="154" y="121"/>
                  </a:lnTo>
                  <a:lnTo>
                    <a:pt x="154" y="123"/>
                  </a:lnTo>
                  <a:lnTo>
                    <a:pt x="154" y="125"/>
                  </a:lnTo>
                  <a:lnTo>
                    <a:pt x="152" y="125"/>
                  </a:lnTo>
                  <a:lnTo>
                    <a:pt x="152" y="127"/>
                  </a:lnTo>
                  <a:lnTo>
                    <a:pt x="152" y="125"/>
                  </a:lnTo>
                  <a:lnTo>
                    <a:pt x="152" y="127"/>
                  </a:lnTo>
                  <a:lnTo>
                    <a:pt x="152" y="129"/>
                  </a:lnTo>
                  <a:lnTo>
                    <a:pt x="150" y="129"/>
                  </a:lnTo>
                  <a:lnTo>
                    <a:pt x="150" y="131"/>
                  </a:lnTo>
                  <a:lnTo>
                    <a:pt x="150" y="132"/>
                  </a:lnTo>
                  <a:lnTo>
                    <a:pt x="148" y="132"/>
                  </a:lnTo>
                  <a:lnTo>
                    <a:pt x="148" y="134"/>
                  </a:lnTo>
                  <a:lnTo>
                    <a:pt x="146" y="134"/>
                  </a:lnTo>
                  <a:lnTo>
                    <a:pt x="144" y="134"/>
                  </a:lnTo>
                  <a:lnTo>
                    <a:pt x="144" y="136"/>
                  </a:lnTo>
                  <a:lnTo>
                    <a:pt x="142" y="136"/>
                  </a:lnTo>
                  <a:lnTo>
                    <a:pt x="142" y="138"/>
                  </a:lnTo>
                  <a:lnTo>
                    <a:pt x="140" y="138"/>
                  </a:lnTo>
                  <a:lnTo>
                    <a:pt x="140" y="140"/>
                  </a:lnTo>
                  <a:lnTo>
                    <a:pt x="138" y="140"/>
                  </a:lnTo>
                  <a:lnTo>
                    <a:pt x="138" y="138"/>
                  </a:lnTo>
                  <a:lnTo>
                    <a:pt x="136" y="138"/>
                  </a:lnTo>
                  <a:lnTo>
                    <a:pt x="138" y="138"/>
                  </a:lnTo>
                  <a:lnTo>
                    <a:pt x="138" y="136"/>
                  </a:lnTo>
                  <a:lnTo>
                    <a:pt x="136" y="136"/>
                  </a:lnTo>
                  <a:lnTo>
                    <a:pt x="136" y="134"/>
                  </a:lnTo>
                  <a:lnTo>
                    <a:pt x="136" y="136"/>
                  </a:lnTo>
                  <a:lnTo>
                    <a:pt x="136" y="134"/>
                  </a:lnTo>
                  <a:lnTo>
                    <a:pt x="135" y="134"/>
                  </a:lnTo>
                  <a:lnTo>
                    <a:pt x="135" y="136"/>
                  </a:lnTo>
                  <a:lnTo>
                    <a:pt x="133" y="136"/>
                  </a:lnTo>
                  <a:lnTo>
                    <a:pt x="133" y="134"/>
                  </a:lnTo>
                  <a:lnTo>
                    <a:pt x="133" y="132"/>
                  </a:lnTo>
                  <a:lnTo>
                    <a:pt x="131" y="132"/>
                  </a:lnTo>
                  <a:lnTo>
                    <a:pt x="133" y="132"/>
                  </a:lnTo>
                  <a:lnTo>
                    <a:pt x="133" y="134"/>
                  </a:lnTo>
                  <a:lnTo>
                    <a:pt x="131" y="134"/>
                  </a:lnTo>
                  <a:lnTo>
                    <a:pt x="133" y="134"/>
                  </a:lnTo>
                  <a:lnTo>
                    <a:pt x="133" y="132"/>
                  </a:lnTo>
                  <a:lnTo>
                    <a:pt x="133" y="134"/>
                  </a:lnTo>
                  <a:lnTo>
                    <a:pt x="131" y="134"/>
                  </a:lnTo>
                  <a:lnTo>
                    <a:pt x="129" y="134"/>
                  </a:lnTo>
                  <a:lnTo>
                    <a:pt x="129" y="132"/>
                  </a:lnTo>
                  <a:lnTo>
                    <a:pt x="131" y="132"/>
                  </a:lnTo>
                  <a:lnTo>
                    <a:pt x="131" y="131"/>
                  </a:lnTo>
                  <a:lnTo>
                    <a:pt x="133" y="131"/>
                  </a:lnTo>
                  <a:lnTo>
                    <a:pt x="133" y="129"/>
                  </a:lnTo>
                  <a:lnTo>
                    <a:pt x="133" y="131"/>
                  </a:lnTo>
                  <a:lnTo>
                    <a:pt x="133" y="129"/>
                  </a:lnTo>
                  <a:lnTo>
                    <a:pt x="133" y="131"/>
                  </a:lnTo>
                  <a:lnTo>
                    <a:pt x="133" y="129"/>
                  </a:lnTo>
                  <a:lnTo>
                    <a:pt x="133" y="131"/>
                  </a:lnTo>
                  <a:lnTo>
                    <a:pt x="133" y="129"/>
                  </a:lnTo>
                  <a:lnTo>
                    <a:pt x="133" y="131"/>
                  </a:lnTo>
                  <a:lnTo>
                    <a:pt x="133" y="129"/>
                  </a:lnTo>
                  <a:lnTo>
                    <a:pt x="133" y="127"/>
                  </a:lnTo>
                  <a:lnTo>
                    <a:pt x="135" y="127"/>
                  </a:lnTo>
                  <a:lnTo>
                    <a:pt x="135" y="125"/>
                  </a:lnTo>
                  <a:lnTo>
                    <a:pt x="136" y="125"/>
                  </a:lnTo>
                  <a:lnTo>
                    <a:pt x="136" y="123"/>
                  </a:lnTo>
                  <a:lnTo>
                    <a:pt x="136" y="121"/>
                  </a:lnTo>
                  <a:lnTo>
                    <a:pt x="136" y="119"/>
                  </a:lnTo>
                  <a:lnTo>
                    <a:pt x="138" y="119"/>
                  </a:lnTo>
                  <a:lnTo>
                    <a:pt x="138" y="117"/>
                  </a:lnTo>
                  <a:lnTo>
                    <a:pt x="138" y="115"/>
                  </a:lnTo>
                  <a:lnTo>
                    <a:pt x="138" y="113"/>
                  </a:lnTo>
                  <a:lnTo>
                    <a:pt x="138" y="111"/>
                  </a:lnTo>
                  <a:lnTo>
                    <a:pt x="136" y="111"/>
                  </a:lnTo>
                  <a:lnTo>
                    <a:pt x="136" y="109"/>
                  </a:lnTo>
                  <a:lnTo>
                    <a:pt x="136" y="108"/>
                  </a:lnTo>
                  <a:lnTo>
                    <a:pt x="135" y="108"/>
                  </a:lnTo>
                  <a:lnTo>
                    <a:pt x="135" y="106"/>
                  </a:lnTo>
                  <a:lnTo>
                    <a:pt x="136" y="106"/>
                  </a:lnTo>
                  <a:lnTo>
                    <a:pt x="135" y="106"/>
                  </a:lnTo>
                  <a:lnTo>
                    <a:pt x="135" y="108"/>
                  </a:lnTo>
                  <a:lnTo>
                    <a:pt x="135" y="106"/>
                  </a:lnTo>
                  <a:lnTo>
                    <a:pt x="133" y="106"/>
                  </a:lnTo>
                  <a:lnTo>
                    <a:pt x="131" y="106"/>
                  </a:lnTo>
                  <a:lnTo>
                    <a:pt x="129" y="106"/>
                  </a:lnTo>
                  <a:lnTo>
                    <a:pt x="127" y="106"/>
                  </a:lnTo>
                  <a:lnTo>
                    <a:pt x="127" y="104"/>
                  </a:lnTo>
                  <a:lnTo>
                    <a:pt x="125" y="104"/>
                  </a:lnTo>
                  <a:lnTo>
                    <a:pt x="125" y="102"/>
                  </a:lnTo>
                  <a:lnTo>
                    <a:pt x="123" y="102"/>
                  </a:lnTo>
                  <a:lnTo>
                    <a:pt x="123" y="100"/>
                  </a:lnTo>
                  <a:lnTo>
                    <a:pt x="121" y="100"/>
                  </a:lnTo>
                  <a:lnTo>
                    <a:pt x="119" y="100"/>
                  </a:lnTo>
                  <a:lnTo>
                    <a:pt x="119" y="98"/>
                  </a:lnTo>
                  <a:lnTo>
                    <a:pt x="117" y="98"/>
                  </a:lnTo>
                  <a:lnTo>
                    <a:pt x="117" y="96"/>
                  </a:lnTo>
                  <a:lnTo>
                    <a:pt x="117" y="94"/>
                  </a:lnTo>
                  <a:lnTo>
                    <a:pt x="115" y="94"/>
                  </a:lnTo>
                  <a:lnTo>
                    <a:pt x="117" y="94"/>
                  </a:lnTo>
                  <a:lnTo>
                    <a:pt x="117" y="92"/>
                  </a:lnTo>
                  <a:lnTo>
                    <a:pt x="119" y="92"/>
                  </a:lnTo>
                  <a:lnTo>
                    <a:pt x="119" y="90"/>
                  </a:lnTo>
                  <a:lnTo>
                    <a:pt x="121" y="90"/>
                  </a:lnTo>
                  <a:lnTo>
                    <a:pt x="123" y="90"/>
                  </a:lnTo>
                  <a:lnTo>
                    <a:pt x="123" y="88"/>
                  </a:lnTo>
                  <a:lnTo>
                    <a:pt x="125" y="88"/>
                  </a:lnTo>
                  <a:lnTo>
                    <a:pt x="127" y="88"/>
                  </a:lnTo>
                  <a:lnTo>
                    <a:pt x="127" y="86"/>
                  </a:lnTo>
                  <a:lnTo>
                    <a:pt x="127" y="88"/>
                  </a:lnTo>
                  <a:lnTo>
                    <a:pt x="127" y="86"/>
                  </a:lnTo>
                  <a:lnTo>
                    <a:pt x="127" y="88"/>
                  </a:lnTo>
                  <a:lnTo>
                    <a:pt x="127" y="86"/>
                  </a:lnTo>
                  <a:lnTo>
                    <a:pt x="129" y="86"/>
                  </a:lnTo>
                  <a:lnTo>
                    <a:pt x="129" y="84"/>
                  </a:lnTo>
                  <a:lnTo>
                    <a:pt x="129" y="83"/>
                  </a:lnTo>
                  <a:lnTo>
                    <a:pt x="129" y="81"/>
                  </a:lnTo>
                  <a:lnTo>
                    <a:pt x="129" y="79"/>
                  </a:lnTo>
                  <a:lnTo>
                    <a:pt x="129" y="77"/>
                  </a:lnTo>
                  <a:lnTo>
                    <a:pt x="131" y="77"/>
                  </a:lnTo>
                  <a:lnTo>
                    <a:pt x="131" y="75"/>
                  </a:lnTo>
                  <a:lnTo>
                    <a:pt x="131" y="73"/>
                  </a:lnTo>
                  <a:lnTo>
                    <a:pt x="133" y="73"/>
                  </a:lnTo>
                  <a:lnTo>
                    <a:pt x="133" y="71"/>
                  </a:lnTo>
                  <a:lnTo>
                    <a:pt x="133" y="73"/>
                  </a:lnTo>
                  <a:lnTo>
                    <a:pt x="133" y="71"/>
                  </a:lnTo>
                  <a:lnTo>
                    <a:pt x="133" y="73"/>
                  </a:lnTo>
                  <a:lnTo>
                    <a:pt x="131" y="73"/>
                  </a:lnTo>
                  <a:lnTo>
                    <a:pt x="131" y="71"/>
                  </a:lnTo>
                  <a:lnTo>
                    <a:pt x="133" y="71"/>
                  </a:lnTo>
                  <a:lnTo>
                    <a:pt x="133" y="69"/>
                  </a:lnTo>
                  <a:lnTo>
                    <a:pt x="133" y="71"/>
                  </a:lnTo>
                  <a:lnTo>
                    <a:pt x="133" y="69"/>
                  </a:lnTo>
                  <a:lnTo>
                    <a:pt x="133" y="71"/>
                  </a:lnTo>
                  <a:lnTo>
                    <a:pt x="131" y="71"/>
                  </a:lnTo>
                  <a:lnTo>
                    <a:pt x="131" y="69"/>
                  </a:lnTo>
                  <a:lnTo>
                    <a:pt x="131" y="67"/>
                  </a:lnTo>
                  <a:lnTo>
                    <a:pt x="133" y="67"/>
                  </a:lnTo>
                  <a:lnTo>
                    <a:pt x="135" y="67"/>
                  </a:lnTo>
                  <a:lnTo>
                    <a:pt x="133" y="67"/>
                  </a:lnTo>
                  <a:lnTo>
                    <a:pt x="135" y="67"/>
                  </a:lnTo>
                  <a:lnTo>
                    <a:pt x="133" y="67"/>
                  </a:lnTo>
                  <a:lnTo>
                    <a:pt x="135" y="67"/>
                  </a:lnTo>
                  <a:lnTo>
                    <a:pt x="135" y="65"/>
                  </a:lnTo>
                  <a:lnTo>
                    <a:pt x="133" y="65"/>
                  </a:lnTo>
                  <a:lnTo>
                    <a:pt x="135" y="65"/>
                  </a:lnTo>
                  <a:lnTo>
                    <a:pt x="133" y="65"/>
                  </a:lnTo>
                  <a:lnTo>
                    <a:pt x="135" y="65"/>
                  </a:lnTo>
                  <a:lnTo>
                    <a:pt x="133" y="65"/>
                  </a:lnTo>
                  <a:lnTo>
                    <a:pt x="133" y="67"/>
                  </a:lnTo>
                  <a:lnTo>
                    <a:pt x="133" y="65"/>
                  </a:lnTo>
                  <a:lnTo>
                    <a:pt x="131" y="65"/>
                  </a:lnTo>
                  <a:lnTo>
                    <a:pt x="131" y="63"/>
                  </a:lnTo>
                  <a:lnTo>
                    <a:pt x="131" y="61"/>
                  </a:lnTo>
                  <a:lnTo>
                    <a:pt x="131" y="59"/>
                  </a:lnTo>
                  <a:lnTo>
                    <a:pt x="131" y="58"/>
                  </a:lnTo>
                  <a:lnTo>
                    <a:pt x="131" y="59"/>
                  </a:lnTo>
                  <a:lnTo>
                    <a:pt x="131" y="58"/>
                  </a:lnTo>
                  <a:lnTo>
                    <a:pt x="129" y="58"/>
                  </a:lnTo>
                  <a:lnTo>
                    <a:pt x="129" y="56"/>
                  </a:lnTo>
                  <a:lnTo>
                    <a:pt x="129" y="54"/>
                  </a:lnTo>
                  <a:lnTo>
                    <a:pt x="127" y="54"/>
                  </a:lnTo>
                  <a:lnTo>
                    <a:pt x="129" y="54"/>
                  </a:lnTo>
                  <a:lnTo>
                    <a:pt x="129" y="56"/>
                  </a:lnTo>
                  <a:lnTo>
                    <a:pt x="129" y="54"/>
                  </a:lnTo>
                  <a:lnTo>
                    <a:pt x="129" y="56"/>
                  </a:lnTo>
                  <a:lnTo>
                    <a:pt x="129" y="54"/>
                  </a:lnTo>
                  <a:lnTo>
                    <a:pt x="129" y="56"/>
                  </a:lnTo>
                  <a:lnTo>
                    <a:pt x="131" y="56"/>
                  </a:lnTo>
                  <a:lnTo>
                    <a:pt x="129" y="56"/>
                  </a:lnTo>
                  <a:lnTo>
                    <a:pt x="131" y="56"/>
                  </a:lnTo>
                  <a:lnTo>
                    <a:pt x="131" y="58"/>
                  </a:lnTo>
                  <a:lnTo>
                    <a:pt x="131" y="56"/>
                  </a:lnTo>
                  <a:lnTo>
                    <a:pt x="131" y="58"/>
                  </a:lnTo>
                  <a:lnTo>
                    <a:pt x="131" y="56"/>
                  </a:lnTo>
                  <a:lnTo>
                    <a:pt x="131" y="58"/>
                  </a:lnTo>
                  <a:lnTo>
                    <a:pt x="131" y="56"/>
                  </a:lnTo>
                  <a:lnTo>
                    <a:pt x="131" y="58"/>
                  </a:lnTo>
                  <a:lnTo>
                    <a:pt x="131" y="56"/>
                  </a:lnTo>
                  <a:lnTo>
                    <a:pt x="131" y="58"/>
                  </a:lnTo>
                  <a:lnTo>
                    <a:pt x="131" y="56"/>
                  </a:lnTo>
                  <a:lnTo>
                    <a:pt x="131" y="54"/>
                  </a:lnTo>
                  <a:lnTo>
                    <a:pt x="131" y="56"/>
                  </a:lnTo>
                  <a:lnTo>
                    <a:pt x="131" y="54"/>
                  </a:lnTo>
                  <a:lnTo>
                    <a:pt x="131" y="56"/>
                  </a:lnTo>
                  <a:lnTo>
                    <a:pt x="131" y="54"/>
                  </a:lnTo>
                  <a:lnTo>
                    <a:pt x="133" y="54"/>
                  </a:lnTo>
                  <a:lnTo>
                    <a:pt x="135" y="54"/>
                  </a:lnTo>
                  <a:lnTo>
                    <a:pt x="133" y="54"/>
                  </a:lnTo>
                  <a:lnTo>
                    <a:pt x="135" y="54"/>
                  </a:lnTo>
                  <a:lnTo>
                    <a:pt x="133" y="54"/>
                  </a:lnTo>
                  <a:lnTo>
                    <a:pt x="135" y="54"/>
                  </a:lnTo>
                  <a:lnTo>
                    <a:pt x="133" y="54"/>
                  </a:lnTo>
                  <a:lnTo>
                    <a:pt x="135" y="54"/>
                  </a:lnTo>
                  <a:lnTo>
                    <a:pt x="133" y="54"/>
                  </a:lnTo>
                  <a:lnTo>
                    <a:pt x="135" y="54"/>
                  </a:lnTo>
                  <a:lnTo>
                    <a:pt x="133" y="54"/>
                  </a:lnTo>
                  <a:lnTo>
                    <a:pt x="135" y="54"/>
                  </a:lnTo>
                  <a:lnTo>
                    <a:pt x="133" y="54"/>
                  </a:lnTo>
                  <a:lnTo>
                    <a:pt x="133" y="52"/>
                  </a:lnTo>
                  <a:lnTo>
                    <a:pt x="131" y="52"/>
                  </a:lnTo>
                  <a:lnTo>
                    <a:pt x="133" y="52"/>
                  </a:lnTo>
                  <a:lnTo>
                    <a:pt x="131" y="52"/>
                  </a:lnTo>
                  <a:lnTo>
                    <a:pt x="133" y="52"/>
                  </a:lnTo>
                  <a:lnTo>
                    <a:pt x="131" y="52"/>
                  </a:lnTo>
                  <a:lnTo>
                    <a:pt x="133" y="52"/>
                  </a:lnTo>
                  <a:lnTo>
                    <a:pt x="131" y="52"/>
                  </a:lnTo>
                  <a:lnTo>
                    <a:pt x="133" y="52"/>
                  </a:lnTo>
                  <a:lnTo>
                    <a:pt x="131" y="52"/>
                  </a:lnTo>
                  <a:lnTo>
                    <a:pt x="133" y="52"/>
                  </a:lnTo>
                  <a:lnTo>
                    <a:pt x="131" y="52"/>
                  </a:lnTo>
                  <a:lnTo>
                    <a:pt x="131" y="50"/>
                  </a:lnTo>
                  <a:lnTo>
                    <a:pt x="131" y="52"/>
                  </a:lnTo>
                  <a:lnTo>
                    <a:pt x="131" y="50"/>
                  </a:lnTo>
                  <a:lnTo>
                    <a:pt x="131" y="52"/>
                  </a:lnTo>
                  <a:lnTo>
                    <a:pt x="129" y="52"/>
                  </a:lnTo>
                  <a:lnTo>
                    <a:pt x="127" y="52"/>
                  </a:lnTo>
                  <a:lnTo>
                    <a:pt x="127" y="54"/>
                  </a:lnTo>
                  <a:lnTo>
                    <a:pt x="127" y="52"/>
                  </a:lnTo>
                  <a:lnTo>
                    <a:pt x="127" y="50"/>
                  </a:lnTo>
                  <a:lnTo>
                    <a:pt x="127" y="48"/>
                  </a:lnTo>
                  <a:lnTo>
                    <a:pt x="125" y="48"/>
                  </a:lnTo>
                  <a:lnTo>
                    <a:pt x="125" y="46"/>
                  </a:lnTo>
                  <a:lnTo>
                    <a:pt x="123" y="46"/>
                  </a:lnTo>
                  <a:lnTo>
                    <a:pt x="123" y="44"/>
                  </a:lnTo>
                  <a:lnTo>
                    <a:pt x="123" y="42"/>
                  </a:lnTo>
                  <a:lnTo>
                    <a:pt x="125" y="42"/>
                  </a:lnTo>
                  <a:lnTo>
                    <a:pt x="123" y="42"/>
                  </a:lnTo>
                  <a:lnTo>
                    <a:pt x="125" y="42"/>
                  </a:lnTo>
                  <a:lnTo>
                    <a:pt x="125" y="44"/>
                  </a:lnTo>
                  <a:lnTo>
                    <a:pt x="125" y="46"/>
                  </a:lnTo>
                  <a:lnTo>
                    <a:pt x="125" y="44"/>
                  </a:lnTo>
                  <a:lnTo>
                    <a:pt x="125" y="46"/>
                  </a:lnTo>
                  <a:lnTo>
                    <a:pt x="125" y="44"/>
                  </a:lnTo>
                  <a:lnTo>
                    <a:pt x="125" y="46"/>
                  </a:lnTo>
                  <a:lnTo>
                    <a:pt x="127" y="46"/>
                  </a:lnTo>
                  <a:lnTo>
                    <a:pt x="125" y="46"/>
                  </a:lnTo>
                  <a:lnTo>
                    <a:pt x="127" y="46"/>
                  </a:lnTo>
                  <a:lnTo>
                    <a:pt x="125" y="46"/>
                  </a:lnTo>
                  <a:lnTo>
                    <a:pt x="127" y="46"/>
                  </a:lnTo>
                  <a:lnTo>
                    <a:pt x="125" y="46"/>
                  </a:lnTo>
                  <a:lnTo>
                    <a:pt x="127" y="46"/>
                  </a:lnTo>
                  <a:lnTo>
                    <a:pt x="127" y="44"/>
                  </a:lnTo>
                  <a:lnTo>
                    <a:pt x="127" y="42"/>
                  </a:lnTo>
                  <a:lnTo>
                    <a:pt x="125" y="42"/>
                  </a:lnTo>
                  <a:lnTo>
                    <a:pt x="127" y="42"/>
                  </a:lnTo>
                  <a:lnTo>
                    <a:pt x="127" y="40"/>
                  </a:lnTo>
                  <a:lnTo>
                    <a:pt x="127" y="42"/>
                  </a:lnTo>
                  <a:lnTo>
                    <a:pt x="125" y="42"/>
                  </a:lnTo>
                  <a:lnTo>
                    <a:pt x="125" y="40"/>
                  </a:lnTo>
                  <a:lnTo>
                    <a:pt x="127" y="40"/>
                  </a:lnTo>
                  <a:lnTo>
                    <a:pt x="125" y="40"/>
                  </a:lnTo>
                  <a:lnTo>
                    <a:pt x="127" y="40"/>
                  </a:lnTo>
                  <a:lnTo>
                    <a:pt x="125" y="40"/>
                  </a:lnTo>
                  <a:lnTo>
                    <a:pt x="127" y="40"/>
                  </a:lnTo>
                  <a:lnTo>
                    <a:pt x="125" y="40"/>
                  </a:lnTo>
                  <a:lnTo>
                    <a:pt x="125" y="42"/>
                  </a:lnTo>
                  <a:lnTo>
                    <a:pt x="125" y="40"/>
                  </a:lnTo>
                  <a:lnTo>
                    <a:pt x="123" y="40"/>
                  </a:lnTo>
                  <a:lnTo>
                    <a:pt x="125" y="40"/>
                  </a:lnTo>
                  <a:lnTo>
                    <a:pt x="125" y="38"/>
                  </a:lnTo>
                  <a:lnTo>
                    <a:pt x="127" y="38"/>
                  </a:lnTo>
                  <a:lnTo>
                    <a:pt x="127" y="40"/>
                  </a:lnTo>
                  <a:lnTo>
                    <a:pt x="127" y="38"/>
                  </a:lnTo>
                  <a:lnTo>
                    <a:pt x="127" y="40"/>
                  </a:lnTo>
                  <a:lnTo>
                    <a:pt x="127" y="38"/>
                  </a:lnTo>
                  <a:lnTo>
                    <a:pt x="127" y="40"/>
                  </a:lnTo>
                  <a:lnTo>
                    <a:pt x="127" y="38"/>
                  </a:lnTo>
                  <a:lnTo>
                    <a:pt x="125" y="38"/>
                  </a:lnTo>
                  <a:lnTo>
                    <a:pt x="125" y="40"/>
                  </a:lnTo>
                  <a:lnTo>
                    <a:pt x="125" y="38"/>
                  </a:lnTo>
                  <a:lnTo>
                    <a:pt x="125" y="40"/>
                  </a:lnTo>
                  <a:lnTo>
                    <a:pt x="125" y="38"/>
                  </a:lnTo>
                  <a:lnTo>
                    <a:pt x="123" y="38"/>
                  </a:lnTo>
                  <a:lnTo>
                    <a:pt x="125" y="38"/>
                  </a:lnTo>
                  <a:lnTo>
                    <a:pt x="125" y="36"/>
                  </a:lnTo>
                  <a:lnTo>
                    <a:pt x="125" y="38"/>
                  </a:lnTo>
                  <a:lnTo>
                    <a:pt x="125" y="36"/>
                  </a:lnTo>
                  <a:lnTo>
                    <a:pt x="127" y="36"/>
                  </a:lnTo>
                  <a:lnTo>
                    <a:pt x="125" y="36"/>
                  </a:lnTo>
                  <a:lnTo>
                    <a:pt x="127" y="36"/>
                  </a:lnTo>
                  <a:lnTo>
                    <a:pt x="125" y="36"/>
                  </a:lnTo>
                  <a:lnTo>
                    <a:pt x="125" y="38"/>
                  </a:lnTo>
                  <a:lnTo>
                    <a:pt x="123" y="38"/>
                  </a:lnTo>
                  <a:lnTo>
                    <a:pt x="123" y="36"/>
                  </a:lnTo>
                  <a:lnTo>
                    <a:pt x="125" y="36"/>
                  </a:lnTo>
                  <a:lnTo>
                    <a:pt x="123" y="36"/>
                  </a:lnTo>
                  <a:lnTo>
                    <a:pt x="123" y="38"/>
                  </a:lnTo>
                  <a:lnTo>
                    <a:pt x="123" y="36"/>
                  </a:lnTo>
                  <a:lnTo>
                    <a:pt x="123" y="38"/>
                  </a:lnTo>
                  <a:lnTo>
                    <a:pt x="123" y="36"/>
                  </a:lnTo>
                  <a:lnTo>
                    <a:pt x="123" y="38"/>
                  </a:lnTo>
                  <a:lnTo>
                    <a:pt x="123" y="36"/>
                  </a:lnTo>
                  <a:lnTo>
                    <a:pt x="123" y="38"/>
                  </a:lnTo>
                  <a:lnTo>
                    <a:pt x="125" y="38"/>
                  </a:lnTo>
                  <a:lnTo>
                    <a:pt x="123" y="38"/>
                  </a:lnTo>
                  <a:lnTo>
                    <a:pt x="121" y="38"/>
                  </a:lnTo>
                  <a:lnTo>
                    <a:pt x="121" y="36"/>
                  </a:lnTo>
                  <a:lnTo>
                    <a:pt x="119" y="36"/>
                  </a:lnTo>
                  <a:lnTo>
                    <a:pt x="121" y="36"/>
                  </a:lnTo>
                  <a:lnTo>
                    <a:pt x="121" y="38"/>
                  </a:lnTo>
                  <a:lnTo>
                    <a:pt x="123" y="38"/>
                  </a:lnTo>
                  <a:lnTo>
                    <a:pt x="123" y="40"/>
                  </a:lnTo>
                  <a:lnTo>
                    <a:pt x="123" y="38"/>
                  </a:lnTo>
                  <a:lnTo>
                    <a:pt x="123" y="40"/>
                  </a:lnTo>
                  <a:lnTo>
                    <a:pt x="123" y="38"/>
                  </a:lnTo>
                  <a:lnTo>
                    <a:pt x="121" y="38"/>
                  </a:lnTo>
                  <a:lnTo>
                    <a:pt x="121" y="40"/>
                  </a:lnTo>
                  <a:lnTo>
                    <a:pt x="121" y="38"/>
                  </a:lnTo>
                  <a:lnTo>
                    <a:pt x="121" y="40"/>
                  </a:lnTo>
                  <a:lnTo>
                    <a:pt x="123" y="40"/>
                  </a:lnTo>
                  <a:lnTo>
                    <a:pt x="121" y="40"/>
                  </a:lnTo>
                  <a:lnTo>
                    <a:pt x="119" y="40"/>
                  </a:lnTo>
                  <a:lnTo>
                    <a:pt x="119" y="38"/>
                  </a:lnTo>
                  <a:lnTo>
                    <a:pt x="119" y="36"/>
                  </a:lnTo>
                  <a:lnTo>
                    <a:pt x="117" y="36"/>
                  </a:lnTo>
                  <a:lnTo>
                    <a:pt x="117" y="35"/>
                  </a:lnTo>
                  <a:lnTo>
                    <a:pt x="117" y="33"/>
                  </a:lnTo>
                  <a:lnTo>
                    <a:pt x="115" y="33"/>
                  </a:lnTo>
                  <a:lnTo>
                    <a:pt x="115" y="31"/>
                  </a:lnTo>
                  <a:lnTo>
                    <a:pt x="113" y="31"/>
                  </a:lnTo>
                  <a:lnTo>
                    <a:pt x="113" y="29"/>
                  </a:lnTo>
                  <a:lnTo>
                    <a:pt x="111" y="29"/>
                  </a:lnTo>
                  <a:lnTo>
                    <a:pt x="111" y="27"/>
                  </a:lnTo>
                  <a:lnTo>
                    <a:pt x="111" y="25"/>
                  </a:lnTo>
                  <a:lnTo>
                    <a:pt x="111" y="23"/>
                  </a:lnTo>
                  <a:lnTo>
                    <a:pt x="111" y="25"/>
                  </a:lnTo>
                  <a:lnTo>
                    <a:pt x="111" y="23"/>
                  </a:lnTo>
                  <a:lnTo>
                    <a:pt x="111" y="25"/>
                  </a:lnTo>
                  <a:lnTo>
                    <a:pt x="111" y="23"/>
                  </a:lnTo>
                  <a:lnTo>
                    <a:pt x="111" y="25"/>
                  </a:lnTo>
                  <a:lnTo>
                    <a:pt x="111" y="23"/>
                  </a:lnTo>
                  <a:lnTo>
                    <a:pt x="113" y="23"/>
                  </a:lnTo>
                  <a:lnTo>
                    <a:pt x="111" y="23"/>
                  </a:lnTo>
                  <a:lnTo>
                    <a:pt x="113" y="23"/>
                  </a:lnTo>
                  <a:lnTo>
                    <a:pt x="113" y="25"/>
                  </a:lnTo>
                  <a:lnTo>
                    <a:pt x="113" y="23"/>
                  </a:lnTo>
                  <a:lnTo>
                    <a:pt x="113" y="21"/>
                  </a:lnTo>
                  <a:lnTo>
                    <a:pt x="115" y="21"/>
                  </a:lnTo>
                  <a:lnTo>
                    <a:pt x="113" y="21"/>
                  </a:lnTo>
                  <a:lnTo>
                    <a:pt x="115" y="21"/>
                  </a:lnTo>
                  <a:lnTo>
                    <a:pt x="113" y="21"/>
                  </a:lnTo>
                  <a:lnTo>
                    <a:pt x="113" y="23"/>
                  </a:lnTo>
                  <a:lnTo>
                    <a:pt x="113" y="21"/>
                  </a:lnTo>
                  <a:lnTo>
                    <a:pt x="113" y="23"/>
                  </a:lnTo>
                  <a:lnTo>
                    <a:pt x="113" y="21"/>
                  </a:lnTo>
                  <a:lnTo>
                    <a:pt x="113" y="23"/>
                  </a:lnTo>
                  <a:lnTo>
                    <a:pt x="113" y="21"/>
                  </a:lnTo>
                  <a:lnTo>
                    <a:pt x="113" y="23"/>
                  </a:lnTo>
                  <a:lnTo>
                    <a:pt x="111" y="23"/>
                  </a:lnTo>
                  <a:lnTo>
                    <a:pt x="111" y="25"/>
                  </a:lnTo>
                  <a:lnTo>
                    <a:pt x="110" y="25"/>
                  </a:lnTo>
                  <a:lnTo>
                    <a:pt x="110" y="23"/>
                  </a:lnTo>
                  <a:lnTo>
                    <a:pt x="108" y="23"/>
                  </a:lnTo>
                  <a:lnTo>
                    <a:pt x="110" y="23"/>
                  </a:lnTo>
                  <a:lnTo>
                    <a:pt x="110" y="21"/>
                  </a:lnTo>
                  <a:lnTo>
                    <a:pt x="110" y="23"/>
                  </a:lnTo>
                  <a:lnTo>
                    <a:pt x="110" y="21"/>
                  </a:lnTo>
                  <a:lnTo>
                    <a:pt x="110" y="23"/>
                  </a:lnTo>
                  <a:lnTo>
                    <a:pt x="110" y="21"/>
                  </a:lnTo>
                  <a:lnTo>
                    <a:pt x="108" y="21"/>
                  </a:lnTo>
                  <a:lnTo>
                    <a:pt x="110" y="21"/>
                  </a:lnTo>
                  <a:lnTo>
                    <a:pt x="108" y="21"/>
                  </a:lnTo>
                  <a:lnTo>
                    <a:pt x="108" y="23"/>
                  </a:lnTo>
                  <a:lnTo>
                    <a:pt x="110" y="23"/>
                  </a:lnTo>
                  <a:lnTo>
                    <a:pt x="108" y="23"/>
                  </a:lnTo>
                  <a:lnTo>
                    <a:pt x="110" y="23"/>
                  </a:lnTo>
                  <a:lnTo>
                    <a:pt x="108" y="23"/>
                  </a:lnTo>
                  <a:lnTo>
                    <a:pt x="108" y="21"/>
                  </a:lnTo>
                  <a:lnTo>
                    <a:pt x="108" y="19"/>
                  </a:lnTo>
                  <a:lnTo>
                    <a:pt x="106" y="19"/>
                  </a:lnTo>
                  <a:lnTo>
                    <a:pt x="108" y="19"/>
                  </a:lnTo>
                  <a:lnTo>
                    <a:pt x="108" y="17"/>
                  </a:lnTo>
                  <a:lnTo>
                    <a:pt x="108" y="15"/>
                  </a:lnTo>
                  <a:lnTo>
                    <a:pt x="106" y="15"/>
                  </a:lnTo>
                  <a:lnTo>
                    <a:pt x="106" y="13"/>
                  </a:lnTo>
                  <a:lnTo>
                    <a:pt x="106" y="11"/>
                  </a:lnTo>
                  <a:lnTo>
                    <a:pt x="104" y="11"/>
                  </a:lnTo>
                  <a:lnTo>
                    <a:pt x="104" y="10"/>
                  </a:lnTo>
                  <a:lnTo>
                    <a:pt x="102" y="10"/>
                  </a:lnTo>
                  <a:lnTo>
                    <a:pt x="102" y="8"/>
                  </a:lnTo>
                  <a:lnTo>
                    <a:pt x="100" y="8"/>
                  </a:lnTo>
                  <a:lnTo>
                    <a:pt x="102" y="8"/>
                  </a:lnTo>
                  <a:lnTo>
                    <a:pt x="100" y="8"/>
                  </a:lnTo>
                  <a:lnTo>
                    <a:pt x="102" y="8"/>
                  </a:lnTo>
                  <a:lnTo>
                    <a:pt x="100" y="8"/>
                  </a:lnTo>
                  <a:lnTo>
                    <a:pt x="102" y="8"/>
                  </a:lnTo>
                  <a:lnTo>
                    <a:pt x="100" y="8"/>
                  </a:lnTo>
                  <a:lnTo>
                    <a:pt x="102" y="8"/>
                  </a:lnTo>
                  <a:lnTo>
                    <a:pt x="100" y="8"/>
                  </a:lnTo>
                  <a:lnTo>
                    <a:pt x="102" y="8"/>
                  </a:lnTo>
                  <a:lnTo>
                    <a:pt x="100" y="8"/>
                  </a:lnTo>
                  <a:lnTo>
                    <a:pt x="100" y="6"/>
                  </a:lnTo>
                  <a:lnTo>
                    <a:pt x="102" y="6"/>
                  </a:lnTo>
                  <a:lnTo>
                    <a:pt x="104" y="6"/>
                  </a:lnTo>
                  <a:lnTo>
                    <a:pt x="106" y="6"/>
                  </a:lnTo>
                  <a:close/>
                  <a:moveTo>
                    <a:pt x="31" y="244"/>
                  </a:moveTo>
                  <a:lnTo>
                    <a:pt x="33" y="244"/>
                  </a:lnTo>
                  <a:lnTo>
                    <a:pt x="33" y="246"/>
                  </a:lnTo>
                  <a:lnTo>
                    <a:pt x="33" y="248"/>
                  </a:lnTo>
                  <a:lnTo>
                    <a:pt x="35" y="248"/>
                  </a:lnTo>
                  <a:lnTo>
                    <a:pt x="35" y="246"/>
                  </a:lnTo>
                  <a:lnTo>
                    <a:pt x="35" y="248"/>
                  </a:lnTo>
                  <a:lnTo>
                    <a:pt x="33" y="248"/>
                  </a:lnTo>
                  <a:lnTo>
                    <a:pt x="31" y="248"/>
                  </a:lnTo>
                  <a:lnTo>
                    <a:pt x="33" y="248"/>
                  </a:lnTo>
                  <a:lnTo>
                    <a:pt x="31" y="248"/>
                  </a:lnTo>
                  <a:lnTo>
                    <a:pt x="31" y="250"/>
                  </a:lnTo>
                  <a:lnTo>
                    <a:pt x="31" y="248"/>
                  </a:lnTo>
                  <a:lnTo>
                    <a:pt x="33" y="248"/>
                  </a:lnTo>
                  <a:lnTo>
                    <a:pt x="33" y="250"/>
                  </a:lnTo>
                  <a:lnTo>
                    <a:pt x="33" y="248"/>
                  </a:lnTo>
                  <a:lnTo>
                    <a:pt x="33" y="250"/>
                  </a:lnTo>
                  <a:lnTo>
                    <a:pt x="33" y="248"/>
                  </a:lnTo>
                  <a:lnTo>
                    <a:pt x="33" y="250"/>
                  </a:lnTo>
                  <a:lnTo>
                    <a:pt x="33" y="248"/>
                  </a:lnTo>
                  <a:lnTo>
                    <a:pt x="33" y="250"/>
                  </a:lnTo>
                  <a:lnTo>
                    <a:pt x="33" y="248"/>
                  </a:lnTo>
                  <a:lnTo>
                    <a:pt x="33" y="250"/>
                  </a:lnTo>
                  <a:lnTo>
                    <a:pt x="33" y="248"/>
                  </a:lnTo>
                  <a:lnTo>
                    <a:pt x="33" y="250"/>
                  </a:lnTo>
                  <a:lnTo>
                    <a:pt x="35" y="250"/>
                  </a:lnTo>
                  <a:lnTo>
                    <a:pt x="33" y="250"/>
                  </a:lnTo>
                  <a:lnTo>
                    <a:pt x="35" y="250"/>
                  </a:lnTo>
                  <a:lnTo>
                    <a:pt x="35" y="248"/>
                  </a:lnTo>
                  <a:lnTo>
                    <a:pt x="35" y="250"/>
                  </a:lnTo>
                  <a:lnTo>
                    <a:pt x="35" y="252"/>
                  </a:lnTo>
                  <a:lnTo>
                    <a:pt x="35" y="250"/>
                  </a:lnTo>
                  <a:lnTo>
                    <a:pt x="35" y="252"/>
                  </a:lnTo>
                  <a:lnTo>
                    <a:pt x="33" y="252"/>
                  </a:lnTo>
                  <a:lnTo>
                    <a:pt x="35" y="252"/>
                  </a:lnTo>
                  <a:lnTo>
                    <a:pt x="33" y="252"/>
                  </a:lnTo>
                  <a:lnTo>
                    <a:pt x="35" y="252"/>
                  </a:lnTo>
                  <a:lnTo>
                    <a:pt x="33" y="252"/>
                  </a:lnTo>
                  <a:lnTo>
                    <a:pt x="35" y="252"/>
                  </a:lnTo>
                  <a:lnTo>
                    <a:pt x="33" y="252"/>
                  </a:lnTo>
                  <a:lnTo>
                    <a:pt x="35" y="252"/>
                  </a:lnTo>
                  <a:lnTo>
                    <a:pt x="33" y="252"/>
                  </a:lnTo>
                  <a:lnTo>
                    <a:pt x="35" y="252"/>
                  </a:lnTo>
                  <a:lnTo>
                    <a:pt x="33" y="252"/>
                  </a:lnTo>
                  <a:lnTo>
                    <a:pt x="33" y="253"/>
                  </a:lnTo>
                  <a:lnTo>
                    <a:pt x="33" y="252"/>
                  </a:lnTo>
                  <a:lnTo>
                    <a:pt x="33" y="253"/>
                  </a:lnTo>
                  <a:lnTo>
                    <a:pt x="33" y="252"/>
                  </a:lnTo>
                  <a:lnTo>
                    <a:pt x="33" y="253"/>
                  </a:lnTo>
                  <a:lnTo>
                    <a:pt x="31" y="253"/>
                  </a:lnTo>
                  <a:lnTo>
                    <a:pt x="29" y="253"/>
                  </a:lnTo>
                  <a:lnTo>
                    <a:pt x="27" y="253"/>
                  </a:lnTo>
                  <a:lnTo>
                    <a:pt x="29" y="253"/>
                  </a:lnTo>
                  <a:lnTo>
                    <a:pt x="27" y="253"/>
                  </a:lnTo>
                  <a:lnTo>
                    <a:pt x="29" y="253"/>
                  </a:lnTo>
                  <a:lnTo>
                    <a:pt x="27" y="253"/>
                  </a:lnTo>
                  <a:lnTo>
                    <a:pt x="29" y="253"/>
                  </a:lnTo>
                  <a:lnTo>
                    <a:pt x="27" y="253"/>
                  </a:lnTo>
                  <a:lnTo>
                    <a:pt x="27" y="255"/>
                  </a:lnTo>
                  <a:lnTo>
                    <a:pt x="25" y="255"/>
                  </a:lnTo>
                  <a:lnTo>
                    <a:pt x="27" y="255"/>
                  </a:lnTo>
                  <a:lnTo>
                    <a:pt x="25" y="255"/>
                  </a:lnTo>
                  <a:lnTo>
                    <a:pt x="27" y="255"/>
                  </a:lnTo>
                  <a:lnTo>
                    <a:pt x="25" y="255"/>
                  </a:lnTo>
                  <a:lnTo>
                    <a:pt x="27" y="255"/>
                  </a:lnTo>
                  <a:lnTo>
                    <a:pt x="25" y="255"/>
                  </a:lnTo>
                  <a:lnTo>
                    <a:pt x="23" y="255"/>
                  </a:lnTo>
                  <a:lnTo>
                    <a:pt x="25" y="255"/>
                  </a:lnTo>
                  <a:lnTo>
                    <a:pt x="23" y="255"/>
                  </a:lnTo>
                  <a:lnTo>
                    <a:pt x="25" y="255"/>
                  </a:lnTo>
                  <a:lnTo>
                    <a:pt x="23" y="255"/>
                  </a:lnTo>
                  <a:lnTo>
                    <a:pt x="25" y="255"/>
                  </a:lnTo>
                  <a:lnTo>
                    <a:pt x="23" y="255"/>
                  </a:lnTo>
                  <a:lnTo>
                    <a:pt x="25" y="255"/>
                  </a:lnTo>
                  <a:lnTo>
                    <a:pt x="23" y="255"/>
                  </a:lnTo>
                  <a:lnTo>
                    <a:pt x="25" y="255"/>
                  </a:lnTo>
                  <a:lnTo>
                    <a:pt x="23" y="255"/>
                  </a:lnTo>
                  <a:lnTo>
                    <a:pt x="25" y="255"/>
                  </a:lnTo>
                  <a:lnTo>
                    <a:pt x="25" y="253"/>
                  </a:lnTo>
                  <a:lnTo>
                    <a:pt x="25" y="252"/>
                  </a:lnTo>
                  <a:lnTo>
                    <a:pt x="27" y="252"/>
                  </a:lnTo>
                  <a:lnTo>
                    <a:pt x="25" y="252"/>
                  </a:lnTo>
                  <a:lnTo>
                    <a:pt x="27" y="252"/>
                  </a:lnTo>
                  <a:lnTo>
                    <a:pt x="25" y="252"/>
                  </a:lnTo>
                  <a:lnTo>
                    <a:pt x="27" y="252"/>
                  </a:lnTo>
                  <a:lnTo>
                    <a:pt x="29" y="252"/>
                  </a:lnTo>
                  <a:lnTo>
                    <a:pt x="27" y="252"/>
                  </a:lnTo>
                  <a:lnTo>
                    <a:pt x="27" y="250"/>
                  </a:lnTo>
                  <a:lnTo>
                    <a:pt x="29" y="250"/>
                  </a:lnTo>
                  <a:lnTo>
                    <a:pt x="29" y="248"/>
                  </a:lnTo>
                  <a:lnTo>
                    <a:pt x="29" y="246"/>
                  </a:lnTo>
                  <a:lnTo>
                    <a:pt x="27" y="246"/>
                  </a:lnTo>
                  <a:lnTo>
                    <a:pt x="29" y="246"/>
                  </a:lnTo>
                  <a:lnTo>
                    <a:pt x="27" y="246"/>
                  </a:lnTo>
                  <a:lnTo>
                    <a:pt x="29" y="246"/>
                  </a:lnTo>
                  <a:lnTo>
                    <a:pt x="27" y="246"/>
                  </a:lnTo>
                  <a:lnTo>
                    <a:pt x="27" y="244"/>
                  </a:lnTo>
                  <a:lnTo>
                    <a:pt x="29" y="244"/>
                  </a:lnTo>
                  <a:lnTo>
                    <a:pt x="31" y="244"/>
                  </a:lnTo>
                  <a:close/>
                  <a:moveTo>
                    <a:pt x="257" y="181"/>
                  </a:moveTo>
                  <a:lnTo>
                    <a:pt x="257" y="182"/>
                  </a:lnTo>
                  <a:lnTo>
                    <a:pt x="259" y="182"/>
                  </a:lnTo>
                  <a:lnTo>
                    <a:pt x="261" y="182"/>
                  </a:lnTo>
                  <a:lnTo>
                    <a:pt x="263" y="182"/>
                  </a:lnTo>
                  <a:lnTo>
                    <a:pt x="261" y="182"/>
                  </a:lnTo>
                  <a:lnTo>
                    <a:pt x="261" y="184"/>
                  </a:lnTo>
                  <a:lnTo>
                    <a:pt x="259" y="184"/>
                  </a:lnTo>
                  <a:lnTo>
                    <a:pt x="259" y="186"/>
                  </a:lnTo>
                  <a:lnTo>
                    <a:pt x="259" y="184"/>
                  </a:lnTo>
                  <a:lnTo>
                    <a:pt x="261" y="184"/>
                  </a:lnTo>
                  <a:lnTo>
                    <a:pt x="261" y="182"/>
                  </a:lnTo>
                  <a:lnTo>
                    <a:pt x="259" y="182"/>
                  </a:lnTo>
                  <a:lnTo>
                    <a:pt x="257" y="182"/>
                  </a:lnTo>
                  <a:lnTo>
                    <a:pt x="259" y="182"/>
                  </a:lnTo>
                  <a:lnTo>
                    <a:pt x="259" y="184"/>
                  </a:lnTo>
                  <a:lnTo>
                    <a:pt x="259" y="186"/>
                  </a:lnTo>
                  <a:lnTo>
                    <a:pt x="261" y="186"/>
                  </a:lnTo>
                  <a:lnTo>
                    <a:pt x="261" y="188"/>
                  </a:lnTo>
                  <a:lnTo>
                    <a:pt x="259" y="188"/>
                  </a:lnTo>
                  <a:lnTo>
                    <a:pt x="259" y="190"/>
                  </a:lnTo>
                  <a:lnTo>
                    <a:pt x="257" y="190"/>
                  </a:lnTo>
                  <a:lnTo>
                    <a:pt x="257" y="188"/>
                  </a:lnTo>
                  <a:lnTo>
                    <a:pt x="255" y="188"/>
                  </a:lnTo>
                  <a:lnTo>
                    <a:pt x="257" y="188"/>
                  </a:lnTo>
                  <a:lnTo>
                    <a:pt x="257" y="186"/>
                  </a:lnTo>
                  <a:lnTo>
                    <a:pt x="259" y="186"/>
                  </a:lnTo>
                  <a:lnTo>
                    <a:pt x="259" y="184"/>
                  </a:lnTo>
                  <a:lnTo>
                    <a:pt x="257" y="184"/>
                  </a:lnTo>
                  <a:lnTo>
                    <a:pt x="257" y="182"/>
                  </a:lnTo>
                  <a:lnTo>
                    <a:pt x="255" y="182"/>
                  </a:lnTo>
                  <a:lnTo>
                    <a:pt x="255" y="184"/>
                  </a:lnTo>
                  <a:lnTo>
                    <a:pt x="255" y="182"/>
                  </a:lnTo>
                  <a:lnTo>
                    <a:pt x="255" y="184"/>
                  </a:lnTo>
                  <a:lnTo>
                    <a:pt x="254" y="184"/>
                  </a:lnTo>
                  <a:lnTo>
                    <a:pt x="254" y="182"/>
                  </a:lnTo>
                  <a:lnTo>
                    <a:pt x="255" y="182"/>
                  </a:lnTo>
                  <a:lnTo>
                    <a:pt x="257" y="182"/>
                  </a:lnTo>
                  <a:lnTo>
                    <a:pt x="257" y="181"/>
                  </a:lnTo>
                  <a:lnTo>
                    <a:pt x="257" y="182"/>
                  </a:lnTo>
                  <a:lnTo>
                    <a:pt x="257" y="181"/>
                  </a:lnTo>
                  <a:lnTo>
                    <a:pt x="257" y="182"/>
                  </a:lnTo>
                  <a:lnTo>
                    <a:pt x="257" y="181"/>
                  </a:lnTo>
                  <a:close/>
                  <a:moveTo>
                    <a:pt x="6" y="328"/>
                  </a:moveTo>
                  <a:lnTo>
                    <a:pt x="8" y="328"/>
                  </a:lnTo>
                  <a:lnTo>
                    <a:pt x="6" y="328"/>
                  </a:lnTo>
                  <a:lnTo>
                    <a:pt x="8" y="328"/>
                  </a:lnTo>
                  <a:lnTo>
                    <a:pt x="6" y="328"/>
                  </a:lnTo>
                  <a:lnTo>
                    <a:pt x="8" y="328"/>
                  </a:lnTo>
                  <a:lnTo>
                    <a:pt x="8" y="330"/>
                  </a:lnTo>
                  <a:lnTo>
                    <a:pt x="6" y="330"/>
                  </a:lnTo>
                  <a:lnTo>
                    <a:pt x="6" y="328"/>
                  </a:lnTo>
                  <a:lnTo>
                    <a:pt x="6" y="330"/>
                  </a:lnTo>
                  <a:lnTo>
                    <a:pt x="6" y="332"/>
                  </a:lnTo>
                  <a:lnTo>
                    <a:pt x="6" y="330"/>
                  </a:lnTo>
                  <a:lnTo>
                    <a:pt x="6" y="332"/>
                  </a:lnTo>
                  <a:lnTo>
                    <a:pt x="4" y="332"/>
                  </a:lnTo>
                  <a:lnTo>
                    <a:pt x="6" y="332"/>
                  </a:lnTo>
                  <a:lnTo>
                    <a:pt x="4" y="332"/>
                  </a:lnTo>
                  <a:lnTo>
                    <a:pt x="6" y="332"/>
                  </a:lnTo>
                  <a:lnTo>
                    <a:pt x="4" y="332"/>
                  </a:lnTo>
                  <a:lnTo>
                    <a:pt x="6" y="332"/>
                  </a:lnTo>
                  <a:lnTo>
                    <a:pt x="4" y="332"/>
                  </a:lnTo>
                  <a:lnTo>
                    <a:pt x="6" y="332"/>
                  </a:lnTo>
                  <a:lnTo>
                    <a:pt x="6" y="334"/>
                  </a:lnTo>
                  <a:lnTo>
                    <a:pt x="4" y="334"/>
                  </a:lnTo>
                  <a:lnTo>
                    <a:pt x="6" y="334"/>
                  </a:lnTo>
                  <a:lnTo>
                    <a:pt x="6" y="336"/>
                  </a:lnTo>
                  <a:lnTo>
                    <a:pt x="4" y="336"/>
                  </a:lnTo>
                  <a:lnTo>
                    <a:pt x="4" y="334"/>
                  </a:lnTo>
                  <a:lnTo>
                    <a:pt x="4" y="336"/>
                  </a:lnTo>
                  <a:lnTo>
                    <a:pt x="4" y="334"/>
                  </a:lnTo>
                  <a:lnTo>
                    <a:pt x="4" y="332"/>
                  </a:lnTo>
                  <a:lnTo>
                    <a:pt x="4" y="334"/>
                  </a:lnTo>
                  <a:lnTo>
                    <a:pt x="2" y="334"/>
                  </a:lnTo>
                  <a:lnTo>
                    <a:pt x="4" y="334"/>
                  </a:lnTo>
                  <a:lnTo>
                    <a:pt x="2" y="334"/>
                  </a:lnTo>
                  <a:lnTo>
                    <a:pt x="4" y="334"/>
                  </a:lnTo>
                  <a:lnTo>
                    <a:pt x="2" y="334"/>
                  </a:lnTo>
                  <a:lnTo>
                    <a:pt x="2" y="336"/>
                  </a:lnTo>
                  <a:lnTo>
                    <a:pt x="4" y="336"/>
                  </a:lnTo>
                  <a:lnTo>
                    <a:pt x="2" y="336"/>
                  </a:lnTo>
                  <a:lnTo>
                    <a:pt x="2" y="334"/>
                  </a:lnTo>
                  <a:lnTo>
                    <a:pt x="2" y="336"/>
                  </a:lnTo>
                  <a:lnTo>
                    <a:pt x="2" y="334"/>
                  </a:lnTo>
                  <a:lnTo>
                    <a:pt x="2" y="336"/>
                  </a:lnTo>
                  <a:lnTo>
                    <a:pt x="2" y="334"/>
                  </a:lnTo>
                  <a:lnTo>
                    <a:pt x="0" y="334"/>
                  </a:lnTo>
                  <a:lnTo>
                    <a:pt x="2" y="334"/>
                  </a:lnTo>
                  <a:lnTo>
                    <a:pt x="0" y="334"/>
                  </a:lnTo>
                  <a:lnTo>
                    <a:pt x="2" y="334"/>
                  </a:lnTo>
                  <a:lnTo>
                    <a:pt x="2" y="332"/>
                  </a:lnTo>
                  <a:lnTo>
                    <a:pt x="4" y="332"/>
                  </a:lnTo>
                  <a:lnTo>
                    <a:pt x="4" y="330"/>
                  </a:lnTo>
                  <a:lnTo>
                    <a:pt x="4" y="328"/>
                  </a:lnTo>
                  <a:lnTo>
                    <a:pt x="6" y="328"/>
                  </a:lnTo>
                  <a:close/>
                  <a:moveTo>
                    <a:pt x="140" y="35"/>
                  </a:moveTo>
                  <a:lnTo>
                    <a:pt x="140" y="36"/>
                  </a:lnTo>
                  <a:lnTo>
                    <a:pt x="142" y="36"/>
                  </a:lnTo>
                  <a:lnTo>
                    <a:pt x="142" y="38"/>
                  </a:lnTo>
                  <a:lnTo>
                    <a:pt x="142" y="36"/>
                  </a:lnTo>
                  <a:lnTo>
                    <a:pt x="142" y="38"/>
                  </a:lnTo>
                  <a:lnTo>
                    <a:pt x="142" y="36"/>
                  </a:lnTo>
                  <a:lnTo>
                    <a:pt x="142" y="38"/>
                  </a:lnTo>
                  <a:lnTo>
                    <a:pt x="142" y="40"/>
                  </a:lnTo>
                  <a:lnTo>
                    <a:pt x="140" y="40"/>
                  </a:lnTo>
                  <a:lnTo>
                    <a:pt x="140" y="38"/>
                  </a:lnTo>
                  <a:lnTo>
                    <a:pt x="138" y="38"/>
                  </a:lnTo>
                  <a:lnTo>
                    <a:pt x="138" y="36"/>
                  </a:lnTo>
                  <a:lnTo>
                    <a:pt x="138" y="38"/>
                  </a:lnTo>
                  <a:lnTo>
                    <a:pt x="140" y="38"/>
                  </a:lnTo>
                  <a:lnTo>
                    <a:pt x="140" y="36"/>
                  </a:lnTo>
                  <a:lnTo>
                    <a:pt x="138" y="36"/>
                  </a:lnTo>
                  <a:lnTo>
                    <a:pt x="140" y="36"/>
                  </a:lnTo>
                  <a:lnTo>
                    <a:pt x="138" y="36"/>
                  </a:lnTo>
                  <a:lnTo>
                    <a:pt x="140" y="36"/>
                  </a:lnTo>
                  <a:lnTo>
                    <a:pt x="140" y="35"/>
                  </a:lnTo>
                  <a:close/>
                  <a:moveTo>
                    <a:pt x="14" y="221"/>
                  </a:moveTo>
                  <a:lnTo>
                    <a:pt x="14" y="223"/>
                  </a:lnTo>
                  <a:lnTo>
                    <a:pt x="12" y="223"/>
                  </a:lnTo>
                  <a:lnTo>
                    <a:pt x="12" y="221"/>
                  </a:lnTo>
                  <a:lnTo>
                    <a:pt x="12" y="223"/>
                  </a:lnTo>
                  <a:lnTo>
                    <a:pt x="10" y="223"/>
                  </a:lnTo>
                  <a:lnTo>
                    <a:pt x="10" y="221"/>
                  </a:lnTo>
                  <a:lnTo>
                    <a:pt x="12" y="221"/>
                  </a:lnTo>
                  <a:lnTo>
                    <a:pt x="14" y="221"/>
                  </a:lnTo>
                  <a:close/>
                  <a:moveTo>
                    <a:pt x="119" y="121"/>
                  </a:moveTo>
                  <a:lnTo>
                    <a:pt x="119" y="123"/>
                  </a:lnTo>
                  <a:lnTo>
                    <a:pt x="119" y="125"/>
                  </a:lnTo>
                  <a:lnTo>
                    <a:pt x="119" y="123"/>
                  </a:lnTo>
                  <a:lnTo>
                    <a:pt x="119" y="125"/>
                  </a:lnTo>
                  <a:lnTo>
                    <a:pt x="117" y="125"/>
                  </a:lnTo>
                  <a:lnTo>
                    <a:pt x="119" y="125"/>
                  </a:lnTo>
                  <a:lnTo>
                    <a:pt x="117" y="125"/>
                  </a:lnTo>
                  <a:lnTo>
                    <a:pt x="117" y="127"/>
                  </a:lnTo>
                  <a:lnTo>
                    <a:pt x="117" y="125"/>
                  </a:lnTo>
                  <a:lnTo>
                    <a:pt x="117" y="123"/>
                  </a:lnTo>
                  <a:lnTo>
                    <a:pt x="119" y="123"/>
                  </a:lnTo>
                  <a:lnTo>
                    <a:pt x="117" y="123"/>
                  </a:lnTo>
                  <a:lnTo>
                    <a:pt x="117" y="125"/>
                  </a:lnTo>
                  <a:lnTo>
                    <a:pt x="117" y="123"/>
                  </a:lnTo>
                  <a:lnTo>
                    <a:pt x="119" y="123"/>
                  </a:lnTo>
                  <a:lnTo>
                    <a:pt x="117" y="123"/>
                  </a:lnTo>
                  <a:lnTo>
                    <a:pt x="119" y="123"/>
                  </a:lnTo>
                  <a:lnTo>
                    <a:pt x="119" y="121"/>
                  </a:lnTo>
                  <a:close/>
                  <a:moveTo>
                    <a:pt x="50" y="375"/>
                  </a:moveTo>
                  <a:lnTo>
                    <a:pt x="50" y="376"/>
                  </a:lnTo>
                  <a:lnTo>
                    <a:pt x="48" y="376"/>
                  </a:lnTo>
                  <a:lnTo>
                    <a:pt x="50" y="376"/>
                  </a:lnTo>
                  <a:lnTo>
                    <a:pt x="48" y="376"/>
                  </a:lnTo>
                  <a:lnTo>
                    <a:pt x="46" y="376"/>
                  </a:lnTo>
                  <a:lnTo>
                    <a:pt x="48" y="376"/>
                  </a:lnTo>
                  <a:lnTo>
                    <a:pt x="48" y="375"/>
                  </a:lnTo>
                  <a:lnTo>
                    <a:pt x="48" y="376"/>
                  </a:lnTo>
                  <a:lnTo>
                    <a:pt x="48" y="375"/>
                  </a:lnTo>
                  <a:lnTo>
                    <a:pt x="50" y="375"/>
                  </a:lnTo>
                  <a:close/>
                  <a:moveTo>
                    <a:pt x="2" y="336"/>
                  </a:moveTo>
                  <a:lnTo>
                    <a:pt x="4" y="336"/>
                  </a:lnTo>
                  <a:lnTo>
                    <a:pt x="6" y="336"/>
                  </a:lnTo>
                  <a:lnTo>
                    <a:pt x="4" y="336"/>
                  </a:lnTo>
                  <a:lnTo>
                    <a:pt x="4" y="338"/>
                  </a:lnTo>
                  <a:lnTo>
                    <a:pt x="4" y="336"/>
                  </a:lnTo>
                  <a:lnTo>
                    <a:pt x="2" y="336"/>
                  </a:lnTo>
                  <a:close/>
                  <a:moveTo>
                    <a:pt x="135" y="48"/>
                  </a:moveTo>
                  <a:lnTo>
                    <a:pt x="138" y="48"/>
                  </a:lnTo>
                  <a:lnTo>
                    <a:pt x="138" y="50"/>
                  </a:lnTo>
                  <a:lnTo>
                    <a:pt x="135" y="50"/>
                  </a:lnTo>
                  <a:lnTo>
                    <a:pt x="135" y="48"/>
                  </a:lnTo>
                  <a:close/>
                  <a:moveTo>
                    <a:pt x="16" y="211"/>
                  </a:moveTo>
                  <a:lnTo>
                    <a:pt x="17" y="211"/>
                  </a:lnTo>
                  <a:lnTo>
                    <a:pt x="17" y="213"/>
                  </a:lnTo>
                  <a:lnTo>
                    <a:pt x="16" y="213"/>
                  </a:lnTo>
                  <a:lnTo>
                    <a:pt x="16" y="211"/>
                  </a:lnTo>
                  <a:close/>
                  <a:moveTo>
                    <a:pt x="123" y="129"/>
                  </a:moveTo>
                  <a:lnTo>
                    <a:pt x="125" y="129"/>
                  </a:lnTo>
                  <a:lnTo>
                    <a:pt x="125" y="132"/>
                  </a:lnTo>
                  <a:lnTo>
                    <a:pt x="123" y="132"/>
                  </a:lnTo>
                  <a:lnTo>
                    <a:pt x="123" y="129"/>
                  </a:lnTo>
                  <a:close/>
                  <a:moveTo>
                    <a:pt x="261" y="192"/>
                  </a:moveTo>
                  <a:lnTo>
                    <a:pt x="263" y="192"/>
                  </a:lnTo>
                  <a:lnTo>
                    <a:pt x="263" y="194"/>
                  </a:lnTo>
                  <a:lnTo>
                    <a:pt x="261" y="194"/>
                  </a:lnTo>
                  <a:lnTo>
                    <a:pt x="261" y="192"/>
                  </a:lnTo>
                  <a:close/>
                  <a:moveTo>
                    <a:pt x="148" y="61"/>
                  </a:moveTo>
                  <a:lnTo>
                    <a:pt x="152" y="61"/>
                  </a:lnTo>
                  <a:lnTo>
                    <a:pt x="152" y="63"/>
                  </a:lnTo>
                  <a:lnTo>
                    <a:pt x="148" y="63"/>
                  </a:lnTo>
                  <a:lnTo>
                    <a:pt x="148" y="61"/>
                  </a:lnTo>
                  <a:close/>
                  <a:moveTo>
                    <a:pt x="135" y="36"/>
                  </a:moveTo>
                  <a:lnTo>
                    <a:pt x="136" y="36"/>
                  </a:lnTo>
                  <a:lnTo>
                    <a:pt x="136" y="38"/>
                  </a:lnTo>
                  <a:lnTo>
                    <a:pt x="135" y="38"/>
                  </a:lnTo>
                  <a:lnTo>
                    <a:pt x="135" y="36"/>
                  </a:lnTo>
                  <a:close/>
                  <a:moveTo>
                    <a:pt x="188" y="309"/>
                  </a:moveTo>
                  <a:lnTo>
                    <a:pt x="190" y="309"/>
                  </a:lnTo>
                  <a:lnTo>
                    <a:pt x="188" y="309"/>
                  </a:lnTo>
                  <a:close/>
                  <a:moveTo>
                    <a:pt x="12" y="223"/>
                  </a:moveTo>
                  <a:lnTo>
                    <a:pt x="14" y="223"/>
                  </a:lnTo>
                  <a:lnTo>
                    <a:pt x="14" y="225"/>
                  </a:lnTo>
                  <a:lnTo>
                    <a:pt x="12" y="225"/>
                  </a:lnTo>
                  <a:lnTo>
                    <a:pt x="12" y="223"/>
                  </a:lnTo>
                  <a:close/>
                  <a:moveTo>
                    <a:pt x="14" y="223"/>
                  </a:moveTo>
                  <a:lnTo>
                    <a:pt x="16" y="223"/>
                  </a:lnTo>
                  <a:lnTo>
                    <a:pt x="14" y="223"/>
                  </a:lnTo>
                  <a:close/>
                  <a:moveTo>
                    <a:pt x="133" y="125"/>
                  </a:moveTo>
                  <a:lnTo>
                    <a:pt x="135" y="125"/>
                  </a:lnTo>
                  <a:lnTo>
                    <a:pt x="133" y="125"/>
                  </a:lnTo>
                  <a:close/>
                  <a:moveTo>
                    <a:pt x="133" y="40"/>
                  </a:moveTo>
                  <a:lnTo>
                    <a:pt x="133" y="42"/>
                  </a:lnTo>
                  <a:lnTo>
                    <a:pt x="133" y="40"/>
                  </a:lnTo>
                  <a:close/>
                  <a:moveTo>
                    <a:pt x="146" y="44"/>
                  </a:moveTo>
                  <a:lnTo>
                    <a:pt x="146" y="46"/>
                  </a:lnTo>
                  <a:lnTo>
                    <a:pt x="146" y="44"/>
                  </a:lnTo>
                  <a:close/>
                  <a:moveTo>
                    <a:pt x="136" y="50"/>
                  </a:moveTo>
                  <a:lnTo>
                    <a:pt x="138" y="50"/>
                  </a:lnTo>
                  <a:lnTo>
                    <a:pt x="136" y="50"/>
                  </a:lnTo>
                  <a:close/>
                  <a:moveTo>
                    <a:pt x="27" y="244"/>
                  </a:moveTo>
                  <a:lnTo>
                    <a:pt x="27" y="246"/>
                  </a:lnTo>
                  <a:lnTo>
                    <a:pt x="27" y="244"/>
                  </a:lnTo>
                  <a:close/>
                  <a:moveTo>
                    <a:pt x="39" y="244"/>
                  </a:moveTo>
                  <a:lnTo>
                    <a:pt x="40" y="244"/>
                  </a:lnTo>
                  <a:lnTo>
                    <a:pt x="40" y="246"/>
                  </a:lnTo>
                  <a:lnTo>
                    <a:pt x="39" y="246"/>
                  </a:lnTo>
                  <a:lnTo>
                    <a:pt x="39" y="244"/>
                  </a:lnTo>
                  <a:close/>
                  <a:moveTo>
                    <a:pt x="133" y="48"/>
                  </a:moveTo>
                  <a:lnTo>
                    <a:pt x="135" y="48"/>
                  </a:lnTo>
                  <a:lnTo>
                    <a:pt x="133" y="48"/>
                  </a:lnTo>
                  <a:close/>
                  <a:moveTo>
                    <a:pt x="12" y="230"/>
                  </a:moveTo>
                  <a:lnTo>
                    <a:pt x="12" y="232"/>
                  </a:lnTo>
                  <a:lnTo>
                    <a:pt x="12" y="230"/>
                  </a:lnTo>
                  <a:close/>
                  <a:moveTo>
                    <a:pt x="10" y="223"/>
                  </a:moveTo>
                  <a:lnTo>
                    <a:pt x="12" y="223"/>
                  </a:lnTo>
                  <a:lnTo>
                    <a:pt x="12" y="225"/>
                  </a:lnTo>
                  <a:lnTo>
                    <a:pt x="10" y="225"/>
                  </a:lnTo>
                  <a:lnTo>
                    <a:pt x="10" y="223"/>
                  </a:lnTo>
                  <a:close/>
                  <a:moveTo>
                    <a:pt x="152" y="58"/>
                  </a:moveTo>
                  <a:lnTo>
                    <a:pt x="154" y="58"/>
                  </a:lnTo>
                  <a:lnTo>
                    <a:pt x="152" y="58"/>
                  </a:lnTo>
                  <a:close/>
                  <a:moveTo>
                    <a:pt x="6" y="326"/>
                  </a:moveTo>
                  <a:lnTo>
                    <a:pt x="8" y="326"/>
                  </a:lnTo>
                  <a:lnTo>
                    <a:pt x="8" y="328"/>
                  </a:lnTo>
                  <a:lnTo>
                    <a:pt x="6" y="328"/>
                  </a:lnTo>
                  <a:lnTo>
                    <a:pt x="6" y="326"/>
                  </a:lnTo>
                  <a:close/>
                  <a:moveTo>
                    <a:pt x="10" y="229"/>
                  </a:moveTo>
                  <a:lnTo>
                    <a:pt x="12" y="229"/>
                  </a:lnTo>
                  <a:lnTo>
                    <a:pt x="10" y="229"/>
                  </a:lnTo>
                  <a:close/>
                  <a:moveTo>
                    <a:pt x="27" y="253"/>
                  </a:moveTo>
                  <a:lnTo>
                    <a:pt x="29" y="253"/>
                  </a:lnTo>
                  <a:lnTo>
                    <a:pt x="27" y="253"/>
                  </a:lnTo>
                  <a:close/>
                  <a:moveTo>
                    <a:pt x="10" y="229"/>
                  </a:moveTo>
                  <a:lnTo>
                    <a:pt x="12" y="229"/>
                  </a:lnTo>
                  <a:lnTo>
                    <a:pt x="12" y="230"/>
                  </a:lnTo>
                  <a:lnTo>
                    <a:pt x="10" y="230"/>
                  </a:lnTo>
                  <a:lnTo>
                    <a:pt x="10" y="229"/>
                  </a:lnTo>
                  <a:close/>
                  <a:moveTo>
                    <a:pt x="138" y="36"/>
                  </a:moveTo>
                  <a:lnTo>
                    <a:pt x="140" y="36"/>
                  </a:lnTo>
                  <a:lnTo>
                    <a:pt x="140" y="38"/>
                  </a:lnTo>
                  <a:lnTo>
                    <a:pt x="138" y="38"/>
                  </a:lnTo>
                  <a:lnTo>
                    <a:pt x="138" y="36"/>
                  </a:lnTo>
                  <a:close/>
                  <a:moveTo>
                    <a:pt x="92" y="0"/>
                  </a:moveTo>
                  <a:lnTo>
                    <a:pt x="92" y="2"/>
                  </a:lnTo>
                  <a:lnTo>
                    <a:pt x="92" y="0"/>
                  </a:lnTo>
                  <a:close/>
                  <a:moveTo>
                    <a:pt x="150" y="63"/>
                  </a:moveTo>
                  <a:lnTo>
                    <a:pt x="152" y="63"/>
                  </a:lnTo>
                  <a:lnTo>
                    <a:pt x="150" y="63"/>
                  </a:lnTo>
                  <a:close/>
                  <a:moveTo>
                    <a:pt x="119" y="15"/>
                  </a:moveTo>
                  <a:lnTo>
                    <a:pt x="119" y="17"/>
                  </a:lnTo>
                  <a:lnTo>
                    <a:pt x="119" y="15"/>
                  </a:lnTo>
                  <a:close/>
                  <a:moveTo>
                    <a:pt x="117" y="129"/>
                  </a:moveTo>
                  <a:lnTo>
                    <a:pt x="119" y="129"/>
                  </a:lnTo>
                  <a:lnTo>
                    <a:pt x="117" y="129"/>
                  </a:lnTo>
                  <a:close/>
                  <a:moveTo>
                    <a:pt x="33" y="248"/>
                  </a:moveTo>
                  <a:lnTo>
                    <a:pt x="35" y="248"/>
                  </a:lnTo>
                  <a:lnTo>
                    <a:pt x="33" y="248"/>
                  </a:lnTo>
                  <a:close/>
                  <a:moveTo>
                    <a:pt x="12" y="219"/>
                  </a:moveTo>
                  <a:lnTo>
                    <a:pt x="12" y="221"/>
                  </a:lnTo>
                  <a:lnTo>
                    <a:pt x="12" y="219"/>
                  </a:lnTo>
                  <a:close/>
                  <a:moveTo>
                    <a:pt x="10" y="229"/>
                  </a:moveTo>
                  <a:lnTo>
                    <a:pt x="12" y="229"/>
                  </a:lnTo>
                  <a:lnTo>
                    <a:pt x="10" y="229"/>
                  </a:lnTo>
                  <a:close/>
                  <a:moveTo>
                    <a:pt x="35" y="248"/>
                  </a:moveTo>
                  <a:lnTo>
                    <a:pt x="37" y="248"/>
                  </a:lnTo>
                  <a:lnTo>
                    <a:pt x="35" y="248"/>
                  </a:lnTo>
                  <a:close/>
                  <a:moveTo>
                    <a:pt x="121" y="125"/>
                  </a:moveTo>
                  <a:lnTo>
                    <a:pt x="121" y="127"/>
                  </a:lnTo>
                  <a:lnTo>
                    <a:pt x="121" y="125"/>
                  </a:lnTo>
                  <a:close/>
                  <a:moveTo>
                    <a:pt x="27" y="253"/>
                  </a:moveTo>
                  <a:lnTo>
                    <a:pt x="27" y="255"/>
                  </a:lnTo>
                  <a:lnTo>
                    <a:pt x="27" y="253"/>
                  </a:lnTo>
                  <a:close/>
                  <a:moveTo>
                    <a:pt x="133" y="48"/>
                  </a:moveTo>
                  <a:lnTo>
                    <a:pt x="135" y="48"/>
                  </a:lnTo>
                  <a:lnTo>
                    <a:pt x="135" y="50"/>
                  </a:lnTo>
                  <a:lnTo>
                    <a:pt x="133" y="50"/>
                  </a:lnTo>
                  <a:lnTo>
                    <a:pt x="133" y="48"/>
                  </a:lnTo>
                  <a:close/>
                  <a:moveTo>
                    <a:pt x="23" y="253"/>
                  </a:moveTo>
                  <a:lnTo>
                    <a:pt x="23" y="255"/>
                  </a:lnTo>
                  <a:lnTo>
                    <a:pt x="23" y="253"/>
                  </a:lnTo>
                  <a:close/>
                  <a:moveTo>
                    <a:pt x="177" y="94"/>
                  </a:moveTo>
                  <a:lnTo>
                    <a:pt x="177" y="96"/>
                  </a:lnTo>
                  <a:lnTo>
                    <a:pt x="177" y="94"/>
                  </a:lnTo>
                  <a:close/>
                  <a:moveTo>
                    <a:pt x="123" y="19"/>
                  </a:moveTo>
                  <a:lnTo>
                    <a:pt x="123" y="21"/>
                  </a:lnTo>
                  <a:lnTo>
                    <a:pt x="123" y="19"/>
                  </a:lnTo>
                  <a:close/>
                  <a:moveTo>
                    <a:pt x="135" y="46"/>
                  </a:moveTo>
                  <a:lnTo>
                    <a:pt x="135" y="48"/>
                  </a:lnTo>
                  <a:lnTo>
                    <a:pt x="135" y="46"/>
                  </a:lnTo>
                  <a:close/>
                  <a:moveTo>
                    <a:pt x="123" y="131"/>
                  </a:moveTo>
                  <a:lnTo>
                    <a:pt x="125" y="131"/>
                  </a:lnTo>
                  <a:lnTo>
                    <a:pt x="123" y="131"/>
                  </a:lnTo>
                  <a:close/>
                  <a:moveTo>
                    <a:pt x="29" y="238"/>
                  </a:moveTo>
                  <a:lnTo>
                    <a:pt x="31" y="238"/>
                  </a:lnTo>
                  <a:lnTo>
                    <a:pt x="29" y="238"/>
                  </a:lnTo>
                  <a:close/>
                  <a:moveTo>
                    <a:pt x="123" y="131"/>
                  </a:moveTo>
                  <a:lnTo>
                    <a:pt x="125" y="131"/>
                  </a:lnTo>
                  <a:lnTo>
                    <a:pt x="123" y="131"/>
                  </a:lnTo>
                  <a:close/>
                  <a:moveTo>
                    <a:pt x="16" y="240"/>
                  </a:moveTo>
                  <a:lnTo>
                    <a:pt x="16" y="242"/>
                  </a:lnTo>
                  <a:lnTo>
                    <a:pt x="16" y="240"/>
                  </a:lnTo>
                  <a:close/>
                  <a:moveTo>
                    <a:pt x="136" y="48"/>
                  </a:moveTo>
                  <a:lnTo>
                    <a:pt x="138" y="48"/>
                  </a:lnTo>
                  <a:lnTo>
                    <a:pt x="138" y="50"/>
                  </a:lnTo>
                  <a:lnTo>
                    <a:pt x="136" y="50"/>
                  </a:lnTo>
                  <a:lnTo>
                    <a:pt x="136" y="48"/>
                  </a:lnTo>
                  <a:close/>
                  <a:moveTo>
                    <a:pt x="40" y="244"/>
                  </a:moveTo>
                  <a:lnTo>
                    <a:pt x="40" y="246"/>
                  </a:lnTo>
                  <a:lnTo>
                    <a:pt x="40" y="244"/>
                  </a:lnTo>
                  <a:close/>
                  <a:moveTo>
                    <a:pt x="100" y="179"/>
                  </a:moveTo>
                  <a:lnTo>
                    <a:pt x="100" y="181"/>
                  </a:lnTo>
                  <a:lnTo>
                    <a:pt x="100" y="179"/>
                  </a:lnTo>
                  <a:close/>
                  <a:moveTo>
                    <a:pt x="27" y="248"/>
                  </a:moveTo>
                  <a:lnTo>
                    <a:pt x="27" y="250"/>
                  </a:lnTo>
                  <a:lnTo>
                    <a:pt x="27" y="248"/>
                  </a:lnTo>
                  <a:close/>
                  <a:moveTo>
                    <a:pt x="12" y="230"/>
                  </a:moveTo>
                  <a:lnTo>
                    <a:pt x="14" y="230"/>
                  </a:lnTo>
                  <a:lnTo>
                    <a:pt x="12" y="230"/>
                  </a:lnTo>
                  <a:close/>
                  <a:moveTo>
                    <a:pt x="131" y="42"/>
                  </a:moveTo>
                  <a:lnTo>
                    <a:pt x="133" y="42"/>
                  </a:lnTo>
                  <a:lnTo>
                    <a:pt x="133" y="44"/>
                  </a:lnTo>
                  <a:lnTo>
                    <a:pt x="131" y="44"/>
                  </a:lnTo>
                  <a:lnTo>
                    <a:pt x="131" y="42"/>
                  </a:lnTo>
                  <a:close/>
                  <a:moveTo>
                    <a:pt x="123" y="129"/>
                  </a:moveTo>
                  <a:lnTo>
                    <a:pt x="125" y="129"/>
                  </a:lnTo>
                  <a:lnTo>
                    <a:pt x="123" y="129"/>
                  </a:lnTo>
                  <a:close/>
                  <a:moveTo>
                    <a:pt x="10" y="223"/>
                  </a:moveTo>
                  <a:lnTo>
                    <a:pt x="12" y="223"/>
                  </a:lnTo>
                  <a:lnTo>
                    <a:pt x="10" y="223"/>
                  </a:lnTo>
                  <a:close/>
                  <a:moveTo>
                    <a:pt x="14" y="219"/>
                  </a:moveTo>
                  <a:lnTo>
                    <a:pt x="14" y="221"/>
                  </a:lnTo>
                  <a:lnTo>
                    <a:pt x="14" y="219"/>
                  </a:lnTo>
                  <a:close/>
                  <a:moveTo>
                    <a:pt x="14" y="219"/>
                  </a:moveTo>
                  <a:lnTo>
                    <a:pt x="16" y="219"/>
                  </a:lnTo>
                  <a:lnTo>
                    <a:pt x="14" y="219"/>
                  </a:lnTo>
                  <a:close/>
                  <a:moveTo>
                    <a:pt x="123" y="19"/>
                  </a:moveTo>
                  <a:lnTo>
                    <a:pt x="123" y="21"/>
                  </a:lnTo>
                  <a:lnTo>
                    <a:pt x="123" y="19"/>
                  </a:lnTo>
                  <a:close/>
                  <a:moveTo>
                    <a:pt x="21" y="255"/>
                  </a:moveTo>
                  <a:lnTo>
                    <a:pt x="23" y="255"/>
                  </a:lnTo>
                  <a:lnTo>
                    <a:pt x="21" y="255"/>
                  </a:lnTo>
                  <a:close/>
                  <a:moveTo>
                    <a:pt x="35" y="252"/>
                  </a:moveTo>
                  <a:lnTo>
                    <a:pt x="35" y="253"/>
                  </a:lnTo>
                  <a:lnTo>
                    <a:pt x="35" y="252"/>
                  </a:lnTo>
                  <a:close/>
                  <a:moveTo>
                    <a:pt x="125" y="44"/>
                  </a:moveTo>
                  <a:lnTo>
                    <a:pt x="125" y="46"/>
                  </a:lnTo>
                  <a:lnTo>
                    <a:pt x="125" y="44"/>
                  </a:lnTo>
                  <a:close/>
                  <a:moveTo>
                    <a:pt x="27" y="244"/>
                  </a:moveTo>
                  <a:lnTo>
                    <a:pt x="29" y="244"/>
                  </a:lnTo>
                  <a:lnTo>
                    <a:pt x="27" y="244"/>
                  </a:lnTo>
                  <a:close/>
                  <a:moveTo>
                    <a:pt x="182" y="77"/>
                  </a:moveTo>
                  <a:lnTo>
                    <a:pt x="184" y="77"/>
                  </a:lnTo>
                  <a:lnTo>
                    <a:pt x="184" y="79"/>
                  </a:lnTo>
                  <a:lnTo>
                    <a:pt x="182" y="79"/>
                  </a:lnTo>
                  <a:lnTo>
                    <a:pt x="182" y="77"/>
                  </a:lnTo>
                  <a:close/>
                  <a:moveTo>
                    <a:pt x="140" y="48"/>
                  </a:moveTo>
                  <a:lnTo>
                    <a:pt x="140" y="50"/>
                  </a:lnTo>
                  <a:lnTo>
                    <a:pt x="140" y="48"/>
                  </a:lnTo>
                  <a:close/>
                  <a:moveTo>
                    <a:pt x="39" y="244"/>
                  </a:moveTo>
                  <a:lnTo>
                    <a:pt x="39" y="246"/>
                  </a:lnTo>
                  <a:lnTo>
                    <a:pt x="39" y="244"/>
                  </a:lnTo>
                  <a:close/>
                  <a:moveTo>
                    <a:pt x="129" y="50"/>
                  </a:moveTo>
                  <a:lnTo>
                    <a:pt x="131" y="50"/>
                  </a:lnTo>
                  <a:lnTo>
                    <a:pt x="129" y="50"/>
                  </a:lnTo>
                  <a:close/>
                  <a:moveTo>
                    <a:pt x="136" y="48"/>
                  </a:moveTo>
                  <a:lnTo>
                    <a:pt x="138" y="48"/>
                  </a:lnTo>
                  <a:lnTo>
                    <a:pt x="136" y="48"/>
                  </a:lnTo>
                  <a:close/>
                  <a:moveTo>
                    <a:pt x="146" y="46"/>
                  </a:moveTo>
                  <a:lnTo>
                    <a:pt x="148" y="46"/>
                  </a:lnTo>
                  <a:lnTo>
                    <a:pt x="146" y="46"/>
                  </a:lnTo>
                  <a:close/>
                  <a:moveTo>
                    <a:pt x="131" y="73"/>
                  </a:moveTo>
                  <a:lnTo>
                    <a:pt x="133" y="73"/>
                  </a:lnTo>
                  <a:lnTo>
                    <a:pt x="131" y="73"/>
                  </a:lnTo>
                  <a:close/>
                  <a:moveTo>
                    <a:pt x="23" y="253"/>
                  </a:moveTo>
                  <a:lnTo>
                    <a:pt x="25" y="253"/>
                  </a:lnTo>
                  <a:lnTo>
                    <a:pt x="23" y="253"/>
                  </a:lnTo>
                  <a:close/>
                  <a:moveTo>
                    <a:pt x="115" y="17"/>
                  </a:moveTo>
                  <a:lnTo>
                    <a:pt x="117" y="17"/>
                  </a:lnTo>
                  <a:lnTo>
                    <a:pt x="115" y="17"/>
                  </a:lnTo>
                  <a:close/>
                  <a:moveTo>
                    <a:pt x="39" y="246"/>
                  </a:moveTo>
                  <a:lnTo>
                    <a:pt x="40" y="246"/>
                  </a:lnTo>
                  <a:lnTo>
                    <a:pt x="39" y="246"/>
                  </a:lnTo>
                  <a:close/>
                  <a:moveTo>
                    <a:pt x="123" y="19"/>
                  </a:moveTo>
                  <a:lnTo>
                    <a:pt x="123" y="21"/>
                  </a:lnTo>
                  <a:lnTo>
                    <a:pt x="123" y="19"/>
                  </a:lnTo>
                  <a:close/>
                  <a:moveTo>
                    <a:pt x="148" y="46"/>
                  </a:moveTo>
                  <a:lnTo>
                    <a:pt x="148" y="48"/>
                  </a:lnTo>
                  <a:lnTo>
                    <a:pt x="148" y="46"/>
                  </a:lnTo>
                  <a:close/>
                  <a:moveTo>
                    <a:pt x="125" y="131"/>
                  </a:moveTo>
                  <a:lnTo>
                    <a:pt x="125" y="132"/>
                  </a:lnTo>
                  <a:lnTo>
                    <a:pt x="125" y="131"/>
                  </a:lnTo>
                  <a:close/>
                  <a:moveTo>
                    <a:pt x="108" y="132"/>
                  </a:moveTo>
                  <a:lnTo>
                    <a:pt x="108" y="134"/>
                  </a:lnTo>
                  <a:lnTo>
                    <a:pt x="108" y="132"/>
                  </a:lnTo>
                  <a:close/>
                  <a:moveTo>
                    <a:pt x="136" y="50"/>
                  </a:moveTo>
                  <a:lnTo>
                    <a:pt x="136" y="52"/>
                  </a:lnTo>
                  <a:lnTo>
                    <a:pt x="136" y="50"/>
                  </a:lnTo>
                  <a:close/>
                  <a:moveTo>
                    <a:pt x="110" y="11"/>
                  </a:moveTo>
                  <a:lnTo>
                    <a:pt x="111" y="11"/>
                  </a:lnTo>
                  <a:lnTo>
                    <a:pt x="110" y="11"/>
                  </a:lnTo>
                  <a:close/>
                  <a:moveTo>
                    <a:pt x="56" y="238"/>
                  </a:moveTo>
                  <a:lnTo>
                    <a:pt x="58" y="238"/>
                  </a:lnTo>
                  <a:lnTo>
                    <a:pt x="56" y="238"/>
                  </a:lnTo>
                  <a:close/>
                  <a:moveTo>
                    <a:pt x="39" y="244"/>
                  </a:moveTo>
                  <a:lnTo>
                    <a:pt x="39" y="246"/>
                  </a:lnTo>
                  <a:lnTo>
                    <a:pt x="39" y="244"/>
                  </a:lnTo>
                  <a:close/>
                  <a:moveTo>
                    <a:pt x="39" y="246"/>
                  </a:moveTo>
                  <a:lnTo>
                    <a:pt x="40" y="246"/>
                  </a:lnTo>
                  <a:lnTo>
                    <a:pt x="39" y="246"/>
                  </a:lnTo>
                  <a:close/>
                  <a:moveTo>
                    <a:pt x="39" y="246"/>
                  </a:moveTo>
                  <a:lnTo>
                    <a:pt x="40" y="246"/>
                  </a:lnTo>
                  <a:lnTo>
                    <a:pt x="39" y="246"/>
                  </a:lnTo>
                  <a:close/>
                  <a:moveTo>
                    <a:pt x="127" y="129"/>
                  </a:moveTo>
                  <a:lnTo>
                    <a:pt x="127" y="131"/>
                  </a:lnTo>
                  <a:lnTo>
                    <a:pt x="127" y="129"/>
                  </a:lnTo>
                  <a:close/>
                  <a:moveTo>
                    <a:pt x="119" y="90"/>
                  </a:moveTo>
                  <a:lnTo>
                    <a:pt x="121" y="90"/>
                  </a:lnTo>
                  <a:lnTo>
                    <a:pt x="119" y="90"/>
                  </a:lnTo>
                  <a:close/>
                  <a:moveTo>
                    <a:pt x="33" y="248"/>
                  </a:moveTo>
                  <a:lnTo>
                    <a:pt x="35" y="248"/>
                  </a:lnTo>
                  <a:lnTo>
                    <a:pt x="33" y="248"/>
                  </a:lnTo>
                  <a:close/>
                  <a:moveTo>
                    <a:pt x="27" y="246"/>
                  </a:moveTo>
                  <a:lnTo>
                    <a:pt x="29" y="246"/>
                  </a:lnTo>
                  <a:lnTo>
                    <a:pt x="27" y="246"/>
                  </a:lnTo>
                  <a:close/>
                  <a:moveTo>
                    <a:pt x="33" y="248"/>
                  </a:moveTo>
                  <a:lnTo>
                    <a:pt x="35" y="248"/>
                  </a:lnTo>
                  <a:lnTo>
                    <a:pt x="33" y="248"/>
                  </a:lnTo>
                  <a:close/>
                  <a:moveTo>
                    <a:pt x="119" y="19"/>
                  </a:moveTo>
                  <a:lnTo>
                    <a:pt x="121" y="19"/>
                  </a:lnTo>
                  <a:lnTo>
                    <a:pt x="119" y="19"/>
                  </a:lnTo>
                  <a:close/>
                  <a:moveTo>
                    <a:pt x="146" y="48"/>
                  </a:moveTo>
                  <a:lnTo>
                    <a:pt x="146" y="50"/>
                  </a:lnTo>
                  <a:lnTo>
                    <a:pt x="146" y="48"/>
                  </a:lnTo>
                  <a:close/>
                  <a:moveTo>
                    <a:pt x="146" y="46"/>
                  </a:moveTo>
                  <a:lnTo>
                    <a:pt x="146" y="48"/>
                  </a:lnTo>
                  <a:lnTo>
                    <a:pt x="146" y="46"/>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7" name="Freeform 436">
              <a:extLst>
                <a:ext uri="{FF2B5EF4-FFF2-40B4-BE49-F238E27FC236}">
                  <a16:creationId xmlns:a16="http://schemas.microsoft.com/office/drawing/2014/main" id="{49B1EE33-428F-43E6-B6E8-7C4830E9692A}"/>
                </a:ext>
              </a:extLst>
            </p:cNvPr>
            <p:cNvSpPr>
              <a:spLocks noEditPoints="1"/>
            </p:cNvSpPr>
            <p:nvPr/>
          </p:nvSpPr>
          <p:spPr bwMode="gray">
            <a:xfrm>
              <a:off x="5235463" y="4533327"/>
              <a:ext cx="827805" cy="707620"/>
            </a:xfrm>
            <a:custGeom>
              <a:avLst/>
              <a:gdLst>
                <a:gd name="T0" fmla="*/ 575 w 675"/>
                <a:gd name="T1" fmla="*/ 363 h 577"/>
                <a:gd name="T2" fmla="*/ 560 w 675"/>
                <a:gd name="T3" fmla="*/ 388 h 577"/>
                <a:gd name="T4" fmla="*/ 552 w 675"/>
                <a:gd name="T5" fmla="*/ 413 h 577"/>
                <a:gd name="T6" fmla="*/ 535 w 675"/>
                <a:gd name="T7" fmla="*/ 463 h 577"/>
                <a:gd name="T8" fmla="*/ 485 w 675"/>
                <a:gd name="T9" fmla="*/ 480 h 577"/>
                <a:gd name="T10" fmla="*/ 441 w 675"/>
                <a:gd name="T11" fmla="*/ 480 h 577"/>
                <a:gd name="T12" fmla="*/ 384 w 675"/>
                <a:gd name="T13" fmla="*/ 423 h 577"/>
                <a:gd name="T14" fmla="*/ 353 w 675"/>
                <a:gd name="T15" fmla="*/ 409 h 577"/>
                <a:gd name="T16" fmla="*/ 343 w 675"/>
                <a:gd name="T17" fmla="*/ 394 h 577"/>
                <a:gd name="T18" fmla="*/ 311 w 675"/>
                <a:gd name="T19" fmla="*/ 375 h 577"/>
                <a:gd name="T20" fmla="*/ 201 w 675"/>
                <a:gd name="T21" fmla="*/ 365 h 577"/>
                <a:gd name="T22" fmla="*/ 96 w 675"/>
                <a:gd name="T23" fmla="*/ 402 h 577"/>
                <a:gd name="T24" fmla="*/ 40 w 675"/>
                <a:gd name="T25" fmla="*/ 402 h 577"/>
                <a:gd name="T26" fmla="*/ 30 w 675"/>
                <a:gd name="T27" fmla="*/ 317 h 577"/>
                <a:gd name="T28" fmla="*/ 11 w 675"/>
                <a:gd name="T29" fmla="*/ 258 h 577"/>
                <a:gd name="T30" fmla="*/ 21 w 675"/>
                <a:gd name="T31" fmla="*/ 204 h 577"/>
                <a:gd name="T32" fmla="*/ 57 w 675"/>
                <a:gd name="T33" fmla="*/ 173 h 577"/>
                <a:gd name="T34" fmla="*/ 124 w 675"/>
                <a:gd name="T35" fmla="*/ 150 h 577"/>
                <a:gd name="T36" fmla="*/ 147 w 675"/>
                <a:gd name="T37" fmla="*/ 108 h 577"/>
                <a:gd name="T38" fmla="*/ 167 w 675"/>
                <a:gd name="T39" fmla="*/ 110 h 577"/>
                <a:gd name="T40" fmla="*/ 176 w 675"/>
                <a:gd name="T41" fmla="*/ 94 h 577"/>
                <a:gd name="T42" fmla="*/ 180 w 675"/>
                <a:gd name="T43" fmla="*/ 79 h 577"/>
                <a:gd name="T44" fmla="*/ 197 w 675"/>
                <a:gd name="T45" fmla="*/ 71 h 577"/>
                <a:gd name="T46" fmla="*/ 226 w 675"/>
                <a:gd name="T47" fmla="*/ 87 h 577"/>
                <a:gd name="T48" fmla="*/ 253 w 675"/>
                <a:gd name="T49" fmla="*/ 64 h 577"/>
                <a:gd name="T50" fmla="*/ 284 w 675"/>
                <a:gd name="T51" fmla="*/ 44 h 577"/>
                <a:gd name="T52" fmla="*/ 295 w 675"/>
                <a:gd name="T53" fmla="*/ 35 h 577"/>
                <a:gd name="T54" fmla="*/ 343 w 675"/>
                <a:gd name="T55" fmla="*/ 46 h 577"/>
                <a:gd name="T56" fmla="*/ 337 w 675"/>
                <a:gd name="T57" fmla="*/ 67 h 577"/>
                <a:gd name="T58" fmla="*/ 397 w 675"/>
                <a:gd name="T59" fmla="*/ 129 h 577"/>
                <a:gd name="T60" fmla="*/ 424 w 675"/>
                <a:gd name="T61" fmla="*/ 43 h 577"/>
                <a:gd name="T62" fmla="*/ 470 w 675"/>
                <a:gd name="T63" fmla="*/ 85 h 577"/>
                <a:gd name="T64" fmla="*/ 510 w 675"/>
                <a:gd name="T65" fmla="*/ 160 h 577"/>
                <a:gd name="T66" fmla="*/ 541 w 675"/>
                <a:gd name="T67" fmla="*/ 204 h 577"/>
                <a:gd name="T68" fmla="*/ 562 w 675"/>
                <a:gd name="T69" fmla="*/ 227 h 577"/>
                <a:gd name="T70" fmla="*/ 587 w 675"/>
                <a:gd name="T71" fmla="*/ 281 h 577"/>
                <a:gd name="T72" fmla="*/ 497 w 675"/>
                <a:gd name="T73" fmla="*/ 528 h 577"/>
                <a:gd name="T74" fmla="*/ 518 w 675"/>
                <a:gd name="T75" fmla="*/ 548 h 577"/>
                <a:gd name="T76" fmla="*/ 497 w 675"/>
                <a:gd name="T77" fmla="*/ 567 h 577"/>
                <a:gd name="T78" fmla="*/ 483 w 675"/>
                <a:gd name="T79" fmla="*/ 567 h 577"/>
                <a:gd name="T80" fmla="*/ 470 w 675"/>
                <a:gd name="T81" fmla="*/ 536 h 577"/>
                <a:gd name="T82" fmla="*/ 364 w 675"/>
                <a:gd name="T83" fmla="*/ 427 h 577"/>
                <a:gd name="T84" fmla="*/ 585 w 675"/>
                <a:gd name="T85" fmla="*/ 256 h 577"/>
                <a:gd name="T86" fmla="*/ 387 w 675"/>
                <a:gd name="T87" fmla="*/ 110 h 577"/>
                <a:gd name="T88" fmla="*/ 514 w 675"/>
                <a:gd name="T89" fmla="*/ 511 h 577"/>
                <a:gd name="T90" fmla="*/ 336 w 675"/>
                <a:gd name="T91" fmla="*/ 41 h 577"/>
                <a:gd name="T92" fmla="*/ 389 w 675"/>
                <a:gd name="T93" fmla="*/ 117 h 577"/>
                <a:gd name="T94" fmla="*/ 491 w 675"/>
                <a:gd name="T95" fmla="*/ 480 h 577"/>
                <a:gd name="T96" fmla="*/ 299 w 675"/>
                <a:gd name="T97" fmla="*/ 35 h 577"/>
                <a:gd name="T98" fmla="*/ 547 w 675"/>
                <a:gd name="T99" fmla="*/ 190 h 577"/>
                <a:gd name="T100" fmla="*/ 428 w 675"/>
                <a:gd name="T101" fmla="*/ 4 h 577"/>
                <a:gd name="T102" fmla="*/ 243 w 675"/>
                <a:gd name="T103" fmla="*/ 85 h 577"/>
                <a:gd name="T104" fmla="*/ 155 w 675"/>
                <a:gd name="T105" fmla="*/ 400 h 577"/>
                <a:gd name="T106" fmla="*/ 529 w 675"/>
                <a:gd name="T107" fmla="*/ 173 h 577"/>
                <a:gd name="T108" fmla="*/ 153 w 675"/>
                <a:gd name="T109" fmla="*/ 121 h 577"/>
                <a:gd name="T110" fmla="*/ 591 w 675"/>
                <a:gd name="T111" fmla="*/ 286 h 577"/>
                <a:gd name="T112" fmla="*/ 159 w 675"/>
                <a:gd name="T113" fmla="*/ 104 h 577"/>
                <a:gd name="T114" fmla="*/ 169 w 675"/>
                <a:gd name="T115" fmla="*/ 91 h 577"/>
                <a:gd name="T116" fmla="*/ 151 w 675"/>
                <a:gd name="T117" fmla="*/ 394 h 577"/>
                <a:gd name="T118" fmla="*/ 432 w 675"/>
                <a:gd name="T119" fmla="*/ 18 h 577"/>
                <a:gd name="T120" fmla="*/ 186 w 675"/>
                <a:gd name="T121" fmla="*/ 77 h 577"/>
                <a:gd name="T122" fmla="*/ 128 w 675"/>
                <a:gd name="T123" fmla="*/ 142 h 577"/>
                <a:gd name="T124" fmla="*/ 570 w 675"/>
                <a:gd name="T125" fmla="*/ 371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5" h="577">
                  <a:moveTo>
                    <a:pt x="595" y="294"/>
                  </a:moveTo>
                  <a:lnTo>
                    <a:pt x="593" y="294"/>
                  </a:lnTo>
                  <a:lnTo>
                    <a:pt x="595" y="294"/>
                  </a:lnTo>
                  <a:lnTo>
                    <a:pt x="593" y="294"/>
                  </a:lnTo>
                  <a:lnTo>
                    <a:pt x="595" y="294"/>
                  </a:lnTo>
                  <a:lnTo>
                    <a:pt x="593" y="294"/>
                  </a:lnTo>
                  <a:lnTo>
                    <a:pt x="593" y="296"/>
                  </a:lnTo>
                  <a:lnTo>
                    <a:pt x="593" y="294"/>
                  </a:lnTo>
                  <a:lnTo>
                    <a:pt x="595" y="294"/>
                  </a:lnTo>
                  <a:lnTo>
                    <a:pt x="595" y="296"/>
                  </a:lnTo>
                  <a:lnTo>
                    <a:pt x="593" y="296"/>
                  </a:lnTo>
                  <a:lnTo>
                    <a:pt x="595" y="296"/>
                  </a:lnTo>
                  <a:lnTo>
                    <a:pt x="593" y="296"/>
                  </a:lnTo>
                  <a:lnTo>
                    <a:pt x="595" y="296"/>
                  </a:lnTo>
                  <a:lnTo>
                    <a:pt x="593" y="296"/>
                  </a:lnTo>
                  <a:lnTo>
                    <a:pt x="595" y="296"/>
                  </a:lnTo>
                  <a:lnTo>
                    <a:pt x="595" y="294"/>
                  </a:lnTo>
                  <a:lnTo>
                    <a:pt x="595" y="296"/>
                  </a:lnTo>
                  <a:lnTo>
                    <a:pt x="595" y="298"/>
                  </a:lnTo>
                  <a:lnTo>
                    <a:pt x="595" y="300"/>
                  </a:lnTo>
                  <a:lnTo>
                    <a:pt x="595" y="302"/>
                  </a:lnTo>
                  <a:lnTo>
                    <a:pt x="595" y="304"/>
                  </a:lnTo>
                  <a:lnTo>
                    <a:pt x="595" y="306"/>
                  </a:lnTo>
                  <a:lnTo>
                    <a:pt x="593" y="306"/>
                  </a:lnTo>
                  <a:lnTo>
                    <a:pt x="593" y="308"/>
                  </a:lnTo>
                  <a:lnTo>
                    <a:pt x="593" y="306"/>
                  </a:lnTo>
                  <a:lnTo>
                    <a:pt x="595" y="306"/>
                  </a:lnTo>
                  <a:lnTo>
                    <a:pt x="595" y="308"/>
                  </a:lnTo>
                  <a:lnTo>
                    <a:pt x="593" y="308"/>
                  </a:lnTo>
                  <a:lnTo>
                    <a:pt x="593" y="310"/>
                  </a:lnTo>
                  <a:lnTo>
                    <a:pt x="593" y="311"/>
                  </a:lnTo>
                  <a:lnTo>
                    <a:pt x="591" y="311"/>
                  </a:lnTo>
                  <a:lnTo>
                    <a:pt x="591" y="313"/>
                  </a:lnTo>
                  <a:lnTo>
                    <a:pt x="591" y="315"/>
                  </a:lnTo>
                  <a:lnTo>
                    <a:pt x="591" y="317"/>
                  </a:lnTo>
                  <a:lnTo>
                    <a:pt x="591" y="319"/>
                  </a:lnTo>
                  <a:lnTo>
                    <a:pt x="591" y="321"/>
                  </a:lnTo>
                  <a:lnTo>
                    <a:pt x="591" y="323"/>
                  </a:lnTo>
                  <a:lnTo>
                    <a:pt x="589" y="323"/>
                  </a:lnTo>
                  <a:lnTo>
                    <a:pt x="589" y="325"/>
                  </a:lnTo>
                  <a:lnTo>
                    <a:pt x="589" y="327"/>
                  </a:lnTo>
                  <a:lnTo>
                    <a:pt x="589" y="329"/>
                  </a:lnTo>
                  <a:lnTo>
                    <a:pt x="587" y="329"/>
                  </a:lnTo>
                  <a:lnTo>
                    <a:pt x="587" y="331"/>
                  </a:lnTo>
                  <a:lnTo>
                    <a:pt x="589" y="331"/>
                  </a:lnTo>
                  <a:lnTo>
                    <a:pt x="587" y="331"/>
                  </a:lnTo>
                  <a:lnTo>
                    <a:pt x="589" y="331"/>
                  </a:lnTo>
                  <a:lnTo>
                    <a:pt x="587" y="331"/>
                  </a:lnTo>
                  <a:lnTo>
                    <a:pt x="587" y="333"/>
                  </a:lnTo>
                  <a:lnTo>
                    <a:pt x="587" y="334"/>
                  </a:lnTo>
                  <a:lnTo>
                    <a:pt x="587" y="333"/>
                  </a:lnTo>
                  <a:lnTo>
                    <a:pt x="585" y="333"/>
                  </a:lnTo>
                  <a:lnTo>
                    <a:pt x="585" y="334"/>
                  </a:lnTo>
                  <a:lnTo>
                    <a:pt x="585" y="333"/>
                  </a:lnTo>
                  <a:lnTo>
                    <a:pt x="587" y="333"/>
                  </a:lnTo>
                  <a:lnTo>
                    <a:pt x="587" y="334"/>
                  </a:lnTo>
                  <a:lnTo>
                    <a:pt x="585" y="334"/>
                  </a:lnTo>
                  <a:lnTo>
                    <a:pt x="585" y="336"/>
                  </a:lnTo>
                  <a:lnTo>
                    <a:pt x="585" y="334"/>
                  </a:lnTo>
                  <a:lnTo>
                    <a:pt x="585" y="336"/>
                  </a:lnTo>
                  <a:lnTo>
                    <a:pt x="585" y="334"/>
                  </a:lnTo>
                  <a:lnTo>
                    <a:pt x="585" y="336"/>
                  </a:lnTo>
                  <a:lnTo>
                    <a:pt x="587" y="336"/>
                  </a:lnTo>
                  <a:lnTo>
                    <a:pt x="585" y="336"/>
                  </a:lnTo>
                  <a:lnTo>
                    <a:pt x="585" y="338"/>
                  </a:lnTo>
                  <a:lnTo>
                    <a:pt x="585" y="340"/>
                  </a:lnTo>
                  <a:lnTo>
                    <a:pt x="587" y="340"/>
                  </a:lnTo>
                  <a:lnTo>
                    <a:pt x="585" y="340"/>
                  </a:lnTo>
                  <a:lnTo>
                    <a:pt x="587" y="340"/>
                  </a:lnTo>
                  <a:lnTo>
                    <a:pt x="587" y="342"/>
                  </a:lnTo>
                  <a:lnTo>
                    <a:pt x="587" y="344"/>
                  </a:lnTo>
                  <a:lnTo>
                    <a:pt x="587" y="342"/>
                  </a:lnTo>
                  <a:lnTo>
                    <a:pt x="587" y="344"/>
                  </a:lnTo>
                  <a:lnTo>
                    <a:pt x="585" y="344"/>
                  </a:lnTo>
                  <a:lnTo>
                    <a:pt x="585" y="346"/>
                  </a:lnTo>
                  <a:lnTo>
                    <a:pt x="585" y="348"/>
                  </a:lnTo>
                  <a:lnTo>
                    <a:pt x="585" y="350"/>
                  </a:lnTo>
                  <a:lnTo>
                    <a:pt x="583" y="350"/>
                  </a:lnTo>
                  <a:lnTo>
                    <a:pt x="585" y="350"/>
                  </a:lnTo>
                  <a:lnTo>
                    <a:pt x="585" y="348"/>
                  </a:lnTo>
                  <a:lnTo>
                    <a:pt x="583" y="348"/>
                  </a:lnTo>
                  <a:lnTo>
                    <a:pt x="585" y="348"/>
                  </a:lnTo>
                  <a:lnTo>
                    <a:pt x="583" y="348"/>
                  </a:lnTo>
                  <a:lnTo>
                    <a:pt x="583" y="350"/>
                  </a:lnTo>
                  <a:lnTo>
                    <a:pt x="585" y="350"/>
                  </a:lnTo>
                  <a:lnTo>
                    <a:pt x="583" y="350"/>
                  </a:lnTo>
                  <a:lnTo>
                    <a:pt x="585" y="350"/>
                  </a:lnTo>
                  <a:lnTo>
                    <a:pt x="583" y="350"/>
                  </a:lnTo>
                  <a:lnTo>
                    <a:pt x="585" y="350"/>
                  </a:lnTo>
                  <a:lnTo>
                    <a:pt x="583" y="350"/>
                  </a:lnTo>
                  <a:lnTo>
                    <a:pt x="585" y="350"/>
                  </a:lnTo>
                  <a:lnTo>
                    <a:pt x="585" y="352"/>
                  </a:lnTo>
                  <a:lnTo>
                    <a:pt x="583" y="352"/>
                  </a:lnTo>
                  <a:lnTo>
                    <a:pt x="583" y="354"/>
                  </a:lnTo>
                  <a:lnTo>
                    <a:pt x="583" y="356"/>
                  </a:lnTo>
                  <a:lnTo>
                    <a:pt x="583" y="354"/>
                  </a:lnTo>
                  <a:lnTo>
                    <a:pt x="583" y="356"/>
                  </a:lnTo>
                  <a:lnTo>
                    <a:pt x="581" y="356"/>
                  </a:lnTo>
                  <a:lnTo>
                    <a:pt x="581" y="358"/>
                  </a:lnTo>
                  <a:lnTo>
                    <a:pt x="581" y="356"/>
                  </a:lnTo>
                  <a:lnTo>
                    <a:pt x="581" y="358"/>
                  </a:lnTo>
                  <a:lnTo>
                    <a:pt x="581" y="356"/>
                  </a:lnTo>
                  <a:lnTo>
                    <a:pt x="581" y="358"/>
                  </a:lnTo>
                  <a:lnTo>
                    <a:pt x="579" y="358"/>
                  </a:lnTo>
                  <a:lnTo>
                    <a:pt x="579" y="359"/>
                  </a:lnTo>
                  <a:lnTo>
                    <a:pt x="579" y="358"/>
                  </a:lnTo>
                  <a:lnTo>
                    <a:pt x="579" y="359"/>
                  </a:lnTo>
                  <a:lnTo>
                    <a:pt x="579" y="361"/>
                  </a:lnTo>
                  <a:lnTo>
                    <a:pt x="579" y="363"/>
                  </a:lnTo>
                  <a:lnTo>
                    <a:pt x="577" y="363"/>
                  </a:lnTo>
                  <a:lnTo>
                    <a:pt x="579" y="363"/>
                  </a:lnTo>
                  <a:lnTo>
                    <a:pt x="577" y="363"/>
                  </a:lnTo>
                  <a:lnTo>
                    <a:pt x="575" y="363"/>
                  </a:lnTo>
                  <a:lnTo>
                    <a:pt x="577" y="363"/>
                  </a:lnTo>
                  <a:lnTo>
                    <a:pt x="577" y="365"/>
                  </a:lnTo>
                  <a:lnTo>
                    <a:pt x="579" y="365"/>
                  </a:lnTo>
                  <a:lnTo>
                    <a:pt x="579" y="363"/>
                  </a:lnTo>
                  <a:lnTo>
                    <a:pt x="579" y="365"/>
                  </a:lnTo>
                  <a:lnTo>
                    <a:pt x="579" y="367"/>
                  </a:lnTo>
                  <a:lnTo>
                    <a:pt x="577" y="367"/>
                  </a:lnTo>
                  <a:lnTo>
                    <a:pt x="577" y="369"/>
                  </a:lnTo>
                  <a:lnTo>
                    <a:pt x="575" y="369"/>
                  </a:lnTo>
                  <a:lnTo>
                    <a:pt x="574" y="369"/>
                  </a:lnTo>
                  <a:lnTo>
                    <a:pt x="574" y="371"/>
                  </a:lnTo>
                  <a:lnTo>
                    <a:pt x="572" y="371"/>
                  </a:lnTo>
                  <a:lnTo>
                    <a:pt x="570" y="371"/>
                  </a:lnTo>
                  <a:lnTo>
                    <a:pt x="572" y="371"/>
                  </a:lnTo>
                  <a:lnTo>
                    <a:pt x="570" y="371"/>
                  </a:lnTo>
                  <a:lnTo>
                    <a:pt x="570" y="373"/>
                  </a:lnTo>
                  <a:lnTo>
                    <a:pt x="572" y="373"/>
                  </a:lnTo>
                  <a:lnTo>
                    <a:pt x="572" y="371"/>
                  </a:lnTo>
                  <a:lnTo>
                    <a:pt x="572" y="373"/>
                  </a:lnTo>
                  <a:lnTo>
                    <a:pt x="572" y="371"/>
                  </a:lnTo>
                  <a:lnTo>
                    <a:pt x="572" y="373"/>
                  </a:lnTo>
                  <a:lnTo>
                    <a:pt x="572" y="371"/>
                  </a:lnTo>
                  <a:lnTo>
                    <a:pt x="572" y="373"/>
                  </a:lnTo>
                  <a:lnTo>
                    <a:pt x="572" y="371"/>
                  </a:lnTo>
                  <a:lnTo>
                    <a:pt x="572" y="373"/>
                  </a:lnTo>
                  <a:lnTo>
                    <a:pt x="570" y="373"/>
                  </a:lnTo>
                  <a:lnTo>
                    <a:pt x="572" y="373"/>
                  </a:lnTo>
                  <a:lnTo>
                    <a:pt x="572" y="371"/>
                  </a:lnTo>
                  <a:lnTo>
                    <a:pt x="572" y="373"/>
                  </a:lnTo>
                  <a:lnTo>
                    <a:pt x="572" y="371"/>
                  </a:lnTo>
                  <a:lnTo>
                    <a:pt x="572" y="373"/>
                  </a:lnTo>
                  <a:lnTo>
                    <a:pt x="574" y="373"/>
                  </a:lnTo>
                  <a:lnTo>
                    <a:pt x="574" y="371"/>
                  </a:lnTo>
                  <a:lnTo>
                    <a:pt x="574" y="373"/>
                  </a:lnTo>
                  <a:lnTo>
                    <a:pt x="572" y="373"/>
                  </a:lnTo>
                  <a:lnTo>
                    <a:pt x="570" y="373"/>
                  </a:lnTo>
                  <a:lnTo>
                    <a:pt x="570" y="375"/>
                  </a:lnTo>
                  <a:lnTo>
                    <a:pt x="568" y="375"/>
                  </a:lnTo>
                  <a:lnTo>
                    <a:pt x="568" y="373"/>
                  </a:lnTo>
                  <a:lnTo>
                    <a:pt x="568" y="375"/>
                  </a:lnTo>
                  <a:lnTo>
                    <a:pt x="568" y="373"/>
                  </a:lnTo>
                  <a:lnTo>
                    <a:pt x="566" y="373"/>
                  </a:lnTo>
                  <a:lnTo>
                    <a:pt x="566" y="375"/>
                  </a:lnTo>
                  <a:lnTo>
                    <a:pt x="568" y="375"/>
                  </a:lnTo>
                  <a:lnTo>
                    <a:pt x="568" y="377"/>
                  </a:lnTo>
                  <a:lnTo>
                    <a:pt x="566" y="377"/>
                  </a:lnTo>
                  <a:lnTo>
                    <a:pt x="566" y="379"/>
                  </a:lnTo>
                  <a:lnTo>
                    <a:pt x="566" y="377"/>
                  </a:lnTo>
                  <a:lnTo>
                    <a:pt x="566" y="379"/>
                  </a:lnTo>
                  <a:lnTo>
                    <a:pt x="566" y="377"/>
                  </a:lnTo>
                  <a:lnTo>
                    <a:pt x="566" y="379"/>
                  </a:lnTo>
                  <a:lnTo>
                    <a:pt x="564" y="379"/>
                  </a:lnTo>
                  <a:lnTo>
                    <a:pt x="564" y="381"/>
                  </a:lnTo>
                  <a:lnTo>
                    <a:pt x="564" y="379"/>
                  </a:lnTo>
                  <a:lnTo>
                    <a:pt x="566" y="379"/>
                  </a:lnTo>
                  <a:lnTo>
                    <a:pt x="566" y="381"/>
                  </a:lnTo>
                  <a:lnTo>
                    <a:pt x="564" y="381"/>
                  </a:lnTo>
                  <a:lnTo>
                    <a:pt x="564" y="382"/>
                  </a:lnTo>
                  <a:lnTo>
                    <a:pt x="566" y="382"/>
                  </a:lnTo>
                  <a:lnTo>
                    <a:pt x="564" y="382"/>
                  </a:lnTo>
                  <a:lnTo>
                    <a:pt x="564" y="381"/>
                  </a:lnTo>
                  <a:lnTo>
                    <a:pt x="566" y="381"/>
                  </a:lnTo>
                  <a:lnTo>
                    <a:pt x="564" y="381"/>
                  </a:lnTo>
                  <a:lnTo>
                    <a:pt x="564" y="382"/>
                  </a:lnTo>
                  <a:lnTo>
                    <a:pt x="562" y="382"/>
                  </a:lnTo>
                  <a:lnTo>
                    <a:pt x="564" y="382"/>
                  </a:lnTo>
                  <a:lnTo>
                    <a:pt x="562" y="382"/>
                  </a:lnTo>
                  <a:lnTo>
                    <a:pt x="564" y="382"/>
                  </a:lnTo>
                  <a:lnTo>
                    <a:pt x="562" y="382"/>
                  </a:lnTo>
                  <a:lnTo>
                    <a:pt x="564" y="382"/>
                  </a:lnTo>
                  <a:lnTo>
                    <a:pt x="562" y="382"/>
                  </a:lnTo>
                  <a:lnTo>
                    <a:pt x="564" y="382"/>
                  </a:lnTo>
                  <a:lnTo>
                    <a:pt x="564" y="384"/>
                  </a:lnTo>
                  <a:lnTo>
                    <a:pt x="562" y="384"/>
                  </a:lnTo>
                  <a:lnTo>
                    <a:pt x="564" y="384"/>
                  </a:lnTo>
                  <a:lnTo>
                    <a:pt x="562" y="384"/>
                  </a:lnTo>
                  <a:lnTo>
                    <a:pt x="564" y="384"/>
                  </a:lnTo>
                  <a:lnTo>
                    <a:pt x="562" y="384"/>
                  </a:lnTo>
                  <a:lnTo>
                    <a:pt x="564" y="384"/>
                  </a:lnTo>
                  <a:lnTo>
                    <a:pt x="562" y="384"/>
                  </a:lnTo>
                  <a:lnTo>
                    <a:pt x="564" y="384"/>
                  </a:lnTo>
                  <a:lnTo>
                    <a:pt x="562" y="384"/>
                  </a:lnTo>
                  <a:lnTo>
                    <a:pt x="562" y="386"/>
                  </a:lnTo>
                  <a:lnTo>
                    <a:pt x="562" y="384"/>
                  </a:lnTo>
                  <a:lnTo>
                    <a:pt x="562" y="386"/>
                  </a:lnTo>
                  <a:lnTo>
                    <a:pt x="562" y="384"/>
                  </a:lnTo>
                  <a:lnTo>
                    <a:pt x="562" y="386"/>
                  </a:lnTo>
                  <a:lnTo>
                    <a:pt x="562" y="384"/>
                  </a:lnTo>
                  <a:lnTo>
                    <a:pt x="562" y="386"/>
                  </a:lnTo>
                  <a:lnTo>
                    <a:pt x="562" y="384"/>
                  </a:lnTo>
                  <a:lnTo>
                    <a:pt x="560" y="384"/>
                  </a:lnTo>
                  <a:lnTo>
                    <a:pt x="562" y="384"/>
                  </a:lnTo>
                  <a:lnTo>
                    <a:pt x="560" y="384"/>
                  </a:lnTo>
                  <a:lnTo>
                    <a:pt x="562" y="384"/>
                  </a:lnTo>
                  <a:lnTo>
                    <a:pt x="560" y="384"/>
                  </a:lnTo>
                  <a:lnTo>
                    <a:pt x="560" y="386"/>
                  </a:lnTo>
                  <a:lnTo>
                    <a:pt x="560" y="384"/>
                  </a:lnTo>
                  <a:lnTo>
                    <a:pt x="562" y="384"/>
                  </a:lnTo>
                  <a:lnTo>
                    <a:pt x="562" y="386"/>
                  </a:lnTo>
                  <a:lnTo>
                    <a:pt x="560" y="386"/>
                  </a:lnTo>
                  <a:lnTo>
                    <a:pt x="562" y="386"/>
                  </a:lnTo>
                  <a:lnTo>
                    <a:pt x="560" y="386"/>
                  </a:lnTo>
                  <a:lnTo>
                    <a:pt x="560" y="384"/>
                  </a:lnTo>
                  <a:lnTo>
                    <a:pt x="560" y="386"/>
                  </a:lnTo>
                  <a:lnTo>
                    <a:pt x="560" y="384"/>
                  </a:lnTo>
                  <a:lnTo>
                    <a:pt x="560" y="386"/>
                  </a:lnTo>
                  <a:lnTo>
                    <a:pt x="558" y="386"/>
                  </a:lnTo>
                  <a:lnTo>
                    <a:pt x="558" y="384"/>
                  </a:lnTo>
                  <a:lnTo>
                    <a:pt x="558" y="386"/>
                  </a:lnTo>
                  <a:lnTo>
                    <a:pt x="558" y="384"/>
                  </a:lnTo>
                  <a:lnTo>
                    <a:pt x="558" y="386"/>
                  </a:lnTo>
                  <a:lnTo>
                    <a:pt x="560" y="386"/>
                  </a:lnTo>
                  <a:lnTo>
                    <a:pt x="560" y="388"/>
                  </a:lnTo>
                  <a:lnTo>
                    <a:pt x="558" y="388"/>
                  </a:lnTo>
                  <a:lnTo>
                    <a:pt x="560" y="388"/>
                  </a:lnTo>
                  <a:lnTo>
                    <a:pt x="560" y="386"/>
                  </a:lnTo>
                  <a:lnTo>
                    <a:pt x="560" y="388"/>
                  </a:lnTo>
                  <a:lnTo>
                    <a:pt x="560" y="386"/>
                  </a:lnTo>
                  <a:lnTo>
                    <a:pt x="560" y="388"/>
                  </a:lnTo>
                  <a:lnTo>
                    <a:pt x="560" y="386"/>
                  </a:lnTo>
                  <a:lnTo>
                    <a:pt x="560" y="388"/>
                  </a:lnTo>
                  <a:lnTo>
                    <a:pt x="562" y="388"/>
                  </a:lnTo>
                  <a:lnTo>
                    <a:pt x="562" y="386"/>
                  </a:lnTo>
                  <a:lnTo>
                    <a:pt x="562" y="388"/>
                  </a:lnTo>
                  <a:lnTo>
                    <a:pt x="560" y="388"/>
                  </a:lnTo>
                  <a:lnTo>
                    <a:pt x="562" y="388"/>
                  </a:lnTo>
                  <a:lnTo>
                    <a:pt x="560" y="388"/>
                  </a:lnTo>
                  <a:lnTo>
                    <a:pt x="560" y="390"/>
                  </a:lnTo>
                  <a:lnTo>
                    <a:pt x="560" y="388"/>
                  </a:lnTo>
                  <a:lnTo>
                    <a:pt x="560" y="390"/>
                  </a:lnTo>
                  <a:lnTo>
                    <a:pt x="560" y="388"/>
                  </a:lnTo>
                  <a:lnTo>
                    <a:pt x="560" y="390"/>
                  </a:lnTo>
                  <a:lnTo>
                    <a:pt x="560" y="388"/>
                  </a:lnTo>
                  <a:lnTo>
                    <a:pt x="560" y="390"/>
                  </a:lnTo>
                  <a:lnTo>
                    <a:pt x="562" y="390"/>
                  </a:lnTo>
                  <a:lnTo>
                    <a:pt x="560" y="390"/>
                  </a:lnTo>
                  <a:lnTo>
                    <a:pt x="560" y="392"/>
                  </a:lnTo>
                  <a:lnTo>
                    <a:pt x="560" y="390"/>
                  </a:lnTo>
                  <a:lnTo>
                    <a:pt x="560" y="392"/>
                  </a:lnTo>
                  <a:lnTo>
                    <a:pt x="560" y="390"/>
                  </a:lnTo>
                  <a:lnTo>
                    <a:pt x="560" y="392"/>
                  </a:lnTo>
                  <a:lnTo>
                    <a:pt x="558" y="392"/>
                  </a:lnTo>
                  <a:lnTo>
                    <a:pt x="560" y="392"/>
                  </a:lnTo>
                  <a:lnTo>
                    <a:pt x="558" y="392"/>
                  </a:lnTo>
                  <a:lnTo>
                    <a:pt x="558" y="390"/>
                  </a:lnTo>
                  <a:lnTo>
                    <a:pt x="558" y="392"/>
                  </a:lnTo>
                  <a:lnTo>
                    <a:pt x="558" y="390"/>
                  </a:lnTo>
                  <a:lnTo>
                    <a:pt x="558" y="392"/>
                  </a:lnTo>
                  <a:lnTo>
                    <a:pt x="558" y="390"/>
                  </a:lnTo>
                  <a:lnTo>
                    <a:pt x="558" y="392"/>
                  </a:lnTo>
                  <a:lnTo>
                    <a:pt x="558" y="390"/>
                  </a:lnTo>
                  <a:lnTo>
                    <a:pt x="558" y="392"/>
                  </a:lnTo>
                  <a:lnTo>
                    <a:pt x="558" y="390"/>
                  </a:lnTo>
                  <a:lnTo>
                    <a:pt x="558" y="392"/>
                  </a:lnTo>
                  <a:lnTo>
                    <a:pt x="558" y="390"/>
                  </a:lnTo>
                  <a:lnTo>
                    <a:pt x="558" y="392"/>
                  </a:lnTo>
                  <a:lnTo>
                    <a:pt x="560" y="392"/>
                  </a:lnTo>
                  <a:lnTo>
                    <a:pt x="558" y="392"/>
                  </a:lnTo>
                  <a:lnTo>
                    <a:pt x="560" y="392"/>
                  </a:lnTo>
                  <a:lnTo>
                    <a:pt x="558" y="392"/>
                  </a:lnTo>
                  <a:lnTo>
                    <a:pt x="560" y="392"/>
                  </a:lnTo>
                  <a:lnTo>
                    <a:pt x="558" y="392"/>
                  </a:lnTo>
                  <a:lnTo>
                    <a:pt x="560" y="392"/>
                  </a:lnTo>
                  <a:lnTo>
                    <a:pt x="560" y="394"/>
                  </a:lnTo>
                  <a:lnTo>
                    <a:pt x="558" y="394"/>
                  </a:lnTo>
                  <a:lnTo>
                    <a:pt x="560" y="394"/>
                  </a:lnTo>
                  <a:lnTo>
                    <a:pt x="558" y="394"/>
                  </a:lnTo>
                  <a:lnTo>
                    <a:pt x="556" y="394"/>
                  </a:lnTo>
                  <a:lnTo>
                    <a:pt x="558" y="394"/>
                  </a:lnTo>
                  <a:lnTo>
                    <a:pt x="556" y="394"/>
                  </a:lnTo>
                  <a:lnTo>
                    <a:pt x="558" y="394"/>
                  </a:lnTo>
                  <a:lnTo>
                    <a:pt x="556" y="394"/>
                  </a:lnTo>
                  <a:lnTo>
                    <a:pt x="558" y="394"/>
                  </a:lnTo>
                  <a:lnTo>
                    <a:pt x="556" y="394"/>
                  </a:lnTo>
                  <a:lnTo>
                    <a:pt x="558" y="394"/>
                  </a:lnTo>
                  <a:lnTo>
                    <a:pt x="556" y="394"/>
                  </a:lnTo>
                  <a:lnTo>
                    <a:pt x="558" y="394"/>
                  </a:lnTo>
                  <a:lnTo>
                    <a:pt x="560" y="394"/>
                  </a:lnTo>
                  <a:lnTo>
                    <a:pt x="560" y="396"/>
                  </a:lnTo>
                  <a:lnTo>
                    <a:pt x="560" y="394"/>
                  </a:lnTo>
                  <a:lnTo>
                    <a:pt x="560" y="396"/>
                  </a:lnTo>
                  <a:lnTo>
                    <a:pt x="560" y="394"/>
                  </a:lnTo>
                  <a:lnTo>
                    <a:pt x="560" y="396"/>
                  </a:lnTo>
                  <a:lnTo>
                    <a:pt x="560" y="394"/>
                  </a:lnTo>
                  <a:lnTo>
                    <a:pt x="560" y="396"/>
                  </a:lnTo>
                  <a:lnTo>
                    <a:pt x="560" y="394"/>
                  </a:lnTo>
                  <a:lnTo>
                    <a:pt x="558" y="394"/>
                  </a:lnTo>
                  <a:lnTo>
                    <a:pt x="558" y="396"/>
                  </a:lnTo>
                  <a:lnTo>
                    <a:pt x="558" y="398"/>
                  </a:lnTo>
                  <a:lnTo>
                    <a:pt x="556" y="398"/>
                  </a:lnTo>
                  <a:lnTo>
                    <a:pt x="556" y="400"/>
                  </a:lnTo>
                  <a:lnTo>
                    <a:pt x="556" y="398"/>
                  </a:lnTo>
                  <a:lnTo>
                    <a:pt x="556" y="400"/>
                  </a:lnTo>
                  <a:lnTo>
                    <a:pt x="556" y="398"/>
                  </a:lnTo>
                  <a:lnTo>
                    <a:pt x="556" y="400"/>
                  </a:lnTo>
                  <a:lnTo>
                    <a:pt x="556" y="398"/>
                  </a:lnTo>
                  <a:lnTo>
                    <a:pt x="556" y="400"/>
                  </a:lnTo>
                  <a:lnTo>
                    <a:pt x="554" y="400"/>
                  </a:lnTo>
                  <a:lnTo>
                    <a:pt x="556" y="400"/>
                  </a:lnTo>
                  <a:lnTo>
                    <a:pt x="556" y="402"/>
                  </a:lnTo>
                  <a:lnTo>
                    <a:pt x="554" y="402"/>
                  </a:lnTo>
                  <a:lnTo>
                    <a:pt x="554" y="404"/>
                  </a:lnTo>
                  <a:lnTo>
                    <a:pt x="554" y="402"/>
                  </a:lnTo>
                  <a:lnTo>
                    <a:pt x="554" y="404"/>
                  </a:lnTo>
                  <a:lnTo>
                    <a:pt x="554" y="402"/>
                  </a:lnTo>
                  <a:lnTo>
                    <a:pt x="554" y="404"/>
                  </a:lnTo>
                  <a:lnTo>
                    <a:pt x="556" y="404"/>
                  </a:lnTo>
                  <a:lnTo>
                    <a:pt x="554" y="404"/>
                  </a:lnTo>
                  <a:lnTo>
                    <a:pt x="554" y="406"/>
                  </a:lnTo>
                  <a:lnTo>
                    <a:pt x="554" y="407"/>
                  </a:lnTo>
                  <a:lnTo>
                    <a:pt x="552" y="407"/>
                  </a:lnTo>
                  <a:lnTo>
                    <a:pt x="552" y="409"/>
                  </a:lnTo>
                  <a:lnTo>
                    <a:pt x="552" y="411"/>
                  </a:lnTo>
                  <a:lnTo>
                    <a:pt x="552" y="409"/>
                  </a:lnTo>
                  <a:lnTo>
                    <a:pt x="552" y="411"/>
                  </a:lnTo>
                  <a:lnTo>
                    <a:pt x="552" y="409"/>
                  </a:lnTo>
                  <a:lnTo>
                    <a:pt x="552" y="411"/>
                  </a:lnTo>
                  <a:lnTo>
                    <a:pt x="552" y="409"/>
                  </a:lnTo>
                  <a:lnTo>
                    <a:pt x="552" y="411"/>
                  </a:lnTo>
                  <a:lnTo>
                    <a:pt x="552" y="409"/>
                  </a:lnTo>
                  <a:lnTo>
                    <a:pt x="552" y="411"/>
                  </a:lnTo>
                  <a:lnTo>
                    <a:pt x="554" y="411"/>
                  </a:lnTo>
                  <a:lnTo>
                    <a:pt x="554" y="413"/>
                  </a:lnTo>
                  <a:lnTo>
                    <a:pt x="554" y="411"/>
                  </a:lnTo>
                  <a:lnTo>
                    <a:pt x="554" y="413"/>
                  </a:lnTo>
                  <a:lnTo>
                    <a:pt x="552" y="413"/>
                  </a:lnTo>
                  <a:lnTo>
                    <a:pt x="552" y="411"/>
                  </a:lnTo>
                  <a:lnTo>
                    <a:pt x="552" y="413"/>
                  </a:lnTo>
                  <a:lnTo>
                    <a:pt x="552" y="415"/>
                  </a:lnTo>
                  <a:lnTo>
                    <a:pt x="552" y="413"/>
                  </a:lnTo>
                  <a:lnTo>
                    <a:pt x="552" y="415"/>
                  </a:lnTo>
                  <a:lnTo>
                    <a:pt x="551" y="415"/>
                  </a:lnTo>
                  <a:lnTo>
                    <a:pt x="551" y="417"/>
                  </a:lnTo>
                  <a:lnTo>
                    <a:pt x="549" y="417"/>
                  </a:lnTo>
                  <a:lnTo>
                    <a:pt x="551" y="417"/>
                  </a:lnTo>
                  <a:lnTo>
                    <a:pt x="549" y="417"/>
                  </a:lnTo>
                  <a:lnTo>
                    <a:pt x="549" y="419"/>
                  </a:lnTo>
                  <a:lnTo>
                    <a:pt x="549" y="421"/>
                  </a:lnTo>
                  <a:lnTo>
                    <a:pt x="549" y="419"/>
                  </a:lnTo>
                  <a:lnTo>
                    <a:pt x="549" y="421"/>
                  </a:lnTo>
                  <a:lnTo>
                    <a:pt x="547" y="421"/>
                  </a:lnTo>
                  <a:lnTo>
                    <a:pt x="549" y="421"/>
                  </a:lnTo>
                  <a:lnTo>
                    <a:pt x="547" y="421"/>
                  </a:lnTo>
                  <a:lnTo>
                    <a:pt x="549" y="421"/>
                  </a:lnTo>
                  <a:lnTo>
                    <a:pt x="547" y="421"/>
                  </a:lnTo>
                  <a:lnTo>
                    <a:pt x="547" y="423"/>
                  </a:lnTo>
                  <a:lnTo>
                    <a:pt x="547" y="425"/>
                  </a:lnTo>
                  <a:lnTo>
                    <a:pt x="545" y="425"/>
                  </a:lnTo>
                  <a:lnTo>
                    <a:pt x="543" y="425"/>
                  </a:lnTo>
                  <a:lnTo>
                    <a:pt x="545" y="425"/>
                  </a:lnTo>
                  <a:lnTo>
                    <a:pt x="543" y="425"/>
                  </a:lnTo>
                  <a:lnTo>
                    <a:pt x="545" y="425"/>
                  </a:lnTo>
                  <a:lnTo>
                    <a:pt x="545" y="423"/>
                  </a:lnTo>
                  <a:lnTo>
                    <a:pt x="545" y="425"/>
                  </a:lnTo>
                  <a:lnTo>
                    <a:pt x="543" y="425"/>
                  </a:lnTo>
                  <a:lnTo>
                    <a:pt x="545" y="425"/>
                  </a:lnTo>
                  <a:lnTo>
                    <a:pt x="543" y="425"/>
                  </a:lnTo>
                  <a:lnTo>
                    <a:pt x="545" y="425"/>
                  </a:lnTo>
                  <a:lnTo>
                    <a:pt x="543" y="425"/>
                  </a:lnTo>
                  <a:lnTo>
                    <a:pt x="545" y="425"/>
                  </a:lnTo>
                  <a:lnTo>
                    <a:pt x="545" y="427"/>
                  </a:lnTo>
                  <a:lnTo>
                    <a:pt x="545" y="425"/>
                  </a:lnTo>
                  <a:lnTo>
                    <a:pt x="545" y="427"/>
                  </a:lnTo>
                  <a:lnTo>
                    <a:pt x="545" y="429"/>
                  </a:lnTo>
                  <a:lnTo>
                    <a:pt x="543" y="429"/>
                  </a:lnTo>
                  <a:lnTo>
                    <a:pt x="545" y="429"/>
                  </a:lnTo>
                  <a:lnTo>
                    <a:pt x="545" y="431"/>
                  </a:lnTo>
                  <a:lnTo>
                    <a:pt x="543" y="431"/>
                  </a:lnTo>
                  <a:lnTo>
                    <a:pt x="543" y="432"/>
                  </a:lnTo>
                  <a:lnTo>
                    <a:pt x="543" y="431"/>
                  </a:lnTo>
                  <a:lnTo>
                    <a:pt x="545" y="431"/>
                  </a:lnTo>
                  <a:lnTo>
                    <a:pt x="543" y="431"/>
                  </a:lnTo>
                  <a:lnTo>
                    <a:pt x="545" y="431"/>
                  </a:lnTo>
                  <a:lnTo>
                    <a:pt x="543" y="431"/>
                  </a:lnTo>
                  <a:lnTo>
                    <a:pt x="545" y="431"/>
                  </a:lnTo>
                  <a:lnTo>
                    <a:pt x="543" y="431"/>
                  </a:lnTo>
                  <a:lnTo>
                    <a:pt x="543" y="432"/>
                  </a:lnTo>
                  <a:lnTo>
                    <a:pt x="545" y="432"/>
                  </a:lnTo>
                  <a:lnTo>
                    <a:pt x="543" y="432"/>
                  </a:lnTo>
                  <a:lnTo>
                    <a:pt x="545" y="432"/>
                  </a:lnTo>
                  <a:lnTo>
                    <a:pt x="543" y="432"/>
                  </a:lnTo>
                  <a:lnTo>
                    <a:pt x="545" y="432"/>
                  </a:lnTo>
                  <a:lnTo>
                    <a:pt x="543" y="432"/>
                  </a:lnTo>
                  <a:lnTo>
                    <a:pt x="545" y="432"/>
                  </a:lnTo>
                  <a:lnTo>
                    <a:pt x="543" y="432"/>
                  </a:lnTo>
                  <a:lnTo>
                    <a:pt x="545" y="432"/>
                  </a:lnTo>
                  <a:lnTo>
                    <a:pt x="543" y="432"/>
                  </a:lnTo>
                  <a:lnTo>
                    <a:pt x="543" y="434"/>
                  </a:lnTo>
                  <a:lnTo>
                    <a:pt x="545" y="434"/>
                  </a:lnTo>
                  <a:lnTo>
                    <a:pt x="543" y="434"/>
                  </a:lnTo>
                  <a:lnTo>
                    <a:pt x="545" y="434"/>
                  </a:lnTo>
                  <a:lnTo>
                    <a:pt x="543" y="434"/>
                  </a:lnTo>
                  <a:lnTo>
                    <a:pt x="545" y="434"/>
                  </a:lnTo>
                  <a:lnTo>
                    <a:pt x="543" y="434"/>
                  </a:lnTo>
                  <a:lnTo>
                    <a:pt x="545" y="434"/>
                  </a:lnTo>
                  <a:lnTo>
                    <a:pt x="543" y="434"/>
                  </a:lnTo>
                  <a:lnTo>
                    <a:pt x="545" y="434"/>
                  </a:lnTo>
                  <a:lnTo>
                    <a:pt x="543" y="434"/>
                  </a:lnTo>
                  <a:lnTo>
                    <a:pt x="545" y="434"/>
                  </a:lnTo>
                  <a:lnTo>
                    <a:pt x="543" y="434"/>
                  </a:lnTo>
                  <a:lnTo>
                    <a:pt x="545" y="434"/>
                  </a:lnTo>
                  <a:lnTo>
                    <a:pt x="543" y="434"/>
                  </a:lnTo>
                  <a:lnTo>
                    <a:pt x="545" y="434"/>
                  </a:lnTo>
                  <a:lnTo>
                    <a:pt x="543" y="434"/>
                  </a:lnTo>
                  <a:lnTo>
                    <a:pt x="545" y="434"/>
                  </a:lnTo>
                  <a:lnTo>
                    <a:pt x="543" y="434"/>
                  </a:lnTo>
                  <a:lnTo>
                    <a:pt x="545" y="434"/>
                  </a:lnTo>
                  <a:lnTo>
                    <a:pt x="543" y="434"/>
                  </a:lnTo>
                  <a:lnTo>
                    <a:pt x="543" y="436"/>
                  </a:lnTo>
                  <a:lnTo>
                    <a:pt x="545" y="436"/>
                  </a:lnTo>
                  <a:lnTo>
                    <a:pt x="543" y="436"/>
                  </a:lnTo>
                  <a:lnTo>
                    <a:pt x="543" y="438"/>
                  </a:lnTo>
                  <a:lnTo>
                    <a:pt x="543" y="440"/>
                  </a:lnTo>
                  <a:lnTo>
                    <a:pt x="543" y="442"/>
                  </a:lnTo>
                  <a:lnTo>
                    <a:pt x="541" y="442"/>
                  </a:lnTo>
                  <a:lnTo>
                    <a:pt x="541" y="444"/>
                  </a:lnTo>
                  <a:lnTo>
                    <a:pt x="541" y="446"/>
                  </a:lnTo>
                  <a:lnTo>
                    <a:pt x="541" y="448"/>
                  </a:lnTo>
                  <a:lnTo>
                    <a:pt x="541" y="450"/>
                  </a:lnTo>
                  <a:lnTo>
                    <a:pt x="541" y="452"/>
                  </a:lnTo>
                  <a:lnTo>
                    <a:pt x="543" y="452"/>
                  </a:lnTo>
                  <a:lnTo>
                    <a:pt x="543" y="454"/>
                  </a:lnTo>
                  <a:lnTo>
                    <a:pt x="541" y="454"/>
                  </a:lnTo>
                  <a:lnTo>
                    <a:pt x="541" y="455"/>
                  </a:lnTo>
                  <a:lnTo>
                    <a:pt x="541" y="457"/>
                  </a:lnTo>
                  <a:lnTo>
                    <a:pt x="539" y="457"/>
                  </a:lnTo>
                  <a:lnTo>
                    <a:pt x="539" y="459"/>
                  </a:lnTo>
                  <a:lnTo>
                    <a:pt x="539" y="457"/>
                  </a:lnTo>
                  <a:lnTo>
                    <a:pt x="537" y="457"/>
                  </a:lnTo>
                  <a:lnTo>
                    <a:pt x="539" y="457"/>
                  </a:lnTo>
                  <a:lnTo>
                    <a:pt x="537" y="457"/>
                  </a:lnTo>
                  <a:lnTo>
                    <a:pt x="539" y="457"/>
                  </a:lnTo>
                  <a:lnTo>
                    <a:pt x="537" y="457"/>
                  </a:lnTo>
                  <a:lnTo>
                    <a:pt x="539" y="457"/>
                  </a:lnTo>
                  <a:lnTo>
                    <a:pt x="539" y="459"/>
                  </a:lnTo>
                  <a:lnTo>
                    <a:pt x="537" y="459"/>
                  </a:lnTo>
                  <a:lnTo>
                    <a:pt x="537" y="461"/>
                  </a:lnTo>
                  <a:lnTo>
                    <a:pt x="535" y="461"/>
                  </a:lnTo>
                  <a:lnTo>
                    <a:pt x="535" y="463"/>
                  </a:lnTo>
                  <a:lnTo>
                    <a:pt x="533" y="463"/>
                  </a:lnTo>
                  <a:lnTo>
                    <a:pt x="531" y="463"/>
                  </a:lnTo>
                  <a:lnTo>
                    <a:pt x="529" y="463"/>
                  </a:lnTo>
                  <a:lnTo>
                    <a:pt x="529" y="461"/>
                  </a:lnTo>
                  <a:lnTo>
                    <a:pt x="529" y="463"/>
                  </a:lnTo>
                  <a:lnTo>
                    <a:pt x="527" y="463"/>
                  </a:lnTo>
                  <a:lnTo>
                    <a:pt x="527" y="461"/>
                  </a:lnTo>
                  <a:lnTo>
                    <a:pt x="527" y="463"/>
                  </a:lnTo>
                  <a:lnTo>
                    <a:pt x="527" y="461"/>
                  </a:lnTo>
                  <a:lnTo>
                    <a:pt x="527" y="463"/>
                  </a:lnTo>
                  <a:lnTo>
                    <a:pt x="526" y="463"/>
                  </a:lnTo>
                  <a:lnTo>
                    <a:pt x="527" y="463"/>
                  </a:lnTo>
                  <a:lnTo>
                    <a:pt x="526" y="463"/>
                  </a:lnTo>
                  <a:lnTo>
                    <a:pt x="527" y="463"/>
                  </a:lnTo>
                  <a:lnTo>
                    <a:pt x="526" y="463"/>
                  </a:lnTo>
                  <a:lnTo>
                    <a:pt x="527" y="463"/>
                  </a:lnTo>
                  <a:lnTo>
                    <a:pt x="526" y="463"/>
                  </a:lnTo>
                  <a:lnTo>
                    <a:pt x="524" y="463"/>
                  </a:lnTo>
                  <a:lnTo>
                    <a:pt x="522" y="463"/>
                  </a:lnTo>
                  <a:lnTo>
                    <a:pt x="520" y="463"/>
                  </a:lnTo>
                  <a:lnTo>
                    <a:pt x="522" y="463"/>
                  </a:lnTo>
                  <a:lnTo>
                    <a:pt x="520" y="463"/>
                  </a:lnTo>
                  <a:lnTo>
                    <a:pt x="518" y="463"/>
                  </a:lnTo>
                  <a:lnTo>
                    <a:pt x="516" y="463"/>
                  </a:lnTo>
                  <a:lnTo>
                    <a:pt x="514" y="463"/>
                  </a:lnTo>
                  <a:lnTo>
                    <a:pt x="514" y="465"/>
                  </a:lnTo>
                  <a:lnTo>
                    <a:pt x="512" y="465"/>
                  </a:lnTo>
                  <a:lnTo>
                    <a:pt x="510" y="465"/>
                  </a:lnTo>
                  <a:lnTo>
                    <a:pt x="508" y="465"/>
                  </a:lnTo>
                  <a:lnTo>
                    <a:pt x="508" y="467"/>
                  </a:lnTo>
                  <a:lnTo>
                    <a:pt x="506" y="467"/>
                  </a:lnTo>
                  <a:lnTo>
                    <a:pt x="506" y="469"/>
                  </a:lnTo>
                  <a:lnTo>
                    <a:pt x="504" y="469"/>
                  </a:lnTo>
                  <a:lnTo>
                    <a:pt x="504" y="471"/>
                  </a:lnTo>
                  <a:lnTo>
                    <a:pt x="503" y="471"/>
                  </a:lnTo>
                  <a:lnTo>
                    <a:pt x="503" y="473"/>
                  </a:lnTo>
                  <a:lnTo>
                    <a:pt x="501" y="473"/>
                  </a:lnTo>
                  <a:lnTo>
                    <a:pt x="501" y="475"/>
                  </a:lnTo>
                  <a:lnTo>
                    <a:pt x="499" y="475"/>
                  </a:lnTo>
                  <a:lnTo>
                    <a:pt x="499" y="477"/>
                  </a:lnTo>
                  <a:lnTo>
                    <a:pt x="497" y="477"/>
                  </a:lnTo>
                  <a:lnTo>
                    <a:pt x="497" y="479"/>
                  </a:lnTo>
                  <a:lnTo>
                    <a:pt x="495" y="479"/>
                  </a:lnTo>
                  <a:lnTo>
                    <a:pt x="493" y="479"/>
                  </a:lnTo>
                  <a:lnTo>
                    <a:pt x="491" y="479"/>
                  </a:lnTo>
                  <a:lnTo>
                    <a:pt x="493" y="479"/>
                  </a:lnTo>
                  <a:lnTo>
                    <a:pt x="491" y="479"/>
                  </a:lnTo>
                  <a:lnTo>
                    <a:pt x="491" y="480"/>
                  </a:lnTo>
                  <a:lnTo>
                    <a:pt x="491" y="479"/>
                  </a:lnTo>
                  <a:lnTo>
                    <a:pt x="491" y="480"/>
                  </a:lnTo>
                  <a:lnTo>
                    <a:pt x="491" y="479"/>
                  </a:lnTo>
                  <a:lnTo>
                    <a:pt x="491" y="480"/>
                  </a:lnTo>
                  <a:lnTo>
                    <a:pt x="491" y="479"/>
                  </a:lnTo>
                  <a:lnTo>
                    <a:pt x="491" y="480"/>
                  </a:lnTo>
                  <a:lnTo>
                    <a:pt x="491" y="479"/>
                  </a:lnTo>
                  <a:lnTo>
                    <a:pt x="491" y="480"/>
                  </a:lnTo>
                  <a:lnTo>
                    <a:pt x="491" y="479"/>
                  </a:lnTo>
                  <a:lnTo>
                    <a:pt x="491" y="480"/>
                  </a:lnTo>
                  <a:lnTo>
                    <a:pt x="489" y="480"/>
                  </a:lnTo>
                  <a:lnTo>
                    <a:pt x="489" y="479"/>
                  </a:lnTo>
                  <a:lnTo>
                    <a:pt x="489" y="480"/>
                  </a:lnTo>
                  <a:lnTo>
                    <a:pt x="489" y="479"/>
                  </a:lnTo>
                  <a:lnTo>
                    <a:pt x="487" y="479"/>
                  </a:lnTo>
                  <a:lnTo>
                    <a:pt x="487" y="480"/>
                  </a:lnTo>
                  <a:lnTo>
                    <a:pt x="487" y="479"/>
                  </a:lnTo>
                  <a:lnTo>
                    <a:pt x="487" y="480"/>
                  </a:lnTo>
                  <a:lnTo>
                    <a:pt x="487" y="479"/>
                  </a:lnTo>
                  <a:lnTo>
                    <a:pt x="487" y="480"/>
                  </a:lnTo>
                  <a:lnTo>
                    <a:pt x="487" y="479"/>
                  </a:lnTo>
                  <a:lnTo>
                    <a:pt x="487" y="480"/>
                  </a:lnTo>
                  <a:lnTo>
                    <a:pt x="487" y="479"/>
                  </a:lnTo>
                  <a:lnTo>
                    <a:pt x="487" y="480"/>
                  </a:lnTo>
                  <a:lnTo>
                    <a:pt x="487" y="479"/>
                  </a:lnTo>
                  <a:lnTo>
                    <a:pt x="487" y="480"/>
                  </a:lnTo>
                  <a:lnTo>
                    <a:pt x="487" y="479"/>
                  </a:lnTo>
                  <a:lnTo>
                    <a:pt x="487" y="480"/>
                  </a:lnTo>
                  <a:lnTo>
                    <a:pt x="485" y="480"/>
                  </a:lnTo>
                  <a:lnTo>
                    <a:pt x="487" y="480"/>
                  </a:lnTo>
                  <a:lnTo>
                    <a:pt x="485" y="480"/>
                  </a:lnTo>
                  <a:lnTo>
                    <a:pt x="487" y="480"/>
                  </a:lnTo>
                  <a:lnTo>
                    <a:pt x="485" y="480"/>
                  </a:lnTo>
                  <a:lnTo>
                    <a:pt x="487" y="480"/>
                  </a:lnTo>
                  <a:lnTo>
                    <a:pt x="487" y="482"/>
                  </a:lnTo>
                  <a:lnTo>
                    <a:pt x="487" y="484"/>
                  </a:lnTo>
                  <a:lnTo>
                    <a:pt x="489" y="484"/>
                  </a:lnTo>
                  <a:lnTo>
                    <a:pt x="489" y="482"/>
                  </a:lnTo>
                  <a:lnTo>
                    <a:pt x="489" y="480"/>
                  </a:lnTo>
                  <a:lnTo>
                    <a:pt x="491" y="480"/>
                  </a:lnTo>
                  <a:lnTo>
                    <a:pt x="491" y="482"/>
                  </a:lnTo>
                  <a:lnTo>
                    <a:pt x="491" y="484"/>
                  </a:lnTo>
                  <a:lnTo>
                    <a:pt x="491" y="482"/>
                  </a:lnTo>
                  <a:lnTo>
                    <a:pt x="491" y="484"/>
                  </a:lnTo>
                  <a:lnTo>
                    <a:pt x="489" y="484"/>
                  </a:lnTo>
                  <a:lnTo>
                    <a:pt x="489" y="486"/>
                  </a:lnTo>
                  <a:lnTo>
                    <a:pt x="491" y="486"/>
                  </a:lnTo>
                  <a:lnTo>
                    <a:pt x="489" y="486"/>
                  </a:lnTo>
                  <a:lnTo>
                    <a:pt x="489" y="488"/>
                  </a:lnTo>
                  <a:lnTo>
                    <a:pt x="489" y="486"/>
                  </a:lnTo>
                  <a:lnTo>
                    <a:pt x="489" y="488"/>
                  </a:lnTo>
                  <a:lnTo>
                    <a:pt x="489" y="486"/>
                  </a:lnTo>
                  <a:lnTo>
                    <a:pt x="487" y="486"/>
                  </a:lnTo>
                  <a:lnTo>
                    <a:pt x="489" y="486"/>
                  </a:lnTo>
                  <a:lnTo>
                    <a:pt x="487" y="486"/>
                  </a:lnTo>
                  <a:lnTo>
                    <a:pt x="489" y="486"/>
                  </a:lnTo>
                  <a:lnTo>
                    <a:pt x="487" y="486"/>
                  </a:lnTo>
                  <a:lnTo>
                    <a:pt x="487" y="484"/>
                  </a:lnTo>
                  <a:lnTo>
                    <a:pt x="487" y="486"/>
                  </a:lnTo>
                  <a:lnTo>
                    <a:pt x="487" y="484"/>
                  </a:lnTo>
                  <a:lnTo>
                    <a:pt x="487" y="482"/>
                  </a:lnTo>
                  <a:lnTo>
                    <a:pt x="485" y="482"/>
                  </a:lnTo>
                  <a:lnTo>
                    <a:pt x="487" y="482"/>
                  </a:lnTo>
                  <a:lnTo>
                    <a:pt x="485" y="482"/>
                  </a:lnTo>
                  <a:lnTo>
                    <a:pt x="485" y="480"/>
                  </a:lnTo>
                  <a:lnTo>
                    <a:pt x="485" y="482"/>
                  </a:lnTo>
                  <a:lnTo>
                    <a:pt x="483" y="482"/>
                  </a:lnTo>
                  <a:lnTo>
                    <a:pt x="483" y="484"/>
                  </a:lnTo>
                  <a:lnTo>
                    <a:pt x="481" y="484"/>
                  </a:lnTo>
                  <a:lnTo>
                    <a:pt x="481" y="482"/>
                  </a:lnTo>
                  <a:lnTo>
                    <a:pt x="481" y="484"/>
                  </a:lnTo>
                  <a:lnTo>
                    <a:pt x="481" y="482"/>
                  </a:lnTo>
                  <a:lnTo>
                    <a:pt x="481" y="480"/>
                  </a:lnTo>
                  <a:lnTo>
                    <a:pt x="480" y="480"/>
                  </a:lnTo>
                  <a:lnTo>
                    <a:pt x="480" y="479"/>
                  </a:lnTo>
                  <a:lnTo>
                    <a:pt x="481" y="479"/>
                  </a:lnTo>
                  <a:lnTo>
                    <a:pt x="480" y="479"/>
                  </a:lnTo>
                  <a:lnTo>
                    <a:pt x="481" y="479"/>
                  </a:lnTo>
                  <a:lnTo>
                    <a:pt x="481" y="480"/>
                  </a:lnTo>
                  <a:lnTo>
                    <a:pt x="481" y="479"/>
                  </a:lnTo>
                  <a:lnTo>
                    <a:pt x="481" y="480"/>
                  </a:lnTo>
                  <a:lnTo>
                    <a:pt x="481" y="479"/>
                  </a:lnTo>
                  <a:lnTo>
                    <a:pt x="480" y="479"/>
                  </a:lnTo>
                  <a:lnTo>
                    <a:pt x="478" y="479"/>
                  </a:lnTo>
                  <a:lnTo>
                    <a:pt x="480" y="479"/>
                  </a:lnTo>
                  <a:lnTo>
                    <a:pt x="478" y="479"/>
                  </a:lnTo>
                  <a:lnTo>
                    <a:pt x="476" y="479"/>
                  </a:lnTo>
                  <a:lnTo>
                    <a:pt x="476" y="477"/>
                  </a:lnTo>
                  <a:lnTo>
                    <a:pt x="474" y="477"/>
                  </a:lnTo>
                  <a:lnTo>
                    <a:pt x="476" y="477"/>
                  </a:lnTo>
                  <a:lnTo>
                    <a:pt x="476" y="475"/>
                  </a:lnTo>
                  <a:lnTo>
                    <a:pt x="474" y="475"/>
                  </a:lnTo>
                  <a:lnTo>
                    <a:pt x="476" y="475"/>
                  </a:lnTo>
                  <a:lnTo>
                    <a:pt x="478" y="475"/>
                  </a:lnTo>
                  <a:lnTo>
                    <a:pt x="478" y="473"/>
                  </a:lnTo>
                  <a:lnTo>
                    <a:pt x="476" y="473"/>
                  </a:lnTo>
                  <a:lnTo>
                    <a:pt x="476" y="471"/>
                  </a:lnTo>
                  <a:lnTo>
                    <a:pt x="474" y="471"/>
                  </a:lnTo>
                  <a:lnTo>
                    <a:pt x="472" y="471"/>
                  </a:lnTo>
                  <a:lnTo>
                    <a:pt x="474" y="471"/>
                  </a:lnTo>
                  <a:lnTo>
                    <a:pt x="472" y="471"/>
                  </a:lnTo>
                  <a:lnTo>
                    <a:pt x="474" y="471"/>
                  </a:lnTo>
                  <a:lnTo>
                    <a:pt x="472" y="471"/>
                  </a:lnTo>
                  <a:lnTo>
                    <a:pt x="472" y="473"/>
                  </a:lnTo>
                  <a:lnTo>
                    <a:pt x="472" y="475"/>
                  </a:lnTo>
                  <a:lnTo>
                    <a:pt x="472" y="473"/>
                  </a:lnTo>
                  <a:lnTo>
                    <a:pt x="472" y="475"/>
                  </a:lnTo>
                  <a:lnTo>
                    <a:pt x="470" y="475"/>
                  </a:lnTo>
                  <a:lnTo>
                    <a:pt x="470" y="477"/>
                  </a:lnTo>
                  <a:lnTo>
                    <a:pt x="470" y="475"/>
                  </a:lnTo>
                  <a:lnTo>
                    <a:pt x="470" y="477"/>
                  </a:lnTo>
                  <a:lnTo>
                    <a:pt x="470" y="475"/>
                  </a:lnTo>
                  <a:lnTo>
                    <a:pt x="468" y="475"/>
                  </a:lnTo>
                  <a:lnTo>
                    <a:pt x="468" y="477"/>
                  </a:lnTo>
                  <a:lnTo>
                    <a:pt x="468" y="475"/>
                  </a:lnTo>
                  <a:lnTo>
                    <a:pt x="468" y="477"/>
                  </a:lnTo>
                  <a:lnTo>
                    <a:pt x="468" y="475"/>
                  </a:lnTo>
                  <a:lnTo>
                    <a:pt x="466" y="475"/>
                  </a:lnTo>
                  <a:lnTo>
                    <a:pt x="468" y="475"/>
                  </a:lnTo>
                  <a:lnTo>
                    <a:pt x="466" y="475"/>
                  </a:lnTo>
                  <a:lnTo>
                    <a:pt x="466" y="473"/>
                  </a:lnTo>
                  <a:lnTo>
                    <a:pt x="466" y="475"/>
                  </a:lnTo>
                  <a:lnTo>
                    <a:pt x="466" y="473"/>
                  </a:lnTo>
                  <a:lnTo>
                    <a:pt x="464" y="473"/>
                  </a:lnTo>
                  <a:lnTo>
                    <a:pt x="466" y="473"/>
                  </a:lnTo>
                  <a:lnTo>
                    <a:pt x="468" y="473"/>
                  </a:lnTo>
                  <a:lnTo>
                    <a:pt x="468" y="471"/>
                  </a:lnTo>
                  <a:lnTo>
                    <a:pt x="470" y="471"/>
                  </a:lnTo>
                  <a:lnTo>
                    <a:pt x="470" y="469"/>
                  </a:lnTo>
                  <a:lnTo>
                    <a:pt x="470" y="467"/>
                  </a:lnTo>
                  <a:lnTo>
                    <a:pt x="468" y="467"/>
                  </a:lnTo>
                  <a:lnTo>
                    <a:pt x="468" y="465"/>
                  </a:lnTo>
                  <a:lnTo>
                    <a:pt x="468" y="463"/>
                  </a:lnTo>
                  <a:lnTo>
                    <a:pt x="468" y="465"/>
                  </a:lnTo>
                  <a:lnTo>
                    <a:pt x="466" y="465"/>
                  </a:lnTo>
                  <a:lnTo>
                    <a:pt x="468" y="465"/>
                  </a:lnTo>
                  <a:lnTo>
                    <a:pt x="466" y="465"/>
                  </a:lnTo>
                  <a:lnTo>
                    <a:pt x="466" y="463"/>
                  </a:lnTo>
                  <a:lnTo>
                    <a:pt x="466" y="465"/>
                  </a:lnTo>
                  <a:lnTo>
                    <a:pt x="464" y="465"/>
                  </a:lnTo>
                  <a:lnTo>
                    <a:pt x="464" y="467"/>
                  </a:lnTo>
                  <a:lnTo>
                    <a:pt x="464" y="465"/>
                  </a:lnTo>
                  <a:lnTo>
                    <a:pt x="464" y="467"/>
                  </a:lnTo>
                  <a:lnTo>
                    <a:pt x="462" y="467"/>
                  </a:lnTo>
                  <a:lnTo>
                    <a:pt x="462" y="469"/>
                  </a:lnTo>
                  <a:lnTo>
                    <a:pt x="460" y="469"/>
                  </a:lnTo>
                  <a:lnTo>
                    <a:pt x="460" y="467"/>
                  </a:lnTo>
                  <a:lnTo>
                    <a:pt x="460" y="469"/>
                  </a:lnTo>
                  <a:lnTo>
                    <a:pt x="458" y="469"/>
                  </a:lnTo>
                  <a:lnTo>
                    <a:pt x="460" y="469"/>
                  </a:lnTo>
                  <a:lnTo>
                    <a:pt x="462" y="469"/>
                  </a:lnTo>
                  <a:lnTo>
                    <a:pt x="464" y="469"/>
                  </a:lnTo>
                  <a:lnTo>
                    <a:pt x="464" y="471"/>
                  </a:lnTo>
                  <a:lnTo>
                    <a:pt x="462" y="471"/>
                  </a:lnTo>
                  <a:lnTo>
                    <a:pt x="462" y="473"/>
                  </a:lnTo>
                  <a:lnTo>
                    <a:pt x="462" y="471"/>
                  </a:lnTo>
                  <a:lnTo>
                    <a:pt x="462" y="473"/>
                  </a:lnTo>
                  <a:lnTo>
                    <a:pt x="462" y="471"/>
                  </a:lnTo>
                  <a:lnTo>
                    <a:pt x="460" y="471"/>
                  </a:lnTo>
                  <a:lnTo>
                    <a:pt x="462" y="471"/>
                  </a:lnTo>
                  <a:lnTo>
                    <a:pt x="462" y="473"/>
                  </a:lnTo>
                  <a:lnTo>
                    <a:pt x="460" y="473"/>
                  </a:lnTo>
                  <a:lnTo>
                    <a:pt x="458" y="473"/>
                  </a:lnTo>
                  <a:lnTo>
                    <a:pt x="458" y="475"/>
                  </a:lnTo>
                  <a:lnTo>
                    <a:pt x="456" y="475"/>
                  </a:lnTo>
                  <a:lnTo>
                    <a:pt x="455" y="475"/>
                  </a:lnTo>
                  <a:lnTo>
                    <a:pt x="455" y="477"/>
                  </a:lnTo>
                  <a:lnTo>
                    <a:pt x="453" y="477"/>
                  </a:lnTo>
                  <a:lnTo>
                    <a:pt x="453" y="479"/>
                  </a:lnTo>
                  <a:lnTo>
                    <a:pt x="453" y="480"/>
                  </a:lnTo>
                  <a:lnTo>
                    <a:pt x="451" y="480"/>
                  </a:lnTo>
                  <a:lnTo>
                    <a:pt x="449" y="480"/>
                  </a:lnTo>
                  <a:lnTo>
                    <a:pt x="449" y="482"/>
                  </a:lnTo>
                  <a:lnTo>
                    <a:pt x="447" y="482"/>
                  </a:lnTo>
                  <a:lnTo>
                    <a:pt x="445" y="482"/>
                  </a:lnTo>
                  <a:lnTo>
                    <a:pt x="445" y="480"/>
                  </a:lnTo>
                  <a:lnTo>
                    <a:pt x="443" y="480"/>
                  </a:lnTo>
                  <a:lnTo>
                    <a:pt x="441" y="480"/>
                  </a:lnTo>
                  <a:lnTo>
                    <a:pt x="441" y="479"/>
                  </a:lnTo>
                  <a:lnTo>
                    <a:pt x="439" y="479"/>
                  </a:lnTo>
                  <a:lnTo>
                    <a:pt x="437" y="479"/>
                  </a:lnTo>
                  <a:lnTo>
                    <a:pt x="439" y="479"/>
                  </a:lnTo>
                  <a:lnTo>
                    <a:pt x="437" y="479"/>
                  </a:lnTo>
                  <a:lnTo>
                    <a:pt x="437" y="477"/>
                  </a:lnTo>
                  <a:lnTo>
                    <a:pt x="437" y="479"/>
                  </a:lnTo>
                  <a:lnTo>
                    <a:pt x="437" y="477"/>
                  </a:lnTo>
                  <a:lnTo>
                    <a:pt x="435" y="477"/>
                  </a:lnTo>
                  <a:lnTo>
                    <a:pt x="435" y="475"/>
                  </a:lnTo>
                  <a:lnTo>
                    <a:pt x="433" y="475"/>
                  </a:lnTo>
                  <a:lnTo>
                    <a:pt x="432" y="475"/>
                  </a:lnTo>
                  <a:lnTo>
                    <a:pt x="432" y="473"/>
                  </a:lnTo>
                  <a:lnTo>
                    <a:pt x="430" y="473"/>
                  </a:lnTo>
                  <a:lnTo>
                    <a:pt x="428" y="473"/>
                  </a:lnTo>
                  <a:lnTo>
                    <a:pt x="428" y="475"/>
                  </a:lnTo>
                  <a:lnTo>
                    <a:pt x="428" y="473"/>
                  </a:lnTo>
                  <a:lnTo>
                    <a:pt x="426" y="473"/>
                  </a:lnTo>
                  <a:lnTo>
                    <a:pt x="424" y="473"/>
                  </a:lnTo>
                  <a:lnTo>
                    <a:pt x="424" y="471"/>
                  </a:lnTo>
                  <a:lnTo>
                    <a:pt x="422" y="471"/>
                  </a:lnTo>
                  <a:lnTo>
                    <a:pt x="420" y="471"/>
                  </a:lnTo>
                  <a:lnTo>
                    <a:pt x="420" y="473"/>
                  </a:lnTo>
                  <a:lnTo>
                    <a:pt x="418" y="473"/>
                  </a:lnTo>
                  <a:lnTo>
                    <a:pt x="420" y="473"/>
                  </a:lnTo>
                  <a:lnTo>
                    <a:pt x="420" y="475"/>
                  </a:lnTo>
                  <a:lnTo>
                    <a:pt x="418" y="475"/>
                  </a:lnTo>
                  <a:lnTo>
                    <a:pt x="418" y="473"/>
                  </a:lnTo>
                  <a:lnTo>
                    <a:pt x="416" y="473"/>
                  </a:lnTo>
                  <a:lnTo>
                    <a:pt x="416" y="475"/>
                  </a:lnTo>
                  <a:lnTo>
                    <a:pt x="416" y="473"/>
                  </a:lnTo>
                  <a:lnTo>
                    <a:pt x="416" y="475"/>
                  </a:lnTo>
                  <a:lnTo>
                    <a:pt x="416" y="473"/>
                  </a:lnTo>
                  <a:lnTo>
                    <a:pt x="416" y="471"/>
                  </a:lnTo>
                  <a:lnTo>
                    <a:pt x="414" y="471"/>
                  </a:lnTo>
                  <a:lnTo>
                    <a:pt x="414" y="469"/>
                  </a:lnTo>
                  <a:lnTo>
                    <a:pt x="412" y="469"/>
                  </a:lnTo>
                  <a:lnTo>
                    <a:pt x="410" y="469"/>
                  </a:lnTo>
                  <a:lnTo>
                    <a:pt x="410" y="467"/>
                  </a:lnTo>
                  <a:lnTo>
                    <a:pt x="408" y="467"/>
                  </a:lnTo>
                  <a:lnTo>
                    <a:pt x="407" y="467"/>
                  </a:lnTo>
                  <a:lnTo>
                    <a:pt x="405" y="467"/>
                  </a:lnTo>
                  <a:lnTo>
                    <a:pt x="403" y="467"/>
                  </a:lnTo>
                  <a:lnTo>
                    <a:pt x="403" y="465"/>
                  </a:lnTo>
                  <a:lnTo>
                    <a:pt x="401" y="465"/>
                  </a:lnTo>
                  <a:lnTo>
                    <a:pt x="401" y="463"/>
                  </a:lnTo>
                  <a:lnTo>
                    <a:pt x="401" y="461"/>
                  </a:lnTo>
                  <a:lnTo>
                    <a:pt x="399" y="461"/>
                  </a:lnTo>
                  <a:lnTo>
                    <a:pt x="399" y="459"/>
                  </a:lnTo>
                  <a:lnTo>
                    <a:pt x="397" y="459"/>
                  </a:lnTo>
                  <a:lnTo>
                    <a:pt x="397" y="457"/>
                  </a:lnTo>
                  <a:lnTo>
                    <a:pt x="395" y="457"/>
                  </a:lnTo>
                  <a:lnTo>
                    <a:pt x="395" y="455"/>
                  </a:lnTo>
                  <a:lnTo>
                    <a:pt x="393" y="455"/>
                  </a:lnTo>
                  <a:lnTo>
                    <a:pt x="393" y="454"/>
                  </a:lnTo>
                  <a:lnTo>
                    <a:pt x="393" y="452"/>
                  </a:lnTo>
                  <a:lnTo>
                    <a:pt x="391" y="452"/>
                  </a:lnTo>
                  <a:lnTo>
                    <a:pt x="393" y="452"/>
                  </a:lnTo>
                  <a:lnTo>
                    <a:pt x="393" y="450"/>
                  </a:lnTo>
                  <a:lnTo>
                    <a:pt x="391" y="450"/>
                  </a:lnTo>
                  <a:lnTo>
                    <a:pt x="391" y="448"/>
                  </a:lnTo>
                  <a:lnTo>
                    <a:pt x="391" y="446"/>
                  </a:lnTo>
                  <a:lnTo>
                    <a:pt x="393" y="446"/>
                  </a:lnTo>
                  <a:lnTo>
                    <a:pt x="393" y="444"/>
                  </a:lnTo>
                  <a:lnTo>
                    <a:pt x="393" y="442"/>
                  </a:lnTo>
                  <a:lnTo>
                    <a:pt x="393" y="440"/>
                  </a:lnTo>
                  <a:lnTo>
                    <a:pt x="393" y="438"/>
                  </a:lnTo>
                  <a:lnTo>
                    <a:pt x="391" y="438"/>
                  </a:lnTo>
                  <a:lnTo>
                    <a:pt x="391" y="436"/>
                  </a:lnTo>
                  <a:lnTo>
                    <a:pt x="391" y="434"/>
                  </a:lnTo>
                  <a:lnTo>
                    <a:pt x="389" y="434"/>
                  </a:lnTo>
                  <a:lnTo>
                    <a:pt x="389" y="432"/>
                  </a:lnTo>
                  <a:lnTo>
                    <a:pt x="389" y="431"/>
                  </a:lnTo>
                  <a:lnTo>
                    <a:pt x="387" y="431"/>
                  </a:lnTo>
                  <a:lnTo>
                    <a:pt x="387" y="429"/>
                  </a:lnTo>
                  <a:lnTo>
                    <a:pt x="385" y="429"/>
                  </a:lnTo>
                  <a:lnTo>
                    <a:pt x="385" y="427"/>
                  </a:lnTo>
                  <a:lnTo>
                    <a:pt x="384" y="427"/>
                  </a:lnTo>
                  <a:lnTo>
                    <a:pt x="384" y="425"/>
                  </a:lnTo>
                  <a:lnTo>
                    <a:pt x="382" y="425"/>
                  </a:lnTo>
                  <a:lnTo>
                    <a:pt x="382" y="423"/>
                  </a:lnTo>
                  <a:lnTo>
                    <a:pt x="380" y="423"/>
                  </a:lnTo>
                  <a:lnTo>
                    <a:pt x="382" y="423"/>
                  </a:lnTo>
                  <a:lnTo>
                    <a:pt x="382" y="425"/>
                  </a:lnTo>
                  <a:lnTo>
                    <a:pt x="384" y="425"/>
                  </a:lnTo>
                  <a:lnTo>
                    <a:pt x="385" y="427"/>
                  </a:lnTo>
                  <a:lnTo>
                    <a:pt x="385" y="429"/>
                  </a:lnTo>
                  <a:lnTo>
                    <a:pt x="387" y="429"/>
                  </a:lnTo>
                  <a:lnTo>
                    <a:pt x="385" y="429"/>
                  </a:lnTo>
                  <a:lnTo>
                    <a:pt x="387" y="429"/>
                  </a:lnTo>
                  <a:lnTo>
                    <a:pt x="387" y="431"/>
                  </a:lnTo>
                  <a:lnTo>
                    <a:pt x="389" y="431"/>
                  </a:lnTo>
                  <a:lnTo>
                    <a:pt x="387" y="431"/>
                  </a:lnTo>
                  <a:lnTo>
                    <a:pt x="389" y="431"/>
                  </a:lnTo>
                  <a:lnTo>
                    <a:pt x="389" y="432"/>
                  </a:lnTo>
                  <a:lnTo>
                    <a:pt x="391" y="432"/>
                  </a:lnTo>
                  <a:lnTo>
                    <a:pt x="391" y="434"/>
                  </a:lnTo>
                  <a:lnTo>
                    <a:pt x="391" y="432"/>
                  </a:lnTo>
                  <a:lnTo>
                    <a:pt x="389" y="432"/>
                  </a:lnTo>
                  <a:lnTo>
                    <a:pt x="391" y="432"/>
                  </a:lnTo>
                  <a:lnTo>
                    <a:pt x="389" y="432"/>
                  </a:lnTo>
                  <a:lnTo>
                    <a:pt x="389" y="431"/>
                  </a:lnTo>
                  <a:lnTo>
                    <a:pt x="389" y="429"/>
                  </a:lnTo>
                  <a:lnTo>
                    <a:pt x="387" y="429"/>
                  </a:lnTo>
                  <a:lnTo>
                    <a:pt x="389" y="429"/>
                  </a:lnTo>
                  <a:lnTo>
                    <a:pt x="387" y="429"/>
                  </a:lnTo>
                  <a:lnTo>
                    <a:pt x="387" y="427"/>
                  </a:lnTo>
                  <a:lnTo>
                    <a:pt x="385" y="427"/>
                  </a:lnTo>
                  <a:lnTo>
                    <a:pt x="387" y="427"/>
                  </a:lnTo>
                  <a:lnTo>
                    <a:pt x="385" y="427"/>
                  </a:lnTo>
                  <a:lnTo>
                    <a:pt x="385" y="425"/>
                  </a:lnTo>
                  <a:lnTo>
                    <a:pt x="384" y="425"/>
                  </a:lnTo>
                  <a:lnTo>
                    <a:pt x="384" y="423"/>
                  </a:lnTo>
                  <a:lnTo>
                    <a:pt x="382" y="423"/>
                  </a:lnTo>
                  <a:lnTo>
                    <a:pt x="384" y="423"/>
                  </a:lnTo>
                  <a:lnTo>
                    <a:pt x="382" y="423"/>
                  </a:lnTo>
                  <a:lnTo>
                    <a:pt x="382" y="421"/>
                  </a:lnTo>
                  <a:lnTo>
                    <a:pt x="384" y="421"/>
                  </a:lnTo>
                  <a:lnTo>
                    <a:pt x="385" y="421"/>
                  </a:lnTo>
                  <a:lnTo>
                    <a:pt x="387" y="421"/>
                  </a:lnTo>
                  <a:lnTo>
                    <a:pt x="385" y="421"/>
                  </a:lnTo>
                  <a:lnTo>
                    <a:pt x="387" y="421"/>
                  </a:lnTo>
                  <a:lnTo>
                    <a:pt x="385" y="421"/>
                  </a:lnTo>
                  <a:lnTo>
                    <a:pt x="385" y="419"/>
                  </a:lnTo>
                  <a:lnTo>
                    <a:pt x="385" y="421"/>
                  </a:lnTo>
                  <a:lnTo>
                    <a:pt x="385" y="419"/>
                  </a:lnTo>
                  <a:lnTo>
                    <a:pt x="387" y="419"/>
                  </a:lnTo>
                  <a:lnTo>
                    <a:pt x="385" y="419"/>
                  </a:lnTo>
                  <a:lnTo>
                    <a:pt x="385" y="417"/>
                  </a:lnTo>
                  <a:lnTo>
                    <a:pt x="384" y="417"/>
                  </a:lnTo>
                  <a:lnTo>
                    <a:pt x="384" y="419"/>
                  </a:lnTo>
                  <a:lnTo>
                    <a:pt x="382" y="419"/>
                  </a:lnTo>
                  <a:lnTo>
                    <a:pt x="384" y="419"/>
                  </a:lnTo>
                  <a:lnTo>
                    <a:pt x="382" y="419"/>
                  </a:lnTo>
                  <a:lnTo>
                    <a:pt x="380" y="419"/>
                  </a:lnTo>
                  <a:lnTo>
                    <a:pt x="380" y="421"/>
                  </a:lnTo>
                  <a:lnTo>
                    <a:pt x="382" y="421"/>
                  </a:lnTo>
                  <a:lnTo>
                    <a:pt x="380" y="421"/>
                  </a:lnTo>
                  <a:lnTo>
                    <a:pt x="382" y="421"/>
                  </a:lnTo>
                  <a:lnTo>
                    <a:pt x="380" y="421"/>
                  </a:lnTo>
                  <a:lnTo>
                    <a:pt x="380" y="419"/>
                  </a:lnTo>
                  <a:lnTo>
                    <a:pt x="378" y="419"/>
                  </a:lnTo>
                  <a:lnTo>
                    <a:pt x="380" y="419"/>
                  </a:lnTo>
                  <a:lnTo>
                    <a:pt x="380" y="421"/>
                  </a:lnTo>
                  <a:lnTo>
                    <a:pt x="378" y="421"/>
                  </a:lnTo>
                  <a:lnTo>
                    <a:pt x="380" y="421"/>
                  </a:lnTo>
                  <a:lnTo>
                    <a:pt x="378" y="421"/>
                  </a:lnTo>
                  <a:lnTo>
                    <a:pt x="380" y="421"/>
                  </a:lnTo>
                  <a:lnTo>
                    <a:pt x="380" y="423"/>
                  </a:lnTo>
                  <a:lnTo>
                    <a:pt x="380" y="421"/>
                  </a:lnTo>
                  <a:lnTo>
                    <a:pt x="378" y="421"/>
                  </a:lnTo>
                  <a:lnTo>
                    <a:pt x="376" y="421"/>
                  </a:lnTo>
                  <a:lnTo>
                    <a:pt x="376" y="423"/>
                  </a:lnTo>
                  <a:lnTo>
                    <a:pt x="374" y="423"/>
                  </a:lnTo>
                  <a:lnTo>
                    <a:pt x="372" y="423"/>
                  </a:lnTo>
                  <a:lnTo>
                    <a:pt x="370" y="423"/>
                  </a:lnTo>
                  <a:lnTo>
                    <a:pt x="370" y="425"/>
                  </a:lnTo>
                  <a:lnTo>
                    <a:pt x="368" y="425"/>
                  </a:lnTo>
                  <a:lnTo>
                    <a:pt x="368" y="423"/>
                  </a:lnTo>
                  <a:lnTo>
                    <a:pt x="368" y="421"/>
                  </a:lnTo>
                  <a:lnTo>
                    <a:pt x="370" y="421"/>
                  </a:lnTo>
                  <a:lnTo>
                    <a:pt x="370" y="419"/>
                  </a:lnTo>
                  <a:lnTo>
                    <a:pt x="372" y="419"/>
                  </a:lnTo>
                  <a:lnTo>
                    <a:pt x="372" y="417"/>
                  </a:lnTo>
                  <a:lnTo>
                    <a:pt x="374" y="417"/>
                  </a:lnTo>
                  <a:lnTo>
                    <a:pt x="374" y="415"/>
                  </a:lnTo>
                  <a:lnTo>
                    <a:pt x="374" y="413"/>
                  </a:lnTo>
                  <a:lnTo>
                    <a:pt x="374" y="411"/>
                  </a:lnTo>
                  <a:lnTo>
                    <a:pt x="374" y="409"/>
                  </a:lnTo>
                  <a:lnTo>
                    <a:pt x="374" y="407"/>
                  </a:lnTo>
                  <a:lnTo>
                    <a:pt x="374" y="409"/>
                  </a:lnTo>
                  <a:lnTo>
                    <a:pt x="374" y="407"/>
                  </a:lnTo>
                  <a:lnTo>
                    <a:pt x="374" y="406"/>
                  </a:lnTo>
                  <a:lnTo>
                    <a:pt x="372" y="406"/>
                  </a:lnTo>
                  <a:lnTo>
                    <a:pt x="372" y="404"/>
                  </a:lnTo>
                  <a:lnTo>
                    <a:pt x="372" y="406"/>
                  </a:lnTo>
                  <a:lnTo>
                    <a:pt x="372" y="404"/>
                  </a:lnTo>
                  <a:lnTo>
                    <a:pt x="370" y="404"/>
                  </a:lnTo>
                  <a:lnTo>
                    <a:pt x="370" y="402"/>
                  </a:lnTo>
                  <a:lnTo>
                    <a:pt x="370" y="400"/>
                  </a:lnTo>
                  <a:lnTo>
                    <a:pt x="368" y="400"/>
                  </a:lnTo>
                  <a:lnTo>
                    <a:pt x="368" y="398"/>
                  </a:lnTo>
                  <a:lnTo>
                    <a:pt x="368" y="396"/>
                  </a:lnTo>
                  <a:lnTo>
                    <a:pt x="368" y="398"/>
                  </a:lnTo>
                  <a:lnTo>
                    <a:pt x="366" y="398"/>
                  </a:lnTo>
                  <a:lnTo>
                    <a:pt x="366" y="400"/>
                  </a:lnTo>
                  <a:lnTo>
                    <a:pt x="366" y="402"/>
                  </a:lnTo>
                  <a:lnTo>
                    <a:pt x="364" y="402"/>
                  </a:lnTo>
                  <a:lnTo>
                    <a:pt x="364" y="404"/>
                  </a:lnTo>
                  <a:lnTo>
                    <a:pt x="364" y="406"/>
                  </a:lnTo>
                  <a:lnTo>
                    <a:pt x="364" y="407"/>
                  </a:lnTo>
                  <a:lnTo>
                    <a:pt x="364" y="409"/>
                  </a:lnTo>
                  <a:lnTo>
                    <a:pt x="362" y="409"/>
                  </a:lnTo>
                  <a:lnTo>
                    <a:pt x="364" y="409"/>
                  </a:lnTo>
                  <a:lnTo>
                    <a:pt x="362" y="409"/>
                  </a:lnTo>
                  <a:lnTo>
                    <a:pt x="364" y="409"/>
                  </a:lnTo>
                  <a:lnTo>
                    <a:pt x="362" y="409"/>
                  </a:lnTo>
                  <a:lnTo>
                    <a:pt x="364" y="409"/>
                  </a:lnTo>
                  <a:lnTo>
                    <a:pt x="362" y="409"/>
                  </a:lnTo>
                  <a:lnTo>
                    <a:pt x="362" y="411"/>
                  </a:lnTo>
                  <a:lnTo>
                    <a:pt x="364" y="411"/>
                  </a:lnTo>
                  <a:lnTo>
                    <a:pt x="362" y="411"/>
                  </a:lnTo>
                  <a:lnTo>
                    <a:pt x="362" y="413"/>
                  </a:lnTo>
                  <a:lnTo>
                    <a:pt x="362" y="415"/>
                  </a:lnTo>
                  <a:lnTo>
                    <a:pt x="361" y="415"/>
                  </a:lnTo>
                  <a:lnTo>
                    <a:pt x="361" y="413"/>
                  </a:lnTo>
                  <a:lnTo>
                    <a:pt x="359" y="413"/>
                  </a:lnTo>
                  <a:lnTo>
                    <a:pt x="357" y="413"/>
                  </a:lnTo>
                  <a:lnTo>
                    <a:pt x="357" y="415"/>
                  </a:lnTo>
                  <a:lnTo>
                    <a:pt x="355" y="415"/>
                  </a:lnTo>
                  <a:lnTo>
                    <a:pt x="355" y="417"/>
                  </a:lnTo>
                  <a:lnTo>
                    <a:pt x="355" y="415"/>
                  </a:lnTo>
                  <a:lnTo>
                    <a:pt x="355" y="417"/>
                  </a:lnTo>
                  <a:lnTo>
                    <a:pt x="353" y="417"/>
                  </a:lnTo>
                  <a:lnTo>
                    <a:pt x="353" y="415"/>
                  </a:lnTo>
                  <a:lnTo>
                    <a:pt x="351" y="415"/>
                  </a:lnTo>
                  <a:lnTo>
                    <a:pt x="351" y="417"/>
                  </a:lnTo>
                  <a:lnTo>
                    <a:pt x="349" y="417"/>
                  </a:lnTo>
                  <a:lnTo>
                    <a:pt x="349" y="415"/>
                  </a:lnTo>
                  <a:lnTo>
                    <a:pt x="351" y="415"/>
                  </a:lnTo>
                  <a:lnTo>
                    <a:pt x="351" y="413"/>
                  </a:lnTo>
                  <a:lnTo>
                    <a:pt x="351" y="411"/>
                  </a:lnTo>
                  <a:lnTo>
                    <a:pt x="353" y="411"/>
                  </a:lnTo>
                  <a:lnTo>
                    <a:pt x="353" y="409"/>
                  </a:lnTo>
                  <a:lnTo>
                    <a:pt x="351" y="409"/>
                  </a:lnTo>
                  <a:lnTo>
                    <a:pt x="353" y="409"/>
                  </a:lnTo>
                  <a:lnTo>
                    <a:pt x="351" y="409"/>
                  </a:lnTo>
                  <a:lnTo>
                    <a:pt x="353" y="409"/>
                  </a:lnTo>
                  <a:lnTo>
                    <a:pt x="353" y="411"/>
                  </a:lnTo>
                  <a:lnTo>
                    <a:pt x="355" y="411"/>
                  </a:lnTo>
                  <a:lnTo>
                    <a:pt x="355" y="409"/>
                  </a:lnTo>
                  <a:lnTo>
                    <a:pt x="357" y="409"/>
                  </a:lnTo>
                  <a:lnTo>
                    <a:pt x="357" y="411"/>
                  </a:lnTo>
                  <a:lnTo>
                    <a:pt x="359" y="411"/>
                  </a:lnTo>
                  <a:lnTo>
                    <a:pt x="359" y="409"/>
                  </a:lnTo>
                  <a:lnTo>
                    <a:pt x="359" y="407"/>
                  </a:lnTo>
                  <a:lnTo>
                    <a:pt x="359" y="406"/>
                  </a:lnTo>
                  <a:lnTo>
                    <a:pt x="359" y="404"/>
                  </a:lnTo>
                  <a:lnTo>
                    <a:pt x="359" y="402"/>
                  </a:lnTo>
                  <a:lnTo>
                    <a:pt x="359" y="400"/>
                  </a:lnTo>
                  <a:lnTo>
                    <a:pt x="359" y="398"/>
                  </a:lnTo>
                  <a:lnTo>
                    <a:pt x="359" y="396"/>
                  </a:lnTo>
                  <a:lnTo>
                    <a:pt x="361" y="396"/>
                  </a:lnTo>
                  <a:lnTo>
                    <a:pt x="361" y="394"/>
                  </a:lnTo>
                  <a:lnTo>
                    <a:pt x="359" y="394"/>
                  </a:lnTo>
                  <a:lnTo>
                    <a:pt x="361" y="394"/>
                  </a:lnTo>
                  <a:lnTo>
                    <a:pt x="359" y="394"/>
                  </a:lnTo>
                  <a:lnTo>
                    <a:pt x="361" y="394"/>
                  </a:lnTo>
                  <a:lnTo>
                    <a:pt x="361" y="392"/>
                  </a:lnTo>
                  <a:lnTo>
                    <a:pt x="361" y="390"/>
                  </a:lnTo>
                  <a:lnTo>
                    <a:pt x="362" y="390"/>
                  </a:lnTo>
                  <a:lnTo>
                    <a:pt x="362" y="388"/>
                  </a:lnTo>
                  <a:lnTo>
                    <a:pt x="364" y="388"/>
                  </a:lnTo>
                  <a:lnTo>
                    <a:pt x="364" y="386"/>
                  </a:lnTo>
                  <a:lnTo>
                    <a:pt x="364" y="388"/>
                  </a:lnTo>
                  <a:lnTo>
                    <a:pt x="364" y="386"/>
                  </a:lnTo>
                  <a:lnTo>
                    <a:pt x="364" y="388"/>
                  </a:lnTo>
                  <a:lnTo>
                    <a:pt x="364" y="386"/>
                  </a:lnTo>
                  <a:lnTo>
                    <a:pt x="366" y="386"/>
                  </a:lnTo>
                  <a:lnTo>
                    <a:pt x="364" y="386"/>
                  </a:lnTo>
                  <a:lnTo>
                    <a:pt x="366" y="386"/>
                  </a:lnTo>
                  <a:lnTo>
                    <a:pt x="366" y="384"/>
                  </a:lnTo>
                  <a:lnTo>
                    <a:pt x="364" y="384"/>
                  </a:lnTo>
                  <a:lnTo>
                    <a:pt x="366" y="384"/>
                  </a:lnTo>
                  <a:lnTo>
                    <a:pt x="364" y="384"/>
                  </a:lnTo>
                  <a:lnTo>
                    <a:pt x="364" y="382"/>
                  </a:lnTo>
                  <a:lnTo>
                    <a:pt x="364" y="381"/>
                  </a:lnTo>
                  <a:lnTo>
                    <a:pt x="364" y="382"/>
                  </a:lnTo>
                  <a:lnTo>
                    <a:pt x="364" y="381"/>
                  </a:lnTo>
                  <a:lnTo>
                    <a:pt x="364" y="379"/>
                  </a:lnTo>
                  <a:lnTo>
                    <a:pt x="364" y="381"/>
                  </a:lnTo>
                  <a:lnTo>
                    <a:pt x="366" y="381"/>
                  </a:lnTo>
                  <a:lnTo>
                    <a:pt x="364" y="381"/>
                  </a:lnTo>
                  <a:lnTo>
                    <a:pt x="364" y="379"/>
                  </a:lnTo>
                  <a:lnTo>
                    <a:pt x="364" y="381"/>
                  </a:lnTo>
                  <a:lnTo>
                    <a:pt x="364" y="379"/>
                  </a:lnTo>
                  <a:lnTo>
                    <a:pt x="366" y="379"/>
                  </a:lnTo>
                  <a:lnTo>
                    <a:pt x="366" y="381"/>
                  </a:lnTo>
                  <a:lnTo>
                    <a:pt x="366" y="379"/>
                  </a:lnTo>
                  <a:lnTo>
                    <a:pt x="366" y="381"/>
                  </a:lnTo>
                  <a:lnTo>
                    <a:pt x="366" y="379"/>
                  </a:lnTo>
                  <a:lnTo>
                    <a:pt x="366" y="381"/>
                  </a:lnTo>
                  <a:lnTo>
                    <a:pt x="366" y="379"/>
                  </a:lnTo>
                  <a:lnTo>
                    <a:pt x="366" y="381"/>
                  </a:lnTo>
                  <a:lnTo>
                    <a:pt x="366" y="379"/>
                  </a:lnTo>
                  <a:lnTo>
                    <a:pt x="366" y="381"/>
                  </a:lnTo>
                  <a:lnTo>
                    <a:pt x="366" y="379"/>
                  </a:lnTo>
                  <a:lnTo>
                    <a:pt x="366" y="377"/>
                  </a:lnTo>
                  <a:lnTo>
                    <a:pt x="366" y="375"/>
                  </a:lnTo>
                  <a:lnTo>
                    <a:pt x="364" y="375"/>
                  </a:lnTo>
                  <a:lnTo>
                    <a:pt x="364" y="373"/>
                  </a:lnTo>
                  <a:lnTo>
                    <a:pt x="366" y="373"/>
                  </a:lnTo>
                  <a:lnTo>
                    <a:pt x="364" y="373"/>
                  </a:lnTo>
                  <a:lnTo>
                    <a:pt x="364" y="371"/>
                  </a:lnTo>
                  <a:lnTo>
                    <a:pt x="364" y="369"/>
                  </a:lnTo>
                  <a:lnTo>
                    <a:pt x="362" y="369"/>
                  </a:lnTo>
                  <a:lnTo>
                    <a:pt x="362" y="367"/>
                  </a:lnTo>
                  <a:lnTo>
                    <a:pt x="362" y="369"/>
                  </a:lnTo>
                  <a:lnTo>
                    <a:pt x="362" y="371"/>
                  </a:lnTo>
                  <a:lnTo>
                    <a:pt x="362" y="373"/>
                  </a:lnTo>
                  <a:lnTo>
                    <a:pt x="364" y="373"/>
                  </a:lnTo>
                  <a:lnTo>
                    <a:pt x="364" y="375"/>
                  </a:lnTo>
                  <a:lnTo>
                    <a:pt x="362" y="375"/>
                  </a:lnTo>
                  <a:lnTo>
                    <a:pt x="364" y="375"/>
                  </a:lnTo>
                  <a:lnTo>
                    <a:pt x="362" y="375"/>
                  </a:lnTo>
                  <a:lnTo>
                    <a:pt x="364" y="375"/>
                  </a:lnTo>
                  <a:lnTo>
                    <a:pt x="362" y="375"/>
                  </a:lnTo>
                  <a:lnTo>
                    <a:pt x="364" y="375"/>
                  </a:lnTo>
                  <a:lnTo>
                    <a:pt x="362" y="375"/>
                  </a:lnTo>
                  <a:lnTo>
                    <a:pt x="362" y="377"/>
                  </a:lnTo>
                  <a:lnTo>
                    <a:pt x="361" y="377"/>
                  </a:lnTo>
                  <a:lnTo>
                    <a:pt x="361" y="379"/>
                  </a:lnTo>
                  <a:lnTo>
                    <a:pt x="361" y="377"/>
                  </a:lnTo>
                  <a:lnTo>
                    <a:pt x="361" y="379"/>
                  </a:lnTo>
                  <a:lnTo>
                    <a:pt x="359" y="379"/>
                  </a:lnTo>
                  <a:lnTo>
                    <a:pt x="361" y="379"/>
                  </a:lnTo>
                  <a:lnTo>
                    <a:pt x="359" y="379"/>
                  </a:lnTo>
                  <a:lnTo>
                    <a:pt x="359" y="381"/>
                  </a:lnTo>
                  <a:lnTo>
                    <a:pt x="357" y="381"/>
                  </a:lnTo>
                  <a:lnTo>
                    <a:pt x="357" y="382"/>
                  </a:lnTo>
                  <a:lnTo>
                    <a:pt x="357" y="384"/>
                  </a:lnTo>
                  <a:lnTo>
                    <a:pt x="357" y="386"/>
                  </a:lnTo>
                  <a:lnTo>
                    <a:pt x="355" y="386"/>
                  </a:lnTo>
                  <a:lnTo>
                    <a:pt x="355" y="388"/>
                  </a:lnTo>
                  <a:lnTo>
                    <a:pt x="353" y="388"/>
                  </a:lnTo>
                  <a:lnTo>
                    <a:pt x="353" y="390"/>
                  </a:lnTo>
                  <a:lnTo>
                    <a:pt x="351" y="390"/>
                  </a:lnTo>
                  <a:lnTo>
                    <a:pt x="351" y="388"/>
                  </a:lnTo>
                  <a:lnTo>
                    <a:pt x="351" y="390"/>
                  </a:lnTo>
                  <a:lnTo>
                    <a:pt x="349" y="390"/>
                  </a:lnTo>
                  <a:lnTo>
                    <a:pt x="351" y="390"/>
                  </a:lnTo>
                  <a:lnTo>
                    <a:pt x="351" y="388"/>
                  </a:lnTo>
                  <a:lnTo>
                    <a:pt x="351" y="390"/>
                  </a:lnTo>
                  <a:lnTo>
                    <a:pt x="349" y="390"/>
                  </a:lnTo>
                  <a:lnTo>
                    <a:pt x="349" y="392"/>
                  </a:lnTo>
                  <a:lnTo>
                    <a:pt x="347" y="392"/>
                  </a:lnTo>
                  <a:lnTo>
                    <a:pt x="345" y="392"/>
                  </a:lnTo>
                  <a:lnTo>
                    <a:pt x="345" y="394"/>
                  </a:lnTo>
                  <a:lnTo>
                    <a:pt x="343" y="394"/>
                  </a:lnTo>
                  <a:lnTo>
                    <a:pt x="343" y="396"/>
                  </a:lnTo>
                  <a:lnTo>
                    <a:pt x="341" y="396"/>
                  </a:lnTo>
                  <a:lnTo>
                    <a:pt x="343" y="396"/>
                  </a:lnTo>
                  <a:lnTo>
                    <a:pt x="341" y="396"/>
                  </a:lnTo>
                  <a:lnTo>
                    <a:pt x="343" y="396"/>
                  </a:lnTo>
                  <a:lnTo>
                    <a:pt x="341" y="396"/>
                  </a:lnTo>
                  <a:lnTo>
                    <a:pt x="343" y="396"/>
                  </a:lnTo>
                  <a:lnTo>
                    <a:pt x="341" y="396"/>
                  </a:lnTo>
                  <a:lnTo>
                    <a:pt x="341" y="398"/>
                  </a:lnTo>
                  <a:lnTo>
                    <a:pt x="341" y="400"/>
                  </a:lnTo>
                  <a:lnTo>
                    <a:pt x="339" y="400"/>
                  </a:lnTo>
                  <a:lnTo>
                    <a:pt x="339" y="402"/>
                  </a:lnTo>
                  <a:lnTo>
                    <a:pt x="339" y="404"/>
                  </a:lnTo>
                  <a:lnTo>
                    <a:pt x="337" y="404"/>
                  </a:lnTo>
                  <a:lnTo>
                    <a:pt x="339" y="404"/>
                  </a:lnTo>
                  <a:lnTo>
                    <a:pt x="337" y="404"/>
                  </a:lnTo>
                  <a:lnTo>
                    <a:pt x="336" y="404"/>
                  </a:lnTo>
                  <a:lnTo>
                    <a:pt x="336" y="406"/>
                  </a:lnTo>
                  <a:lnTo>
                    <a:pt x="336" y="407"/>
                  </a:lnTo>
                  <a:lnTo>
                    <a:pt x="334" y="407"/>
                  </a:lnTo>
                  <a:lnTo>
                    <a:pt x="334" y="409"/>
                  </a:lnTo>
                  <a:lnTo>
                    <a:pt x="336" y="409"/>
                  </a:lnTo>
                  <a:lnTo>
                    <a:pt x="336" y="407"/>
                  </a:lnTo>
                  <a:lnTo>
                    <a:pt x="337" y="407"/>
                  </a:lnTo>
                  <a:lnTo>
                    <a:pt x="336" y="407"/>
                  </a:lnTo>
                  <a:lnTo>
                    <a:pt x="337" y="407"/>
                  </a:lnTo>
                  <a:lnTo>
                    <a:pt x="336" y="407"/>
                  </a:lnTo>
                  <a:lnTo>
                    <a:pt x="337" y="407"/>
                  </a:lnTo>
                  <a:lnTo>
                    <a:pt x="336" y="407"/>
                  </a:lnTo>
                  <a:lnTo>
                    <a:pt x="337" y="407"/>
                  </a:lnTo>
                  <a:lnTo>
                    <a:pt x="337" y="409"/>
                  </a:lnTo>
                  <a:lnTo>
                    <a:pt x="336" y="409"/>
                  </a:lnTo>
                  <a:lnTo>
                    <a:pt x="337" y="409"/>
                  </a:lnTo>
                  <a:lnTo>
                    <a:pt x="336" y="409"/>
                  </a:lnTo>
                  <a:lnTo>
                    <a:pt x="337" y="409"/>
                  </a:lnTo>
                  <a:lnTo>
                    <a:pt x="336" y="409"/>
                  </a:lnTo>
                  <a:lnTo>
                    <a:pt x="337" y="409"/>
                  </a:lnTo>
                  <a:lnTo>
                    <a:pt x="337" y="411"/>
                  </a:lnTo>
                  <a:lnTo>
                    <a:pt x="336" y="411"/>
                  </a:lnTo>
                  <a:lnTo>
                    <a:pt x="337" y="411"/>
                  </a:lnTo>
                  <a:lnTo>
                    <a:pt x="336" y="411"/>
                  </a:lnTo>
                  <a:lnTo>
                    <a:pt x="336" y="409"/>
                  </a:lnTo>
                  <a:lnTo>
                    <a:pt x="334" y="409"/>
                  </a:lnTo>
                  <a:lnTo>
                    <a:pt x="334" y="411"/>
                  </a:lnTo>
                  <a:lnTo>
                    <a:pt x="334" y="409"/>
                  </a:lnTo>
                  <a:lnTo>
                    <a:pt x="332" y="409"/>
                  </a:lnTo>
                  <a:lnTo>
                    <a:pt x="332" y="411"/>
                  </a:lnTo>
                  <a:lnTo>
                    <a:pt x="332" y="409"/>
                  </a:lnTo>
                  <a:lnTo>
                    <a:pt x="332" y="411"/>
                  </a:lnTo>
                  <a:lnTo>
                    <a:pt x="332" y="409"/>
                  </a:lnTo>
                  <a:lnTo>
                    <a:pt x="330" y="409"/>
                  </a:lnTo>
                  <a:lnTo>
                    <a:pt x="330" y="407"/>
                  </a:lnTo>
                  <a:lnTo>
                    <a:pt x="328" y="407"/>
                  </a:lnTo>
                  <a:lnTo>
                    <a:pt x="328" y="406"/>
                  </a:lnTo>
                  <a:lnTo>
                    <a:pt x="326" y="406"/>
                  </a:lnTo>
                  <a:lnTo>
                    <a:pt x="326" y="404"/>
                  </a:lnTo>
                  <a:lnTo>
                    <a:pt x="324" y="404"/>
                  </a:lnTo>
                  <a:lnTo>
                    <a:pt x="324" y="406"/>
                  </a:lnTo>
                  <a:lnTo>
                    <a:pt x="324" y="404"/>
                  </a:lnTo>
                  <a:lnTo>
                    <a:pt x="324" y="402"/>
                  </a:lnTo>
                  <a:lnTo>
                    <a:pt x="326" y="402"/>
                  </a:lnTo>
                  <a:lnTo>
                    <a:pt x="326" y="404"/>
                  </a:lnTo>
                  <a:lnTo>
                    <a:pt x="328" y="404"/>
                  </a:lnTo>
                  <a:lnTo>
                    <a:pt x="326" y="404"/>
                  </a:lnTo>
                  <a:lnTo>
                    <a:pt x="328" y="404"/>
                  </a:lnTo>
                  <a:lnTo>
                    <a:pt x="326" y="404"/>
                  </a:lnTo>
                  <a:lnTo>
                    <a:pt x="328" y="404"/>
                  </a:lnTo>
                  <a:lnTo>
                    <a:pt x="328" y="406"/>
                  </a:lnTo>
                  <a:lnTo>
                    <a:pt x="330" y="406"/>
                  </a:lnTo>
                  <a:lnTo>
                    <a:pt x="328" y="406"/>
                  </a:lnTo>
                  <a:lnTo>
                    <a:pt x="330" y="406"/>
                  </a:lnTo>
                  <a:lnTo>
                    <a:pt x="330" y="404"/>
                  </a:lnTo>
                  <a:lnTo>
                    <a:pt x="328" y="404"/>
                  </a:lnTo>
                  <a:lnTo>
                    <a:pt x="328" y="406"/>
                  </a:lnTo>
                  <a:lnTo>
                    <a:pt x="328" y="404"/>
                  </a:lnTo>
                  <a:lnTo>
                    <a:pt x="328" y="402"/>
                  </a:lnTo>
                  <a:lnTo>
                    <a:pt x="328" y="400"/>
                  </a:lnTo>
                  <a:lnTo>
                    <a:pt x="328" y="402"/>
                  </a:lnTo>
                  <a:lnTo>
                    <a:pt x="328" y="400"/>
                  </a:lnTo>
                  <a:lnTo>
                    <a:pt x="328" y="398"/>
                  </a:lnTo>
                  <a:lnTo>
                    <a:pt x="326" y="398"/>
                  </a:lnTo>
                  <a:lnTo>
                    <a:pt x="326" y="396"/>
                  </a:lnTo>
                  <a:lnTo>
                    <a:pt x="326" y="394"/>
                  </a:lnTo>
                  <a:lnTo>
                    <a:pt x="326" y="392"/>
                  </a:lnTo>
                  <a:lnTo>
                    <a:pt x="324" y="392"/>
                  </a:lnTo>
                  <a:lnTo>
                    <a:pt x="324" y="390"/>
                  </a:lnTo>
                  <a:lnTo>
                    <a:pt x="322" y="390"/>
                  </a:lnTo>
                  <a:lnTo>
                    <a:pt x="322" y="388"/>
                  </a:lnTo>
                  <a:lnTo>
                    <a:pt x="320" y="388"/>
                  </a:lnTo>
                  <a:lnTo>
                    <a:pt x="320" y="386"/>
                  </a:lnTo>
                  <a:lnTo>
                    <a:pt x="320" y="384"/>
                  </a:lnTo>
                  <a:lnTo>
                    <a:pt x="320" y="382"/>
                  </a:lnTo>
                  <a:lnTo>
                    <a:pt x="318" y="382"/>
                  </a:lnTo>
                  <a:lnTo>
                    <a:pt x="318" y="381"/>
                  </a:lnTo>
                  <a:lnTo>
                    <a:pt x="318" y="379"/>
                  </a:lnTo>
                  <a:lnTo>
                    <a:pt x="316" y="379"/>
                  </a:lnTo>
                  <a:lnTo>
                    <a:pt x="316" y="381"/>
                  </a:lnTo>
                  <a:lnTo>
                    <a:pt x="318" y="381"/>
                  </a:lnTo>
                  <a:lnTo>
                    <a:pt x="316" y="381"/>
                  </a:lnTo>
                  <a:lnTo>
                    <a:pt x="314" y="381"/>
                  </a:lnTo>
                  <a:lnTo>
                    <a:pt x="314" y="379"/>
                  </a:lnTo>
                  <a:lnTo>
                    <a:pt x="314" y="381"/>
                  </a:lnTo>
                  <a:lnTo>
                    <a:pt x="313" y="381"/>
                  </a:lnTo>
                  <a:lnTo>
                    <a:pt x="313" y="379"/>
                  </a:lnTo>
                  <a:lnTo>
                    <a:pt x="313" y="377"/>
                  </a:lnTo>
                  <a:lnTo>
                    <a:pt x="313" y="379"/>
                  </a:lnTo>
                  <a:lnTo>
                    <a:pt x="313" y="377"/>
                  </a:lnTo>
                  <a:lnTo>
                    <a:pt x="313" y="379"/>
                  </a:lnTo>
                  <a:lnTo>
                    <a:pt x="313" y="381"/>
                  </a:lnTo>
                  <a:lnTo>
                    <a:pt x="313" y="379"/>
                  </a:lnTo>
                  <a:lnTo>
                    <a:pt x="311" y="379"/>
                  </a:lnTo>
                  <a:lnTo>
                    <a:pt x="311" y="377"/>
                  </a:lnTo>
                  <a:lnTo>
                    <a:pt x="311" y="375"/>
                  </a:lnTo>
                  <a:lnTo>
                    <a:pt x="309" y="375"/>
                  </a:lnTo>
                  <a:lnTo>
                    <a:pt x="311" y="375"/>
                  </a:lnTo>
                  <a:lnTo>
                    <a:pt x="311" y="373"/>
                  </a:lnTo>
                  <a:lnTo>
                    <a:pt x="309" y="373"/>
                  </a:lnTo>
                  <a:lnTo>
                    <a:pt x="309" y="371"/>
                  </a:lnTo>
                  <a:lnTo>
                    <a:pt x="309" y="373"/>
                  </a:lnTo>
                  <a:lnTo>
                    <a:pt x="309" y="371"/>
                  </a:lnTo>
                  <a:lnTo>
                    <a:pt x="311" y="371"/>
                  </a:lnTo>
                  <a:lnTo>
                    <a:pt x="309" y="371"/>
                  </a:lnTo>
                  <a:lnTo>
                    <a:pt x="311" y="371"/>
                  </a:lnTo>
                  <a:lnTo>
                    <a:pt x="311" y="373"/>
                  </a:lnTo>
                  <a:lnTo>
                    <a:pt x="313" y="373"/>
                  </a:lnTo>
                  <a:lnTo>
                    <a:pt x="313" y="371"/>
                  </a:lnTo>
                  <a:lnTo>
                    <a:pt x="313" y="369"/>
                  </a:lnTo>
                  <a:lnTo>
                    <a:pt x="311" y="369"/>
                  </a:lnTo>
                  <a:lnTo>
                    <a:pt x="311" y="367"/>
                  </a:lnTo>
                  <a:lnTo>
                    <a:pt x="309" y="367"/>
                  </a:lnTo>
                  <a:lnTo>
                    <a:pt x="307" y="367"/>
                  </a:lnTo>
                  <a:lnTo>
                    <a:pt x="309" y="367"/>
                  </a:lnTo>
                  <a:lnTo>
                    <a:pt x="307" y="367"/>
                  </a:lnTo>
                  <a:lnTo>
                    <a:pt x="307" y="369"/>
                  </a:lnTo>
                  <a:lnTo>
                    <a:pt x="305" y="369"/>
                  </a:lnTo>
                  <a:lnTo>
                    <a:pt x="305" y="367"/>
                  </a:lnTo>
                  <a:lnTo>
                    <a:pt x="307" y="367"/>
                  </a:lnTo>
                  <a:lnTo>
                    <a:pt x="305" y="367"/>
                  </a:lnTo>
                  <a:lnTo>
                    <a:pt x="307" y="367"/>
                  </a:lnTo>
                  <a:lnTo>
                    <a:pt x="305" y="367"/>
                  </a:lnTo>
                  <a:lnTo>
                    <a:pt x="307" y="367"/>
                  </a:lnTo>
                  <a:lnTo>
                    <a:pt x="307" y="365"/>
                  </a:lnTo>
                  <a:lnTo>
                    <a:pt x="307" y="363"/>
                  </a:lnTo>
                  <a:lnTo>
                    <a:pt x="305" y="363"/>
                  </a:lnTo>
                  <a:lnTo>
                    <a:pt x="303" y="363"/>
                  </a:lnTo>
                  <a:lnTo>
                    <a:pt x="303" y="361"/>
                  </a:lnTo>
                  <a:lnTo>
                    <a:pt x="301" y="361"/>
                  </a:lnTo>
                  <a:lnTo>
                    <a:pt x="299" y="361"/>
                  </a:lnTo>
                  <a:lnTo>
                    <a:pt x="301" y="361"/>
                  </a:lnTo>
                  <a:lnTo>
                    <a:pt x="301" y="363"/>
                  </a:lnTo>
                  <a:lnTo>
                    <a:pt x="299" y="363"/>
                  </a:lnTo>
                  <a:lnTo>
                    <a:pt x="297" y="363"/>
                  </a:lnTo>
                  <a:lnTo>
                    <a:pt x="295" y="363"/>
                  </a:lnTo>
                  <a:lnTo>
                    <a:pt x="295" y="361"/>
                  </a:lnTo>
                  <a:lnTo>
                    <a:pt x="295" y="363"/>
                  </a:lnTo>
                  <a:lnTo>
                    <a:pt x="295" y="361"/>
                  </a:lnTo>
                  <a:lnTo>
                    <a:pt x="293" y="361"/>
                  </a:lnTo>
                  <a:lnTo>
                    <a:pt x="293" y="359"/>
                  </a:lnTo>
                  <a:lnTo>
                    <a:pt x="291" y="359"/>
                  </a:lnTo>
                  <a:lnTo>
                    <a:pt x="289" y="359"/>
                  </a:lnTo>
                  <a:lnTo>
                    <a:pt x="289" y="358"/>
                  </a:lnTo>
                  <a:lnTo>
                    <a:pt x="289" y="359"/>
                  </a:lnTo>
                  <a:lnTo>
                    <a:pt x="289" y="358"/>
                  </a:lnTo>
                  <a:lnTo>
                    <a:pt x="289" y="359"/>
                  </a:lnTo>
                  <a:lnTo>
                    <a:pt x="288" y="359"/>
                  </a:lnTo>
                  <a:lnTo>
                    <a:pt x="288" y="358"/>
                  </a:lnTo>
                  <a:lnTo>
                    <a:pt x="286" y="358"/>
                  </a:lnTo>
                  <a:lnTo>
                    <a:pt x="286" y="359"/>
                  </a:lnTo>
                  <a:lnTo>
                    <a:pt x="284" y="359"/>
                  </a:lnTo>
                  <a:lnTo>
                    <a:pt x="282" y="359"/>
                  </a:lnTo>
                  <a:lnTo>
                    <a:pt x="280" y="359"/>
                  </a:lnTo>
                  <a:lnTo>
                    <a:pt x="280" y="358"/>
                  </a:lnTo>
                  <a:lnTo>
                    <a:pt x="278" y="358"/>
                  </a:lnTo>
                  <a:lnTo>
                    <a:pt x="278" y="356"/>
                  </a:lnTo>
                  <a:lnTo>
                    <a:pt x="276" y="356"/>
                  </a:lnTo>
                  <a:lnTo>
                    <a:pt x="276" y="354"/>
                  </a:lnTo>
                  <a:lnTo>
                    <a:pt x="274" y="354"/>
                  </a:lnTo>
                  <a:lnTo>
                    <a:pt x="272" y="354"/>
                  </a:lnTo>
                  <a:lnTo>
                    <a:pt x="272" y="352"/>
                  </a:lnTo>
                  <a:lnTo>
                    <a:pt x="270" y="352"/>
                  </a:lnTo>
                  <a:lnTo>
                    <a:pt x="268" y="352"/>
                  </a:lnTo>
                  <a:lnTo>
                    <a:pt x="268" y="350"/>
                  </a:lnTo>
                  <a:lnTo>
                    <a:pt x="266" y="350"/>
                  </a:lnTo>
                  <a:lnTo>
                    <a:pt x="265" y="350"/>
                  </a:lnTo>
                  <a:lnTo>
                    <a:pt x="265" y="352"/>
                  </a:lnTo>
                  <a:lnTo>
                    <a:pt x="263" y="352"/>
                  </a:lnTo>
                  <a:lnTo>
                    <a:pt x="261" y="352"/>
                  </a:lnTo>
                  <a:lnTo>
                    <a:pt x="259" y="352"/>
                  </a:lnTo>
                  <a:lnTo>
                    <a:pt x="257" y="352"/>
                  </a:lnTo>
                  <a:lnTo>
                    <a:pt x="255" y="352"/>
                  </a:lnTo>
                  <a:lnTo>
                    <a:pt x="253" y="352"/>
                  </a:lnTo>
                  <a:lnTo>
                    <a:pt x="251" y="352"/>
                  </a:lnTo>
                  <a:lnTo>
                    <a:pt x="249" y="352"/>
                  </a:lnTo>
                  <a:lnTo>
                    <a:pt x="247" y="352"/>
                  </a:lnTo>
                  <a:lnTo>
                    <a:pt x="245" y="352"/>
                  </a:lnTo>
                  <a:lnTo>
                    <a:pt x="245" y="354"/>
                  </a:lnTo>
                  <a:lnTo>
                    <a:pt x="243" y="354"/>
                  </a:lnTo>
                  <a:lnTo>
                    <a:pt x="242" y="354"/>
                  </a:lnTo>
                  <a:lnTo>
                    <a:pt x="240" y="354"/>
                  </a:lnTo>
                  <a:lnTo>
                    <a:pt x="238" y="354"/>
                  </a:lnTo>
                  <a:lnTo>
                    <a:pt x="236" y="354"/>
                  </a:lnTo>
                  <a:lnTo>
                    <a:pt x="234" y="354"/>
                  </a:lnTo>
                  <a:lnTo>
                    <a:pt x="232" y="356"/>
                  </a:lnTo>
                  <a:lnTo>
                    <a:pt x="230" y="356"/>
                  </a:lnTo>
                  <a:lnTo>
                    <a:pt x="230" y="358"/>
                  </a:lnTo>
                  <a:lnTo>
                    <a:pt x="228" y="358"/>
                  </a:lnTo>
                  <a:lnTo>
                    <a:pt x="226" y="358"/>
                  </a:lnTo>
                  <a:lnTo>
                    <a:pt x="226" y="359"/>
                  </a:lnTo>
                  <a:lnTo>
                    <a:pt x="224" y="359"/>
                  </a:lnTo>
                  <a:lnTo>
                    <a:pt x="222" y="359"/>
                  </a:lnTo>
                  <a:lnTo>
                    <a:pt x="220" y="359"/>
                  </a:lnTo>
                  <a:lnTo>
                    <a:pt x="220" y="361"/>
                  </a:lnTo>
                  <a:lnTo>
                    <a:pt x="218" y="361"/>
                  </a:lnTo>
                  <a:lnTo>
                    <a:pt x="217" y="361"/>
                  </a:lnTo>
                  <a:lnTo>
                    <a:pt x="215" y="361"/>
                  </a:lnTo>
                  <a:lnTo>
                    <a:pt x="215" y="363"/>
                  </a:lnTo>
                  <a:lnTo>
                    <a:pt x="213" y="363"/>
                  </a:lnTo>
                  <a:lnTo>
                    <a:pt x="211" y="363"/>
                  </a:lnTo>
                  <a:lnTo>
                    <a:pt x="209" y="363"/>
                  </a:lnTo>
                  <a:lnTo>
                    <a:pt x="207" y="363"/>
                  </a:lnTo>
                  <a:lnTo>
                    <a:pt x="207" y="365"/>
                  </a:lnTo>
                  <a:lnTo>
                    <a:pt x="207" y="363"/>
                  </a:lnTo>
                  <a:lnTo>
                    <a:pt x="207" y="365"/>
                  </a:lnTo>
                  <a:lnTo>
                    <a:pt x="205" y="365"/>
                  </a:lnTo>
                  <a:lnTo>
                    <a:pt x="203" y="365"/>
                  </a:lnTo>
                  <a:lnTo>
                    <a:pt x="201" y="365"/>
                  </a:lnTo>
                  <a:lnTo>
                    <a:pt x="199" y="365"/>
                  </a:lnTo>
                  <a:lnTo>
                    <a:pt x="197" y="365"/>
                  </a:lnTo>
                  <a:lnTo>
                    <a:pt x="197" y="363"/>
                  </a:lnTo>
                  <a:lnTo>
                    <a:pt x="195" y="363"/>
                  </a:lnTo>
                  <a:lnTo>
                    <a:pt x="194" y="363"/>
                  </a:lnTo>
                  <a:lnTo>
                    <a:pt x="192" y="363"/>
                  </a:lnTo>
                  <a:lnTo>
                    <a:pt x="190" y="363"/>
                  </a:lnTo>
                  <a:lnTo>
                    <a:pt x="190" y="365"/>
                  </a:lnTo>
                  <a:lnTo>
                    <a:pt x="188" y="365"/>
                  </a:lnTo>
                  <a:lnTo>
                    <a:pt x="188" y="367"/>
                  </a:lnTo>
                  <a:lnTo>
                    <a:pt x="186" y="367"/>
                  </a:lnTo>
                  <a:lnTo>
                    <a:pt x="184" y="369"/>
                  </a:lnTo>
                  <a:lnTo>
                    <a:pt x="182" y="369"/>
                  </a:lnTo>
                  <a:lnTo>
                    <a:pt x="180" y="369"/>
                  </a:lnTo>
                  <a:lnTo>
                    <a:pt x="180" y="371"/>
                  </a:lnTo>
                  <a:lnTo>
                    <a:pt x="178" y="371"/>
                  </a:lnTo>
                  <a:lnTo>
                    <a:pt x="176" y="371"/>
                  </a:lnTo>
                  <a:lnTo>
                    <a:pt x="176" y="373"/>
                  </a:lnTo>
                  <a:lnTo>
                    <a:pt x="174" y="373"/>
                  </a:lnTo>
                  <a:lnTo>
                    <a:pt x="174" y="375"/>
                  </a:lnTo>
                  <a:lnTo>
                    <a:pt x="172" y="375"/>
                  </a:lnTo>
                  <a:lnTo>
                    <a:pt x="170" y="375"/>
                  </a:lnTo>
                  <a:lnTo>
                    <a:pt x="169" y="375"/>
                  </a:lnTo>
                  <a:lnTo>
                    <a:pt x="167" y="375"/>
                  </a:lnTo>
                  <a:lnTo>
                    <a:pt x="167" y="377"/>
                  </a:lnTo>
                  <a:lnTo>
                    <a:pt x="165" y="377"/>
                  </a:lnTo>
                  <a:lnTo>
                    <a:pt x="165" y="379"/>
                  </a:lnTo>
                  <a:lnTo>
                    <a:pt x="163" y="379"/>
                  </a:lnTo>
                  <a:lnTo>
                    <a:pt x="163" y="381"/>
                  </a:lnTo>
                  <a:lnTo>
                    <a:pt x="163" y="382"/>
                  </a:lnTo>
                  <a:lnTo>
                    <a:pt x="161" y="382"/>
                  </a:lnTo>
                  <a:lnTo>
                    <a:pt x="161" y="384"/>
                  </a:lnTo>
                  <a:lnTo>
                    <a:pt x="161" y="386"/>
                  </a:lnTo>
                  <a:lnTo>
                    <a:pt x="159" y="386"/>
                  </a:lnTo>
                  <a:lnTo>
                    <a:pt x="159" y="388"/>
                  </a:lnTo>
                  <a:lnTo>
                    <a:pt x="159" y="390"/>
                  </a:lnTo>
                  <a:lnTo>
                    <a:pt x="157" y="390"/>
                  </a:lnTo>
                  <a:lnTo>
                    <a:pt x="159" y="390"/>
                  </a:lnTo>
                  <a:lnTo>
                    <a:pt x="157" y="390"/>
                  </a:lnTo>
                  <a:lnTo>
                    <a:pt x="157" y="392"/>
                  </a:lnTo>
                  <a:lnTo>
                    <a:pt x="155" y="392"/>
                  </a:lnTo>
                  <a:lnTo>
                    <a:pt x="155" y="394"/>
                  </a:lnTo>
                  <a:lnTo>
                    <a:pt x="155" y="392"/>
                  </a:lnTo>
                  <a:lnTo>
                    <a:pt x="153" y="392"/>
                  </a:lnTo>
                  <a:lnTo>
                    <a:pt x="151" y="392"/>
                  </a:lnTo>
                  <a:lnTo>
                    <a:pt x="151" y="394"/>
                  </a:lnTo>
                  <a:lnTo>
                    <a:pt x="149" y="394"/>
                  </a:lnTo>
                  <a:lnTo>
                    <a:pt x="149" y="392"/>
                  </a:lnTo>
                  <a:lnTo>
                    <a:pt x="147" y="392"/>
                  </a:lnTo>
                  <a:lnTo>
                    <a:pt x="146" y="392"/>
                  </a:lnTo>
                  <a:lnTo>
                    <a:pt x="144" y="392"/>
                  </a:lnTo>
                  <a:lnTo>
                    <a:pt x="142" y="392"/>
                  </a:lnTo>
                  <a:lnTo>
                    <a:pt x="142" y="394"/>
                  </a:lnTo>
                  <a:lnTo>
                    <a:pt x="140" y="394"/>
                  </a:lnTo>
                  <a:lnTo>
                    <a:pt x="140" y="392"/>
                  </a:lnTo>
                  <a:lnTo>
                    <a:pt x="140" y="394"/>
                  </a:lnTo>
                  <a:lnTo>
                    <a:pt x="140" y="392"/>
                  </a:lnTo>
                  <a:lnTo>
                    <a:pt x="138" y="392"/>
                  </a:lnTo>
                  <a:lnTo>
                    <a:pt x="138" y="394"/>
                  </a:lnTo>
                  <a:lnTo>
                    <a:pt x="138" y="392"/>
                  </a:lnTo>
                  <a:lnTo>
                    <a:pt x="138" y="394"/>
                  </a:lnTo>
                  <a:lnTo>
                    <a:pt x="138" y="392"/>
                  </a:lnTo>
                  <a:lnTo>
                    <a:pt x="138" y="394"/>
                  </a:lnTo>
                  <a:lnTo>
                    <a:pt x="136" y="394"/>
                  </a:lnTo>
                  <a:lnTo>
                    <a:pt x="134" y="394"/>
                  </a:lnTo>
                  <a:lnTo>
                    <a:pt x="136" y="394"/>
                  </a:lnTo>
                  <a:lnTo>
                    <a:pt x="134" y="394"/>
                  </a:lnTo>
                  <a:lnTo>
                    <a:pt x="134" y="392"/>
                  </a:lnTo>
                  <a:lnTo>
                    <a:pt x="132" y="392"/>
                  </a:lnTo>
                  <a:lnTo>
                    <a:pt x="130" y="392"/>
                  </a:lnTo>
                  <a:lnTo>
                    <a:pt x="128" y="392"/>
                  </a:lnTo>
                  <a:lnTo>
                    <a:pt x="126" y="392"/>
                  </a:lnTo>
                  <a:lnTo>
                    <a:pt x="124" y="392"/>
                  </a:lnTo>
                  <a:lnTo>
                    <a:pt x="124" y="390"/>
                  </a:lnTo>
                  <a:lnTo>
                    <a:pt x="124" y="392"/>
                  </a:lnTo>
                  <a:lnTo>
                    <a:pt x="124" y="390"/>
                  </a:lnTo>
                  <a:lnTo>
                    <a:pt x="124" y="392"/>
                  </a:lnTo>
                  <a:lnTo>
                    <a:pt x="124" y="390"/>
                  </a:lnTo>
                  <a:lnTo>
                    <a:pt x="123" y="390"/>
                  </a:lnTo>
                  <a:lnTo>
                    <a:pt x="123" y="392"/>
                  </a:lnTo>
                  <a:lnTo>
                    <a:pt x="123" y="390"/>
                  </a:lnTo>
                  <a:lnTo>
                    <a:pt x="123" y="392"/>
                  </a:lnTo>
                  <a:lnTo>
                    <a:pt x="121" y="392"/>
                  </a:lnTo>
                  <a:lnTo>
                    <a:pt x="121" y="390"/>
                  </a:lnTo>
                  <a:lnTo>
                    <a:pt x="121" y="392"/>
                  </a:lnTo>
                  <a:lnTo>
                    <a:pt x="119" y="392"/>
                  </a:lnTo>
                  <a:lnTo>
                    <a:pt x="117" y="392"/>
                  </a:lnTo>
                  <a:lnTo>
                    <a:pt x="115" y="392"/>
                  </a:lnTo>
                  <a:lnTo>
                    <a:pt x="113" y="392"/>
                  </a:lnTo>
                  <a:lnTo>
                    <a:pt x="111" y="392"/>
                  </a:lnTo>
                  <a:lnTo>
                    <a:pt x="111" y="394"/>
                  </a:lnTo>
                  <a:lnTo>
                    <a:pt x="109" y="394"/>
                  </a:lnTo>
                  <a:lnTo>
                    <a:pt x="107" y="394"/>
                  </a:lnTo>
                  <a:lnTo>
                    <a:pt x="107" y="392"/>
                  </a:lnTo>
                  <a:lnTo>
                    <a:pt x="107" y="394"/>
                  </a:lnTo>
                  <a:lnTo>
                    <a:pt x="105" y="394"/>
                  </a:lnTo>
                  <a:lnTo>
                    <a:pt x="103" y="394"/>
                  </a:lnTo>
                  <a:lnTo>
                    <a:pt x="103" y="392"/>
                  </a:lnTo>
                  <a:lnTo>
                    <a:pt x="103" y="394"/>
                  </a:lnTo>
                  <a:lnTo>
                    <a:pt x="101" y="394"/>
                  </a:lnTo>
                  <a:lnTo>
                    <a:pt x="99" y="394"/>
                  </a:lnTo>
                  <a:lnTo>
                    <a:pt x="99" y="396"/>
                  </a:lnTo>
                  <a:lnTo>
                    <a:pt x="99" y="394"/>
                  </a:lnTo>
                  <a:lnTo>
                    <a:pt x="99" y="396"/>
                  </a:lnTo>
                  <a:lnTo>
                    <a:pt x="98" y="396"/>
                  </a:lnTo>
                  <a:lnTo>
                    <a:pt x="98" y="398"/>
                  </a:lnTo>
                  <a:lnTo>
                    <a:pt x="96" y="398"/>
                  </a:lnTo>
                  <a:lnTo>
                    <a:pt x="96" y="400"/>
                  </a:lnTo>
                  <a:lnTo>
                    <a:pt x="96" y="402"/>
                  </a:lnTo>
                  <a:lnTo>
                    <a:pt x="98" y="402"/>
                  </a:lnTo>
                  <a:lnTo>
                    <a:pt x="96" y="402"/>
                  </a:lnTo>
                  <a:lnTo>
                    <a:pt x="96" y="400"/>
                  </a:lnTo>
                  <a:lnTo>
                    <a:pt x="96" y="402"/>
                  </a:lnTo>
                  <a:lnTo>
                    <a:pt x="94" y="402"/>
                  </a:lnTo>
                  <a:lnTo>
                    <a:pt x="94" y="404"/>
                  </a:lnTo>
                  <a:lnTo>
                    <a:pt x="94" y="402"/>
                  </a:lnTo>
                  <a:lnTo>
                    <a:pt x="94" y="404"/>
                  </a:lnTo>
                  <a:lnTo>
                    <a:pt x="94" y="402"/>
                  </a:lnTo>
                  <a:lnTo>
                    <a:pt x="92" y="402"/>
                  </a:lnTo>
                  <a:lnTo>
                    <a:pt x="92" y="404"/>
                  </a:lnTo>
                  <a:lnTo>
                    <a:pt x="90" y="404"/>
                  </a:lnTo>
                  <a:lnTo>
                    <a:pt x="90" y="402"/>
                  </a:lnTo>
                  <a:lnTo>
                    <a:pt x="88" y="402"/>
                  </a:lnTo>
                  <a:lnTo>
                    <a:pt x="86" y="402"/>
                  </a:lnTo>
                  <a:lnTo>
                    <a:pt x="88" y="402"/>
                  </a:lnTo>
                  <a:lnTo>
                    <a:pt x="86" y="402"/>
                  </a:lnTo>
                  <a:lnTo>
                    <a:pt x="86" y="404"/>
                  </a:lnTo>
                  <a:lnTo>
                    <a:pt x="88" y="404"/>
                  </a:lnTo>
                  <a:lnTo>
                    <a:pt x="86" y="404"/>
                  </a:lnTo>
                  <a:lnTo>
                    <a:pt x="84" y="404"/>
                  </a:lnTo>
                  <a:lnTo>
                    <a:pt x="84" y="406"/>
                  </a:lnTo>
                  <a:lnTo>
                    <a:pt x="86" y="406"/>
                  </a:lnTo>
                  <a:lnTo>
                    <a:pt x="84" y="406"/>
                  </a:lnTo>
                  <a:lnTo>
                    <a:pt x="84" y="407"/>
                  </a:lnTo>
                  <a:lnTo>
                    <a:pt x="84" y="406"/>
                  </a:lnTo>
                  <a:lnTo>
                    <a:pt x="82" y="406"/>
                  </a:lnTo>
                  <a:lnTo>
                    <a:pt x="82" y="407"/>
                  </a:lnTo>
                  <a:lnTo>
                    <a:pt x="82" y="406"/>
                  </a:lnTo>
                  <a:lnTo>
                    <a:pt x="82" y="407"/>
                  </a:lnTo>
                  <a:lnTo>
                    <a:pt x="80" y="407"/>
                  </a:lnTo>
                  <a:lnTo>
                    <a:pt x="80" y="409"/>
                  </a:lnTo>
                  <a:lnTo>
                    <a:pt x="80" y="411"/>
                  </a:lnTo>
                  <a:lnTo>
                    <a:pt x="80" y="409"/>
                  </a:lnTo>
                  <a:lnTo>
                    <a:pt x="78" y="409"/>
                  </a:lnTo>
                  <a:lnTo>
                    <a:pt x="78" y="411"/>
                  </a:lnTo>
                  <a:lnTo>
                    <a:pt x="76" y="411"/>
                  </a:lnTo>
                  <a:lnTo>
                    <a:pt x="76" y="413"/>
                  </a:lnTo>
                  <a:lnTo>
                    <a:pt x="76" y="411"/>
                  </a:lnTo>
                  <a:lnTo>
                    <a:pt x="76" y="413"/>
                  </a:lnTo>
                  <a:lnTo>
                    <a:pt x="76" y="411"/>
                  </a:lnTo>
                  <a:lnTo>
                    <a:pt x="76" y="413"/>
                  </a:lnTo>
                  <a:lnTo>
                    <a:pt x="76" y="411"/>
                  </a:lnTo>
                  <a:lnTo>
                    <a:pt x="76" y="413"/>
                  </a:lnTo>
                  <a:lnTo>
                    <a:pt x="76" y="411"/>
                  </a:lnTo>
                  <a:lnTo>
                    <a:pt x="75" y="411"/>
                  </a:lnTo>
                  <a:lnTo>
                    <a:pt x="75" y="413"/>
                  </a:lnTo>
                  <a:lnTo>
                    <a:pt x="75" y="411"/>
                  </a:lnTo>
                  <a:lnTo>
                    <a:pt x="75" y="413"/>
                  </a:lnTo>
                  <a:lnTo>
                    <a:pt x="75" y="411"/>
                  </a:lnTo>
                  <a:lnTo>
                    <a:pt x="73" y="411"/>
                  </a:lnTo>
                  <a:lnTo>
                    <a:pt x="73" y="413"/>
                  </a:lnTo>
                  <a:lnTo>
                    <a:pt x="73" y="411"/>
                  </a:lnTo>
                  <a:lnTo>
                    <a:pt x="73" y="413"/>
                  </a:lnTo>
                  <a:lnTo>
                    <a:pt x="71" y="413"/>
                  </a:lnTo>
                  <a:lnTo>
                    <a:pt x="73" y="413"/>
                  </a:lnTo>
                  <a:lnTo>
                    <a:pt x="75" y="413"/>
                  </a:lnTo>
                  <a:lnTo>
                    <a:pt x="73" y="413"/>
                  </a:lnTo>
                  <a:lnTo>
                    <a:pt x="73" y="415"/>
                  </a:lnTo>
                  <a:lnTo>
                    <a:pt x="73" y="413"/>
                  </a:lnTo>
                  <a:lnTo>
                    <a:pt x="73" y="415"/>
                  </a:lnTo>
                  <a:lnTo>
                    <a:pt x="73" y="413"/>
                  </a:lnTo>
                  <a:lnTo>
                    <a:pt x="73" y="415"/>
                  </a:lnTo>
                  <a:lnTo>
                    <a:pt x="73" y="413"/>
                  </a:lnTo>
                  <a:lnTo>
                    <a:pt x="73" y="415"/>
                  </a:lnTo>
                  <a:lnTo>
                    <a:pt x="73" y="413"/>
                  </a:lnTo>
                  <a:lnTo>
                    <a:pt x="71" y="413"/>
                  </a:lnTo>
                  <a:lnTo>
                    <a:pt x="69" y="413"/>
                  </a:lnTo>
                  <a:lnTo>
                    <a:pt x="69" y="415"/>
                  </a:lnTo>
                  <a:lnTo>
                    <a:pt x="69" y="413"/>
                  </a:lnTo>
                  <a:lnTo>
                    <a:pt x="67" y="413"/>
                  </a:lnTo>
                  <a:lnTo>
                    <a:pt x="65" y="413"/>
                  </a:lnTo>
                  <a:lnTo>
                    <a:pt x="65" y="411"/>
                  </a:lnTo>
                  <a:lnTo>
                    <a:pt x="65" y="413"/>
                  </a:lnTo>
                  <a:lnTo>
                    <a:pt x="67" y="413"/>
                  </a:lnTo>
                  <a:lnTo>
                    <a:pt x="67" y="411"/>
                  </a:lnTo>
                  <a:lnTo>
                    <a:pt x="65" y="411"/>
                  </a:lnTo>
                  <a:lnTo>
                    <a:pt x="67" y="411"/>
                  </a:lnTo>
                  <a:lnTo>
                    <a:pt x="65" y="411"/>
                  </a:lnTo>
                  <a:lnTo>
                    <a:pt x="63" y="411"/>
                  </a:lnTo>
                  <a:lnTo>
                    <a:pt x="63" y="413"/>
                  </a:lnTo>
                  <a:lnTo>
                    <a:pt x="65" y="413"/>
                  </a:lnTo>
                  <a:lnTo>
                    <a:pt x="63" y="413"/>
                  </a:lnTo>
                  <a:lnTo>
                    <a:pt x="61" y="413"/>
                  </a:lnTo>
                  <a:lnTo>
                    <a:pt x="59" y="413"/>
                  </a:lnTo>
                  <a:lnTo>
                    <a:pt x="61" y="413"/>
                  </a:lnTo>
                  <a:lnTo>
                    <a:pt x="59" y="413"/>
                  </a:lnTo>
                  <a:lnTo>
                    <a:pt x="57" y="413"/>
                  </a:lnTo>
                  <a:lnTo>
                    <a:pt x="55" y="413"/>
                  </a:lnTo>
                  <a:lnTo>
                    <a:pt x="55" y="411"/>
                  </a:lnTo>
                  <a:lnTo>
                    <a:pt x="55" y="413"/>
                  </a:lnTo>
                  <a:lnTo>
                    <a:pt x="55" y="411"/>
                  </a:lnTo>
                  <a:lnTo>
                    <a:pt x="55" y="413"/>
                  </a:lnTo>
                  <a:lnTo>
                    <a:pt x="53" y="413"/>
                  </a:lnTo>
                  <a:lnTo>
                    <a:pt x="53" y="411"/>
                  </a:lnTo>
                  <a:lnTo>
                    <a:pt x="51" y="411"/>
                  </a:lnTo>
                  <a:lnTo>
                    <a:pt x="51" y="413"/>
                  </a:lnTo>
                  <a:lnTo>
                    <a:pt x="51" y="411"/>
                  </a:lnTo>
                  <a:lnTo>
                    <a:pt x="51" y="413"/>
                  </a:lnTo>
                  <a:lnTo>
                    <a:pt x="51" y="411"/>
                  </a:lnTo>
                  <a:lnTo>
                    <a:pt x="50" y="411"/>
                  </a:lnTo>
                  <a:lnTo>
                    <a:pt x="51" y="411"/>
                  </a:lnTo>
                  <a:lnTo>
                    <a:pt x="51" y="409"/>
                  </a:lnTo>
                  <a:lnTo>
                    <a:pt x="50" y="409"/>
                  </a:lnTo>
                  <a:lnTo>
                    <a:pt x="51" y="409"/>
                  </a:lnTo>
                  <a:lnTo>
                    <a:pt x="51" y="411"/>
                  </a:lnTo>
                  <a:lnTo>
                    <a:pt x="50" y="411"/>
                  </a:lnTo>
                  <a:lnTo>
                    <a:pt x="50" y="409"/>
                  </a:lnTo>
                  <a:lnTo>
                    <a:pt x="48" y="409"/>
                  </a:lnTo>
                  <a:lnTo>
                    <a:pt x="46" y="409"/>
                  </a:lnTo>
                  <a:lnTo>
                    <a:pt x="44" y="409"/>
                  </a:lnTo>
                  <a:lnTo>
                    <a:pt x="44" y="407"/>
                  </a:lnTo>
                  <a:lnTo>
                    <a:pt x="44" y="406"/>
                  </a:lnTo>
                  <a:lnTo>
                    <a:pt x="42" y="406"/>
                  </a:lnTo>
                  <a:lnTo>
                    <a:pt x="42" y="404"/>
                  </a:lnTo>
                  <a:lnTo>
                    <a:pt x="40" y="404"/>
                  </a:lnTo>
                  <a:lnTo>
                    <a:pt x="40" y="402"/>
                  </a:lnTo>
                  <a:lnTo>
                    <a:pt x="38" y="402"/>
                  </a:lnTo>
                  <a:lnTo>
                    <a:pt x="36" y="402"/>
                  </a:lnTo>
                  <a:lnTo>
                    <a:pt x="36" y="400"/>
                  </a:lnTo>
                  <a:lnTo>
                    <a:pt x="34" y="400"/>
                  </a:lnTo>
                  <a:lnTo>
                    <a:pt x="32" y="400"/>
                  </a:lnTo>
                  <a:lnTo>
                    <a:pt x="32" y="402"/>
                  </a:lnTo>
                  <a:lnTo>
                    <a:pt x="32" y="400"/>
                  </a:lnTo>
                  <a:lnTo>
                    <a:pt x="30" y="400"/>
                  </a:lnTo>
                  <a:lnTo>
                    <a:pt x="30" y="398"/>
                  </a:lnTo>
                  <a:lnTo>
                    <a:pt x="30" y="396"/>
                  </a:lnTo>
                  <a:lnTo>
                    <a:pt x="30" y="394"/>
                  </a:lnTo>
                  <a:lnTo>
                    <a:pt x="30" y="392"/>
                  </a:lnTo>
                  <a:lnTo>
                    <a:pt x="30" y="390"/>
                  </a:lnTo>
                  <a:lnTo>
                    <a:pt x="30" y="388"/>
                  </a:lnTo>
                  <a:lnTo>
                    <a:pt x="30" y="386"/>
                  </a:lnTo>
                  <a:lnTo>
                    <a:pt x="32" y="386"/>
                  </a:lnTo>
                  <a:lnTo>
                    <a:pt x="32" y="388"/>
                  </a:lnTo>
                  <a:lnTo>
                    <a:pt x="34" y="388"/>
                  </a:lnTo>
                  <a:lnTo>
                    <a:pt x="36" y="388"/>
                  </a:lnTo>
                  <a:lnTo>
                    <a:pt x="36" y="386"/>
                  </a:lnTo>
                  <a:lnTo>
                    <a:pt x="38" y="386"/>
                  </a:lnTo>
                  <a:lnTo>
                    <a:pt x="38" y="384"/>
                  </a:lnTo>
                  <a:lnTo>
                    <a:pt x="38" y="382"/>
                  </a:lnTo>
                  <a:lnTo>
                    <a:pt x="40" y="382"/>
                  </a:lnTo>
                  <a:lnTo>
                    <a:pt x="40" y="381"/>
                  </a:lnTo>
                  <a:lnTo>
                    <a:pt x="40" y="382"/>
                  </a:lnTo>
                  <a:lnTo>
                    <a:pt x="40" y="381"/>
                  </a:lnTo>
                  <a:lnTo>
                    <a:pt x="40" y="379"/>
                  </a:lnTo>
                  <a:lnTo>
                    <a:pt x="40" y="377"/>
                  </a:lnTo>
                  <a:lnTo>
                    <a:pt x="40" y="375"/>
                  </a:lnTo>
                  <a:lnTo>
                    <a:pt x="40" y="373"/>
                  </a:lnTo>
                  <a:lnTo>
                    <a:pt x="38" y="373"/>
                  </a:lnTo>
                  <a:lnTo>
                    <a:pt x="38" y="371"/>
                  </a:lnTo>
                  <a:lnTo>
                    <a:pt x="40" y="371"/>
                  </a:lnTo>
                  <a:lnTo>
                    <a:pt x="40" y="369"/>
                  </a:lnTo>
                  <a:lnTo>
                    <a:pt x="40" y="371"/>
                  </a:lnTo>
                  <a:lnTo>
                    <a:pt x="40" y="373"/>
                  </a:lnTo>
                  <a:lnTo>
                    <a:pt x="40" y="371"/>
                  </a:lnTo>
                  <a:lnTo>
                    <a:pt x="40" y="369"/>
                  </a:lnTo>
                  <a:lnTo>
                    <a:pt x="40" y="371"/>
                  </a:lnTo>
                  <a:lnTo>
                    <a:pt x="42" y="371"/>
                  </a:lnTo>
                  <a:lnTo>
                    <a:pt x="42" y="369"/>
                  </a:lnTo>
                  <a:lnTo>
                    <a:pt x="40" y="369"/>
                  </a:lnTo>
                  <a:lnTo>
                    <a:pt x="40" y="367"/>
                  </a:lnTo>
                  <a:lnTo>
                    <a:pt x="40" y="365"/>
                  </a:lnTo>
                  <a:lnTo>
                    <a:pt x="40" y="363"/>
                  </a:lnTo>
                  <a:lnTo>
                    <a:pt x="42" y="363"/>
                  </a:lnTo>
                  <a:lnTo>
                    <a:pt x="42" y="361"/>
                  </a:lnTo>
                  <a:lnTo>
                    <a:pt x="40" y="361"/>
                  </a:lnTo>
                  <a:lnTo>
                    <a:pt x="42" y="361"/>
                  </a:lnTo>
                  <a:lnTo>
                    <a:pt x="40" y="361"/>
                  </a:lnTo>
                  <a:lnTo>
                    <a:pt x="40" y="359"/>
                  </a:lnTo>
                  <a:lnTo>
                    <a:pt x="40" y="361"/>
                  </a:lnTo>
                  <a:lnTo>
                    <a:pt x="40" y="359"/>
                  </a:lnTo>
                  <a:lnTo>
                    <a:pt x="40" y="361"/>
                  </a:lnTo>
                  <a:lnTo>
                    <a:pt x="40" y="359"/>
                  </a:lnTo>
                  <a:lnTo>
                    <a:pt x="40" y="361"/>
                  </a:lnTo>
                  <a:lnTo>
                    <a:pt x="40" y="359"/>
                  </a:lnTo>
                  <a:lnTo>
                    <a:pt x="42" y="359"/>
                  </a:lnTo>
                  <a:lnTo>
                    <a:pt x="44" y="359"/>
                  </a:lnTo>
                  <a:lnTo>
                    <a:pt x="42" y="359"/>
                  </a:lnTo>
                  <a:lnTo>
                    <a:pt x="44" y="359"/>
                  </a:lnTo>
                  <a:lnTo>
                    <a:pt x="44" y="358"/>
                  </a:lnTo>
                  <a:lnTo>
                    <a:pt x="44" y="359"/>
                  </a:lnTo>
                  <a:lnTo>
                    <a:pt x="44" y="358"/>
                  </a:lnTo>
                  <a:lnTo>
                    <a:pt x="44" y="359"/>
                  </a:lnTo>
                  <a:lnTo>
                    <a:pt x="44" y="358"/>
                  </a:lnTo>
                  <a:lnTo>
                    <a:pt x="44" y="359"/>
                  </a:lnTo>
                  <a:lnTo>
                    <a:pt x="44" y="358"/>
                  </a:lnTo>
                  <a:lnTo>
                    <a:pt x="42" y="358"/>
                  </a:lnTo>
                  <a:lnTo>
                    <a:pt x="42" y="359"/>
                  </a:lnTo>
                  <a:lnTo>
                    <a:pt x="44" y="359"/>
                  </a:lnTo>
                  <a:lnTo>
                    <a:pt x="42" y="359"/>
                  </a:lnTo>
                  <a:lnTo>
                    <a:pt x="40" y="359"/>
                  </a:lnTo>
                  <a:lnTo>
                    <a:pt x="42" y="359"/>
                  </a:lnTo>
                  <a:lnTo>
                    <a:pt x="42" y="358"/>
                  </a:lnTo>
                  <a:lnTo>
                    <a:pt x="40" y="358"/>
                  </a:lnTo>
                  <a:lnTo>
                    <a:pt x="40" y="356"/>
                  </a:lnTo>
                  <a:lnTo>
                    <a:pt x="40" y="354"/>
                  </a:lnTo>
                  <a:lnTo>
                    <a:pt x="40" y="352"/>
                  </a:lnTo>
                  <a:lnTo>
                    <a:pt x="38" y="352"/>
                  </a:lnTo>
                  <a:lnTo>
                    <a:pt x="38" y="350"/>
                  </a:lnTo>
                  <a:lnTo>
                    <a:pt x="38" y="348"/>
                  </a:lnTo>
                  <a:lnTo>
                    <a:pt x="36" y="348"/>
                  </a:lnTo>
                  <a:lnTo>
                    <a:pt x="36" y="346"/>
                  </a:lnTo>
                  <a:lnTo>
                    <a:pt x="36" y="344"/>
                  </a:lnTo>
                  <a:lnTo>
                    <a:pt x="34" y="344"/>
                  </a:lnTo>
                  <a:lnTo>
                    <a:pt x="34" y="342"/>
                  </a:lnTo>
                  <a:lnTo>
                    <a:pt x="34" y="340"/>
                  </a:lnTo>
                  <a:lnTo>
                    <a:pt x="32" y="340"/>
                  </a:lnTo>
                  <a:lnTo>
                    <a:pt x="32" y="338"/>
                  </a:lnTo>
                  <a:lnTo>
                    <a:pt x="32" y="336"/>
                  </a:lnTo>
                  <a:lnTo>
                    <a:pt x="32" y="334"/>
                  </a:lnTo>
                  <a:lnTo>
                    <a:pt x="30" y="334"/>
                  </a:lnTo>
                  <a:lnTo>
                    <a:pt x="30" y="333"/>
                  </a:lnTo>
                  <a:lnTo>
                    <a:pt x="30" y="331"/>
                  </a:lnTo>
                  <a:lnTo>
                    <a:pt x="30" y="329"/>
                  </a:lnTo>
                  <a:lnTo>
                    <a:pt x="30" y="327"/>
                  </a:lnTo>
                  <a:lnTo>
                    <a:pt x="28" y="327"/>
                  </a:lnTo>
                  <a:lnTo>
                    <a:pt x="30" y="327"/>
                  </a:lnTo>
                  <a:lnTo>
                    <a:pt x="28" y="327"/>
                  </a:lnTo>
                  <a:lnTo>
                    <a:pt x="30" y="327"/>
                  </a:lnTo>
                  <a:lnTo>
                    <a:pt x="28" y="327"/>
                  </a:lnTo>
                  <a:lnTo>
                    <a:pt x="28" y="325"/>
                  </a:lnTo>
                  <a:lnTo>
                    <a:pt x="30" y="325"/>
                  </a:lnTo>
                  <a:lnTo>
                    <a:pt x="28" y="325"/>
                  </a:lnTo>
                  <a:lnTo>
                    <a:pt x="30" y="325"/>
                  </a:lnTo>
                  <a:lnTo>
                    <a:pt x="30" y="323"/>
                  </a:lnTo>
                  <a:lnTo>
                    <a:pt x="30" y="321"/>
                  </a:lnTo>
                  <a:lnTo>
                    <a:pt x="28" y="321"/>
                  </a:lnTo>
                  <a:lnTo>
                    <a:pt x="28" y="319"/>
                  </a:lnTo>
                  <a:lnTo>
                    <a:pt x="30" y="319"/>
                  </a:lnTo>
                  <a:lnTo>
                    <a:pt x="30" y="317"/>
                  </a:lnTo>
                  <a:lnTo>
                    <a:pt x="30" y="315"/>
                  </a:lnTo>
                  <a:lnTo>
                    <a:pt x="28" y="315"/>
                  </a:lnTo>
                  <a:lnTo>
                    <a:pt x="28" y="313"/>
                  </a:lnTo>
                  <a:lnTo>
                    <a:pt x="28" y="311"/>
                  </a:lnTo>
                  <a:lnTo>
                    <a:pt x="28" y="310"/>
                  </a:lnTo>
                  <a:lnTo>
                    <a:pt x="27" y="310"/>
                  </a:lnTo>
                  <a:lnTo>
                    <a:pt x="27" y="308"/>
                  </a:lnTo>
                  <a:lnTo>
                    <a:pt x="25" y="308"/>
                  </a:lnTo>
                  <a:lnTo>
                    <a:pt x="25" y="306"/>
                  </a:lnTo>
                  <a:lnTo>
                    <a:pt x="25" y="304"/>
                  </a:lnTo>
                  <a:lnTo>
                    <a:pt x="25" y="302"/>
                  </a:lnTo>
                  <a:lnTo>
                    <a:pt x="23" y="302"/>
                  </a:lnTo>
                  <a:lnTo>
                    <a:pt x="23" y="300"/>
                  </a:lnTo>
                  <a:lnTo>
                    <a:pt x="23" y="298"/>
                  </a:lnTo>
                  <a:lnTo>
                    <a:pt x="21" y="298"/>
                  </a:lnTo>
                  <a:lnTo>
                    <a:pt x="21" y="296"/>
                  </a:lnTo>
                  <a:lnTo>
                    <a:pt x="19" y="296"/>
                  </a:lnTo>
                  <a:lnTo>
                    <a:pt x="19" y="294"/>
                  </a:lnTo>
                  <a:lnTo>
                    <a:pt x="17" y="294"/>
                  </a:lnTo>
                  <a:lnTo>
                    <a:pt x="17" y="292"/>
                  </a:lnTo>
                  <a:lnTo>
                    <a:pt x="17" y="290"/>
                  </a:lnTo>
                  <a:lnTo>
                    <a:pt x="17" y="288"/>
                  </a:lnTo>
                  <a:lnTo>
                    <a:pt x="17" y="286"/>
                  </a:lnTo>
                  <a:lnTo>
                    <a:pt x="19" y="286"/>
                  </a:lnTo>
                  <a:lnTo>
                    <a:pt x="17" y="286"/>
                  </a:lnTo>
                  <a:lnTo>
                    <a:pt x="19" y="286"/>
                  </a:lnTo>
                  <a:lnTo>
                    <a:pt x="17" y="286"/>
                  </a:lnTo>
                  <a:lnTo>
                    <a:pt x="17" y="285"/>
                  </a:lnTo>
                  <a:lnTo>
                    <a:pt x="17" y="283"/>
                  </a:lnTo>
                  <a:lnTo>
                    <a:pt x="17" y="281"/>
                  </a:lnTo>
                  <a:lnTo>
                    <a:pt x="15" y="281"/>
                  </a:lnTo>
                  <a:lnTo>
                    <a:pt x="15" y="279"/>
                  </a:lnTo>
                  <a:lnTo>
                    <a:pt x="15" y="277"/>
                  </a:lnTo>
                  <a:lnTo>
                    <a:pt x="13" y="277"/>
                  </a:lnTo>
                  <a:lnTo>
                    <a:pt x="13" y="275"/>
                  </a:lnTo>
                  <a:lnTo>
                    <a:pt x="11" y="275"/>
                  </a:lnTo>
                  <a:lnTo>
                    <a:pt x="11" y="273"/>
                  </a:lnTo>
                  <a:lnTo>
                    <a:pt x="11" y="271"/>
                  </a:lnTo>
                  <a:lnTo>
                    <a:pt x="11" y="273"/>
                  </a:lnTo>
                  <a:lnTo>
                    <a:pt x="11" y="271"/>
                  </a:lnTo>
                  <a:lnTo>
                    <a:pt x="9" y="271"/>
                  </a:lnTo>
                  <a:lnTo>
                    <a:pt x="9" y="269"/>
                  </a:lnTo>
                  <a:lnTo>
                    <a:pt x="7" y="269"/>
                  </a:lnTo>
                  <a:lnTo>
                    <a:pt x="7" y="267"/>
                  </a:lnTo>
                  <a:lnTo>
                    <a:pt x="5" y="267"/>
                  </a:lnTo>
                  <a:lnTo>
                    <a:pt x="5" y="265"/>
                  </a:lnTo>
                  <a:lnTo>
                    <a:pt x="5" y="263"/>
                  </a:lnTo>
                  <a:lnTo>
                    <a:pt x="4" y="263"/>
                  </a:lnTo>
                  <a:lnTo>
                    <a:pt x="4" y="261"/>
                  </a:lnTo>
                  <a:lnTo>
                    <a:pt x="5" y="261"/>
                  </a:lnTo>
                  <a:lnTo>
                    <a:pt x="5" y="263"/>
                  </a:lnTo>
                  <a:lnTo>
                    <a:pt x="5" y="261"/>
                  </a:lnTo>
                  <a:lnTo>
                    <a:pt x="5" y="260"/>
                  </a:lnTo>
                  <a:lnTo>
                    <a:pt x="5" y="261"/>
                  </a:lnTo>
                  <a:lnTo>
                    <a:pt x="5" y="263"/>
                  </a:lnTo>
                  <a:lnTo>
                    <a:pt x="5" y="265"/>
                  </a:lnTo>
                  <a:lnTo>
                    <a:pt x="5" y="263"/>
                  </a:lnTo>
                  <a:lnTo>
                    <a:pt x="5" y="265"/>
                  </a:lnTo>
                  <a:lnTo>
                    <a:pt x="7" y="265"/>
                  </a:lnTo>
                  <a:lnTo>
                    <a:pt x="5" y="265"/>
                  </a:lnTo>
                  <a:lnTo>
                    <a:pt x="5" y="263"/>
                  </a:lnTo>
                  <a:lnTo>
                    <a:pt x="5" y="261"/>
                  </a:lnTo>
                  <a:lnTo>
                    <a:pt x="5" y="260"/>
                  </a:lnTo>
                  <a:lnTo>
                    <a:pt x="7" y="260"/>
                  </a:lnTo>
                  <a:lnTo>
                    <a:pt x="7" y="261"/>
                  </a:lnTo>
                  <a:lnTo>
                    <a:pt x="7" y="260"/>
                  </a:lnTo>
                  <a:lnTo>
                    <a:pt x="7" y="261"/>
                  </a:lnTo>
                  <a:lnTo>
                    <a:pt x="7" y="263"/>
                  </a:lnTo>
                  <a:lnTo>
                    <a:pt x="7" y="265"/>
                  </a:lnTo>
                  <a:lnTo>
                    <a:pt x="7" y="267"/>
                  </a:lnTo>
                  <a:lnTo>
                    <a:pt x="7" y="265"/>
                  </a:lnTo>
                  <a:lnTo>
                    <a:pt x="9" y="265"/>
                  </a:lnTo>
                  <a:lnTo>
                    <a:pt x="7" y="265"/>
                  </a:lnTo>
                  <a:lnTo>
                    <a:pt x="7" y="263"/>
                  </a:lnTo>
                  <a:lnTo>
                    <a:pt x="9" y="263"/>
                  </a:lnTo>
                  <a:lnTo>
                    <a:pt x="9" y="265"/>
                  </a:lnTo>
                  <a:lnTo>
                    <a:pt x="9" y="267"/>
                  </a:lnTo>
                  <a:lnTo>
                    <a:pt x="9" y="269"/>
                  </a:lnTo>
                  <a:lnTo>
                    <a:pt x="9" y="267"/>
                  </a:lnTo>
                  <a:lnTo>
                    <a:pt x="9" y="269"/>
                  </a:lnTo>
                  <a:lnTo>
                    <a:pt x="9" y="267"/>
                  </a:lnTo>
                  <a:lnTo>
                    <a:pt x="9" y="269"/>
                  </a:lnTo>
                  <a:lnTo>
                    <a:pt x="11" y="269"/>
                  </a:lnTo>
                  <a:lnTo>
                    <a:pt x="9" y="269"/>
                  </a:lnTo>
                  <a:lnTo>
                    <a:pt x="11" y="269"/>
                  </a:lnTo>
                  <a:lnTo>
                    <a:pt x="9" y="269"/>
                  </a:lnTo>
                  <a:lnTo>
                    <a:pt x="11" y="269"/>
                  </a:lnTo>
                  <a:lnTo>
                    <a:pt x="13" y="269"/>
                  </a:lnTo>
                  <a:lnTo>
                    <a:pt x="13" y="267"/>
                  </a:lnTo>
                  <a:lnTo>
                    <a:pt x="13" y="265"/>
                  </a:lnTo>
                  <a:lnTo>
                    <a:pt x="13" y="263"/>
                  </a:lnTo>
                  <a:lnTo>
                    <a:pt x="11" y="263"/>
                  </a:lnTo>
                  <a:lnTo>
                    <a:pt x="11" y="261"/>
                  </a:lnTo>
                  <a:lnTo>
                    <a:pt x="9" y="261"/>
                  </a:lnTo>
                  <a:lnTo>
                    <a:pt x="9" y="260"/>
                  </a:lnTo>
                  <a:lnTo>
                    <a:pt x="9" y="258"/>
                  </a:lnTo>
                  <a:lnTo>
                    <a:pt x="7" y="258"/>
                  </a:lnTo>
                  <a:lnTo>
                    <a:pt x="9" y="258"/>
                  </a:lnTo>
                  <a:lnTo>
                    <a:pt x="7" y="258"/>
                  </a:lnTo>
                  <a:lnTo>
                    <a:pt x="7" y="256"/>
                  </a:lnTo>
                  <a:lnTo>
                    <a:pt x="7" y="254"/>
                  </a:lnTo>
                  <a:lnTo>
                    <a:pt x="7" y="256"/>
                  </a:lnTo>
                  <a:lnTo>
                    <a:pt x="7" y="254"/>
                  </a:lnTo>
                  <a:lnTo>
                    <a:pt x="7" y="252"/>
                  </a:lnTo>
                  <a:lnTo>
                    <a:pt x="7" y="250"/>
                  </a:lnTo>
                  <a:lnTo>
                    <a:pt x="7" y="252"/>
                  </a:lnTo>
                  <a:lnTo>
                    <a:pt x="9" y="252"/>
                  </a:lnTo>
                  <a:lnTo>
                    <a:pt x="9" y="254"/>
                  </a:lnTo>
                  <a:lnTo>
                    <a:pt x="9" y="252"/>
                  </a:lnTo>
                  <a:lnTo>
                    <a:pt x="9" y="254"/>
                  </a:lnTo>
                  <a:lnTo>
                    <a:pt x="11" y="254"/>
                  </a:lnTo>
                  <a:lnTo>
                    <a:pt x="11" y="256"/>
                  </a:lnTo>
                  <a:lnTo>
                    <a:pt x="11" y="258"/>
                  </a:lnTo>
                  <a:lnTo>
                    <a:pt x="11" y="256"/>
                  </a:lnTo>
                  <a:lnTo>
                    <a:pt x="11" y="258"/>
                  </a:lnTo>
                  <a:lnTo>
                    <a:pt x="11" y="256"/>
                  </a:lnTo>
                  <a:lnTo>
                    <a:pt x="11" y="258"/>
                  </a:lnTo>
                  <a:lnTo>
                    <a:pt x="11" y="260"/>
                  </a:lnTo>
                  <a:lnTo>
                    <a:pt x="11" y="261"/>
                  </a:lnTo>
                  <a:lnTo>
                    <a:pt x="13" y="261"/>
                  </a:lnTo>
                  <a:lnTo>
                    <a:pt x="13" y="260"/>
                  </a:lnTo>
                  <a:lnTo>
                    <a:pt x="13" y="258"/>
                  </a:lnTo>
                  <a:lnTo>
                    <a:pt x="13" y="260"/>
                  </a:lnTo>
                  <a:lnTo>
                    <a:pt x="13" y="261"/>
                  </a:lnTo>
                  <a:lnTo>
                    <a:pt x="15" y="261"/>
                  </a:lnTo>
                  <a:lnTo>
                    <a:pt x="15" y="263"/>
                  </a:lnTo>
                  <a:lnTo>
                    <a:pt x="15" y="265"/>
                  </a:lnTo>
                  <a:lnTo>
                    <a:pt x="17" y="265"/>
                  </a:lnTo>
                  <a:lnTo>
                    <a:pt x="17" y="267"/>
                  </a:lnTo>
                  <a:lnTo>
                    <a:pt x="17" y="265"/>
                  </a:lnTo>
                  <a:lnTo>
                    <a:pt x="17" y="267"/>
                  </a:lnTo>
                  <a:lnTo>
                    <a:pt x="17" y="265"/>
                  </a:lnTo>
                  <a:lnTo>
                    <a:pt x="17" y="267"/>
                  </a:lnTo>
                  <a:lnTo>
                    <a:pt x="17" y="265"/>
                  </a:lnTo>
                  <a:lnTo>
                    <a:pt x="19" y="265"/>
                  </a:lnTo>
                  <a:lnTo>
                    <a:pt x="19" y="263"/>
                  </a:lnTo>
                  <a:lnTo>
                    <a:pt x="19" y="261"/>
                  </a:lnTo>
                  <a:lnTo>
                    <a:pt x="19" y="260"/>
                  </a:lnTo>
                  <a:lnTo>
                    <a:pt x="19" y="258"/>
                  </a:lnTo>
                  <a:lnTo>
                    <a:pt x="19" y="260"/>
                  </a:lnTo>
                  <a:lnTo>
                    <a:pt x="19" y="258"/>
                  </a:lnTo>
                  <a:lnTo>
                    <a:pt x="19" y="256"/>
                  </a:lnTo>
                  <a:lnTo>
                    <a:pt x="17" y="256"/>
                  </a:lnTo>
                  <a:lnTo>
                    <a:pt x="17" y="254"/>
                  </a:lnTo>
                  <a:lnTo>
                    <a:pt x="17" y="256"/>
                  </a:lnTo>
                  <a:lnTo>
                    <a:pt x="17" y="254"/>
                  </a:lnTo>
                  <a:lnTo>
                    <a:pt x="15" y="254"/>
                  </a:lnTo>
                  <a:lnTo>
                    <a:pt x="17" y="254"/>
                  </a:lnTo>
                  <a:lnTo>
                    <a:pt x="15" y="254"/>
                  </a:lnTo>
                  <a:lnTo>
                    <a:pt x="15" y="252"/>
                  </a:lnTo>
                  <a:lnTo>
                    <a:pt x="15" y="254"/>
                  </a:lnTo>
                  <a:lnTo>
                    <a:pt x="15" y="252"/>
                  </a:lnTo>
                  <a:lnTo>
                    <a:pt x="15" y="254"/>
                  </a:lnTo>
                  <a:lnTo>
                    <a:pt x="15" y="252"/>
                  </a:lnTo>
                  <a:lnTo>
                    <a:pt x="15" y="250"/>
                  </a:lnTo>
                  <a:lnTo>
                    <a:pt x="13" y="250"/>
                  </a:lnTo>
                  <a:lnTo>
                    <a:pt x="13" y="248"/>
                  </a:lnTo>
                  <a:lnTo>
                    <a:pt x="13" y="246"/>
                  </a:lnTo>
                  <a:lnTo>
                    <a:pt x="13" y="244"/>
                  </a:lnTo>
                  <a:lnTo>
                    <a:pt x="11" y="244"/>
                  </a:lnTo>
                  <a:lnTo>
                    <a:pt x="11" y="242"/>
                  </a:lnTo>
                  <a:lnTo>
                    <a:pt x="11" y="240"/>
                  </a:lnTo>
                  <a:lnTo>
                    <a:pt x="9" y="240"/>
                  </a:lnTo>
                  <a:lnTo>
                    <a:pt x="11" y="240"/>
                  </a:lnTo>
                  <a:lnTo>
                    <a:pt x="9" y="240"/>
                  </a:lnTo>
                  <a:lnTo>
                    <a:pt x="11" y="240"/>
                  </a:lnTo>
                  <a:lnTo>
                    <a:pt x="9" y="240"/>
                  </a:lnTo>
                  <a:lnTo>
                    <a:pt x="9" y="238"/>
                  </a:lnTo>
                  <a:lnTo>
                    <a:pt x="9" y="237"/>
                  </a:lnTo>
                  <a:lnTo>
                    <a:pt x="7" y="237"/>
                  </a:lnTo>
                  <a:lnTo>
                    <a:pt x="7" y="235"/>
                  </a:lnTo>
                  <a:lnTo>
                    <a:pt x="7" y="233"/>
                  </a:lnTo>
                  <a:lnTo>
                    <a:pt x="7" y="231"/>
                  </a:lnTo>
                  <a:lnTo>
                    <a:pt x="5" y="231"/>
                  </a:lnTo>
                  <a:lnTo>
                    <a:pt x="7" y="231"/>
                  </a:lnTo>
                  <a:lnTo>
                    <a:pt x="7" y="229"/>
                  </a:lnTo>
                  <a:lnTo>
                    <a:pt x="7" y="227"/>
                  </a:lnTo>
                  <a:lnTo>
                    <a:pt x="7" y="225"/>
                  </a:lnTo>
                  <a:lnTo>
                    <a:pt x="7" y="223"/>
                  </a:lnTo>
                  <a:lnTo>
                    <a:pt x="9" y="223"/>
                  </a:lnTo>
                  <a:lnTo>
                    <a:pt x="9" y="221"/>
                  </a:lnTo>
                  <a:lnTo>
                    <a:pt x="9" y="219"/>
                  </a:lnTo>
                  <a:lnTo>
                    <a:pt x="11" y="219"/>
                  </a:lnTo>
                  <a:lnTo>
                    <a:pt x="11" y="217"/>
                  </a:lnTo>
                  <a:lnTo>
                    <a:pt x="13" y="217"/>
                  </a:lnTo>
                  <a:lnTo>
                    <a:pt x="13" y="215"/>
                  </a:lnTo>
                  <a:lnTo>
                    <a:pt x="11" y="215"/>
                  </a:lnTo>
                  <a:lnTo>
                    <a:pt x="13" y="215"/>
                  </a:lnTo>
                  <a:lnTo>
                    <a:pt x="11" y="215"/>
                  </a:lnTo>
                  <a:lnTo>
                    <a:pt x="11" y="213"/>
                  </a:lnTo>
                  <a:lnTo>
                    <a:pt x="11" y="212"/>
                  </a:lnTo>
                  <a:lnTo>
                    <a:pt x="13" y="212"/>
                  </a:lnTo>
                  <a:lnTo>
                    <a:pt x="13" y="210"/>
                  </a:lnTo>
                  <a:lnTo>
                    <a:pt x="13" y="208"/>
                  </a:lnTo>
                  <a:lnTo>
                    <a:pt x="11" y="208"/>
                  </a:lnTo>
                  <a:lnTo>
                    <a:pt x="11" y="206"/>
                  </a:lnTo>
                  <a:lnTo>
                    <a:pt x="11" y="204"/>
                  </a:lnTo>
                  <a:lnTo>
                    <a:pt x="11" y="202"/>
                  </a:lnTo>
                  <a:lnTo>
                    <a:pt x="11" y="200"/>
                  </a:lnTo>
                  <a:lnTo>
                    <a:pt x="13" y="200"/>
                  </a:lnTo>
                  <a:lnTo>
                    <a:pt x="13" y="198"/>
                  </a:lnTo>
                  <a:lnTo>
                    <a:pt x="13" y="196"/>
                  </a:lnTo>
                  <a:lnTo>
                    <a:pt x="15" y="196"/>
                  </a:lnTo>
                  <a:lnTo>
                    <a:pt x="15" y="194"/>
                  </a:lnTo>
                  <a:lnTo>
                    <a:pt x="15" y="192"/>
                  </a:lnTo>
                  <a:lnTo>
                    <a:pt x="17" y="192"/>
                  </a:lnTo>
                  <a:lnTo>
                    <a:pt x="17" y="190"/>
                  </a:lnTo>
                  <a:lnTo>
                    <a:pt x="17" y="192"/>
                  </a:lnTo>
                  <a:lnTo>
                    <a:pt x="19" y="192"/>
                  </a:lnTo>
                  <a:lnTo>
                    <a:pt x="17" y="192"/>
                  </a:lnTo>
                  <a:lnTo>
                    <a:pt x="17" y="194"/>
                  </a:lnTo>
                  <a:lnTo>
                    <a:pt x="17" y="196"/>
                  </a:lnTo>
                  <a:lnTo>
                    <a:pt x="17" y="198"/>
                  </a:lnTo>
                  <a:lnTo>
                    <a:pt x="17" y="200"/>
                  </a:lnTo>
                  <a:lnTo>
                    <a:pt x="19" y="200"/>
                  </a:lnTo>
                  <a:lnTo>
                    <a:pt x="17" y="200"/>
                  </a:lnTo>
                  <a:lnTo>
                    <a:pt x="19" y="200"/>
                  </a:lnTo>
                  <a:lnTo>
                    <a:pt x="17" y="200"/>
                  </a:lnTo>
                  <a:lnTo>
                    <a:pt x="17" y="202"/>
                  </a:lnTo>
                  <a:lnTo>
                    <a:pt x="17" y="204"/>
                  </a:lnTo>
                  <a:lnTo>
                    <a:pt x="17" y="202"/>
                  </a:lnTo>
                  <a:lnTo>
                    <a:pt x="17" y="204"/>
                  </a:lnTo>
                  <a:lnTo>
                    <a:pt x="19" y="204"/>
                  </a:lnTo>
                  <a:lnTo>
                    <a:pt x="19" y="202"/>
                  </a:lnTo>
                  <a:lnTo>
                    <a:pt x="21" y="202"/>
                  </a:lnTo>
                  <a:lnTo>
                    <a:pt x="21" y="204"/>
                  </a:lnTo>
                  <a:lnTo>
                    <a:pt x="21" y="202"/>
                  </a:lnTo>
                  <a:lnTo>
                    <a:pt x="21" y="200"/>
                  </a:lnTo>
                  <a:lnTo>
                    <a:pt x="21" y="202"/>
                  </a:lnTo>
                  <a:lnTo>
                    <a:pt x="21" y="200"/>
                  </a:lnTo>
                  <a:lnTo>
                    <a:pt x="21" y="202"/>
                  </a:lnTo>
                  <a:lnTo>
                    <a:pt x="21" y="200"/>
                  </a:lnTo>
                  <a:lnTo>
                    <a:pt x="23" y="200"/>
                  </a:lnTo>
                  <a:lnTo>
                    <a:pt x="21" y="200"/>
                  </a:lnTo>
                  <a:lnTo>
                    <a:pt x="23" y="200"/>
                  </a:lnTo>
                  <a:lnTo>
                    <a:pt x="21" y="200"/>
                  </a:lnTo>
                  <a:lnTo>
                    <a:pt x="23" y="200"/>
                  </a:lnTo>
                  <a:lnTo>
                    <a:pt x="21" y="200"/>
                  </a:lnTo>
                  <a:lnTo>
                    <a:pt x="23" y="200"/>
                  </a:lnTo>
                  <a:lnTo>
                    <a:pt x="21" y="200"/>
                  </a:lnTo>
                  <a:lnTo>
                    <a:pt x="23" y="200"/>
                  </a:lnTo>
                  <a:lnTo>
                    <a:pt x="21" y="200"/>
                  </a:lnTo>
                  <a:lnTo>
                    <a:pt x="21" y="198"/>
                  </a:lnTo>
                  <a:lnTo>
                    <a:pt x="23" y="198"/>
                  </a:lnTo>
                  <a:lnTo>
                    <a:pt x="23" y="196"/>
                  </a:lnTo>
                  <a:lnTo>
                    <a:pt x="23" y="198"/>
                  </a:lnTo>
                  <a:lnTo>
                    <a:pt x="23" y="196"/>
                  </a:lnTo>
                  <a:lnTo>
                    <a:pt x="23" y="194"/>
                  </a:lnTo>
                  <a:lnTo>
                    <a:pt x="23" y="196"/>
                  </a:lnTo>
                  <a:lnTo>
                    <a:pt x="25" y="196"/>
                  </a:lnTo>
                  <a:lnTo>
                    <a:pt x="23" y="196"/>
                  </a:lnTo>
                  <a:lnTo>
                    <a:pt x="23" y="194"/>
                  </a:lnTo>
                  <a:lnTo>
                    <a:pt x="25" y="194"/>
                  </a:lnTo>
                  <a:lnTo>
                    <a:pt x="23" y="194"/>
                  </a:lnTo>
                  <a:lnTo>
                    <a:pt x="25" y="194"/>
                  </a:lnTo>
                  <a:lnTo>
                    <a:pt x="23" y="194"/>
                  </a:lnTo>
                  <a:lnTo>
                    <a:pt x="25" y="194"/>
                  </a:lnTo>
                  <a:lnTo>
                    <a:pt x="25" y="192"/>
                  </a:lnTo>
                  <a:lnTo>
                    <a:pt x="27" y="192"/>
                  </a:lnTo>
                  <a:lnTo>
                    <a:pt x="27" y="190"/>
                  </a:lnTo>
                  <a:lnTo>
                    <a:pt x="28" y="190"/>
                  </a:lnTo>
                  <a:lnTo>
                    <a:pt x="30" y="190"/>
                  </a:lnTo>
                  <a:lnTo>
                    <a:pt x="28" y="190"/>
                  </a:lnTo>
                  <a:lnTo>
                    <a:pt x="30" y="190"/>
                  </a:lnTo>
                  <a:lnTo>
                    <a:pt x="28" y="190"/>
                  </a:lnTo>
                  <a:lnTo>
                    <a:pt x="30" y="190"/>
                  </a:lnTo>
                  <a:lnTo>
                    <a:pt x="30" y="188"/>
                  </a:lnTo>
                  <a:lnTo>
                    <a:pt x="32" y="188"/>
                  </a:lnTo>
                  <a:lnTo>
                    <a:pt x="34" y="188"/>
                  </a:lnTo>
                  <a:lnTo>
                    <a:pt x="36" y="188"/>
                  </a:lnTo>
                  <a:lnTo>
                    <a:pt x="36" y="187"/>
                  </a:lnTo>
                  <a:lnTo>
                    <a:pt x="36" y="188"/>
                  </a:lnTo>
                  <a:lnTo>
                    <a:pt x="36" y="187"/>
                  </a:lnTo>
                  <a:lnTo>
                    <a:pt x="36" y="188"/>
                  </a:lnTo>
                  <a:lnTo>
                    <a:pt x="36" y="187"/>
                  </a:lnTo>
                  <a:lnTo>
                    <a:pt x="36" y="188"/>
                  </a:lnTo>
                  <a:lnTo>
                    <a:pt x="36" y="187"/>
                  </a:lnTo>
                  <a:lnTo>
                    <a:pt x="36" y="188"/>
                  </a:lnTo>
                  <a:lnTo>
                    <a:pt x="36" y="187"/>
                  </a:lnTo>
                  <a:lnTo>
                    <a:pt x="36" y="188"/>
                  </a:lnTo>
                  <a:lnTo>
                    <a:pt x="36" y="187"/>
                  </a:lnTo>
                  <a:lnTo>
                    <a:pt x="38" y="187"/>
                  </a:lnTo>
                  <a:lnTo>
                    <a:pt x="38" y="188"/>
                  </a:lnTo>
                  <a:lnTo>
                    <a:pt x="38" y="187"/>
                  </a:lnTo>
                  <a:lnTo>
                    <a:pt x="38" y="185"/>
                  </a:lnTo>
                  <a:lnTo>
                    <a:pt x="38" y="187"/>
                  </a:lnTo>
                  <a:lnTo>
                    <a:pt x="38" y="185"/>
                  </a:lnTo>
                  <a:lnTo>
                    <a:pt x="40" y="185"/>
                  </a:lnTo>
                  <a:lnTo>
                    <a:pt x="38" y="185"/>
                  </a:lnTo>
                  <a:lnTo>
                    <a:pt x="40" y="185"/>
                  </a:lnTo>
                  <a:lnTo>
                    <a:pt x="40" y="183"/>
                  </a:lnTo>
                  <a:lnTo>
                    <a:pt x="40" y="185"/>
                  </a:lnTo>
                  <a:lnTo>
                    <a:pt x="40" y="183"/>
                  </a:lnTo>
                  <a:lnTo>
                    <a:pt x="42" y="183"/>
                  </a:lnTo>
                  <a:lnTo>
                    <a:pt x="42" y="181"/>
                  </a:lnTo>
                  <a:lnTo>
                    <a:pt x="44" y="181"/>
                  </a:lnTo>
                  <a:lnTo>
                    <a:pt x="42" y="181"/>
                  </a:lnTo>
                  <a:lnTo>
                    <a:pt x="44" y="181"/>
                  </a:lnTo>
                  <a:lnTo>
                    <a:pt x="44" y="179"/>
                  </a:lnTo>
                  <a:lnTo>
                    <a:pt x="46" y="179"/>
                  </a:lnTo>
                  <a:lnTo>
                    <a:pt x="48" y="179"/>
                  </a:lnTo>
                  <a:lnTo>
                    <a:pt x="46" y="179"/>
                  </a:lnTo>
                  <a:lnTo>
                    <a:pt x="48" y="179"/>
                  </a:lnTo>
                  <a:lnTo>
                    <a:pt x="46" y="179"/>
                  </a:lnTo>
                  <a:lnTo>
                    <a:pt x="48" y="179"/>
                  </a:lnTo>
                  <a:lnTo>
                    <a:pt x="48" y="177"/>
                  </a:lnTo>
                  <a:lnTo>
                    <a:pt x="50" y="177"/>
                  </a:lnTo>
                  <a:lnTo>
                    <a:pt x="51" y="177"/>
                  </a:lnTo>
                  <a:lnTo>
                    <a:pt x="51" y="175"/>
                  </a:lnTo>
                  <a:lnTo>
                    <a:pt x="51" y="177"/>
                  </a:lnTo>
                  <a:lnTo>
                    <a:pt x="51" y="175"/>
                  </a:lnTo>
                  <a:lnTo>
                    <a:pt x="51" y="177"/>
                  </a:lnTo>
                  <a:lnTo>
                    <a:pt x="51" y="175"/>
                  </a:lnTo>
                  <a:lnTo>
                    <a:pt x="53" y="175"/>
                  </a:lnTo>
                  <a:lnTo>
                    <a:pt x="51" y="175"/>
                  </a:lnTo>
                  <a:lnTo>
                    <a:pt x="53" y="175"/>
                  </a:lnTo>
                  <a:lnTo>
                    <a:pt x="51" y="175"/>
                  </a:lnTo>
                  <a:lnTo>
                    <a:pt x="53" y="175"/>
                  </a:lnTo>
                  <a:lnTo>
                    <a:pt x="51" y="175"/>
                  </a:lnTo>
                  <a:lnTo>
                    <a:pt x="53" y="175"/>
                  </a:lnTo>
                  <a:lnTo>
                    <a:pt x="51" y="175"/>
                  </a:lnTo>
                  <a:lnTo>
                    <a:pt x="53" y="175"/>
                  </a:lnTo>
                  <a:lnTo>
                    <a:pt x="55" y="175"/>
                  </a:lnTo>
                  <a:lnTo>
                    <a:pt x="53" y="175"/>
                  </a:lnTo>
                  <a:lnTo>
                    <a:pt x="55" y="175"/>
                  </a:lnTo>
                  <a:lnTo>
                    <a:pt x="53" y="175"/>
                  </a:lnTo>
                  <a:lnTo>
                    <a:pt x="53" y="173"/>
                  </a:lnTo>
                  <a:lnTo>
                    <a:pt x="55" y="173"/>
                  </a:lnTo>
                  <a:lnTo>
                    <a:pt x="55" y="171"/>
                  </a:lnTo>
                  <a:lnTo>
                    <a:pt x="57" y="171"/>
                  </a:lnTo>
                  <a:lnTo>
                    <a:pt x="57" y="173"/>
                  </a:lnTo>
                  <a:lnTo>
                    <a:pt x="55" y="173"/>
                  </a:lnTo>
                  <a:lnTo>
                    <a:pt x="57" y="173"/>
                  </a:lnTo>
                  <a:lnTo>
                    <a:pt x="55" y="173"/>
                  </a:lnTo>
                  <a:lnTo>
                    <a:pt x="55" y="175"/>
                  </a:lnTo>
                  <a:lnTo>
                    <a:pt x="55" y="173"/>
                  </a:lnTo>
                  <a:lnTo>
                    <a:pt x="57" y="173"/>
                  </a:lnTo>
                  <a:lnTo>
                    <a:pt x="57" y="175"/>
                  </a:lnTo>
                  <a:lnTo>
                    <a:pt x="57" y="173"/>
                  </a:lnTo>
                  <a:lnTo>
                    <a:pt x="57" y="175"/>
                  </a:lnTo>
                  <a:lnTo>
                    <a:pt x="59" y="175"/>
                  </a:lnTo>
                  <a:lnTo>
                    <a:pt x="57" y="175"/>
                  </a:lnTo>
                  <a:lnTo>
                    <a:pt x="59" y="175"/>
                  </a:lnTo>
                  <a:lnTo>
                    <a:pt x="59" y="173"/>
                  </a:lnTo>
                  <a:lnTo>
                    <a:pt x="61" y="173"/>
                  </a:lnTo>
                  <a:lnTo>
                    <a:pt x="63" y="173"/>
                  </a:lnTo>
                  <a:lnTo>
                    <a:pt x="61" y="173"/>
                  </a:lnTo>
                  <a:lnTo>
                    <a:pt x="63" y="173"/>
                  </a:lnTo>
                  <a:lnTo>
                    <a:pt x="61" y="173"/>
                  </a:lnTo>
                  <a:lnTo>
                    <a:pt x="61" y="175"/>
                  </a:lnTo>
                  <a:lnTo>
                    <a:pt x="63" y="175"/>
                  </a:lnTo>
                  <a:lnTo>
                    <a:pt x="61" y="175"/>
                  </a:lnTo>
                  <a:lnTo>
                    <a:pt x="61" y="173"/>
                  </a:lnTo>
                  <a:lnTo>
                    <a:pt x="63" y="173"/>
                  </a:lnTo>
                  <a:lnTo>
                    <a:pt x="61" y="173"/>
                  </a:lnTo>
                  <a:lnTo>
                    <a:pt x="61" y="175"/>
                  </a:lnTo>
                  <a:lnTo>
                    <a:pt x="63" y="175"/>
                  </a:lnTo>
                  <a:lnTo>
                    <a:pt x="65" y="175"/>
                  </a:lnTo>
                  <a:lnTo>
                    <a:pt x="63" y="175"/>
                  </a:lnTo>
                  <a:lnTo>
                    <a:pt x="65" y="175"/>
                  </a:lnTo>
                  <a:lnTo>
                    <a:pt x="63" y="175"/>
                  </a:lnTo>
                  <a:lnTo>
                    <a:pt x="65" y="175"/>
                  </a:lnTo>
                  <a:lnTo>
                    <a:pt x="67" y="175"/>
                  </a:lnTo>
                  <a:lnTo>
                    <a:pt x="65" y="175"/>
                  </a:lnTo>
                  <a:lnTo>
                    <a:pt x="67" y="175"/>
                  </a:lnTo>
                  <a:lnTo>
                    <a:pt x="69" y="175"/>
                  </a:lnTo>
                  <a:lnTo>
                    <a:pt x="67" y="175"/>
                  </a:lnTo>
                  <a:lnTo>
                    <a:pt x="69" y="175"/>
                  </a:lnTo>
                  <a:lnTo>
                    <a:pt x="69" y="173"/>
                  </a:lnTo>
                  <a:lnTo>
                    <a:pt x="69" y="175"/>
                  </a:lnTo>
                  <a:lnTo>
                    <a:pt x="69" y="173"/>
                  </a:lnTo>
                  <a:lnTo>
                    <a:pt x="69" y="175"/>
                  </a:lnTo>
                  <a:lnTo>
                    <a:pt x="69" y="173"/>
                  </a:lnTo>
                  <a:lnTo>
                    <a:pt x="69" y="175"/>
                  </a:lnTo>
                  <a:lnTo>
                    <a:pt x="69" y="173"/>
                  </a:lnTo>
                  <a:lnTo>
                    <a:pt x="69" y="175"/>
                  </a:lnTo>
                  <a:lnTo>
                    <a:pt x="69" y="173"/>
                  </a:lnTo>
                  <a:lnTo>
                    <a:pt x="71" y="173"/>
                  </a:lnTo>
                  <a:lnTo>
                    <a:pt x="71" y="175"/>
                  </a:lnTo>
                  <a:lnTo>
                    <a:pt x="71" y="173"/>
                  </a:lnTo>
                  <a:lnTo>
                    <a:pt x="73" y="173"/>
                  </a:lnTo>
                  <a:lnTo>
                    <a:pt x="73" y="171"/>
                  </a:lnTo>
                  <a:lnTo>
                    <a:pt x="73" y="173"/>
                  </a:lnTo>
                  <a:lnTo>
                    <a:pt x="73" y="171"/>
                  </a:lnTo>
                  <a:lnTo>
                    <a:pt x="73" y="173"/>
                  </a:lnTo>
                  <a:lnTo>
                    <a:pt x="73" y="171"/>
                  </a:lnTo>
                  <a:lnTo>
                    <a:pt x="75" y="171"/>
                  </a:lnTo>
                  <a:lnTo>
                    <a:pt x="75" y="169"/>
                  </a:lnTo>
                  <a:lnTo>
                    <a:pt x="76" y="169"/>
                  </a:lnTo>
                  <a:lnTo>
                    <a:pt x="78" y="169"/>
                  </a:lnTo>
                  <a:lnTo>
                    <a:pt x="80" y="169"/>
                  </a:lnTo>
                  <a:lnTo>
                    <a:pt x="78" y="169"/>
                  </a:lnTo>
                  <a:lnTo>
                    <a:pt x="80" y="169"/>
                  </a:lnTo>
                  <a:lnTo>
                    <a:pt x="82" y="169"/>
                  </a:lnTo>
                  <a:lnTo>
                    <a:pt x="80" y="169"/>
                  </a:lnTo>
                  <a:lnTo>
                    <a:pt x="82" y="169"/>
                  </a:lnTo>
                  <a:lnTo>
                    <a:pt x="80" y="169"/>
                  </a:lnTo>
                  <a:lnTo>
                    <a:pt x="82" y="169"/>
                  </a:lnTo>
                  <a:lnTo>
                    <a:pt x="80" y="169"/>
                  </a:lnTo>
                  <a:lnTo>
                    <a:pt x="82" y="169"/>
                  </a:lnTo>
                  <a:lnTo>
                    <a:pt x="82" y="167"/>
                  </a:lnTo>
                  <a:lnTo>
                    <a:pt x="82" y="169"/>
                  </a:lnTo>
                  <a:lnTo>
                    <a:pt x="82" y="167"/>
                  </a:lnTo>
                  <a:lnTo>
                    <a:pt x="82" y="169"/>
                  </a:lnTo>
                  <a:lnTo>
                    <a:pt x="82" y="167"/>
                  </a:lnTo>
                  <a:lnTo>
                    <a:pt x="82" y="169"/>
                  </a:lnTo>
                  <a:lnTo>
                    <a:pt x="82" y="167"/>
                  </a:lnTo>
                  <a:lnTo>
                    <a:pt x="84" y="167"/>
                  </a:lnTo>
                  <a:lnTo>
                    <a:pt x="82" y="167"/>
                  </a:lnTo>
                  <a:lnTo>
                    <a:pt x="84" y="167"/>
                  </a:lnTo>
                  <a:lnTo>
                    <a:pt x="84" y="169"/>
                  </a:lnTo>
                  <a:lnTo>
                    <a:pt x="84" y="167"/>
                  </a:lnTo>
                  <a:lnTo>
                    <a:pt x="84" y="169"/>
                  </a:lnTo>
                  <a:lnTo>
                    <a:pt x="84" y="167"/>
                  </a:lnTo>
                  <a:lnTo>
                    <a:pt x="84" y="169"/>
                  </a:lnTo>
                  <a:lnTo>
                    <a:pt x="84" y="167"/>
                  </a:lnTo>
                  <a:lnTo>
                    <a:pt x="86" y="167"/>
                  </a:lnTo>
                  <a:lnTo>
                    <a:pt x="86" y="165"/>
                  </a:lnTo>
                  <a:lnTo>
                    <a:pt x="88" y="165"/>
                  </a:lnTo>
                  <a:lnTo>
                    <a:pt x="88" y="164"/>
                  </a:lnTo>
                  <a:lnTo>
                    <a:pt x="90" y="164"/>
                  </a:lnTo>
                  <a:lnTo>
                    <a:pt x="92" y="164"/>
                  </a:lnTo>
                  <a:lnTo>
                    <a:pt x="94" y="164"/>
                  </a:lnTo>
                  <a:lnTo>
                    <a:pt x="96" y="164"/>
                  </a:lnTo>
                  <a:lnTo>
                    <a:pt x="98" y="164"/>
                  </a:lnTo>
                  <a:lnTo>
                    <a:pt x="98" y="165"/>
                  </a:lnTo>
                  <a:lnTo>
                    <a:pt x="98" y="164"/>
                  </a:lnTo>
                  <a:lnTo>
                    <a:pt x="98" y="165"/>
                  </a:lnTo>
                  <a:lnTo>
                    <a:pt x="98" y="164"/>
                  </a:lnTo>
                  <a:lnTo>
                    <a:pt x="99" y="164"/>
                  </a:lnTo>
                  <a:lnTo>
                    <a:pt x="101" y="164"/>
                  </a:lnTo>
                  <a:lnTo>
                    <a:pt x="101" y="162"/>
                  </a:lnTo>
                  <a:lnTo>
                    <a:pt x="103" y="162"/>
                  </a:lnTo>
                  <a:lnTo>
                    <a:pt x="105" y="162"/>
                  </a:lnTo>
                  <a:lnTo>
                    <a:pt x="107" y="162"/>
                  </a:lnTo>
                  <a:lnTo>
                    <a:pt x="109" y="162"/>
                  </a:lnTo>
                  <a:lnTo>
                    <a:pt x="109" y="160"/>
                  </a:lnTo>
                  <a:lnTo>
                    <a:pt x="109" y="162"/>
                  </a:lnTo>
                  <a:lnTo>
                    <a:pt x="109" y="160"/>
                  </a:lnTo>
                  <a:lnTo>
                    <a:pt x="111" y="160"/>
                  </a:lnTo>
                  <a:lnTo>
                    <a:pt x="113" y="160"/>
                  </a:lnTo>
                  <a:lnTo>
                    <a:pt x="115" y="160"/>
                  </a:lnTo>
                  <a:lnTo>
                    <a:pt x="115" y="158"/>
                  </a:lnTo>
                  <a:lnTo>
                    <a:pt x="117" y="158"/>
                  </a:lnTo>
                  <a:lnTo>
                    <a:pt x="119" y="158"/>
                  </a:lnTo>
                  <a:lnTo>
                    <a:pt x="119" y="156"/>
                  </a:lnTo>
                  <a:lnTo>
                    <a:pt x="121" y="156"/>
                  </a:lnTo>
                  <a:lnTo>
                    <a:pt x="121" y="154"/>
                  </a:lnTo>
                  <a:lnTo>
                    <a:pt x="123" y="154"/>
                  </a:lnTo>
                  <a:lnTo>
                    <a:pt x="123" y="152"/>
                  </a:lnTo>
                  <a:lnTo>
                    <a:pt x="124" y="152"/>
                  </a:lnTo>
                  <a:lnTo>
                    <a:pt x="124" y="150"/>
                  </a:lnTo>
                  <a:lnTo>
                    <a:pt x="124" y="148"/>
                  </a:lnTo>
                  <a:lnTo>
                    <a:pt x="126" y="148"/>
                  </a:lnTo>
                  <a:lnTo>
                    <a:pt x="126" y="146"/>
                  </a:lnTo>
                  <a:lnTo>
                    <a:pt x="126" y="144"/>
                  </a:lnTo>
                  <a:lnTo>
                    <a:pt x="126" y="146"/>
                  </a:lnTo>
                  <a:lnTo>
                    <a:pt x="126" y="144"/>
                  </a:lnTo>
                  <a:lnTo>
                    <a:pt x="126" y="142"/>
                  </a:lnTo>
                  <a:lnTo>
                    <a:pt x="126" y="144"/>
                  </a:lnTo>
                  <a:lnTo>
                    <a:pt x="126" y="142"/>
                  </a:lnTo>
                  <a:lnTo>
                    <a:pt x="126" y="144"/>
                  </a:lnTo>
                  <a:lnTo>
                    <a:pt x="126" y="142"/>
                  </a:lnTo>
                  <a:lnTo>
                    <a:pt x="126" y="144"/>
                  </a:lnTo>
                  <a:lnTo>
                    <a:pt x="126" y="142"/>
                  </a:lnTo>
                  <a:lnTo>
                    <a:pt x="126" y="144"/>
                  </a:lnTo>
                  <a:lnTo>
                    <a:pt x="126" y="142"/>
                  </a:lnTo>
                  <a:lnTo>
                    <a:pt x="128" y="144"/>
                  </a:lnTo>
                  <a:lnTo>
                    <a:pt x="128" y="142"/>
                  </a:lnTo>
                  <a:lnTo>
                    <a:pt x="130" y="142"/>
                  </a:lnTo>
                  <a:lnTo>
                    <a:pt x="128" y="142"/>
                  </a:lnTo>
                  <a:lnTo>
                    <a:pt x="130" y="142"/>
                  </a:lnTo>
                  <a:lnTo>
                    <a:pt x="128" y="142"/>
                  </a:lnTo>
                  <a:lnTo>
                    <a:pt x="128" y="140"/>
                  </a:lnTo>
                  <a:lnTo>
                    <a:pt x="130" y="140"/>
                  </a:lnTo>
                  <a:lnTo>
                    <a:pt x="128" y="140"/>
                  </a:lnTo>
                  <a:lnTo>
                    <a:pt x="130" y="140"/>
                  </a:lnTo>
                  <a:lnTo>
                    <a:pt x="130" y="139"/>
                  </a:lnTo>
                  <a:lnTo>
                    <a:pt x="130" y="140"/>
                  </a:lnTo>
                  <a:lnTo>
                    <a:pt x="130" y="139"/>
                  </a:lnTo>
                  <a:lnTo>
                    <a:pt x="132" y="139"/>
                  </a:lnTo>
                  <a:lnTo>
                    <a:pt x="134" y="139"/>
                  </a:lnTo>
                  <a:lnTo>
                    <a:pt x="134" y="137"/>
                  </a:lnTo>
                  <a:lnTo>
                    <a:pt x="136" y="137"/>
                  </a:lnTo>
                  <a:lnTo>
                    <a:pt x="136" y="135"/>
                  </a:lnTo>
                  <a:lnTo>
                    <a:pt x="138" y="135"/>
                  </a:lnTo>
                  <a:lnTo>
                    <a:pt x="138" y="133"/>
                  </a:lnTo>
                  <a:lnTo>
                    <a:pt x="136" y="133"/>
                  </a:lnTo>
                  <a:lnTo>
                    <a:pt x="136" y="131"/>
                  </a:lnTo>
                  <a:lnTo>
                    <a:pt x="136" y="133"/>
                  </a:lnTo>
                  <a:lnTo>
                    <a:pt x="134" y="133"/>
                  </a:lnTo>
                  <a:lnTo>
                    <a:pt x="136" y="133"/>
                  </a:lnTo>
                  <a:lnTo>
                    <a:pt x="136" y="131"/>
                  </a:lnTo>
                  <a:lnTo>
                    <a:pt x="136" y="129"/>
                  </a:lnTo>
                  <a:lnTo>
                    <a:pt x="136" y="127"/>
                  </a:lnTo>
                  <a:lnTo>
                    <a:pt x="134" y="127"/>
                  </a:lnTo>
                  <a:lnTo>
                    <a:pt x="134" y="125"/>
                  </a:lnTo>
                  <a:lnTo>
                    <a:pt x="134" y="123"/>
                  </a:lnTo>
                  <a:lnTo>
                    <a:pt x="134" y="121"/>
                  </a:lnTo>
                  <a:lnTo>
                    <a:pt x="136" y="121"/>
                  </a:lnTo>
                  <a:lnTo>
                    <a:pt x="136" y="119"/>
                  </a:lnTo>
                  <a:lnTo>
                    <a:pt x="138" y="119"/>
                  </a:lnTo>
                  <a:lnTo>
                    <a:pt x="136" y="119"/>
                  </a:lnTo>
                  <a:lnTo>
                    <a:pt x="138" y="119"/>
                  </a:lnTo>
                  <a:lnTo>
                    <a:pt x="136" y="119"/>
                  </a:lnTo>
                  <a:lnTo>
                    <a:pt x="138" y="119"/>
                  </a:lnTo>
                  <a:lnTo>
                    <a:pt x="136" y="119"/>
                  </a:lnTo>
                  <a:lnTo>
                    <a:pt x="138" y="119"/>
                  </a:lnTo>
                  <a:lnTo>
                    <a:pt x="136" y="119"/>
                  </a:lnTo>
                  <a:lnTo>
                    <a:pt x="136" y="117"/>
                  </a:lnTo>
                  <a:lnTo>
                    <a:pt x="138" y="117"/>
                  </a:lnTo>
                  <a:lnTo>
                    <a:pt x="138" y="116"/>
                  </a:lnTo>
                  <a:lnTo>
                    <a:pt x="140" y="116"/>
                  </a:lnTo>
                  <a:lnTo>
                    <a:pt x="140" y="117"/>
                  </a:lnTo>
                  <a:lnTo>
                    <a:pt x="138" y="117"/>
                  </a:lnTo>
                  <a:lnTo>
                    <a:pt x="140" y="117"/>
                  </a:lnTo>
                  <a:lnTo>
                    <a:pt x="138" y="117"/>
                  </a:lnTo>
                  <a:lnTo>
                    <a:pt x="140" y="117"/>
                  </a:lnTo>
                  <a:lnTo>
                    <a:pt x="140" y="116"/>
                  </a:lnTo>
                  <a:lnTo>
                    <a:pt x="140" y="117"/>
                  </a:lnTo>
                  <a:lnTo>
                    <a:pt x="140" y="116"/>
                  </a:lnTo>
                  <a:lnTo>
                    <a:pt x="142" y="116"/>
                  </a:lnTo>
                  <a:lnTo>
                    <a:pt x="142" y="117"/>
                  </a:lnTo>
                  <a:lnTo>
                    <a:pt x="142" y="116"/>
                  </a:lnTo>
                  <a:lnTo>
                    <a:pt x="140" y="116"/>
                  </a:lnTo>
                  <a:lnTo>
                    <a:pt x="140" y="114"/>
                  </a:lnTo>
                  <a:lnTo>
                    <a:pt x="140" y="116"/>
                  </a:lnTo>
                  <a:lnTo>
                    <a:pt x="140" y="114"/>
                  </a:lnTo>
                  <a:lnTo>
                    <a:pt x="140" y="116"/>
                  </a:lnTo>
                  <a:lnTo>
                    <a:pt x="140" y="114"/>
                  </a:lnTo>
                  <a:lnTo>
                    <a:pt x="140" y="116"/>
                  </a:lnTo>
                  <a:lnTo>
                    <a:pt x="140" y="114"/>
                  </a:lnTo>
                  <a:lnTo>
                    <a:pt x="140" y="116"/>
                  </a:lnTo>
                  <a:lnTo>
                    <a:pt x="140" y="114"/>
                  </a:lnTo>
                  <a:lnTo>
                    <a:pt x="140" y="116"/>
                  </a:lnTo>
                  <a:lnTo>
                    <a:pt x="140" y="114"/>
                  </a:lnTo>
                  <a:lnTo>
                    <a:pt x="142" y="114"/>
                  </a:lnTo>
                  <a:lnTo>
                    <a:pt x="140" y="114"/>
                  </a:lnTo>
                  <a:lnTo>
                    <a:pt x="142" y="114"/>
                  </a:lnTo>
                  <a:lnTo>
                    <a:pt x="144" y="114"/>
                  </a:lnTo>
                  <a:lnTo>
                    <a:pt x="146" y="114"/>
                  </a:lnTo>
                  <a:lnTo>
                    <a:pt x="144" y="114"/>
                  </a:lnTo>
                  <a:lnTo>
                    <a:pt x="146" y="114"/>
                  </a:lnTo>
                  <a:lnTo>
                    <a:pt x="144" y="114"/>
                  </a:lnTo>
                  <a:lnTo>
                    <a:pt x="146" y="114"/>
                  </a:lnTo>
                  <a:lnTo>
                    <a:pt x="144" y="114"/>
                  </a:lnTo>
                  <a:lnTo>
                    <a:pt x="146" y="114"/>
                  </a:lnTo>
                  <a:lnTo>
                    <a:pt x="144" y="114"/>
                  </a:lnTo>
                  <a:lnTo>
                    <a:pt x="146" y="114"/>
                  </a:lnTo>
                  <a:lnTo>
                    <a:pt x="144" y="114"/>
                  </a:lnTo>
                  <a:lnTo>
                    <a:pt x="144" y="112"/>
                  </a:lnTo>
                  <a:lnTo>
                    <a:pt x="144" y="114"/>
                  </a:lnTo>
                  <a:lnTo>
                    <a:pt x="144" y="112"/>
                  </a:lnTo>
                  <a:lnTo>
                    <a:pt x="144" y="110"/>
                  </a:lnTo>
                  <a:lnTo>
                    <a:pt x="146" y="110"/>
                  </a:lnTo>
                  <a:lnTo>
                    <a:pt x="146" y="108"/>
                  </a:lnTo>
                  <a:lnTo>
                    <a:pt x="147" y="108"/>
                  </a:lnTo>
                  <a:lnTo>
                    <a:pt x="147" y="110"/>
                  </a:lnTo>
                  <a:lnTo>
                    <a:pt x="147" y="108"/>
                  </a:lnTo>
                  <a:lnTo>
                    <a:pt x="147" y="110"/>
                  </a:lnTo>
                  <a:lnTo>
                    <a:pt x="147" y="108"/>
                  </a:lnTo>
                  <a:lnTo>
                    <a:pt x="147" y="110"/>
                  </a:lnTo>
                  <a:lnTo>
                    <a:pt x="147" y="108"/>
                  </a:lnTo>
                  <a:lnTo>
                    <a:pt x="147" y="110"/>
                  </a:lnTo>
                  <a:lnTo>
                    <a:pt x="147" y="108"/>
                  </a:lnTo>
                  <a:lnTo>
                    <a:pt x="147" y="110"/>
                  </a:lnTo>
                  <a:lnTo>
                    <a:pt x="146" y="110"/>
                  </a:lnTo>
                  <a:lnTo>
                    <a:pt x="146" y="112"/>
                  </a:lnTo>
                  <a:lnTo>
                    <a:pt x="147" y="112"/>
                  </a:lnTo>
                  <a:lnTo>
                    <a:pt x="147" y="114"/>
                  </a:lnTo>
                  <a:lnTo>
                    <a:pt x="149" y="114"/>
                  </a:lnTo>
                  <a:lnTo>
                    <a:pt x="149" y="112"/>
                  </a:lnTo>
                  <a:lnTo>
                    <a:pt x="149" y="114"/>
                  </a:lnTo>
                  <a:lnTo>
                    <a:pt x="149" y="116"/>
                  </a:lnTo>
                  <a:lnTo>
                    <a:pt x="149" y="117"/>
                  </a:lnTo>
                  <a:lnTo>
                    <a:pt x="151" y="117"/>
                  </a:lnTo>
                  <a:lnTo>
                    <a:pt x="151" y="119"/>
                  </a:lnTo>
                  <a:lnTo>
                    <a:pt x="153" y="121"/>
                  </a:lnTo>
                  <a:lnTo>
                    <a:pt x="153" y="123"/>
                  </a:lnTo>
                  <a:lnTo>
                    <a:pt x="155" y="123"/>
                  </a:lnTo>
                  <a:lnTo>
                    <a:pt x="155" y="125"/>
                  </a:lnTo>
                  <a:lnTo>
                    <a:pt x="155" y="127"/>
                  </a:lnTo>
                  <a:lnTo>
                    <a:pt x="155" y="125"/>
                  </a:lnTo>
                  <a:lnTo>
                    <a:pt x="155" y="127"/>
                  </a:lnTo>
                  <a:lnTo>
                    <a:pt x="155" y="125"/>
                  </a:lnTo>
                  <a:lnTo>
                    <a:pt x="155" y="123"/>
                  </a:lnTo>
                  <a:lnTo>
                    <a:pt x="155" y="121"/>
                  </a:lnTo>
                  <a:lnTo>
                    <a:pt x="155" y="119"/>
                  </a:lnTo>
                  <a:lnTo>
                    <a:pt x="157" y="119"/>
                  </a:lnTo>
                  <a:lnTo>
                    <a:pt x="157" y="121"/>
                  </a:lnTo>
                  <a:lnTo>
                    <a:pt x="157" y="119"/>
                  </a:lnTo>
                  <a:lnTo>
                    <a:pt x="157" y="121"/>
                  </a:lnTo>
                  <a:lnTo>
                    <a:pt x="157" y="119"/>
                  </a:lnTo>
                  <a:lnTo>
                    <a:pt x="155" y="119"/>
                  </a:lnTo>
                  <a:lnTo>
                    <a:pt x="155" y="117"/>
                  </a:lnTo>
                  <a:lnTo>
                    <a:pt x="157" y="117"/>
                  </a:lnTo>
                  <a:lnTo>
                    <a:pt x="155" y="117"/>
                  </a:lnTo>
                  <a:lnTo>
                    <a:pt x="157" y="117"/>
                  </a:lnTo>
                  <a:lnTo>
                    <a:pt x="157" y="119"/>
                  </a:lnTo>
                  <a:lnTo>
                    <a:pt x="159" y="119"/>
                  </a:lnTo>
                  <a:lnTo>
                    <a:pt x="157" y="119"/>
                  </a:lnTo>
                  <a:lnTo>
                    <a:pt x="159" y="119"/>
                  </a:lnTo>
                  <a:lnTo>
                    <a:pt x="157" y="119"/>
                  </a:lnTo>
                  <a:lnTo>
                    <a:pt x="157" y="117"/>
                  </a:lnTo>
                  <a:lnTo>
                    <a:pt x="157" y="119"/>
                  </a:lnTo>
                  <a:lnTo>
                    <a:pt x="157" y="117"/>
                  </a:lnTo>
                  <a:lnTo>
                    <a:pt x="159" y="119"/>
                  </a:lnTo>
                  <a:lnTo>
                    <a:pt x="159" y="121"/>
                  </a:lnTo>
                  <a:lnTo>
                    <a:pt x="161" y="121"/>
                  </a:lnTo>
                  <a:lnTo>
                    <a:pt x="161" y="119"/>
                  </a:lnTo>
                  <a:lnTo>
                    <a:pt x="159" y="119"/>
                  </a:lnTo>
                  <a:lnTo>
                    <a:pt x="159" y="117"/>
                  </a:lnTo>
                  <a:lnTo>
                    <a:pt x="161" y="117"/>
                  </a:lnTo>
                  <a:lnTo>
                    <a:pt x="159" y="117"/>
                  </a:lnTo>
                  <a:lnTo>
                    <a:pt x="159" y="116"/>
                  </a:lnTo>
                  <a:lnTo>
                    <a:pt x="161" y="116"/>
                  </a:lnTo>
                  <a:lnTo>
                    <a:pt x="161" y="114"/>
                  </a:lnTo>
                  <a:lnTo>
                    <a:pt x="161" y="116"/>
                  </a:lnTo>
                  <a:lnTo>
                    <a:pt x="159" y="116"/>
                  </a:lnTo>
                  <a:lnTo>
                    <a:pt x="161" y="116"/>
                  </a:lnTo>
                  <a:lnTo>
                    <a:pt x="159" y="116"/>
                  </a:lnTo>
                  <a:lnTo>
                    <a:pt x="157" y="116"/>
                  </a:lnTo>
                  <a:lnTo>
                    <a:pt x="157" y="114"/>
                  </a:lnTo>
                  <a:lnTo>
                    <a:pt x="157" y="112"/>
                  </a:lnTo>
                  <a:lnTo>
                    <a:pt x="155" y="112"/>
                  </a:lnTo>
                  <a:lnTo>
                    <a:pt x="155" y="110"/>
                  </a:lnTo>
                  <a:lnTo>
                    <a:pt x="155" y="112"/>
                  </a:lnTo>
                  <a:lnTo>
                    <a:pt x="155" y="110"/>
                  </a:lnTo>
                  <a:lnTo>
                    <a:pt x="153" y="110"/>
                  </a:lnTo>
                  <a:lnTo>
                    <a:pt x="155" y="110"/>
                  </a:lnTo>
                  <a:lnTo>
                    <a:pt x="153" y="110"/>
                  </a:lnTo>
                  <a:lnTo>
                    <a:pt x="155" y="110"/>
                  </a:lnTo>
                  <a:lnTo>
                    <a:pt x="153" y="110"/>
                  </a:lnTo>
                  <a:lnTo>
                    <a:pt x="155" y="110"/>
                  </a:lnTo>
                  <a:lnTo>
                    <a:pt x="153" y="110"/>
                  </a:lnTo>
                  <a:lnTo>
                    <a:pt x="155" y="110"/>
                  </a:lnTo>
                  <a:lnTo>
                    <a:pt x="157" y="110"/>
                  </a:lnTo>
                  <a:lnTo>
                    <a:pt x="155" y="110"/>
                  </a:lnTo>
                  <a:lnTo>
                    <a:pt x="157" y="110"/>
                  </a:lnTo>
                  <a:lnTo>
                    <a:pt x="155" y="110"/>
                  </a:lnTo>
                  <a:lnTo>
                    <a:pt x="155" y="108"/>
                  </a:lnTo>
                  <a:lnTo>
                    <a:pt x="157" y="108"/>
                  </a:lnTo>
                  <a:lnTo>
                    <a:pt x="157" y="106"/>
                  </a:lnTo>
                  <a:lnTo>
                    <a:pt x="155" y="106"/>
                  </a:lnTo>
                  <a:lnTo>
                    <a:pt x="155" y="104"/>
                  </a:lnTo>
                  <a:lnTo>
                    <a:pt x="155" y="106"/>
                  </a:lnTo>
                  <a:lnTo>
                    <a:pt x="155" y="104"/>
                  </a:lnTo>
                  <a:lnTo>
                    <a:pt x="155" y="106"/>
                  </a:lnTo>
                  <a:lnTo>
                    <a:pt x="155" y="104"/>
                  </a:lnTo>
                  <a:lnTo>
                    <a:pt x="157" y="104"/>
                  </a:lnTo>
                  <a:lnTo>
                    <a:pt x="155" y="104"/>
                  </a:lnTo>
                  <a:lnTo>
                    <a:pt x="157" y="104"/>
                  </a:lnTo>
                  <a:lnTo>
                    <a:pt x="159" y="104"/>
                  </a:lnTo>
                  <a:lnTo>
                    <a:pt x="157" y="104"/>
                  </a:lnTo>
                  <a:lnTo>
                    <a:pt x="159" y="104"/>
                  </a:lnTo>
                  <a:lnTo>
                    <a:pt x="159" y="106"/>
                  </a:lnTo>
                  <a:lnTo>
                    <a:pt x="157" y="106"/>
                  </a:lnTo>
                  <a:lnTo>
                    <a:pt x="159" y="106"/>
                  </a:lnTo>
                  <a:lnTo>
                    <a:pt x="157" y="106"/>
                  </a:lnTo>
                  <a:lnTo>
                    <a:pt x="159" y="106"/>
                  </a:lnTo>
                  <a:lnTo>
                    <a:pt x="159" y="108"/>
                  </a:lnTo>
                  <a:lnTo>
                    <a:pt x="161" y="108"/>
                  </a:lnTo>
                  <a:lnTo>
                    <a:pt x="159" y="108"/>
                  </a:lnTo>
                  <a:lnTo>
                    <a:pt x="161" y="108"/>
                  </a:lnTo>
                  <a:lnTo>
                    <a:pt x="159" y="108"/>
                  </a:lnTo>
                  <a:lnTo>
                    <a:pt x="161" y="108"/>
                  </a:lnTo>
                  <a:lnTo>
                    <a:pt x="161" y="106"/>
                  </a:lnTo>
                  <a:lnTo>
                    <a:pt x="159" y="106"/>
                  </a:lnTo>
                  <a:lnTo>
                    <a:pt x="161" y="106"/>
                  </a:lnTo>
                  <a:lnTo>
                    <a:pt x="161" y="108"/>
                  </a:lnTo>
                  <a:lnTo>
                    <a:pt x="161" y="106"/>
                  </a:lnTo>
                  <a:lnTo>
                    <a:pt x="161" y="108"/>
                  </a:lnTo>
                  <a:lnTo>
                    <a:pt x="161" y="106"/>
                  </a:lnTo>
                  <a:lnTo>
                    <a:pt x="163" y="106"/>
                  </a:lnTo>
                  <a:lnTo>
                    <a:pt x="165" y="106"/>
                  </a:lnTo>
                  <a:lnTo>
                    <a:pt x="165" y="108"/>
                  </a:lnTo>
                  <a:lnTo>
                    <a:pt x="167" y="108"/>
                  </a:lnTo>
                  <a:lnTo>
                    <a:pt x="167" y="110"/>
                  </a:lnTo>
                  <a:lnTo>
                    <a:pt x="167" y="108"/>
                  </a:lnTo>
                  <a:lnTo>
                    <a:pt x="167" y="110"/>
                  </a:lnTo>
                  <a:lnTo>
                    <a:pt x="167" y="108"/>
                  </a:lnTo>
                  <a:lnTo>
                    <a:pt x="167" y="110"/>
                  </a:lnTo>
                  <a:lnTo>
                    <a:pt x="169" y="110"/>
                  </a:lnTo>
                  <a:lnTo>
                    <a:pt x="167" y="110"/>
                  </a:lnTo>
                  <a:lnTo>
                    <a:pt x="169" y="110"/>
                  </a:lnTo>
                  <a:lnTo>
                    <a:pt x="170" y="110"/>
                  </a:lnTo>
                  <a:lnTo>
                    <a:pt x="169" y="110"/>
                  </a:lnTo>
                  <a:lnTo>
                    <a:pt x="167" y="110"/>
                  </a:lnTo>
                  <a:lnTo>
                    <a:pt x="167" y="108"/>
                  </a:lnTo>
                  <a:lnTo>
                    <a:pt x="169" y="108"/>
                  </a:lnTo>
                  <a:lnTo>
                    <a:pt x="170" y="108"/>
                  </a:lnTo>
                  <a:lnTo>
                    <a:pt x="172" y="108"/>
                  </a:lnTo>
                  <a:lnTo>
                    <a:pt x="174" y="108"/>
                  </a:lnTo>
                  <a:lnTo>
                    <a:pt x="176" y="108"/>
                  </a:lnTo>
                  <a:lnTo>
                    <a:pt x="174" y="108"/>
                  </a:lnTo>
                  <a:lnTo>
                    <a:pt x="172" y="108"/>
                  </a:lnTo>
                  <a:lnTo>
                    <a:pt x="170" y="108"/>
                  </a:lnTo>
                  <a:lnTo>
                    <a:pt x="170" y="106"/>
                  </a:lnTo>
                  <a:lnTo>
                    <a:pt x="170" y="108"/>
                  </a:lnTo>
                  <a:lnTo>
                    <a:pt x="169" y="108"/>
                  </a:lnTo>
                  <a:lnTo>
                    <a:pt x="167" y="108"/>
                  </a:lnTo>
                  <a:lnTo>
                    <a:pt x="169" y="108"/>
                  </a:lnTo>
                  <a:lnTo>
                    <a:pt x="167" y="108"/>
                  </a:lnTo>
                  <a:lnTo>
                    <a:pt x="167" y="106"/>
                  </a:lnTo>
                  <a:lnTo>
                    <a:pt x="167" y="104"/>
                  </a:lnTo>
                  <a:lnTo>
                    <a:pt x="169" y="104"/>
                  </a:lnTo>
                  <a:lnTo>
                    <a:pt x="169" y="102"/>
                  </a:lnTo>
                  <a:lnTo>
                    <a:pt x="169" y="104"/>
                  </a:lnTo>
                  <a:lnTo>
                    <a:pt x="169" y="102"/>
                  </a:lnTo>
                  <a:lnTo>
                    <a:pt x="169" y="104"/>
                  </a:lnTo>
                  <a:lnTo>
                    <a:pt x="170" y="104"/>
                  </a:lnTo>
                  <a:lnTo>
                    <a:pt x="170" y="102"/>
                  </a:lnTo>
                  <a:lnTo>
                    <a:pt x="170" y="100"/>
                  </a:lnTo>
                  <a:lnTo>
                    <a:pt x="172" y="100"/>
                  </a:lnTo>
                  <a:lnTo>
                    <a:pt x="172" y="98"/>
                  </a:lnTo>
                  <a:lnTo>
                    <a:pt x="172" y="96"/>
                  </a:lnTo>
                  <a:lnTo>
                    <a:pt x="174" y="96"/>
                  </a:lnTo>
                  <a:lnTo>
                    <a:pt x="172" y="96"/>
                  </a:lnTo>
                  <a:lnTo>
                    <a:pt x="172" y="94"/>
                  </a:lnTo>
                  <a:lnTo>
                    <a:pt x="172" y="96"/>
                  </a:lnTo>
                  <a:lnTo>
                    <a:pt x="170" y="96"/>
                  </a:lnTo>
                  <a:lnTo>
                    <a:pt x="172" y="96"/>
                  </a:lnTo>
                  <a:lnTo>
                    <a:pt x="172" y="98"/>
                  </a:lnTo>
                  <a:lnTo>
                    <a:pt x="170" y="98"/>
                  </a:lnTo>
                  <a:lnTo>
                    <a:pt x="172" y="98"/>
                  </a:lnTo>
                  <a:lnTo>
                    <a:pt x="170" y="98"/>
                  </a:lnTo>
                  <a:lnTo>
                    <a:pt x="172" y="98"/>
                  </a:lnTo>
                  <a:lnTo>
                    <a:pt x="170" y="98"/>
                  </a:lnTo>
                  <a:lnTo>
                    <a:pt x="170" y="100"/>
                  </a:lnTo>
                  <a:lnTo>
                    <a:pt x="169" y="100"/>
                  </a:lnTo>
                  <a:lnTo>
                    <a:pt x="169" y="102"/>
                  </a:lnTo>
                  <a:lnTo>
                    <a:pt x="169" y="100"/>
                  </a:lnTo>
                  <a:lnTo>
                    <a:pt x="169" y="98"/>
                  </a:lnTo>
                  <a:lnTo>
                    <a:pt x="169" y="100"/>
                  </a:lnTo>
                  <a:lnTo>
                    <a:pt x="167" y="100"/>
                  </a:lnTo>
                  <a:lnTo>
                    <a:pt x="167" y="98"/>
                  </a:lnTo>
                  <a:lnTo>
                    <a:pt x="169" y="98"/>
                  </a:lnTo>
                  <a:lnTo>
                    <a:pt x="167" y="98"/>
                  </a:lnTo>
                  <a:lnTo>
                    <a:pt x="169" y="98"/>
                  </a:lnTo>
                  <a:lnTo>
                    <a:pt x="167" y="98"/>
                  </a:lnTo>
                  <a:lnTo>
                    <a:pt x="167" y="96"/>
                  </a:lnTo>
                  <a:lnTo>
                    <a:pt x="169" y="96"/>
                  </a:lnTo>
                  <a:lnTo>
                    <a:pt x="167" y="96"/>
                  </a:lnTo>
                  <a:lnTo>
                    <a:pt x="169" y="96"/>
                  </a:lnTo>
                  <a:lnTo>
                    <a:pt x="167" y="96"/>
                  </a:lnTo>
                  <a:lnTo>
                    <a:pt x="169" y="96"/>
                  </a:lnTo>
                  <a:lnTo>
                    <a:pt x="167" y="96"/>
                  </a:lnTo>
                  <a:lnTo>
                    <a:pt x="169" y="96"/>
                  </a:lnTo>
                  <a:lnTo>
                    <a:pt x="167" y="96"/>
                  </a:lnTo>
                  <a:lnTo>
                    <a:pt x="169" y="96"/>
                  </a:lnTo>
                  <a:lnTo>
                    <a:pt x="169" y="94"/>
                  </a:lnTo>
                  <a:lnTo>
                    <a:pt x="170" y="94"/>
                  </a:lnTo>
                  <a:lnTo>
                    <a:pt x="170" y="92"/>
                  </a:lnTo>
                  <a:lnTo>
                    <a:pt x="170" y="94"/>
                  </a:lnTo>
                  <a:lnTo>
                    <a:pt x="170" y="92"/>
                  </a:lnTo>
                  <a:lnTo>
                    <a:pt x="170" y="94"/>
                  </a:lnTo>
                  <a:lnTo>
                    <a:pt x="172" y="94"/>
                  </a:lnTo>
                  <a:lnTo>
                    <a:pt x="170" y="94"/>
                  </a:lnTo>
                  <a:lnTo>
                    <a:pt x="172" y="94"/>
                  </a:lnTo>
                  <a:lnTo>
                    <a:pt x="170" y="94"/>
                  </a:lnTo>
                  <a:lnTo>
                    <a:pt x="172" y="94"/>
                  </a:lnTo>
                  <a:lnTo>
                    <a:pt x="170" y="94"/>
                  </a:lnTo>
                  <a:lnTo>
                    <a:pt x="170" y="92"/>
                  </a:lnTo>
                  <a:lnTo>
                    <a:pt x="172" y="92"/>
                  </a:lnTo>
                  <a:lnTo>
                    <a:pt x="170" y="92"/>
                  </a:lnTo>
                  <a:lnTo>
                    <a:pt x="172" y="92"/>
                  </a:lnTo>
                  <a:lnTo>
                    <a:pt x="170" y="92"/>
                  </a:lnTo>
                  <a:lnTo>
                    <a:pt x="172" y="92"/>
                  </a:lnTo>
                  <a:lnTo>
                    <a:pt x="170" y="92"/>
                  </a:lnTo>
                  <a:lnTo>
                    <a:pt x="172" y="92"/>
                  </a:lnTo>
                  <a:lnTo>
                    <a:pt x="172" y="91"/>
                  </a:lnTo>
                  <a:lnTo>
                    <a:pt x="170" y="91"/>
                  </a:lnTo>
                  <a:lnTo>
                    <a:pt x="172" y="91"/>
                  </a:lnTo>
                  <a:lnTo>
                    <a:pt x="170" y="91"/>
                  </a:lnTo>
                  <a:lnTo>
                    <a:pt x="172" y="91"/>
                  </a:lnTo>
                  <a:lnTo>
                    <a:pt x="170" y="91"/>
                  </a:lnTo>
                  <a:lnTo>
                    <a:pt x="172" y="91"/>
                  </a:lnTo>
                  <a:lnTo>
                    <a:pt x="170" y="91"/>
                  </a:lnTo>
                  <a:lnTo>
                    <a:pt x="172" y="91"/>
                  </a:lnTo>
                  <a:lnTo>
                    <a:pt x="172" y="92"/>
                  </a:lnTo>
                  <a:lnTo>
                    <a:pt x="172" y="91"/>
                  </a:lnTo>
                  <a:lnTo>
                    <a:pt x="174" y="91"/>
                  </a:lnTo>
                  <a:lnTo>
                    <a:pt x="174" y="92"/>
                  </a:lnTo>
                  <a:lnTo>
                    <a:pt x="174" y="91"/>
                  </a:lnTo>
                  <a:lnTo>
                    <a:pt x="174" y="92"/>
                  </a:lnTo>
                  <a:lnTo>
                    <a:pt x="176" y="92"/>
                  </a:lnTo>
                  <a:lnTo>
                    <a:pt x="176" y="94"/>
                  </a:lnTo>
                  <a:lnTo>
                    <a:pt x="178" y="94"/>
                  </a:lnTo>
                  <a:lnTo>
                    <a:pt x="176" y="94"/>
                  </a:lnTo>
                  <a:lnTo>
                    <a:pt x="178" y="94"/>
                  </a:lnTo>
                  <a:lnTo>
                    <a:pt x="176" y="94"/>
                  </a:lnTo>
                  <a:lnTo>
                    <a:pt x="178" y="94"/>
                  </a:lnTo>
                  <a:lnTo>
                    <a:pt x="176" y="94"/>
                  </a:lnTo>
                  <a:lnTo>
                    <a:pt x="178" y="94"/>
                  </a:lnTo>
                  <a:lnTo>
                    <a:pt x="180" y="94"/>
                  </a:lnTo>
                  <a:lnTo>
                    <a:pt x="180" y="96"/>
                  </a:lnTo>
                  <a:lnTo>
                    <a:pt x="182" y="96"/>
                  </a:lnTo>
                  <a:lnTo>
                    <a:pt x="180" y="96"/>
                  </a:lnTo>
                  <a:lnTo>
                    <a:pt x="180" y="94"/>
                  </a:lnTo>
                  <a:lnTo>
                    <a:pt x="178" y="94"/>
                  </a:lnTo>
                  <a:lnTo>
                    <a:pt x="180" y="94"/>
                  </a:lnTo>
                  <a:lnTo>
                    <a:pt x="180" y="92"/>
                  </a:lnTo>
                  <a:lnTo>
                    <a:pt x="180" y="94"/>
                  </a:lnTo>
                  <a:lnTo>
                    <a:pt x="178" y="94"/>
                  </a:lnTo>
                  <a:lnTo>
                    <a:pt x="178" y="92"/>
                  </a:lnTo>
                  <a:lnTo>
                    <a:pt x="178" y="94"/>
                  </a:lnTo>
                  <a:lnTo>
                    <a:pt x="178" y="92"/>
                  </a:lnTo>
                  <a:lnTo>
                    <a:pt x="178" y="91"/>
                  </a:lnTo>
                  <a:lnTo>
                    <a:pt x="178" y="92"/>
                  </a:lnTo>
                  <a:lnTo>
                    <a:pt x="178" y="91"/>
                  </a:lnTo>
                  <a:lnTo>
                    <a:pt x="178" y="92"/>
                  </a:lnTo>
                  <a:lnTo>
                    <a:pt x="178" y="91"/>
                  </a:lnTo>
                  <a:lnTo>
                    <a:pt x="178" y="92"/>
                  </a:lnTo>
                  <a:lnTo>
                    <a:pt x="178" y="91"/>
                  </a:lnTo>
                  <a:lnTo>
                    <a:pt x="178" y="92"/>
                  </a:lnTo>
                  <a:lnTo>
                    <a:pt x="178" y="91"/>
                  </a:lnTo>
                  <a:lnTo>
                    <a:pt x="178" y="92"/>
                  </a:lnTo>
                  <a:lnTo>
                    <a:pt x="178" y="91"/>
                  </a:lnTo>
                  <a:lnTo>
                    <a:pt x="178" y="92"/>
                  </a:lnTo>
                  <a:lnTo>
                    <a:pt x="178" y="91"/>
                  </a:lnTo>
                  <a:lnTo>
                    <a:pt x="178" y="92"/>
                  </a:lnTo>
                  <a:lnTo>
                    <a:pt x="178" y="91"/>
                  </a:lnTo>
                  <a:lnTo>
                    <a:pt x="176" y="91"/>
                  </a:lnTo>
                  <a:lnTo>
                    <a:pt x="176" y="92"/>
                  </a:lnTo>
                  <a:lnTo>
                    <a:pt x="174" y="92"/>
                  </a:lnTo>
                  <a:lnTo>
                    <a:pt x="174" y="91"/>
                  </a:lnTo>
                  <a:lnTo>
                    <a:pt x="174" y="92"/>
                  </a:lnTo>
                  <a:lnTo>
                    <a:pt x="174" y="91"/>
                  </a:lnTo>
                  <a:lnTo>
                    <a:pt x="176" y="91"/>
                  </a:lnTo>
                  <a:lnTo>
                    <a:pt x="174" y="91"/>
                  </a:lnTo>
                  <a:lnTo>
                    <a:pt x="176" y="91"/>
                  </a:lnTo>
                  <a:lnTo>
                    <a:pt x="174" y="91"/>
                  </a:lnTo>
                  <a:lnTo>
                    <a:pt x="176" y="91"/>
                  </a:lnTo>
                  <a:lnTo>
                    <a:pt x="174" y="91"/>
                  </a:lnTo>
                  <a:lnTo>
                    <a:pt x="176" y="91"/>
                  </a:lnTo>
                  <a:lnTo>
                    <a:pt x="174" y="91"/>
                  </a:lnTo>
                  <a:lnTo>
                    <a:pt x="176" y="91"/>
                  </a:lnTo>
                  <a:lnTo>
                    <a:pt x="174" y="91"/>
                  </a:lnTo>
                  <a:lnTo>
                    <a:pt x="176" y="91"/>
                  </a:lnTo>
                  <a:lnTo>
                    <a:pt x="174" y="91"/>
                  </a:lnTo>
                  <a:lnTo>
                    <a:pt x="176" y="91"/>
                  </a:lnTo>
                  <a:lnTo>
                    <a:pt x="176" y="89"/>
                  </a:lnTo>
                  <a:lnTo>
                    <a:pt x="176" y="91"/>
                  </a:lnTo>
                  <a:lnTo>
                    <a:pt x="176" y="89"/>
                  </a:lnTo>
                  <a:lnTo>
                    <a:pt x="176" y="91"/>
                  </a:lnTo>
                  <a:lnTo>
                    <a:pt x="176" y="89"/>
                  </a:lnTo>
                  <a:lnTo>
                    <a:pt x="176" y="91"/>
                  </a:lnTo>
                  <a:lnTo>
                    <a:pt x="176" y="89"/>
                  </a:lnTo>
                  <a:lnTo>
                    <a:pt x="176" y="91"/>
                  </a:lnTo>
                  <a:lnTo>
                    <a:pt x="176" y="89"/>
                  </a:lnTo>
                  <a:lnTo>
                    <a:pt x="176" y="91"/>
                  </a:lnTo>
                  <a:lnTo>
                    <a:pt x="174" y="89"/>
                  </a:lnTo>
                  <a:lnTo>
                    <a:pt x="174" y="91"/>
                  </a:lnTo>
                  <a:lnTo>
                    <a:pt x="176" y="91"/>
                  </a:lnTo>
                  <a:lnTo>
                    <a:pt x="174" y="91"/>
                  </a:lnTo>
                  <a:lnTo>
                    <a:pt x="176" y="91"/>
                  </a:lnTo>
                  <a:lnTo>
                    <a:pt x="174" y="91"/>
                  </a:lnTo>
                  <a:lnTo>
                    <a:pt x="174" y="89"/>
                  </a:lnTo>
                  <a:lnTo>
                    <a:pt x="176" y="89"/>
                  </a:lnTo>
                  <a:lnTo>
                    <a:pt x="176" y="87"/>
                  </a:lnTo>
                  <a:lnTo>
                    <a:pt x="178" y="87"/>
                  </a:lnTo>
                  <a:lnTo>
                    <a:pt x="176" y="87"/>
                  </a:lnTo>
                  <a:lnTo>
                    <a:pt x="178" y="87"/>
                  </a:lnTo>
                  <a:lnTo>
                    <a:pt x="178" y="89"/>
                  </a:lnTo>
                  <a:lnTo>
                    <a:pt x="178" y="91"/>
                  </a:lnTo>
                  <a:lnTo>
                    <a:pt x="178" y="89"/>
                  </a:lnTo>
                  <a:lnTo>
                    <a:pt x="180" y="89"/>
                  </a:lnTo>
                  <a:lnTo>
                    <a:pt x="182" y="89"/>
                  </a:lnTo>
                  <a:lnTo>
                    <a:pt x="182" y="91"/>
                  </a:lnTo>
                  <a:lnTo>
                    <a:pt x="182" y="89"/>
                  </a:lnTo>
                  <a:lnTo>
                    <a:pt x="182" y="91"/>
                  </a:lnTo>
                  <a:lnTo>
                    <a:pt x="182" y="89"/>
                  </a:lnTo>
                  <a:lnTo>
                    <a:pt x="180" y="89"/>
                  </a:lnTo>
                  <a:lnTo>
                    <a:pt x="182" y="89"/>
                  </a:lnTo>
                  <a:lnTo>
                    <a:pt x="182" y="91"/>
                  </a:lnTo>
                  <a:lnTo>
                    <a:pt x="182" y="89"/>
                  </a:lnTo>
                  <a:lnTo>
                    <a:pt x="182" y="91"/>
                  </a:lnTo>
                  <a:lnTo>
                    <a:pt x="182" y="89"/>
                  </a:lnTo>
                  <a:lnTo>
                    <a:pt x="184" y="89"/>
                  </a:lnTo>
                  <a:lnTo>
                    <a:pt x="184" y="91"/>
                  </a:lnTo>
                  <a:lnTo>
                    <a:pt x="184" y="89"/>
                  </a:lnTo>
                  <a:lnTo>
                    <a:pt x="182" y="89"/>
                  </a:lnTo>
                  <a:lnTo>
                    <a:pt x="182" y="87"/>
                  </a:lnTo>
                  <a:lnTo>
                    <a:pt x="182" y="89"/>
                  </a:lnTo>
                  <a:lnTo>
                    <a:pt x="182" y="87"/>
                  </a:lnTo>
                  <a:lnTo>
                    <a:pt x="184" y="87"/>
                  </a:lnTo>
                  <a:lnTo>
                    <a:pt x="182" y="87"/>
                  </a:lnTo>
                  <a:lnTo>
                    <a:pt x="180" y="87"/>
                  </a:lnTo>
                  <a:lnTo>
                    <a:pt x="180" y="85"/>
                  </a:lnTo>
                  <a:lnTo>
                    <a:pt x="182" y="85"/>
                  </a:lnTo>
                  <a:lnTo>
                    <a:pt x="180" y="85"/>
                  </a:lnTo>
                  <a:lnTo>
                    <a:pt x="178" y="85"/>
                  </a:lnTo>
                  <a:lnTo>
                    <a:pt x="178" y="83"/>
                  </a:lnTo>
                  <a:lnTo>
                    <a:pt x="180" y="83"/>
                  </a:lnTo>
                  <a:lnTo>
                    <a:pt x="178" y="83"/>
                  </a:lnTo>
                  <a:lnTo>
                    <a:pt x="180" y="83"/>
                  </a:lnTo>
                  <a:lnTo>
                    <a:pt x="180" y="81"/>
                  </a:lnTo>
                  <a:lnTo>
                    <a:pt x="180" y="83"/>
                  </a:lnTo>
                  <a:lnTo>
                    <a:pt x="180" y="81"/>
                  </a:lnTo>
                  <a:lnTo>
                    <a:pt x="180" y="83"/>
                  </a:lnTo>
                  <a:lnTo>
                    <a:pt x="180" y="81"/>
                  </a:lnTo>
                  <a:lnTo>
                    <a:pt x="182" y="81"/>
                  </a:lnTo>
                  <a:lnTo>
                    <a:pt x="180" y="81"/>
                  </a:lnTo>
                  <a:lnTo>
                    <a:pt x="180" y="79"/>
                  </a:lnTo>
                  <a:lnTo>
                    <a:pt x="180" y="81"/>
                  </a:lnTo>
                  <a:lnTo>
                    <a:pt x="180" y="79"/>
                  </a:lnTo>
                  <a:lnTo>
                    <a:pt x="182" y="79"/>
                  </a:lnTo>
                  <a:lnTo>
                    <a:pt x="182" y="81"/>
                  </a:lnTo>
                  <a:lnTo>
                    <a:pt x="182" y="79"/>
                  </a:lnTo>
                  <a:lnTo>
                    <a:pt x="182" y="81"/>
                  </a:lnTo>
                  <a:lnTo>
                    <a:pt x="182" y="79"/>
                  </a:lnTo>
                  <a:lnTo>
                    <a:pt x="182" y="81"/>
                  </a:lnTo>
                  <a:lnTo>
                    <a:pt x="184" y="81"/>
                  </a:lnTo>
                  <a:lnTo>
                    <a:pt x="182" y="81"/>
                  </a:lnTo>
                  <a:lnTo>
                    <a:pt x="184" y="81"/>
                  </a:lnTo>
                  <a:lnTo>
                    <a:pt x="182" y="81"/>
                  </a:lnTo>
                  <a:lnTo>
                    <a:pt x="184" y="81"/>
                  </a:lnTo>
                  <a:lnTo>
                    <a:pt x="184" y="79"/>
                  </a:lnTo>
                  <a:lnTo>
                    <a:pt x="184" y="81"/>
                  </a:lnTo>
                  <a:lnTo>
                    <a:pt x="184" y="79"/>
                  </a:lnTo>
                  <a:lnTo>
                    <a:pt x="184" y="81"/>
                  </a:lnTo>
                  <a:lnTo>
                    <a:pt x="184" y="79"/>
                  </a:lnTo>
                  <a:lnTo>
                    <a:pt x="184" y="81"/>
                  </a:lnTo>
                  <a:lnTo>
                    <a:pt x="184" y="79"/>
                  </a:lnTo>
                  <a:lnTo>
                    <a:pt x="186" y="79"/>
                  </a:lnTo>
                  <a:lnTo>
                    <a:pt x="186" y="81"/>
                  </a:lnTo>
                  <a:lnTo>
                    <a:pt x="186" y="79"/>
                  </a:lnTo>
                  <a:lnTo>
                    <a:pt x="184" y="79"/>
                  </a:lnTo>
                  <a:lnTo>
                    <a:pt x="186" y="79"/>
                  </a:lnTo>
                  <a:lnTo>
                    <a:pt x="184" y="79"/>
                  </a:lnTo>
                  <a:lnTo>
                    <a:pt x="186" y="79"/>
                  </a:lnTo>
                  <a:lnTo>
                    <a:pt x="184" y="79"/>
                  </a:lnTo>
                  <a:lnTo>
                    <a:pt x="186" y="79"/>
                  </a:lnTo>
                  <a:lnTo>
                    <a:pt x="186" y="77"/>
                  </a:lnTo>
                  <a:lnTo>
                    <a:pt x="186" y="79"/>
                  </a:lnTo>
                  <a:lnTo>
                    <a:pt x="186" y="77"/>
                  </a:lnTo>
                  <a:lnTo>
                    <a:pt x="184" y="77"/>
                  </a:lnTo>
                  <a:lnTo>
                    <a:pt x="186" y="77"/>
                  </a:lnTo>
                  <a:lnTo>
                    <a:pt x="184" y="77"/>
                  </a:lnTo>
                  <a:lnTo>
                    <a:pt x="186" y="77"/>
                  </a:lnTo>
                  <a:lnTo>
                    <a:pt x="184" y="77"/>
                  </a:lnTo>
                  <a:lnTo>
                    <a:pt x="184" y="75"/>
                  </a:lnTo>
                  <a:lnTo>
                    <a:pt x="186" y="75"/>
                  </a:lnTo>
                  <a:lnTo>
                    <a:pt x="184" y="75"/>
                  </a:lnTo>
                  <a:lnTo>
                    <a:pt x="186" y="75"/>
                  </a:lnTo>
                  <a:lnTo>
                    <a:pt x="188" y="75"/>
                  </a:lnTo>
                  <a:lnTo>
                    <a:pt x="186" y="75"/>
                  </a:lnTo>
                  <a:lnTo>
                    <a:pt x="188" y="75"/>
                  </a:lnTo>
                  <a:lnTo>
                    <a:pt x="186" y="75"/>
                  </a:lnTo>
                  <a:lnTo>
                    <a:pt x="186" y="77"/>
                  </a:lnTo>
                  <a:lnTo>
                    <a:pt x="188" y="77"/>
                  </a:lnTo>
                  <a:lnTo>
                    <a:pt x="186" y="77"/>
                  </a:lnTo>
                  <a:lnTo>
                    <a:pt x="188" y="77"/>
                  </a:lnTo>
                  <a:lnTo>
                    <a:pt x="186" y="77"/>
                  </a:lnTo>
                  <a:lnTo>
                    <a:pt x="186" y="79"/>
                  </a:lnTo>
                  <a:lnTo>
                    <a:pt x="186" y="77"/>
                  </a:lnTo>
                  <a:lnTo>
                    <a:pt x="186" y="79"/>
                  </a:lnTo>
                  <a:lnTo>
                    <a:pt x="186" y="81"/>
                  </a:lnTo>
                  <a:lnTo>
                    <a:pt x="186" y="79"/>
                  </a:lnTo>
                  <a:lnTo>
                    <a:pt x="186" y="81"/>
                  </a:lnTo>
                  <a:lnTo>
                    <a:pt x="186" y="79"/>
                  </a:lnTo>
                  <a:lnTo>
                    <a:pt x="188" y="79"/>
                  </a:lnTo>
                  <a:lnTo>
                    <a:pt x="190" y="79"/>
                  </a:lnTo>
                  <a:lnTo>
                    <a:pt x="188" y="79"/>
                  </a:lnTo>
                  <a:lnTo>
                    <a:pt x="188" y="81"/>
                  </a:lnTo>
                  <a:lnTo>
                    <a:pt x="190" y="81"/>
                  </a:lnTo>
                  <a:lnTo>
                    <a:pt x="188" y="81"/>
                  </a:lnTo>
                  <a:lnTo>
                    <a:pt x="190" y="81"/>
                  </a:lnTo>
                  <a:lnTo>
                    <a:pt x="190" y="83"/>
                  </a:lnTo>
                  <a:lnTo>
                    <a:pt x="190" y="81"/>
                  </a:lnTo>
                  <a:lnTo>
                    <a:pt x="190" y="83"/>
                  </a:lnTo>
                  <a:lnTo>
                    <a:pt x="190" y="81"/>
                  </a:lnTo>
                  <a:lnTo>
                    <a:pt x="190" y="79"/>
                  </a:lnTo>
                  <a:lnTo>
                    <a:pt x="192" y="79"/>
                  </a:lnTo>
                  <a:lnTo>
                    <a:pt x="192" y="77"/>
                  </a:lnTo>
                  <a:lnTo>
                    <a:pt x="192" y="79"/>
                  </a:lnTo>
                  <a:lnTo>
                    <a:pt x="192" y="77"/>
                  </a:lnTo>
                  <a:lnTo>
                    <a:pt x="190" y="77"/>
                  </a:lnTo>
                  <a:lnTo>
                    <a:pt x="192" y="77"/>
                  </a:lnTo>
                  <a:lnTo>
                    <a:pt x="192" y="75"/>
                  </a:lnTo>
                  <a:lnTo>
                    <a:pt x="194" y="75"/>
                  </a:lnTo>
                  <a:lnTo>
                    <a:pt x="194" y="73"/>
                  </a:lnTo>
                  <a:lnTo>
                    <a:pt x="192" y="73"/>
                  </a:lnTo>
                  <a:lnTo>
                    <a:pt x="192" y="71"/>
                  </a:lnTo>
                  <a:lnTo>
                    <a:pt x="190" y="71"/>
                  </a:lnTo>
                  <a:lnTo>
                    <a:pt x="192" y="71"/>
                  </a:lnTo>
                  <a:lnTo>
                    <a:pt x="192" y="73"/>
                  </a:lnTo>
                  <a:lnTo>
                    <a:pt x="192" y="71"/>
                  </a:lnTo>
                  <a:lnTo>
                    <a:pt x="192" y="69"/>
                  </a:lnTo>
                  <a:lnTo>
                    <a:pt x="192" y="71"/>
                  </a:lnTo>
                  <a:lnTo>
                    <a:pt x="192" y="69"/>
                  </a:lnTo>
                  <a:lnTo>
                    <a:pt x="192" y="71"/>
                  </a:lnTo>
                  <a:lnTo>
                    <a:pt x="192" y="69"/>
                  </a:lnTo>
                  <a:lnTo>
                    <a:pt x="192" y="71"/>
                  </a:lnTo>
                  <a:lnTo>
                    <a:pt x="194" y="71"/>
                  </a:lnTo>
                  <a:lnTo>
                    <a:pt x="194" y="69"/>
                  </a:lnTo>
                  <a:lnTo>
                    <a:pt x="194" y="71"/>
                  </a:lnTo>
                  <a:lnTo>
                    <a:pt x="194" y="69"/>
                  </a:lnTo>
                  <a:lnTo>
                    <a:pt x="194" y="71"/>
                  </a:lnTo>
                  <a:lnTo>
                    <a:pt x="192" y="71"/>
                  </a:lnTo>
                  <a:lnTo>
                    <a:pt x="194" y="71"/>
                  </a:lnTo>
                  <a:lnTo>
                    <a:pt x="192" y="71"/>
                  </a:lnTo>
                  <a:lnTo>
                    <a:pt x="194" y="71"/>
                  </a:lnTo>
                  <a:lnTo>
                    <a:pt x="194" y="73"/>
                  </a:lnTo>
                  <a:lnTo>
                    <a:pt x="194" y="75"/>
                  </a:lnTo>
                  <a:lnTo>
                    <a:pt x="194" y="73"/>
                  </a:lnTo>
                  <a:lnTo>
                    <a:pt x="194" y="75"/>
                  </a:lnTo>
                  <a:lnTo>
                    <a:pt x="194" y="73"/>
                  </a:lnTo>
                  <a:lnTo>
                    <a:pt x="194" y="75"/>
                  </a:lnTo>
                  <a:lnTo>
                    <a:pt x="194" y="73"/>
                  </a:lnTo>
                  <a:lnTo>
                    <a:pt x="194" y="75"/>
                  </a:lnTo>
                  <a:lnTo>
                    <a:pt x="195" y="75"/>
                  </a:lnTo>
                  <a:lnTo>
                    <a:pt x="195" y="73"/>
                  </a:lnTo>
                  <a:lnTo>
                    <a:pt x="195" y="71"/>
                  </a:lnTo>
                  <a:lnTo>
                    <a:pt x="197" y="71"/>
                  </a:lnTo>
                  <a:lnTo>
                    <a:pt x="199" y="71"/>
                  </a:lnTo>
                  <a:lnTo>
                    <a:pt x="197" y="71"/>
                  </a:lnTo>
                  <a:lnTo>
                    <a:pt x="197" y="73"/>
                  </a:lnTo>
                  <a:lnTo>
                    <a:pt x="199" y="73"/>
                  </a:lnTo>
                  <a:lnTo>
                    <a:pt x="197" y="73"/>
                  </a:lnTo>
                  <a:lnTo>
                    <a:pt x="199" y="73"/>
                  </a:lnTo>
                  <a:lnTo>
                    <a:pt x="197" y="73"/>
                  </a:lnTo>
                  <a:lnTo>
                    <a:pt x="199" y="73"/>
                  </a:lnTo>
                  <a:lnTo>
                    <a:pt x="199" y="75"/>
                  </a:lnTo>
                  <a:lnTo>
                    <a:pt x="199" y="73"/>
                  </a:lnTo>
                  <a:lnTo>
                    <a:pt x="199" y="75"/>
                  </a:lnTo>
                  <a:lnTo>
                    <a:pt x="199" y="73"/>
                  </a:lnTo>
                  <a:lnTo>
                    <a:pt x="199" y="75"/>
                  </a:lnTo>
                  <a:lnTo>
                    <a:pt x="201" y="75"/>
                  </a:lnTo>
                  <a:lnTo>
                    <a:pt x="199" y="75"/>
                  </a:lnTo>
                  <a:lnTo>
                    <a:pt x="201" y="75"/>
                  </a:lnTo>
                  <a:lnTo>
                    <a:pt x="201" y="73"/>
                  </a:lnTo>
                  <a:lnTo>
                    <a:pt x="201" y="71"/>
                  </a:lnTo>
                  <a:lnTo>
                    <a:pt x="203" y="71"/>
                  </a:lnTo>
                  <a:lnTo>
                    <a:pt x="201" y="71"/>
                  </a:lnTo>
                  <a:lnTo>
                    <a:pt x="203" y="71"/>
                  </a:lnTo>
                  <a:lnTo>
                    <a:pt x="205" y="71"/>
                  </a:lnTo>
                  <a:lnTo>
                    <a:pt x="203" y="71"/>
                  </a:lnTo>
                  <a:lnTo>
                    <a:pt x="203" y="69"/>
                  </a:lnTo>
                  <a:lnTo>
                    <a:pt x="203" y="71"/>
                  </a:lnTo>
                  <a:lnTo>
                    <a:pt x="203" y="69"/>
                  </a:lnTo>
                  <a:lnTo>
                    <a:pt x="201" y="69"/>
                  </a:lnTo>
                  <a:lnTo>
                    <a:pt x="201" y="67"/>
                  </a:lnTo>
                  <a:lnTo>
                    <a:pt x="203" y="67"/>
                  </a:lnTo>
                  <a:lnTo>
                    <a:pt x="203" y="69"/>
                  </a:lnTo>
                  <a:lnTo>
                    <a:pt x="203" y="67"/>
                  </a:lnTo>
                  <a:lnTo>
                    <a:pt x="203" y="69"/>
                  </a:lnTo>
                  <a:lnTo>
                    <a:pt x="203" y="67"/>
                  </a:lnTo>
                  <a:lnTo>
                    <a:pt x="205" y="67"/>
                  </a:lnTo>
                  <a:lnTo>
                    <a:pt x="205" y="69"/>
                  </a:lnTo>
                  <a:lnTo>
                    <a:pt x="207" y="69"/>
                  </a:lnTo>
                  <a:lnTo>
                    <a:pt x="207" y="71"/>
                  </a:lnTo>
                  <a:lnTo>
                    <a:pt x="207" y="69"/>
                  </a:lnTo>
                  <a:lnTo>
                    <a:pt x="207" y="71"/>
                  </a:lnTo>
                  <a:lnTo>
                    <a:pt x="209" y="71"/>
                  </a:lnTo>
                  <a:lnTo>
                    <a:pt x="209" y="69"/>
                  </a:lnTo>
                  <a:lnTo>
                    <a:pt x="207" y="69"/>
                  </a:lnTo>
                  <a:lnTo>
                    <a:pt x="209" y="69"/>
                  </a:lnTo>
                  <a:lnTo>
                    <a:pt x="209" y="71"/>
                  </a:lnTo>
                  <a:lnTo>
                    <a:pt x="209" y="69"/>
                  </a:lnTo>
                  <a:lnTo>
                    <a:pt x="209" y="71"/>
                  </a:lnTo>
                  <a:lnTo>
                    <a:pt x="211" y="71"/>
                  </a:lnTo>
                  <a:lnTo>
                    <a:pt x="211" y="69"/>
                  </a:lnTo>
                  <a:lnTo>
                    <a:pt x="211" y="71"/>
                  </a:lnTo>
                  <a:lnTo>
                    <a:pt x="213" y="71"/>
                  </a:lnTo>
                  <a:lnTo>
                    <a:pt x="213" y="73"/>
                  </a:lnTo>
                  <a:lnTo>
                    <a:pt x="215" y="73"/>
                  </a:lnTo>
                  <a:lnTo>
                    <a:pt x="215" y="75"/>
                  </a:lnTo>
                  <a:lnTo>
                    <a:pt x="217" y="75"/>
                  </a:lnTo>
                  <a:lnTo>
                    <a:pt x="217" y="77"/>
                  </a:lnTo>
                  <a:lnTo>
                    <a:pt x="218" y="77"/>
                  </a:lnTo>
                  <a:lnTo>
                    <a:pt x="217" y="77"/>
                  </a:lnTo>
                  <a:lnTo>
                    <a:pt x="217" y="79"/>
                  </a:lnTo>
                  <a:lnTo>
                    <a:pt x="218" y="79"/>
                  </a:lnTo>
                  <a:lnTo>
                    <a:pt x="218" y="81"/>
                  </a:lnTo>
                  <a:lnTo>
                    <a:pt x="220" y="81"/>
                  </a:lnTo>
                  <a:lnTo>
                    <a:pt x="220" y="79"/>
                  </a:lnTo>
                  <a:lnTo>
                    <a:pt x="220" y="81"/>
                  </a:lnTo>
                  <a:lnTo>
                    <a:pt x="222" y="81"/>
                  </a:lnTo>
                  <a:lnTo>
                    <a:pt x="222" y="83"/>
                  </a:lnTo>
                  <a:lnTo>
                    <a:pt x="222" y="81"/>
                  </a:lnTo>
                  <a:lnTo>
                    <a:pt x="222" y="83"/>
                  </a:lnTo>
                  <a:lnTo>
                    <a:pt x="224" y="83"/>
                  </a:lnTo>
                  <a:lnTo>
                    <a:pt x="222" y="83"/>
                  </a:lnTo>
                  <a:lnTo>
                    <a:pt x="224" y="83"/>
                  </a:lnTo>
                  <a:lnTo>
                    <a:pt x="222" y="83"/>
                  </a:lnTo>
                  <a:lnTo>
                    <a:pt x="222" y="85"/>
                  </a:lnTo>
                  <a:lnTo>
                    <a:pt x="222" y="87"/>
                  </a:lnTo>
                  <a:lnTo>
                    <a:pt x="222" y="89"/>
                  </a:lnTo>
                  <a:lnTo>
                    <a:pt x="220" y="89"/>
                  </a:lnTo>
                  <a:lnTo>
                    <a:pt x="222" y="89"/>
                  </a:lnTo>
                  <a:lnTo>
                    <a:pt x="222" y="91"/>
                  </a:lnTo>
                  <a:lnTo>
                    <a:pt x="220" y="91"/>
                  </a:lnTo>
                  <a:lnTo>
                    <a:pt x="222" y="91"/>
                  </a:lnTo>
                  <a:lnTo>
                    <a:pt x="220" y="91"/>
                  </a:lnTo>
                  <a:lnTo>
                    <a:pt x="222" y="91"/>
                  </a:lnTo>
                  <a:lnTo>
                    <a:pt x="220" y="91"/>
                  </a:lnTo>
                  <a:lnTo>
                    <a:pt x="222" y="91"/>
                  </a:lnTo>
                  <a:lnTo>
                    <a:pt x="220" y="91"/>
                  </a:lnTo>
                  <a:lnTo>
                    <a:pt x="220" y="92"/>
                  </a:lnTo>
                  <a:lnTo>
                    <a:pt x="222" y="92"/>
                  </a:lnTo>
                  <a:lnTo>
                    <a:pt x="220" y="92"/>
                  </a:lnTo>
                  <a:lnTo>
                    <a:pt x="220" y="94"/>
                  </a:lnTo>
                  <a:lnTo>
                    <a:pt x="218" y="94"/>
                  </a:lnTo>
                  <a:lnTo>
                    <a:pt x="218" y="96"/>
                  </a:lnTo>
                  <a:lnTo>
                    <a:pt x="218" y="94"/>
                  </a:lnTo>
                  <a:lnTo>
                    <a:pt x="218" y="96"/>
                  </a:lnTo>
                  <a:lnTo>
                    <a:pt x="218" y="94"/>
                  </a:lnTo>
                  <a:lnTo>
                    <a:pt x="220" y="94"/>
                  </a:lnTo>
                  <a:lnTo>
                    <a:pt x="222" y="94"/>
                  </a:lnTo>
                  <a:lnTo>
                    <a:pt x="222" y="92"/>
                  </a:lnTo>
                  <a:lnTo>
                    <a:pt x="222" y="91"/>
                  </a:lnTo>
                  <a:lnTo>
                    <a:pt x="222" y="89"/>
                  </a:lnTo>
                  <a:lnTo>
                    <a:pt x="222" y="91"/>
                  </a:lnTo>
                  <a:lnTo>
                    <a:pt x="224" y="91"/>
                  </a:lnTo>
                  <a:lnTo>
                    <a:pt x="224" y="92"/>
                  </a:lnTo>
                  <a:lnTo>
                    <a:pt x="224" y="94"/>
                  </a:lnTo>
                  <a:lnTo>
                    <a:pt x="226" y="94"/>
                  </a:lnTo>
                  <a:lnTo>
                    <a:pt x="224" y="94"/>
                  </a:lnTo>
                  <a:lnTo>
                    <a:pt x="224" y="92"/>
                  </a:lnTo>
                  <a:lnTo>
                    <a:pt x="224" y="91"/>
                  </a:lnTo>
                  <a:lnTo>
                    <a:pt x="224" y="89"/>
                  </a:lnTo>
                  <a:lnTo>
                    <a:pt x="222" y="89"/>
                  </a:lnTo>
                  <a:lnTo>
                    <a:pt x="222" y="87"/>
                  </a:lnTo>
                  <a:lnTo>
                    <a:pt x="224" y="87"/>
                  </a:lnTo>
                  <a:lnTo>
                    <a:pt x="224" y="85"/>
                  </a:lnTo>
                  <a:lnTo>
                    <a:pt x="224" y="87"/>
                  </a:lnTo>
                  <a:lnTo>
                    <a:pt x="226" y="87"/>
                  </a:lnTo>
                  <a:lnTo>
                    <a:pt x="224" y="87"/>
                  </a:lnTo>
                  <a:lnTo>
                    <a:pt x="226" y="87"/>
                  </a:lnTo>
                  <a:lnTo>
                    <a:pt x="226" y="85"/>
                  </a:lnTo>
                  <a:lnTo>
                    <a:pt x="226" y="87"/>
                  </a:lnTo>
                  <a:lnTo>
                    <a:pt x="226" y="85"/>
                  </a:lnTo>
                  <a:lnTo>
                    <a:pt x="226" y="87"/>
                  </a:lnTo>
                  <a:lnTo>
                    <a:pt x="228" y="87"/>
                  </a:lnTo>
                  <a:lnTo>
                    <a:pt x="226" y="87"/>
                  </a:lnTo>
                  <a:lnTo>
                    <a:pt x="226" y="85"/>
                  </a:lnTo>
                  <a:lnTo>
                    <a:pt x="226" y="83"/>
                  </a:lnTo>
                  <a:lnTo>
                    <a:pt x="228" y="83"/>
                  </a:lnTo>
                  <a:lnTo>
                    <a:pt x="230" y="83"/>
                  </a:lnTo>
                  <a:lnTo>
                    <a:pt x="230" y="85"/>
                  </a:lnTo>
                  <a:lnTo>
                    <a:pt x="230" y="83"/>
                  </a:lnTo>
                  <a:lnTo>
                    <a:pt x="228" y="83"/>
                  </a:lnTo>
                  <a:lnTo>
                    <a:pt x="230" y="83"/>
                  </a:lnTo>
                  <a:lnTo>
                    <a:pt x="230" y="85"/>
                  </a:lnTo>
                  <a:lnTo>
                    <a:pt x="232" y="85"/>
                  </a:lnTo>
                  <a:lnTo>
                    <a:pt x="230" y="85"/>
                  </a:lnTo>
                  <a:lnTo>
                    <a:pt x="232" y="85"/>
                  </a:lnTo>
                  <a:lnTo>
                    <a:pt x="230" y="85"/>
                  </a:lnTo>
                  <a:lnTo>
                    <a:pt x="232" y="85"/>
                  </a:lnTo>
                  <a:lnTo>
                    <a:pt x="234" y="85"/>
                  </a:lnTo>
                  <a:lnTo>
                    <a:pt x="232" y="85"/>
                  </a:lnTo>
                  <a:lnTo>
                    <a:pt x="234" y="85"/>
                  </a:lnTo>
                  <a:lnTo>
                    <a:pt x="232" y="85"/>
                  </a:lnTo>
                  <a:lnTo>
                    <a:pt x="234" y="85"/>
                  </a:lnTo>
                  <a:lnTo>
                    <a:pt x="232" y="85"/>
                  </a:lnTo>
                  <a:lnTo>
                    <a:pt x="234" y="85"/>
                  </a:lnTo>
                  <a:lnTo>
                    <a:pt x="236" y="85"/>
                  </a:lnTo>
                  <a:lnTo>
                    <a:pt x="236" y="87"/>
                  </a:lnTo>
                  <a:lnTo>
                    <a:pt x="236" y="85"/>
                  </a:lnTo>
                  <a:lnTo>
                    <a:pt x="236" y="87"/>
                  </a:lnTo>
                  <a:lnTo>
                    <a:pt x="238" y="87"/>
                  </a:lnTo>
                  <a:lnTo>
                    <a:pt x="238" y="89"/>
                  </a:lnTo>
                  <a:lnTo>
                    <a:pt x="238" y="91"/>
                  </a:lnTo>
                  <a:lnTo>
                    <a:pt x="236" y="91"/>
                  </a:lnTo>
                  <a:lnTo>
                    <a:pt x="238" y="91"/>
                  </a:lnTo>
                  <a:lnTo>
                    <a:pt x="238" y="89"/>
                  </a:lnTo>
                  <a:lnTo>
                    <a:pt x="238" y="91"/>
                  </a:lnTo>
                  <a:lnTo>
                    <a:pt x="238" y="89"/>
                  </a:lnTo>
                  <a:lnTo>
                    <a:pt x="240" y="89"/>
                  </a:lnTo>
                  <a:lnTo>
                    <a:pt x="238" y="89"/>
                  </a:lnTo>
                  <a:lnTo>
                    <a:pt x="238" y="87"/>
                  </a:lnTo>
                  <a:lnTo>
                    <a:pt x="240" y="87"/>
                  </a:lnTo>
                  <a:lnTo>
                    <a:pt x="238" y="87"/>
                  </a:lnTo>
                  <a:lnTo>
                    <a:pt x="238" y="85"/>
                  </a:lnTo>
                  <a:lnTo>
                    <a:pt x="240" y="85"/>
                  </a:lnTo>
                  <a:lnTo>
                    <a:pt x="238" y="85"/>
                  </a:lnTo>
                  <a:lnTo>
                    <a:pt x="240" y="85"/>
                  </a:lnTo>
                  <a:lnTo>
                    <a:pt x="240" y="87"/>
                  </a:lnTo>
                  <a:lnTo>
                    <a:pt x="242" y="87"/>
                  </a:lnTo>
                  <a:lnTo>
                    <a:pt x="240" y="87"/>
                  </a:lnTo>
                  <a:lnTo>
                    <a:pt x="240" y="85"/>
                  </a:lnTo>
                  <a:lnTo>
                    <a:pt x="242" y="85"/>
                  </a:lnTo>
                  <a:lnTo>
                    <a:pt x="242" y="87"/>
                  </a:lnTo>
                  <a:lnTo>
                    <a:pt x="243" y="87"/>
                  </a:lnTo>
                  <a:lnTo>
                    <a:pt x="243" y="89"/>
                  </a:lnTo>
                  <a:lnTo>
                    <a:pt x="245" y="89"/>
                  </a:lnTo>
                  <a:lnTo>
                    <a:pt x="243" y="89"/>
                  </a:lnTo>
                  <a:lnTo>
                    <a:pt x="243" y="87"/>
                  </a:lnTo>
                  <a:lnTo>
                    <a:pt x="245" y="87"/>
                  </a:lnTo>
                  <a:lnTo>
                    <a:pt x="243" y="87"/>
                  </a:lnTo>
                  <a:lnTo>
                    <a:pt x="243" y="85"/>
                  </a:lnTo>
                  <a:lnTo>
                    <a:pt x="245" y="85"/>
                  </a:lnTo>
                  <a:lnTo>
                    <a:pt x="247" y="85"/>
                  </a:lnTo>
                  <a:lnTo>
                    <a:pt x="247" y="83"/>
                  </a:lnTo>
                  <a:lnTo>
                    <a:pt x="247" y="85"/>
                  </a:lnTo>
                  <a:lnTo>
                    <a:pt x="245" y="85"/>
                  </a:lnTo>
                  <a:lnTo>
                    <a:pt x="245" y="83"/>
                  </a:lnTo>
                  <a:lnTo>
                    <a:pt x="247" y="83"/>
                  </a:lnTo>
                  <a:lnTo>
                    <a:pt x="245" y="83"/>
                  </a:lnTo>
                  <a:lnTo>
                    <a:pt x="247" y="83"/>
                  </a:lnTo>
                  <a:lnTo>
                    <a:pt x="245" y="83"/>
                  </a:lnTo>
                  <a:lnTo>
                    <a:pt x="247" y="83"/>
                  </a:lnTo>
                  <a:lnTo>
                    <a:pt x="245" y="83"/>
                  </a:lnTo>
                  <a:lnTo>
                    <a:pt x="247" y="83"/>
                  </a:lnTo>
                  <a:lnTo>
                    <a:pt x="245" y="83"/>
                  </a:lnTo>
                  <a:lnTo>
                    <a:pt x="243" y="83"/>
                  </a:lnTo>
                  <a:lnTo>
                    <a:pt x="245" y="83"/>
                  </a:lnTo>
                  <a:lnTo>
                    <a:pt x="243" y="83"/>
                  </a:lnTo>
                  <a:lnTo>
                    <a:pt x="243" y="81"/>
                  </a:lnTo>
                  <a:lnTo>
                    <a:pt x="245" y="81"/>
                  </a:lnTo>
                  <a:lnTo>
                    <a:pt x="245" y="79"/>
                  </a:lnTo>
                  <a:lnTo>
                    <a:pt x="245" y="81"/>
                  </a:lnTo>
                  <a:lnTo>
                    <a:pt x="243" y="81"/>
                  </a:lnTo>
                  <a:lnTo>
                    <a:pt x="243" y="79"/>
                  </a:lnTo>
                  <a:lnTo>
                    <a:pt x="245" y="79"/>
                  </a:lnTo>
                  <a:lnTo>
                    <a:pt x="243" y="79"/>
                  </a:lnTo>
                  <a:lnTo>
                    <a:pt x="243" y="81"/>
                  </a:lnTo>
                  <a:lnTo>
                    <a:pt x="243" y="79"/>
                  </a:lnTo>
                  <a:lnTo>
                    <a:pt x="243" y="81"/>
                  </a:lnTo>
                  <a:lnTo>
                    <a:pt x="243" y="79"/>
                  </a:lnTo>
                  <a:lnTo>
                    <a:pt x="242" y="79"/>
                  </a:lnTo>
                  <a:lnTo>
                    <a:pt x="242" y="77"/>
                  </a:lnTo>
                  <a:lnTo>
                    <a:pt x="240" y="77"/>
                  </a:lnTo>
                  <a:lnTo>
                    <a:pt x="242" y="77"/>
                  </a:lnTo>
                  <a:lnTo>
                    <a:pt x="240" y="77"/>
                  </a:lnTo>
                  <a:lnTo>
                    <a:pt x="242" y="75"/>
                  </a:lnTo>
                  <a:lnTo>
                    <a:pt x="242" y="73"/>
                  </a:lnTo>
                  <a:lnTo>
                    <a:pt x="243" y="73"/>
                  </a:lnTo>
                  <a:lnTo>
                    <a:pt x="243" y="71"/>
                  </a:lnTo>
                  <a:lnTo>
                    <a:pt x="245" y="71"/>
                  </a:lnTo>
                  <a:lnTo>
                    <a:pt x="245" y="69"/>
                  </a:lnTo>
                  <a:lnTo>
                    <a:pt x="245" y="67"/>
                  </a:lnTo>
                  <a:lnTo>
                    <a:pt x="247" y="67"/>
                  </a:lnTo>
                  <a:lnTo>
                    <a:pt x="245" y="67"/>
                  </a:lnTo>
                  <a:lnTo>
                    <a:pt x="245" y="66"/>
                  </a:lnTo>
                  <a:lnTo>
                    <a:pt x="247" y="66"/>
                  </a:lnTo>
                  <a:lnTo>
                    <a:pt x="247" y="64"/>
                  </a:lnTo>
                  <a:lnTo>
                    <a:pt x="249" y="64"/>
                  </a:lnTo>
                  <a:lnTo>
                    <a:pt x="251" y="64"/>
                  </a:lnTo>
                  <a:lnTo>
                    <a:pt x="251" y="62"/>
                  </a:lnTo>
                  <a:lnTo>
                    <a:pt x="253" y="62"/>
                  </a:lnTo>
                  <a:lnTo>
                    <a:pt x="253" y="64"/>
                  </a:lnTo>
                  <a:lnTo>
                    <a:pt x="255" y="64"/>
                  </a:lnTo>
                  <a:lnTo>
                    <a:pt x="253" y="64"/>
                  </a:lnTo>
                  <a:lnTo>
                    <a:pt x="253" y="62"/>
                  </a:lnTo>
                  <a:lnTo>
                    <a:pt x="255" y="62"/>
                  </a:lnTo>
                  <a:lnTo>
                    <a:pt x="253" y="62"/>
                  </a:lnTo>
                  <a:lnTo>
                    <a:pt x="253" y="60"/>
                  </a:lnTo>
                  <a:lnTo>
                    <a:pt x="253" y="62"/>
                  </a:lnTo>
                  <a:lnTo>
                    <a:pt x="253" y="60"/>
                  </a:lnTo>
                  <a:lnTo>
                    <a:pt x="251" y="60"/>
                  </a:lnTo>
                  <a:lnTo>
                    <a:pt x="251" y="58"/>
                  </a:lnTo>
                  <a:lnTo>
                    <a:pt x="251" y="56"/>
                  </a:lnTo>
                  <a:lnTo>
                    <a:pt x="253" y="56"/>
                  </a:lnTo>
                  <a:lnTo>
                    <a:pt x="253" y="54"/>
                  </a:lnTo>
                  <a:lnTo>
                    <a:pt x="255" y="54"/>
                  </a:lnTo>
                  <a:lnTo>
                    <a:pt x="255" y="52"/>
                  </a:lnTo>
                  <a:lnTo>
                    <a:pt x="255" y="50"/>
                  </a:lnTo>
                  <a:lnTo>
                    <a:pt x="257" y="50"/>
                  </a:lnTo>
                  <a:lnTo>
                    <a:pt x="257" y="52"/>
                  </a:lnTo>
                  <a:lnTo>
                    <a:pt x="259" y="52"/>
                  </a:lnTo>
                  <a:lnTo>
                    <a:pt x="257" y="52"/>
                  </a:lnTo>
                  <a:lnTo>
                    <a:pt x="259" y="52"/>
                  </a:lnTo>
                  <a:lnTo>
                    <a:pt x="261" y="52"/>
                  </a:lnTo>
                  <a:lnTo>
                    <a:pt x="259" y="52"/>
                  </a:lnTo>
                  <a:lnTo>
                    <a:pt x="257" y="52"/>
                  </a:lnTo>
                  <a:lnTo>
                    <a:pt x="257" y="50"/>
                  </a:lnTo>
                  <a:lnTo>
                    <a:pt x="259" y="50"/>
                  </a:lnTo>
                  <a:lnTo>
                    <a:pt x="259" y="52"/>
                  </a:lnTo>
                  <a:lnTo>
                    <a:pt x="259" y="50"/>
                  </a:lnTo>
                  <a:lnTo>
                    <a:pt x="257" y="50"/>
                  </a:lnTo>
                  <a:lnTo>
                    <a:pt x="259" y="50"/>
                  </a:lnTo>
                  <a:lnTo>
                    <a:pt x="257" y="50"/>
                  </a:lnTo>
                  <a:lnTo>
                    <a:pt x="259" y="50"/>
                  </a:lnTo>
                  <a:lnTo>
                    <a:pt x="257" y="48"/>
                  </a:lnTo>
                  <a:lnTo>
                    <a:pt x="259" y="48"/>
                  </a:lnTo>
                  <a:lnTo>
                    <a:pt x="257" y="48"/>
                  </a:lnTo>
                  <a:lnTo>
                    <a:pt x="259" y="48"/>
                  </a:lnTo>
                  <a:lnTo>
                    <a:pt x="257" y="48"/>
                  </a:lnTo>
                  <a:lnTo>
                    <a:pt x="259" y="48"/>
                  </a:lnTo>
                  <a:lnTo>
                    <a:pt x="259" y="46"/>
                  </a:lnTo>
                  <a:lnTo>
                    <a:pt x="259" y="48"/>
                  </a:lnTo>
                  <a:lnTo>
                    <a:pt x="259" y="46"/>
                  </a:lnTo>
                  <a:lnTo>
                    <a:pt x="259" y="48"/>
                  </a:lnTo>
                  <a:lnTo>
                    <a:pt x="261" y="48"/>
                  </a:lnTo>
                  <a:lnTo>
                    <a:pt x="259" y="48"/>
                  </a:lnTo>
                  <a:lnTo>
                    <a:pt x="261" y="48"/>
                  </a:lnTo>
                  <a:lnTo>
                    <a:pt x="261" y="50"/>
                  </a:lnTo>
                  <a:lnTo>
                    <a:pt x="261" y="48"/>
                  </a:lnTo>
                  <a:lnTo>
                    <a:pt x="261" y="50"/>
                  </a:lnTo>
                  <a:lnTo>
                    <a:pt x="263" y="50"/>
                  </a:lnTo>
                  <a:lnTo>
                    <a:pt x="263" y="52"/>
                  </a:lnTo>
                  <a:lnTo>
                    <a:pt x="263" y="50"/>
                  </a:lnTo>
                  <a:lnTo>
                    <a:pt x="263" y="52"/>
                  </a:lnTo>
                  <a:lnTo>
                    <a:pt x="263" y="50"/>
                  </a:lnTo>
                  <a:lnTo>
                    <a:pt x="263" y="52"/>
                  </a:lnTo>
                  <a:lnTo>
                    <a:pt x="265" y="52"/>
                  </a:lnTo>
                  <a:lnTo>
                    <a:pt x="263" y="52"/>
                  </a:lnTo>
                  <a:lnTo>
                    <a:pt x="265" y="52"/>
                  </a:lnTo>
                  <a:lnTo>
                    <a:pt x="263" y="52"/>
                  </a:lnTo>
                  <a:lnTo>
                    <a:pt x="263" y="50"/>
                  </a:lnTo>
                  <a:lnTo>
                    <a:pt x="263" y="48"/>
                  </a:lnTo>
                  <a:lnTo>
                    <a:pt x="263" y="50"/>
                  </a:lnTo>
                  <a:lnTo>
                    <a:pt x="263" y="48"/>
                  </a:lnTo>
                  <a:lnTo>
                    <a:pt x="263" y="50"/>
                  </a:lnTo>
                  <a:lnTo>
                    <a:pt x="263" y="48"/>
                  </a:lnTo>
                  <a:lnTo>
                    <a:pt x="263" y="50"/>
                  </a:lnTo>
                  <a:lnTo>
                    <a:pt x="263" y="48"/>
                  </a:lnTo>
                  <a:lnTo>
                    <a:pt x="263" y="50"/>
                  </a:lnTo>
                  <a:lnTo>
                    <a:pt x="265" y="50"/>
                  </a:lnTo>
                  <a:lnTo>
                    <a:pt x="263" y="50"/>
                  </a:lnTo>
                  <a:lnTo>
                    <a:pt x="263" y="48"/>
                  </a:lnTo>
                  <a:lnTo>
                    <a:pt x="263" y="50"/>
                  </a:lnTo>
                  <a:lnTo>
                    <a:pt x="263" y="48"/>
                  </a:lnTo>
                  <a:lnTo>
                    <a:pt x="263" y="50"/>
                  </a:lnTo>
                  <a:lnTo>
                    <a:pt x="263" y="48"/>
                  </a:lnTo>
                  <a:lnTo>
                    <a:pt x="261" y="48"/>
                  </a:lnTo>
                  <a:lnTo>
                    <a:pt x="263" y="48"/>
                  </a:lnTo>
                  <a:lnTo>
                    <a:pt x="261" y="48"/>
                  </a:lnTo>
                  <a:lnTo>
                    <a:pt x="263" y="48"/>
                  </a:lnTo>
                  <a:lnTo>
                    <a:pt x="263" y="46"/>
                  </a:lnTo>
                  <a:lnTo>
                    <a:pt x="261" y="46"/>
                  </a:lnTo>
                  <a:lnTo>
                    <a:pt x="263" y="46"/>
                  </a:lnTo>
                  <a:lnTo>
                    <a:pt x="261" y="46"/>
                  </a:lnTo>
                  <a:lnTo>
                    <a:pt x="263" y="46"/>
                  </a:lnTo>
                  <a:lnTo>
                    <a:pt x="265" y="46"/>
                  </a:lnTo>
                  <a:lnTo>
                    <a:pt x="265" y="44"/>
                  </a:lnTo>
                  <a:lnTo>
                    <a:pt x="266" y="44"/>
                  </a:lnTo>
                  <a:lnTo>
                    <a:pt x="265" y="44"/>
                  </a:lnTo>
                  <a:lnTo>
                    <a:pt x="266" y="44"/>
                  </a:lnTo>
                  <a:lnTo>
                    <a:pt x="266" y="46"/>
                  </a:lnTo>
                  <a:lnTo>
                    <a:pt x="266" y="44"/>
                  </a:lnTo>
                  <a:lnTo>
                    <a:pt x="268" y="44"/>
                  </a:lnTo>
                  <a:lnTo>
                    <a:pt x="268" y="46"/>
                  </a:lnTo>
                  <a:lnTo>
                    <a:pt x="268" y="44"/>
                  </a:lnTo>
                  <a:lnTo>
                    <a:pt x="268" y="46"/>
                  </a:lnTo>
                  <a:lnTo>
                    <a:pt x="268" y="44"/>
                  </a:lnTo>
                  <a:lnTo>
                    <a:pt x="266" y="44"/>
                  </a:lnTo>
                  <a:lnTo>
                    <a:pt x="268" y="44"/>
                  </a:lnTo>
                  <a:lnTo>
                    <a:pt x="268" y="43"/>
                  </a:lnTo>
                  <a:lnTo>
                    <a:pt x="268" y="44"/>
                  </a:lnTo>
                  <a:lnTo>
                    <a:pt x="270" y="44"/>
                  </a:lnTo>
                  <a:lnTo>
                    <a:pt x="270" y="46"/>
                  </a:lnTo>
                  <a:lnTo>
                    <a:pt x="272" y="46"/>
                  </a:lnTo>
                  <a:lnTo>
                    <a:pt x="274" y="46"/>
                  </a:lnTo>
                  <a:lnTo>
                    <a:pt x="276" y="46"/>
                  </a:lnTo>
                  <a:lnTo>
                    <a:pt x="276" y="44"/>
                  </a:lnTo>
                  <a:lnTo>
                    <a:pt x="278" y="44"/>
                  </a:lnTo>
                  <a:lnTo>
                    <a:pt x="278" y="46"/>
                  </a:lnTo>
                  <a:lnTo>
                    <a:pt x="280" y="46"/>
                  </a:lnTo>
                  <a:lnTo>
                    <a:pt x="280" y="44"/>
                  </a:lnTo>
                  <a:lnTo>
                    <a:pt x="282" y="44"/>
                  </a:lnTo>
                  <a:lnTo>
                    <a:pt x="282" y="46"/>
                  </a:lnTo>
                  <a:lnTo>
                    <a:pt x="282" y="44"/>
                  </a:lnTo>
                  <a:lnTo>
                    <a:pt x="284" y="44"/>
                  </a:lnTo>
                  <a:lnTo>
                    <a:pt x="282" y="44"/>
                  </a:lnTo>
                  <a:lnTo>
                    <a:pt x="284" y="44"/>
                  </a:lnTo>
                  <a:lnTo>
                    <a:pt x="284" y="46"/>
                  </a:lnTo>
                  <a:lnTo>
                    <a:pt x="286" y="46"/>
                  </a:lnTo>
                  <a:lnTo>
                    <a:pt x="284" y="46"/>
                  </a:lnTo>
                  <a:lnTo>
                    <a:pt x="284" y="48"/>
                  </a:lnTo>
                  <a:lnTo>
                    <a:pt x="286" y="48"/>
                  </a:lnTo>
                  <a:lnTo>
                    <a:pt x="284" y="48"/>
                  </a:lnTo>
                  <a:lnTo>
                    <a:pt x="286" y="48"/>
                  </a:lnTo>
                  <a:lnTo>
                    <a:pt x="284" y="48"/>
                  </a:lnTo>
                  <a:lnTo>
                    <a:pt x="284" y="50"/>
                  </a:lnTo>
                  <a:lnTo>
                    <a:pt x="286" y="50"/>
                  </a:lnTo>
                  <a:lnTo>
                    <a:pt x="286" y="52"/>
                  </a:lnTo>
                  <a:lnTo>
                    <a:pt x="286" y="50"/>
                  </a:lnTo>
                  <a:lnTo>
                    <a:pt x="286" y="52"/>
                  </a:lnTo>
                  <a:lnTo>
                    <a:pt x="286" y="50"/>
                  </a:lnTo>
                  <a:lnTo>
                    <a:pt x="284" y="50"/>
                  </a:lnTo>
                  <a:lnTo>
                    <a:pt x="286" y="50"/>
                  </a:lnTo>
                  <a:lnTo>
                    <a:pt x="286" y="48"/>
                  </a:lnTo>
                  <a:lnTo>
                    <a:pt x="284" y="48"/>
                  </a:lnTo>
                  <a:lnTo>
                    <a:pt x="286" y="48"/>
                  </a:lnTo>
                  <a:lnTo>
                    <a:pt x="284" y="48"/>
                  </a:lnTo>
                  <a:lnTo>
                    <a:pt x="284" y="46"/>
                  </a:lnTo>
                  <a:lnTo>
                    <a:pt x="286" y="46"/>
                  </a:lnTo>
                  <a:lnTo>
                    <a:pt x="286" y="44"/>
                  </a:lnTo>
                  <a:lnTo>
                    <a:pt x="284" y="44"/>
                  </a:lnTo>
                  <a:lnTo>
                    <a:pt x="286" y="44"/>
                  </a:lnTo>
                  <a:lnTo>
                    <a:pt x="286" y="43"/>
                  </a:lnTo>
                  <a:lnTo>
                    <a:pt x="288" y="43"/>
                  </a:lnTo>
                  <a:lnTo>
                    <a:pt x="288" y="44"/>
                  </a:lnTo>
                  <a:lnTo>
                    <a:pt x="289" y="44"/>
                  </a:lnTo>
                  <a:lnTo>
                    <a:pt x="289" y="43"/>
                  </a:lnTo>
                  <a:lnTo>
                    <a:pt x="289" y="44"/>
                  </a:lnTo>
                  <a:lnTo>
                    <a:pt x="289" y="43"/>
                  </a:lnTo>
                  <a:lnTo>
                    <a:pt x="289" y="44"/>
                  </a:lnTo>
                  <a:lnTo>
                    <a:pt x="289" y="43"/>
                  </a:lnTo>
                  <a:lnTo>
                    <a:pt x="288" y="43"/>
                  </a:lnTo>
                  <a:lnTo>
                    <a:pt x="288" y="41"/>
                  </a:lnTo>
                  <a:lnTo>
                    <a:pt x="288" y="39"/>
                  </a:lnTo>
                  <a:lnTo>
                    <a:pt x="289" y="39"/>
                  </a:lnTo>
                  <a:lnTo>
                    <a:pt x="289" y="41"/>
                  </a:lnTo>
                  <a:lnTo>
                    <a:pt x="289" y="39"/>
                  </a:lnTo>
                  <a:lnTo>
                    <a:pt x="289" y="41"/>
                  </a:lnTo>
                  <a:lnTo>
                    <a:pt x="289" y="39"/>
                  </a:lnTo>
                  <a:lnTo>
                    <a:pt x="288" y="39"/>
                  </a:lnTo>
                  <a:lnTo>
                    <a:pt x="288" y="41"/>
                  </a:lnTo>
                  <a:lnTo>
                    <a:pt x="288" y="39"/>
                  </a:lnTo>
                  <a:lnTo>
                    <a:pt x="288" y="37"/>
                  </a:lnTo>
                  <a:lnTo>
                    <a:pt x="286" y="37"/>
                  </a:lnTo>
                  <a:lnTo>
                    <a:pt x="288" y="37"/>
                  </a:lnTo>
                  <a:lnTo>
                    <a:pt x="288" y="35"/>
                  </a:lnTo>
                  <a:lnTo>
                    <a:pt x="286" y="35"/>
                  </a:lnTo>
                  <a:lnTo>
                    <a:pt x="288" y="35"/>
                  </a:lnTo>
                  <a:lnTo>
                    <a:pt x="286" y="35"/>
                  </a:lnTo>
                  <a:lnTo>
                    <a:pt x="288" y="35"/>
                  </a:lnTo>
                  <a:lnTo>
                    <a:pt x="286" y="35"/>
                  </a:lnTo>
                  <a:lnTo>
                    <a:pt x="286" y="33"/>
                  </a:lnTo>
                  <a:lnTo>
                    <a:pt x="284" y="33"/>
                  </a:lnTo>
                  <a:lnTo>
                    <a:pt x="282" y="33"/>
                  </a:lnTo>
                  <a:lnTo>
                    <a:pt x="282" y="35"/>
                  </a:lnTo>
                  <a:lnTo>
                    <a:pt x="280" y="35"/>
                  </a:lnTo>
                  <a:lnTo>
                    <a:pt x="280" y="33"/>
                  </a:lnTo>
                  <a:lnTo>
                    <a:pt x="278" y="33"/>
                  </a:lnTo>
                  <a:lnTo>
                    <a:pt x="278" y="31"/>
                  </a:lnTo>
                  <a:lnTo>
                    <a:pt x="278" y="33"/>
                  </a:lnTo>
                  <a:lnTo>
                    <a:pt x="278" y="31"/>
                  </a:lnTo>
                  <a:lnTo>
                    <a:pt x="276" y="31"/>
                  </a:lnTo>
                  <a:lnTo>
                    <a:pt x="274" y="31"/>
                  </a:lnTo>
                  <a:lnTo>
                    <a:pt x="276" y="31"/>
                  </a:lnTo>
                  <a:lnTo>
                    <a:pt x="276" y="29"/>
                  </a:lnTo>
                  <a:lnTo>
                    <a:pt x="278" y="29"/>
                  </a:lnTo>
                  <a:lnTo>
                    <a:pt x="278" y="31"/>
                  </a:lnTo>
                  <a:lnTo>
                    <a:pt x="278" y="29"/>
                  </a:lnTo>
                  <a:lnTo>
                    <a:pt x="278" y="31"/>
                  </a:lnTo>
                  <a:lnTo>
                    <a:pt x="278" y="29"/>
                  </a:lnTo>
                  <a:lnTo>
                    <a:pt x="278" y="31"/>
                  </a:lnTo>
                  <a:lnTo>
                    <a:pt x="278" y="29"/>
                  </a:lnTo>
                  <a:lnTo>
                    <a:pt x="280" y="29"/>
                  </a:lnTo>
                  <a:lnTo>
                    <a:pt x="280" y="31"/>
                  </a:lnTo>
                  <a:lnTo>
                    <a:pt x="282" y="31"/>
                  </a:lnTo>
                  <a:lnTo>
                    <a:pt x="280" y="31"/>
                  </a:lnTo>
                  <a:lnTo>
                    <a:pt x="280" y="33"/>
                  </a:lnTo>
                  <a:lnTo>
                    <a:pt x="282" y="33"/>
                  </a:lnTo>
                  <a:lnTo>
                    <a:pt x="280" y="33"/>
                  </a:lnTo>
                  <a:lnTo>
                    <a:pt x="282" y="33"/>
                  </a:lnTo>
                  <a:lnTo>
                    <a:pt x="282" y="31"/>
                  </a:lnTo>
                  <a:lnTo>
                    <a:pt x="282" y="33"/>
                  </a:lnTo>
                  <a:lnTo>
                    <a:pt x="282" y="31"/>
                  </a:lnTo>
                  <a:lnTo>
                    <a:pt x="282" y="29"/>
                  </a:lnTo>
                  <a:lnTo>
                    <a:pt x="280" y="29"/>
                  </a:lnTo>
                  <a:lnTo>
                    <a:pt x="282" y="29"/>
                  </a:lnTo>
                  <a:lnTo>
                    <a:pt x="282" y="31"/>
                  </a:lnTo>
                  <a:lnTo>
                    <a:pt x="284" y="31"/>
                  </a:lnTo>
                  <a:lnTo>
                    <a:pt x="282" y="31"/>
                  </a:lnTo>
                  <a:lnTo>
                    <a:pt x="282" y="29"/>
                  </a:lnTo>
                  <a:lnTo>
                    <a:pt x="284" y="29"/>
                  </a:lnTo>
                  <a:lnTo>
                    <a:pt x="284" y="31"/>
                  </a:lnTo>
                  <a:lnTo>
                    <a:pt x="286" y="31"/>
                  </a:lnTo>
                  <a:lnTo>
                    <a:pt x="284" y="31"/>
                  </a:lnTo>
                  <a:lnTo>
                    <a:pt x="284" y="29"/>
                  </a:lnTo>
                  <a:lnTo>
                    <a:pt x="286" y="29"/>
                  </a:lnTo>
                  <a:lnTo>
                    <a:pt x="286" y="31"/>
                  </a:lnTo>
                  <a:lnTo>
                    <a:pt x="288" y="31"/>
                  </a:lnTo>
                  <a:lnTo>
                    <a:pt x="288" y="33"/>
                  </a:lnTo>
                  <a:lnTo>
                    <a:pt x="288" y="35"/>
                  </a:lnTo>
                  <a:lnTo>
                    <a:pt x="289" y="35"/>
                  </a:lnTo>
                  <a:lnTo>
                    <a:pt x="289" y="33"/>
                  </a:lnTo>
                  <a:lnTo>
                    <a:pt x="291" y="33"/>
                  </a:lnTo>
                  <a:lnTo>
                    <a:pt x="291" y="31"/>
                  </a:lnTo>
                  <a:lnTo>
                    <a:pt x="291" y="33"/>
                  </a:lnTo>
                  <a:lnTo>
                    <a:pt x="293" y="33"/>
                  </a:lnTo>
                  <a:lnTo>
                    <a:pt x="293" y="35"/>
                  </a:lnTo>
                  <a:lnTo>
                    <a:pt x="295" y="35"/>
                  </a:lnTo>
                  <a:lnTo>
                    <a:pt x="293" y="35"/>
                  </a:lnTo>
                  <a:lnTo>
                    <a:pt x="295" y="35"/>
                  </a:lnTo>
                  <a:lnTo>
                    <a:pt x="295" y="37"/>
                  </a:lnTo>
                  <a:lnTo>
                    <a:pt x="297" y="37"/>
                  </a:lnTo>
                  <a:lnTo>
                    <a:pt x="299" y="37"/>
                  </a:lnTo>
                  <a:lnTo>
                    <a:pt x="297" y="37"/>
                  </a:lnTo>
                  <a:lnTo>
                    <a:pt x="297" y="39"/>
                  </a:lnTo>
                  <a:lnTo>
                    <a:pt x="299" y="39"/>
                  </a:lnTo>
                  <a:lnTo>
                    <a:pt x="299" y="37"/>
                  </a:lnTo>
                  <a:lnTo>
                    <a:pt x="299" y="39"/>
                  </a:lnTo>
                  <a:lnTo>
                    <a:pt x="301" y="39"/>
                  </a:lnTo>
                  <a:lnTo>
                    <a:pt x="301" y="41"/>
                  </a:lnTo>
                  <a:lnTo>
                    <a:pt x="301" y="39"/>
                  </a:lnTo>
                  <a:lnTo>
                    <a:pt x="303" y="39"/>
                  </a:lnTo>
                  <a:lnTo>
                    <a:pt x="305" y="39"/>
                  </a:lnTo>
                  <a:lnTo>
                    <a:pt x="305" y="37"/>
                  </a:lnTo>
                  <a:lnTo>
                    <a:pt x="305" y="39"/>
                  </a:lnTo>
                  <a:lnTo>
                    <a:pt x="307" y="39"/>
                  </a:lnTo>
                  <a:lnTo>
                    <a:pt x="307" y="37"/>
                  </a:lnTo>
                  <a:lnTo>
                    <a:pt x="307" y="39"/>
                  </a:lnTo>
                  <a:lnTo>
                    <a:pt x="305" y="39"/>
                  </a:lnTo>
                  <a:lnTo>
                    <a:pt x="307" y="39"/>
                  </a:lnTo>
                  <a:lnTo>
                    <a:pt x="305" y="39"/>
                  </a:lnTo>
                  <a:lnTo>
                    <a:pt x="305" y="41"/>
                  </a:lnTo>
                  <a:lnTo>
                    <a:pt x="305" y="39"/>
                  </a:lnTo>
                  <a:lnTo>
                    <a:pt x="305" y="41"/>
                  </a:lnTo>
                  <a:lnTo>
                    <a:pt x="305" y="39"/>
                  </a:lnTo>
                  <a:lnTo>
                    <a:pt x="305" y="41"/>
                  </a:lnTo>
                  <a:lnTo>
                    <a:pt x="307" y="41"/>
                  </a:lnTo>
                  <a:lnTo>
                    <a:pt x="309" y="41"/>
                  </a:lnTo>
                  <a:lnTo>
                    <a:pt x="307" y="41"/>
                  </a:lnTo>
                  <a:lnTo>
                    <a:pt x="309" y="41"/>
                  </a:lnTo>
                  <a:lnTo>
                    <a:pt x="307" y="41"/>
                  </a:lnTo>
                  <a:lnTo>
                    <a:pt x="309" y="41"/>
                  </a:lnTo>
                  <a:lnTo>
                    <a:pt x="309" y="39"/>
                  </a:lnTo>
                  <a:lnTo>
                    <a:pt x="309" y="41"/>
                  </a:lnTo>
                  <a:lnTo>
                    <a:pt x="311" y="41"/>
                  </a:lnTo>
                  <a:lnTo>
                    <a:pt x="311" y="43"/>
                  </a:lnTo>
                  <a:lnTo>
                    <a:pt x="311" y="44"/>
                  </a:lnTo>
                  <a:lnTo>
                    <a:pt x="311" y="43"/>
                  </a:lnTo>
                  <a:lnTo>
                    <a:pt x="311" y="41"/>
                  </a:lnTo>
                  <a:lnTo>
                    <a:pt x="313" y="41"/>
                  </a:lnTo>
                  <a:lnTo>
                    <a:pt x="313" y="43"/>
                  </a:lnTo>
                  <a:lnTo>
                    <a:pt x="314" y="43"/>
                  </a:lnTo>
                  <a:lnTo>
                    <a:pt x="316" y="43"/>
                  </a:lnTo>
                  <a:lnTo>
                    <a:pt x="318" y="43"/>
                  </a:lnTo>
                  <a:lnTo>
                    <a:pt x="318" y="41"/>
                  </a:lnTo>
                  <a:lnTo>
                    <a:pt x="320" y="41"/>
                  </a:lnTo>
                  <a:lnTo>
                    <a:pt x="320" y="43"/>
                  </a:lnTo>
                  <a:lnTo>
                    <a:pt x="320" y="44"/>
                  </a:lnTo>
                  <a:lnTo>
                    <a:pt x="322" y="44"/>
                  </a:lnTo>
                  <a:lnTo>
                    <a:pt x="324" y="44"/>
                  </a:lnTo>
                  <a:lnTo>
                    <a:pt x="324" y="46"/>
                  </a:lnTo>
                  <a:lnTo>
                    <a:pt x="322" y="46"/>
                  </a:lnTo>
                  <a:lnTo>
                    <a:pt x="324" y="46"/>
                  </a:lnTo>
                  <a:lnTo>
                    <a:pt x="324" y="44"/>
                  </a:lnTo>
                  <a:lnTo>
                    <a:pt x="324" y="46"/>
                  </a:lnTo>
                  <a:lnTo>
                    <a:pt x="326" y="46"/>
                  </a:lnTo>
                  <a:lnTo>
                    <a:pt x="324" y="46"/>
                  </a:lnTo>
                  <a:lnTo>
                    <a:pt x="326" y="46"/>
                  </a:lnTo>
                  <a:lnTo>
                    <a:pt x="326" y="44"/>
                  </a:lnTo>
                  <a:lnTo>
                    <a:pt x="328" y="44"/>
                  </a:lnTo>
                  <a:lnTo>
                    <a:pt x="330" y="44"/>
                  </a:lnTo>
                  <a:lnTo>
                    <a:pt x="330" y="43"/>
                  </a:lnTo>
                  <a:lnTo>
                    <a:pt x="332" y="43"/>
                  </a:lnTo>
                  <a:lnTo>
                    <a:pt x="334" y="43"/>
                  </a:lnTo>
                  <a:lnTo>
                    <a:pt x="334" y="41"/>
                  </a:lnTo>
                  <a:lnTo>
                    <a:pt x="336" y="41"/>
                  </a:lnTo>
                  <a:lnTo>
                    <a:pt x="334" y="41"/>
                  </a:lnTo>
                  <a:lnTo>
                    <a:pt x="336" y="41"/>
                  </a:lnTo>
                  <a:lnTo>
                    <a:pt x="334" y="41"/>
                  </a:lnTo>
                  <a:lnTo>
                    <a:pt x="334" y="43"/>
                  </a:lnTo>
                  <a:lnTo>
                    <a:pt x="332" y="43"/>
                  </a:lnTo>
                  <a:lnTo>
                    <a:pt x="332" y="44"/>
                  </a:lnTo>
                  <a:lnTo>
                    <a:pt x="334" y="44"/>
                  </a:lnTo>
                  <a:lnTo>
                    <a:pt x="334" y="46"/>
                  </a:lnTo>
                  <a:lnTo>
                    <a:pt x="334" y="44"/>
                  </a:lnTo>
                  <a:lnTo>
                    <a:pt x="334" y="46"/>
                  </a:lnTo>
                  <a:lnTo>
                    <a:pt x="334" y="44"/>
                  </a:lnTo>
                  <a:lnTo>
                    <a:pt x="336" y="44"/>
                  </a:lnTo>
                  <a:lnTo>
                    <a:pt x="337" y="44"/>
                  </a:lnTo>
                  <a:lnTo>
                    <a:pt x="336" y="44"/>
                  </a:lnTo>
                  <a:lnTo>
                    <a:pt x="337" y="44"/>
                  </a:lnTo>
                  <a:lnTo>
                    <a:pt x="337" y="43"/>
                  </a:lnTo>
                  <a:lnTo>
                    <a:pt x="337" y="44"/>
                  </a:lnTo>
                  <a:lnTo>
                    <a:pt x="336" y="44"/>
                  </a:lnTo>
                  <a:lnTo>
                    <a:pt x="336" y="46"/>
                  </a:lnTo>
                  <a:lnTo>
                    <a:pt x="337" y="46"/>
                  </a:lnTo>
                  <a:lnTo>
                    <a:pt x="336" y="46"/>
                  </a:lnTo>
                  <a:lnTo>
                    <a:pt x="337" y="46"/>
                  </a:lnTo>
                  <a:lnTo>
                    <a:pt x="337" y="44"/>
                  </a:lnTo>
                  <a:lnTo>
                    <a:pt x="337" y="46"/>
                  </a:lnTo>
                  <a:lnTo>
                    <a:pt x="337" y="48"/>
                  </a:lnTo>
                  <a:lnTo>
                    <a:pt x="336" y="48"/>
                  </a:lnTo>
                  <a:lnTo>
                    <a:pt x="337" y="48"/>
                  </a:lnTo>
                  <a:lnTo>
                    <a:pt x="339" y="48"/>
                  </a:lnTo>
                  <a:lnTo>
                    <a:pt x="341" y="48"/>
                  </a:lnTo>
                  <a:lnTo>
                    <a:pt x="339" y="48"/>
                  </a:lnTo>
                  <a:lnTo>
                    <a:pt x="341" y="48"/>
                  </a:lnTo>
                  <a:lnTo>
                    <a:pt x="341" y="46"/>
                  </a:lnTo>
                  <a:lnTo>
                    <a:pt x="343" y="46"/>
                  </a:lnTo>
                  <a:lnTo>
                    <a:pt x="341" y="46"/>
                  </a:lnTo>
                  <a:lnTo>
                    <a:pt x="343" y="46"/>
                  </a:lnTo>
                  <a:lnTo>
                    <a:pt x="341" y="46"/>
                  </a:lnTo>
                  <a:lnTo>
                    <a:pt x="343" y="46"/>
                  </a:lnTo>
                  <a:lnTo>
                    <a:pt x="341" y="46"/>
                  </a:lnTo>
                  <a:lnTo>
                    <a:pt x="343" y="46"/>
                  </a:lnTo>
                  <a:lnTo>
                    <a:pt x="341" y="46"/>
                  </a:lnTo>
                  <a:lnTo>
                    <a:pt x="343" y="46"/>
                  </a:lnTo>
                  <a:lnTo>
                    <a:pt x="343" y="44"/>
                  </a:lnTo>
                  <a:lnTo>
                    <a:pt x="343" y="46"/>
                  </a:lnTo>
                  <a:lnTo>
                    <a:pt x="343" y="44"/>
                  </a:lnTo>
                  <a:lnTo>
                    <a:pt x="343" y="46"/>
                  </a:lnTo>
                  <a:lnTo>
                    <a:pt x="341" y="46"/>
                  </a:lnTo>
                  <a:lnTo>
                    <a:pt x="341" y="44"/>
                  </a:lnTo>
                  <a:lnTo>
                    <a:pt x="343" y="44"/>
                  </a:lnTo>
                  <a:lnTo>
                    <a:pt x="341" y="44"/>
                  </a:lnTo>
                  <a:lnTo>
                    <a:pt x="339" y="44"/>
                  </a:lnTo>
                  <a:lnTo>
                    <a:pt x="341" y="44"/>
                  </a:lnTo>
                  <a:lnTo>
                    <a:pt x="339" y="44"/>
                  </a:lnTo>
                  <a:lnTo>
                    <a:pt x="339" y="43"/>
                  </a:lnTo>
                  <a:lnTo>
                    <a:pt x="341" y="43"/>
                  </a:lnTo>
                  <a:lnTo>
                    <a:pt x="343" y="43"/>
                  </a:lnTo>
                  <a:lnTo>
                    <a:pt x="343" y="41"/>
                  </a:lnTo>
                  <a:lnTo>
                    <a:pt x="345" y="41"/>
                  </a:lnTo>
                  <a:lnTo>
                    <a:pt x="345" y="39"/>
                  </a:lnTo>
                  <a:lnTo>
                    <a:pt x="345" y="41"/>
                  </a:lnTo>
                  <a:lnTo>
                    <a:pt x="343" y="41"/>
                  </a:lnTo>
                  <a:lnTo>
                    <a:pt x="343" y="43"/>
                  </a:lnTo>
                  <a:lnTo>
                    <a:pt x="345" y="43"/>
                  </a:lnTo>
                  <a:lnTo>
                    <a:pt x="343" y="43"/>
                  </a:lnTo>
                  <a:lnTo>
                    <a:pt x="345" y="43"/>
                  </a:lnTo>
                  <a:lnTo>
                    <a:pt x="343" y="43"/>
                  </a:lnTo>
                  <a:lnTo>
                    <a:pt x="345" y="43"/>
                  </a:lnTo>
                  <a:lnTo>
                    <a:pt x="343" y="43"/>
                  </a:lnTo>
                  <a:lnTo>
                    <a:pt x="345" y="43"/>
                  </a:lnTo>
                  <a:lnTo>
                    <a:pt x="345" y="41"/>
                  </a:lnTo>
                  <a:lnTo>
                    <a:pt x="345" y="43"/>
                  </a:lnTo>
                  <a:lnTo>
                    <a:pt x="345" y="44"/>
                  </a:lnTo>
                  <a:lnTo>
                    <a:pt x="347" y="44"/>
                  </a:lnTo>
                  <a:lnTo>
                    <a:pt x="347" y="46"/>
                  </a:lnTo>
                  <a:lnTo>
                    <a:pt x="349" y="46"/>
                  </a:lnTo>
                  <a:lnTo>
                    <a:pt x="347" y="46"/>
                  </a:lnTo>
                  <a:lnTo>
                    <a:pt x="347" y="44"/>
                  </a:lnTo>
                  <a:lnTo>
                    <a:pt x="349" y="44"/>
                  </a:lnTo>
                  <a:lnTo>
                    <a:pt x="347" y="44"/>
                  </a:lnTo>
                  <a:lnTo>
                    <a:pt x="349" y="44"/>
                  </a:lnTo>
                  <a:lnTo>
                    <a:pt x="347" y="44"/>
                  </a:lnTo>
                  <a:lnTo>
                    <a:pt x="349" y="44"/>
                  </a:lnTo>
                  <a:lnTo>
                    <a:pt x="347" y="44"/>
                  </a:lnTo>
                  <a:lnTo>
                    <a:pt x="349" y="44"/>
                  </a:lnTo>
                  <a:lnTo>
                    <a:pt x="351" y="44"/>
                  </a:lnTo>
                  <a:lnTo>
                    <a:pt x="351" y="46"/>
                  </a:lnTo>
                  <a:lnTo>
                    <a:pt x="349" y="46"/>
                  </a:lnTo>
                  <a:lnTo>
                    <a:pt x="351" y="46"/>
                  </a:lnTo>
                  <a:lnTo>
                    <a:pt x="351" y="48"/>
                  </a:lnTo>
                  <a:lnTo>
                    <a:pt x="349" y="48"/>
                  </a:lnTo>
                  <a:lnTo>
                    <a:pt x="349" y="50"/>
                  </a:lnTo>
                  <a:lnTo>
                    <a:pt x="349" y="48"/>
                  </a:lnTo>
                  <a:lnTo>
                    <a:pt x="347" y="48"/>
                  </a:lnTo>
                  <a:lnTo>
                    <a:pt x="347" y="50"/>
                  </a:lnTo>
                  <a:lnTo>
                    <a:pt x="349" y="50"/>
                  </a:lnTo>
                  <a:lnTo>
                    <a:pt x="347" y="50"/>
                  </a:lnTo>
                  <a:lnTo>
                    <a:pt x="349" y="50"/>
                  </a:lnTo>
                  <a:lnTo>
                    <a:pt x="347" y="50"/>
                  </a:lnTo>
                  <a:lnTo>
                    <a:pt x="347" y="52"/>
                  </a:lnTo>
                  <a:lnTo>
                    <a:pt x="345" y="52"/>
                  </a:lnTo>
                  <a:lnTo>
                    <a:pt x="347" y="52"/>
                  </a:lnTo>
                  <a:lnTo>
                    <a:pt x="347" y="54"/>
                  </a:lnTo>
                  <a:lnTo>
                    <a:pt x="345" y="54"/>
                  </a:lnTo>
                  <a:lnTo>
                    <a:pt x="347" y="54"/>
                  </a:lnTo>
                  <a:lnTo>
                    <a:pt x="345" y="54"/>
                  </a:lnTo>
                  <a:lnTo>
                    <a:pt x="345" y="52"/>
                  </a:lnTo>
                  <a:lnTo>
                    <a:pt x="345" y="54"/>
                  </a:lnTo>
                  <a:lnTo>
                    <a:pt x="345" y="52"/>
                  </a:lnTo>
                  <a:lnTo>
                    <a:pt x="343" y="52"/>
                  </a:lnTo>
                  <a:lnTo>
                    <a:pt x="343" y="54"/>
                  </a:lnTo>
                  <a:lnTo>
                    <a:pt x="345" y="54"/>
                  </a:lnTo>
                  <a:lnTo>
                    <a:pt x="343" y="54"/>
                  </a:lnTo>
                  <a:lnTo>
                    <a:pt x="345" y="54"/>
                  </a:lnTo>
                  <a:lnTo>
                    <a:pt x="345" y="56"/>
                  </a:lnTo>
                  <a:lnTo>
                    <a:pt x="347" y="56"/>
                  </a:lnTo>
                  <a:lnTo>
                    <a:pt x="345" y="56"/>
                  </a:lnTo>
                  <a:lnTo>
                    <a:pt x="343" y="56"/>
                  </a:lnTo>
                  <a:lnTo>
                    <a:pt x="345" y="56"/>
                  </a:lnTo>
                  <a:lnTo>
                    <a:pt x="345" y="58"/>
                  </a:lnTo>
                  <a:lnTo>
                    <a:pt x="343" y="60"/>
                  </a:lnTo>
                  <a:lnTo>
                    <a:pt x="343" y="62"/>
                  </a:lnTo>
                  <a:lnTo>
                    <a:pt x="341" y="62"/>
                  </a:lnTo>
                  <a:lnTo>
                    <a:pt x="341" y="60"/>
                  </a:lnTo>
                  <a:lnTo>
                    <a:pt x="343" y="60"/>
                  </a:lnTo>
                  <a:lnTo>
                    <a:pt x="343" y="58"/>
                  </a:lnTo>
                  <a:lnTo>
                    <a:pt x="341" y="58"/>
                  </a:lnTo>
                  <a:lnTo>
                    <a:pt x="341" y="60"/>
                  </a:lnTo>
                  <a:lnTo>
                    <a:pt x="341" y="58"/>
                  </a:lnTo>
                  <a:lnTo>
                    <a:pt x="339" y="58"/>
                  </a:lnTo>
                  <a:lnTo>
                    <a:pt x="341" y="58"/>
                  </a:lnTo>
                  <a:lnTo>
                    <a:pt x="339" y="58"/>
                  </a:lnTo>
                  <a:lnTo>
                    <a:pt x="341" y="58"/>
                  </a:lnTo>
                  <a:lnTo>
                    <a:pt x="341" y="60"/>
                  </a:lnTo>
                  <a:lnTo>
                    <a:pt x="339" y="60"/>
                  </a:lnTo>
                  <a:lnTo>
                    <a:pt x="339" y="58"/>
                  </a:lnTo>
                  <a:lnTo>
                    <a:pt x="339" y="60"/>
                  </a:lnTo>
                  <a:lnTo>
                    <a:pt x="337" y="60"/>
                  </a:lnTo>
                  <a:lnTo>
                    <a:pt x="337" y="62"/>
                  </a:lnTo>
                  <a:lnTo>
                    <a:pt x="337" y="60"/>
                  </a:lnTo>
                  <a:lnTo>
                    <a:pt x="337" y="62"/>
                  </a:lnTo>
                  <a:lnTo>
                    <a:pt x="336" y="62"/>
                  </a:lnTo>
                  <a:lnTo>
                    <a:pt x="337" y="62"/>
                  </a:lnTo>
                  <a:lnTo>
                    <a:pt x="337" y="60"/>
                  </a:lnTo>
                  <a:lnTo>
                    <a:pt x="336" y="60"/>
                  </a:lnTo>
                  <a:lnTo>
                    <a:pt x="336" y="62"/>
                  </a:lnTo>
                  <a:lnTo>
                    <a:pt x="336" y="64"/>
                  </a:lnTo>
                  <a:lnTo>
                    <a:pt x="336" y="62"/>
                  </a:lnTo>
                  <a:lnTo>
                    <a:pt x="337" y="62"/>
                  </a:lnTo>
                  <a:lnTo>
                    <a:pt x="337" y="64"/>
                  </a:lnTo>
                  <a:lnTo>
                    <a:pt x="336" y="64"/>
                  </a:lnTo>
                  <a:lnTo>
                    <a:pt x="336" y="66"/>
                  </a:lnTo>
                  <a:lnTo>
                    <a:pt x="334" y="66"/>
                  </a:lnTo>
                  <a:lnTo>
                    <a:pt x="336" y="66"/>
                  </a:lnTo>
                  <a:lnTo>
                    <a:pt x="336" y="67"/>
                  </a:lnTo>
                  <a:lnTo>
                    <a:pt x="337" y="67"/>
                  </a:lnTo>
                  <a:lnTo>
                    <a:pt x="337" y="66"/>
                  </a:lnTo>
                  <a:lnTo>
                    <a:pt x="337" y="67"/>
                  </a:lnTo>
                  <a:lnTo>
                    <a:pt x="337" y="66"/>
                  </a:lnTo>
                  <a:lnTo>
                    <a:pt x="337" y="67"/>
                  </a:lnTo>
                  <a:lnTo>
                    <a:pt x="337" y="69"/>
                  </a:lnTo>
                  <a:lnTo>
                    <a:pt x="337" y="71"/>
                  </a:lnTo>
                  <a:lnTo>
                    <a:pt x="336" y="71"/>
                  </a:lnTo>
                  <a:lnTo>
                    <a:pt x="336" y="73"/>
                  </a:lnTo>
                  <a:lnTo>
                    <a:pt x="336" y="75"/>
                  </a:lnTo>
                  <a:lnTo>
                    <a:pt x="334" y="75"/>
                  </a:lnTo>
                  <a:lnTo>
                    <a:pt x="334" y="77"/>
                  </a:lnTo>
                  <a:lnTo>
                    <a:pt x="332" y="77"/>
                  </a:lnTo>
                  <a:lnTo>
                    <a:pt x="332" y="79"/>
                  </a:lnTo>
                  <a:lnTo>
                    <a:pt x="332" y="77"/>
                  </a:lnTo>
                  <a:lnTo>
                    <a:pt x="332" y="79"/>
                  </a:lnTo>
                  <a:lnTo>
                    <a:pt x="330" y="79"/>
                  </a:lnTo>
                  <a:lnTo>
                    <a:pt x="332" y="79"/>
                  </a:lnTo>
                  <a:lnTo>
                    <a:pt x="330" y="79"/>
                  </a:lnTo>
                  <a:lnTo>
                    <a:pt x="332" y="79"/>
                  </a:lnTo>
                  <a:lnTo>
                    <a:pt x="330" y="79"/>
                  </a:lnTo>
                  <a:lnTo>
                    <a:pt x="330" y="81"/>
                  </a:lnTo>
                  <a:lnTo>
                    <a:pt x="330" y="83"/>
                  </a:lnTo>
                  <a:lnTo>
                    <a:pt x="330" y="81"/>
                  </a:lnTo>
                  <a:lnTo>
                    <a:pt x="330" y="83"/>
                  </a:lnTo>
                  <a:lnTo>
                    <a:pt x="328" y="83"/>
                  </a:lnTo>
                  <a:lnTo>
                    <a:pt x="326" y="83"/>
                  </a:lnTo>
                  <a:lnTo>
                    <a:pt x="328" y="83"/>
                  </a:lnTo>
                  <a:lnTo>
                    <a:pt x="326" y="83"/>
                  </a:lnTo>
                  <a:lnTo>
                    <a:pt x="326" y="81"/>
                  </a:lnTo>
                  <a:lnTo>
                    <a:pt x="326" y="83"/>
                  </a:lnTo>
                  <a:lnTo>
                    <a:pt x="326" y="81"/>
                  </a:lnTo>
                  <a:lnTo>
                    <a:pt x="326" y="83"/>
                  </a:lnTo>
                  <a:lnTo>
                    <a:pt x="328" y="83"/>
                  </a:lnTo>
                  <a:lnTo>
                    <a:pt x="326" y="83"/>
                  </a:lnTo>
                  <a:lnTo>
                    <a:pt x="328" y="83"/>
                  </a:lnTo>
                  <a:lnTo>
                    <a:pt x="328" y="85"/>
                  </a:lnTo>
                  <a:lnTo>
                    <a:pt x="330" y="85"/>
                  </a:lnTo>
                  <a:lnTo>
                    <a:pt x="330" y="87"/>
                  </a:lnTo>
                  <a:lnTo>
                    <a:pt x="332" y="87"/>
                  </a:lnTo>
                  <a:lnTo>
                    <a:pt x="332" y="89"/>
                  </a:lnTo>
                  <a:lnTo>
                    <a:pt x="334" y="89"/>
                  </a:lnTo>
                  <a:lnTo>
                    <a:pt x="332" y="89"/>
                  </a:lnTo>
                  <a:lnTo>
                    <a:pt x="332" y="91"/>
                  </a:lnTo>
                  <a:lnTo>
                    <a:pt x="332" y="89"/>
                  </a:lnTo>
                  <a:lnTo>
                    <a:pt x="332" y="91"/>
                  </a:lnTo>
                  <a:lnTo>
                    <a:pt x="332" y="89"/>
                  </a:lnTo>
                  <a:lnTo>
                    <a:pt x="334" y="89"/>
                  </a:lnTo>
                  <a:lnTo>
                    <a:pt x="332" y="89"/>
                  </a:lnTo>
                  <a:lnTo>
                    <a:pt x="334" y="89"/>
                  </a:lnTo>
                  <a:lnTo>
                    <a:pt x="336" y="89"/>
                  </a:lnTo>
                  <a:lnTo>
                    <a:pt x="336" y="91"/>
                  </a:lnTo>
                  <a:lnTo>
                    <a:pt x="337" y="91"/>
                  </a:lnTo>
                  <a:lnTo>
                    <a:pt x="337" y="92"/>
                  </a:lnTo>
                  <a:lnTo>
                    <a:pt x="339" y="92"/>
                  </a:lnTo>
                  <a:lnTo>
                    <a:pt x="341" y="92"/>
                  </a:lnTo>
                  <a:lnTo>
                    <a:pt x="341" y="94"/>
                  </a:lnTo>
                  <a:lnTo>
                    <a:pt x="341" y="96"/>
                  </a:lnTo>
                  <a:lnTo>
                    <a:pt x="343" y="96"/>
                  </a:lnTo>
                  <a:lnTo>
                    <a:pt x="345" y="96"/>
                  </a:lnTo>
                  <a:lnTo>
                    <a:pt x="345" y="98"/>
                  </a:lnTo>
                  <a:lnTo>
                    <a:pt x="347" y="98"/>
                  </a:lnTo>
                  <a:lnTo>
                    <a:pt x="347" y="100"/>
                  </a:lnTo>
                  <a:lnTo>
                    <a:pt x="349" y="100"/>
                  </a:lnTo>
                  <a:lnTo>
                    <a:pt x="351" y="100"/>
                  </a:lnTo>
                  <a:lnTo>
                    <a:pt x="353" y="100"/>
                  </a:lnTo>
                  <a:lnTo>
                    <a:pt x="353" y="102"/>
                  </a:lnTo>
                  <a:lnTo>
                    <a:pt x="353" y="100"/>
                  </a:lnTo>
                  <a:lnTo>
                    <a:pt x="353" y="102"/>
                  </a:lnTo>
                  <a:lnTo>
                    <a:pt x="355" y="102"/>
                  </a:lnTo>
                  <a:lnTo>
                    <a:pt x="357" y="102"/>
                  </a:lnTo>
                  <a:lnTo>
                    <a:pt x="357" y="104"/>
                  </a:lnTo>
                  <a:lnTo>
                    <a:pt x="357" y="102"/>
                  </a:lnTo>
                  <a:lnTo>
                    <a:pt x="357" y="104"/>
                  </a:lnTo>
                  <a:lnTo>
                    <a:pt x="357" y="102"/>
                  </a:lnTo>
                  <a:lnTo>
                    <a:pt x="357" y="104"/>
                  </a:lnTo>
                  <a:lnTo>
                    <a:pt x="359" y="104"/>
                  </a:lnTo>
                  <a:lnTo>
                    <a:pt x="359" y="106"/>
                  </a:lnTo>
                  <a:lnTo>
                    <a:pt x="359" y="104"/>
                  </a:lnTo>
                  <a:lnTo>
                    <a:pt x="361" y="104"/>
                  </a:lnTo>
                  <a:lnTo>
                    <a:pt x="359" y="104"/>
                  </a:lnTo>
                  <a:lnTo>
                    <a:pt x="361" y="104"/>
                  </a:lnTo>
                  <a:lnTo>
                    <a:pt x="361" y="106"/>
                  </a:lnTo>
                  <a:lnTo>
                    <a:pt x="361" y="104"/>
                  </a:lnTo>
                  <a:lnTo>
                    <a:pt x="361" y="106"/>
                  </a:lnTo>
                  <a:lnTo>
                    <a:pt x="362" y="106"/>
                  </a:lnTo>
                  <a:lnTo>
                    <a:pt x="362" y="108"/>
                  </a:lnTo>
                  <a:lnTo>
                    <a:pt x="364" y="108"/>
                  </a:lnTo>
                  <a:lnTo>
                    <a:pt x="364" y="110"/>
                  </a:lnTo>
                  <a:lnTo>
                    <a:pt x="366" y="110"/>
                  </a:lnTo>
                  <a:lnTo>
                    <a:pt x="366" y="112"/>
                  </a:lnTo>
                  <a:lnTo>
                    <a:pt x="368" y="112"/>
                  </a:lnTo>
                  <a:lnTo>
                    <a:pt x="370" y="112"/>
                  </a:lnTo>
                  <a:lnTo>
                    <a:pt x="370" y="114"/>
                  </a:lnTo>
                  <a:lnTo>
                    <a:pt x="372" y="114"/>
                  </a:lnTo>
                  <a:lnTo>
                    <a:pt x="374" y="114"/>
                  </a:lnTo>
                  <a:lnTo>
                    <a:pt x="376" y="114"/>
                  </a:lnTo>
                  <a:lnTo>
                    <a:pt x="378" y="114"/>
                  </a:lnTo>
                  <a:lnTo>
                    <a:pt x="378" y="116"/>
                  </a:lnTo>
                  <a:lnTo>
                    <a:pt x="380" y="116"/>
                  </a:lnTo>
                  <a:lnTo>
                    <a:pt x="382" y="116"/>
                  </a:lnTo>
                  <a:lnTo>
                    <a:pt x="382" y="117"/>
                  </a:lnTo>
                  <a:lnTo>
                    <a:pt x="384" y="117"/>
                  </a:lnTo>
                  <a:lnTo>
                    <a:pt x="384" y="119"/>
                  </a:lnTo>
                  <a:lnTo>
                    <a:pt x="384" y="121"/>
                  </a:lnTo>
                  <a:lnTo>
                    <a:pt x="385" y="121"/>
                  </a:lnTo>
                  <a:lnTo>
                    <a:pt x="385" y="123"/>
                  </a:lnTo>
                  <a:lnTo>
                    <a:pt x="387" y="123"/>
                  </a:lnTo>
                  <a:lnTo>
                    <a:pt x="389" y="123"/>
                  </a:lnTo>
                  <a:lnTo>
                    <a:pt x="389" y="125"/>
                  </a:lnTo>
                  <a:lnTo>
                    <a:pt x="391" y="125"/>
                  </a:lnTo>
                  <a:lnTo>
                    <a:pt x="393" y="125"/>
                  </a:lnTo>
                  <a:lnTo>
                    <a:pt x="393" y="127"/>
                  </a:lnTo>
                  <a:lnTo>
                    <a:pt x="395" y="127"/>
                  </a:lnTo>
                  <a:lnTo>
                    <a:pt x="395" y="129"/>
                  </a:lnTo>
                  <a:lnTo>
                    <a:pt x="397" y="129"/>
                  </a:lnTo>
                  <a:lnTo>
                    <a:pt x="397" y="127"/>
                  </a:lnTo>
                  <a:lnTo>
                    <a:pt x="397" y="129"/>
                  </a:lnTo>
                  <a:lnTo>
                    <a:pt x="399" y="129"/>
                  </a:lnTo>
                  <a:lnTo>
                    <a:pt x="399" y="127"/>
                  </a:lnTo>
                  <a:lnTo>
                    <a:pt x="401" y="127"/>
                  </a:lnTo>
                  <a:lnTo>
                    <a:pt x="403" y="127"/>
                  </a:lnTo>
                  <a:lnTo>
                    <a:pt x="405" y="127"/>
                  </a:lnTo>
                  <a:lnTo>
                    <a:pt x="405" y="125"/>
                  </a:lnTo>
                  <a:lnTo>
                    <a:pt x="407" y="125"/>
                  </a:lnTo>
                  <a:lnTo>
                    <a:pt x="408" y="125"/>
                  </a:lnTo>
                  <a:lnTo>
                    <a:pt x="408" y="123"/>
                  </a:lnTo>
                  <a:lnTo>
                    <a:pt x="408" y="121"/>
                  </a:lnTo>
                  <a:lnTo>
                    <a:pt x="408" y="119"/>
                  </a:lnTo>
                  <a:lnTo>
                    <a:pt x="410" y="119"/>
                  </a:lnTo>
                  <a:lnTo>
                    <a:pt x="410" y="117"/>
                  </a:lnTo>
                  <a:lnTo>
                    <a:pt x="408" y="117"/>
                  </a:lnTo>
                  <a:lnTo>
                    <a:pt x="410" y="117"/>
                  </a:lnTo>
                  <a:lnTo>
                    <a:pt x="410" y="116"/>
                  </a:lnTo>
                  <a:lnTo>
                    <a:pt x="412" y="116"/>
                  </a:lnTo>
                  <a:lnTo>
                    <a:pt x="412" y="114"/>
                  </a:lnTo>
                  <a:lnTo>
                    <a:pt x="410" y="114"/>
                  </a:lnTo>
                  <a:lnTo>
                    <a:pt x="412" y="114"/>
                  </a:lnTo>
                  <a:lnTo>
                    <a:pt x="412" y="112"/>
                  </a:lnTo>
                  <a:lnTo>
                    <a:pt x="414" y="112"/>
                  </a:lnTo>
                  <a:lnTo>
                    <a:pt x="414" y="110"/>
                  </a:lnTo>
                  <a:lnTo>
                    <a:pt x="414" y="108"/>
                  </a:lnTo>
                  <a:lnTo>
                    <a:pt x="414" y="106"/>
                  </a:lnTo>
                  <a:lnTo>
                    <a:pt x="416" y="106"/>
                  </a:lnTo>
                  <a:lnTo>
                    <a:pt x="416" y="104"/>
                  </a:lnTo>
                  <a:lnTo>
                    <a:pt x="416" y="102"/>
                  </a:lnTo>
                  <a:lnTo>
                    <a:pt x="416" y="100"/>
                  </a:lnTo>
                  <a:lnTo>
                    <a:pt x="416" y="98"/>
                  </a:lnTo>
                  <a:lnTo>
                    <a:pt x="416" y="96"/>
                  </a:lnTo>
                  <a:lnTo>
                    <a:pt x="416" y="94"/>
                  </a:lnTo>
                  <a:lnTo>
                    <a:pt x="418" y="94"/>
                  </a:lnTo>
                  <a:lnTo>
                    <a:pt x="418" y="92"/>
                  </a:lnTo>
                  <a:lnTo>
                    <a:pt x="418" y="91"/>
                  </a:lnTo>
                  <a:lnTo>
                    <a:pt x="418" y="89"/>
                  </a:lnTo>
                  <a:lnTo>
                    <a:pt x="420" y="89"/>
                  </a:lnTo>
                  <a:lnTo>
                    <a:pt x="420" y="87"/>
                  </a:lnTo>
                  <a:lnTo>
                    <a:pt x="420" y="85"/>
                  </a:lnTo>
                  <a:lnTo>
                    <a:pt x="418" y="85"/>
                  </a:lnTo>
                  <a:lnTo>
                    <a:pt x="418" y="83"/>
                  </a:lnTo>
                  <a:lnTo>
                    <a:pt x="418" y="81"/>
                  </a:lnTo>
                  <a:lnTo>
                    <a:pt x="418" y="79"/>
                  </a:lnTo>
                  <a:lnTo>
                    <a:pt x="418" y="77"/>
                  </a:lnTo>
                  <a:lnTo>
                    <a:pt x="418" y="75"/>
                  </a:lnTo>
                  <a:lnTo>
                    <a:pt x="418" y="73"/>
                  </a:lnTo>
                  <a:lnTo>
                    <a:pt x="418" y="71"/>
                  </a:lnTo>
                  <a:lnTo>
                    <a:pt x="416" y="71"/>
                  </a:lnTo>
                  <a:lnTo>
                    <a:pt x="416" y="69"/>
                  </a:lnTo>
                  <a:lnTo>
                    <a:pt x="418" y="69"/>
                  </a:lnTo>
                  <a:lnTo>
                    <a:pt x="418" y="67"/>
                  </a:lnTo>
                  <a:lnTo>
                    <a:pt x="418" y="66"/>
                  </a:lnTo>
                  <a:lnTo>
                    <a:pt x="418" y="64"/>
                  </a:lnTo>
                  <a:lnTo>
                    <a:pt x="420" y="64"/>
                  </a:lnTo>
                  <a:lnTo>
                    <a:pt x="420" y="62"/>
                  </a:lnTo>
                  <a:lnTo>
                    <a:pt x="420" y="60"/>
                  </a:lnTo>
                  <a:lnTo>
                    <a:pt x="420" y="58"/>
                  </a:lnTo>
                  <a:lnTo>
                    <a:pt x="420" y="60"/>
                  </a:lnTo>
                  <a:lnTo>
                    <a:pt x="420" y="58"/>
                  </a:lnTo>
                  <a:lnTo>
                    <a:pt x="420" y="56"/>
                  </a:lnTo>
                  <a:lnTo>
                    <a:pt x="418" y="56"/>
                  </a:lnTo>
                  <a:lnTo>
                    <a:pt x="420" y="56"/>
                  </a:lnTo>
                  <a:lnTo>
                    <a:pt x="420" y="54"/>
                  </a:lnTo>
                  <a:lnTo>
                    <a:pt x="422" y="54"/>
                  </a:lnTo>
                  <a:lnTo>
                    <a:pt x="422" y="52"/>
                  </a:lnTo>
                  <a:lnTo>
                    <a:pt x="424" y="52"/>
                  </a:lnTo>
                  <a:lnTo>
                    <a:pt x="424" y="54"/>
                  </a:lnTo>
                  <a:lnTo>
                    <a:pt x="424" y="56"/>
                  </a:lnTo>
                  <a:lnTo>
                    <a:pt x="424" y="54"/>
                  </a:lnTo>
                  <a:lnTo>
                    <a:pt x="424" y="56"/>
                  </a:lnTo>
                  <a:lnTo>
                    <a:pt x="424" y="54"/>
                  </a:lnTo>
                  <a:lnTo>
                    <a:pt x="424" y="56"/>
                  </a:lnTo>
                  <a:lnTo>
                    <a:pt x="424" y="54"/>
                  </a:lnTo>
                  <a:lnTo>
                    <a:pt x="424" y="56"/>
                  </a:lnTo>
                  <a:lnTo>
                    <a:pt x="424" y="54"/>
                  </a:lnTo>
                  <a:lnTo>
                    <a:pt x="424" y="56"/>
                  </a:lnTo>
                  <a:lnTo>
                    <a:pt x="424" y="54"/>
                  </a:lnTo>
                  <a:lnTo>
                    <a:pt x="424" y="56"/>
                  </a:lnTo>
                  <a:lnTo>
                    <a:pt x="424" y="54"/>
                  </a:lnTo>
                  <a:lnTo>
                    <a:pt x="426" y="54"/>
                  </a:lnTo>
                  <a:lnTo>
                    <a:pt x="424" y="54"/>
                  </a:lnTo>
                  <a:lnTo>
                    <a:pt x="426" y="54"/>
                  </a:lnTo>
                  <a:lnTo>
                    <a:pt x="424" y="54"/>
                  </a:lnTo>
                  <a:lnTo>
                    <a:pt x="426" y="54"/>
                  </a:lnTo>
                  <a:lnTo>
                    <a:pt x="424" y="54"/>
                  </a:lnTo>
                  <a:lnTo>
                    <a:pt x="424" y="52"/>
                  </a:lnTo>
                  <a:lnTo>
                    <a:pt x="422" y="52"/>
                  </a:lnTo>
                  <a:lnTo>
                    <a:pt x="422" y="50"/>
                  </a:lnTo>
                  <a:lnTo>
                    <a:pt x="424" y="50"/>
                  </a:lnTo>
                  <a:lnTo>
                    <a:pt x="426" y="50"/>
                  </a:lnTo>
                  <a:lnTo>
                    <a:pt x="426" y="48"/>
                  </a:lnTo>
                  <a:lnTo>
                    <a:pt x="426" y="50"/>
                  </a:lnTo>
                  <a:lnTo>
                    <a:pt x="426" y="48"/>
                  </a:lnTo>
                  <a:lnTo>
                    <a:pt x="426" y="50"/>
                  </a:lnTo>
                  <a:lnTo>
                    <a:pt x="424" y="50"/>
                  </a:lnTo>
                  <a:lnTo>
                    <a:pt x="426" y="50"/>
                  </a:lnTo>
                  <a:lnTo>
                    <a:pt x="424" y="50"/>
                  </a:lnTo>
                  <a:lnTo>
                    <a:pt x="422" y="50"/>
                  </a:lnTo>
                  <a:lnTo>
                    <a:pt x="420" y="50"/>
                  </a:lnTo>
                  <a:lnTo>
                    <a:pt x="420" y="48"/>
                  </a:lnTo>
                  <a:lnTo>
                    <a:pt x="420" y="50"/>
                  </a:lnTo>
                  <a:lnTo>
                    <a:pt x="418" y="50"/>
                  </a:lnTo>
                  <a:lnTo>
                    <a:pt x="420" y="50"/>
                  </a:lnTo>
                  <a:lnTo>
                    <a:pt x="420" y="48"/>
                  </a:lnTo>
                  <a:lnTo>
                    <a:pt x="420" y="46"/>
                  </a:lnTo>
                  <a:lnTo>
                    <a:pt x="420" y="44"/>
                  </a:lnTo>
                  <a:lnTo>
                    <a:pt x="422" y="44"/>
                  </a:lnTo>
                  <a:lnTo>
                    <a:pt x="420" y="44"/>
                  </a:lnTo>
                  <a:lnTo>
                    <a:pt x="422" y="44"/>
                  </a:lnTo>
                  <a:lnTo>
                    <a:pt x="422" y="43"/>
                  </a:lnTo>
                  <a:lnTo>
                    <a:pt x="422" y="41"/>
                  </a:lnTo>
                  <a:lnTo>
                    <a:pt x="424" y="41"/>
                  </a:lnTo>
                  <a:lnTo>
                    <a:pt x="424" y="43"/>
                  </a:lnTo>
                  <a:lnTo>
                    <a:pt x="424" y="44"/>
                  </a:lnTo>
                  <a:lnTo>
                    <a:pt x="424" y="43"/>
                  </a:lnTo>
                  <a:lnTo>
                    <a:pt x="426" y="43"/>
                  </a:lnTo>
                  <a:lnTo>
                    <a:pt x="424" y="43"/>
                  </a:lnTo>
                  <a:lnTo>
                    <a:pt x="424" y="41"/>
                  </a:lnTo>
                  <a:lnTo>
                    <a:pt x="424" y="39"/>
                  </a:lnTo>
                  <a:lnTo>
                    <a:pt x="426" y="39"/>
                  </a:lnTo>
                  <a:lnTo>
                    <a:pt x="426" y="37"/>
                  </a:lnTo>
                  <a:lnTo>
                    <a:pt x="426" y="35"/>
                  </a:lnTo>
                  <a:lnTo>
                    <a:pt x="426" y="33"/>
                  </a:lnTo>
                  <a:lnTo>
                    <a:pt x="426" y="31"/>
                  </a:lnTo>
                  <a:lnTo>
                    <a:pt x="426" y="29"/>
                  </a:lnTo>
                  <a:lnTo>
                    <a:pt x="428" y="29"/>
                  </a:lnTo>
                  <a:lnTo>
                    <a:pt x="428" y="27"/>
                  </a:lnTo>
                  <a:lnTo>
                    <a:pt x="426" y="27"/>
                  </a:lnTo>
                  <a:lnTo>
                    <a:pt x="428" y="25"/>
                  </a:lnTo>
                  <a:lnTo>
                    <a:pt x="430" y="25"/>
                  </a:lnTo>
                  <a:lnTo>
                    <a:pt x="430" y="23"/>
                  </a:lnTo>
                  <a:lnTo>
                    <a:pt x="432" y="23"/>
                  </a:lnTo>
                  <a:lnTo>
                    <a:pt x="432" y="21"/>
                  </a:lnTo>
                  <a:lnTo>
                    <a:pt x="433" y="21"/>
                  </a:lnTo>
                  <a:lnTo>
                    <a:pt x="433" y="23"/>
                  </a:lnTo>
                  <a:lnTo>
                    <a:pt x="432" y="23"/>
                  </a:lnTo>
                  <a:lnTo>
                    <a:pt x="433" y="23"/>
                  </a:lnTo>
                  <a:lnTo>
                    <a:pt x="432" y="23"/>
                  </a:lnTo>
                  <a:lnTo>
                    <a:pt x="432" y="25"/>
                  </a:lnTo>
                  <a:lnTo>
                    <a:pt x="433" y="25"/>
                  </a:lnTo>
                  <a:lnTo>
                    <a:pt x="432" y="25"/>
                  </a:lnTo>
                  <a:lnTo>
                    <a:pt x="433" y="25"/>
                  </a:lnTo>
                  <a:lnTo>
                    <a:pt x="435" y="25"/>
                  </a:lnTo>
                  <a:lnTo>
                    <a:pt x="433" y="25"/>
                  </a:lnTo>
                  <a:lnTo>
                    <a:pt x="435" y="25"/>
                  </a:lnTo>
                  <a:lnTo>
                    <a:pt x="435" y="27"/>
                  </a:lnTo>
                  <a:lnTo>
                    <a:pt x="435" y="25"/>
                  </a:lnTo>
                  <a:lnTo>
                    <a:pt x="433" y="25"/>
                  </a:lnTo>
                  <a:lnTo>
                    <a:pt x="433" y="27"/>
                  </a:lnTo>
                  <a:lnTo>
                    <a:pt x="435" y="27"/>
                  </a:lnTo>
                  <a:lnTo>
                    <a:pt x="433" y="27"/>
                  </a:lnTo>
                  <a:lnTo>
                    <a:pt x="435" y="27"/>
                  </a:lnTo>
                  <a:lnTo>
                    <a:pt x="435" y="25"/>
                  </a:lnTo>
                  <a:lnTo>
                    <a:pt x="435" y="27"/>
                  </a:lnTo>
                  <a:lnTo>
                    <a:pt x="437" y="27"/>
                  </a:lnTo>
                  <a:lnTo>
                    <a:pt x="437" y="29"/>
                  </a:lnTo>
                  <a:lnTo>
                    <a:pt x="435" y="29"/>
                  </a:lnTo>
                  <a:lnTo>
                    <a:pt x="437" y="29"/>
                  </a:lnTo>
                  <a:lnTo>
                    <a:pt x="437" y="31"/>
                  </a:lnTo>
                  <a:lnTo>
                    <a:pt x="437" y="33"/>
                  </a:lnTo>
                  <a:lnTo>
                    <a:pt x="437" y="35"/>
                  </a:lnTo>
                  <a:lnTo>
                    <a:pt x="437" y="37"/>
                  </a:lnTo>
                  <a:lnTo>
                    <a:pt x="437" y="39"/>
                  </a:lnTo>
                  <a:lnTo>
                    <a:pt x="437" y="41"/>
                  </a:lnTo>
                  <a:lnTo>
                    <a:pt x="439" y="41"/>
                  </a:lnTo>
                  <a:lnTo>
                    <a:pt x="441" y="41"/>
                  </a:lnTo>
                  <a:lnTo>
                    <a:pt x="443" y="41"/>
                  </a:lnTo>
                  <a:lnTo>
                    <a:pt x="443" y="43"/>
                  </a:lnTo>
                  <a:lnTo>
                    <a:pt x="441" y="43"/>
                  </a:lnTo>
                  <a:lnTo>
                    <a:pt x="441" y="44"/>
                  </a:lnTo>
                  <a:lnTo>
                    <a:pt x="441" y="46"/>
                  </a:lnTo>
                  <a:lnTo>
                    <a:pt x="443" y="46"/>
                  </a:lnTo>
                  <a:lnTo>
                    <a:pt x="443" y="48"/>
                  </a:lnTo>
                  <a:lnTo>
                    <a:pt x="443" y="50"/>
                  </a:lnTo>
                  <a:lnTo>
                    <a:pt x="445" y="50"/>
                  </a:lnTo>
                  <a:lnTo>
                    <a:pt x="445" y="52"/>
                  </a:lnTo>
                  <a:lnTo>
                    <a:pt x="445" y="54"/>
                  </a:lnTo>
                  <a:lnTo>
                    <a:pt x="447" y="54"/>
                  </a:lnTo>
                  <a:lnTo>
                    <a:pt x="447" y="56"/>
                  </a:lnTo>
                  <a:lnTo>
                    <a:pt x="447" y="58"/>
                  </a:lnTo>
                  <a:lnTo>
                    <a:pt x="447" y="60"/>
                  </a:lnTo>
                  <a:lnTo>
                    <a:pt x="447" y="62"/>
                  </a:lnTo>
                  <a:lnTo>
                    <a:pt x="449" y="62"/>
                  </a:lnTo>
                  <a:lnTo>
                    <a:pt x="449" y="64"/>
                  </a:lnTo>
                  <a:lnTo>
                    <a:pt x="449" y="66"/>
                  </a:lnTo>
                  <a:lnTo>
                    <a:pt x="447" y="66"/>
                  </a:lnTo>
                  <a:lnTo>
                    <a:pt x="447" y="67"/>
                  </a:lnTo>
                  <a:lnTo>
                    <a:pt x="447" y="69"/>
                  </a:lnTo>
                  <a:lnTo>
                    <a:pt x="449" y="69"/>
                  </a:lnTo>
                  <a:lnTo>
                    <a:pt x="449" y="71"/>
                  </a:lnTo>
                  <a:lnTo>
                    <a:pt x="449" y="73"/>
                  </a:lnTo>
                  <a:lnTo>
                    <a:pt x="449" y="75"/>
                  </a:lnTo>
                  <a:lnTo>
                    <a:pt x="451" y="75"/>
                  </a:lnTo>
                  <a:lnTo>
                    <a:pt x="451" y="77"/>
                  </a:lnTo>
                  <a:lnTo>
                    <a:pt x="451" y="79"/>
                  </a:lnTo>
                  <a:lnTo>
                    <a:pt x="453" y="79"/>
                  </a:lnTo>
                  <a:lnTo>
                    <a:pt x="455" y="79"/>
                  </a:lnTo>
                  <a:lnTo>
                    <a:pt x="456" y="79"/>
                  </a:lnTo>
                  <a:lnTo>
                    <a:pt x="456" y="77"/>
                  </a:lnTo>
                  <a:lnTo>
                    <a:pt x="456" y="75"/>
                  </a:lnTo>
                  <a:lnTo>
                    <a:pt x="458" y="75"/>
                  </a:lnTo>
                  <a:lnTo>
                    <a:pt x="458" y="77"/>
                  </a:lnTo>
                  <a:lnTo>
                    <a:pt x="458" y="75"/>
                  </a:lnTo>
                  <a:lnTo>
                    <a:pt x="458" y="77"/>
                  </a:lnTo>
                  <a:lnTo>
                    <a:pt x="458" y="75"/>
                  </a:lnTo>
                  <a:lnTo>
                    <a:pt x="460" y="75"/>
                  </a:lnTo>
                  <a:lnTo>
                    <a:pt x="460" y="73"/>
                  </a:lnTo>
                  <a:lnTo>
                    <a:pt x="462" y="73"/>
                  </a:lnTo>
                  <a:lnTo>
                    <a:pt x="460" y="73"/>
                  </a:lnTo>
                  <a:lnTo>
                    <a:pt x="462" y="73"/>
                  </a:lnTo>
                  <a:lnTo>
                    <a:pt x="462" y="75"/>
                  </a:lnTo>
                  <a:lnTo>
                    <a:pt x="462" y="77"/>
                  </a:lnTo>
                  <a:lnTo>
                    <a:pt x="464" y="77"/>
                  </a:lnTo>
                  <a:lnTo>
                    <a:pt x="462" y="77"/>
                  </a:lnTo>
                  <a:lnTo>
                    <a:pt x="464" y="77"/>
                  </a:lnTo>
                  <a:lnTo>
                    <a:pt x="462" y="77"/>
                  </a:lnTo>
                  <a:lnTo>
                    <a:pt x="462" y="79"/>
                  </a:lnTo>
                  <a:lnTo>
                    <a:pt x="464" y="79"/>
                  </a:lnTo>
                  <a:lnTo>
                    <a:pt x="462" y="79"/>
                  </a:lnTo>
                  <a:lnTo>
                    <a:pt x="464" y="79"/>
                  </a:lnTo>
                  <a:lnTo>
                    <a:pt x="466" y="79"/>
                  </a:lnTo>
                  <a:lnTo>
                    <a:pt x="466" y="81"/>
                  </a:lnTo>
                  <a:lnTo>
                    <a:pt x="468" y="81"/>
                  </a:lnTo>
                  <a:lnTo>
                    <a:pt x="468" y="83"/>
                  </a:lnTo>
                  <a:lnTo>
                    <a:pt x="470" y="83"/>
                  </a:lnTo>
                  <a:lnTo>
                    <a:pt x="470" y="85"/>
                  </a:lnTo>
                  <a:lnTo>
                    <a:pt x="472" y="85"/>
                  </a:lnTo>
                  <a:lnTo>
                    <a:pt x="472" y="87"/>
                  </a:lnTo>
                  <a:lnTo>
                    <a:pt x="474" y="87"/>
                  </a:lnTo>
                  <a:lnTo>
                    <a:pt x="472" y="87"/>
                  </a:lnTo>
                  <a:lnTo>
                    <a:pt x="472" y="89"/>
                  </a:lnTo>
                  <a:lnTo>
                    <a:pt x="472" y="91"/>
                  </a:lnTo>
                  <a:lnTo>
                    <a:pt x="474" y="91"/>
                  </a:lnTo>
                  <a:lnTo>
                    <a:pt x="474" y="92"/>
                  </a:lnTo>
                  <a:lnTo>
                    <a:pt x="472" y="92"/>
                  </a:lnTo>
                  <a:lnTo>
                    <a:pt x="472" y="94"/>
                  </a:lnTo>
                  <a:lnTo>
                    <a:pt x="474" y="94"/>
                  </a:lnTo>
                  <a:lnTo>
                    <a:pt x="472" y="94"/>
                  </a:lnTo>
                  <a:lnTo>
                    <a:pt x="474" y="94"/>
                  </a:lnTo>
                  <a:lnTo>
                    <a:pt x="474" y="96"/>
                  </a:lnTo>
                  <a:lnTo>
                    <a:pt x="474" y="98"/>
                  </a:lnTo>
                  <a:lnTo>
                    <a:pt x="474" y="100"/>
                  </a:lnTo>
                  <a:lnTo>
                    <a:pt x="476" y="100"/>
                  </a:lnTo>
                  <a:lnTo>
                    <a:pt x="476" y="102"/>
                  </a:lnTo>
                  <a:lnTo>
                    <a:pt x="476" y="104"/>
                  </a:lnTo>
                  <a:lnTo>
                    <a:pt x="476" y="102"/>
                  </a:lnTo>
                  <a:lnTo>
                    <a:pt x="476" y="104"/>
                  </a:lnTo>
                  <a:lnTo>
                    <a:pt x="476" y="106"/>
                  </a:lnTo>
                  <a:lnTo>
                    <a:pt x="476" y="108"/>
                  </a:lnTo>
                  <a:lnTo>
                    <a:pt x="474" y="108"/>
                  </a:lnTo>
                  <a:lnTo>
                    <a:pt x="476" y="108"/>
                  </a:lnTo>
                  <a:lnTo>
                    <a:pt x="474" y="108"/>
                  </a:lnTo>
                  <a:lnTo>
                    <a:pt x="474" y="110"/>
                  </a:lnTo>
                  <a:lnTo>
                    <a:pt x="476" y="110"/>
                  </a:lnTo>
                  <a:lnTo>
                    <a:pt x="476" y="112"/>
                  </a:lnTo>
                  <a:lnTo>
                    <a:pt x="478" y="112"/>
                  </a:lnTo>
                  <a:lnTo>
                    <a:pt x="478" y="114"/>
                  </a:lnTo>
                  <a:lnTo>
                    <a:pt x="480" y="114"/>
                  </a:lnTo>
                  <a:lnTo>
                    <a:pt x="480" y="116"/>
                  </a:lnTo>
                  <a:lnTo>
                    <a:pt x="481" y="116"/>
                  </a:lnTo>
                  <a:lnTo>
                    <a:pt x="483" y="116"/>
                  </a:lnTo>
                  <a:lnTo>
                    <a:pt x="481" y="116"/>
                  </a:lnTo>
                  <a:lnTo>
                    <a:pt x="483" y="116"/>
                  </a:lnTo>
                  <a:lnTo>
                    <a:pt x="481" y="116"/>
                  </a:lnTo>
                  <a:lnTo>
                    <a:pt x="481" y="117"/>
                  </a:lnTo>
                  <a:lnTo>
                    <a:pt x="481" y="119"/>
                  </a:lnTo>
                  <a:lnTo>
                    <a:pt x="483" y="119"/>
                  </a:lnTo>
                  <a:lnTo>
                    <a:pt x="483" y="121"/>
                  </a:lnTo>
                  <a:lnTo>
                    <a:pt x="483" y="123"/>
                  </a:lnTo>
                  <a:lnTo>
                    <a:pt x="485" y="123"/>
                  </a:lnTo>
                  <a:lnTo>
                    <a:pt x="483" y="123"/>
                  </a:lnTo>
                  <a:lnTo>
                    <a:pt x="485" y="125"/>
                  </a:lnTo>
                  <a:lnTo>
                    <a:pt x="483" y="125"/>
                  </a:lnTo>
                  <a:lnTo>
                    <a:pt x="485" y="125"/>
                  </a:lnTo>
                  <a:lnTo>
                    <a:pt x="485" y="127"/>
                  </a:lnTo>
                  <a:lnTo>
                    <a:pt x="485" y="129"/>
                  </a:lnTo>
                  <a:lnTo>
                    <a:pt x="485" y="131"/>
                  </a:lnTo>
                  <a:lnTo>
                    <a:pt x="485" y="133"/>
                  </a:lnTo>
                  <a:lnTo>
                    <a:pt x="483" y="133"/>
                  </a:lnTo>
                  <a:lnTo>
                    <a:pt x="483" y="135"/>
                  </a:lnTo>
                  <a:lnTo>
                    <a:pt x="483" y="137"/>
                  </a:lnTo>
                  <a:lnTo>
                    <a:pt x="485" y="137"/>
                  </a:lnTo>
                  <a:lnTo>
                    <a:pt x="485" y="139"/>
                  </a:lnTo>
                  <a:lnTo>
                    <a:pt x="485" y="140"/>
                  </a:lnTo>
                  <a:lnTo>
                    <a:pt x="485" y="139"/>
                  </a:lnTo>
                  <a:lnTo>
                    <a:pt x="487" y="139"/>
                  </a:lnTo>
                  <a:lnTo>
                    <a:pt x="485" y="139"/>
                  </a:lnTo>
                  <a:lnTo>
                    <a:pt x="485" y="140"/>
                  </a:lnTo>
                  <a:lnTo>
                    <a:pt x="487" y="140"/>
                  </a:lnTo>
                  <a:lnTo>
                    <a:pt x="489" y="140"/>
                  </a:lnTo>
                  <a:lnTo>
                    <a:pt x="487" y="140"/>
                  </a:lnTo>
                  <a:lnTo>
                    <a:pt x="489" y="140"/>
                  </a:lnTo>
                  <a:lnTo>
                    <a:pt x="487" y="140"/>
                  </a:lnTo>
                  <a:lnTo>
                    <a:pt x="489" y="140"/>
                  </a:lnTo>
                  <a:lnTo>
                    <a:pt x="489" y="142"/>
                  </a:lnTo>
                  <a:lnTo>
                    <a:pt x="487" y="142"/>
                  </a:lnTo>
                  <a:lnTo>
                    <a:pt x="489" y="142"/>
                  </a:lnTo>
                  <a:lnTo>
                    <a:pt x="487" y="142"/>
                  </a:lnTo>
                  <a:lnTo>
                    <a:pt x="487" y="144"/>
                  </a:lnTo>
                  <a:lnTo>
                    <a:pt x="487" y="146"/>
                  </a:lnTo>
                  <a:lnTo>
                    <a:pt x="489" y="146"/>
                  </a:lnTo>
                  <a:lnTo>
                    <a:pt x="489" y="148"/>
                  </a:lnTo>
                  <a:lnTo>
                    <a:pt x="491" y="148"/>
                  </a:lnTo>
                  <a:lnTo>
                    <a:pt x="491" y="150"/>
                  </a:lnTo>
                  <a:lnTo>
                    <a:pt x="493" y="150"/>
                  </a:lnTo>
                  <a:lnTo>
                    <a:pt x="495" y="150"/>
                  </a:lnTo>
                  <a:lnTo>
                    <a:pt x="495" y="152"/>
                  </a:lnTo>
                  <a:lnTo>
                    <a:pt x="497" y="152"/>
                  </a:lnTo>
                  <a:lnTo>
                    <a:pt x="499" y="152"/>
                  </a:lnTo>
                  <a:lnTo>
                    <a:pt x="499" y="150"/>
                  </a:lnTo>
                  <a:lnTo>
                    <a:pt x="499" y="152"/>
                  </a:lnTo>
                  <a:lnTo>
                    <a:pt x="499" y="154"/>
                  </a:lnTo>
                  <a:lnTo>
                    <a:pt x="501" y="154"/>
                  </a:lnTo>
                  <a:lnTo>
                    <a:pt x="503" y="154"/>
                  </a:lnTo>
                  <a:lnTo>
                    <a:pt x="501" y="154"/>
                  </a:lnTo>
                  <a:lnTo>
                    <a:pt x="503" y="154"/>
                  </a:lnTo>
                  <a:lnTo>
                    <a:pt x="503" y="156"/>
                  </a:lnTo>
                  <a:lnTo>
                    <a:pt x="503" y="154"/>
                  </a:lnTo>
                  <a:lnTo>
                    <a:pt x="504" y="154"/>
                  </a:lnTo>
                  <a:lnTo>
                    <a:pt x="504" y="152"/>
                  </a:lnTo>
                  <a:lnTo>
                    <a:pt x="504" y="154"/>
                  </a:lnTo>
                  <a:lnTo>
                    <a:pt x="504" y="156"/>
                  </a:lnTo>
                  <a:lnTo>
                    <a:pt x="506" y="156"/>
                  </a:lnTo>
                  <a:lnTo>
                    <a:pt x="506" y="158"/>
                  </a:lnTo>
                  <a:lnTo>
                    <a:pt x="504" y="158"/>
                  </a:lnTo>
                  <a:lnTo>
                    <a:pt x="503" y="158"/>
                  </a:lnTo>
                  <a:lnTo>
                    <a:pt x="503" y="160"/>
                  </a:lnTo>
                  <a:lnTo>
                    <a:pt x="501" y="160"/>
                  </a:lnTo>
                  <a:lnTo>
                    <a:pt x="503" y="160"/>
                  </a:lnTo>
                  <a:lnTo>
                    <a:pt x="503" y="158"/>
                  </a:lnTo>
                  <a:lnTo>
                    <a:pt x="504" y="158"/>
                  </a:lnTo>
                  <a:lnTo>
                    <a:pt x="506" y="158"/>
                  </a:lnTo>
                  <a:lnTo>
                    <a:pt x="506" y="160"/>
                  </a:lnTo>
                  <a:lnTo>
                    <a:pt x="508" y="160"/>
                  </a:lnTo>
                  <a:lnTo>
                    <a:pt x="508" y="162"/>
                  </a:lnTo>
                  <a:lnTo>
                    <a:pt x="510" y="162"/>
                  </a:lnTo>
                  <a:lnTo>
                    <a:pt x="510" y="160"/>
                  </a:lnTo>
                  <a:lnTo>
                    <a:pt x="508" y="160"/>
                  </a:lnTo>
                  <a:lnTo>
                    <a:pt x="510" y="160"/>
                  </a:lnTo>
                  <a:lnTo>
                    <a:pt x="508" y="160"/>
                  </a:lnTo>
                  <a:lnTo>
                    <a:pt x="510" y="160"/>
                  </a:lnTo>
                  <a:lnTo>
                    <a:pt x="510" y="162"/>
                  </a:lnTo>
                  <a:lnTo>
                    <a:pt x="512" y="162"/>
                  </a:lnTo>
                  <a:lnTo>
                    <a:pt x="514" y="162"/>
                  </a:lnTo>
                  <a:lnTo>
                    <a:pt x="514" y="164"/>
                  </a:lnTo>
                  <a:lnTo>
                    <a:pt x="514" y="162"/>
                  </a:lnTo>
                  <a:lnTo>
                    <a:pt x="514" y="164"/>
                  </a:lnTo>
                  <a:lnTo>
                    <a:pt x="514" y="162"/>
                  </a:lnTo>
                  <a:lnTo>
                    <a:pt x="514" y="164"/>
                  </a:lnTo>
                  <a:lnTo>
                    <a:pt x="516" y="164"/>
                  </a:lnTo>
                  <a:lnTo>
                    <a:pt x="516" y="165"/>
                  </a:lnTo>
                  <a:lnTo>
                    <a:pt x="518" y="165"/>
                  </a:lnTo>
                  <a:lnTo>
                    <a:pt x="520" y="165"/>
                  </a:lnTo>
                  <a:lnTo>
                    <a:pt x="520" y="164"/>
                  </a:lnTo>
                  <a:lnTo>
                    <a:pt x="520" y="165"/>
                  </a:lnTo>
                  <a:lnTo>
                    <a:pt x="520" y="164"/>
                  </a:lnTo>
                  <a:lnTo>
                    <a:pt x="522" y="164"/>
                  </a:lnTo>
                  <a:lnTo>
                    <a:pt x="522" y="165"/>
                  </a:lnTo>
                  <a:lnTo>
                    <a:pt x="520" y="165"/>
                  </a:lnTo>
                  <a:lnTo>
                    <a:pt x="522" y="165"/>
                  </a:lnTo>
                  <a:lnTo>
                    <a:pt x="522" y="167"/>
                  </a:lnTo>
                  <a:lnTo>
                    <a:pt x="522" y="165"/>
                  </a:lnTo>
                  <a:lnTo>
                    <a:pt x="522" y="167"/>
                  </a:lnTo>
                  <a:lnTo>
                    <a:pt x="522" y="165"/>
                  </a:lnTo>
                  <a:lnTo>
                    <a:pt x="522" y="167"/>
                  </a:lnTo>
                  <a:lnTo>
                    <a:pt x="522" y="165"/>
                  </a:lnTo>
                  <a:lnTo>
                    <a:pt x="522" y="167"/>
                  </a:lnTo>
                  <a:lnTo>
                    <a:pt x="524" y="167"/>
                  </a:lnTo>
                  <a:lnTo>
                    <a:pt x="524" y="169"/>
                  </a:lnTo>
                  <a:lnTo>
                    <a:pt x="526" y="169"/>
                  </a:lnTo>
                  <a:lnTo>
                    <a:pt x="524" y="169"/>
                  </a:lnTo>
                  <a:lnTo>
                    <a:pt x="526" y="169"/>
                  </a:lnTo>
                  <a:lnTo>
                    <a:pt x="524" y="169"/>
                  </a:lnTo>
                  <a:lnTo>
                    <a:pt x="526" y="169"/>
                  </a:lnTo>
                  <a:lnTo>
                    <a:pt x="526" y="171"/>
                  </a:lnTo>
                  <a:lnTo>
                    <a:pt x="524" y="171"/>
                  </a:lnTo>
                  <a:lnTo>
                    <a:pt x="526" y="171"/>
                  </a:lnTo>
                  <a:lnTo>
                    <a:pt x="526" y="169"/>
                  </a:lnTo>
                  <a:lnTo>
                    <a:pt x="524" y="169"/>
                  </a:lnTo>
                  <a:lnTo>
                    <a:pt x="526" y="169"/>
                  </a:lnTo>
                  <a:lnTo>
                    <a:pt x="526" y="171"/>
                  </a:lnTo>
                  <a:lnTo>
                    <a:pt x="524" y="171"/>
                  </a:lnTo>
                  <a:lnTo>
                    <a:pt x="524" y="169"/>
                  </a:lnTo>
                  <a:lnTo>
                    <a:pt x="524" y="171"/>
                  </a:lnTo>
                  <a:lnTo>
                    <a:pt x="524" y="169"/>
                  </a:lnTo>
                  <a:lnTo>
                    <a:pt x="524" y="171"/>
                  </a:lnTo>
                  <a:lnTo>
                    <a:pt x="524" y="169"/>
                  </a:lnTo>
                  <a:lnTo>
                    <a:pt x="522" y="169"/>
                  </a:lnTo>
                  <a:lnTo>
                    <a:pt x="522" y="171"/>
                  </a:lnTo>
                  <a:lnTo>
                    <a:pt x="524" y="171"/>
                  </a:lnTo>
                  <a:lnTo>
                    <a:pt x="522" y="171"/>
                  </a:lnTo>
                  <a:lnTo>
                    <a:pt x="522" y="173"/>
                  </a:lnTo>
                  <a:lnTo>
                    <a:pt x="524" y="173"/>
                  </a:lnTo>
                  <a:lnTo>
                    <a:pt x="524" y="175"/>
                  </a:lnTo>
                  <a:lnTo>
                    <a:pt x="522" y="175"/>
                  </a:lnTo>
                  <a:lnTo>
                    <a:pt x="524" y="175"/>
                  </a:lnTo>
                  <a:lnTo>
                    <a:pt x="524" y="173"/>
                  </a:lnTo>
                  <a:lnTo>
                    <a:pt x="524" y="175"/>
                  </a:lnTo>
                  <a:lnTo>
                    <a:pt x="526" y="175"/>
                  </a:lnTo>
                  <a:lnTo>
                    <a:pt x="524" y="175"/>
                  </a:lnTo>
                  <a:lnTo>
                    <a:pt x="526" y="175"/>
                  </a:lnTo>
                  <a:lnTo>
                    <a:pt x="524" y="175"/>
                  </a:lnTo>
                  <a:lnTo>
                    <a:pt x="524" y="177"/>
                  </a:lnTo>
                  <a:lnTo>
                    <a:pt x="526" y="177"/>
                  </a:lnTo>
                  <a:lnTo>
                    <a:pt x="527" y="177"/>
                  </a:lnTo>
                  <a:lnTo>
                    <a:pt x="527" y="179"/>
                  </a:lnTo>
                  <a:lnTo>
                    <a:pt x="527" y="177"/>
                  </a:lnTo>
                  <a:lnTo>
                    <a:pt x="527" y="179"/>
                  </a:lnTo>
                  <a:lnTo>
                    <a:pt x="529" y="179"/>
                  </a:lnTo>
                  <a:lnTo>
                    <a:pt x="529" y="181"/>
                  </a:lnTo>
                  <a:lnTo>
                    <a:pt x="531" y="181"/>
                  </a:lnTo>
                  <a:lnTo>
                    <a:pt x="529" y="181"/>
                  </a:lnTo>
                  <a:lnTo>
                    <a:pt x="531" y="181"/>
                  </a:lnTo>
                  <a:lnTo>
                    <a:pt x="529" y="181"/>
                  </a:lnTo>
                  <a:lnTo>
                    <a:pt x="529" y="183"/>
                  </a:lnTo>
                  <a:lnTo>
                    <a:pt x="529" y="185"/>
                  </a:lnTo>
                  <a:lnTo>
                    <a:pt x="529" y="183"/>
                  </a:lnTo>
                  <a:lnTo>
                    <a:pt x="531" y="183"/>
                  </a:lnTo>
                  <a:lnTo>
                    <a:pt x="531" y="185"/>
                  </a:lnTo>
                  <a:lnTo>
                    <a:pt x="531" y="187"/>
                  </a:lnTo>
                  <a:lnTo>
                    <a:pt x="531" y="185"/>
                  </a:lnTo>
                  <a:lnTo>
                    <a:pt x="531" y="187"/>
                  </a:lnTo>
                  <a:lnTo>
                    <a:pt x="533" y="187"/>
                  </a:lnTo>
                  <a:lnTo>
                    <a:pt x="531" y="187"/>
                  </a:lnTo>
                  <a:lnTo>
                    <a:pt x="533" y="187"/>
                  </a:lnTo>
                  <a:lnTo>
                    <a:pt x="533" y="188"/>
                  </a:lnTo>
                  <a:lnTo>
                    <a:pt x="533" y="187"/>
                  </a:lnTo>
                  <a:lnTo>
                    <a:pt x="535" y="187"/>
                  </a:lnTo>
                  <a:lnTo>
                    <a:pt x="535" y="188"/>
                  </a:lnTo>
                  <a:lnTo>
                    <a:pt x="533" y="188"/>
                  </a:lnTo>
                  <a:lnTo>
                    <a:pt x="533" y="190"/>
                  </a:lnTo>
                  <a:lnTo>
                    <a:pt x="535" y="190"/>
                  </a:lnTo>
                  <a:lnTo>
                    <a:pt x="533" y="190"/>
                  </a:lnTo>
                  <a:lnTo>
                    <a:pt x="533" y="192"/>
                  </a:lnTo>
                  <a:lnTo>
                    <a:pt x="533" y="194"/>
                  </a:lnTo>
                  <a:lnTo>
                    <a:pt x="533" y="192"/>
                  </a:lnTo>
                  <a:lnTo>
                    <a:pt x="533" y="194"/>
                  </a:lnTo>
                  <a:lnTo>
                    <a:pt x="535" y="194"/>
                  </a:lnTo>
                  <a:lnTo>
                    <a:pt x="535" y="196"/>
                  </a:lnTo>
                  <a:lnTo>
                    <a:pt x="535" y="198"/>
                  </a:lnTo>
                  <a:lnTo>
                    <a:pt x="535" y="200"/>
                  </a:lnTo>
                  <a:lnTo>
                    <a:pt x="537" y="200"/>
                  </a:lnTo>
                  <a:lnTo>
                    <a:pt x="535" y="200"/>
                  </a:lnTo>
                  <a:lnTo>
                    <a:pt x="537" y="200"/>
                  </a:lnTo>
                  <a:lnTo>
                    <a:pt x="537" y="202"/>
                  </a:lnTo>
                  <a:lnTo>
                    <a:pt x="537" y="204"/>
                  </a:lnTo>
                  <a:lnTo>
                    <a:pt x="537" y="202"/>
                  </a:lnTo>
                  <a:lnTo>
                    <a:pt x="539" y="202"/>
                  </a:lnTo>
                  <a:lnTo>
                    <a:pt x="539" y="200"/>
                  </a:lnTo>
                  <a:lnTo>
                    <a:pt x="539" y="202"/>
                  </a:lnTo>
                  <a:lnTo>
                    <a:pt x="541" y="202"/>
                  </a:lnTo>
                  <a:lnTo>
                    <a:pt x="541" y="204"/>
                  </a:lnTo>
                  <a:lnTo>
                    <a:pt x="543" y="204"/>
                  </a:lnTo>
                  <a:lnTo>
                    <a:pt x="543" y="206"/>
                  </a:lnTo>
                  <a:lnTo>
                    <a:pt x="543" y="204"/>
                  </a:lnTo>
                  <a:lnTo>
                    <a:pt x="541" y="204"/>
                  </a:lnTo>
                  <a:lnTo>
                    <a:pt x="541" y="202"/>
                  </a:lnTo>
                  <a:lnTo>
                    <a:pt x="541" y="200"/>
                  </a:lnTo>
                  <a:lnTo>
                    <a:pt x="541" y="198"/>
                  </a:lnTo>
                  <a:lnTo>
                    <a:pt x="541" y="196"/>
                  </a:lnTo>
                  <a:lnTo>
                    <a:pt x="543" y="196"/>
                  </a:lnTo>
                  <a:lnTo>
                    <a:pt x="543" y="198"/>
                  </a:lnTo>
                  <a:lnTo>
                    <a:pt x="543" y="196"/>
                  </a:lnTo>
                  <a:lnTo>
                    <a:pt x="543" y="198"/>
                  </a:lnTo>
                  <a:lnTo>
                    <a:pt x="545" y="198"/>
                  </a:lnTo>
                  <a:lnTo>
                    <a:pt x="545" y="200"/>
                  </a:lnTo>
                  <a:lnTo>
                    <a:pt x="545" y="202"/>
                  </a:lnTo>
                  <a:lnTo>
                    <a:pt x="547" y="202"/>
                  </a:lnTo>
                  <a:lnTo>
                    <a:pt x="549" y="202"/>
                  </a:lnTo>
                  <a:lnTo>
                    <a:pt x="549" y="204"/>
                  </a:lnTo>
                  <a:lnTo>
                    <a:pt x="549" y="202"/>
                  </a:lnTo>
                  <a:lnTo>
                    <a:pt x="549" y="204"/>
                  </a:lnTo>
                  <a:lnTo>
                    <a:pt x="551" y="204"/>
                  </a:lnTo>
                  <a:lnTo>
                    <a:pt x="549" y="204"/>
                  </a:lnTo>
                  <a:lnTo>
                    <a:pt x="551" y="204"/>
                  </a:lnTo>
                  <a:lnTo>
                    <a:pt x="551" y="206"/>
                  </a:lnTo>
                  <a:lnTo>
                    <a:pt x="551" y="204"/>
                  </a:lnTo>
                  <a:lnTo>
                    <a:pt x="551" y="206"/>
                  </a:lnTo>
                  <a:lnTo>
                    <a:pt x="551" y="204"/>
                  </a:lnTo>
                  <a:lnTo>
                    <a:pt x="551" y="202"/>
                  </a:lnTo>
                  <a:lnTo>
                    <a:pt x="551" y="204"/>
                  </a:lnTo>
                  <a:lnTo>
                    <a:pt x="551" y="202"/>
                  </a:lnTo>
                  <a:lnTo>
                    <a:pt x="551" y="204"/>
                  </a:lnTo>
                  <a:lnTo>
                    <a:pt x="551" y="202"/>
                  </a:lnTo>
                  <a:lnTo>
                    <a:pt x="551" y="204"/>
                  </a:lnTo>
                  <a:lnTo>
                    <a:pt x="551" y="202"/>
                  </a:lnTo>
                  <a:lnTo>
                    <a:pt x="551" y="204"/>
                  </a:lnTo>
                  <a:lnTo>
                    <a:pt x="551" y="202"/>
                  </a:lnTo>
                  <a:lnTo>
                    <a:pt x="551" y="200"/>
                  </a:lnTo>
                  <a:lnTo>
                    <a:pt x="551" y="202"/>
                  </a:lnTo>
                  <a:lnTo>
                    <a:pt x="551" y="200"/>
                  </a:lnTo>
                  <a:lnTo>
                    <a:pt x="551" y="202"/>
                  </a:lnTo>
                  <a:lnTo>
                    <a:pt x="551" y="200"/>
                  </a:lnTo>
                  <a:lnTo>
                    <a:pt x="551" y="202"/>
                  </a:lnTo>
                  <a:lnTo>
                    <a:pt x="552" y="202"/>
                  </a:lnTo>
                  <a:lnTo>
                    <a:pt x="551" y="202"/>
                  </a:lnTo>
                  <a:lnTo>
                    <a:pt x="552" y="202"/>
                  </a:lnTo>
                  <a:lnTo>
                    <a:pt x="551" y="202"/>
                  </a:lnTo>
                  <a:lnTo>
                    <a:pt x="552" y="202"/>
                  </a:lnTo>
                  <a:lnTo>
                    <a:pt x="552" y="200"/>
                  </a:lnTo>
                  <a:lnTo>
                    <a:pt x="551" y="200"/>
                  </a:lnTo>
                  <a:lnTo>
                    <a:pt x="552" y="200"/>
                  </a:lnTo>
                  <a:lnTo>
                    <a:pt x="552" y="202"/>
                  </a:lnTo>
                  <a:lnTo>
                    <a:pt x="552" y="204"/>
                  </a:lnTo>
                  <a:lnTo>
                    <a:pt x="552" y="202"/>
                  </a:lnTo>
                  <a:lnTo>
                    <a:pt x="551" y="202"/>
                  </a:lnTo>
                  <a:lnTo>
                    <a:pt x="552" y="202"/>
                  </a:lnTo>
                  <a:lnTo>
                    <a:pt x="552" y="204"/>
                  </a:lnTo>
                  <a:lnTo>
                    <a:pt x="552" y="206"/>
                  </a:lnTo>
                  <a:lnTo>
                    <a:pt x="552" y="204"/>
                  </a:lnTo>
                  <a:lnTo>
                    <a:pt x="552" y="206"/>
                  </a:lnTo>
                  <a:lnTo>
                    <a:pt x="552" y="204"/>
                  </a:lnTo>
                  <a:lnTo>
                    <a:pt x="552" y="206"/>
                  </a:lnTo>
                  <a:lnTo>
                    <a:pt x="552" y="204"/>
                  </a:lnTo>
                  <a:lnTo>
                    <a:pt x="552" y="206"/>
                  </a:lnTo>
                  <a:lnTo>
                    <a:pt x="552" y="204"/>
                  </a:lnTo>
                  <a:lnTo>
                    <a:pt x="554" y="204"/>
                  </a:lnTo>
                  <a:lnTo>
                    <a:pt x="552" y="204"/>
                  </a:lnTo>
                  <a:lnTo>
                    <a:pt x="554" y="204"/>
                  </a:lnTo>
                  <a:lnTo>
                    <a:pt x="552" y="204"/>
                  </a:lnTo>
                  <a:lnTo>
                    <a:pt x="552" y="206"/>
                  </a:lnTo>
                  <a:lnTo>
                    <a:pt x="554" y="206"/>
                  </a:lnTo>
                  <a:lnTo>
                    <a:pt x="554" y="208"/>
                  </a:lnTo>
                  <a:lnTo>
                    <a:pt x="552" y="208"/>
                  </a:lnTo>
                  <a:lnTo>
                    <a:pt x="552" y="210"/>
                  </a:lnTo>
                  <a:lnTo>
                    <a:pt x="554" y="210"/>
                  </a:lnTo>
                  <a:lnTo>
                    <a:pt x="552" y="210"/>
                  </a:lnTo>
                  <a:lnTo>
                    <a:pt x="552" y="212"/>
                  </a:lnTo>
                  <a:lnTo>
                    <a:pt x="552" y="210"/>
                  </a:lnTo>
                  <a:lnTo>
                    <a:pt x="552" y="212"/>
                  </a:lnTo>
                  <a:lnTo>
                    <a:pt x="552" y="213"/>
                  </a:lnTo>
                  <a:lnTo>
                    <a:pt x="554" y="213"/>
                  </a:lnTo>
                  <a:lnTo>
                    <a:pt x="552" y="213"/>
                  </a:lnTo>
                  <a:lnTo>
                    <a:pt x="554" y="213"/>
                  </a:lnTo>
                  <a:lnTo>
                    <a:pt x="552" y="213"/>
                  </a:lnTo>
                  <a:lnTo>
                    <a:pt x="554" y="213"/>
                  </a:lnTo>
                  <a:lnTo>
                    <a:pt x="552" y="213"/>
                  </a:lnTo>
                  <a:lnTo>
                    <a:pt x="554" y="213"/>
                  </a:lnTo>
                  <a:lnTo>
                    <a:pt x="554" y="215"/>
                  </a:lnTo>
                  <a:lnTo>
                    <a:pt x="552" y="215"/>
                  </a:lnTo>
                  <a:lnTo>
                    <a:pt x="554" y="215"/>
                  </a:lnTo>
                  <a:lnTo>
                    <a:pt x="554" y="217"/>
                  </a:lnTo>
                  <a:lnTo>
                    <a:pt x="554" y="219"/>
                  </a:lnTo>
                  <a:lnTo>
                    <a:pt x="552" y="219"/>
                  </a:lnTo>
                  <a:lnTo>
                    <a:pt x="554" y="219"/>
                  </a:lnTo>
                  <a:lnTo>
                    <a:pt x="554" y="221"/>
                  </a:lnTo>
                  <a:lnTo>
                    <a:pt x="554" y="219"/>
                  </a:lnTo>
                  <a:lnTo>
                    <a:pt x="554" y="221"/>
                  </a:lnTo>
                  <a:lnTo>
                    <a:pt x="556" y="221"/>
                  </a:lnTo>
                  <a:lnTo>
                    <a:pt x="556" y="219"/>
                  </a:lnTo>
                  <a:lnTo>
                    <a:pt x="556" y="221"/>
                  </a:lnTo>
                  <a:lnTo>
                    <a:pt x="558" y="221"/>
                  </a:lnTo>
                  <a:lnTo>
                    <a:pt x="558" y="223"/>
                  </a:lnTo>
                  <a:lnTo>
                    <a:pt x="560" y="223"/>
                  </a:lnTo>
                  <a:lnTo>
                    <a:pt x="560" y="225"/>
                  </a:lnTo>
                  <a:lnTo>
                    <a:pt x="562" y="225"/>
                  </a:lnTo>
                  <a:lnTo>
                    <a:pt x="562" y="227"/>
                  </a:lnTo>
                  <a:lnTo>
                    <a:pt x="564" y="227"/>
                  </a:lnTo>
                  <a:lnTo>
                    <a:pt x="562" y="227"/>
                  </a:lnTo>
                  <a:lnTo>
                    <a:pt x="564" y="227"/>
                  </a:lnTo>
                  <a:lnTo>
                    <a:pt x="562" y="227"/>
                  </a:lnTo>
                  <a:lnTo>
                    <a:pt x="564" y="227"/>
                  </a:lnTo>
                  <a:lnTo>
                    <a:pt x="562" y="227"/>
                  </a:lnTo>
                  <a:lnTo>
                    <a:pt x="564" y="227"/>
                  </a:lnTo>
                  <a:lnTo>
                    <a:pt x="562" y="227"/>
                  </a:lnTo>
                  <a:lnTo>
                    <a:pt x="564" y="227"/>
                  </a:lnTo>
                  <a:lnTo>
                    <a:pt x="564" y="229"/>
                  </a:lnTo>
                  <a:lnTo>
                    <a:pt x="564" y="227"/>
                  </a:lnTo>
                  <a:lnTo>
                    <a:pt x="564" y="229"/>
                  </a:lnTo>
                  <a:lnTo>
                    <a:pt x="564" y="227"/>
                  </a:lnTo>
                  <a:lnTo>
                    <a:pt x="564" y="229"/>
                  </a:lnTo>
                  <a:lnTo>
                    <a:pt x="566" y="229"/>
                  </a:lnTo>
                  <a:lnTo>
                    <a:pt x="566" y="227"/>
                  </a:lnTo>
                  <a:lnTo>
                    <a:pt x="564" y="227"/>
                  </a:lnTo>
                  <a:lnTo>
                    <a:pt x="566" y="227"/>
                  </a:lnTo>
                  <a:lnTo>
                    <a:pt x="566" y="229"/>
                  </a:lnTo>
                  <a:lnTo>
                    <a:pt x="566" y="227"/>
                  </a:lnTo>
                  <a:lnTo>
                    <a:pt x="566" y="229"/>
                  </a:lnTo>
                  <a:lnTo>
                    <a:pt x="566" y="227"/>
                  </a:lnTo>
                  <a:lnTo>
                    <a:pt x="568" y="227"/>
                  </a:lnTo>
                  <a:lnTo>
                    <a:pt x="566" y="227"/>
                  </a:lnTo>
                  <a:lnTo>
                    <a:pt x="568" y="227"/>
                  </a:lnTo>
                  <a:lnTo>
                    <a:pt x="566" y="227"/>
                  </a:lnTo>
                  <a:lnTo>
                    <a:pt x="568" y="227"/>
                  </a:lnTo>
                  <a:lnTo>
                    <a:pt x="568" y="229"/>
                  </a:lnTo>
                  <a:lnTo>
                    <a:pt x="568" y="227"/>
                  </a:lnTo>
                  <a:lnTo>
                    <a:pt x="568" y="229"/>
                  </a:lnTo>
                  <a:lnTo>
                    <a:pt x="570" y="229"/>
                  </a:lnTo>
                  <a:lnTo>
                    <a:pt x="568" y="229"/>
                  </a:lnTo>
                  <a:lnTo>
                    <a:pt x="570" y="229"/>
                  </a:lnTo>
                  <a:lnTo>
                    <a:pt x="570" y="231"/>
                  </a:lnTo>
                  <a:lnTo>
                    <a:pt x="570" y="229"/>
                  </a:lnTo>
                  <a:lnTo>
                    <a:pt x="570" y="231"/>
                  </a:lnTo>
                  <a:lnTo>
                    <a:pt x="570" y="233"/>
                  </a:lnTo>
                  <a:lnTo>
                    <a:pt x="572" y="233"/>
                  </a:lnTo>
                  <a:lnTo>
                    <a:pt x="572" y="235"/>
                  </a:lnTo>
                  <a:lnTo>
                    <a:pt x="572" y="237"/>
                  </a:lnTo>
                  <a:lnTo>
                    <a:pt x="574" y="237"/>
                  </a:lnTo>
                  <a:lnTo>
                    <a:pt x="574" y="238"/>
                  </a:lnTo>
                  <a:lnTo>
                    <a:pt x="574" y="237"/>
                  </a:lnTo>
                  <a:lnTo>
                    <a:pt x="575" y="237"/>
                  </a:lnTo>
                  <a:lnTo>
                    <a:pt x="575" y="238"/>
                  </a:lnTo>
                  <a:lnTo>
                    <a:pt x="577" y="238"/>
                  </a:lnTo>
                  <a:lnTo>
                    <a:pt x="575" y="238"/>
                  </a:lnTo>
                  <a:lnTo>
                    <a:pt x="577" y="238"/>
                  </a:lnTo>
                  <a:lnTo>
                    <a:pt x="577" y="240"/>
                  </a:lnTo>
                  <a:lnTo>
                    <a:pt x="577" y="242"/>
                  </a:lnTo>
                  <a:lnTo>
                    <a:pt x="577" y="240"/>
                  </a:lnTo>
                  <a:lnTo>
                    <a:pt x="577" y="242"/>
                  </a:lnTo>
                  <a:lnTo>
                    <a:pt x="577" y="240"/>
                  </a:lnTo>
                  <a:lnTo>
                    <a:pt x="577" y="242"/>
                  </a:lnTo>
                  <a:lnTo>
                    <a:pt x="579" y="242"/>
                  </a:lnTo>
                  <a:lnTo>
                    <a:pt x="579" y="244"/>
                  </a:lnTo>
                  <a:lnTo>
                    <a:pt x="581" y="244"/>
                  </a:lnTo>
                  <a:lnTo>
                    <a:pt x="581" y="246"/>
                  </a:lnTo>
                  <a:lnTo>
                    <a:pt x="579" y="246"/>
                  </a:lnTo>
                  <a:lnTo>
                    <a:pt x="581" y="246"/>
                  </a:lnTo>
                  <a:lnTo>
                    <a:pt x="583" y="246"/>
                  </a:lnTo>
                  <a:lnTo>
                    <a:pt x="583" y="248"/>
                  </a:lnTo>
                  <a:lnTo>
                    <a:pt x="585" y="248"/>
                  </a:lnTo>
                  <a:lnTo>
                    <a:pt x="585" y="250"/>
                  </a:lnTo>
                  <a:lnTo>
                    <a:pt x="583" y="250"/>
                  </a:lnTo>
                  <a:lnTo>
                    <a:pt x="585" y="250"/>
                  </a:lnTo>
                  <a:lnTo>
                    <a:pt x="585" y="252"/>
                  </a:lnTo>
                  <a:lnTo>
                    <a:pt x="583" y="252"/>
                  </a:lnTo>
                  <a:lnTo>
                    <a:pt x="585" y="252"/>
                  </a:lnTo>
                  <a:lnTo>
                    <a:pt x="583" y="252"/>
                  </a:lnTo>
                  <a:lnTo>
                    <a:pt x="585" y="252"/>
                  </a:lnTo>
                  <a:lnTo>
                    <a:pt x="585" y="254"/>
                  </a:lnTo>
                  <a:lnTo>
                    <a:pt x="583" y="254"/>
                  </a:lnTo>
                  <a:lnTo>
                    <a:pt x="585" y="254"/>
                  </a:lnTo>
                  <a:lnTo>
                    <a:pt x="585" y="256"/>
                  </a:lnTo>
                  <a:lnTo>
                    <a:pt x="587" y="256"/>
                  </a:lnTo>
                  <a:lnTo>
                    <a:pt x="585" y="256"/>
                  </a:lnTo>
                  <a:lnTo>
                    <a:pt x="585" y="258"/>
                  </a:lnTo>
                  <a:lnTo>
                    <a:pt x="587" y="258"/>
                  </a:lnTo>
                  <a:lnTo>
                    <a:pt x="587" y="256"/>
                  </a:lnTo>
                  <a:lnTo>
                    <a:pt x="587" y="258"/>
                  </a:lnTo>
                  <a:lnTo>
                    <a:pt x="585" y="258"/>
                  </a:lnTo>
                  <a:lnTo>
                    <a:pt x="587" y="258"/>
                  </a:lnTo>
                  <a:lnTo>
                    <a:pt x="585" y="258"/>
                  </a:lnTo>
                  <a:lnTo>
                    <a:pt x="587" y="258"/>
                  </a:lnTo>
                  <a:lnTo>
                    <a:pt x="585" y="258"/>
                  </a:lnTo>
                  <a:lnTo>
                    <a:pt x="587" y="258"/>
                  </a:lnTo>
                  <a:lnTo>
                    <a:pt x="585" y="258"/>
                  </a:lnTo>
                  <a:lnTo>
                    <a:pt x="585" y="260"/>
                  </a:lnTo>
                  <a:lnTo>
                    <a:pt x="587" y="260"/>
                  </a:lnTo>
                  <a:lnTo>
                    <a:pt x="587" y="258"/>
                  </a:lnTo>
                  <a:lnTo>
                    <a:pt x="585" y="258"/>
                  </a:lnTo>
                  <a:lnTo>
                    <a:pt x="587" y="258"/>
                  </a:lnTo>
                  <a:lnTo>
                    <a:pt x="587" y="256"/>
                  </a:lnTo>
                  <a:lnTo>
                    <a:pt x="587" y="258"/>
                  </a:lnTo>
                  <a:lnTo>
                    <a:pt x="589" y="258"/>
                  </a:lnTo>
                  <a:lnTo>
                    <a:pt x="589" y="260"/>
                  </a:lnTo>
                  <a:lnTo>
                    <a:pt x="587" y="260"/>
                  </a:lnTo>
                  <a:lnTo>
                    <a:pt x="587" y="261"/>
                  </a:lnTo>
                  <a:lnTo>
                    <a:pt x="587" y="263"/>
                  </a:lnTo>
                  <a:lnTo>
                    <a:pt x="587" y="265"/>
                  </a:lnTo>
                  <a:lnTo>
                    <a:pt x="587" y="267"/>
                  </a:lnTo>
                  <a:lnTo>
                    <a:pt x="587" y="265"/>
                  </a:lnTo>
                  <a:lnTo>
                    <a:pt x="587" y="267"/>
                  </a:lnTo>
                  <a:lnTo>
                    <a:pt x="587" y="265"/>
                  </a:lnTo>
                  <a:lnTo>
                    <a:pt x="587" y="267"/>
                  </a:lnTo>
                  <a:lnTo>
                    <a:pt x="587" y="269"/>
                  </a:lnTo>
                  <a:lnTo>
                    <a:pt x="587" y="271"/>
                  </a:lnTo>
                  <a:lnTo>
                    <a:pt x="589" y="271"/>
                  </a:lnTo>
                  <a:lnTo>
                    <a:pt x="587" y="271"/>
                  </a:lnTo>
                  <a:lnTo>
                    <a:pt x="587" y="273"/>
                  </a:lnTo>
                  <a:lnTo>
                    <a:pt x="587" y="271"/>
                  </a:lnTo>
                  <a:lnTo>
                    <a:pt x="587" y="273"/>
                  </a:lnTo>
                  <a:lnTo>
                    <a:pt x="587" y="275"/>
                  </a:lnTo>
                  <a:lnTo>
                    <a:pt x="587" y="277"/>
                  </a:lnTo>
                  <a:lnTo>
                    <a:pt x="587" y="279"/>
                  </a:lnTo>
                  <a:lnTo>
                    <a:pt x="587" y="277"/>
                  </a:lnTo>
                  <a:lnTo>
                    <a:pt x="587" y="279"/>
                  </a:lnTo>
                  <a:lnTo>
                    <a:pt x="587" y="281"/>
                  </a:lnTo>
                  <a:lnTo>
                    <a:pt x="589" y="281"/>
                  </a:lnTo>
                  <a:lnTo>
                    <a:pt x="587" y="281"/>
                  </a:lnTo>
                  <a:lnTo>
                    <a:pt x="587" y="283"/>
                  </a:lnTo>
                  <a:lnTo>
                    <a:pt x="585" y="283"/>
                  </a:lnTo>
                  <a:lnTo>
                    <a:pt x="587" y="283"/>
                  </a:lnTo>
                  <a:lnTo>
                    <a:pt x="585" y="283"/>
                  </a:lnTo>
                  <a:lnTo>
                    <a:pt x="585" y="285"/>
                  </a:lnTo>
                  <a:lnTo>
                    <a:pt x="585" y="283"/>
                  </a:lnTo>
                  <a:lnTo>
                    <a:pt x="585" y="285"/>
                  </a:lnTo>
                  <a:lnTo>
                    <a:pt x="585" y="283"/>
                  </a:lnTo>
                  <a:lnTo>
                    <a:pt x="585" y="285"/>
                  </a:lnTo>
                  <a:lnTo>
                    <a:pt x="585" y="283"/>
                  </a:lnTo>
                  <a:lnTo>
                    <a:pt x="587" y="283"/>
                  </a:lnTo>
                  <a:lnTo>
                    <a:pt x="585" y="283"/>
                  </a:lnTo>
                  <a:lnTo>
                    <a:pt x="587" y="283"/>
                  </a:lnTo>
                  <a:lnTo>
                    <a:pt x="589" y="283"/>
                  </a:lnTo>
                  <a:lnTo>
                    <a:pt x="589" y="285"/>
                  </a:lnTo>
                  <a:lnTo>
                    <a:pt x="591" y="285"/>
                  </a:lnTo>
                  <a:lnTo>
                    <a:pt x="589" y="285"/>
                  </a:lnTo>
                  <a:lnTo>
                    <a:pt x="591" y="285"/>
                  </a:lnTo>
                  <a:lnTo>
                    <a:pt x="589" y="285"/>
                  </a:lnTo>
                  <a:lnTo>
                    <a:pt x="591" y="285"/>
                  </a:lnTo>
                  <a:lnTo>
                    <a:pt x="591" y="286"/>
                  </a:lnTo>
                  <a:lnTo>
                    <a:pt x="591" y="288"/>
                  </a:lnTo>
                  <a:lnTo>
                    <a:pt x="591" y="290"/>
                  </a:lnTo>
                  <a:lnTo>
                    <a:pt x="591" y="288"/>
                  </a:lnTo>
                  <a:lnTo>
                    <a:pt x="591" y="290"/>
                  </a:lnTo>
                  <a:lnTo>
                    <a:pt x="593" y="290"/>
                  </a:lnTo>
                  <a:lnTo>
                    <a:pt x="591" y="290"/>
                  </a:lnTo>
                  <a:lnTo>
                    <a:pt x="593" y="290"/>
                  </a:lnTo>
                  <a:lnTo>
                    <a:pt x="593" y="292"/>
                  </a:lnTo>
                  <a:lnTo>
                    <a:pt x="591" y="292"/>
                  </a:lnTo>
                  <a:lnTo>
                    <a:pt x="593" y="292"/>
                  </a:lnTo>
                  <a:lnTo>
                    <a:pt x="591" y="292"/>
                  </a:lnTo>
                  <a:lnTo>
                    <a:pt x="593" y="292"/>
                  </a:lnTo>
                  <a:lnTo>
                    <a:pt x="591" y="292"/>
                  </a:lnTo>
                  <a:lnTo>
                    <a:pt x="593" y="292"/>
                  </a:lnTo>
                  <a:lnTo>
                    <a:pt x="593" y="290"/>
                  </a:lnTo>
                  <a:lnTo>
                    <a:pt x="593" y="292"/>
                  </a:lnTo>
                  <a:lnTo>
                    <a:pt x="593" y="294"/>
                  </a:lnTo>
                  <a:lnTo>
                    <a:pt x="595" y="294"/>
                  </a:lnTo>
                  <a:close/>
                  <a:moveTo>
                    <a:pt x="464" y="517"/>
                  </a:moveTo>
                  <a:lnTo>
                    <a:pt x="466" y="517"/>
                  </a:lnTo>
                  <a:lnTo>
                    <a:pt x="466" y="519"/>
                  </a:lnTo>
                  <a:lnTo>
                    <a:pt x="468" y="519"/>
                  </a:lnTo>
                  <a:lnTo>
                    <a:pt x="470" y="519"/>
                  </a:lnTo>
                  <a:lnTo>
                    <a:pt x="468" y="519"/>
                  </a:lnTo>
                  <a:lnTo>
                    <a:pt x="470" y="519"/>
                  </a:lnTo>
                  <a:lnTo>
                    <a:pt x="468" y="519"/>
                  </a:lnTo>
                  <a:lnTo>
                    <a:pt x="470" y="519"/>
                  </a:lnTo>
                  <a:lnTo>
                    <a:pt x="470" y="521"/>
                  </a:lnTo>
                  <a:lnTo>
                    <a:pt x="470" y="519"/>
                  </a:lnTo>
                  <a:lnTo>
                    <a:pt x="470" y="521"/>
                  </a:lnTo>
                  <a:lnTo>
                    <a:pt x="472" y="521"/>
                  </a:lnTo>
                  <a:lnTo>
                    <a:pt x="470" y="521"/>
                  </a:lnTo>
                  <a:lnTo>
                    <a:pt x="470" y="519"/>
                  </a:lnTo>
                  <a:lnTo>
                    <a:pt x="472" y="519"/>
                  </a:lnTo>
                  <a:lnTo>
                    <a:pt x="472" y="521"/>
                  </a:lnTo>
                  <a:lnTo>
                    <a:pt x="472" y="519"/>
                  </a:lnTo>
                  <a:lnTo>
                    <a:pt x="474" y="519"/>
                  </a:lnTo>
                  <a:lnTo>
                    <a:pt x="472" y="519"/>
                  </a:lnTo>
                  <a:lnTo>
                    <a:pt x="472" y="521"/>
                  </a:lnTo>
                  <a:lnTo>
                    <a:pt x="474" y="521"/>
                  </a:lnTo>
                  <a:lnTo>
                    <a:pt x="474" y="519"/>
                  </a:lnTo>
                  <a:lnTo>
                    <a:pt x="474" y="521"/>
                  </a:lnTo>
                  <a:lnTo>
                    <a:pt x="476" y="521"/>
                  </a:lnTo>
                  <a:lnTo>
                    <a:pt x="478" y="521"/>
                  </a:lnTo>
                  <a:lnTo>
                    <a:pt x="478" y="523"/>
                  </a:lnTo>
                  <a:lnTo>
                    <a:pt x="480" y="523"/>
                  </a:lnTo>
                  <a:lnTo>
                    <a:pt x="480" y="525"/>
                  </a:lnTo>
                  <a:lnTo>
                    <a:pt x="481" y="525"/>
                  </a:lnTo>
                  <a:lnTo>
                    <a:pt x="483" y="525"/>
                  </a:lnTo>
                  <a:lnTo>
                    <a:pt x="485" y="525"/>
                  </a:lnTo>
                  <a:lnTo>
                    <a:pt x="485" y="527"/>
                  </a:lnTo>
                  <a:lnTo>
                    <a:pt x="487" y="527"/>
                  </a:lnTo>
                  <a:lnTo>
                    <a:pt x="489" y="527"/>
                  </a:lnTo>
                  <a:lnTo>
                    <a:pt x="487" y="527"/>
                  </a:lnTo>
                  <a:lnTo>
                    <a:pt x="489" y="527"/>
                  </a:lnTo>
                  <a:lnTo>
                    <a:pt x="489" y="528"/>
                  </a:lnTo>
                  <a:lnTo>
                    <a:pt x="489" y="527"/>
                  </a:lnTo>
                  <a:lnTo>
                    <a:pt x="489" y="528"/>
                  </a:lnTo>
                  <a:lnTo>
                    <a:pt x="489" y="527"/>
                  </a:lnTo>
                  <a:lnTo>
                    <a:pt x="491" y="527"/>
                  </a:lnTo>
                  <a:lnTo>
                    <a:pt x="491" y="528"/>
                  </a:lnTo>
                  <a:lnTo>
                    <a:pt x="493" y="528"/>
                  </a:lnTo>
                  <a:lnTo>
                    <a:pt x="491" y="528"/>
                  </a:lnTo>
                  <a:lnTo>
                    <a:pt x="493" y="528"/>
                  </a:lnTo>
                  <a:lnTo>
                    <a:pt x="491" y="528"/>
                  </a:lnTo>
                  <a:lnTo>
                    <a:pt x="491" y="527"/>
                  </a:lnTo>
                  <a:lnTo>
                    <a:pt x="493" y="527"/>
                  </a:lnTo>
                  <a:lnTo>
                    <a:pt x="491" y="527"/>
                  </a:lnTo>
                  <a:lnTo>
                    <a:pt x="493" y="527"/>
                  </a:lnTo>
                  <a:lnTo>
                    <a:pt x="493" y="525"/>
                  </a:lnTo>
                  <a:lnTo>
                    <a:pt x="495" y="525"/>
                  </a:lnTo>
                  <a:lnTo>
                    <a:pt x="495" y="527"/>
                  </a:lnTo>
                  <a:lnTo>
                    <a:pt x="497" y="527"/>
                  </a:lnTo>
                  <a:lnTo>
                    <a:pt x="495" y="527"/>
                  </a:lnTo>
                  <a:lnTo>
                    <a:pt x="497" y="527"/>
                  </a:lnTo>
                  <a:lnTo>
                    <a:pt x="497" y="528"/>
                  </a:lnTo>
                  <a:lnTo>
                    <a:pt x="497" y="527"/>
                  </a:lnTo>
                  <a:lnTo>
                    <a:pt x="497" y="528"/>
                  </a:lnTo>
                  <a:lnTo>
                    <a:pt x="497" y="530"/>
                  </a:lnTo>
                  <a:lnTo>
                    <a:pt x="499" y="530"/>
                  </a:lnTo>
                  <a:lnTo>
                    <a:pt x="499" y="532"/>
                  </a:lnTo>
                  <a:lnTo>
                    <a:pt x="499" y="530"/>
                  </a:lnTo>
                  <a:lnTo>
                    <a:pt x="499" y="532"/>
                  </a:lnTo>
                  <a:lnTo>
                    <a:pt x="499" y="530"/>
                  </a:lnTo>
                  <a:lnTo>
                    <a:pt x="499" y="532"/>
                  </a:lnTo>
                  <a:lnTo>
                    <a:pt x="501" y="532"/>
                  </a:lnTo>
                  <a:lnTo>
                    <a:pt x="499" y="532"/>
                  </a:lnTo>
                  <a:lnTo>
                    <a:pt x="501" y="532"/>
                  </a:lnTo>
                  <a:lnTo>
                    <a:pt x="501" y="530"/>
                  </a:lnTo>
                  <a:lnTo>
                    <a:pt x="499" y="530"/>
                  </a:lnTo>
                  <a:lnTo>
                    <a:pt x="497" y="530"/>
                  </a:lnTo>
                  <a:lnTo>
                    <a:pt x="497" y="528"/>
                  </a:lnTo>
                  <a:lnTo>
                    <a:pt x="499" y="528"/>
                  </a:lnTo>
                  <a:lnTo>
                    <a:pt x="497" y="528"/>
                  </a:lnTo>
                  <a:lnTo>
                    <a:pt x="497" y="527"/>
                  </a:lnTo>
                  <a:lnTo>
                    <a:pt x="495" y="527"/>
                  </a:lnTo>
                  <a:lnTo>
                    <a:pt x="497" y="527"/>
                  </a:lnTo>
                  <a:lnTo>
                    <a:pt x="495" y="527"/>
                  </a:lnTo>
                  <a:lnTo>
                    <a:pt x="495" y="525"/>
                  </a:lnTo>
                  <a:lnTo>
                    <a:pt x="497" y="525"/>
                  </a:lnTo>
                  <a:lnTo>
                    <a:pt x="497" y="523"/>
                  </a:lnTo>
                  <a:lnTo>
                    <a:pt x="499" y="523"/>
                  </a:lnTo>
                  <a:lnTo>
                    <a:pt x="501" y="523"/>
                  </a:lnTo>
                  <a:lnTo>
                    <a:pt x="499" y="523"/>
                  </a:lnTo>
                  <a:lnTo>
                    <a:pt x="501" y="523"/>
                  </a:lnTo>
                  <a:lnTo>
                    <a:pt x="501" y="525"/>
                  </a:lnTo>
                  <a:lnTo>
                    <a:pt x="499" y="525"/>
                  </a:lnTo>
                  <a:lnTo>
                    <a:pt x="501" y="525"/>
                  </a:lnTo>
                  <a:lnTo>
                    <a:pt x="501" y="523"/>
                  </a:lnTo>
                  <a:lnTo>
                    <a:pt x="501" y="525"/>
                  </a:lnTo>
                  <a:lnTo>
                    <a:pt x="501" y="523"/>
                  </a:lnTo>
                  <a:lnTo>
                    <a:pt x="503" y="523"/>
                  </a:lnTo>
                  <a:lnTo>
                    <a:pt x="504" y="523"/>
                  </a:lnTo>
                  <a:lnTo>
                    <a:pt x="504" y="525"/>
                  </a:lnTo>
                  <a:lnTo>
                    <a:pt x="504" y="523"/>
                  </a:lnTo>
                  <a:lnTo>
                    <a:pt x="504" y="525"/>
                  </a:lnTo>
                  <a:lnTo>
                    <a:pt x="504" y="523"/>
                  </a:lnTo>
                  <a:lnTo>
                    <a:pt x="504" y="525"/>
                  </a:lnTo>
                  <a:lnTo>
                    <a:pt x="504" y="523"/>
                  </a:lnTo>
                  <a:lnTo>
                    <a:pt x="506" y="523"/>
                  </a:lnTo>
                  <a:lnTo>
                    <a:pt x="506" y="521"/>
                  </a:lnTo>
                  <a:lnTo>
                    <a:pt x="508" y="521"/>
                  </a:lnTo>
                  <a:lnTo>
                    <a:pt x="506" y="521"/>
                  </a:lnTo>
                  <a:lnTo>
                    <a:pt x="508" y="521"/>
                  </a:lnTo>
                  <a:lnTo>
                    <a:pt x="510" y="521"/>
                  </a:lnTo>
                  <a:lnTo>
                    <a:pt x="512" y="521"/>
                  </a:lnTo>
                  <a:lnTo>
                    <a:pt x="510" y="521"/>
                  </a:lnTo>
                  <a:lnTo>
                    <a:pt x="512" y="521"/>
                  </a:lnTo>
                  <a:lnTo>
                    <a:pt x="512" y="519"/>
                  </a:lnTo>
                  <a:lnTo>
                    <a:pt x="514" y="519"/>
                  </a:lnTo>
                  <a:lnTo>
                    <a:pt x="512" y="519"/>
                  </a:lnTo>
                  <a:lnTo>
                    <a:pt x="514" y="519"/>
                  </a:lnTo>
                  <a:lnTo>
                    <a:pt x="514" y="521"/>
                  </a:lnTo>
                  <a:lnTo>
                    <a:pt x="516" y="521"/>
                  </a:lnTo>
                  <a:lnTo>
                    <a:pt x="514" y="521"/>
                  </a:lnTo>
                  <a:lnTo>
                    <a:pt x="516" y="521"/>
                  </a:lnTo>
                  <a:lnTo>
                    <a:pt x="516" y="523"/>
                  </a:lnTo>
                  <a:lnTo>
                    <a:pt x="518" y="523"/>
                  </a:lnTo>
                  <a:lnTo>
                    <a:pt x="518" y="525"/>
                  </a:lnTo>
                  <a:lnTo>
                    <a:pt x="516" y="525"/>
                  </a:lnTo>
                  <a:lnTo>
                    <a:pt x="518" y="525"/>
                  </a:lnTo>
                  <a:lnTo>
                    <a:pt x="516" y="525"/>
                  </a:lnTo>
                  <a:lnTo>
                    <a:pt x="518" y="525"/>
                  </a:lnTo>
                  <a:lnTo>
                    <a:pt x="516" y="525"/>
                  </a:lnTo>
                  <a:lnTo>
                    <a:pt x="516" y="527"/>
                  </a:lnTo>
                  <a:lnTo>
                    <a:pt x="516" y="528"/>
                  </a:lnTo>
                  <a:lnTo>
                    <a:pt x="516" y="527"/>
                  </a:lnTo>
                  <a:lnTo>
                    <a:pt x="516" y="528"/>
                  </a:lnTo>
                  <a:lnTo>
                    <a:pt x="516" y="527"/>
                  </a:lnTo>
                  <a:lnTo>
                    <a:pt x="516" y="528"/>
                  </a:lnTo>
                  <a:lnTo>
                    <a:pt x="518" y="528"/>
                  </a:lnTo>
                  <a:lnTo>
                    <a:pt x="516" y="528"/>
                  </a:lnTo>
                  <a:lnTo>
                    <a:pt x="518" y="528"/>
                  </a:lnTo>
                  <a:lnTo>
                    <a:pt x="516" y="528"/>
                  </a:lnTo>
                  <a:lnTo>
                    <a:pt x="518" y="528"/>
                  </a:lnTo>
                  <a:lnTo>
                    <a:pt x="518" y="530"/>
                  </a:lnTo>
                  <a:lnTo>
                    <a:pt x="516" y="530"/>
                  </a:lnTo>
                  <a:lnTo>
                    <a:pt x="516" y="528"/>
                  </a:lnTo>
                  <a:lnTo>
                    <a:pt x="518" y="528"/>
                  </a:lnTo>
                  <a:lnTo>
                    <a:pt x="516" y="528"/>
                  </a:lnTo>
                  <a:lnTo>
                    <a:pt x="516" y="530"/>
                  </a:lnTo>
                  <a:lnTo>
                    <a:pt x="518" y="530"/>
                  </a:lnTo>
                  <a:lnTo>
                    <a:pt x="518" y="528"/>
                  </a:lnTo>
                  <a:lnTo>
                    <a:pt x="518" y="530"/>
                  </a:lnTo>
                  <a:lnTo>
                    <a:pt x="518" y="528"/>
                  </a:lnTo>
                  <a:lnTo>
                    <a:pt x="518" y="530"/>
                  </a:lnTo>
                  <a:lnTo>
                    <a:pt x="516" y="530"/>
                  </a:lnTo>
                  <a:lnTo>
                    <a:pt x="518" y="530"/>
                  </a:lnTo>
                  <a:lnTo>
                    <a:pt x="516" y="530"/>
                  </a:lnTo>
                  <a:lnTo>
                    <a:pt x="518" y="530"/>
                  </a:lnTo>
                  <a:lnTo>
                    <a:pt x="516" y="530"/>
                  </a:lnTo>
                  <a:lnTo>
                    <a:pt x="516" y="532"/>
                  </a:lnTo>
                  <a:lnTo>
                    <a:pt x="516" y="534"/>
                  </a:lnTo>
                  <a:lnTo>
                    <a:pt x="516" y="532"/>
                  </a:lnTo>
                  <a:lnTo>
                    <a:pt x="516" y="534"/>
                  </a:lnTo>
                  <a:lnTo>
                    <a:pt x="516" y="532"/>
                  </a:lnTo>
                  <a:lnTo>
                    <a:pt x="516" y="534"/>
                  </a:lnTo>
                  <a:lnTo>
                    <a:pt x="518" y="534"/>
                  </a:lnTo>
                  <a:lnTo>
                    <a:pt x="518" y="536"/>
                  </a:lnTo>
                  <a:lnTo>
                    <a:pt x="518" y="534"/>
                  </a:lnTo>
                  <a:lnTo>
                    <a:pt x="518" y="536"/>
                  </a:lnTo>
                  <a:lnTo>
                    <a:pt x="516" y="536"/>
                  </a:lnTo>
                  <a:lnTo>
                    <a:pt x="518" y="536"/>
                  </a:lnTo>
                  <a:lnTo>
                    <a:pt x="516" y="536"/>
                  </a:lnTo>
                  <a:lnTo>
                    <a:pt x="518" y="536"/>
                  </a:lnTo>
                  <a:lnTo>
                    <a:pt x="516" y="536"/>
                  </a:lnTo>
                  <a:lnTo>
                    <a:pt x="516" y="538"/>
                  </a:lnTo>
                  <a:lnTo>
                    <a:pt x="518" y="538"/>
                  </a:lnTo>
                  <a:lnTo>
                    <a:pt x="516" y="538"/>
                  </a:lnTo>
                  <a:lnTo>
                    <a:pt x="516" y="540"/>
                  </a:lnTo>
                  <a:lnTo>
                    <a:pt x="518" y="540"/>
                  </a:lnTo>
                  <a:lnTo>
                    <a:pt x="518" y="542"/>
                  </a:lnTo>
                  <a:lnTo>
                    <a:pt x="516" y="542"/>
                  </a:lnTo>
                  <a:lnTo>
                    <a:pt x="516" y="544"/>
                  </a:lnTo>
                  <a:lnTo>
                    <a:pt x="516" y="542"/>
                  </a:lnTo>
                  <a:lnTo>
                    <a:pt x="516" y="544"/>
                  </a:lnTo>
                  <a:lnTo>
                    <a:pt x="516" y="542"/>
                  </a:lnTo>
                  <a:lnTo>
                    <a:pt x="516" y="544"/>
                  </a:lnTo>
                  <a:lnTo>
                    <a:pt x="518" y="544"/>
                  </a:lnTo>
                  <a:lnTo>
                    <a:pt x="518" y="546"/>
                  </a:lnTo>
                  <a:lnTo>
                    <a:pt x="518" y="548"/>
                  </a:lnTo>
                  <a:lnTo>
                    <a:pt x="518" y="546"/>
                  </a:lnTo>
                  <a:lnTo>
                    <a:pt x="518" y="548"/>
                  </a:lnTo>
                  <a:lnTo>
                    <a:pt x="518" y="550"/>
                  </a:lnTo>
                  <a:lnTo>
                    <a:pt x="518" y="548"/>
                  </a:lnTo>
                  <a:lnTo>
                    <a:pt x="518" y="550"/>
                  </a:lnTo>
                  <a:lnTo>
                    <a:pt x="518" y="548"/>
                  </a:lnTo>
                  <a:lnTo>
                    <a:pt x="518" y="550"/>
                  </a:lnTo>
                  <a:lnTo>
                    <a:pt x="516" y="550"/>
                  </a:lnTo>
                  <a:lnTo>
                    <a:pt x="516" y="548"/>
                  </a:lnTo>
                  <a:lnTo>
                    <a:pt x="516" y="546"/>
                  </a:lnTo>
                  <a:lnTo>
                    <a:pt x="518" y="546"/>
                  </a:lnTo>
                  <a:lnTo>
                    <a:pt x="516" y="546"/>
                  </a:lnTo>
                  <a:lnTo>
                    <a:pt x="516" y="544"/>
                  </a:lnTo>
                  <a:lnTo>
                    <a:pt x="514" y="544"/>
                  </a:lnTo>
                  <a:lnTo>
                    <a:pt x="516" y="544"/>
                  </a:lnTo>
                  <a:lnTo>
                    <a:pt x="516" y="542"/>
                  </a:lnTo>
                  <a:lnTo>
                    <a:pt x="516" y="544"/>
                  </a:lnTo>
                  <a:lnTo>
                    <a:pt x="516" y="542"/>
                  </a:lnTo>
                  <a:lnTo>
                    <a:pt x="516" y="544"/>
                  </a:lnTo>
                  <a:lnTo>
                    <a:pt x="516" y="542"/>
                  </a:lnTo>
                  <a:lnTo>
                    <a:pt x="516" y="544"/>
                  </a:lnTo>
                  <a:lnTo>
                    <a:pt x="516" y="542"/>
                  </a:lnTo>
                  <a:lnTo>
                    <a:pt x="516" y="544"/>
                  </a:lnTo>
                  <a:lnTo>
                    <a:pt x="514" y="544"/>
                  </a:lnTo>
                  <a:lnTo>
                    <a:pt x="516" y="544"/>
                  </a:lnTo>
                  <a:lnTo>
                    <a:pt x="514" y="544"/>
                  </a:lnTo>
                  <a:lnTo>
                    <a:pt x="516" y="544"/>
                  </a:lnTo>
                  <a:lnTo>
                    <a:pt x="514" y="544"/>
                  </a:lnTo>
                  <a:lnTo>
                    <a:pt x="516" y="544"/>
                  </a:lnTo>
                  <a:lnTo>
                    <a:pt x="516" y="546"/>
                  </a:lnTo>
                  <a:lnTo>
                    <a:pt x="514" y="546"/>
                  </a:lnTo>
                  <a:lnTo>
                    <a:pt x="514" y="548"/>
                  </a:lnTo>
                  <a:lnTo>
                    <a:pt x="512" y="548"/>
                  </a:lnTo>
                  <a:lnTo>
                    <a:pt x="512" y="550"/>
                  </a:lnTo>
                  <a:lnTo>
                    <a:pt x="512" y="552"/>
                  </a:lnTo>
                  <a:lnTo>
                    <a:pt x="512" y="553"/>
                  </a:lnTo>
                  <a:lnTo>
                    <a:pt x="510" y="553"/>
                  </a:lnTo>
                  <a:lnTo>
                    <a:pt x="512" y="553"/>
                  </a:lnTo>
                  <a:lnTo>
                    <a:pt x="510" y="553"/>
                  </a:lnTo>
                  <a:lnTo>
                    <a:pt x="512" y="553"/>
                  </a:lnTo>
                  <a:lnTo>
                    <a:pt x="510" y="553"/>
                  </a:lnTo>
                  <a:lnTo>
                    <a:pt x="512" y="553"/>
                  </a:lnTo>
                  <a:lnTo>
                    <a:pt x="510" y="553"/>
                  </a:lnTo>
                  <a:lnTo>
                    <a:pt x="512" y="553"/>
                  </a:lnTo>
                  <a:lnTo>
                    <a:pt x="512" y="555"/>
                  </a:lnTo>
                  <a:lnTo>
                    <a:pt x="512" y="557"/>
                  </a:lnTo>
                  <a:lnTo>
                    <a:pt x="510" y="557"/>
                  </a:lnTo>
                  <a:lnTo>
                    <a:pt x="510" y="559"/>
                  </a:lnTo>
                  <a:lnTo>
                    <a:pt x="510" y="561"/>
                  </a:lnTo>
                  <a:lnTo>
                    <a:pt x="510" y="559"/>
                  </a:lnTo>
                  <a:lnTo>
                    <a:pt x="510" y="561"/>
                  </a:lnTo>
                  <a:lnTo>
                    <a:pt x="508" y="561"/>
                  </a:lnTo>
                  <a:lnTo>
                    <a:pt x="510" y="561"/>
                  </a:lnTo>
                  <a:lnTo>
                    <a:pt x="508" y="561"/>
                  </a:lnTo>
                  <a:lnTo>
                    <a:pt x="506" y="561"/>
                  </a:lnTo>
                  <a:lnTo>
                    <a:pt x="508" y="561"/>
                  </a:lnTo>
                  <a:lnTo>
                    <a:pt x="506" y="561"/>
                  </a:lnTo>
                  <a:lnTo>
                    <a:pt x="506" y="559"/>
                  </a:lnTo>
                  <a:lnTo>
                    <a:pt x="504" y="559"/>
                  </a:lnTo>
                  <a:lnTo>
                    <a:pt x="504" y="557"/>
                  </a:lnTo>
                  <a:lnTo>
                    <a:pt x="504" y="559"/>
                  </a:lnTo>
                  <a:lnTo>
                    <a:pt x="504" y="557"/>
                  </a:lnTo>
                  <a:lnTo>
                    <a:pt x="504" y="559"/>
                  </a:lnTo>
                  <a:lnTo>
                    <a:pt x="506" y="559"/>
                  </a:lnTo>
                  <a:lnTo>
                    <a:pt x="506" y="561"/>
                  </a:lnTo>
                  <a:lnTo>
                    <a:pt x="504" y="561"/>
                  </a:lnTo>
                  <a:lnTo>
                    <a:pt x="506" y="561"/>
                  </a:lnTo>
                  <a:lnTo>
                    <a:pt x="504" y="561"/>
                  </a:lnTo>
                  <a:lnTo>
                    <a:pt x="506" y="561"/>
                  </a:lnTo>
                  <a:lnTo>
                    <a:pt x="506" y="563"/>
                  </a:lnTo>
                  <a:lnTo>
                    <a:pt x="506" y="561"/>
                  </a:lnTo>
                  <a:lnTo>
                    <a:pt x="506" y="563"/>
                  </a:lnTo>
                  <a:lnTo>
                    <a:pt x="504" y="563"/>
                  </a:lnTo>
                  <a:lnTo>
                    <a:pt x="504" y="561"/>
                  </a:lnTo>
                  <a:lnTo>
                    <a:pt x="503" y="561"/>
                  </a:lnTo>
                  <a:lnTo>
                    <a:pt x="503" y="559"/>
                  </a:lnTo>
                  <a:lnTo>
                    <a:pt x="503" y="557"/>
                  </a:lnTo>
                  <a:lnTo>
                    <a:pt x="503" y="559"/>
                  </a:lnTo>
                  <a:lnTo>
                    <a:pt x="503" y="557"/>
                  </a:lnTo>
                  <a:lnTo>
                    <a:pt x="501" y="557"/>
                  </a:lnTo>
                  <a:lnTo>
                    <a:pt x="501" y="559"/>
                  </a:lnTo>
                  <a:lnTo>
                    <a:pt x="499" y="559"/>
                  </a:lnTo>
                  <a:lnTo>
                    <a:pt x="501" y="559"/>
                  </a:lnTo>
                  <a:lnTo>
                    <a:pt x="499" y="559"/>
                  </a:lnTo>
                  <a:lnTo>
                    <a:pt x="501" y="559"/>
                  </a:lnTo>
                  <a:lnTo>
                    <a:pt x="501" y="557"/>
                  </a:lnTo>
                  <a:lnTo>
                    <a:pt x="501" y="559"/>
                  </a:lnTo>
                  <a:lnTo>
                    <a:pt x="503" y="559"/>
                  </a:lnTo>
                  <a:lnTo>
                    <a:pt x="503" y="561"/>
                  </a:lnTo>
                  <a:lnTo>
                    <a:pt x="503" y="563"/>
                  </a:lnTo>
                  <a:lnTo>
                    <a:pt x="503" y="565"/>
                  </a:lnTo>
                  <a:lnTo>
                    <a:pt x="503" y="563"/>
                  </a:lnTo>
                  <a:lnTo>
                    <a:pt x="503" y="565"/>
                  </a:lnTo>
                  <a:lnTo>
                    <a:pt x="501" y="565"/>
                  </a:lnTo>
                  <a:lnTo>
                    <a:pt x="501" y="567"/>
                  </a:lnTo>
                  <a:lnTo>
                    <a:pt x="503" y="567"/>
                  </a:lnTo>
                  <a:lnTo>
                    <a:pt x="501" y="567"/>
                  </a:lnTo>
                  <a:lnTo>
                    <a:pt x="503" y="567"/>
                  </a:lnTo>
                  <a:lnTo>
                    <a:pt x="501" y="567"/>
                  </a:lnTo>
                  <a:lnTo>
                    <a:pt x="503" y="567"/>
                  </a:lnTo>
                  <a:lnTo>
                    <a:pt x="503" y="569"/>
                  </a:lnTo>
                  <a:lnTo>
                    <a:pt x="501" y="569"/>
                  </a:lnTo>
                  <a:lnTo>
                    <a:pt x="503" y="569"/>
                  </a:lnTo>
                  <a:lnTo>
                    <a:pt x="501" y="569"/>
                  </a:lnTo>
                  <a:lnTo>
                    <a:pt x="501" y="567"/>
                  </a:lnTo>
                  <a:lnTo>
                    <a:pt x="501" y="569"/>
                  </a:lnTo>
                  <a:lnTo>
                    <a:pt x="501" y="567"/>
                  </a:lnTo>
                  <a:lnTo>
                    <a:pt x="501" y="569"/>
                  </a:lnTo>
                  <a:lnTo>
                    <a:pt x="499" y="569"/>
                  </a:lnTo>
                  <a:lnTo>
                    <a:pt x="499" y="567"/>
                  </a:lnTo>
                  <a:lnTo>
                    <a:pt x="501" y="567"/>
                  </a:lnTo>
                  <a:lnTo>
                    <a:pt x="499" y="567"/>
                  </a:lnTo>
                  <a:lnTo>
                    <a:pt x="499" y="565"/>
                  </a:lnTo>
                  <a:lnTo>
                    <a:pt x="499" y="563"/>
                  </a:lnTo>
                  <a:lnTo>
                    <a:pt x="499" y="565"/>
                  </a:lnTo>
                  <a:lnTo>
                    <a:pt x="497" y="565"/>
                  </a:lnTo>
                  <a:lnTo>
                    <a:pt x="497" y="567"/>
                  </a:lnTo>
                  <a:lnTo>
                    <a:pt x="499" y="567"/>
                  </a:lnTo>
                  <a:lnTo>
                    <a:pt x="499" y="569"/>
                  </a:lnTo>
                  <a:lnTo>
                    <a:pt x="499" y="567"/>
                  </a:lnTo>
                  <a:lnTo>
                    <a:pt x="499" y="569"/>
                  </a:lnTo>
                  <a:lnTo>
                    <a:pt x="497" y="569"/>
                  </a:lnTo>
                  <a:lnTo>
                    <a:pt x="497" y="571"/>
                  </a:lnTo>
                  <a:lnTo>
                    <a:pt x="497" y="569"/>
                  </a:lnTo>
                  <a:lnTo>
                    <a:pt x="497" y="571"/>
                  </a:lnTo>
                  <a:lnTo>
                    <a:pt x="497" y="569"/>
                  </a:lnTo>
                  <a:lnTo>
                    <a:pt x="499" y="569"/>
                  </a:lnTo>
                  <a:lnTo>
                    <a:pt x="499" y="571"/>
                  </a:lnTo>
                  <a:lnTo>
                    <a:pt x="499" y="569"/>
                  </a:lnTo>
                  <a:lnTo>
                    <a:pt x="499" y="571"/>
                  </a:lnTo>
                  <a:lnTo>
                    <a:pt x="499" y="573"/>
                  </a:lnTo>
                  <a:lnTo>
                    <a:pt x="499" y="571"/>
                  </a:lnTo>
                  <a:lnTo>
                    <a:pt x="499" y="573"/>
                  </a:lnTo>
                  <a:lnTo>
                    <a:pt x="497" y="573"/>
                  </a:lnTo>
                  <a:lnTo>
                    <a:pt x="497" y="571"/>
                  </a:lnTo>
                  <a:lnTo>
                    <a:pt x="497" y="573"/>
                  </a:lnTo>
                  <a:lnTo>
                    <a:pt x="497" y="571"/>
                  </a:lnTo>
                  <a:lnTo>
                    <a:pt x="497" y="573"/>
                  </a:lnTo>
                  <a:lnTo>
                    <a:pt x="497" y="571"/>
                  </a:lnTo>
                  <a:lnTo>
                    <a:pt x="497" y="573"/>
                  </a:lnTo>
                  <a:lnTo>
                    <a:pt x="497" y="571"/>
                  </a:lnTo>
                  <a:lnTo>
                    <a:pt x="497" y="573"/>
                  </a:lnTo>
                  <a:lnTo>
                    <a:pt x="497" y="571"/>
                  </a:lnTo>
                  <a:lnTo>
                    <a:pt x="497" y="573"/>
                  </a:lnTo>
                  <a:lnTo>
                    <a:pt x="497" y="571"/>
                  </a:lnTo>
                  <a:lnTo>
                    <a:pt x="497" y="573"/>
                  </a:lnTo>
                  <a:lnTo>
                    <a:pt x="499" y="573"/>
                  </a:lnTo>
                  <a:lnTo>
                    <a:pt x="497" y="573"/>
                  </a:lnTo>
                  <a:lnTo>
                    <a:pt x="497" y="575"/>
                  </a:lnTo>
                  <a:lnTo>
                    <a:pt x="497" y="573"/>
                  </a:lnTo>
                  <a:lnTo>
                    <a:pt x="497" y="575"/>
                  </a:lnTo>
                  <a:lnTo>
                    <a:pt x="497" y="577"/>
                  </a:lnTo>
                  <a:lnTo>
                    <a:pt x="495" y="577"/>
                  </a:lnTo>
                  <a:lnTo>
                    <a:pt x="497" y="577"/>
                  </a:lnTo>
                  <a:lnTo>
                    <a:pt x="495" y="577"/>
                  </a:lnTo>
                  <a:lnTo>
                    <a:pt x="495" y="575"/>
                  </a:lnTo>
                  <a:lnTo>
                    <a:pt x="495" y="577"/>
                  </a:lnTo>
                  <a:lnTo>
                    <a:pt x="493" y="577"/>
                  </a:lnTo>
                  <a:lnTo>
                    <a:pt x="493" y="575"/>
                  </a:lnTo>
                  <a:lnTo>
                    <a:pt x="493" y="577"/>
                  </a:lnTo>
                  <a:lnTo>
                    <a:pt x="493" y="575"/>
                  </a:lnTo>
                  <a:lnTo>
                    <a:pt x="491" y="575"/>
                  </a:lnTo>
                  <a:lnTo>
                    <a:pt x="491" y="573"/>
                  </a:lnTo>
                  <a:lnTo>
                    <a:pt x="491" y="575"/>
                  </a:lnTo>
                  <a:lnTo>
                    <a:pt x="493" y="575"/>
                  </a:lnTo>
                  <a:lnTo>
                    <a:pt x="491" y="575"/>
                  </a:lnTo>
                  <a:lnTo>
                    <a:pt x="491" y="573"/>
                  </a:lnTo>
                  <a:lnTo>
                    <a:pt x="491" y="575"/>
                  </a:lnTo>
                  <a:lnTo>
                    <a:pt x="491" y="573"/>
                  </a:lnTo>
                  <a:lnTo>
                    <a:pt x="491" y="575"/>
                  </a:lnTo>
                  <a:lnTo>
                    <a:pt x="491" y="573"/>
                  </a:lnTo>
                  <a:lnTo>
                    <a:pt x="491" y="575"/>
                  </a:lnTo>
                  <a:lnTo>
                    <a:pt x="489" y="575"/>
                  </a:lnTo>
                  <a:lnTo>
                    <a:pt x="489" y="573"/>
                  </a:lnTo>
                  <a:lnTo>
                    <a:pt x="489" y="575"/>
                  </a:lnTo>
                  <a:lnTo>
                    <a:pt x="489" y="573"/>
                  </a:lnTo>
                  <a:lnTo>
                    <a:pt x="487" y="573"/>
                  </a:lnTo>
                  <a:lnTo>
                    <a:pt x="489" y="573"/>
                  </a:lnTo>
                  <a:lnTo>
                    <a:pt x="487" y="573"/>
                  </a:lnTo>
                  <a:lnTo>
                    <a:pt x="487" y="575"/>
                  </a:lnTo>
                  <a:lnTo>
                    <a:pt x="487" y="573"/>
                  </a:lnTo>
                  <a:lnTo>
                    <a:pt x="487" y="575"/>
                  </a:lnTo>
                  <a:lnTo>
                    <a:pt x="487" y="573"/>
                  </a:lnTo>
                  <a:lnTo>
                    <a:pt x="487" y="575"/>
                  </a:lnTo>
                  <a:lnTo>
                    <a:pt x="485" y="575"/>
                  </a:lnTo>
                  <a:lnTo>
                    <a:pt x="485" y="573"/>
                  </a:lnTo>
                  <a:lnTo>
                    <a:pt x="485" y="575"/>
                  </a:lnTo>
                  <a:lnTo>
                    <a:pt x="485" y="573"/>
                  </a:lnTo>
                  <a:lnTo>
                    <a:pt x="485" y="575"/>
                  </a:lnTo>
                  <a:lnTo>
                    <a:pt x="483" y="575"/>
                  </a:lnTo>
                  <a:lnTo>
                    <a:pt x="483" y="573"/>
                  </a:lnTo>
                  <a:lnTo>
                    <a:pt x="483" y="571"/>
                  </a:lnTo>
                  <a:lnTo>
                    <a:pt x="483" y="573"/>
                  </a:lnTo>
                  <a:lnTo>
                    <a:pt x="483" y="571"/>
                  </a:lnTo>
                  <a:lnTo>
                    <a:pt x="481" y="571"/>
                  </a:lnTo>
                  <a:lnTo>
                    <a:pt x="483" y="571"/>
                  </a:lnTo>
                  <a:lnTo>
                    <a:pt x="483" y="569"/>
                  </a:lnTo>
                  <a:lnTo>
                    <a:pt x="483" y="571"/>
                  </a:lnTo>
                  <a:lnTo>
                    <a:pt x="485" y="571"/>
                  </a:lnTo>
                  <a:lnTo>
                    <a:pt x="483" y="571"/>
                  </a:lnTo>
                  <a:lnTo>
                    <a:pt x="485" y="571"/>
                  </a:lnTo>
                  <a:lnTo>
                    <a:pt x="483" y="571"/>
                  </a:lnTo>
                  <a:lnTo>
                    <a:pt x="485" y="571"/>
                  </a:lnTo>
                  <a:lnTo>
                    <a:pt x="487" y="571"/>
                  </a:lnTo>
                  <a:lnTo>
                    <a:pt x="487" y="569"/>
                  </a:lnTo>
                  <a:lnTo>
                    <a:pt x="485" y="569"/>
                  </a:lnTo>
                  <a:lnTo>
                    <a:pt x="485" y="571"/>
                  </a:lnTo>
                  <a:lnTo>
                    <a:pt x="485" y="569"/>
                  </a:lnTo>
                  <a:lnTo>
                    <a:pt x="485" y="571"/>
                  </a:lnTo>
                  <a:lnTo>
                    <a:pt x="485" y="569"/>
                  </a:lnTo>
                  <a:lnTo>
                    <a:pt x="483" y="569"/>
                  </a:lnTo>
                  <a:lnTo>
                    <a:pt x="485" y="569"/>
                  </a:lnTo>
                  <a:lnTo>
                    <a:pt x="483" y="569"/>
                  </a:lnTo>
                  <a:lnTo>
                    <a:pt x="485" y="569"/>
                  </a:lnTo>
                  <a:lnTo>
                    <a:pt x="483" y="569"/>
                  </a:lnTo>
                  <a:lnTo>
                    <a:pt x="485" y="569"/>
                  </a:lnTo>
                  <a:lnTo>
                    <a:pt x="483" y="569"/>
                  </a:lnTo>
                  <a:lnTo>
                    <a:pt x="485" y="569"/>
                  </a:lnTo>
                  <a:lnTo>
                    <a:pt x="483" y="569"/>
                  </a:lnTo>
                  <a:lnTo>
                    <a:pt x="485" y="569"/>
                  </a:lnTo>
                  <a:lnTo>
                    <a:pt x="483" y="569"/>
                  </a:lnTo>
                  <a:lnTo>
                    <a:pt x="485" y="569"/>
                  </a:lnTo>
                  <a:lnTo>
                    <a:pt x="483" y="569"/>
                  </a:lnTo>
                  <a:lnTo>
                    <a:pt x="483" y="571"/>
                  </a:lnTo>
                  <a:lnTo>
                    <a:pt x="483" y="569"/>
                  </a:lnTo>
                  <a:lnTo>
                    <a:pt x="483" y="567"/>
                  </a:lnTo>
                  <a:lnTo>
                    <a:pt x="481" y="567"/>
                  </a:lnTo>
                  <a:lnTo>
                    <a:pt x="483" y="567"/>
                  </a:lnTo>
                  <a:lnTo>
                    <a:pt x="481" y="567"/>
                  </a:lnTo>
                  <a:lnTo>
                    <a:pt x="483" y="567"/>
                  </a:lnTo>
                  <a:lnTo>
                    <a:pt x="481" y="567"/>
                  </a:lnTo>
                  <a:lnTo>
                    <a:pt x="483" y="567"/>
                  </a:lnTo>
                  <a:lnTo>
                    <a:pt x="481" y="567"/>
                  </a:lnTo>
                  <a:lnTo>
                    <a:pt x="483" y="567"/>
                  </a:lnTo>
                  <a:lnTo>
                    <a:pt x="481" y="567"/>
                  </a:lnTo>
                  <a:lnTo>
                    <a:pt x="481" y="569"/>
                  </a:lnTo>
                  <a:lnTo>
                    <a:pt x="481" y="567"/>
                  </a:lnTo>
                  <a:lnTo>
                    <a:pt x="480" y="567"/>
                  </a:lnTo>
                  <a:lnTo>
                    <a:pt x="481" y="567"/>
                  </a:lnTo>
                  <a:lnTo>
                    <a:pt x="480" y="567"/>
                  </a:lnTo>
                  <a:lnTo>
                    <a:pt x="481" y="567"/>
                  </a:lnTo>
                  <a:lnTo>
                    <a:pt x="480" y="567"/>
                  </a:lnTo>
                  <a:lnTo>
                    <a:pt x="480" y="565"/>
                  </a:lnTo>
                  <a:lnTo>
                    <a:pt x="478" y="565"/>
                  </a:lnTo>
                  <a:lnTo>
                    <a:pt x="480" y="565"/>
                  </a:lnTo>
                  <a:lnTo>
                    <a:pt x="478" y="565"/>
                  </a:lnTo>
                  <a:lnTo>
                    <a:pt x="480" y="565"/>
                  </a:lnTo>
                  <a:lnTo>
                    <a:pt x="478" y="565"/>
                  </a:lnTo>
                  <a:lnTo>
                    <a:pt x="480" y="565"/>
                  </a:lnTo>
                  <a:lnTo>
                    <a:pt x="480" y="563"/>
                  </a:lnTo>
                  <a:lnTo>
                    <a:pt x="480" y="565"/>
                  </a:lnTo>
                  <a:lnTo>
                    <a:pt x="480" y="563"/>
                  </a:lnTo>
                  <a:lnTo>
                    <a:pt x="480" y="565"/>
                  </a:lnTo>
                  <a:lnTo>
                    <a:pt x="480" y="563"/>
                  </a:lnTo>
                  <a:lnTo>
                    <a:pt x="478" y="563"/>
                  </a:lnTo>
                  <a:lnTo>
                    <a:pt x="476" y="563"/>
                  </a:lnTo>
                  <a:lnTo>
                    <a:pt x="476" y="561"/>
                  </a:lnTo>
                  <a:lnTo>
                    <a:pt x="476" y="563"/>
                  </a:lnTo>
                  <a:lnTo>
                    <a:pt x="476" y="561"/>
                  </a:lnTo>
                  <a:lnTo>
                    <a:pt x="476" y="559"/>
                  </a:lnTo>
                  <a:lnTo>
                    <a:pt x="474" y="559"/>
                  </a:lnTo>
                  <a:lnTo>
                    <a:pt x="476" y="559"/>
                  </a:lnTo>
                  <a:lnTo>
                    <a:pt x="474" y="559"/>
                  </a:lnTo>
                  <a:lnTo>
                    <a:pt x="476" y="559"/>
                  </a:lnTo>
                  <a:lnTo>
                    <a:pt x="474" y="559"/>
                  </a:lnTo>
                  <a:lnTo>
                    <a:pt x="474" y="557"/>
                  </a:lnTo>
                  <a:lnTo>
                    <a:pt x="474" y="559"/>
                  </a:lnTo>
                  <a:lnTo>
                    <a:pt x="474" y="557"/>
                  </a:lnTo>
                  <a:lnTo>
                    <a:pt x="476" y="557"/>
                  </a:lnTo>
                  <a:lnTo>
                    <a:pt x="474" y="557"/>
                  </a:lnTo>
                  <a:lnTo>
                    <a:pt x="474" y="555"/>
                  </a:lnTo>
                  <a:lnTo>
                    <a:pt x="472" y="555"/>
                  </a:lnTo>
                  <a:lnTo>
                    <a:pt x="474" y="555"/>
                  </a:lnTo>
                  <a:lnTo>
                    <a:pt x="474" y="553"/>
                  </a:lnTo>
                  <a:lnTo>
                    <a:pt x="472" y="553"/>
                  </a:lnTo>
                  <a:lnTo>
                    <a:pt x="474" y="553"/>
                  </a:lnTo>
                  <a:lnTo>
                    <a:pt x="472" y="553"/>
                  </a:lnTo>
                  <a:lnTo>
                    <a:pt x="474" y="553"/>
                  </a:lnTo>
                  <a:lnTo>
                    <a:pt x="472" y="553"/>
                  </a:lnTo>
                  <a:lnTo>
                    <a:pt x="472" y="552"/>
                  </a:lnTo>
                  <a:lnTo>
                    <a:pt x="472" y="550"/>
                  </a:lnTo>
                  <a:lnTo>
                    <a:pt x="472" y="548"/>
                  </a:lnTo>
                  <a:lnTo>
                    <a:pt x="472" y="550"/>
                  </a:lnTo>
                  <a:lnTo>
                    <a:pt x="474" y="550"/>
                  </a:lnTo>
                  <a:lnTo>
                    <a:pt x="476" y="550"/>
                  </a:lnTo>
                  <a:lnTo>
                    <a:pt x="476" y="552"/>
                  </a:lnTo>
                  <a:lnTo>
                    <a:pt x="476" y="553"/>
                  </a:lnTo>
                  <a:lnTo>
                    <a:pt x="476" y="552"/>
                  </a:lnTo>
                  <a:lnTo>
                    <a:pt x="478" y="552"/>
                  </a:lnTo>
                  <a:lnTo>
                    <a:pt x="476" y="552"/>
                  </a:lnTo>
                  <a:lnTo>
                    <a:pt x="478" y="552"/>
                  </a:lnTo>
                  <a:lnTo>
                    <a:pt x="480" y="552"/>
                  </a:lnTo>
                  <a:lnTo>
                    <a:pt x="480" y="553"/>
                  </a:lnTo>
                  <a:lnTo>
                    <a:pt x="478" y="553"/>
                  </a:lnTo>
                  <a:lnTo>
                    <a:pt x="480" y="553"/>
                  </a:lnTo>
                  <a:lnTo>
                    <a:pt x="478" y="553"/>
                  </a:lnTo>
                  <a:lnTo>
                    <a:pt x="480" y="553"/>
                  </a:lnTo>
                  <a:lnTo>
                    <a:pt x="478" y="553"/>
                  </a:lnTo>
                  <a:lnTo>
                    <a:pt x="480" y="553"/>
                  </a:lnTo>
                  <a:lnTo>
                    <a:pt x="480" y="555"/>
                  </a:lnTo>
                  <a:lnTo>
                    <a:pt x="480" y="553"/>
                  </a:lnTo>
                  <a:lnTo>
                    <a:pt x="480" y="555"/>
                  </a:lnTo>
                  <a:lnTo>
                    <a:pt x="480" y="553"/>
                  </a:lnTo>
                  <a:lnTo>
                    <a:pt x="478" y="553"/>
                  </a:lnTo>
                  <a:lnTo>
                    <a:pt x="480" y="553"/>
                  </a:lnTo>
                  <a:lnTo>
                    <a:pt x="478" y="553"/>
                  </a:lnTo>
                  <a:lnTo>
                    <a:pt x="480" y="553"/>
                  </a:lnTo>
                  <a:lnTo>
                    <a:pt x="480" y="552"/>
                  </a:lnTo>
                  <a:lnTo>
                    <a:pt x="478" y="552"/>
                  </a:lnTo>
                  <a:lnTo>
                    <a:pt x="476" y="552"/>
                  </a:lnTo>
                  <a:lnTo>
                    <a:pt x="478" y="552"/>
                  </a:lnTo>
                  <a:lnTo>
                    <a:pt x="478" y="550"/>
                  </a:lnTo>
                  <a:lnTo>
                    <a:pt x="476" y="550"/>
                  </a:lnTo>
                  <a:lnTo>
                    <a:pt x="474" y="550"/>
                  </a:lnTo>
                  <a:lnTo>
                    <a:pt x="474" y="548"/>
                  </a:lnTo>
                  <a:lnTo>
                    <a:pt x="476" y="548"/>
                  </a:lnTo>
                  <a:lnTo>
                    <a:pt x="476" y="546"/>
                  </a:lnTo>
                  <a:lnTo>
                    <a:pt x="476" y="548"/>
                  </a:lnTo>
                  <a:lnTo>
                    <a:pt x="474" y="548"/>
                  </a:lnTo>
                  <a:lnTo>
                    <a:pt x="474" y="546"/>
                  </a:lnTo>
                  <a:lnTo>
                    <a:pt x="474" y="548"/>
                  </a:lnTo>
                  <a:lnTo>
                    <a:pt x="472" y="548"/>
                  </a:lnTo>
                  <a:lnTo>
                    <a:pt x="474" y="548"/>
                  </a:lnTo>
                  <a:lnTo>
                    <a:pt x="472" y="548"/>
                  </a:lnTo>
                  <a:lnTo>
                    <a:pt x="472" y="546"/>
                  </a:lnTo>
                  <a:lnTo>
                    <a:pt x="472" y="544"/>
                  </a:lnTo>
                  <a:lnTo>
                    <a:pt x="472" y="542"/>
                  </a:lnTo>
                  <a:lnTo>
                    <a:pt x="470" y="542"/>
                  </a:lnTo>
                  <a:lnTo>
                    <a:pt x="470" y="540"/>
                  </a:lnTo>
                  <a:lnTo>
                    <a:pt x="468" y="540"/>
                  </a:lnTo>
                  <a:lnTo>
                    <a:pt x="470" y="540"/>
                  </a:lnTo>
                  <a:lnTo>
                    <a:pt x="468" y="540"/>
                  </a:lnTo>
                  <a:lnTo>
                    <a:pt x="470" y="540"/>
                  </a:lnTo>
                  <a:lnTo>
                    <a:pt x="468" y="540"/>
                  </a:lnTo>
                  <a:lnTo>
                    <a:pt x="470" y="540"/>
                  </a:lnTo>
                  <a:lnTo>
                    <a:pt x="468" y="540"/>
                  </a:lnTo>
                  <a:lnTo>
                    <a:pt x="468" y="538"/>
                  </a:lnTo>
                  <a:lnTo>
                    <a:pt x="470" y="538"/>
                  </a:lnTo>
                  <a:lnTo>
                    <a:pt x="468" y="538"/>
                  </a:lnTo>
                  <a:lnTo>
                    <a:pt x="470" y="538"/>
                  </a:lnTo>
                  <a:lnTo>
                    <a:pt x="468" y="538"/>
                  </a:lnTo>
                  <a:lnTo>
                    <a:pt x="468" y="536"/>
                  </a:lnTo>
                  <a:lnTo>
                    <a:pt x="470" y="536"/>
                  </a:lnTo>
                  <a:lnTo>
                    <a:pt x="468" y="536"/>
                  </a:lnTo>
                  <a:lnTo>
                    <a:pt x="468" y="534"/>
                  </a:lnTo>
                  <a:lnTo>
                    <a:pt x="466" y="534"/>
                  </a:lnTo>
                  <a:lnTo>
                    <a:pt x="466" y="532"/>
                  </a:lnTo>
                  <a:lnTo>
                    <a:pt x="464" y="532"/>
                  </a:lnTo>
                  <a:lnTo>
                    <a:pt x="466" y="532"/>
                  </a:lnTo>
                  <a:lnTo>
                    <a:pt x="464" y="532"/>
                  </a:lnTo>
                  <a:lnTo>
                    <a:pt x="466" y="532"/>
                  </a:lnTo>
                  <a:lnTo>
                    <a:pt x="466" y="530"/>
                  </a:lnTo>
                  <a:lnTo>
                    <a:pt x="464" y="530"/>
                  </a:lnTo>
                  <a:lnTo>
                    <a:pt x="464" y="528"/>
                  </a:lnTo>
                  <a:lnTo>
                    <a:pt x="464" y="530"/>
                  </a:lnTo>
                  <a:lnTo>
                    <a:pt x="464" y="528"/>
                  </a:lnTo>
                  <a:lnTo>
                    <a:pt x="464" y="530"/>
                  </a:lnTo>
                  <a:lnTo>
                    <a:pt x="464" y="528"/>
                  </a:lnTo>
                  <a:lnTo>
                    <a:pt x="464" y="527"/>
                  </a:lnTo>
                  <a:lnTo>
                    <a:pt x="464" y="525"/>
                  </a:lnTo>
                  <a:lnTo>
                    <a:pt x="466" y="525"/>
                  </a:lnTo>
                  <a:lnTo>
                    <a:pt x="464" y="525"/>
                  </a:lnTo>
                  <a:lnTo>
                    <a:pt x="462" y="525"/>
                  </a:lnTo>
                  <a:lnTo>
                    <a:pt x="464" y="525"/>
                  </a:lnTo>
                  <a:lnTo>
                    <a:pt x="462" y="525"/>
                  </a:lnTo>
                  <a:lnTo>
                    <a:pt x="464" y="525"/>
                  </a:lnTo>
                  <a:lnTo>
                    <a:pt x="464" y="523"/>
                  </a:lnTo>
                  <a:lnTo>
                    <a:pt x="462" y="523"/>
                  </a:lnTo>
                  <a:lnTo>
                    <a:pt x="464" y="523"/>
                  </a:lnTo>
                  <a:lnTo>
                    <a:pt x="464" y="521"/>
                  </a:lnTo>
                  <a:lnTo>
                    <a:pt x="464" y="523"/>
                  </a:lnTo>
                  <a:lnTo>
                    <a:pt x="464" y="521"/>
                  </a:lnTo>
                  <a:lnTo>
                    <a:pt x="464" y="523"/>
                  </a:lnTo>
                  <a:lnTo>
                    <a:pt x="464" y="521"/>
                  </a:lnTo>
                  <a:lnTo>
                    <a:pt x="464" y="519"/>
                  </a:lnTo>
                  <a:lnTo>
                    <a:pt x="464" y="517"/>
                  </a:lnTo>
                  <a:close/>
                  <a:moveTo>
                    <a:pt x="255" y="29"/>
                  </a:moveTo>
                  <a:lnTo>
                    <a:pt x="257" y="29"/>
                  </a:lnTo>
                  <a:lnTo>
                    <a:pt x="257" y="31"/>
                  </a:lnTo>
                  <a:lnTo>
                    <a:pt x="259" y="31"/>
                  </a:lnTo>
                  <a:lnTo>
                    <a:pt x="257" y="31"/>
                  </a:lnTo>
                  <a:lnTo>
                    <a:pt x="259" y="31"/>
                  </a:lnTo>
                  <a:lnTo>
                    <a:pt x="257" y="31"/>
                  </a:lnTo>
                  <a:lnTo>
                    <a:pt x="259" y="31"/>
                  </a:lnTo>
                  <a:lnTo>
                    <a:pt x="257" y="31"/>
                  </a:lnTo>
                  <a:lnTo>
                    <a:pt x="259" y="31"/>
                  </a:lnTo>
                  <a:lnTo>
                    <a:pt x="257" y="31"/>
                  </a:lnTo>
                  <a:lnTo>
                    <a:pt x="257" y="33"/>
                  </a:lnTo>
                  <a:lnTo>
                    <a:pt x="259" y="33"/>
                  </a:lnTo>
                  <a:lnTo>
                    <a:pt x="259" y="31"/>
                  </a:lnTo>
                  <a:lnTo>
                    <a:pt x="259" y="33"/>
                  </a:lnTo>
                  <a:lnTo>
                    <a:pt x="259" y="35"/>
                  </a:lnTo>
                  <a:lnTo>
                    <a:pt x="259" y="33"/>
                  </a:lnTo>
                  <a:lnTo>
                    <a:pt x="259" y="35"/>
                  </a:lnTo>
                  <a:lnTo>
                    <a:pt x="259" y="33"/>
                  </a:lnTo>
                  <a:lnTo>
                    <a:pt x="261" y="33"/>
                  </a:lnTo>
                  <a:lnTo>
                    <a:pt x="261" y="35"/>
                  </a:lnTo>
                  <a:lnTo>
                    <a:pt x="261" y="33"/>
                  </a:lnTo>
                  <a:lnTo>
                    <a:pt x="261" y="35"/>
                  </a:lnTo>
                  <a:lnTo>
                    <a:pt x="261" y="33"/>
                  </a:lnTo>
                  <a:lnTo>
                    <a:pt x="259" y="33"/>
                  </a:lnTo>
                  <a:lnTo>
                    <a:pt x="261" y="33"/>
                  </a:lnTo>
                  <a:lnTo>
                    <a:pt x="261" y="31"/>
                  </a:lnTo>
                  <a:lnTo>
                    <a:pt x="261" y="33"/>
                  </a:lnTo>
                  <a:lnTo>
                    <a:pt x="261" y="31"/>
                  </a:lnTo>
                  <a:lnTo>
                    <a:pt x="263" y="31"/>
                  </a:lnTo>
                  <a:lnTo>
                    <a:pt x="265" y="31"/>
                  </a:lnTo>
                  <a:lnTo>
                    <a:pt x="265" y="33"/>
                  </a:lnTo>
                  <a:lnTo>
                    <a:pt x="265" y="31"/>
                  </a:lnTo>
                  <a:lnTo>
                    <a:pt x="266" y="31"/>
                  </a:lnTo>
                  <a:lnTo>
                    <a:pt x="265" y="31"/>
                  </a:lnTo>
                  <a:lnTo>
                    <a:pt x="266" y="31"/>
                  </a:lnTo>
                  <a:lnTo>
                    <a:pt x="265" y="31"/>
                  </a:lnTo>
                  <a:lnTo>
                    <a:pt x="266" y="31"/>
                  </a:lnTo>
                  <a:lnTo>
                    <a:pt x="266" y="29"/>
                  </a:lnTo>
                  <a:lnTo>
                    <a:pt x="268" y="29"/>
                  </a:lnTo>
                  <a:lnTo>
                    <a:pt x="268" y="31"/>
                  </a:lnTo>
                  <a:lnTo>
                    <a:pt x="270" y="31"/>
                  </a:lnTo>
                  <a:lnTo>
                    <a:pt x="270" y="33"/>
                  </a:lnTo>
                  <a:lnTo>
                    <a:pt x="272" y="33"/>
                  </a:lnTo>
                  <a:lnTo>
                    <a:pt x="270" y="33"/>
                  </a:lnTo>
                  <a:lnTo>
                    <a:pt x="270" y="35"/>
                  </a:lnTo>
                  <a:lnTo>
                    <a:pt x="268" y="35"/>
                  </a:lnTo>
                  <a:lnTo>
                    <a:pt x="270" y="35"/>
                  </a:lnTo>
                  <a:lnTo>
                    <a:pt x="268" y="35"/>
                  </a:lnTo>
                  <a:lnTo>
                    <a:pt x="270" y="35"/>
                  </a:lnTo>
                  <a:lnTo>
                    <a:pt x="268" y="35"/>
                  </a:lnTo>
                  <a:lnTo>
                    <a:pt x="270" y="35"/>
                  </a:lnTo>
                  <a:lnTo>
                    <a:pt x="268" y="35"/>
                  </a:lnTo>
                  <a:lnTo>
                    <a:pt x="270" y="35"/>
                  </a:lnTo>
                  <a:lnTo>
                    <a:pt x="268" y="35"/>
                  </a:lnTo>
                  <a:lnTo>
                    <a:pt x="268" y="37"/>
                  </a:lnTo>
                  <a:lnTo>
                    <a:pt x="266" y="37"/>
                  </a:lnTo>
                  <a:lnTo>
                    <a:pt x="266" y="39"/>
                  </a:lnTo>
                  <a:lnTo>
                    <a:pt x="265" y="39"/>
                  </a:lnTo>
                  <a:lnTo>
                    <a:pt x="265" y="41"/>
                  </a:lnTo>
                  <a:lnTo>
                    <a:pt x="263" y="41"/>
                  </a:lnTo>
                  <a:lnTo>
                    <a:pt x="263" y="39"/>
                  </a:lnTo>
                  <a:lnTo>
                    <a:pt x="261" y="39"/>
                  </a:lnTo>
                  <a:lnTo>
                    <a:pt x="259" y="39"/>
                  </a:lnTo>
                  <a:lnTo>
                    <a:pt x="259" y="37"/>
                  </a:lnTo>
                  <a:lnTo>
                    <a:pt x="257" y="37"/>
                  </a:lnTo>
                  <a:lnTo>
                    <a:pt x="257" y="35"/>
                  </a:lnTo>
                  <a:lnTo>
                    <a:pt x="255" y="35"/>
                  </a:lnTo>
                  <a:lnTo>
                    <a:pt x="255" y="33"/>
                  </a:lnTo>
                  <a:lnTo>
                    <a:pt x="255" y="31"/>
                  </a:lnTo>
                  <a:lnTo>
                    <a:pt x="255" y="33"/>
                  </a:lnTo>
                  <a:lnTo>
                    <a:pt x="255" y="31"/>
                  </a:lnTo>
                  <a:lnTo>
                    <a:pt x="255" y="29"/>
                  </a:lnTo>
                  <a:close/>
                  <a:moveTo>
                    <a:pt x="361" y="423"/>
                  </a:moveTo>
                  <a:lnTo>
                    <a:pt x="361" y="425"/>
                  </a:lnTo>
                  <a:lnTo>
                    <a:pt x="362" y="425"/>
                  </a:lnTo>
                  <a:lnTo>
                    <a:pt x="364" y="425"/>
                  </a:lnTo>
                  <a:lnTo>
                    <a:pt x="362" y="425"/>
                  </a:lnTo>
                  <a:lnTo>
                    <a:pt x="362" y="427"/>
                  </a:lnTo>
                  <a:lnTo>
                    <a:pt x="364" y="427"/>
                  </a:lnTo>
                  <a:lnTo>
                    <a:pt x="362" y="427"/>
                  </a:lnTo>
                  <a:lnTo>
                    <a:pt x="364" y="427"/>
                  </a:lnTo>
                  <a:lnTo>
                    <a:pt x="362" y="427"/>
                  </a:lnTo>
                  <a:lnTo>
                    <a:pt x="364" y="427"/>
                  </a:lnTo>
                  <a:lnTo>
                    <a:pt x="364" y="425"/>
                  </a:lnTo>
                  <a:lnTo>
                    <a:pt x="366" y="425"/>
                  </a:lnTo>
                  <a:lnTo>
                    <a:pt x="368" y="425"/>
                  </a:lnTo>
                  <a:lnTo>
                    <a:pt x="368" y="427"/>
                  </a:lnTo>
                  <a:lnTo>
                    <a:pt x="368" y="429"/>
                  </a:lnTo>
                  <a:lnTo>
                    <a:pt x="368" y="427"/>
                  </a:lnTo>
                  <a:lnTo>
                    <a:pt x="368" y="429"/>
                  </a:lnTo>
                  <a:lnTo>
                    <a:pt x="366" y="429"/>
                  </a:lnTo>
                  <a:lnTo>
                    <a:pt x="366" y="427"/>
                  </a:lnTo>
                  <a:lnTo>
                    <a:pt x="364" y="427"/>
                  </a:lnTo>
                  <a:lnTo>
                    <a:pt x="364" y="429"/>
                  </a:lnTo>
                  <a:lnTo>
                    <a:pt x="364" y="427"/>
                  </a:lnTo>
                  <a:lnTo>
                    <a:pt x="364" y="429"/>
                  </a:lnTo>
                  <a:lnTo>
                    <a:pt x="364" y="427"/>
                  </a:lnTo>
                  <a:lnTo>
                    <a:pt x="362" y="427"/>
                  </a:lnTo>
                  <a:lnTo>
                    <a:pt x="362" y="429"/>
                  </a:lnTo>
                  <a:lnTo>
                    <a:pt x="361" y="429"/>
                  </a:lnTo>
                  <a:lnTo>
                    <a:pt x="361" y="431"/>
                  </a:lnTo>
                  <a:lnTo>
                    <a:pt x="359" y="431"/>
                  </a:lnTo>
                  <a:lnTo>
                    <a:pt x="357" y="431"/>
                  </a:lnTo>
                  <a:lnTo>
                    <a:pt x="355" y="431"/>
                  </a:lnTo>
                  <a:lnTo>
                    <a:pt x="355" y="429"/>
                  </a:lnTo>
                  <a:lnTo>
                    <a:pt x="355" y="431"/>
                  </a:lnTo>
                  <a:lnTo>
                    <a:pt x="353" y="431"/>
                  </a:lnTo>
                  <a:lnTo>
                    <a:pt x="351" y="431"/>
                  </a:lnTo>
                  <a:lnTo>
                    <a:pt x="349" y="431"/>
                  </a:lnTo>
                  <a:lnTo>
                    <a:pt x="347" y="431"/>
                  </a:lnTo>
                  <a:lnTo>
                    <a:pt x="347" y="429"/>
                  </a:lnTo>
                  <a:lnTo>
                    <a:pt x="345" y="429"/>
                  </a:lnTo>
                  <a:lnTo>
                    <a:pt x="345" y="427"/>
                  </a:lnTo>
                  <a:lnTo>
                    <a:pt x="345" y="425"/>
                  </a:lnTo>
                  <a:lnTo>
                    <a:pt x="347" y="425"/>
                  </a:lnTo>
                  <a:lnTo>
                    <a:pt x="349" y="425"/>
                  </a:lnTo>
                  <a:lnTo>
                    <a:pt x="351" y="425"/>
                  </a:lnTo>
                  <a:lnTo>
                    <a:pt x="353" y="425"/>
                  </a:lnTo>
                  <a:lnTo>
                    <a:pt x="353" y="423"/>
                  </a:lnTo>
                  <a:lnTo>
                    <a:pt x="355" y="423"/>
                  </a:lnTo>
                  <a:lnTo>
                    <a:pt x="353" y="423"/>
                  </a:lnTo>
                  <a:lnTo>
                    <a:pt x="355" y="423"/>
                  </a:lnTo>
                  <a:lnTo>
                    <a:pt x="357" y="423"/>
                  </a:lnTo>
                  <a:lnTo>
                    <a:pt x="359" y="423"/>
                  </a:lnTo>
                  <a:lnTo>
                    <a:pt x="361" y="423"/>
                  </a:lnTo>
                  <a:close/>
                  <a:moveTo>
                    <a:pt x="347" y="66"/>
                  </a:moveTo>
                  <a:lnTo>
                    <a:pt x="347" y="67"/>
                  </a:lnTo>
                  <a:lnTo>
                    <a:pt x="347" y="69"/>
                  </a:lnTo>
                  <a:lnTo>
                    <a:pt x="349" y="69"/>
                  </a:lnTo>
                  <a:lnTo>
                    <a:pt x="349" y="67"/>
                  </a:lnTo>
                  <a:lnTo>
                    <a:pt x="351" y="67"/>
                  </a:lnTo>
                  <a:lnTo>
                    <a:pt x="351" y="69"/>
                  </a:lnTo>
                  <a:lnTo>
                    <a:pt x="349" y="69"/>
                  </a:lnTo>
                  <a:lnTo>
                    <a:pt x="349" y="71"/>
                  </a:lnTo>
                  <a:lnTo>
                    <a:pt x="347" y="71"/>
                  </a:lnTo>
                  <a:lnTo>
                    <a:pt x="347" y="69"/>
                  </a:lnTo>
                  <a:lnTo>
                    <a:pt x="347" y="71"/>
                  </a:lnTo>
                  <a:lnTo>
                    <a:pt x="349" y="71"/>
                  </a:lnTo>
                  <a:lnTo>
                    <a:pt x="349" y="73"/>
                  </a:lnTo>
                  <a:lnTo>
                    <a:pt x="349" y="71"/>
                  </a:lnTo>
                  <a:lnTo>
                    <a:pt x="349" y="73"/>
                  </a:lnTo>
                  <a:lnTo>
                    <a:pt x="347" y="73"/>
                  </a:lnTo>
                  <a:lnTo>
                    <a:pt x="349" y="73"/>
                  </a:lnTo>
                  <a:lnTo>
                    <a:pt x="347" y="73"/>
                  </a:lnTo>
                  <a:lnTo>
                    <a:pt x="347" y="75"/>
                  </a:lnTo>
                  <a:lnTo>
                    <a:pt x="349" y="75"/>
                  </a:lnTo>
                  <a:lnTo>
                    <a:pt x="349" y="73"/>
                  </a:lnTo>
                  <a:lnTo>
                    <a:pt x="349" y="75"/>
                  </a:lnTo>
                  <a:lnTo>
                    <a:pt x="351" y="75"/>
                  </a:lnTo>
                  <a:lnTo>
                    <a:pt x="351" y="73"/>
                  </a:lnTo>
                  <a:lnTo>
                    <a:pt x="351" y="75"/>
                  </a:lnTo>
                  <a:lnTo>
                    <a:pt x="351" y="77"/>
                  </a:lnTo>
                  <a:lnTo>
                    <a:pt x="351" y="75"/>
                  </a:lnTo>
                  <a:lnTo>
                    <a:pt x="351" y="77"/>
                  </a:lnTo>
                  <a:lnTo>
                    <a:pt x="351" y="75"/>
                  </a:lnTo>
                  <a:lnTo>
                    <a:pt x="349" y="75"/>
                  </a:lnTo>
                  <a:lnTo>
                    <a:pt x="347" y="75"/>
                  </a:lnTo>
                  <a:lnTo>
                    <a:pt x="345" y="75"/>
                  </a:lnTo>
                  <a:lnTo>
                    <a:pt x="343" y="75"/>
                  </a:lnTo>
                  <a:lnTo>
                    <a:pt x="341" y="75"/>
                  </a:lnTo>
                  <a:lnTo>
                    <a:pt x="343" y="75"/>
                  </a:lnTo>
                  <a:lnTo>
                    <a:pt x="343" y="73"/>
                  </a:lnTo>
                  <a:lnTo>
                    <a:pt x="343" y="71"/>
                  </a:lnTo>
                  <a:lnTo>
                    <a:pt x="343" y="69"/>
                  </a:lnTo>
                  <a:lnTo>
                    <a:pt x="345" y="69"/>
                  </a:lnTo>
                  <a:lnTo>
                    <a:pt x="345" y="67"/>
                  </a:lnTo>
                  <a:lnTo>
                    <a:pt x="345" y="69"/>
                  </a:lnTo>
                  <a:lnTo>
                    <a:pt x="345" y="67"/>
                  </a:lnTo>
                  <a:lnTo>
                    <a:pt x="345" y="69"/>
                  </a:lnTo>
                  <a:lnTo>
                    <a:pt x="345" y="67"/>
                  </a:lnTo>
                  <a:lnTo>
                    <a:pt x="347" y="67"/>
                  </a:lnTo>
                  <a:lnTo>
                    <a:pt x="345" y="67"/>
                  </a:lnTo>
                  <a:lnTo>
                    <a:pt x="347" y="67"/>
                  </a:lnTo>
                  <a:lnTo>
                    <a:pt x="345" y="67"/>
                  </a:lnTo>
                  <a:lnTo>
                    <a:pt x="347" y="67"/>
                  </a:lnTo>
                  <a:lnTo>
                    <a:pt x="345" y="67"/>
                  </a:lnTo>
                  <a:lnTo>
                    <a:pt x="347" y="67"/>
                  </a:lnTo>
                  <a:lnTo>
                    <a:pt x="347" y="66"/>
                  </a:lnTo>
                  <a:close/>
                  <a:moveTo>
                    <a:pt x="589" y="238"/>
                  </a:moveTo>
                  <a:lnTo>
                    <a:pt x="589" y="240"/>
                  </a:lnTo>
                  <a:lnTo>
                    <a:pt x="589" y="242"/>
                  </a:lnTo>
                  <a:lnTo>
                    <a:pt x="591" y="242"/>
                  </a:lnTo>
                  <a:lnTo>
                    <a:pt x="591" y="244"/>
                  </a:lnTo>
                  <a:lnTo>
                    <a:pt x="591" y="246"/>
                  </a:lnTo>
                  <a:lnTo>
                    <a:pt x="589" y="246"/>
                  </a:lnTo>
                  <a:lnTo>
                    <a:pt x="589" y="248"/>
                  </a:lnTo>
                  <a:lnTo>
                    <a:pt x="589" y="250"/>
                  </a:lnTo>
                  <a:lnTo>
                    <a:pt x="587" y="250"/>
                  </a:lnTo>
                  <a:lnTo>
                    <a:pt x="587" y="252"/>
                  </a:lnTo>
                  <a:lnTo>
                    <a:pt x="587" y="254"/>
                  </a:lnTo>
                  <a:lnTo>
                    <a:pt x="587" y="256"/>
                  </a:lnTo>
                  <a:lnTo>
                    <a:pt x="585" y="256"/>
                  </a:lnTo>
                  <a:lnTo>
                    <a:pt x="585" y="254"/>
                  </a:lnTo>
                  <a:lnTo>
                    <a:pt x="585" y="252"/>
                  </a:lnTo>
                  <a:lnTo>
                    <a:pt x="585" y="250"/>
                  </a:lnTo>
                  <a:lnTo>
                    <a:pt x="585" y="252"/>
                  </a:lnTo>
                  <a:lnTo>
                    <a:pt x="585" y="250"/>
                  </a:lnTo>
                  <a:lnTo>
                    <a:pt x="587" y="250"/>
                  </a:lnTo>
                  <a:lnTo>
                    <a:pt x="587" y="248"/>
                  </a:lnTo>
                  <a:lnTo>
                    <a:pt x="587" y="246"/>
                  </a:lnTo>
                  <a:lnTo>
                    <a:pt x="585" y="246"/>
                  </a:lnTo>
                  <a:lnTo>
                    <a:pt x="587" y="246"/>
                  </a:lnTo>
                  <a:lnTo>
                    <a:pt x="587" y="244"/>
                  </a:lnTo>
                  <a:lnTo>
                    <a:pt x="589" y="244"/>
                  </a:lnTo>
                  <a:lnTo>
                    <a:pt x="589" y="242"/>
                  </a:lnTo>
                  <a:lnTo>
                    <a:pt x="589" y="240"/>
                  </a:lnTo>
                  <a:lnTo>
                    <a:pt x="587" y="240"/>
                  </a:lnTo>
                  <a:lnTo>
                    <a:pt x="587" y="238"/>
                  </a:lnTo>
                  <a:lnTo>
                    <a:pt x="589" y="238"/>
                  </a:lnTo>
                  <a:close/>
                  <a:moveTo>
                    <a:pt x="512" y="500"/>
                  </a:moveTo>
                  <a:lnTo>
                    <a:pt x="512" y="502"/>
                  </a:lnTo>
                  <a:lnTo>
                    <a:pt x="514" y="502"/>
                  </a:lnTo>
                  <a:lnTo>
                    <a:pt x="514" y="504"/>
                  </a:lnTo>
                  <a:lnTo>
                    <a:pt x="516" y="504"/>
                  </a:lnTo>
                  <a:lnTo>
                    <a:pt x="516" y="505"/>
                  </a:lnTo>
                  <a:lnTo>
                    <a:pt x="516" y="507"/>
                  </a:lnTo>
                  <a:lnTo>
                    <a:pt x="516" y="505"/>
                  </a:lnTo>
                  <a:lnTo>
                    <a:pt x="516" y="507"/>
                  </a:lnTo>
                  <a:lnTo>
                    <a:pt x="518" y="507"/>
                  </a:lnTo>
                  <a:lnTo>
                    <a:pt x="518" y="509"/>
                  </a:lnTo>
                  <a:lnTo>
                    <a:pt x="516" y="509"/>
                  </a:lnTo>
                  <a:lnTo>
                    <a:pt x="514" y="509"/>
                  </a:lnTo>
                  <a:lnTo>
                    <a:pt x="512" y="509"/>
                  </a:lnTo>
                  <a:lnTo>
                    <a:pt x="514" y="509"/>
                  </a:lnTo>
                  <a:lnTo>
                    <a:pt x="514" y="507"/>
                  </a:lnTo>
                  <a:lnTo>
                    <a:pt x="512" y="507"/>
                  </a:lnTo>
                  <a:lnTo>
                    <a:pt x="512" y="505"/>
                  </a:lnTo>
                  <a:lnTo>
                    <a:pt x="510" y="505"/>
                  </a:lnTo>
                  <a:lnTo>
                    <a:pt x="510" y="504"/>
                  </a:lnTo>
                  <a:lnTo>
                    <a:pt x="512" y="504"/>
                  </a:lnTo>
                  <a:lnTo>
                    <a:pt x="510" y="504"/>
                  </a:lnTo>
                  <a:lnTo>
                    <a:pt x="510" y="502"/>
                  </a:lnTo>
                  <a:lnTo>
                    <a:pt x="510" y="504"/>
                  </a:lnTo>
                  <a:lnTo>
                    <a:pt x="510" y="502"/>
                  </a:lnTo>
                  <a:lnTo>
                    <a:pt x="508" y="502"/>
                  </a:lnTo>
                  <a:lnTo>
                    <a:pt x="510" y="502"/>
                  </a:lnTo>
                  <a:lnTo>
                    <a:pt x="508" y="502"/>
                  </a:lnTo>
                  <a:lnTo>
                    <a:pt x="510" y="502"/>
                  </a:lnTo>
                  <a:lnTo>
                    <a:pt x="508" y="502"/>
                  </a:lnTo>
                  <a:lnTo>
                    <a:pt x="510" y="502"/>
                  </a:lnTo>
                  <a:lnTo>
                    <a:pt x="510" y="500"/>
                  </a:lnTo>
                  <a:lnTo>
                    <a:pt x="512" y="500"/>
                  </a:lnTo>
                  <a:close/>
                  <a:moveTo>
                    <a:pt x="255" y="31"/>
                  </a:moveTo>
                  <a:lnTo>
                    <a:pt x="255" y="33"/>
                  </a:lnTo>
                  <a:lnTo>
                    <a:pt x="255" y="35"/>
                  </a:lnTo>
                  <a:lnTo>
                    <a:pt x="257" y="35"/>
                  </a:lnTo>
                  <a:lnTo>
                    <a:pt x="257" y="37"/>
                  </a:lnTo>
                  <a:lnTo>
                    <a:pt x="259" y="37"/>
                  </a:lnTo>
                  <a:lnTo>
                    <a:pt x="259" y="39"/>
                  </a:lnTo>
                  <a:lnTo>
                    <a:pt x="257" y="39"/>
                  </a:lnTo>
                  <a:lnTo>
                    <a:pt x="255" y="39"/>
                  </a:lnTo>
                  <a:lnTo>
                    <a:pt x="253" y="39"/>
                  </a:lnTo>
                  <a:lnTo>
                    <a:pt x="251" y="39"/>
                  </a:lnTo>
                  <a:lnTo>
                    <a:pt x="249" y="39"/>
                  </a:lnTo>
                  <a:lnTo>
                    <a:pt x="251" y="39"/>
                  </a:lnTo>
                  <a:lnTo>
                    <a:pt x="251" y="37"/>
                  </a:lnTo>
                  <a:lnTo>
                    <a:pt x="253" y="37"/>
                  </a:lnTo>
                  <a:lnTo>
                    <a:pt x="253" y="35"/>
                  </a:lnTo>
                  <a:lnTo>
                    <a:pt x="251" y="35"/>
                  </a:lnTo>
                  <a:lnTo>
                    <a:pt x="253" y="35"/>
                  </a:lnTo>
                  <a:lnTo>
                    <a:pt x="253" y="33"/>
                  </a:lnTo>
                  <a:lnTo>
                    <a:pt x="253" y="35"/>
                  </a:lnTo>
                  <a:lnTo>
                    <a:pt x="253" y="33"/>
                  </a:lnTo>
                  <a:lnTo>
                    <a:pt x="253" y="35"/>
                  </a:lnTo>
                  <a:lnTo>
                    <a:pt x="253" y="33"/>
                  </a:lnTo>
                  <a:lnTo>
                    <a:pt x="251" y="33"/>
                  </a:lnTo>
                  <a:lnTo>
                    <a:pt x="253" y="33"/>
                  </a:lnTo>
                  <a:lnTo>
                    <a:pt x="253" y="31"/>
                  </a:lnTo>
                  <a:lnTo>
                    <a:pt x="255" y="31"/>
                  </a:lnTo>
                  <a:close/>
                  <a:moveTo>
                    <a:pt x="453" y="496"/>
                  </a:moveTo>
                  <a:lnTo>
                    <a:pt x="455" y="496"/>
                  </a:lnTo>
                  <a:lnTo>
                    <a:pt x="455" y="498"/>
                  </a:lnTo>
                  <a:lnTo>
                    <a:pt x="456" y="498"/>
                  </a:lnTo>
                  <a:lnTo>
                    <a:pt x="456" y="500"/>
                  </a:lnTo>
                  <a:lnTo>
                    <a:pt x="456" y="502"/>
                  </a:lnTo>
                  <a:lnTo>
                    <a:pt x="456" y="504"/>
                  </a:lnTo>
                  <a:lnTo>
                    <a:pt x="456" y="505"/>
                  </a:lnTo>
                  <a:lnTo>
                    <a:pt x="455" y="505"/>
                  </a:lnTo>
                  <a:lnTo>
                    <a:pt x="455" y="507"/>
                  </a:lnTo>
                  <a:lnTo>
                    <a:pt x="453" y="507"/>
                  </a:lnTo>
                  <a:lnTo>
                    <a:pt x="453" y="505"/>
                  </a:lnTo>
                  <a:lnTo>
                    <a:pt x="453" y="507"/>
                  </a:lnTo>
                  <a:lnTo>
                    <a:pt x="453" y="505"/>
                  </a:lnTo>
                  <a:lnTo>
                    <a:pt x="453" y="504"/>
                  </a:lnTo>
                  <a:lnTo>
                    <a:pt x="451" y="504"/>
                  </a:lnTo>
                  <a:lnTo>
                    <a:pt x="453" y="504"/>
                  </a:lnTo>
                  <a:lnTo>
                    <a:pt x="451" y="504"/>
                  </a:lnTo>
                  <a:lnTo>
                    <a:pt x="453" y="504"/>
                  </a:lnTo>
                  <a:lnTo>
                    <a:pt x="451" y="504"/>
                  </a:lnTo>
                  <a:lnTo>
                    <a:pt x="453" y="504"/>
                  </a:lnTo>
                  <a:lnTo>
                    <a:pt x="451" y="504"/>
                  </a:lnTo>
                  <a:lnTo>
                    <a:pt x="453" y="504"/>
                  </a:lnTo>
                  <a:lnTo>
                    <a:pt x="451" y="504"/>
                  </a:lnTo>
                  <a:lnTo>
                    <a:pt x="453" y="504"/>
                  </a:lnTo>
                  <a:lnTo>
                    <a:pt x="451" y="504"/>
                  </a:lnTo>
                  <a:lnTo>
                    <a:pt x="453" y="504"/>
                  </a:lnTo>
                  <a:lnTo>
                    <a:pt x="453" y="502"/>
                  </a:lnTo>
                  <a:lnTo>
                    <a:pt x="453" y="500"/>
                  </a:lnTo>
                  <a:lnTo>
                    <a:pt x="453" y="498"/>
                  </a:lnTo>
                  <a:lnTo>
                    <a:pt x="453" y="496"/>
                  </a:lnTo>
                  <a:close/>
                  <a:moveTo>
                    <a:pt x="389" y="108"/>
                  </a:moveTo>
                  <a:lnTo>
                    <a:pt x="391" y="108"/>
                  </a:lnTo>
                  <a:lnTo>
                    <a:pt x="391" y="110"/>
                  </a:lnTo>
                  <a:lnTo>
                    <a:pt x="389" y="110"/>
                  </a:lnTo>
                  <a:lnTo>
                    <a:pt x="387" y="110"/>
                  </a:lnTo>
                  <a:lnTo>
                    <a:pt x="389" y="110"/>
                  </a:lnTo>
                  <a:lnTo>
                    <a:pt x="387" y="110"/>
                  </a:lnTo>
                  <a:lnTo>
                    <a:pt x="387" y="112"/>
                  </a:lnTo>
                  <a:lnTo>
                    <a:pt x="387" y="110"/>
                  </a:lnTo>
                  <a:lnTo>
                    <a:pt x="387" y="112"/>
                  </a:lnTo>
                  <a:lnTo>
                    <a:pt x="385" y="112"/>
                  </a:lnTo>
                  <a:lnTo>
                    <a:pt x="387" y="112"/>
                  </a:lnTo>
                  <a:lnTo>
                    <a:pt x="385" y="112"/>
                  </a:lnTo>
                  <a:lnTo>
                    <a:pt x="385" y="114"/>
                  </a:lnTo>
                  <a:lnTo>
                    <a:pt x="384" y="114"/>
                  </a:lnTo>
                  <a:lnTo>
                    <a:pt x="384" y="112"/>
                  </a:lnTo>
                  <a:lnTo>
                    <a:pt x="384" y="114"/>
                  </a:lnTo>
                  <a:lnTo>
                    <a:pt x="384" y="112"/>
                  </a:lnTo>
                  <a:lnTo>
                    <a:pt x="384" y="110"/>
                  </a:lnTo>
                  <a:lnTo>
                    <a:pt x="385" y="110"/>
                  </a:lnTo>
                  <a:lnTo>
                    <a:pt x="384" y="110"/>
                  </a:lnTo>
                  <a:lnTo>
                    <a:pt x="385" y="110"/>
                  </a:lnTo>
                  <a:lnTo>
                    <a:pt x="385" y="108"/>
                  </a:lnTo>
                  <a:lnTo>
                    <a:pt x="387" y="108"/>
                  </a:lnTo>
                  <a:lnTo>
                    <a:pt x="389" y="108"/>
                  </a:lnTo>
                  <a:close/>
                  <a:moveTo>
                    <a:pt x="512" y="559"/>
                  </a:moveTo>
                  <a:lnTo>
                    <a:pt x="512" y="561"/>
                  </a:lnTo>
                  <a:lnTo>
                    <a:pt x="512" y="563"/>
                  </a:lnTo>
                  <a:lnTo>
                    <a:pt x="512" y="565"/>
                  </a:lnTo>
                  <a:lnTo>
                    <a:pt x="512" y="567"/>
                  </a:lnTo>
                  <a:lnTo>
                    <a:pt x="510" y="567"/>
                  </a:lnTo>
                  <a:lnTo>
                    <a:pt x="510" y="565"/>
                  </a:lnTo>
                  <a:lnTo>
                    <a:pt x="510" y="567"/>
                  </a:lnTo>
                  <a:lnTo>
                    <a:pt x="508" y="567"/>
                  </a:lnTo>
                  <a:lnTo>
                    <a:pt x="508" y="565"/>
                  </a:lnTo>
                  <a:lnTo>
                    <a:pt x="506" y="565"/>
                  </a:lnTo>
                  <a:lnTo>
                    <a:pt x="506" y="563"/>
                  </a:lnTo>
                  <a:lnTo>
                    <a:pt x="508" y="563"/>
                  </a:lnTo>
                  <a:lnTo>
                    <a:pt x="508" y="561"/>
                  </a:lnTo>
                  <a:lnTo>
                    <a:pt x="508" y="563"/>
                  </a:lnTo>
                  <a:lnTo>
                    <a:pt x="508" y="561"/>
                  </a:lnTo>
                  <a:lnTo>
                    <a:pt x="508" y="563"/>
                  </a:lnTo>
                  <a:lnTo>
                    <a:pt x="510" y="563"/>
                  </a:lnTo>
                  <a:lnTo>
                    <a:pt x="508" y="563"/>
                  </a:lnTo>
                  <a:lnTo>
                    <a:pt x="510" y="563"/>
                  </a:lnTo>
                  <a:lnTo>
                    <a:pt x="510" y="565"/>
                  </a:lnTo>
                  <a:lnTo>
                    <a:pt x="510" y="563"/>
                  </a:lnTo>
                  <a:lnTo>
                    <a:pt x="510" y="565"/>
                  </a:lnTo>
                  <a:lnTo>
                    <a:pt x="510" y="563"/>
                  </a:lnTo>
                  <a:lnTo>
                    <a:pt x="510" y="565"/>
                  </a:lnTo>
                  <a:lnTo>
                    <a:pt x="510" y="563"/>
                  </a:lnTo>
                  <a:lnTo>
                    <a:pt x="510" y="565"/>
                  </a:lnTo>
                  <a:lnTo>
                    <a:pt x="510" y="563"/>
                  </a:lnTo>
                  <a:lnTo>
                    <a:pt x="510" y="565"/>
                  </a:lnTo>
                  <a:lnTo>
                    <a:pt x="510" y="563"/>
                  </a:lnTo>
                  <a:lnTo>
                    <a:pt x="512" y="563"/>
                  </a:lnTo>
                  <a:lnTo>
                    <a:pt x="510" y="563"/>
                  </a:lnTo>
                  <a:lnTo>
                    <a:pt x="510" y="561"/>
                  </a:lnTo>
                  <a:lnTo>
                    <a:pt x="512" y="561"/>
                  </a:lnTo>
                  <a:lnTo>
                    <a:pt x="510" y="561"/>
                  </a:lnTo>
                  <a:lnTo>
                    <a:pt x="512" y="561"/>
                  </a:lnTo>
                  <a:lnTo>
                    <a:pt x="510" y="561"/>
                  </a:lnTo>
                  <a:lnTo>
                    <a:pt x="510" y="559"/>
                  </a:lnTo>
                  <a:lnTo>
                    <a:pt x="512" y="559"/>
                  </a:lnTo>
                  <a:close/>
                  <a:moveTo>
                    <a:pt x="0" y="250"/>
                  </a:moveTo>
                  <a:lnTo>
                    <a:pt x="2" y="250"/>
                  </a:lnTo>
                  <a:lnTo>
                    <a:pt x="2" y="252"/>
                  </a:lnTo>
                  <a:lnTo>
                    <a:pt x="2" y="254"/>
                  </a:lnTo>
                  <a:lnTo>
                    <a:pt x="2" y="256"/>
                  </a:lnTo>
                  <a:lnTo>
                    <a:pt x="2" y="258"/>
                  </a:lnTo>
                  <a:lnTo>
                    <a:pt x="4" y="258"/>
                  </a:lnTo>
                  <a:lnTo>
                    <a:pt x="2" y="258"/>
                  </a:lnTo>
                  <a:lnTo>
                    <a:pt x="4" y="258"/>
                  </a:lnTo>
                  <a:lnTo>
                    <a:pt x="4" y="260"/>
                  </a:lnTo>
                  <a:lnTo>
                    <a:pt x="4" y="261"/>
                  </a:lnTo>
                  <a:lnTo>
                    <a:pt x="4" y="260"/>
                  </a:lnTo>
                  <a:lnTo>
                    <a:pt x="2" y="260"/>
                  </a:lnTo>
                  <a:lnTo>
                    <a:pt x="2" y="258"/>
                  </a:lnTo>
                  <a:lnTo>
                    <a:pt x="2" y="256"/>
                  </a:lnTo>
                  <a:lnTo>
                    <a:pt x="0" y="256"/>
                  </a:lnTo>
                  <a:lnTo>
                    <a:pt x="0" y="254"/>
                  </a:lnTo>
                  <a:lnTo>
                    <a:pt x="0" y="252"/>
                  </a:lnTo>
                  <a:lnTo>
                    <a:pt x="0" y="250"/>
                  </a:lnTo>
                  <a:close/>
                  <a:moveTo>
                    <a:pt x="558" y="217"/>
                  </a:moveTo>
                  <a:lnTo>
                    <a:pt x="558" y="219"/>
                  </a:lnTo>
                  <a:lnTo>
                    <a:pt x="558" y="217"/>
                  </a:lnTo>
                  <a:lnTo>
                    <a:pt x="558" y="219"/>
                  </a:lnTo>
                  <a:lnTo>
                    <a:pt x="558" y="217"/>
                  </a:lnTo>
                  <a:lnTo>
                    <a:pt x="558" y="219"/>
                  </a:lnTo>
                  <a:lnTo>
                    <a:pt x="560" y="219"/>
                  </a:lnTo>
                  <a:lnTo>
                    <a:pt x="560" y="221"/>
                  </a:lnTo>
                  <a:lnTo>
                    <a:pt x="560" y="219"/>
                  </a:lnTo>
                  <a:lnTo>
                    <a:pt x="560" y="221"/>
                  </a:lnTo>
                  <a:lnTo>
                    <a:pt x="560" y="223"/>
                  </a:lnTo>
                  <a:lnTo>
                    <a:pt x="562" y="223"/>
                  </a:lnTo>
                  <a:lnTo>
                    <a:pt x="560" y="223"/>
                  </a:lnTo>
                  <a:lnTo>
                    <a:pt x="562" y="223"/>
                  </a:lnTo>
                  <a:lnTo>
                    <a:pt x="560" y="223"/>
                  </a:lnTo>
                  <a:lnTo>
                    <a:pt x="558" y="223"/>
                  </a:lnTo>
                  <a:lnTo>
                    <a:pt x="560" y="223"/>
                  </a:lnTo>
                  <a:lnTo>
                    <a:pt x="558" y="223"/>
                  </a:lnTo>
                  <a:lnTo>
                    <a:pt x="558" y="221"/>
                  </a:lnTo>
                  <a:lnTo>
                    <a:pt x="556" y="221"/>
                  </a:lnTo>
                  <a:lnTo>
                    <a:pt x="556" y="219"/>
                  </a:lnTo>
                  <a:lnTo>
                    <a:pt x="556" y="217"/>
                  </a:lnTo>
                  <a:lnTo>
                    <a:pt x="558" y="217"/>
                  </a:lnTo>
                  <a:close/>
                  <a:moveTo>
                    <a:pt x="518" y="509"/>
                  </a:moveTo>
                  <a:lnTo>
                    <a:pt x="518" y="511"/>
                  </a:lnTo>
                  <a:lnTo>
                    <a:pt x="520" y="511"/>
                  </a:lnTo>
                  <a:lnTo>
                    <a:pt x="520" y="513"/>
                  </a:lnTo>
                  <a:lnTo>
                    <a:pt x="518" y="513"/>
                  </a:lnTo>
                  <a:lnTo>
                    <a:pt x="516" y="513"/>
                  </a:lnTo>
                  <a:lnTo>
                    <a:pt x="514" y="513"/>
                  </a:lnTo>
                  <a:lnTo>
                    <a:pt x="512" y="513"/>
                  </a:lnTo>
                  <a:lnTo>
                    <a:pt x="514" y="513"/>
                  </a:lnTo>
                  <a:lnTo>
                    <a:pt x="512" y="513"/>
                  </a:lnTo>
                  <a:lnTo>
                    <a:pt x="512" y="511"/>
                  </a:lnTo>
                  <a:lnTo>
                    <a:pt x="514" y="511"/>
                  </a:lnTo>
                  <a:lnTo>
                    <a:pt x="516" y="511"/>
                  </a:lnTo>
                  <a:lnTo>
                    <a:pt x="518" y="511"/>
                  </a:lnTo>
                  <a:lnTo>
                    <a:pt x="518" y="509"/>
                  </a:lnTo>
                  <a:close/>
                  <a:moveTo>
                    <a:pt x="503" y="565"/>
                  </a:moveTo>
                  <a:lnTo>
                    <a:pt x="504" y="565"/>
                  </a:lnTo>
                  <a:lnTo>
                    <a:pt x="503" y="565"/>
                  </a:lnTo>
                  <a:lnTo>
                    <a:pt x="504" y="565"/>
                  </a:lnTo>
                  <a:lnTo>
                    <a:pt x="504" y="567"/>
                  </a:lnTo>
                  <a:lnTo>
                    <a:pt x="504" y="569"/>
                  </a:lnTo>
                  <a:lnTo>
                    <a:pt x="504" y="567"/>
                  </a:lnTo>
                  <a:lnTo>
                    <a:pt x="504" y="569"/>
                  </a:lnTo>
                  <a:lnTo>
                    <a:pt x="504" y="567"/>
                  </a:lnTo>
                  <a:lnTo>
                    <a:pt x="504" y="569"/>
                  </a:lnTo>
                  <a:lnTo>
                    <a:pt x="503" y="569"/>
                  </a:lnTo>
                  <a:lnTo>
                    <a:pt x="503" y="571"/>
                  </a:lnTo>
                  <a:lnTo>
                    <a:pt x="504" y="571"/>
                  </a:lnTo>
                  <a:lnTo>
                    <a:pt x="503" y="571"/>
                  </a:lnTo>
                  <a:lnTo>
                    <a:pt x="504" y="571"/>
                  </a:lnTo>
                  <a:lnTo>
                    <a:pt x="503" y="571"/>
                  </a:lnTo>
                  <a:lnTo>
                    <a:pt x="503" y="573"/>
                  </a:lnTo>
                  <a:lnTo>
                    <a:pt x="501" y="573"/>
                  </a:lnTo>
                  <a:lnTo>
                    <a:pt x="503" y="573"/>
                  </a:lnTo>
                  <a:lnTo>
                    <a:pt x="501" y="573"/>
                  </a:lnTo>
                  <a:lnTo>
                    <a:pt x="503" y="573"/>
                  </a:lnTo>
                  <a:lnTo>
                    <a:pt x="501" y="573"/>
                  </a:lnTo>
                  <a:lnTo>
                    <a:pt x="503" y="573"/>
                  </a:lnTo>
                  <a:lnTo>
                    <a:pt x="501" y="573"/>
                  </a:lnTo>
                  <a:lnTo>
                    <a:pt x="503" y="573"/>
                  </a:lnTo>
                  <a:lnTo>
                    <a:pt x="501" y="573"/>
                  </a:lnTo>
                  <a:lnTo>
                    <a:pt x="503" y="573"/>
                  </a:lnTo>
                  <a:lnTo>
                    <a:pt x="501" y="573"/>
                  </a:lnTo>
                  <a:lnTo>
                    <a:pt x="503" y="573"/>
                  </a:lnTo>
                  <a:lnTo>
                    <a:pt x="501" y="573"/>
                  </a:lnTo>
                  <a:lnTo>
                    <a:pt x="501" y="571"/>
                  </a:lnTo>
                  <a:lnTo>
                    <a:pt x="501" y="573"/>
                  </a:lnTo>
                  <a:lnTo>
                    <a:pt x="501" y="571"/>
                  </a:lnTo>
                  <a:lnTo>
                    <a:pt x="501" y="573"/>
                  </a:lnTo>
                  <a:lnTo>
                    <a:pt x="501" y="571"/>
                  </a:lnTo>
                  <a:lnTo>
                    <a:pt x="501" y="573"/>
                  </a:lnTo>
                  <a:lnTo>
                    <a:pt x="499" y="573"/>
                  </a:lnTo>
                  <a:lnTo>
                    <a:pt x="501" y="573"/>
                  </a:lnTo>
                  <a:lnTo>
                    <a:pt x="499" y="573"/>
                  </a:lnTo>
                  <a:lnTo>
                    <a:pt x="501" y="573"/>
                  </a:lnTo>
                  <a:lnTo>
                    <a:pt x="499" y="573"/>
                  </a:lnTo>
                  <a:lnTo>
                    <a:pt x="499" y="571"/>
                  </a:lnTo>
                  <a:lnTo>
                    <a:pt x="501" y="571"/>
                  </a:lnTo>
                  <a:lnTo>
                    <a:pt x="501" y="573"/>
                  </a:lnTo>
                  <a:lnTo>
                    <a:pt x="501" y="571"/>
                  </a:lnTo>
                  <a:lnTo>
                    <a:pt x="501" y="569"/>
                  </a:lnTo>
                  <a:lnTo>
                    <a:pt x="503" y="569"/>
                  </a:lnTo>
                  <a:lnTo>
                    <a:pt x="503" y="567"/>
                  </a:lnTo>
                  <a:lnTo>
                    <a:pt x="503" y="569"/>
                  </a:lnTo>
                  <a:lnTo>
                    <a:pt x="503" y="567"/>
                  </a:lnTo>
                  <a:lnTo>
                    <a:pt x="504" y="567"/>
                  </a:lnTo>
                  <a:lnTo>
                    <a:pt x="503" y="567"/>
                  </a:lnTo>
                  <a:lnTo>
                    <a:pt x="504" y="567"/>
                  </a:lnTo>
                  <a:lnTo>
                    <a:pt x="503" y="567"/>
                  </a:lnTo>
                  <a:lnTo>
                    <a:pt x="503" y="565"/>
                  </a:lnTo>
                  <a:lnTo>
                    <a:pt x="503" y="567"/>
                  </a:lnTo>
                  <a:lnTo>
                    <a:pt x="503" y="565"/>
                  </a:lnTo>
                  <a:close/>
                  <a:moveTo>
                    <a:pt x="487" y="135"/>
                  </a:moveTo>
                  <a:lnTo>
                    <a:pt x="487" y="137"/>
                  </a:lnTo>
                  <a:lnTo>
                    <a:pt x="487" y="139"/>
                  </a:lnTo>
                  <a:lnTo>
                    <a:pt x="489" y="139"/>
                  </a:lnTo>
                  <a:lnTo>
                    <a:pt x="487" y="139"/>
                  </a:lnTo>
                  <a:lnTo>
                    <a:pt x="489" y="139"/>
                  </a:lnTo>
                  <a:lnTo>
                    <a:pt x="487" y="139"/>
                  </a:lnTo>
                  <a:lnTo>
                    <a:pt x="487" y="140"/>
                  </a:lnTo>
                  <a:lnTo>
                    <a:pt x="489" y="140"/>
                  </a:lnTo>
                  <a:lnTo>
                    <a:pt x="487" y="140"/>
                  </a:lnTo>
                  <a:lnTo>
                    <a:pt x="487" y="139"/>
                  </a:lnTo>
                  <a:lnTo>
                    <a:pt x="485" y="139"/>
                  </a:lnTo>
                  <a:lnTo>
                    <a:pt x="485" y="137"/>
                  </a:lnTo>
                  <a:lnTo>
                    <a:pt x="487" y="137"/>
                  </a:lnTo>
                  <a:lnTo>
                    <a:pt x="487" y="135"/>
                  </a:lnTo>
                  <a:close/>
                  <a:moveTo>
                    <a:pt x="288" y="25"/>
                  </a:moveTo>
                  <a:lnTo>
                    <a:pt x="288" y="27"/>
                  </a:lnTo>
                  <a:lnTo>
                    <a:pt x="288" y="25"/>
                  </a:lnTo>
                  <a:lnTo>
                    <a:pt x="288" y="27"/>
                  </a:lnTo>
                  <a:lnTo>
                    <a:pt x="288" y="29"/>
                  </a:lnTo>
                  <a:lnTo>
                    <a:pt x="288" y="31"/>
                  </a:lnTo>
                  <a:lnTo>
                    <a:pt x="286" y="31"/>
                  </a:lnTo>
                  <a:lnTo>
                    <a:pt x="288" y="31"/>
                  </a:lnTo>
                  <a:lnTo>
                    <a:pt x="286" y="31"/>
                  </a:lnTo>
                  <a:lnTo>
                    <a:pt x="286" y="29"/>
                  </a:lnTo>
                  <a:lnTo>
                    <a:pt x="286" y="27"/>
                  </a:lnTo>
                  <a:lnTo>
                    <a:pt x="288" y="27"/>
                  </a:lnTo>
                  <a:lnTo>
                    <a:pt x="288" y="25"/>
                  </a:lnTo>
                  <a:close/>
                  <a:moveTo>
                    <a:pt x="593" y="283"/>
                  </a:moveTo>
                  <a:lnTo>
                    <a:pt x="595" y="283"/>
                  </a:lnTo>
                  <a:lnTo>
                    <a:pt x="593" y="283"/>
                  </a:lnTo>
                  <a:lnTo>
                    <a:pt x="593" y="285"/>
                  </a:lnTo>
                  <a:lnTo>
                    <a:pt x="593" y="286"/>
                  </a:lnTo>
                  <a:lnTo>
                    <a:pt x="593" y="288"/>
                  </a:lnTo>
                  <a:lnTo>
                    <a:pt x="593" y="286"/>
                  </a:lnTo>
                  <a:lnTo>
                    <a:pt x="591" y="286"/>
                  </a:lnTo>
                  <a:lnTo>
                    <a:pt x="593" y="286"/>
                  </a:lnTo>
                  <a:lnTo>
                    <a:pt x="593" y="285"/>
                  </a:lnTo>
                  <a:lnTo>
                    <a:pt x="591" y="285"/>
                  </a:lnTo>
                  <a:lnTo>
                    <a:pt x="593" y="285"/>
                  </a:lnTo>
                  <a:lnTo>
                    <a:pt x="591" y="285"/>
                  </a:lnTo>
                  <a:lnTo>
                    <a:pt x="593" y="285"/>
                  </a:lnTo>
                  <a:lnTo>
                    <a:pt x="591" y="285"/>
                  </a:lnTo>
                  <a:lnTo>
                    <a:pt x="593" y="285"/>
                  </a:lnTo>
                  <a:lnTo>
                    <a:pt x="591" y="285"/>
                  </a:lnTo>
                  <a:lnTo>
                    <a:pt x="593" y="285"/>
                  </a:lnTo>
                  <a:lnTo>
                    <a:pt x="591" y="285"/>
                  </a:lnTo>
                  <a:lnTo>
                    <a:pt x="591" y="283"/>
                  </a:lnTo>
                  <a:lnTo>
                    <a:pt x="593" y="283"/>
                  </a:lnTo>
                  <a:lnTo>
                    <a:pt x="593" y="281"/>
                  </a:lnTo>
                  <a:lnTo>
                    <a:pt x="593" y="283"/>
                  </a:lnTo>
                  <a:close/>
                  <a:moveTo>
                    <a:pt x="336" y="39"/>
                  </a:moveTo>
                  <a:lnTo>
                    <a:pt x="336" y="41"/>
                  </a:lnTo>
                  <a:lnTo>
                    <a:pt x="334" y="41"/>
                  </a:lnTo>
                  <a:lnTo>
                    <a:pt x="332" y="41"/>
                  </a:lnTo>
                  <a:lnTo>
                    <a:pt x="332" y="43"/>
                  </a:lnTo>
                  <a:lnTo>
                    <a:pt x="330" y="43"/>
                  </a:lnTo>
                  <a:lnTo>
                    <a:pt x="330" y="41"/>
                  </a:lnTo>
                  <a:lnTo>
                    <a:pt x="332" y="41"/>
                  </a:lnTo>
                  <a:lnTo>
                    <a:pt x="334" y="41"/>
                  </a:lnTo>
                  <a:lnTo>
                    <a:pt x="334" y="39"/>
                  </a:lnTo>
                  <a:lnTo>
                    <a:pt x="336" y="39"/>
                  </a:lnTo>
                  <a:lnTo>
                    <a:pt x="334" y="39"/>
                  </a:lnTo>
                  <a:lnTo>
                    <a:pt x="336" y="39"/>
                  </a:lnTo>
                  <a:close/>
                  <a:moveTo>
                    <a:pt x="330" y="43"/>
                  </a:moveTo>
                  <a:lnTo>
                    <a:pt x="332" y="43"/>
                  </a:lnTo>
                  <a:lnTo>
                    <a:pt x="330" y="43"/>
                  </a:lnTo>
                  <a:lnTo>
                    <a:pt x="330" y="44"/>
                  </a:lnTo>
                  <a:lnTo>
                    <a:pt x="328" y="44"/>
                  </a:lnTo>
                  <a:lnTo>
                    <a:pt x="326" y="44"/>
                  </a:lnTo>
                  <a:lnTo>
                    <a:pt x="328" y="44"/>
                  </a:lnTo>
                  <a:lnTo>
                    <a:pt x="326" y="44"/>
                  </a:lnTo>
                  <a:lnTo>
                    <a:pt x="326" y="43"/>
                  </a:lnTo>
                  <a:lnTo>
                    <a:pt x="328" y="43"/>
                  </a:lnTo>
                  <a:lnTo>
                    <a:pt x="330" y="43"/>
                  </a:lnTo>
                  <a:close/>
                  <a:moveTo>
                    <a:pt x="351" y="96"/>
                  </a:moveTo>
                  <a:lnTo>
                    <a:pt x="353" y="96"/>
                  </a:lnTo>
                  <a:lnTo>
                    <a:pt x="353" y="98"/>
                  </a:lnTo>
                  <a:lnTo>
                    <a:pt x="353" y="100"/>
                  </a:lnTo>
                  <a:lnTo>
                    <a:pt x="353" y="98"/>
                  </a:lnTo>
                  <a:lnTo>
                    <a:pt x="351" y="98"/>
                  </a:lnTo>
                  <a:lnTo>
                    <a:pt x="351" y="96"/>
                  </a:lnTo>
                  <a:close/>
                  <a:moveTo>
                    <a:pt x="34" y="173"/>
                  </a:moveTo>
                  <a:lnTo>
                    <a:pt x="36" y="173"/>
                  </a:lnTo>
                  <a:lnTo>
                    <a:pt x="36" y="177"/>
                  </a:lnTo>
                  <a:lnTo>
                    <a:pt x="34" y="177"/>
                  </a:lnTo>
                  <a:lnTo>
                    <a:pt x="34" y="173"/>
                  </a:lnTo>
                  <a:close/>
                  <a:moveTo>
                    <a:pt x="339" y="66"/>
                  </a:moveTo>
                  <a:lnTo>
                    <a:pt x="341" y="66"/>
                  </a:lnTo>
                  <a:lnTo>
                    <a:pt x="341" y="69"/>
                  </a:lnTo>
                  <a:lnTo>
                    <a:pt x="339" y="69"/>
                  </a:lnTo>
                  <a:lnTo>
                    <a:pt x="339" y="66"/>
                  </a:lnTo>
                  <a:close/>
                  <a:moveTo>
                    <a:pt x="472" y="473"/>
                  </a:moveTo>
                  <a:lnTo>
                    <a:pt x="476" y="473"/>
                  </a:lnTo>
                  <a:lnTo>
                    <a:pt x="476" y="475"/>
                  </a:lnTo>
                  <a:lnTo>
                    <a:pt x="472" y="475"/>
                  </a:lnTo>
                  <a:lnTo>
                    <a:pt x="472" y="473"/>
                  </a:lnTo>
                  <a:close/>
                  <a:moveTo>
                    <a:pt x="349" y="27"/>
                  </a:moveTo>
                  <a:lnTo>
                    <a:pt x="347" y="27"/>
                  </a:lnTo>
                  <a:lnTo>
                    <a:pt x="349" y="27"/>
                  </a:lnTo>
                  <a:lnTo>
                    <a:pt x="347" y="27"/>
                  </a:lnTo>
                  <a:lnTo>
                    <a:pt x="347" y="29"/>
                  </a:lnTo>
                  <a:lnTo>
                    <a:pt x="347" y="31"/>
                  </a:lnTo>
                  <a:lnTo>
                    <a:pt x="345" y="31"/>
                  </a:lnTo>
                  <a:lnTo>
                    <a:pt x="345" y="33"/>
                  </a:lnTo>
                  <a:lnTo>
                    <a:pt x="343" y="33"/>
                  </a:lnTo>
                  <a:lnTo>
                    <a:pt x="345" y="33"/>
                  </a:lnTo>
                  <a:lnTo>
                    <a:pt x="345" y="31"/>
                  </a:lnTo>
                  <a:lnTo>
                    <a:pt x="347" y="31"/>
                  </a:lnTo>
                  <a:lnTo>
                    <a:pt x="347" y="29"/>
                  </a:lnTo>
                  <a:lnTo>
                    <a:pt x="347" y="27"/>
                  </a:lnTo>
                  <a:lnTo>
                    <a:pt x="347" y="29"/>
                  </a:lnTo>
                  <a:lnTo>
                    <a:pt x="347" y="27"/>
                  </a:lnTo>
                  <a:lnTo>
                    <a:pt x="349" y="27"/>
                  </a:lnTo>
                  <a:close/>
                  <a:moveTo>
                    <a:pt x="426" y="21"/>
                  </a:moveTo>
                  <a:lnTo>
                    <a:pt x="430" y="21"/>
                  </a:lnTo>
                  <a:lnTo>
                    <a:pt x="430" y="23"/>
                  </a:lnTo>
                  <a:lnTo>
                    <a:pt x="426" y="23"/>
                  </a:lnTo>
                  <a:lnTo>
                    <a:pt x="426" y="21"/>
                  </a:lnTo>
                  <a:close/>
                  <a:moveTo>
                    <a:pt x="169" y="91"/>
                  </a:moveTo>
                  <a:lnTo>
                    <a:pt x="170" y="91"/>
                  </a:lnTo>
                  <a:lnTo>
                    <a:pt x="170" y="92"/>
                  </a:lnTo>
                  <a:lnTo>
                    <a:pt x="169" y="92"/>
                  </a:lnTo>
                  <a:lnTo>
                    <a:pt x="169" y="91"/>
                  </a:lnTo>
                  <a:close/>
                  <a:moveTo>
                    <a:pt x="593" y="275"/>
                  </a:moveTo>
                  <a:lnTo>
                    <a:pt x="593" y="277"/>
                  </a:lnTo>
                  <a:lnTo>
                    <a:pt x="593" y="279"/>
                  </a:lnTo>
                  <a:lnTo>
                    <a:pt x="593" y="281"/>
                  </a:lnTo>
                  <a:lnTo>
                    <a:pt x="591" y="281"/>
                  </a:lnTo>
                  <a:lnTo>
                    <a:pt x="591" y="279"/>
                  </a:lnTo>
                  <a:lnTo>
                    <a:pt x="591" y="277"/>
                  </a:lnTo>
                  <a:lnTo>
                    <a:pt x="591" y="275"/>
                  </a:lnTo>
                  <a:lnTo>
                    <a:pt x="591" y="277"/>
                  </a:lnTo>
                  <a:lnTo>
                    <a:pt x="591" y="275"/>
                  </a:lnTo>
                  <a:lnTo>
                    <a:pt x="591" y="277"/>
                  </a:lnTo>
                  <a:lnTo>
                    <a:pt x="591" y="275"/>
                  </a:lnTo>
                  <a:lnTo>
                    <a:pt x="591" y="277"/>
                  </a:lnTo>
                  <a:lnTo>
                    <a:pt x="591" y="275"/>
                  </a:lnTo>
                  <a:lnTo>
                    <a:pt x="593" y="275"/>
                  </a:lnTo>
                  <a:lnTo>
                    <a:pt x="591" y="275"/>
                  </a:lnTo>
                  <a:lnTo>
                    <a:pt x="593" y="275"/>
                  </a:lnTo>
                  <a:close/>
                  <a:moveTo>
                    <a:pt x="178" y="79"/>
                  </a:moveTo>
                  <a:lnTo>
                    <a:pt x="180" y="79"/>
                  </a:lnTo>
                  <a:lnTo>
                    <a:pt x="180" y="81"/>
                  </a:lnTo>
                  <a:lnTo>
                    <a:pt x="178" y="81"/>
                  </a:lnTo>
                  <a:lnTo>
                    <a:pt x="178" y="79"/>
                  </a:lnTo>
                  <a:close/>
                  <a:moveTo>
                    <a:pt x="428" y="14"/>
                  </a:moveTo>
                  <a:lnTo>
                    <a:pt x="430" y="14"/>
                  </a:lnTo>
                  <a:lnTo>
                    <a:pt x="430" y="16"/>
                  </a:lnTo>
                  <a:lnTo>
                    <a:pt x="428" y="16"/>
                  </a:lnTo>
                  <a:lnTo>
                    <a:pt x="428" y="14"/>
                  </a:lnTo>
                  <a:close/>
                  <a:moveTo>
                    <a:pt x="587" y="273"/>
                  </a:moveTo>
                  <a:lnTo>
                    <a:pt x="587" y="275"/>
                  </a:lnTo>
                  <a:lnTo>
                    <a:pt x="589" y="275"/>
                  </a:lnTo>
                  <a:lnTo>
                    <a:pt x="589" y="277"/>
                  </a:lnTo>
                  <a:lnTo>
                    <a:pt x="587" y="277"/>
                  </a:lnTo>
                  <a:lnTo>
                    <a:pt x="589" y="277"/>
                  </a:lnTo>
                  <a:lnTo>
                    <a:pt x="587" y="277"/>
                  </a:lnTo>
                  <a:lnTo>
                    <a:pt x="589" y="277"/>
                  </a:lnTo>
                  <a:lnTo>
                    <a:pt x="587" y="277"/>
                  </a:lnTo>
                  <a:lnTo>
                    <a:pt x="587" y="275"/>
                  </a:lnTo>
                  <a:lnTo>
                    <a:pt x="587" y="277"/>
                  </a:lnTo>
                  <a:lnTo>
                    <a:pt x="587" y="275"/>
                  </a:lnTo>
                  <a:lnTo>
                    <a:pt x="587" y="273"/>
                  </a:lnTo>
                  <a:close/>
                  <a:moveTo>
                    <a:pt x="387" y="117"/>
                  </a:moveTo>
                  <a:lnTo>
                    <a:pt x="389" y="117"/>
                  </a:lnTo>
                  <a:lnTo>
                    <a:pt x="389" y="119"/>
                  </a:lnTo>
                  <a:lnTo>
                    <a:pt x="387" y="119"/>
                  </a:lnTo>
                  <a:lnTo>
                    <a:pt x="387" y="117"/>
                  </a:lnTo>
                  <a:close/>
                  <a:moveTo>
                    <a:pt x="512" y="553"/>
                  </a:moveTo>
                  <a:lnTo>
                    <a:pt x="516" y="553"/>
                  </a:lnTo>
                  <a:lnTo>
                    <a:pt x="516" y="557"/>
                  </a:lnTo>
                  <a:lnTo>
                    <a:pt x="512" y="557"/>
                  </a:lnTo>
                  <a:lnTo>
                    <a:pt x="512" y="553"/>
                  </a:lnTo>
                  <a:close/>
                  <a:moveTo>
                    <a:pt x="345" y="94"/>
                  </a:moveTo>
                  <a:lnTo>
                    <a:pt x="347" y="94"/>
                  </a:lnTo>
                  <a:lnTo>
                    <a:pt x="347" y="96"/>
                  </a:lnTo>
                  <a:lnTo>
                    <a:pt x="345" y="96"/>
                  </a:lnTo>
                  <a:lnTo>
                    <a:pt x="345" y="94"/>
                  </a:lnTo>
                  <a:close/>
                  <a:moveTo>
                    <a:pt x="470" y="475"/>
                  </a:moveTo>
                  <a:lnTo>
                    <a:pt x="474" y="475"/>
                  </a:lnTo>
                  <a:lnTo>
                    <a:pt x="474" y="477"/>
                  </a:lnTo>
                  <a:lnTo>
                    <a:pt x="470" y="477"/>
                  </a:lnTo>
                  <a:lnTo>
                    <a:pt x="470" y="475"/>
                  </a:lnTo>
                  <a:close/>
                  <a:moveTo>
                    <a:pt x="466" y="517"/>
                  </a:moveTo>
                  <a:lnTo>
                    <a:pt x="470" y="517"/>
                  </a:lnTo>
                  <a:lnTo>
                    <a:pt x="470" y="519"/>
                  </a:lnTo>
                  <a:lnTo>
                    <a:pt x="466" y="519"/>
                  </a:lnTo>
                  <a:lnTo>
                    <a:pt x="466" y="517"/>
                  </a:lnTo>
                  <a:close/>
                  <a:moveTo>
                    <a:pt x="526" y="165"/>
                  </a:moveTo>
                  <a:lnTo>
                    <a:pt x="527" y="165"/>
                  </a:lnTo>
                  <a:lnTo>
                    <a:pt x="527" y="169"/>
                  </a:lnTo>
                  <a:lnTo>
                    <a:pt x="526" y="169"/>
                  </a:lnTo>
                  <a:lnTo>
                    <a:pt x="526" y="165"/>
                  </a:lnTo>
                  <a:close/>
                  <a:moveTo>
                    <a:pt x="514" y="513"/>
                  </a:moveTo>
                  <a:lnTo>
                    <a:pt x="516" y="513"/>
                  </a:lnTo>
                  <a:lnTo>
                    <a:pt x="516" y="515"/>
                  </a:lnTo>
                  <a:lnTo>
                    <a:pt x="514" y="515"/>
                  </a:lnTo>
                  <a:lnTo>
                    <a:pt x="514" y="513"/>
                  </a:lnTo>
                  <a:close/>
                  <a:moveTo>
                    <a:pt x="433" y="2"/>
                  </a:moveTo>
                  <a:lnTo>
                    <a:pt x="437" y="2"/>
                  </a:lnTo>
                  <a:lnTo>
                    <a:pt x="433" y="2"/>
                  </a:lnTo>
                  <a:close/>
                  <a:moveTo>
                    <a:pt x="426" y="12"/>
                  </a:moveTo>
                  <a:lnTo>
                    <a:pt x="428" y="12"/>
                  </a:lnTo>
                  <a:lnTo>
                    <a:pt x="428" y="14"/>
                  </a:lnTo>
                  <a:lnTo>
                    <a:pt x="426" y="14"/>
                  </a:lnTo>
                  <a:lnTo>
                    <a:pt x="426" y="12"/>
                  </a:lnTo>
                  <a:close/>
                  <a:moveTo>
                    <a:pt x="339" y="35"/>
                  </a:moveTo>
                  <a:lnTo>
                    <a:pt x="343" y="35"/>
                  </a:lnTo>
                  <a:lnTo>
                    <a:pt x="343" y="37"/>
                  </a:lnTo>
                  <a:lnTo>
                    <a:pt x="339" y="37"/>
                  </a:lnTo>
                  <a:lnTo>
                    <a:pt x="339" y="35"/>
                  </a:lnTo>
                  <a:close/>
                  <a:moveTo>
                    <a:pt x="345" y="96"/>
                  </a:moveTo>
                  <a:lnTo>
                    <a:pt x="347" y="96"/>
                  </a:lnTo>
                  <a:lnTo>
                    <a:pt x="347" y="98"/>
                  </a:lnTo>
                  <a:lnTo>
                    <a:pt x="345" y="98"/>
                  </a:lnTo>
                  <a:lnTo>
                    <a:pt x="345" y="96"/>
                  </a:lnTo>
                  <a:close/>
                  <a:moveTo>
                    <a:pt x="539" y="196"/>
                  </a:moveTo>
                  <a:lnTo>
                    <a:pt x="541" y="196"/>
                  </a:lnTo>
                  <a:lnTo>
                    <a:pt x="541" y="198"/>
                  </a:lnTo>
                  <a:lnTo>
                    <a:pt x="539" y="198"/>
                  </a:lnTo>
                  <a:lnTo>
                    <a:pt x="539" y="196"/>
                  </a:lnTo>
                  <a:close/>
                  <a:moveTo>
                    <a:pt x="464" y="511"/>
                  </a:moveTo>
                  <a:lnTo>
                    <a:pt x="466" y="511"/>
                  </a:lnTo>
                  <a:lnTo>
                    <a:pt x="466" y="515"/>
                  </a:lnTo>
                  <a:lnTo>
                    <a:pt x="464" y="515"/>
                  </a:lnTo>
                  <a:lnTo>
                    <a:pt x="464" y="511"/>
                  </a:lnTo>
                  <a:close/>
                  <a:moveTo>
                    <a:pt x="466" y="511"/>
                  </a:moveTo>
                  <a:lnTo>
                    <a:pt x="468" y="511"/>
                  </a:lnTo>
                  <a:lnTo>
                    <a:pt x="468" y="513"/>
                  </a:lnTo>
                  <a:lnTo>
                    <a:pt x="466" y="513"/>
                  </a:lnTo>
                  <a:lnTo>
                    <a:pt x="466" y="511"/>
                  </a:lnTo>
                  <a:close/>
                  <a:moveTo>
                    <a:pt x="347" y="96"/>
                  </a:moveTo>
                  <a:lnTo>
                    <a:pt x="349" y="96"/>
                  </a:lnTo>
                  <a:lnTo>
                    <a:pt x="349" y="98"/>
                  </a:lnTo>
                  <a:lnTo>
                    <a:pt x="347" y="98"/>
                  </a:lnTo>
                  <a:lnTo>
                    <a:pt x="347" y="96"/>
                  </a:lnTo>
                  <a:close/>
                  <a:moveTo>
                    <a:pt x="243" y="81"/>
                  </a:moveTo>
                  <a:lnTo>
                    <a:pt x="245" y="81"/>
                  </a:lnTo>
                  <a:lnTo>
                    <a:pt x="243" y="81"/>
                  </a:lnTo>
                  <a:close/>
                  <a:moveTo>
                    <a:pt x="222" y="87"/>
                  </a:moveTo>
                  <a:lnTo>
                    <a:pt x="222" y="89"/>
                  </a:lnTo>
                  <a:lnTo>
                    <a:pt x="222" y="87"/>
                  </a:lnTo>
                  <a:close/>
                  <a:moveTo>
                    <a:pt x="549" y="198"/>
                  </a:moveTo>
                  <a:lnTo>
                    <a:pt x="551" y="198"/>
                  </a:lnTo>
                  <a:lnTo>
                    <a:pt x="551" y="200"/>
                  </a:lnTo>
                  <a:lnTo>
                    <a:pt x="549" y="200"/>
                  </a:lnTo>
                  <a:lnTo>
                    <a:pt x="549" y="198"/>
                  </a:lnTo>
                  <a:close/>
                  <a:moveTo>
                    <a:pt x="339" y="41"/>
                  </a:moveTo>
                  <a:lnTo>
                    <a:pt x="341" y="41"/>
                  </a:lnTo>
                  <a:lnTo>
                    <a:pt x="341" y="43"/>
                  </a:lnTo>
                  <a:lnTo>
                    <a:pt x="339" y="43"/>
                  </a:lnTo>
                  <a:lnTo>
                    <a:pt x="339" y="41"/>
                  </a:lnTo>
                  <a:close/>
                  <a:moveTo>
                    <a:pt x="428" y="0"/>
                  </a:moveTo>
                  <a:lnTo>
                    <a:pt x="430" y="0"/>
                  </a:lnTo>
                  <a:lnTo>
                    <a:pt x="428" y="0"/>
                  </a:lnTo>
                  <a:close/>
                  <a:moveTo>
                    <a:pt x="337" y="62"/>
                  </a:moveTo>
                  <a:lnTo>
                    <a:pt x="339" y="62"/>
                  </a:lnTo>
                  <a:lnTo>
                    <a:pt x="339" y="66"/>
                  </a:lnTo>
                  <a:lnTo>
                    <a:pt x="337" y="66"/>
                  </a:lnTo>
                  <a:lnTo>
                    <a:pt x="337" y="62"/>
                  </a:lnTo>
                  <a:close/>
                  <a:moveTo>
                    <a:pt x="299" y="35"/>
                  </a:moveTo>
                  <a:lnTo>
                    <a:pt x="301" y="35"/>
                  </a:lnTo>
                  <a:lnTo>
                    <a:pt x="301" y="37"/>
                  </a:lnTo>
                  <a:lnTo>
                    <a:pt x="299" y="37"/>
                  </a:lnTo>
                  <a:lnTo>
                    <a:pt x="299" y="35"/>
                  </a:lnTo>
                  <a:close/>
                  <a:moveTo>
                    <a:pt x="504" y="158"/>
                  </a:moveTo>
                  <a:lnTo>
                    <a:pt x="506" y="158"/>
                  </a:lnTo>
                  <a:lnTo>
                    <a:pt x="504" y="158"/>
                  </a:lnTo>
                  <a:close/>
                  <a:moveTo>
                    <a:pt x="491" y="142"/>
                  </a:moveTo>
                  <a:lnTo>
                    <a:pt x="493" y="142"/>
                  </a:lnTo>
                  <a:lnTo>
                    <a:pt x="493" y="144"/>
                  </a:lnTo>
                  <a:lnTo>
                    <a:pt x="491" y="144"/>
                  </a:lnTo>
                  <a:lnTo>
                    <a:pt x="491" y="142"/>
                  </a:lnTo>
                  <a:close/>
                  <a:moveTo>
                    <a:pt x="491" y="480"/>
                  </a:moveTo>
                  <a:lnTo>
                    <a:pt x="493" y="480"/>
                  </a:lnTo>
                  <a:lnTo>
                    <a:pt x="493" y="482"/>
                  </a:lnTo>
                  <a:lnTo>
                    <a:pt x="491" y="482"/>
                  </a:lnTo>
                  <a:lnTo>
                    <a:pt x="491" y="480"/>
                  </a:lnTo>
                  <a:close/>
                  <a:moveTo>
                    <a:pt x="242" y="83"/>
                  </a:moveTo>
                  <a:lnTo>
                    <a:pt x="243" y="83"/>
                  </a:lnTo>
                  <a:lnTo>
                    <a:pt x="243" y="87"/>
                  </a:lnTo>
                  <a:lnTo>
                    <a:pt x="242" y="87"/>
                  </a:lnTo>
                  <a:lnTo>
                    <a:pt x="242" y="83"/>
                  </a:lnTo>
                  <a:close/>
                  <a:moveTo>
                    <a:pt x="349" y="94"/>
                  </a:moveTo>
                  <a:lnTo>
                    <a:pt x="351" y="94"/>
                  </a:lnTo>
                  <a:lnTo>
                    <a:pt x="351" y="96"/>
                  </a:lnTo>
                  <a:lnTo>
                    <a:pt x="349" y="96"/>
                  </a:lnTo>
                  <a:lnTo>
                    <a:pt x="349" y="94"/>
                  </a:lnTo>
                  <a:close/>
                  <a:moveTo>
                    <a:pt x="526" y="164"/>
                  </a:moveTo>
                  <a:lnTo>
                    <a:pt x="527" y="164"/>
                  </a:lnTo>
                  <a:lnTo>
                    <a:pt x="527" y="165"/>
                  </a:lnTo>
                  <a:lnTo>
                    <a:pt x="526" y="165"/>
                  </a:lnTo>
                  <a:lnTo>
                    <a:pt x="526" y="164"/>
                  </a:lnTo>
                  <a:close/>
                  <a:moveTo>
                    <a:pt x="13" y="256"/>
                  </a:moveTo>
                  <a:lnTo>
                    <a:pt x="15" y="256"/>
                  </a:lnTo>
                  <a:lnTo>
                    <a:pt x="15" y="258"/>
                  </a:lnTo>
                  <a:lnTo>
                    <a:pt x="13" y="258"/>
                  </a:lnTo>
                  <a:lnTo>
                    <a:pt x="13" y="256"/>
                  </a:lnTo>
                  <a:close/>
                  <a:moveTo>
                    <a:pt x="236" y="87"/>
                  </a:moveTo>
                  <a:lnTo>
                    <a:pt x="238" y="87"/>
                  </a:lnTo>
                  <a:lnTo>
                    <a:pt x="238" y="89"/>
                  </a:lnTo>
                  <a:lnTo>
                    <a:pt x="236" y="89"/>
                  </a:lnTo>
                  <a:lnTo>
                    <a:pt x="236" y="87"/>
                  </a:lnTo>
                  <a:close/>
                  <a:moveTo>
                    <a:pt x="2" y="242"/>
                  </a:moveTo>
                  <a:lnTo>
                    <a:pt x="2" y="244"/>
                  </a:lnTo>
                  <a:lnTo>
                    <a:pt x="4" y="244"/>
                  </a:lnTo>
                  <a:lnTo>
                    <a:pt x="2" y="244"/>
                  </a:lnTo>
                  <a:lnTo>
                    <a:pt x="2" y="246"/>
                  </a:lnTo>
                  <a:lnTo>
                    <a:pt x="2" y="244"/>
                  </a:lnTo>
                  <a:lnTo>
                    <a:pt x="2" y="242"/>
                  </a:lnTo>
                  <a:close/>
                  <a:moveTo>
                    <a:pt x="428" y="19"/>
                  </a:moveTo>
                  <a:lnTo>
                    <a:pt x="430" y="19"/>
                  </a:lnTo>
                  <a:lnTo>
                    <a:pt x="430" y="21"/>
                  </a:lnTo>
                  <a:lnTo>
                    <a:pt x="428" y="21"/>
                  </a:lnTo>
                  <a:lnTo>
                    <a:pt x="428" y="19"/>
                  </a:lnTo>
                  <a:close/>
                  <a:moveTo>
                    <a:pt x="495" y="150"/>
                  </a:moveTo>
                  <a:lnTo>
                    <a:pt x="497" y="150"/>
                  </a:lnTo>
                  <a:lnTo>
                    <a:pt x="495" y="150"/>
                  </a:lnTo>
                  <a:close/>
                  <a:moveTo>
                    <a:pt x="336" y="37"/>
                  </a:moveTo>
                  <a:lnTo>
                    <a:pt x="337" y="37"/>
                  </a:lnTo>
                  <a:lnTo>
                    <a:pt x="336" y="37"/>
                  </a:lnTo>
                  <a:close/>
                  <a:moveTo>
                    <a:pt x="554" y="219"/>
                  </a:moveTo>
                  <a:lnTo>
                    <a:pt x="556" y="219"/>
                  </a:lnTo>
                  <a:lnTo>
                    <a:pt x="556" y="221"/>
                  </a:lnTo>
                  <a:lnTo>
                    <a:pt x="554" y="221"/>
                  </a:lnTo>
                  <a:lnTo>
                    <a:pt x="554" y="219"/>
                  </a:lnTo>
                  <a:close/>
                  <a:moveTo>
                    <a:pt x="320" y="43"/>
                  </a:moveTo>
                  <a:lnTo>
                    <a:pt x="322" y="43"/>
                  </a:lnTo>
                  <a:lnTo>
                    <a:pt x="322" y="44"/>
                  </a:lnTo>
                  <a:lnTo>
                    <a:pt x="320" y="44"/>
                  </a:lnTo>
                  <a:lnTo>
                    <a:pt x="320" y="43"/>
                  </a:lnTo>
                  <a:close/>
                  <a:moveTo>
                    <a:pt x="167" y="91"/>
                  </a:moveTo>
                  <a:lnTo>
                    <a:pt x="169" y="91"/>
                  </a:lnTo>
                  <a:lnTo>
                    <a:pt x="169" y="92"/>
                  </a:lnTo>
                  <a:lnTo>
                    <a:pt x="167" y="92"/>
                  </a:lnTo>
                  <a:lnTo>
                    <a:pt x="167" y="91"/>
                  </a:lnTo>
                  <a:close/>
                  <a:moveTo>
                    <a:pt x="324" y="44"/>
                  </a:moveTo>
                  <a:lnTo>
                    <a:pt x="326" y="44"/>
                  </a:lnTo>
                  <a:lnTo>
                    <a:pt x="326" y="46"/>
                  </a:lnTo>
                  <a:lnTo>
                    <a:pt x="324" y="46"/>
                  </a:lnTo>
                  <a:lnTo>
                    <a:pt x="324" y="44"/>
                  </a:lnTo>
                  <a:close/>
                  <a:moveTo>
                    <a:pt x="337" y="411"/>
                  </a:moveTo>
                  <a:lnTo>
                    <a:pt x="339" y="411"/>
                  </a:lnTo>
                  <a:lnTo>
                    <a:pt x="339" y="413"/>
                  </a:lnTo>
                  <a:lnTo>
                    <a:pt x="337" y="413"/>
                  </a:lnTo>
                  <a:lnTo>
                    <a:pt x="337" y="411"/>
                  </a:lnTo>
                  <a:close/>
                  <a:moveTo>
                    <a:pt x="343" y="67"/>
                  </a:moveTo>
                  <a:lnTo>
                    <a:pt x="345" y="67"/>
                  </a:lnTo>
                  <a:lnTo>
                    <a:pt x="343" y="67"/>
                  </a:lnTo>
                  <a:close/>
                  <a:moveTo>
                    <a:pt x="178" y="87"/>
                  </a:moveTo>
                  <a:lnTo>
                    <a:pt x="180" y="87"/>
                  </a:lnTo>
                  <a:lnTo>
                    <a:pt x="180" y="89"/>
                  </a:lnTo>
                  <a:lnTo>
                    <a:pt x="178" y="89"/>
                  </a:lnTo>
                  <a:lnTo>
                    <a:pt x="178" y="87"/>
                  </a:lnTo>
                  <a:close/>
                  <a:moveTo>
                    <a:pt x="314" y="388"/>
                  </a:moveTo>
                  <a:lnTo>
                    <a:pt x="316" y="388"/>
                  </a:lnTo>
                  <a:lnTo>
                    <a:pt x="316" y="390"/>
                  </a:lnTo>
                  <a:lnTo>
                    <a:pt x="314" y="390"/>
                  </a:lnTo>
                  <a:lnTo>
                    <a:pt x="314" y="388"/>
                  </a:lnTo>
                  <a:close/>
                  <a:moveTo>
                    <a:pt x="2" y="238"/>
                  </a:moveTo>
                  <a:lnTo>
                    <a:pt x="4" y="238"/>
                  </a:lnTo>
                  <a:lnTo>
                    <a:pt x="4" y="242"/>
                  </a:lnTo>
                  <a:lnTo>
                    <a:pt x="2" y="242"/>
                  </a:lnTo>
                  <a:lnTo>
                    <a:pt x="2" y="238"/>
                  </a:lnTo>
                  <a:close/>
                  <a:moveTo>
                    <a:pt x="284" y="43"/>
                  </a:moveTo>
                  <a:lnTo>
                    <a:pt x="286" y="43"/>
                  </a:lnTo>
                  <a:lnTo>
                    <a:pt x="286" y="44"/>
                  </a:lnTo>
                  <a:lnTo>
                    <a:pt x="284" y="44"/>
                  </a:lnTo>
                  <a:lnTo>
                    <a:pt x="284" y="43"/>
                  </a:lnTo>
                  <a:close/>
                  <a:moveTo>
                    <a:pt x="537" y="200"/>
                  </a:moveTo>
                  <a:lnTo>
                    <a:pt x="539" y="200"/>
                  </a:lnTo>
                  <a:lnTo>
                    <a:pt x="539" y="202"/>
                  </a:lnTo>
                  <a:lnTo>
                    <a:pt x="537" y="202"/>
                  </a:lnTo>
                  <a:lnTo>
                    <a:pt x="537" y="200"/>
                  </a:lnTo>
                  <a:close/>
                  <a:moveTo>
                    <a:pt x="301" y="363"/>
                  </a:moveTo>
                  <a:lnTo>
                    <a:pt x="303" y="363"/>
                  </a:lnTo>
                  <a:lnTo>
                    <a:pt x="303" y="365"/>
                  </a:lnTo>
                  <a:lnTo>
                    <a:pt x="301" y="365"/>
                  </a:lnTo>
                  <a:lnTo>
                    <a:pt x="301" y="363"/>
                  </a:lnTo>
                  <a:close/>
                  <a:moveTo>
                    <a:pt x="343" y="33"/>
                  </a:moveTo>
                  <a:lnTo>
                    <a:pt x="343" y="35"/>
                  </a:lnTo>
                  <a:lnTo>
                    <a:pt x="343" y="33"/>
                  </a:lnTo>
                  <a:close/>
                  <a:moveTo>
                    <a:pt x="174" y="85"/>
                  </a:moveTo>
                  <a:lnTo>
                    <a:pt x="176" y="85"/>
                  </a:lnTo>
                  <a:lnTo>
                    <a:pt x="176" y="87"/>
                  </a:lnTo>
                  <a:lnTo>
                    <a:pt x="174" y="87"/>
                  </a:lnTo>
                  <a:lnTo>
                    <a:pt x="174" y="85"/>
                  </a:lnTo>
                  <a:close/>
                  <a:moveTo>
                    <a:pt x="299" y="33"/>
                  </a:moveTo>
                  <a:lnTo>
                    <a:pt x="301" y="33"/>
                  </a:lnTo>
                  <a:lnTo>
                    <a:pt x="301" y="35"/>
                  </a:lnTo>
                  <a:lnTo>
                    <a:pt x="299" y="35"/>
                  </a:lnTo>
                  <a:lnTo>
                    <a:pt x="299" y="33"/>
                  </a:lnTo>
                  <a:close/>
                  <a:moveTo>
                    <a:pt x="332" y="85"/>
                  </a:moveTo>
                  <a:lnTo>
                    <a:pt x="334" y="85"/>
                  </a:lnTo>
                  <a:lnTo>
                    <a:pt x="332" y="85"/>
                  </a:lnTo>
                  <a:close/>
                  <a:moveTo>
                    <a:pt x="516" y="550"/>
                  </a:moveTo>
                  <a:lnTo>
                    <a:pt x="518" y="550"/>
                  </a:lnTo>
                  <a:lnTo>
                    <a:pt x="516" y="550"/>
                  </a:lnTo>
                  <a:close/>
                  <a:moveTo>
                    <a:pt x="57" y="169"/>
                  </a:moveTo>
                  <a:lnTo>
                    <a:pt x="57" y="171"/>
                  </a:lnTo>
                  <a:lnTo>
                    <a:pt x="57" y="169"/>
                  </a:lnTo>
                  <a:close/>
                  <a:moveTo>
                    <a:pt x="51" y="173"/>
                  </a:moveTo>
                  <a:lnTo>
                    <a:pt x="53" y="173"/>
                  </a:lnTo>
                  <a:lnTo>
                    <a:pt x="51" y="173"/>
                  </a:lnTo>
                  <a:close/>
                  <a:moveTo>
                    <a:pt x="172" y="91"/>
                  </a:moveTo>
                  <a:lnTo>
                    <a:pt x="174" y="91"/>
                  </a:lnTo>
                  <a:lnTo>
                    <a:pt x="172" y="91"/>
                  </a:lnTo>
                  <a:close/>
                  <a:moveTo>
                    <a:pt x="562" y="227"/>
                  </a:moveTo>
                  <a:lnTo>
                    <a:pt x="564" y="227"/>
                  </a:lnTo>
                  <a:lnTo>
                    <a:pt x="562" y="227"/>
                  </a:lnTo>
                  <a:close/>
                  <a:moveTo>
                    <a:pt x="242" y="71"/>
                  </a:moveTo>
                  <a:lnTo>
                    <a:pt x="243" y="71"/>
                  </a:lnTo>
                  <a:lnTo>
                    <a:pt x="243" y="73"/>
                  </a:lnTo>
                  <a:lnTo>
                    <a:pt x="242" y="73"/>
                  </a:lnTo>
                  <a:lnTo>
                    <a:pt x="242" y="71"/>
                  </a:lnTo>
                  <a:close/>
                  <a:moveTo>
                    <a:pt x="562" y="223"/>
                  </a:moveTo>
                  <a:lnTo>
                    <a:pt x="562" y="225"/>
                  </a:lnTo>
                  <a:lnTo>
                    <a:pt x="562" y="223"/>
                  </a:lnTo>
                  <a:close/>
                  <a:moveTo>
                    <a:pt x="384" y="112"/>
                  </a:moveTo>
                  <a:lnTo>
                    <a:pt x="384" y="114"/>
                  </a:lnTo>
                  <a:lnTo>
                    <a:pt x="384" y="112"/>
                  </a:lnTo>
                  <a:close/>
                  <a:moveTo>
                    <a:pt x="332" y="89"/>
                  </a:moveTo>
                  <a:lnTo>
                    <a:pt x="334" y="89"/>
                  </a:lnTo>
                  <a:lnTo>
                    <a:pt x="334" y="91"/>
                  </a:lnTo>
                  <a:lnTo>
                    <a:pt x="332" y="91"/>
                  </a:lnTo>
                  <a:lnTo>
                    <a:pt x="332" y="89"/>
                  </a:lnTo>
                  <a:close/>
                  <a:moveTo>
                    <a:pt x="566" y="373"/>
                  </a:moveTo>
                  <a:lnTo>
                    <a:pt x="568" y="373"/>
                  </a:lnTo>
                  <a:lnTo>
                    <a:pt x="568" y="375"/>
                  </a:lnTo>
                  <a:lnTo>
                    <a:pt x="566" y="375"/>
                  </a:lnTo>
                  <a:lnTo>
                    <a:pt x="566" y="373"/>
                  </a:lnTo>
                  <a:close/>
                  <a:moveTo>
                    <a:pt x="197" y="69"/>
                  </a:moveTo>
                  <a:lnTo>
                    <a:pt x="199" y="69"/>
                  </a:lnTo>
                  <a:lnTo>
                    <a:pt x="197" y="69"/>
                  </a:lnTo>
                  <a:close/>
                  <a:moveTo>
                    <a:pt x="243" y="83"/>
                  </a:moveTo>
                  <a:lnTo>
                    <a:pt x="243" y="85"/>
                  </a:lnTo>
                  <a:lnTo>
                    <a:pt x="243" y="83"/>
                  </a:lnTo>
                  <a:close/>
                  <a:moveTo>
                    <a:pt x="541" y="196"/>
                  </a:moveTo>
                  <a:lnTo>
                    <a:pt x="543" y="196"/>
                  </a:lnTo>
                  <a:lnTo>
                    <a:pt x="543" y="198"/>
                  </a:lnTo>
                  <a:lnTo>
                    <a:pt x="541" y="198"/>
                  </a:lnTo>
                  <a:lnTo>
                    <a:pt x="541" y="196"/>
                  </a:lnTo>
                  <a:close/>
                  <a:moveTo>
                    <a:pt x="157" y="104"/>
                  </a:moveTo>
                  <a:lnTo>
                    <a:pt x="159" y="104"/>
                  </a:lnTo>
                  <a:lnTo>
                    <a:pt x="157" y="104"/>
                  </a:lnTo>
                  <a:close/>
                  <a:moveTo>
                    <a:pt x="257" y="50"/>
                  </a:moveTo>
                  <a:lnTo>
                    <a:pt x="257" y="52"/>
                  </a:lnTo>
                  <a:lnTo>
                    <a:pt x="257" y="50"/>
                  </a:lnTo>
                  <a:close/>
                  <a:moveTo>
                    <a:pt x="320" y="43"/>
                  </a:moveTo>
                  <a:lnTo>
                    <a:pt x="322" y="43"/>
                  </a:lnTo>
                  <a:lnTo>
                    <a:pt x="320" y="43"/>
                  </a:lnTo>
                  <a:close/>
                  <a:moveTo>
                    <a:pt x="53" y="173"/>
                  </a:moveTo>
                  <a:lnTo>
                    <a:pt x="53" y="175"/>
                  </a:lnTo>
                  <a:lnTo>
                    <a:pt x="53" y="173"/>
                  </a:lnTo>
                  <a:close/>
                  <a:moveTo>
                    <a:pt x="190" y="75"/>
                  </a:moveTo>
                  <a:lnTo>
                    <a:pt x="192" y="75"/>
                  </a:lnTo>
                  <a:lnTo>
                    <a:pt x="192" y="77"/>
                  </a:lnTo>
                  <a:lnTo>
                    <a:pt x="190" y="77"/>
                  </a:lnTo>
                  <a:lnTo>
                    <a:pt x="190" y="75"/>
                  </a:lnTo>
                  <a:close/>
                  <a:moveTo>
                    <a:pt x="591" y="286"/>
                  </a:moveTo>
                  <a:lnTo>
                    <a:pt x="593" y="286"/>
                  </a:lnTo>
                  <a:lnTo>
                    <a:pt x="593" y="290"/>
                  </a:lnTo>
                  <a:lnTo>
                    <a:pt x="591" y="290"/>
                  </a:lnTo>
                  <a:lnTo>
                    <a:pt x="591" y="286"/>
                  </a:lnTo>
                  <a:close/>
                  <a:moveTo>
                    <a:pt x="506" y="158"/>
                  </a:moveTo>
                  <a:lnTo>
                    <a:pt x="506" y="160"/>
                  </a:lnTo>
                  <a:lnTo>
                    <a:pt x="506" y="158"/>
                  </a:lnTo>
                  <a:close/>
                  <a:moveTo>
                    <a:pt x="345" y="37"/>
                  </a:moveTo>
                  <a:lnTo>
                    <a:pt x="347" y="37"/>
                  </a:lnTo>
                  <a:lnTo>
                    <a:pt x="347" y="39"/>
                  </a:lnTo>
                  <a:lnTo>
                    <a:pt x="345" y="39"/>
                  </a:lnTo>
                  <a:lnTo>
                    <a:pt x="345" y="37"/>
                  </a:lnTo>
                  <a:close/>
                  <a:moveTo>
                    <a:pt x="495" y="479"/>
                  </a:moveTo>
                  <a:lnTo>
                    <a:pt x="497" y="479"/>
                  </a:lnTo>
                  <a:lnTo>
                    <a:pt x="495" y="479"/>
                  </a:lnTo>
                  <a:close/>
                  <a:moveTo>
                    <a:pt x="36" y="359"/>
                  </a:moveTo>
                  <a:lnTo>
                    <a:pt x="38" y="359"/>
                  </a:lnTo>
                  <a:lnTo>
                    <a:pt x="36" y="359"/>
                  </a:lnTo>
                  <a:close/>
                  <a:moveTo>
                    <a:pt x="357" y="402"/>
                  </a:moveTo>
                  <a:lnTo>
                    <a:pt x="357" y="404"/>
                  </a:lnTo>
                  <a:lnTo>
                    <a:pt x="357" y="402"/>
                  </a:lnTo>
                  <a:close/>
                  <a:moveTo>
                    <a:pt x="169" y="100"/>
                  </a:moveTo>
                  <a:lnTo>
                    <a:pt x="170" y="100"/>
                  </a:lnTo>
                  <a:lnTo>
                    <a:pt x="170" y="102"/>
                  </a:lnTo>
                  <a:lnTo>
                    <a:pt x="169" y="102"/>
                  </a:lnTo>
                  <a:lnTo>
                    <a:pt x="169" y="100"/>
                  </a:lnTo>
                  <a:close/>
                  <a:moveTo>
                    <a:pt x="53" y="171"/>
                  </a:moveTo>
                  <a:lnTo>
                    <a:pt x="55" y="171"/>
                  </a:lnTo>
                  <a:lnTo>
                    <a:pt x="55" y="173"/>
                  </a:lnTo>
                  <a:lnTo>
                    <a:pt x="53" y="173"/>
                  </a:lnTo>
                  <a:lnTo>
                    <a:pt x="53" y="171"/>
                  </a:lnTo>
                  <a:close/>
                  <a:moveTo>
                    <a:pt x="343" y="39"/>
                  </a:moveTo>
                  <a:lnTo>
                    <a:pt x="345" y="39"/>
                  </a:lnTo>
                  <a:lnTo>
                    <a:pt x="345" y="41"/>
                  </a:lnTo>
                  <a:lnTo>
                    <a:pt x="343" y="41"/>
                  </a:lnTo>
                  <a:lnTo>
                    <a:pt x="343" y="39"/>
                  </a:lnTo>
                  <a:close/>
                  <a:moveTo>
                    <a:pt x="186" y="77"/>
                  </a:moveTo>
                  <a:lnTo>
                    <a:pt x="188" y="77"/>
                  </a:lnTo>
                  <a:lnTo>
                    <a:pt x="188" y="79"/>
                  </a:lnTo>
                  <a:lnTo>
                    <a:pt x="186" y="79"/>
                  </a:lnTo>
                  <a:lnTo>
                    <a:pt x="186" y="77"/>
                  </a:lnTo>
                  <a:close/>
                  <a:moveTo>
                    <a:pt x="545" y="188"/>
                  </a:moveTo>
                  <a:lnTo>
                    <a:pt x="547" y="188"/>
                  </a:lnTo>
                  <a:lnTo>
                    <a:pt x="547" y="190"/>
                  </a:lnTo>
                  <a:lnTo>
                    <a:pt x="545" y="190"/>
                  </a:lnTo>
                  <a:lnTo>
                    <a:pt x="545" y="188"/>
                  </a:lnTo>
                  <a:close/>
                  <a:moveTo>
                    <a:pt x="23" y="194"/>
                  </a:moveTo>
                  <a:lnTo>
                    <a:pt x="23" y="196"/>
                  </a:lnTo>
                  <a:lnTo>
                    <a:pt x="23" y="194"/>
                  </a:lnTo>
                  <a:close/>
                  <a:moveTo>
                    <a:pt x="503" y="494"/>
                  </a:moveTo>
                  <a:lnTo>
                    <a:pt x="503" y="496"/>
                  </a:lnTo>
                  <a:lnTo>
                    <a:pt x="503" y="494"/>
                  </a:lnTo>
                  <a:close/>
                  <a:moveTo>
                    <a:pt x="153" y="106"/>
                  </a:moveTo>
                  <a:lnTo>
                    <a:pt x="155" y="106"/>
                  </a:lnTo>
                  <a:lnTo>
                    <a:pt x="153" y="106"/>
                  </a:lnTo>
                  <a:close/>
                  <a:moveTo>
                    <a:pt x="249" y="58"/>
                  </a:moveTo>
                  <a:lnTo>
                    <a:pt x="251" y="58"/>
                  </a:lnTo>
                  <a:lnTo>
                    <a:pt x="251" y="60"/>
                  </a:lnTo>
                  <a:lnTo>
                    <a:pt x="249" y="60"/>
                  </a:lnTo>
                  <a:lnTo>
                    <a:pt x="249" y="58"/>
                  </a:lnTo>
                  <a:close/>
                  <a:moveTo>
                    <a:pt x="382" y="114"/>
                  </a:moveTo>
                  <a:lnTo>
                    <a:pt x="384" y="114"/>
                  </a:lnTo>
                  <a:lnTo>
                    <a:pt x="384" y="116"/>
                  </a:lnTo>
                  <a:lnTo>
                    <a:pt x="382" y="116"/>
                  </a:lnTo>
                  <a:lnTo>
                    <a:pt x="382" y="114"/>
                  </a:lnTo>
                  <a:close/>
                  <a:moveTo>
                    <a:pt x="591" y="286"/>
                  </a:moveTo>
                  <a:lnTo>
                    <a:pt x="593" y="286"/>
                  </a:lnTo>
                  <a:lnTo>
                    <a:pt x="591" y="286"/>
                  </a:lnTo>
                  <a:close/>
                  <a:moveTo>
                    <a:pt x="491" y="480"/>
                  </a:moveTo>
                  <a:lnTo>
                    <a:pt x="493" y="480"/>
                  </a:lnTo>
                  <a:lnTo>
                    <a:pt x="491" y="480"/>
                  </a:lnTo>
                  <a:close/>
                  <a:moveTo>
                    <a:pt x="673" y="352"/>
                  </a:moveTo>
                  <a:lnTo>
                    <a:pt x="675" y="352"/>
                  </a:lnTo>
                  <a:lnTo>
                    <a:pt x="673" y="352"/>
                  </a:lnTo>
                  <a:close/>
                  <a:moveTo>
                    <a:pt x="280" y="35"/>
                  </a:moveTo>
                  <a:lnTo>
                    <a:pt x="280" y="37"/>
                  </a:lnTo>
                  <a:lnTo>
                    <a:pt x="280" y="35"/>
                  </a:lnTo>
                  <a:close/>
                  <a:moveTo>
                    <a:pt x="184" y="77"/>
                  </a:moveTo>
                  <a:lnTo>
                    <a:pt x="184" y="79"/>
                  </a:lnTo>
                  <a:lnTo>
                    <a:pt x="184" y="77"/>
                  </a:lnTo>
                  <a:close/>
                  <a:moveTo>
                    <a:pt x="349" y="43"/>
                  </a:moveTo>
                  <a:lnTo>
                    <a:pt x="349" y="44"/>
                  </a:lnTo>
                  <a:lnTo>
                    <a:pt x="349" y="43"/>
                  </a:lnTo>
                  <a:close/>
                  <a:moveTo>
                    <a:pt x="527" y="169"/>
                  </a:moveTo>
                  <a:lnTo>
                    <a:pt x="529" y="169"/>
                  </a:lnTo>
                  <a:lnTo>
                    <a:pt x="529" y="171"/>
                  </a:lnTo>
                  <a:lnTo>
                    <a:pt x="527" y="171"/>
                  </a:lnTo>
                  <a:lnTo>
                    <a:pt x="527" y="169"/>
                  </a:lnTo>
                  <a:close/>
                  <a:moveTo>
                    <a:pt x="510" y="509"/>
                  </a:moveTo>
                  <a:lnTo>
                    <a:pt x="512" y="509"/>
                  </a:lnTo>
                  <a:lnTo>
                    <a:pt x="512" y="511"/>
                  </a:lnTo>
                  <a:lnTo>
                    <a:pt x="510" y="511"/>
                  </a:lnTo>
                  <a:lnTo>
                    <a:pt x="510" y="509"/>
                  </a:lnTo>
                  <a:close/>
                  <a:moveTo>
                    <a:pt x="176" y="91"/>
                  </a:moveTo>
                  <a:lnTo>
                    <a:pt x="176" y="92"/>
                  </a:lnTo>
                  <a:lnTo>
                    <a:pt x="176" y="91"/>
                  </a:lnTo>
                  <a:close/>
                  <a:moveTo>
                    <a:pt x="508" y="505"/>
                  </a:moveTo>
                  <a:lnTo>
                    <a:pt x="510" y="505"/>
                  </a:lnTo>
                  <a:lnTo>
                    <a:pt x="508" y="505"/>
                  </a:lnTo>
                  <a:close/>
                  <a:moveTo>
                    <a:pt x="458" y="73"/>
                  </a:moveTo>
                  <a:lnTo>
                    <a:pt x="458" y="75"/>
                  </a:lnTo>
                  <a:lnTo>
                    <a:pt x="458" y="73"/>
                  </a:lnTo>
                  <a:close/>
                  <a:moveTo>
                    <a:pt x="165" y="91"/>
                  </a:moveTo>
                  <a:lnTo>
                    <a:pt x="167" y="91"/>
                  </a:lnTo>
                  <a:lnTo>
                    <a:pt x="165" y="91"/>
                  </a:lnTo>
                  <a:close/>
                  <a:moveTo>
                    <a:pt x="349" y="94"/>
                  </a:moveTo>
                  <a:lnTo>
                    <a:pt x="349" y="96"/>
                  </a:lnTo>
                  <a:lnTo>
                    <a:pt x="349" y="94"/>
                  </a:lnTo>
                  <a:close/>
                  <a:moveTo>
                    <a:pt x="40" y="361"/>
                  </a:moveTo>
                  <a:lnTo>
                    <a:pt x="40" y="363"/>
                  </a:lnTo>
                  <a:lnTo>
                    <a:pt x="40" y="361"/>
                  </a:lnTo>
                  <a:close/>
                  <a:moveTo>
                    <a:pt x="57" y="169"/>
                  </a:moveTo>
                  <a:lnTo>
                    <a:pt x="59" y="169"/>
                  </a:lnTo>
                  <a:lnTo>
                    <a:pt x="57" y="169"/>
                  </a:lnTo>
                  <a:close/>
                  <a:moveTo>
                    <a:pt x="491" y="140"/>
                  </a:moveTo>
                  <a:lnTo>
                    <a:pt x="491" y="142"/>
                  </a:lnTo>
                  <a:lnTo>
                    <a:pt x="491" y="140"/>
                  </a:lnTo>
                  <a:close/>
                  <a:moveTo>
                    <a:pt x="151" y="110"/>
                  </a:moveTo>
                  <a:lnTo>
                    <a:pt x="153" y="110"/>
                  </a:lnTo>
                  <a:lnTo>
                    <a:pt x="153" y="112"/>
                  </a:lnTo>
                  <a:lnTo>
                    <a:pt x="151" y="112"/>
                  </a:lnTo>
                  <a:lnTo>
                    <a:pt x="151" y="110"/>
                  </a:lnTo>
                  <a:close/>
                  <a:moveTo>
                    <a:pt x="165" y="100"/>
                  </a:moveTo>
                  <a:lnTo>
                    <a:pt x="165" y="102"/>
                  </a:lnTo>
                  <a:lnTo>
                    <a:pt x="165" y="100"/>
                  </a:lnTo>
                  <a:close/>
                  <a:moveTo>
                    <a:pt x="153" y="112"/>
                  </a:moveTo>
                  <a:lnTo>
                    <a:pt x="155" y="112"/>
                  </a:lnTo>
                  <a:lnTo>
                    <a:pt x="153" y="112"/>
                  </a:lnTo>
                  <a:close/>
                  <a:moveTo>
                    <a:pt x="549" y="198"/>
                  </a:moveTo>
                  <a:lnTo>
                    <a:pt x="549" y="200"/>
                  </a:lnTo>
                  <a:lnTo>
                    <a:pt x="549" y="198"/>
                  </a:lnTo>
                  <a:close/>
                  <a:moveTo>
                    <a:pt x="433" y="25"/>
                  </a:moveTo>
                  <a:lnTo>
                    <a:pt x="435" y="25"/>
                  </a:lnTo>
                  <a:lnTo>
                    <a:pt x="433" y="25"/>
                  </a:lnTo>
                  <a:close/>
                  <a:moveTo>
                    <a:pt x="343" y="39"/>
                  </a:moveTo>
                  <a:lnTo>
                    <a:pt x="343" y="41"/>
                  </a:lnTo>
                  <a:lnTo>
                    <a:pt x="343" y="39"/>
                  </a:lnTo>
                  <a:close/>
                  <a:moveTo>
                    <a:pt x="265" y="43"/>
                  </a:moveTo>
                  <a:lnTo>
                    <a:pt x="266" y="43"/>
                  </a:lnTo>
                  <a:lnTo>
                    <a:pt x="265" y="43"/>
                  </a:lnTo>
                  <a:close/>
                  <a:moveTo>
                    <a:pt x="69" y="173"/>
                  </a:moveTo>
                  <a:lnTo>
                    <a:pt x="71" y="173"/>
                  </a:lnTo>
                  <a:lnTo>
                    <a:pt x="69" y="173"/>
                  </a:lnTo>
                  <a:close/>
                  <a:moveTo>
                    <a:pt x="391" y="108"/>
                  </a:moveTo>
                  <a:lnTo>
                    <a:pt x="391" y="110"/>
                  </a:lnTo>
                  <a:lnTo>
                    <a:pt x="391" y="108"/>
                  </a:lnTo>
                  <a:close/>
                  <a:moveTo>
                    <a:pt x="218" y="77"/>
                  </a:moveTo>
                  <a:lnTo>
                    <a:pt x="218" y="79"/>
                  </a:lnTo>
                  <a:lnTo>
                    <a:pt x="218" y="77"/>
                  </a:lnTo>
                  <a:close/>
                  <a:moveTo>
                    <a:pt x="535" y="177"/>
                  </a:moveTo>
                  <a:lnTo>
                    <a:pt x="537" y="177"/>
                  </a:lnTo>
                  <a:lnTo>
                    <a:pt x="535" y="177"/>
                  </a:lnTo>
                  <a:close/>
                  <a:moveTo>
                    <a:pt x="428" y="4"/>
                  </a:moveTo>
                  <a:lnTo>
                    <a:pt x="430" y="4"/>
                  </a:lnTo>
                  <a:lnTo>
                    <a:pt x="430" y="6"/>
                  </a:lnTo>
                  <a:lnTo>
                    <a:pt x="428" y="6"/>
                  </a:lnTo>
                  <a:lnTo>
                    <a:pt x="428" y="4"/>
                  </a:lnTo>
                  <a:close/>
                  <a:moveTo>
                    <a:pt x="336" y="406"/>
                  </a:moveTo>
                  <a:lnTo>
                    <a:pt x="336" y="407"/>
                  </a:lnTo>
                  <a:lnTo>
                    <a:pt x="336" y="406"/>
                  </a:lnTo>
                  <a:close/>
                  <a:moveTo>
                    <a:pt x="343" y="415"/>
                  </a:moveTo>
                  <a:lnTo>
                    <a:pt x="345" y="415"/>
                  </a:lnTo>
                  <a:lnTo>
                    <a:pt x="343" y="415"/>
                  </a:lnTo>
                  <a:close/>
                  <a:moveTo>
                    <a:pt x="389" y="117"/>
                  </a:moveTo>
                  <a:lnTo>
                    <a:pt x="391" y="117"/>
                  </a:lnTo>
                  <a:lnTo>
                    <a:pt x="391" y="119"/>
                  </a:lnTo>
                  <a:lnTo>
                    <a:pt x="389" y="119"/>
                  </a:lnTo>
                  <a:lnTo>
                    <a:pt x="389" y="117"/>
                  </a:lnTo>
                  <a:close/>
                  <a:moveTo>
                    <a:pt x="159" y="106"/>
                  </a:moveTo>
                  <a:lnTo>
                    <a:pt x="161" y="106"/>
                  </a:lnTo>
                  <a:lnTo>
                    <a:pt x="159" y="106"/>
                  </a:lnTo>
                  <a:close/>
                  <a:moveTo>
                    <a:pt x="38" y="169"/>
                  </a:moveTo>
                  <a:lnTo>
                    <a:pt x="38" y="171"/>
                  </a:lnTo>
                  <a:lnTo>
                    <a:pt x="38" y="169"/>
                  </a:lnTo>
                  <a:close/>
                  <a:moveTo>
                    <a:pt x="533" y="177"/>
                  </a:moveTo>
                  <a:lnTo>
                    <a:pt x="533" y="179"/>
                  </a:lnTo>
                  <a:lnTo>
                    <a:pt x="533" y="177"/>
                  </a:lnTo>
                  <a:close/>
                  <a:moveTo>
                    <a:pt x="53" y="173"/>
                  </a:moveTo>
                  <a:lnTo>
                    <a:pt x="55" y="173"/>
                  </a:lnTo>
                  <a:lnTo>
                    <a:pt x="53" y="173"/>
                  </a:lnTo>
                  <a:close/>
                  <a:moveTo>
                    <a:pt x="526" y="167"/>
                  </a:moveTo>
                  <a:lnTo>
                    <a:pt x="526" y="169"/>
                  </a:lnTo>
                  <a:lnTo>
                    <a:pt x="526" y="167"/>
                  </a:lnTo>
                  <a:close/>
                  <a:moveTo>
                    <a:pt x="341" y="69"/>
                  </a:moveTo>
                  <a:lnTo>
                    <a:pt x="343" y="69"/>
                  </a:lnTo>
                  <a:lnTo>
                    <a:pt x="341" y="69"/>
                  </a:lnTo>
                  <a:close/>
                  <a:moveTo>
                    <a:pt x="384" y="117"/>
                  </a:moveTo>
                  <a:lnTo>
                    <a:pt x="385" y="117"/>
                  </a:lnTo>
                  <a:lnTo>
                    <a:pt x="384" y="117"/>
                  </a:lnTo>
                  <a:close/>
                  <a:moveTo>
                    <a:pt x="585" y="250"/>
                  </a:moveTo>
                  <a:lnTo>
                    <a:pt x="585" y="252"/>
                  </a:lnTo>
                  <a:lnTo>
                    <a:pt x="585" y="250"/>
                  </a:lnTo>
                  <a:close/>
                  <a:moveTo>
                    <a:pt x="516" y="509"/>
                  </a:moveTo>
                  <a:lnTo>
                    <a:pt x="518" y="509"/>
                  </a:lnTo>
                  <a:lnTo>
                    <a:pt x="516" y="509"/>
                  </a:lnTo>
                  <a:close/>
                  <a:moveTo>
                    <a:pt x="577" y="363"/>
                  </a:moveTo>
                  <a:lnTo>
                    <a:pt x="579" y="363"/>
                  </a:lnTo>
                  <a:lnTo>
                    <a:pt x="577" y="363"/>
                  </a:lnTo>
                  <a:close/>
                  <a:moveTo>
                    <a:pt x="589" y="281"/>
                  </a:moveTo>
                  <a:lnTo>
                    <a:pt x="589" y="283"/>
                  </a:lnTo>
                  <a:lnTo>
                    <a:pt x="589" y="281"/>
                  </a:lnTo>
                  <a:close/>
                  <a:moveTo>
                    <a:pt x="176" y="87"/>
                  </a:moveTo>
                  <a:lnTo>
                    <a:pt x="176" y="89"/>
                  </a:lnTo>
                  <a:lnTo>
                    <a:pt x="176" y="87"/>
                  </a:lnTo>
                  <a:close/>
                  <a:moveTo>
                    <a:pt x="55" y="171"/>
                  </a:moveTo>
                  <a:lnTo>
                    <a:pt x="57" y="171"/>
                  </a:lnTo>
                  <a:lnTo>
                    <a:pt x="55" y="171"/>
                  </a:lnTo>
                  <a:close/>
                  <a:moveTo>
                    <a:pt x="55" y="169"/>
                  </a:moveTo>
                  <a:lnTo>
                    <a:pt x="57" y="169"/>
                  </a:lnTo>
                  <a:lnTo>
                    <a:pt x="57" y="171"/>
                  </a:lnTo>
                  <a:lnTo>
                    <a:pt x="55" y="171"/>
                  </a:lnTo>
                  <a:lnTo>
                    <a:pt x="55" y="169"/>
                  </a:lnTo>
                  <a:close/>
                  <a:moveTo>
                    <a:pt x="80" y="409"/>
                  </a:moveTo>
                  <a:lnTo>
                    <a:pt x="80" y="411"/>
                  </a:lnTo>
                  <a:lnTo>
                    <a:pt x="80" y="409"/>
                  </a:lnTo>
                  <a:close/>
                  <a:moveTo>
                    <a:pt x="510" y="498"/>
                  </a:moveTo>
                  <a:lnTo>
                    <a:pt x="512" y="498"/>
                  </a:lnTo>
                  <a:lnTo>
                    <a:pt x="512" y="500"/>
                  </a:lnTo>
                  <a:lnTo>
                    <a:pt x="510" y="500"/>
                  </a:lnTo>
                  <a:lnTo>
                    <a:pt x="510" y="498"/>
                  </a:lnTo>
                  <a:close/>
                  <a:moveTo>
                    <a:pt x="155" y="102"/>
                  </a:moveTo>
                  <a:lnTo>
                    <a:pt x="155" y="104"/>
                  </a:lnTo>
                  <a:lnTo>
                    <a:pt x="155" y="102"/>
                  </a:lnTo>
                  <a:close/>
                  <a:moveTo>
                    <a:pt x="136" y="396"/>
                  </a:moveTo>
                  <a:lnTo>
                    <a:pt x="136" y="398"/>
                  </a:lnTo>
                  <a:lnTo>
                    <a:pt x="136" y="396"/>
                  </a:lnTo>
                  <a:close/>
                  <a:moveTo>
                    <a:pt x="195" y="71"/>
                  </a:moveTo>
                  <a:lnTo>
                    <a:pt x="197" y="71"/>
                  </a:lnTo>
                  <a:lnTo>
                    <a:pt x="195" y="71"/>
                  </a:lnTo>
                  <a:close/>
                  <a:moveTo>
                    <a:pt x="336" y="37"/>
                  </a:moveTo>
                  <a:lnTo>
                    <a:pt x="337" y="37"/>
                  </a:lnTo>
                  <a:lnTo>
                    <a:pt x="337" y="39"/>
                  </a:lnTo>
                  <a:lnTo>
                    <a:pt x="336" y="39"/>
                  </a:lnTo>
                  <a:lnTo>
                    <a:pt x="336" y="37"/>
                  </a:lnTo>
                  <a:close/>
                  <a:moveTo>
                    <a:pt x="374" y="407"/>
                  </a:moveTo>
                  <a:lnTo>
                    <a:pt x="374" y="409"/>
                  </a:lnTo>
                  <a:lnTo>
                    <a:pt x="374" y="407"/>
                  </a:lnTo>
                  <a:close/>
                  <a:moveTo>
                    <a:pt x="169" y="100"/>
                  </a:moveTo>
                  <a:lnTo>
                    <a:pt x="169" y="102"/>
                  </a:lnTo>
                  <a:lnTo>
                    <a:pt x="169" y="100"/>
                  </a:lnTo>
                  <a:close/>
                  <a:moveTo>
                    <a:pt x="437" y="10"/>
                  </a:moveTo>
                  <a:lnTo>
                    <a:pt x="439" y="10"/>
                  </a:lnTo>
                  <a:lnTo>
                    <a:pt x="437" y="10"/>
                  </a:lnTo>
                  <a:close/>
                  <a:moveTo>
                    <a:pt x="182" y="79"/>
                  </a:moveTo>
                  <a:lnTo>
                    <a:pt x="184" y="79"/>
                  </a:lnTo>
                  <a:lnTo>
                    <a:pt x="182" y="79"/>
                  </a:lnTo>
                  <a:close/>
                  <a:moveTo>
                    <a:pt x="265" y="41"/>
                  </a:moveTo>
                  <a:lnTo>
                    <a:pt x="266" y="41"/>
                  </a:lnTo>
                  <a:lnTo>
                    <a:pt x="266" y="43"/>
                  </a:lnTo>
                  <a:lnTo>
                    <a:pt x="265" y="43"/>
                  </a:lnTo>
                  <a:lnTo>
                    <a:pt x="265" y="41"/>
                  </a:lnTo>
                  <a:close/>
                  <a:moveTo>
                    <a:pt x="456" y="73"/>
                  </a:moveTo>
                  <a:lnTo>
                    <a:pt x="458" y="73"/>
                  </a:lnTo>
                  <a:lnTo>
                    <a:pt x="458" y="75"/>
                  </a:lnTo>
                  <a:lnTo>
                    <a:pt x="456" y="75"/>
                  </a:lnTo>
                  <a:lnTo>
                    <a:pt x="456" y="73"/>
                  </a:lnTo>
                  <a:close/>
                  <a:moveTo>
                    <a:pt x="297" y="367"/>
                  </a:moveTo>
                  <a:lnTo>
                    <a:pt x="297" y="369"/>
                  </a:lnTo>
                  <a:lnTo>
                    <a:pt x="297" y="367"/>
                  </a:lnTo>
                  <a:close/>
                  <a:moveTo>
                    <a:pt x="468" y="515"/>
                  </a:moveTo>
                  <a:lnTo>
                    <a:pt x="468" y="517"/>
                  </a:lnTo>
                  <a:lnTo>
                    <a:pt x="468" y="515"/>
                  </a:lnTo>
                  <a:close/>
                  <a:moveTo>
                    <a:pt x="336" y="39"/>
                  </a:moveTo>
                  <a:lnTo>
                    <a:pt x="337" y="39"/>
                  </a:lnTo>
                  <a:lnTo>
                    <a:pt x="337" y="41"/>
                  </a:lnTo>
                  <a:lnTo>
                    <a:pt x="336" y="41"/>
                  </a:lnTo>
                  <a:lnTo>
                    <a:pt x="336" y="39"/>
                  </a:lnTo>
                  <a:close/>
                  <a:moveTo>
                    <a:pt x="243" y="85"/>
                  </a:moveTo>
                  <a:lnTo>
                    <a:pt x="243" y="87"/>
                  </a:lnTo>
                  <a:lnTo>
                    <a:pt x="243" y="85"/>
                  </a:lnTo>
                  <a:close/>
                  <a:moveTo>
                    <a:pt x="527" y="167"/>
                  </a:moveTo>
                  <a:lnTo>
                    <a:pt x="529" y="167"/>
                  </a:lnTo>
                  <a:lnTo>
                    <a:pt x="527" y="167"/>
                  </a:lnTo>
                  <a:close/>
                  <a:moveTo>
                    <a:pt x="591" y="285"/>
                  </a:moveTo>
                  <a:lnTo>
                    <a:pt x="591" y="286"/>
                  </a:lnTo>
                  <a:lnTo>
                    <a:pt x="591" y="285"/>
                  </a:lnTo>
                  <a:close/>
                  <a:moveTo>
                    <a:pt x="167" y="91"/>
                  </a:moveTo>
                  <a:lnTo>
                    <a:pt x="167" y="92"/>
                  </a:lnTo>
                  <a:lnTo>
                    <a:pt x="167" y="91"/>
                  </a:lnTo>
                  <a:close/>
                  <a:moveTo>
                    <a:pt x="491" y="142"/>
                  </a:moveTo>
                  <a:lnTo>
                    <a:pt x="491" y="144"/>
                  </a:lnTo>
                  <a:lnTo>
                    <a:pt x="491" y="142"/>
                  </a:lnTo>
                  <a:close/>
                  <a:moveTo>
                    <a:pt x="485" y="131"/>
                  </a:moveTo>
                  <a:lnTo>
                    <a:pt x="485" y="133"/>
                  </a:lnTo>
                  <a:lnTo>
                    <a:pt x="485" y="131"/>
                  </a:lnTo>
                  <a:close/>
                  <a:moveTo>
                    <a:pt x="337" y="43"/>
                  </a:moveTo>
                  <a:lnTo>
                    <a:pt x="337" y="44"/>
                  </a:lnTo>
                  <a:lnTo>
                    <a:pt x="337" y="43"/>
                  </a:lnTo>
                  <a:close/>
                  <a:moveTo>
                    <a:pt x="526" y="169"/>
                  </a:moveTo>
                  <a:lnTo>
                    <a:pt x="527" y="169"/>
                  </a:lnTo>
                  <a:lnTo>
                    <a:pt x="526" y="169"/>
                  </a:lnTo>
                  <a:close/>
                  <a:moveTo>
                    <a:pt x="585" y="250"/>
                  </a:moveTo>
                  <a:lnTo>
                    <a:pt x="585" y="252"/>
                  </a:lnTo>
                  <a:lnTo>
                    <a:pt x="585" y="250"/>
                  </a:lnTo>
                  <a:close/>
                  <a:moveTo>
                    <a:pt x="337" y="64"/>
                  </a:moveTo>
                  <a:lnTo>
                    <a:pt x="339" y="64"/>
                  </a:lnTo>
                  <a:lnTo>
                    <a:pt x="337" y="64"/>
                  </a:lnTo>
                  <a:close/>
                  <a:moveTo>
                    <a:pt x="591" y="288"/>
                  </a:moveTo>
                  <a:lnTo>
                    <a:pt x="593" y="288"/>
                  </a:lnTo>
                  <a:lnTo>
                    <a:pt x="591" y="288"/>
                  </a:lnTo>
                  <a:close/>
                  <a:moveTo>
                    <a:pt x="380" y="421"/>
                  </a:moveTo>
                  <a:lnTo>
                    <a:pt x="382" y="421"/>
                  </a:lnTo>
                  <a:lnTo>
                    <a:pt x="380" y="421"/>
                  </a:lnTo>
                  <a:close/>
                  <a:moveTo>
                    <a:pt x="585" y="246"/>
                  </a:moveTo>
                  <a:lnTo>
                    <a:pt x="585" y="248"/>
                  </a:lnTo>
                  <a:lnTo>
                    <a:pt x="585" y="246"/>
                  </a:lnTo>
                  <a:close/>
                  <a:moveTo>
                    <a:pt x="527" y="169"/>
                  </a:moveTo>
                  <a:lnTo>
                    <a:pt x="527" y="171"/>
                  </a:lnTo>
                  <a:lnTo>
                    <a:pt x="527" y="169"/>
                  </a:lnTo>
                  <a:close/>
                  <a:moveTo>
                    <a:pt x="489" y="480"/>
                  </a:moveTo>
                  <a:lnTo>
                    <a:pt x="491" y="480"/>
                  </a:lnTo>
                  <a:lnTo>
                    <a:pt x="489" y="480"/>
                  </a:lnTo>
                  <a:close/>
                  <a:moveTo>
                    <a:pt x="433" y="21"/>
                  </a:moveTo>
                  <a:lnTo>
                    <a:pt x="435" y="21"/>
                  </a:lnTo>
                  <a:lnTo>
                    <a:pt x="433" y="21"/>
                  </a:lnTo>
                  <a:close/>
                  <a:moveTo>
                    <a:pt x="428" y="10"/>
                  </a:moveTo>
                  <a:lnTo>
                    <a:pt x="428" y="12"/>
                  </a:lnTo>
                  <a:lnTo>
                    <a:pt x="428" y="10"/>
                  </a:lnTo>
                  <a:close/>
                  <a:moveTo>
                    <a:pt x="288" y="29"/>
                  </a:moveTo>
                  <a:lnTo>
                    <a:pt x="289" y="29"/>
                  </a:lnTo>
                  <a:lnTo>
                    <a:pt x="288" y="29"/>
                  </a:lnTo>
                  <a:close/>
                  <a:moveTo>
                    <a:pt x="155" y="104"/>
                  </a:moveTo>
                  <a:lnTo>
                    <a:pt x="157" y="104"/>
                  </a:lnTo>
                  <a:lnTo>
                    <a:pt x="155" y="104"/>
                  </a:lnTo>
                  <a:close/>
                  <a:moveTo>
                    <a:pt x="433" y="21"/>
                  </a:moveTo>
                  <a:lnTo>
                    <a:pt x="433" y="23"/>
                  </a:lnTo>
                  <a:lnTo>
                    <a:pt x="433" y="21"/>
                  </a:lnTo>
                  <a:close/>
                  <a:moveTo>
                    <a:pt x="341" y="406"/>
                  </a:moveTo>
                  <a:lnTo>
                    <a:pt x="343" y="406"/>
                  </a:lnTo>
                  <a:lnTo>
                    <a:pt x="341" y="406"/>
                  </a:lnTo>
                  <a:close/>
                  <a:moveTo>
                    <a:pt x="591" y="286"/>
                  </a:moveTo>
                  <a:lnTo>
                    <a:pt x="591" y="288"/>
                  </a:lnTo>
                  <a:lnTo>
                    <a:pt x="591" y="286"/>
                  </a:lnTo>
                  <a:close/>
                  <a:moveTo>
                    <a:pt x="591" y="283"/>
                  </a:moveTo>
                  <a:lnTo>
                    <a:pt x="591" y="285"/>
                  </a:lnTo>
                  <a:lnTo>
                    <a:pt x="591" y="283"/>
                  </a:lnTo>
                  <a:close/>
                  <a:moveTo>
                    <a:pt x="430" y="21"/>
                  </a:moveTo>
                  <a:lnTo>
                    <a:pt x="430" y="23"/>
                  </a:lnTo>
                  <a:lnTo>
                    <a:pt x="430" y="21"/>
                  </a:lnTo>
                  <a:close/>
                  <a:moveTo>
                    <a:pt x="345" y="98"/>
                  </a:moveTo>
                  <a:lnTo>
                    <a:pt x="347" y="98"/>
                  </a:lnTo>
                  <a:lnTo>
                    <a:pt x="345" y="98"/>
                  </a:lnTo>
                  <a:close/>
                  <a:moveTo>
                    <a:pt x="59" y="173"/>
                  </a:moveTo>
                  <a:lnTo>
                    <a:pt x="61" y="173"/>
                  </a:lnTo>
                  <a:lnTo>
                    <a:pt x="59" y="173"/>
                  </a:lnTo>
                  <a:close/>
                  <a:moveTo>
                    <a:pt x="19" y="188"/>
                  </a:moveTo>
                  <a:lnTo>
                    <a:pt x="21" y="188"/>
                  </a:lnTo>
                  <a:lnTo>
                    <a:pt x="21" y="190"/>
                  </a:lnTo>
                  <a:lnTo>
                    <a:pt x="19" y="190"/>
                  </a:lnTo>
                  <a:lnTo>
                    <a:pt x="19" y="188"/>
                  </a:lnTo>
                  <a:close/>
                  <a:moveTo>
                    <a:pt x="426" y="18"/>
                  </a:moveTo>
                  <a:lnTo>
                    <a:pt x="428" y="18"/>
                  </a:lnTo>
                  <a:lnTo>
                    <a:pt x="426" y="18"/>
                  </a:lnTo>
                  <a:close/>
                  <a:moveTo>
                    <a:pt x="430" y="21"/>
                  </a:moveTo>
                  <a:lnTo>
                    <a:pt x="432" y="21"/>
                  </a:lnTo>
                  <a:lnTo>
                    <a:pt x="432" y="23"/>
                  </a:lnTo>
                  <a:lnTo>
                    <a:pt x="430" y="23"/>
                  </a:lnTo>
                  <a:lnTo>
                    <a:pt x="430" y="21"/>
                  </a:lnTo>
                  <a:close/>
                  <a:moveTo>
                    <a:pt x="428" y="19"/>
                  </a:moveTo>
                  <a:lnTo>
                    <a:pt x="428" y="21"/>
                  </a:lnTo>
                  <a:lnTo>
                    <a:pt x="428" y="19"/>
                  </a:lnTo>
                  <a:close/>
                  <a:moveTo>
                    <a:pt x="222" y="89"/>
                  </a:moveTo>
                  <a:lnTo>
                    <a:pt x="222" y="91"/>
                  </a:lnTo>
                  <a:lnTo>
                    <a:pt x="222" y="89"/>
                  </a:lnTo>
                  <a:close/>
                  <a:moveTo>
                    <a:pt x="339" y="66"/>
                  </a:moveTo>
                  <a:lnTo>
                    <a:pt x="341" y="66"/>
                  </a:lnTo>
                  <a:lnTo>
                    <a:pt x="339" y="66"/>
                  </a:lnTo>
                  <a:close/>
                  <a:moveTo>
                    <a:pt x="495" y="479"/>
                  </a:moveTo>
                  <a:lnTo>
                    <a:pt x="497" y="479"/>
                  </a:lnTo>
                  <a:lnTo>
                    <a:pt x="495" y="479"/>
                  </a:lnTo>
                  <a:close/>
                  <a:moveTo>
                    <a:pt x="347" y="66"/>
                  </a:moveTo>
                  <a:lnTo>
                    <a:pt x="347" y="67"/>
                  </a:lnTo>
                  <a:lnTo>
                    <a:pt x="347" y="66"/>
                  </a:lnTo>
                  <a:close/>
                  <a:moveTo>
                    <a:pt x="531" y="175"/>
                  </a:moveTo>
                  <a:lnTo>
                    <a:pt x="531" y="177"/>
                  </a:lnTo>
                  <a:lnTo>
                    <a:pt x="531" y="175"/>
                  </a:lnTo>
                  <a:close/>
                  <a:moveTo>
                    <a:pt x="36" y="187"/>
                  </a:moveTo>
                  <a:lnTo>
                    <a:pt x="38" y="187"/>
                  </a:lnTo>
                  <a:lnTo>
                    <a:pt x="36" y="187"/>
                  </a:lnTo>
                  <a:close/>
                  <a:moveTo>
                    <a:pt x="32" y="188"/>
                  </a:moveTo>
                  <a:lnTo>
                    <a:pt x="34" y="188"/>
                  </a:lnTo>
                  <a:lnTo>
                    <a:pt x="32" y="188"/>
                  </a:lnTo>
                  <a:close/>
                  <a:moveTo>
                    <a:pt x="155" y="400"/>
                  </a:moveTo>
                  <a:lnTo>
                    <a:pt x="155" y="402"/>
                  </a:lnTo>
                  <a:lnTo>
                    <a:pt x="155" y="400"/>
                  </a:lnTo>
                  <a:close/>
                  <a:moveTo>
                    <a:pt x="190" y="77"/>
                  </a:moveTo>
                  <a:lnTo>
                    <a:pt x="192" y="77"/>
                  </a:lnTo>
                  <a:lnTo>
                    <a:pt x="190" y="77"/>
                  </a:lnTo>
                  <a:close/>
                  <a:moveTo>
                    <a:pt x="529" y="173"/>
                  </a:moveTo>
                  <a:lnTo>
                    <a:pt x="529" y="175"/>
                  </a:lnTo>
                  <a:lnTo>
                    <a:pt x="529" y="173"/>
                  </a:lnTo>
                  <a:close/>
                  <a:moveTo>
                    <a:pt x="533" y="192"/>
                  </a:moveTo>
                  <a:lnTo>
                    <a:pt x="535" y="192"/>
                  </a:lnTo>
                  <a:lnTo>
                    <a:pt x="533" y="192"/>
                  </a:lnTo>
                  <a:close/>
                  <a:moveTo>
                    <a:pt x="153" y="102"/>
                  </a:moveTo>
                  <a:lnTo>
                    <a:pt x="153" y="104"/>
                  </a:lnTo>
                  <a:lnTo>
                    <a:pt x="153" y="102"/>
                  </a:lnTo>
                  <a:close/>
                  <a:moveTo>
                    <a:pt x="159" y="104"/>
                  </a:moveTo>
                  <a:lnTo>
                    <a:pt x="161" y="104"/>
                  </a:lnTo>
                  <a:lnTo>
                    <a:pt x="161" y="106"/>
                  </a:lnTo>
                  <a:lnTo>
                    <a:pt x="159" y="106"/>
                  </a:lnTo>
                  <a:lnTo>
                    <a:pt x="159" y="104"/>
                  </a:lnTo>
                  <a:close/>
                  <a:moveTo>
                    <a:pt x="539" y="194"/>
                  </a:moveTo>
                  <a:lnTo>
                    <a:pt x="541" y="194"/>
                  </a:lnTo>
                  <a:lnTo>
                    <a:pt x="539" y="194"/>
                  </a:lnTo>
                  <a:close/>
                  <a:moveTo>
                    <a:pt x="176" y="87"/>
                  </a:moveTo>
                  <a:lnTo>
                    <a:pt x="176" y="89"/>
                  </a:lnTo>
                  <a:lnTo>
                    <a:pt x="176" y="87"/>
                  </a:lnTo>
                  <a:close/>
                  <a:moveTo>
                    <a:pt x="318" y="386"/>
                  </a:moveTo>
                  <a:lnTo>
                    <a:pt x="320" y="386"/>
                  </a:lnTo>
                  <a:lnTo>
                    <a:pt x="320" y="388"/>
                  </a:lnTo>
                  <a:lnTo>
                    <a:pt x="318" y="388"/>
                  </a:lnTo>
                  <a:lnTo>
                    <a:pt x="318" y="386"/>
                  </a:lnTo>
                  <a:close/>
                  <a:moveTo>
                    <a:pt x="61" y="169"/>
                  </a:moveTo>
                  <a:lnTo>
                    <a:pt x="61" y="171"/>
                  </a:lnTo>
                  <a:lnTo>
                    <a:pt x="61" y="169"/>
                  </a:lnTo>
                  <a:close/>
                  <a:moveTo>
                    <a:pt x="11" y="298"/>
                  </a:moveTo>
                  <a:lnTo>
                    <a:pt x="11" y="300"/>
                  </a:lnTo>
                  <a:lnTo>
                    <a:pt x="11" y="298"/>
                  </a:lnTo>
                  <a:close/>
                  <a:moveTo>
                    <a:pt x="337" y="37"/>
                  </a:moveTo>
                  <a:lnTo>
                    <a:pt x="339" y="37"/>
                  </a:lnTo>
                  <a:lnTo>
                    <a:pt x="339" y="39"/>
                  </a:lnTo>
                  <a:lnTo>
                    <a:pt x="337" y="39"/>
                  </a:lnTo>
                  <a:lnTo>
                    <a:pt x="337" y="37"/>
                  </a:lnTo>
                  <a:close/>
                  <a:moveTo>
                    <a:pt x="176" y="77"/>
                  </a:moveTo>
                  <a:lnTo>
                    <a:pt x="176" y="79"/>
                  </a:lnTo>
                  <a:lnTo>
                    <a:pt x="176" y="77"/>
                  </a:lnTo>
                  <a:close/>
                  <a:moveTo>
                    <a:pt x="155" y="106"/>
                  </a:moveTo>
                  <a:lnTo>
                    <a:pt x="157" y="106"/>
                  </a:lnTo>
                  <a:lnTo>
                    <a:pt x="157" y="108"/>
                  </a:lnTo>
                  <a:lnTo>
                    <a:pt x="155" y="108"/>
                  </a:lnTo>
                  <a:lnTo>
                    <a:pt x="155" y="106"/>
                  </a:lnTo>
                  <a:close/>
                  <a:moveTo>
                    <a:pt x="506" y="519"/>
                  </a:moveTo>
                  <a:lnTo>
                    <a:pt x="508" y="519"/>
                  </a:lnTo>
                  <a:lnTo>
                    <a:pt x="508" y="521"/>
                  </a:lnTo>
                  <a:lnTo>
                    <a:pt x="506" y="521"/>
                  </a:lnTo>
                  <a:lnTo>
                    <a:pt x="506" y="519"/>
                  </a:lnTo>
                  <a:close/>
                  <a:moveTo>
                    <a:pt x="34" y="177"/>
                  </a:moveTo>
                  <a:lnTo>
                    <a:pt x="34" y="179"/>
                  </a:lnTo>
                  <a:lnTo>
                    <a:pt x="34" y="177"/>
                  </a:lnTo>
                  <a:close/>
                  <a:moveTo>
                    <a:pt x="433" y="2"/>
                  </a:moveTo>
                  <a:lnTo>
                    <a:pt x="433" y="4"/>
                  </a:lnTo>
                  <a:lnTo>
                    <a:pt x="433" y="2"/>
                  </a:lnTo>
                  <a:close/>
                  <a:moveTo>
                    <a:pt x="178" y="85"/>
                  </a:moveTo>
                  <a:lnTo>
                    <a:pt x="180" y="85"/>
                  </a:lnTo>
                  <a:lnTo>
                    <a:pt x="180" y="87"/>
                  </a:lnTo>
                  <a:lnTo>
                    <a:pt x="178" y="87"/>
                  </a:lnTo>
                  <a:lnTo>
                    <a:pt x="178" y="85"/>
                  </a:lnTo>
                  <a:close/>
                  <a:moveTo>
                    <a:pt x="144" y="394"/>
                  </a:moveTo>
                  <a:lnTo>
                    <a:pt x="146" y="394"/>
                  </a:lnTo>
                  <a:lnTo>
                    <a:pt x="144" y="394"/>
                  </a:lnTo>
                  <a:close/>
                  <a:moveTo>
                    <a:pt x="238" y="87"/>
                  </a:moveTo>
                  <a:lnTo>
                    <a:pt x="238" y="89"/>
                  </a:lnTo>
                  <a:lnTo>
                    <a:pt x="238" y="87"/>
                  </a:lnTo>
                  <a:close/>
                  <a:moveTo>
                    <a:pt x="493" y="480"/>
                  </a:moveTo>
                  <a:lnTo>
                    <a:pt x="495" y="480"/>
                  </a:lnTo>
                  <a:lnTo>
                    <a:pt x="493" y="480"/>
                  </a:lnTo>
                  <a:close/>
                  <a:moveTo>
                    <a:pt x="155" y="110"/>
                  </a:moveTo>
                  <a:lnTo>
                    <a:pt x="155" y="112"/>
                  </a:lnTo>
                  <a:lnTo>
                    <a:pt x="155" y="110"/>
                  </a:lnTo>
                  <a:close/>
                  <a:moveTo>
                    <a:pt x="195" y="69"/>
                  </a:moveTo>
                  <a:lnTo>
                    <a:pt x="195" y="71"/>
                  </a:lnTo>
                  <a:lnTo>
                    <a:pt x="195" y="69"/>
                  </a:lnTo>
                  <a:close/>
                  <a:moveTo>
                    <a:pt x="222" y="89"/>
                  </a:moveTo>
                  <a:lnTo>
                    <a:pt x="222" y="91"/>
                  </a:lnTo>
                  <a:lnTo>
                    <a:pt x="222" y="89"/>
                  </a:lnTo>
                  <a:close/>
                  <a:moveTo>
                    <a:pt x="180" y="75"/>
                  </a:moveTo>
                  <a:lnTo>
                    <a:pt x="180" y="77"/>
                  </a:lnTo>
                  <a:lnTo>
                    <a:pt x="180" y="75"/>
                  </a:lnTo>
                  <a:close/>
                  <a:moveTo>
                    <a:pt x="518" y="513"/>
                  </a:moveTo>
                  <a:lnTo>
                    <a:pt x="518" y="515"/>
                  </a:lnTo>
                  <a:lnTo>
                    <a:pt x="518" y="513"/>
                  </a:lnTo>
                  <a:close/>
                  <a:moveTo>
                    <a:pt x="42" y="179"/>
                  </a:moveTo>
                  <a:lnTo>
                    <a:pt x="44" y="179"/>
                  </a:lnTo>
                  <a:lnTo>
                    <a:pt x="42" y="179"/>
                  </a:lnTo>
                  <a:close/>
                  <a:moveTo>
                    <a:pt x="339" y="35"/>
                  </a:moveTo>
                  <a:lnTo>
                    <a:pt x="339" y="37"/>
                  </a:lnTo>
                  <a:lnTo>
                    <a:pt x="339" y="35"/>
                  </a:lnTo>
                  <a:close/>
                  <a:moveTo>
                    <a:pt x="170" y="108"/>
                  </a:moveTo>
                  <a:lnTo>
                    <a:pt x="172" y="108"/>
                  </a:lnTo>
                  <a:lnTo>
                    <a:pt x="170" y="108"/>
                  </a:lnTo>
                  <a:close/>
                  <a:moveTo>
                    <a:pt x="80" y="167"/>
                  </a:moveTo>
                  <a:lnTo>
                    <a:pt x="82" y="167"/>
                  </a:lnTo>
                  <a:lnTo>
                    <a:pt x="82" y="169"/>
                  </a:lnTo>
                  <a:lnTo>
                    <a:pt x="80" y="169"/>
                  </a:lnTo>
                  <a:lnTo>
                    <a:pt x="80" y="167"/>
                  </a:lnTo>
                  <a:close/>
                  <a:moveTo>
                    <a:pt x="485" y="139"/>
                  </a:moveTo>
                  <a:lnTo>
                    <a:pt x="487" y="139"/>
                  </a:lnTo>
                  <a:lnTo>
                    <a:pt x="487" y="140"/>
                  </a:lnTo>
                  <a:lnTo>
                    <a:pt x="485" y="140"/>
                  </a:lnTo>
                  <a:lnTo>
                    <a:pt x="485" y="139"/>
                  </a:lnTo>
                  <a:close/>
                  <a:moveTo>
                    <a:pt x="224" y="91"/>
                  </a:moveTo>
                  <a:lnTo>
                    <a:pt x="224" y="92"/>
                  </a:lnTo>
                  <a:lnTo>
                    <a:pt x="224" y="91"/>
                  </a:lnTo>
                  <a:close/>
                  <a:moveTo>
                    <a:pt x="527" y="173"/>
                  </a:moveTo>
                  <a:lnTo>
                    <a:pt x="529" y="173"/>
                  </a:lnTo>
                  <a:lnTo>
                    <a:pt x="527" y="173"/>
                  </a:lnTo>
                  <a:close/>
                  <a:moveTo>
                    <a:pt x="497" y="490"/>
                  </a:moveTo>
                  <a:lnTo>
                    <a:pt x="499" y="490"/>
                  </a:lnTo>
                  <a:lnTo>
                    <a:pt x="497" y="490"/>
                  </a:lnTo>
                  <a:close/>
                  <a:moveTo>
                    <a:pt x="157" y="100"/>
                  </a:moveTo>
                  <a:lnTo>
                    <a:pt x="157" y="102"/>
                  </a:lnTo>
                  <a:lnTo>
                    <a:pt x="157" y="100"/>
                  </a:lnTo>
                  <a:close/>
                  <a:moveTo>
                    <a:pt x="560" y="225"/>
                  </a:moveTo>
                  <a:lnTo>
                    <a:pt x="562" y="225"/>
                  </a:lnTo>
                  <a:lnTo>
                    <a:pt x="560" y="225"/>
                  </a:lnTo>
                  <a:close/>
                  <a:moveTo>
                    <a:pt x="147" y="108"/>
                  </a:moveTo>
                  <a:lnTo>
                    <a:pt x="149" y="108"/>
                  </a:lnTo>
                  <a:lnTo>
                    <a:pt x="147" y="108"/>
                  </a:lnTo>
                  <a:close/>
                  <a:moveTo>
                    <a:pt x="132" y="394"/>
                  </a:moveTo>
                  <a:lnTo>
                    <a:pt x="132" y="396"/>
                  </a:lnTo>
                  <a:lnTo>
                    <a:pt x="132" y="394"/>
                  </a:lnTo>
                  <a:close/>
                  <a:moveTo>
                    <a:pt x="172" y="91"/>
                  </a:moveTo>
                  <a:lnTo>
                    <a:pt x="174" y="91"/>
                  </a:lnTo>
                  <a:lnTo>
                    <a:pt x="172" y="91"/>
                  </a:lnTo>
                  <a:close/>
                  <a:moveTo>
                    <a:pt x="351" y="388"/>
                  </a:moveTo>
                  <a:lnTo>
                    <a:pt x="351" y="390"/>
                  </a:lnTo>
                  <a:lnTo>
                    <a:pt x="351" y="388"/>
                  </a:lnTo>
                  <a:close/>
                  <a:moveTo>
                    <a:pt x="337" y="62"/>
                  </a:moveTo>
                  <a:lnTo>
                    <a:pt x="339" y="62"/>
                  </a:lnTo>
                  <a:lnTo>
                    <a:pt x="337" y="62"/>
                  </a:lnTo>
                  <a:close/>
                  <a:moveTo>
                    <a:pt x="190" y="79"/>
                  </a:moveTo>
                  <a:lnTo>
                    <a:pt x="192" y="79"/>
                  </a:lnTo>
                  <a:lnTo>
                    <a:pt x="190" y="79"/>
                  </a:lnTo>
                  <a:close/>
                  <a:moveTo>
                    <a:pt x="170" y="92"/>
                  </a:moveTo>
                  <a:lnTo>
                    <a:pt x="170" y="94"/>
                  </a:lnTo>
                  <a:lnTo>
                    <a:pt x="170" y="92"/>
                  </a:lnTo>
                  <a:close/>
                  <a:moveTo>
                    <a:pt x="186" y="73"/>
                  </a:moveTo>
                  <a:lnTo>
                    <a:pt x="188" y="73"/>
                  </a:lnTo>
                  <a:lnTo>
                    <a:pt x="188" y="75"/>
                  </a:lnTo>
                  <a:lnTo>
                    <a:pt x="186" y="75"/>
                  </a:lnTo>
                  <a:lnTo>
                    <a:pt x="186" y="73"/>
                  </a:lnTo>
                  <a:close/>
                  <a:moveTo>
                    <a:pt x="57" y="169"/>
                  </a:moveTo>
                  <a:lnTo>
                    <a:pt x="57" y="171"/>
                  </a:lnTo>
                  <a:lnTo>
                    <a:pt x="57" y="169"/>
                  </a:lnTo>
                  <a:close/>
                  <a:moveTo>
                    <a:pt x="524" y="167"/>
                  </a:moveTo>
                  <a:lnTo>
                    <a:pt x="526" y="167"/>
                  </a:lnTo>
                  <a:lnTo>
                    <a:pt x="524" y="167"/>
                  </a:lnTo>
                  <a:close/>
                  <a:moveTo>
                    <a:pt x="155" y="106"/>
                  </a:moveTo>
                  <a:lnTo>
                    <a:pt x="157" y="106"/>
                  </a:lnTo>
                  <a:lnTo>
                    <a:pt x="157" y="108"/>
                  </a:lnTo>
                  <a:lnTo>
                    <a:pt x="155" y="108"/>
                  </a:lnTo>
                  <a:lnTo>
                    <a:pt x="155" y="106"/>
                  </a:lnTo>
                  <a:close/>
                  <a:moveTo>
                    <a:pt x="591" y="288"/>
                  </a:moveTo>
                  <a:lnTo>
                    <a:pt x="593" y="288"/>
                  </a:lnTo>
                  <a:lnTo>
                    <a:pt x="591" y="288"/>
                  </a:lnTo>
                  <a:close/>
                  <a:moveTo>
                    <a:pt x="182" y="89"/>
                  </a:moveTo>
                  <a:lnTo>
                    <a:pt x="184" y="89"/>
                  </a:lnTo>
                  <a:lnTo>
                    <a:pt x="182" y="89"/>
                  </a:lnTo>
                  <a:close/>
                  <a:moveTo>
                    <a:pt x="547" y="188"/>
                  </a:moveTo>
                  <a:lnTo>
                    <a:pt x="547" y="190"/>
                  </a:lnTo>
                  <a:lnTo>
                    <a:pt x="547" y="188"/>
                  </a:lnTo>
                  <a:close/>
                  <a:moveTo>
                    <a:pt x="495" y="479"/>
                  </a:moveTo>
                  <a:lnTo>
                    <a:pt x="495" y="480"/>
                  </a:lnTo>
                  <a:lnTo>
                    <a:pt x="495" y="479"/>
                  </a:lnTo>
                  <a:close/>
                  <a:moveTo>
                    <a:pt x="23" y="194"/>
                  </a:moveTo>
                  <a:lnTo>
                    <a:pt x="25" y="194"/>
                  </a:lnTo>
                  <a:lnTo>
                    <a:pt x="23" y="194"/>
                  </a:lnTo>
                  <a:close/>
                  <a:moveTo>
                    <a:pt x="347" y="27"/>
                  </a:moveTo>
                  <a:lnTo>
                    <a:pt x="349" y="27"/>
                  </a:lnTo>
                  <a:lnTo>
                    <a:pt x="347" y="27"/>
                  </a:lnTo>
                  <a:close/>
                  <a:moveTo>
                    <a:pt x="583" y="252"/>
                  </a:moveTo>
                  <a:lnTo>
                    <a:pt x="585" y="252"/>
                  </a:lnTo>
                  <a:lnTo>
                    <a:pt x="583" y="252"/>
                  </a:lnTo>
                  <a:close/>
                  <a:moveTo>
                    <a:pt x="426" y="25"/>
                  </a:moveTo>
                  <a:lnTo>
                    <a:pt x="426" y="27"/>
                  </a:lnTo>
                  <a:lnTo>
                    <a:pt x="426" y="25"/>
                  </a:lnTo>
                  <a:close/>
                  <a:moveTo>
                    <a:pt x="504" y="563"/>
                  </a:moveTo>
                  <a:lnTo>
                    <a:pt x="504" y="565"/>
                  </a:lnTo>
                  <a:lnTo>
                    <a:pt x="504" y="563"/>
                  </a:lnTo>
                  <a:close/>
                  <a:moveTo>
                    <a:pt x="529" y="173"/>
                  </a:moveTo>
                  <a:lnTo>
                    <a:pt x="529" y="175"/>
                  </a:lnTo>
                  <a:lnTo>
                    <a:pt x="529" y="173"/>
                  </a:lnTo>
                  <a:close/>
                  <a:moveTo>
                    <a:pt x="155" y="108"/>
                  </a:moveTo>
                  <a:lnTo>
                    <a:pt x="157" y="108"/>
                  </a:lnTo>
                  <a:lnTo>
                    <a:pt x="155" y="108"/>
                  </a:lnTo>
                  <a:close/>
                  <a:moveTo>
                    <a:pt x="351" y="66"/>
                  </a:moveTo>
                  <a:lnTo>
                    <a:pt x="351" y="67"/>
                  </a:lnTo>
                  <a:lnTo>
                    <a:pt x="351" y="66"/>
                  </a:lnTo>
                  <a:close/>
                  <a:moveTo>
                    <a:pt x="207" y="69"/>
                  </a:moveTo>
                  <a:lnTo>
                    <a:pt x="209" y="69"/>
                  </a:lnTo>
                  <a:lnTo>
                    <a:pt x="207" y="69"/>
                  </a:lnTo>
                  <a:close/>
                  <a:moveTo>
                    <a:pt x="514" y="509"/>
                  </a:moveTo>
                  <a:lnTo>
                    <a:pt x="516" y="509"/>
                  </a:lnTo>
                  <a:lnTo>
                    <a:pt x="514" y="509"/>
                  </a:lnTo>
                  <a:close/>
                  <a:moveTo>
                    <a:pt x="336" y="404"/>
                  </a:moveTo>
                  <a:lnTo>
                    <a:pt x="336" y="406"/>
                  </a:lnTo>
                  <a:lnTo>
                    <a:pt x="336" y="404"/>
                  </a:lnTo>
                  <a:close/>
                  <a:moveTo>
                    <a:pt x="172" y="85"/>
                  </a:moveTo>
                  <a:lnTo>
                    <a:pt x="172" y="87"/>
                  </a:lnTo>
                  <a:lnTo>
                    <a:pt x="172" y="85"/>
                  </a:lnTo>
                  <a:close/>
                  <a:moveTo>
                    <a:pt x="190" y="77"/>
                  </a:moveTo>
                  <a:lnTo>
                    <a:pt x="192" y="77"/>
                  </a:lnTo>
                  <a:lnTo>
                    <a:pt x="190" y="77"/>
                  </a:lnTo>
                  <a:close/>
                  <a:moveTo>
                    <a:pt x="337" y="415"/>
                  </a:moveTo>
                  <a:lnTo>
                    <a:pt x="337" y="417"/>
                  </a:lnTo>
                  <a:lnTo>
                    <a:pt x="337" y="415"/>
                  </a:lnTo>
                  <a:close/>
                  <a:moveTo>
                    <a:pt x="518" y="513"/>
                  </a:moveTo>
                  <a:lnTo>
                    <a:pt x="518" y="515"/>
                  </a:lnTo>
                  <a:lnTo>
                    <a:pt x="518" y="513"/>
                  </a:lnTo>
                  <a:close/>
                  <a:moveTo>
                    <a:pt x="514" y="509"/>
                  </a:moveTo>
                  <a:lnTo>
                    <a:pt x="514" y="511"/>
                  </a:lnTo>
                  <a:lnTo>
                    <a:pt x="514" y="509"/>
                  </a:lnTo>
                  <a:close/>
                  <a:moveTo>
                    <a:pt x="537" y="202"/>
                  </a:moveTo>
                  <a:lnTo>
                    <a:pt x="539" y="202"/>
                  </a:lnTo>
                  <a:lnTo>
                    <a:pt x="537" y="202"/>
                  </a:lnTo>
                  <a:close/>
                  <a:moveTo>
                    <a:pt x="153" y="121"/>
                  </a:moveTo>
                  <a:lnTo>
                    <a:pt x="153" y="123"/>
                  </a:lnTo>
                  <a:lnTo>
                    <a:pt x="153" y="121"/>
                  </a:lnTo>
                  <a:close/>
                  <a:moveTo>
                    <a:pt x="153" y="102"/>
                  </a:moveTo>
                  <a:lnTo>
                    <a:pt x="153" y="104"/>
                  </a:lnTo>
                  <a:lnTo>
                    <a:pt x="153" y="102"/>
                  </a:lnTo>
                  <a:close/>
                  <a:moveTo>
                    <a:pt x="589" y="281"/>
                  </a:moveTo>
                  <a:lnTo>
                    <a:pt x="589" y="283"/>
                  </a:lnTo>
                  <a:lnTo>
                    <a:pt x="589" y="281"/>
                  </a:lnTo>
                  <a:close/>
                  <a:moveTo>
                    <a:pt x="493" y="479"/>
                  </a:moveTo>
                  <a:lnTo>
                    <a:pt x="495" y="479"/>
                  </a:lnTo>
                  <a:lnTo>
                    <a:pt x="493" y="479"/>
                  </a:lnTo>
                  <a:close/>
                  <a:moveTo>
                    <a:pt x="591" y="286"/>
                  </a:moveTo>
                  <a:lnTo>
                    <a:pt x="591" y="288"/>
                  </a:lnTo>
                  <a:lnTo>
                    <a:pt x="591" y="286"/>
                  </a:lnTo>
                  <a:close/>
                  <a:moveTo>
                    <a:pt x="159" y="104"/>
                  </a:moveTo>
                  <a:lnTo>
                    <a:pt x="159" y="106"/>
                  </a:lnTo>
                  <a:lnTo>
                    <a:pt x="159" y="104"/>
                  </a:lnTo>
                  <a:close/>
                  <a:moveTo>
                    <a:pt x="157" y="106"/>
                  </a:moveTo>
                  <a:lnTo>
                    <a:pt x="159" y="106"/>
                  </a:lnTo>
                  <a:lnTo>
                    <a:pt x="157" y="106"/>
                  </a:lnTo>
                  <a:close/>
                  <a:moveTo>
                    <a:pt x="510" y="507"/>
                  </a:moveTo>
                  <a:lnTo>
                    <a:pt x="512" y="507"/>
                  </a:lnTo>
                  <a:lnTo>
                    <a:pt x="510" y="507"/>
                  </a:lnTo>
                  <a:close/>
                  <a:moveTo>
                    <a:pt x="184" y="77"/>
                  </a:moveTo>
                  <a:lnTo>
                    <a:pt x="184" y="79"/>
                  </a:lnTo>
                  <a:lnTo>
                    <a:pt x="184" y="77"/>
                  </a:lnTo>
                  <a:close/>
                  <a:moveTo>
                    <a:pt x="541" y="457"/>
                  </a:moveTo>
                  <a:lnTo>
                    <a:pt x="541" y="459"/>
                  </a:lnTo>
                  <a:lnTo>
                    <a:pt x="541" y="457"/>
                  </a:lnTo>
                  <a:close/>
                  <a:moveTo>
                    <a:pt x="182" y="79"/>
                  </a:moveTo>
                  <a:lnTo>
                    <a:pt x="182" y="81"/>
                  </a:lnTo>
                  <a:lnTo>
                    <a:pt x="182" y="79"/>
                  </a:lnTo>
                  <a:close/>
                  <a:moveTo>
                    <a:pt x="493" y="479"/>
                  </a:moveTo>
                  <a:lnTo>
                    <a:pt x="493" y="480"/>
                  </a:lnTo>
                  <a:lnTo>
                    <a:pt x="493" y="479"/>
                  </a:lnTo>
                  <a:close/>
                  <a:moveTo>
                    <a:pt x="291" y="25"/>
                  </a:moveTo>
                  <a:lnTo>
                    <a:pt x="291" y="27"/>
                  </a:lnTo>
                  <a:lnTo>
                    <a:pt x="291" y="25"/>
                  </a:lnTo>
                  <a:close/>
                  <a:moveTo>
                    <a:pt x="585" y="252"/>
                  </a:moveTo>
                  <a:lnTo>
                    <a:pt x="585" y="254"/>
                  </a:lnTo>
                  <a:lnTo>
                    <a:pt x="585" y="252"/>
                  </a:lnTo>
                  <a:close/>
                  <a:moveTo>
                    <a:pt x="456" y="75"/>
                  </a:moveTo>
                  <a:lnTo>
                    <a:pt x="458" y="75"/>
                  </a:lnTo>
                  <a:lnTo>
                    <a:pt x="456" y="75"/>
                  </a:lnTo>
                  <a:close/>
                  <a:moveTo>
                    <a:pt x="155" y="108"/>
                  </a:moveTo>
                  <a:lnTo>
                    <a:pt x="157" y="108"/>
                  </a:lnTo>
                  <a:lnTo>
                    <a:pt x="155" y="108"/>
                  </a:lnTo>
                  <a:close/>
                  <a:moveTo>
                    <a:pt x="71" y="171"/>
                  </a:moveTo>
                  <a:lnTo>
                    <a:pt x="73" y="171"/>
                  </a:lnTo>
                  <a:lnTo>
                    <a:pt x="71" y="171"/>
                  </a:lnTo>
                  <a:close/>
                  <a:moveTo>
                    <a:pt x="487" y="486"/>
                  </a:moveTo>
                  <a:lnTo>
                    <a:pt x="487" y="488"/>
                  </a:lnTo>
                  <a:lnTo>
                    <a:pt x="487" y="486"/>
                  </a:lnTo>
                  <a:close/>
                  <a:moveTo>
                    <a:pt x="585" y="333"/>
                  </a:moveTo>
                  <a:lnTo>
                    <a:pt x="587" y="333"/>
                  </a:lnTo>
                  <a:lnTo>
                    <a:pt x="587" y="334"/>
                  </a:lnTo>
                  <a:lnTo>
                    <a:pt x="585" y="334"/>
                  </a:lnTo>
                  <a:lnTo>
                    <a:pt x="585" y="333"/>
                  </a:lnTo>
                  <a:close/>
                  <a:moveTo>
                    <a:pt x="560" y="225"/>
                  </a:moveTo>
                  <a:lnTo>
                    <a:pt x="562" y="225"/>
                  </a:lnTo>
                  <a:lnTo>
                    <a:pt x="560" y="225"/>
                  </a:lnTo>
                  <a:close/>
                  <a:moveTo>
                    <a:pt x="579" y="358"/>
                  </a:moveTo>
                  <a:lnTo>
                    <a:pt x="579" y="359"/>
                  </a:lnTo>
                  <a:lnTo>
                    <a:pt x="579" y="358"/>
                  </a:lnTo>
                  <a:close/>
                  <a:moveTo>
                    <a:pt x="161" y="106"/>
                  </a:moveTo>
                  <a:lnTo>
                    <a:pt x="161" y="108"/>
                  </a:lnTo>
                  <a:lnTo>
                    <a:pt x="161" y="106"/>
                  </a:lnTo>
                  <a:close/>
                  <a:moveTo>
                    <a:pt x="491" y="144"/>
                  </a:moveTo>
                  <a:lnTo>
                    <a:pt x="491" y="146"/>
                  </a:lnTo>
                  <a:lnTo>
                    <a:pt x="491" y="144"/>
                  </a:lnTo>
                  <a:close/>
                  <a:moveTo>
                    <a:pt x="347" y="66"/>
                  </a:moveTo>
                  <a:lnTo>
                    <a:pt x="347" y="67"/>
                  </a:lnTo>
                  <a:lnTo>
                    <a:pt x="347" y="66"/>
                  </a:lnTo>
                  <a:close/>
                  <a:moveTo>
                    <a:pt x="575" y="369"/>
                  </a:moveTo>
                  <a:lnTo>
                    <a:pt x="575" y="371"/>
                  </a:lnTo>
                  <a:lnTo>
                    <a:pt x="575" y="369"/>
                  </a:lnTo>
                  <a:close/>
                  <a:moveTo>
                    <a:pt x="380" y="423"/>
                  </a:moveTo>
                  <a:lnTo>
                    <a:pt x="382" y="423"/>
                  </a:lnTo>
                  <a:lnTo>
                    <a:pt x="380" y="423"/>
                  </a:lnTo>
                  <a:close/>
                  <a:moveTo>
                    <a:pt x="153" y="123"/>
                  </a:moveTo>
                  <a:lnTo>
                    <a:pt x="155" y="123"/>
                  </a:lnTo>
                  <a:lnTo>
                    <a:pt x="153" y="123"/>
                  </a:lnTo>
                  <a:close/>
                  <a:moveTo>
                    <a:pt x="533" y="175"/>
                  </a:moveTo>
                  <a:lnTo>
                    <a:pt x="535" y="175"/>
                  </a:lnTo>
                  <a:lnTo>
                    <a:pt x="533" y="175"/>
                  </a:lnTo>
                  <a:close/>
                  <a:moveTo>
                    <a:pt x="545" y="200"/>
                  </a:moveTo>
                  <a:lnTo>
                    <a:pt x="547" y="200"/>
                  </a:lnTo>
                  <a:lnTo>
                    <a:pt x="545" y="200"/>
                  </a:lnTo>
                  <a:close/>
                  <a:moveTo>
                    <a:pt x="155" y="121"/>
                  </a:moveTo>
                  <a:lnTo>
                    <a:pt x="155" y="123"/>
                  </a:lnTo>
                  <a:lnTo>
                    <a:pt x="155" y="121"/>
                  </a:lnTo>
                  <a:close/>
                  <a:moveTo>
                    <a:pt x="169" y="91"/>
                  </a:moveTo>
                  <a:lnTo>
                    <a:pt x="169" y="92"/>
                  </a:lnTo>
                  <a:lnTo>
                    <a:pt x="169" y="91"/>
                  </a:lnTo>
                  <a:close/>
                  <a:moveTo>
                    <a:pt x="424" y="475"/>
                  </a:moveTo>
                  <a:lnTo>
                    <a:pt x="426" y="475"/>
                  </a:lnTo>
                  <a:lnTo>
                    <a:pt x="424" y="475"/>
                  </a:lnTo>
                  <a:close/>
                  <a:moveTo>
                    <a:pt x="512" y="567"/>
                  </a:moveTo>
                  <a:lnTo>
                    <a:pt x="512" y="569"/>
                  </a:lnTo>
                  <a:lnTo>
                    <a:pt x="512" y="567"/>
                  </a:lnTo>
                  <a:close/>
                  <a:moveTo>
                    <a:pt x="170" y="85"/>
                  </a:moveTo>
                  <a:lnTo>
                    <a:pt x="170" y="87"/>
                  </a:lnTo>
                  <a:lnTo>
                    <a:pt x="170" y="85"/>
                  </a:lnTo>
                  <a:close/>
                  <a:moveTo>
                    <a:pt x="591" y="285"/>
                  </a:moveTo>
                  <a:lnTo>
                    <a:pt x="591" y="286"/>
                  </a:lnTo>
                  <a:lnTo>
                    <a:pt x="591" y="285"/>
                  </a:lnTo>
                  <a:close/>
                  <a:moveTo>
                    <a:pt x="543" y="194"/>
                  </a:moveTo>
                  <a:lnTo>
                    <a:pt x="545" y="194"/>
                  </a:lnTo>
                  <a:lnTo>
                    <a:pt x="543" y="194"/>
                  </a:lnTo>
                  <a:close/>
                  <a:moveTo>
                    <a:pt x="506" y="561"/>
                  </a:moveTo>
                  <a:lnTo>
                    <a:pt x="508" y="561"/>
                  </a:lnTo>
                  <a:lnTo>
                    <a:pt x="508" y="563"/>
                  </a:lnTo>
                  <a:lnTo>
                    <a:pt x="506" y="563"/>
                  </a:lnTo>
                  <a:lnTo>
                    <a:pt x="506" y="561"/>
                  </a:lnTo>
                  <a:close/>
                  <a:moveTo>
                    <a:pt x="591" y="286"/>
                  </a:moveTo>
                  <a:lnTo>
                    <a:pt x="591" y="288"/>
                  </a:lnTo>
                  <a:lnTo>
                    <a:pt x="591" y="286"/>
                  </a:lnTo>
                  <a:close/>
                  <a:moveTo>
                    <a:pt x="591" y="285"/>
                  </a:moveTo>
                  <a:lnTo>
                    <a:pt x="591" y="286"/>
                  </a:lnTo>
                  <a:lnTo>
                    <a:pt x="591" y="285"/>
                  </a:lnTo>
                  <a:close/>
                  <a:moveTo>
                    <a:pt x="545" y="187"/>
                  </a:moveTo>
                  <a:lnTo>
                    <a:pt x="547" y="187"/>
                  </a:lnTo>
                  <a:lnTo>
                    <a:pt x="545" y="187"/>
                  </a:lnTo>
                  <a:close/>
                  <a:moveTo>
                    <a:pt x="466" y="77"/>
                  </a:moveTo>
                  <a:lnTo>
                    <a:pt x="466" y="79"/>
                  </a:lnTo>
                  <a:lnTo>
                    <a:pt x="466" y="77"/>
                  </a:lnTo>
                  <a:close/>
                  <a:moveTo>
                    <a:pt x="566" y="215"/>
                  </a:moveTo>
                  <a:lnTo>
                    <a:pt x="568" y="215"/>
                  </a:lnTo>
                  <a:lnTo>
                    <a:pt x="566" y="215"/>
                  </a:lnTo>
                  <a:close/>
                  <a:moveTo>
                    <a:pt x="176" y="91"/>
                  </a:moveTo>
                  <a:lnTo>
                    <a:pt x="176" y="92"/>
                  </a:lnTo>
                  <a:lnTo>
                    <a:pt x="176" y="91"/>
                  </a:lnTo>
                  <a:close/>
                  <a:moveTo>
                    <a:pt x="510" y="509"/>
                  </a:moveTo>
                  <a:lnTo>
                    <a:pt x="510" y="511"/>
                  </a:lnTo>
                  <a:lnTo>
                    <a:pt x="510" y="509"/>
                  </a:lnTo>
                  <a:close/>
                  <a:moveTo>
                    <a:pt x="433" y="19"/>
                  </a:moveTo>
                  <a:lnTo>
                    <a:pt x="433" y="21"/>
                  </a:lnTo>
                  <a:lnTo>
                    <a:pt x="433" y="19"/>
                  </a:lnTo>
                  <a:close/>
                  <a:moveTo>
                    <a:pt x="591" y="288"/>
                  </a:moveTo>
                  <a:lnTo>
                    <a:pt x="593" y="288"/>
                  </a:lnTo>
                  <a:lnTo>
                    <a:pt x="591" y="288"/>
                  </a:lnTo>
                  <a:close/>
                  <a:moveTo>
                    <a:pt x="299" y="365"/>
                  </a:moveTo>
                  <a:lnTo>
                    <a:pt x="299" y="367"/>
                  </a:lnTo>
                  <a:lnTo>
                    <a:pt x="299" y="365"/>
                  </a:lnTo>
                  <a:close/>
                  <a:moveTo>
                    <a:pt x="132" y="396"/>
                  </a:moveTo>
                  <a:lnTo>
                    <a:pt x="134" y="396"/>
                  </a:lnTo>
                  <a:lnTo>
                    <a:pt x="132" y="396"/>
                  </a:lnTo>
                  <a:close/>
                  <a:moveTo>
                    <a:pt x="493" y="479"/>
                  </a:moveTo>
                  <a:lnTo>
                    <a:pt x="493" y="480"/>
                  </a:lnTo>
                  <a:lnTo>
                    <a:pt x="493" y="479"/>
                  </a:lnTo>
                  <a:close/>
                  <a:moveTo>
                    <a:pt x="59" y="169"/>
                  </a:moveTo>
                  <a:lnTo>
                    <a:pt x="59" y="171"/>
                  </a:lnTo>
                  <a:lnTo>
                    <a:pt x="59" y="169"/>
                  </a:lnTo>
                  <a:close/>
                  <a:moveTo>
                    <a:pt x="451" y="498"/>
                  </a:moveTo>
                  <a:lnTo>
                    <a:pt x="453" y="498"/>
                  </a:lnTo>
                  <a:lnTo>
                    <a:pt x="451" y="498"/>
                  </a:lnTo>
                  <a:close/>
                  <a:moveTo>
                    <a:pt x="165" y="100"/>
                  </a:moveTo>
                  <a:lnTo>
                    <a:pt x="165" y="102"/>
                  </a:lnTo>
                  <a:lnTo>
                    <a:pt x="165" y="100"/>
                  </a:lnTo>
                  <a:close/>
                  <a:moveTo>
                    <a:pt x="34" y="187"/>
                  </a:moveTo>
                  <a:lnTo>
                    <a:pt x="36" y="187"/>
                  </a:lnTo>
                  <a:lnTo>
                    <a:pt x="34" y="187"/>
                  </a:lnTo>
                  <a:close/>
                  <a:moveTo>
                    <a:pt x="347" y="67"/>
                  </a:moveTo>
                  <a:lnTo>
                    <a:pt x="349" y="67"/>
                  </a:lnTo>
                  <a:lnTo>
                    <a:pt x="347" y="67"/>
                  </a:lnTo>
                  <a:close/>
                  <a:moveTo>
                    <a:pt x="545" y="187"/>
                  </a:moveTo>
                  <a:lnTo>
                    <a:pt x="547" y="187"/>
                  </a:lnTo>
                  <a:lnTo>
                    <a:pt x="545" y="187"/>
                  </a:lnTo>
                  <a:close/>
                  <a:moveTo>
                    <a:pt x="153" y="108"/>
                  </a:moveTo>
                  <a:lnTo>
                    <a:pt x="155" y="108"/>
                  </a:lnTo>
                  <a:lnTo>
                    <a:pt x="153" y="108"/>
                  </a:lnTo>
                  <a:close/>
                  <a:moveTo>
                    <a:pt x="172" y="85"/>
                  </a:moveTo>
                  <a:lnTo>
                    <a:pt x="172" y="87"/>
                  </a:lnTo>
                  <a:lnTo>
                    <a:pt x="172" y="85"/>
                  </a:lnTo>
                  <a:close/>
                  <a:moveTo>
                    <a:pt x="587" y="273"/>
                  </a:moveTo>
                  <a:lnTo>
                    <a:pt x="587" y="275"/>
                  </a:lnTo>
                  <a:lnTo>
                    <a:pt x="587" y="273"/>
                  </a:lnTo>
                  <a:close/>
                  <a:moveTo>
                    <a:pt x="128" y="392"/>
                  </a:moveTo>
                  <a:lnTo>
                    <a:pt x="130" y="392"/>
                  </a:lnTo>
                  <a:lnTo>
                    <a:pt x="128" y="392"/>
                  </a:lnTo>
                  <a:close/>
                  <a:moveTo>
                    <a:pt x="159" y="104"/>
                  </a:moveTo>
                  <a:lnTo>
                    <a:pt x="161" y="104"/>
                  </a:lnTo>
                  <a:lnTo>
                    <a:pt x="159" y="104"/>
                  </a:lnTo>
                  <a:close/>
                  <a:moveTo>
                    <a:pt x="510" y="162"/>
                  </a:moveTo>
                  <a:lnTo>
                    <a:pt x="512" y="162"/>
                  </a:lnTo>
                  <a:lnTo>
                    <a:pt x="510" y="162"/>
                  </a:lnTo>
                  <a:close/>
                  <a:moveTo>
                    <a:pt x="286" y="35"/>
                  </a:moveTo>
                  <a:lnTo>
                    <a:pt x="286" y="37"/>
                  </a:lnTo>
                  <a:lnTo>
                    <a:pt x="286" y="35"/>
                  </a:lnTo>
                  <a:close/>
                  <a:moveTo>
                    <a:pt x="351" y="388"/>
                  </a:moveTo>
                  <a:lnTo>
                    <a:pt x="351" y="390"/>
                  </a:lnTo>
                  <a:lnTo>
                    <a:pt x="351" y="388"/>
                  </a:lnTo>
                  <a:close/>
                  <a:moveTo>
                    <a:pt x="487" y="488"/>
                  </a:moveTo>
                  <a:lnTo>
                    <a:pt x="489" y="488"/>
                  </a:lnTo>
                  <a:lnTo>
                    <a:pt x="487" y="488"/>
                  </a:lnTo>
                  <a:close/>
                  <a:moveTo>
                    <a:pt x="169" y="91"/>
                  </a:moveTo>
                  <a:lnTo>
                    <a:pt x="170" y="91"/>
                  </a:lnTo>
                  <a:lnTo>
                    <a:pt x="169" y="91"/>
                  </a:lnTo>
                  <a:close/>
                  <a:moveTo>
                    <a:pt x="9" y="240"/>
                  </a:moveTo>
                  <a:lnTo>
                    <a:pt x="11" y="240"/>
                  </a:lnTo>
                  <a:lnTo>
                    <a:pt x="9" y="240"/>
                  </a:lnTo>
                  <a:close/>
                  <a:moveTo>
                    <a:pt x="53" y="171"/>
                  </a:moveTo>
                  <a:lnTo>
                    <a:pt x="55" y="171"/>
                  </a:lnTo>
                  <a:lnTo>
                    <a:pt x="53" y="171"/>
                  </a:lnTo>
                  <a:close/>
                  <a:moveTo>
                    <a:pt x="178" y="85"/>
                  </a:moveTo>
                  <a:lnTo>
                    <a:pt x="178" y="87"/>
                  </a:lnTo>
                  <a:lnTo>
                    <a:pt x="178" y="85"/>
                  </a:lnTo>
                  <a:close/>
                  <a:moveTo>
                    <a:pt x="337" y="409"/>
                  </a:moveTo>
                  <a:lnTo>
                    <a:pt x="337" y="411"/>
                  </a:lnTo>
                  <a:lnTo>
                    <a:pt x="337" y="409"/>
                  </a:lnTo>
                  <a:close/>
                  <a:moveTo>
                    <a:pt x="564" y="227"/>
                  </a:moveTo>
                  <a:lnTo>
                    <a:pt x="564" y="229"/>
                  </a:lnTo>
                  <a:lnTo>
                    <a:pt x="564" y="227"/>
                  </a:lnTo>
                  <a:close/>
                  <a:moveTo>
                    <a:pt x="583" y="252"/>
                  </a:moveTo>
                  <a:lnTo>
                    <a:pt x="585" y="252"/>
                  </a:lnTo>
                  <a:lnTo>
                    <a:pt x="583" y="252"/>
                  </a:lnTo>
                  <a:close/>
                  <a:moveTo>
                    <a:pt x="180" y="89"/>
                  </a:moveTo>
                  <a:lnTo>
                    <a:pt x="182" y="89"/>
                  </a:lnTo>
                  <a:lnTo>
                    <a:pt x="180" y="89"/>
                  </a:lnTo>
                  <a:close/>
                  <a:moveTo>
                    <a:pt x="165" y="91"/>
                  </a:moveTo>
                  <a:lnTo>
                    <a:pt x="165" y="92"/>
                  </a:lnTo>
                  <a:lnTo>
                    <a:pt x="165" y="91"/>
                  </a:lnTo>
                  <a:close/>
                  <a:moveTo>
                    <a:pt x="529" y="173"/>
                  </a:moveTo>
                  <a:lnTo>
                    <a:pt x="529" y="175"/>
                  </a:lnTo>
                  <a:lnTo>
                    <a:pt x="529" y="173"/>
                  </a:lnTo>
                  <a:close/>
                  <a:moveTo>
                    <a:pt x="159" y="104"/>
                  </a:moveTo>
                  <a:lnTo>
                    <a:pt x="159" y="106"/>
                  </a:lnTo>
                  <a:lnTo>
                    <a:pt x="159" y="104"/>
                  </a:lnTo>
                  <a:close/>
                  <a:moveTo>
                    <a:pt x="527" y="169"/>
                  </a:moveTo>
                  <a:lnTo>
                    <a:pt x="529" y="169"/>
                  </a:lnTo>
                  <a:lnTo>
                    <a:pt x="527" y="169"/>
                  </a:lnTo>
                  <a:close/>
                  <a:moveTo>
                    <a:pt x="385" y="117"/>
                  </a:moveTo>
                  <a:lnTo>
                    <a:pt x="387" y="117"/>
                  </a:lnTo>
                  <a:lnTo>
                    <a:pt x="385" y="117"/>
                  </a:lnTo>
                  <a:close/>
                  <a:moveTo>
                    <a:pt x="178" y="79"/>
                  </a:moveTo>
                  <a:lnTo>
                    <a:pt x="180" y="79"/>
                  </a:lnTo>
                  <a:lnTo>
                    <a:pt x="178" y="79"/>
                  </a:lnTo>
                  <a:close/>
                  <a:moveTo>
                    <a:pt x="593" y="294"/>
                  </a:moveTo>
                  <a:lnTo>
                    <a:pt x="595" y="294"/>
                  </a:lnTo>
                  <a:lnTo>
                    <a:pt x="593" y="294"/>
                  </a:lnTo>
                  <a:close/>
                  <a:moveTo>
                    <a:pt x="585" y="250"/>
                  </a:moveTo>
                  <a:lnTo>
                    <a:pt x="585" y="252"/>
                  </a:lnTo>
                  <a:lnTo>
                    <a:pt x="585" y="250"/>
                  </a:lnTo>
                  <a:close/>
                  <a:moveTo>
                    <a:pt x="48" y="175"/>
                  </a:moveTo>
                  <a:lnTo>
                    <a:pt x="48" y="177"/>
                  </a:lnTo>
                  <a:lnTo>
                    <a:pt x="48" y="175"/>
                  </a:lnTo>
                  <a:close/>
                  <a:moveTo>
                    <a:pt x="343" y="413"/>
                  </a:moveTo>
                  <a:lnTo>
                    <a:pt x="343" y="415"/>
                  </a:lnTo>
                  <a:lnTo>
                    <a:pt x="343" y="413"/>
                  </a:lnTo>
                  <a:close/>
                  <a:moveTo>
                    <a:pt x="146" y="396"/>
                  </a:moveTo>
                  <a:lnTo>
                    <a:pt x="147" y="396"/>
                  </a:lnTo>
                  <a:lnTo>
                    <a:pt x="146" y="396"/>
                  </a:lnTo>
                  <a:close/>
                  <a:moveTo>
                    <a:pt x="172" y="85"/>
                  </a:moveTo>
                  <a:lnTo>
                    <a:pt x="172" y="87"/>
                  </a:lnTo>
                  <a:lnTo>
                    <a:pt x="172" y="85"/>
                  </a:lnTo>
                  <a:close/>
                  <a:moveTo>
                    <a:pt x="174" y="85"/>
                  </a:moveTo>
                  <a:lnTo>
                    <a:pt x="174" y="87"/>
                  </a:lnTo>
                  <a:lnTo>
                    <a:pt x="174" y="85"/>
                  </a:lnTo>
                  <a:close/>
                  <a:moveTo>
                    <a:pt x="451" y="498"/>
                  </a:moveTo>
                  <a:lnTo>
                    <a:pt x="453" y="498"/>
                  </a:lnTo>
                  <a:lnTo>
                    <a:pt x="451" y="498"/>
                  </a:lnTo>
                  <a:close/>
                  <a:moveTo>
                    <a:pt x="570" y="371"/>
                  </a:moveTo>
                  <a:lnTo>
                    <a:pt x="572" y="371"/>
                  </a:lnTo>
                  <a:lnTo>
                    <a:pt x="570" y="371"/>
                  </a:lnTo>
                  <a:close/>
                  <a:moveTo>
                    <a:pt x="176" y="91"/>
                  </a:moveTo>
                  <a:lnTo>
                    <a:pt x="176" y="92"/>
                  </a:lnTo>
                  <a:lnTo>
                    <a:pt x="176" y="91"/>
                  </a:lnTo>
                  <a:close/>
                  <a:moveTo>
                    <a:pt x="437" y="14"/>
                  </a:moveTo>
                  <a:lnTo>
                    <a:pt x="437" y="16"/>
                  </a:lnTo>
                  <a:lnTo>
                    <a:pt x="437" y="14"/>
                  </a:lnTo>
                  <a:close/>
                  <a:moveTo>
                    <a:pt x="255" y="48"/>
                  </a:moveTo>
                  <a:lnTo>
                    <a:pt x="255" y="50"/>
                  </a:lnTo>
                  <a:lnTo>
                    <a:pt x="255" y="48"/>
                  </a:lnTo>
                  <a:close/>
                  <a:moveTo>
                    <a:pt x="161" y="102"/>
                  </a:moveTo>
                  <a:lnTo>
                    <a:pt x="163" y="102"/>
                  </a:lnTo>
                  <a:lnTo>
                    <a:pt x="161" y="102"/>
                  </a:lnTo>
                  <a:close/>
                  <a:moveTo>
                    <a:pt x="552" y="413"/>
                  </a:moveTo>
                  <a:lnTo>
                    <a:pt x="552" y="415"/>
                  </a:lnTo>
                  <a:lnTo>
                    <a:pt x="552" y="413"/>
                  </a:lnTo>
                  <a:close/>
                  <a:moveTo>
                    <a:pt x="443" y="6"/>
                  </a:moveTo>
                  <a:lnTo>
                    <a:pt x="445" y="6"/>
                  </a:lnTo>
                  <a:lnTo>
                    <a:pt x="443" y="6"/>
                  </a:lnTo>
                  <a:close/>
                  <a:moveTo>
                    <a:pt x="339" y="417"/>
                  </a:moveTo>
                  <a:lnTo>
                    <a:pt x="339" y="419"/>
                  </a:lnTo>
                  <a:lnTo>
                    <a:pt x="339" y="417"/>
                  </a:lnTo>
                  <a:close/>
                  <a:moveTo>
                    <a:pt x="11" y="304"/>
                  </a:moveTo>
                  <a:lnTo>
                    <a:pt x="13" y="304"/>
                  </a:lnTo>
                  <a:lnTo>
                    <a:pt x="11" y="304"/>
                  </a:lnTo>
                  <a:close/>
                  <a:moveTo>
                    <a:pt x="151" y="102"/>
                  </a:moveTo>
                  <a:lnTo>
                    <a:pt x="153" y="102"/>
                  </a:lnTo>
                  <a:lnTo>
                    <a:pt x="151" y="102"/>
                  </a:lnTo>
                  <a:close/>
                  <a:moveTo>
                    <a:pt x="153" y="106"/>
                  </a:moveTo>
                  <a:lnTo>
                    <a:pt x="155" y="106"/>
                  </a:lnTo>
                  <a:lnTo>
                    <a:pt x="153" y="106"/>
                  </a:lnTo>
                  <a:close/>
                  <a:moveTo>
                    <a:pt x="428" y="14"/>
                  </a:moveTo>
                  <a:lnTo>
                    <a:pt x="428" y="16"/>
                  </a:lnTo>
                  <a:lnTo>
                    <a:pt x="428" y="14"/>
                  </a:lnTo>
                  <a:close/>
                  <a:moveTo>
                    <a:pt x="132" y="396"/>
                  </a:moveTo>
                  <a:lnTo>
                    <a:pt x="132" y="398"/>
                  </a:lnTo>
                  <a:lnTo>
                    <a:pt x="132" y="396"/>
                  </a:lnTo>
                  <a:close/>
                  <a:moveTo>
                    <a:pt x="11" y="260"/>
                  </a:moveTo>
                  <a:lnTo>
                    <a:pt x="11" y="261"/>
                  </a:lnTo>
                  <a:lnTo>
                    <a:pt x="11" y="260"/>
                  </a:lnTo>
                  <a:close/>
                  <a:moveTo>
                    <a:pt x="545" y="198"/>
                  </a:moveTo>
                  <a:lnTo>
                    <a:pt x="547" y="198"/>
                  </a:lnTo>
                  <a:lnTo>
                    <a:pt x="545" y="198"/>
                  </a:lnTo>
                  <a:close/>
                  <a:moveTo>
                    <a:pt x="549" y="200"/>
                  </a:moveTo>
                  <a:lnTo>
                    <a:pt x="551" y="200"/>
                  </a:lnTo>
                  <a:lnTo>
                    <a:pt x="549" y="200"/>
                  </a:lnTo>
                  <a:close/>
                  <a:moveTo>
                    <a:pt x="577" y="363"/>
                  </a:moveTo>
                  <a:lnTo>
                    <a:pt x="579" y="363"/>
                  </a:lnTo>
                  <a:lnTo>
                    <a:pt x="577" y="363"/>
                  </a:lnTo>
                  <a:close/>
                  <a:moveTo>
                    <a:pt x="151" y="117"/>
                  </a:moveTo>
                  <a:lnTo>
                    <a:pt x="151" y="119"/>
                  </a:lnTo>
                  <a:lnTo>
                    <a:pt x="151" y="117"/>
                  </a:lnTo>
                  <a:close/>
                  <a:moveTo>
                    <a:pt x="174" y="85"/>
                  </a:moveTo>
                  <a:lnTo>
                    <a:pt x="174" y="87"/>
                  </a:lnTo>
                  <a:lnTo>
                    <a:pt x="174" y="85"/>
                  </a:lnTo>
                  <a:close/>
                  <a:moveTo>
                    <a:pt x="591" y="288"/>
                  </a:moveTo>
                  <a:lnTo>
                    <a:pt x="593" y="288"/>
                  </a:lnTo>
                  <a:lnTo>
                    <a:pt x="591" y="288"/>
                  </a:lnTo>
                  <a:close/>
                  <a:moveTo>
                    <a:pt x="447" y="48"/>
                  </a:moveTo>
                  <a:lnTo>
                    <a:pt x="447" y="50"/>
                  </a:lnTo>
                  <a:lnTo>
                    <a:pt x="447" y="48"/>
                  </a:lnTo>
                  <a:close/>
                  <a:moveTo>
                    <a:pt x="155" y="104"/>
                  </a:moveTo>
                  <a:lnTo>
                    <a:pt x="155" y="106"/>
                  </a:lnTo>
                  <a:lnTo>
                    <a:pt x="155" y="104"/>
                  </a:lnTo>
                  <a:close/>
                  <a:moveTo>
                    <a:pt x="330" y="43"/>
                  </a:moveTo>
                  <a:lnTo>
                    <a:pt x="332" y="43"/>
                  </a:lnTo>
                  <a:lnTo>
                    <a:pt x="330" y="43"/>
                  </a:lnTo>
                  <a:close/>
                  <a:moveTo>
                    <a:pt x="455" y="10"/>
                  </a:moveTo>
                  <a:lnTo>
                    <a:pt x="455" y="12"/>
                  </a:lnTo>
                  <a:lnTo>
                    <a:pt x="455" y="10"/>
                  </a:lnTo>
                  <a:close/>
                  <a:moveTo>
                    <a:pt x="180" y="77"/>
                  </a:moveTo>
                  <a:lnTo>
                    <a:pt x="180" y="79"/>
                  </a:lnTo>
                  <a:lnTo>
                    <a:pt x="180" y="77"/>
                  </a:lnTo>
                  <a:close/>
                  <a:moveTo>
                    <a:pt x="464" y="515"/>
                  </a:moveTo>
                  <a:lnTo>
                    <a:pt x="464" y="517"/>
                  </a:lnTo>
                  <a:lnTo>
                    <a:pt x="464" y="515"/>
                  </a:lnTo>
                  <a:close/>
                  <a:moveTo>
                    <a:pt x="167" y="91"/>
                  </a:moveTo>
                  <a:lnTo>
                    <a:pt x="169" y="91"/>
                  </a:lnTo>
                  <a:lnTo>
                    <a:pt x="167" y="91"/>
                  </a:lnTo>
                  <a:close/>
                  <a:moveTo>
                    <a:pt x="186" y="73"/>
                  </a:moveTo>
                  <a:lnTo>
                    <a:pt x="186" y="75"/>
                  </a:lnTo>
                  <a:lnTo>
                    <a:pt x="186" y="73"/>
                  </a:lnTo>
                  <a:close/>
                  <a:moveTo>
                    <a:pt x="341" y="404"/>
                  </a:moveTo>
                  <a:lnTo>
                    <a:pt x="341" y="406"/>
                  </a:lnTo>
                  <a:lnTo>
                    <a:pt x="341" y="404"/>
                  </a:lnTo>
                  <a:close/>
                  <a:moveTo>
                    <a:pt x="149" y="396"/>
                  </a:moveTo>
                  <a:lnTo>
                    <a:pt x="151" y="396"/>
                  </a:lnTo>
                  <a:lnTo>
                    <a:pt x="149" y="396"/>
                  </a:lnTo>
                  <a:close/>
                  <a:moveTo>
                    <a:pt x="566" y="373"/>
                  </a:moveTo>
                  <a:lnTo>
                    <a:pt x="566" y="375"/>
                  </a:lnTo>
                  <a:lnTo>
                    <a:pt x="566" y="373"/>
                  </a:lnTo>
                  <a:close/>
                  <a:moveTo>
                    <a:pt x="527" y="171"/>
                  </a:moveTo>
                  <a:lnTo>
                    <a:pt x="529" y="171"/>
                  </a:lnTo>
                  <a:lnTo>
                    <a:pt x="527" y="171"/>
                  </a:lnTo>
                  <a:close/>
                  <a:moveTo>
                    <a:pt x="86" y="162"/>
                  </a:moveTo>
                  <a:lnTo>
                    <a:pt x="88" y="162"/>
                  </a:lnTo>
                  <a:lnTo>
                    <a:pt x="86" y="162"/>
                  </a:lnTo>
                  <a:close/>
                  <a:moveTo>
                    <a:pt x="23" y="196"/>
                  </a:moveTo>
                  <a:lnTo>
                    <a:pt x="23" y="198"/>
                  </a:lnTo>
                  <a:lnTo>
                    <a:pt x="23" y="196"/>
                  </a:lnTo>
                  <a:close/>
                  <a:moveTo>
                    <a:pt x="147" y="396"/>
                  </a:moveTo>
                  <a:lnTo>
                    <a:pt x="149" y="396"/>
                  </a:lnTo>
                  <a:lnTo>
                    <a:pt x="147" y="396"/>
                  </a:lnTo>
                  <a:close/>
                  <a:moveTo>
                    <a:pt x="167" y="94"/>
                  </a:moveTo>
                  <a:lnTo>
                    <a:pt x="169" y="94"/>
                  </a:lnTo>
                  <a:lnTo>
                    <a:pt x="167" y="94"/>
                  </a:lnTo>
                  <a:close/>
                  <a:moveTo>
                    <a:pt x="153" y="108"/>
                  </a:moveTo>
                  <a:lnTo>
                    <a:pt x="155" y="108"/>
                  </a:lnTo>
                  <a:lnTo>
                    <a:pt x="153" y="108"/>
                  </a:lnTo>
                  <a:close/>
                  <a:moveTo>
                    <a:pt x="591" y="288"/>
                  </a:moveTo>
                  <a:lnTo>
                    <a:pt x="593" y="288"/>
                  </a:lnTo>
                  <a:lnTo>
                    <a:pt x="591" y="288"/>
                  </a:lnTo>
                  <a:close/>
                  <a:moveTo>
                    <a:pt x="458" y="71"/>
                  </a:moveTo>
                  <a:lnTo>
                    <a:pt x="458" y="73"/>
                  </a:lnTo>
                  <a:lnTo>
                    <a:pt x="458" y="71"/>
                  </a:lnTo>
                  <a:close/>
                  <a:moveTo>
                    <a:pt x="508" y="502"/>
                  </a:moveTo>
                  <a:lnTo>
                    <a:pt x="510" y="502"/>
                  </a:lnTo>
                  <a:lnTo>
                    <a:pt x="510" y="504"/>
                  </a:lnTo>
                  <a:lnTo>
                    <a:pt x="508" y="504"/>
                  </a:lnTo>
                  <a:lnTo>
                    <a:pt x="508" y="502"/>
                  </a:lnTo>
                  <a:close/>
                  <a:moveTo>
                    <a:pt x="539" y="188"/>
                  </a:moveTo>
                  <a:lnTo>
                    <a:pt x="541" y="188"/>
                  </a:lnTo>
                  <a:lnTo>
                    <a:pt x="539" y="188"/>
                  </a:lnTo>
                  <a:close/>
                  <a:moveTo>
                    <a:pt x="23" y="196"/>
                  </a:moveTo>
                  <a:lnTo>
                    <a:pt x="23" y="198"/>
                  </a:lnTo>
                  <a:lnTo>
                    <a:pt x="23" y="196"/>
                  </a:lnTo>
                  <a:close/>
                  <a:moveTo>
                    <a:pt x="533" y="177"/>
                  </a:moveTo>
                  <a:lnTo>
                    <a:pt x="533" y="179"/>
                  </a:lnTo>
                  <a:lnTo>
                    <a:pt x="533" y="177"/>
                  </a:lnTo>
                  <a:close/>
                  <a:moveTo>
                    <a:pt x="558" y="386"/>
                  </a:moveTo>
                  <a:lnTo>
                    <a:pt x="560" y="386"/>
                  </a:lnTo>
                  <a:lnTo>
                    <a:pt x="558" y="386"/>
                  </a:lnTo>
                  <a:close/>
                  <a:moveTo>
                    <a:pt x="38" y="169"/>
                  </a:moveTo>
                  <a:lnTo>
                    <a:pt x="38" y="171"/>
                  </a:lnTo>
                  <a:lnTo>
                    <a:pt x="38" y="169"/>
                  </a:lnTo>
                  <a:close/>
                  <a:moveTo>
                    <a:pt x="526" y="167"/>
                  </a:moveTo>
                  <a:lnTo>
                    <a:pt x="526" y="169"/>
                  </a:lnTo>
                  <a:lnTo>
                    <a:pt x="526" y="167"/>
                  </a:lnTo>
                  <a:close/>
                  <a:moveTo>
                    <a:pt x="539" y="200"/>
                  </a:moveTo>
                  <a:lnTo>
                    <a:pt x="539" y="202"/>
                  </a:lnTo>
                  <a:lnTo>
                    <a:pt x="539" y="200"/>
                  </a:lnTo>
                  <a:close/>
                  <a:moveTo>
                    <a:pt x="503" y="494"/>
                  </a:moveTo>
                  <a:lnTo>
                    <a:pt x="504" y="494"/>
                  </a:lnTo>
                  <a:lnTo>
                    <a:pt x="503" y="494"/>
                  </a:lnTo>
                  <a:close/>
                  <a:moveTo>
                    <a:pt x="53" y="173"/>
                  </a:moveTo>
                  <a:lnTo>
                    <a:pt x="55" y="173"/>
                  </a:lnTo>
                  <a:lnTo>
                    <a:pt x="53" y="173"/>
                  </a:lnTo>
                  <a:close/>
                  <a:moveTo>
                    <a:pt x="155" y="106"/>
                  </a:moveTo>
                  <a:lnTo>
                    <a:pt x="157" y="106"/>
                  </a:lnTo>
                  <a:lnTo>
                    <a:pt x="155" y="106"/>
                  </a:lnTo>
                  <a:close/>
                  <a:moveTo>
                    <a:pt x="428" y="10"/>
                  </a:moveTo>
                  <a:lnTo>
                    <a:pt x="428" y="12"/>
                  </a:lnTo>
                  <a:lnTo>
                    <a:pt x="428" y="10"/>
                  </a:lnTo>
                  <a:close/>
                  <a:moveTo>
                    <a:pt x="554" y="213"/>
                  </a:moveTo>
                  <a:lnTo>
                    <a:pt x="556" y="213"/>
                  </a:lnTo>
                  <a:lnTo>
                    <a:pt x="554" y="213"/>
                  </a:lnTo>
                  <a:close/>
                  <a:moveTo>
                    <a:pt x="591" y="290"/>
                  </a:moveTo>
                  <a:lnTo>
                    <a:pt x="593" y="290"/>
                  </a:lnTo>
                  <a:lnTo>
                    <a:pt x="591" y="290"/>
                  </a:lnTo>
                  <a:close/>
                  <a:moveTo>
                    <a:pt x="155" y="110"/>
                  </a:moveTo>
                  <a:lnTo>
                    <a:pt x="155" y="112"/>
                  </a:lnTo>
                  <a:lnTo>
                    <a:pt x="155" y="110"/>
                  </a:lnTo>
                  <a:close/>
                  <a:moveTo>
                    <a:pt x="583" y="252"/>
                  </a:moveTo>
                  <a:lnTo>
                    <a:pt x="585" y="252"/>
                  </a:lnTo>
                  <a:lnTo>
                    <a:pt x="583" y="252"/>
                  </a:lnTo>
                  <a:close/>
                  <a:moveTo>
                    <a:pt x="583" y="350"/>
                  </a:moveTo>
                  <a:lnTo>
                    <a:pt x="585" y="350"/>
                  </a:lnTo>
                  <a:lnTo>
                    <a:pt x="583" y="350"/>
                  </a:lnTo>
                  <a:close/>
                  <a:moveTo>
                    <a:pt x="551" y="200"/>
                  </a:moveTo>
                  <a:lnTo>
                    <a:pt x="552" y="200"/>
                  </a:lnTo>
                  <a:lnTo>
                    <a:pt x="551" y="200"/>
                  </a:lnTo>
                  <a:close/>
                  <a:moveTo>
                    <a:pt x="42" y="359"/>
                  </a:moveTo>
                  <a:lnTo>
                    <a:pt x="44" y="359"/>
                  </a:lnTo>
                  <a:lnTo>
                    <a:pt x="42" y="359"/>
                  </a:lnTo>
                  <a:close/>
                  <a:moveTo>
                    <a:pt x="136" y="394"/>
                  </a:moveTo>
                  <a:lnTo>
                    <a:pt x="138" y="394"/>
                  </a:lnTo>
                  <a:lnTo>
                    <a:pt x="136" y="394"/>
                  </a:lnTo>
                  <a:close/>
                  <a:moveTo>
                    <a:pt x="449" y="66"/>
                  </a:moveTo>
                  <a:lnTo>
                    <a:pt x="449" y="67"/>
                  </a:lnTo>
                  <a:lnTo>
                    <a:pt x="449" y="66"/>
                  </a:lnTo>
                  <a:close/>
                  <a:moveTo>
                    <a:pt x="297" y="367"/>
                  </a:moveTo>
                  <a:lnTo>
                    <a:pt x="299" y="367"/>
                  </a:lnTo>
                  <a:lnTo>
                    <a:pt x="297" y="367"/>
                  </a:lnTo>
                  <a:close/>
                  <a:moveTo>
                    <a:pt x="347" y="66"/>
                  </a:moveTo>
                  <a:lnTo>
                    <a:pt x="347" y="67"/>
                  </a:lnTo>
                  <a:lnTo>
                    <a:pt x="347" y="66"/>
                  </a:lnTo>
                  <a:close/>
                  <a:moveTo>
                    <a:pt x="159" y="396"/>
                  </a:moveTo>
                  <a:lnTo>
                    <a:pt x="161" y="396"/>
                  </a:lnTo>
                  <a:lnTo>
                    <a:pt x="159" y="396"/>
                  </a:lnTo>
                  <a:close/>
                  <a:moveTo>
                    <a:pt x="149" y="394"/>
                  </a:moveTo>
                  <a:lnTo>
                    <a:pt x="151" y="394"/>
                  </a:lnTo>
                  <a:lnTo>
                    <a:pt x="151" y="396"/>
                  </a:lnTo>
                  <a:lnTo>
                    <a:pt x="149" y="396"/>
                  </a:lnTo>
                  <a:lnTo>
                    <a:pt x="149" y="394"/>
                  </a:lnTo>
                  <a:close/>
                  <a:moveTo>
                    <a:pt x="499" y="569"/>
                  </a:moveTo>
                  <a:lnTo>
                    <a:pt x="499" y="571"/>
                  </a:lnTo>
                  <a:lnTo>
                    <a:pt x="499" y="569"/>
                  </a:lnTo>
                  <a:close/>
                  <a:moveTo>
                    <a:pt x="180" y="87"/>
                  </a:moveTo>
                  <a:lnTo>
                    <a:pt x="180" y="89"/>
                  </a:lnTo>
                  <a:lnTo>
                    <a:pt x="180" y="87"/>
                  </a:lnTo>
                  <a:close/>
                  <a:moveTo>
                    <a:pt x="224" y="91"/>
                  </a:moveTo>
                  <a:lnTo>
                    <a:pt x="224" y="92"/>
                  </a:lnTo>
                  <a:lnTo>
                    <a:pt x="224" y="91"/>
                  </a:lnTo>
                  <a:close/>
                  <a:moveTo>
                    <a:pt x="322" y="407"/>
                  </a:moveTo>
                  <a:lnTo>
                    <a:pt x="324" y="407"/>
                  </a:lnTo>
                  <a:lnTo>
                    <a:pt x="322" y="407"/>
                  </a:lnTo>
                  <a:close/>
                  <a:moveTo>
                    <a:pt x="468" y="79"/>
                  </a:moveTo>
                  <a:lnTo>
                    <a:pt x="468" y="81"/>
                  </a:lnTo>
                  <a:lnTo>
                    <a:pt x="468" y="79"/>
                  </a:lnTo>
                  <a:close/>
                  <a:moveTo>
                    <a:pt x="280" y="35"/>
                  </a:moveTo>
                  <a:lnTo>
                    <a:pt x="282" y="35"/>
                  </a:lnTo>
                  <a:lnTo>
                    <a:pt x="280" y="35"/>
                  </a:lnTo>
                  <a:close/>
                  <a:moveTo>
                    <a:pt x="134" y="394"/>
                  </a:moveTo>
                  <a:lnTo>
                    <a:pt x="134" y="396"/>
                  </a:lnTo>
                  <a:lnTo>
                    <a:pt x="134" y="394"/>
                  </a:lnTo>
                  <a:close/>
                  <a:moveTo>
                    <a:pt x="466" y="515"/>
                  </a:moveTo>
                  <a:lnTo>
                    <a:pt x="466" y="517"/>
                  </a:lnTo>
                  <a:lnTo>
                    <a:pt x="466" y="515"/>
                  </a:lnTo>
                  <a:close/>
                  <a:moveTo>
                    <a:pt x="155" y="110"/>
                  </a:moveTo>
                  <a:lnTo>
                    <a:pt x="155" y="112"/>
                  </a:lnTo>
                  <a:lnTo>
                    <a:pt x="155" y="110"/>
                  </a:lnTo>
                  <a:close/>
                  <a:moveTo>
                    <a:pt x="144" y="396"/>
                  </a:moveTo>
                  <a:lnTo>
                    <a:pt x="146" y="396"/>
                  </a:lnTo>
                  <a:lnTo>
                    <a:pt x="144" y="396"/>
                  </a:lnTo>
                  <a:close/>
                  <a:moveTo>
                    <a:pt x="182" y="79"/>
                  </a:moveTo>
                  <a:lnTo>
                    <a:pt x="182" y="81"/>
                  </a:lnTo>
                  <a:lnTo>
                    <a:pt x="182" y="79"/>
                  </a:lnTo>
                  <a:close/>
                  <a:moveTo>
                    <a:pt x="345" y="66"/>
                  </a:moveTo>
                  <a:lnTo>
                    <a:pt x="345" y="67"/>
                  </a:lnTo>
                  <a:lnTo>
                    <a:pt x="345" y="66"/>
                  </a:lnTo>
                  <a:close/>
                  <a:moveTo>
                    <a:pt x="170" y="108"/>
                  </a:moveTo>
                  <a:lnTo>
                    <a:pt x="172" y="108"/>
                  </a:lnTo>
                  <a:lnTo>
                    <a:pt x="170" y="108"/>
                  </a:lnTo>
                  <a:close/>
                  <a:moveTo>
                    <a:pt x="508" y="504"/>
                  </a:moveTo>
                  <a:lnTo>
                    <a:pt x="510" y="504"/>
                  </a:lnTo>
                  <a:lnTo>
                    <a:pt x="508" y="504"/>
                  </a:lnTo>
                  <a:close/>
                  <a:moveTo>
                    <a:pt x="165" y="108"/>
                  </a:moveTo>
                  <a:lnTo>
                    <a:pt x="167" y="108"/>
                  </a:lnTo>
                  <a:lnTo>
                    <a:pt x="165" y="108"/>
                  </a:lnTo>
                  <a:close/>
                  <a:moveTo>
                    <a:pt x="445" y="48"/>
                  </a:moveTo>
                  <a:lnTo>
                    <a:pt x="447" y="48"/>
                  </a:lnTo>
                  <a:lnTo>
                    <a:pt x="445" y="48"/>
                  </a:lnTo>
                  <a:close/>
                  <a:moveTo>
                    <a:pt x="339" y="64"/>
                  </a:moveTo>
                  <a:lnTo>
                    <a:pt x="341" y="64"/>
                  </a:lnTo>
                  <a:lnTo>
                    <a:pt x="339" y="64"/>
                  </a:lnTo>
                  <a:close/>
                  <a:moveTo>
                    <a:pt x="153" y="108"/>
                  </a:moveTo>
                  <a:lnTo>
                    <a:pt x="155" y="108"/>
                  </a:lnTo>
                  <a:lnTo>
                    <a:pt x="153" y="108"/>
                  </a:lnTo>
                  <a:close/>
                  <a:moveTo>
                    <a:pt x="178" y="85"/>
                  </a:moveTo>
                  <a:lnTo>
                    <a:pt x="180" y="85"/>
                  </a:lnTo>
                  <a:lnTo>
                    <a:pt x="178" y="85"/>
                  </a:lnTo>
                  <a:close/>
                  <a:moveTo>
                    <a:pt x="165" y="91"/>
                  </a:moveTo>
                  <a:lnTo>
                    <a:pt x="165" y="92"/>
                  </a:lnTo>
                  <a:lnTo>
                    <a:pt x="165" y="91"/>
                  </a:lnTo>
                  <a:close/>
                  <a:moveTo>
                    <a:pt x="316" y="388"/>
                  </a:moveTo>
                  <a:lnTo>
                    <a:pt x="316" y="390"/>
                  </a:lnTo>
                  <a:lnTo>
                    <a:pt x="316" y="388"/>
                  </a:lnTo>
                  <a:close/>
                  <a:moveTo>
                    <a:pt x="583" y="350"/>
                  </a:moveTo>
                  <a:lnTo>
                    <a:pt x="585" y="350"/>
                  </a:lnTo>
                  <a:lnTo>
                    <a:pt x="583" y="350"/>
                  </a:lnTo>
                  <a:close/>
                  <a:moveTo>
                    <a:pt x="539" y="187"/>
                  </a:moveTo>
                  <a:lnTo>
                    <a:pt x="541" y="187"/>
                  </a:lnTo>
                  <a:lnTo>
                    <a:pt x="539" y="187"/>
                  </a:lnTo>
                  <a:close/>
                  <a:moveTo>
                    <a:pt x="455" y="10"/>
                  </a:moveTo>
                  <a:lnTo>
                    <a:pt x="455" y="12"/>
                  </a:lnTo>
                  <a:lnTo>
                    <a:pt x="455" y="10"/>
                  </a:lnTo>
                  <a:close/>
                  <a:moveTo>
                    <a:pt x="142" y="392"/>
                  </a:moveTo>
                  <a:lnTo>
                    <a:pt x="144" y="392"/>
                  </a:lnTo>
                  <a:lnTo>
                    <a:pt x="142" y="392"/>
                  </a:lnTo>
                  <a:close/>
                  <a:moveTo>
                    <a:pt x="499" y="573"/>
                  </a:moveTo>
                  <a:lnTo>
                    <a:pt x="499" y="575"/>
                  </a:lnTo>
                  <a:lnTo>
                    <a:pt x="499" y="573"/>
                  </a:lnTo>
                  <a:close/>
                  <a:moveTo>
                    <a:pt x="433" y="21"/>
                  </a:moveTo>
                  <a:lnTo>
                    <a:pt x="433" y="23"/>
                  </a:lnTo>
                  <a:lnTo>
                    <a:pt x="433" y="21"/>
                  </a:lnTo>
                  <a:close/>
                  <a:moveTo>
                    <a:pt x="564" y="227"/>
                  </a:moveTo>
                  <a:lnTo>
                    <a:pt x="566" y="227"/>
                  </a:lnTo>
                  <a:lnTo>
                    <a:pt x="566" y="229"/>
                  </a:lnTo>
                  <a:lnTo>
                    <a:pt x="564" y="229"/>
                  </a:lnTo>
                  <a:lnTo>
                    <a:pt x="564" y="227"/>
                  </a:lnTo>
                  <a:close/>
                  <a:moveTo>
                    <a:pt x="510" y="162"/>
                  </a:moveTo>
                  <a:lnTo>
                    <a:pt x="512" y="162"/>
                  </a:lnTo>
                  <a:lnTo>
                    <a:pt x="510" y="162"/>
                  </a:lnTo>
                  <a:close/>
                  <a:moveTo>
                    <a:pt x="345" y="98"/>
                  </a:moveTo>
                  <a:lnTo>
                    <a:pt x="347" y="98"/>
                  </a:lnTo>
                  <a:lnTo>
                    <a:pt x="345" y="98"/>
                  </a:lnTo>
                  <a:close/>
                  <a:moveTo>
                    <a:pt x="151" y="110"/>
                  </a:moveTo>
                  <a:lnTo>
                    <a:pt x="153" y="110"/>
                  </a:lnTo>
                  <a:lnTo>
                    <a:pt x="151" y="110"/>
                  </a:lnTo>
                  <a:close/>
                  <a:moveTo>
                    <a:pt x="520" y="164"/>
                  </a:moveTo>
                  <a:lnTo>
                    <a:pt x="522" y="164"/>
                  </a:lnTo>
                  <a:lnTo>
                    <a:pt x="520" y="164"/>
                  </a:lnTo>
                  <a:close/>
                  <a:moveTo>
                    <a:pt x="170" y="89"/>
                  </a:moveTo>
                  <a:lnTo>
                    <a:pt x="172" y="89"/>
                  </a:lnTo>
                  <a:lnTo>
                    <a:pt x="170" y="89"/>
                  </a:lnTo>
                  <a:close/>
                  <a:moveTo>
                    <a:pt x="591" y="288"/>
                  </a:moveTo>
                  <a:lnTo>
                    <a:pt x="593" y="288"/>
                  </a:lnTo>
                  <a:lnTo>
                    <a:pt x="591" y="288"/>
                  </a:lnTo>
                  <a:close/>
                  <a:moveTo>
                    <a:pt x="347" y="75"/>
                  </a:moveTo>
                  <a:lnTo>
                    <a:pt x="347" y="77"/>
                  </a:lnTo>
                  <a:lnTo>
                    <a:pt x="347" y="75"/>
                  </a:lnTo>
                  <a:close/>
                  <a:moveTo>
                    <a:pt x="432" y="18"/>
                  </a:moveTo>
                  <a:lnTo>
                    <a:pt x="432" y="19"/>
                  </a:lnTo>
                  <a:lnTo>
                    <a:pt x="432" y="18"/>
                  </a:lnTo>
                  <a:close/>
                  <a:moveTo>
                    <a:pt x="301" y="363"/>
                  </a:moveTo>
                  <a:lnTo>
                    <a:pt x="303" y="363"/>
                  </a:lnTo>
                  <a:lnTo>
                    <a:pt x="301" y="363"/>
                  </a:lnTo>
                  <a:close/>
                  <a:moveTo>
                    <a:pt x="385" y="117"/>
                  </a:moveTo>
                  <a:lnTo>
                    <a:pt x="387" y="117"/>
                  </a:lnTo>
                  <a:lnTo>
                    <a:pt x="385" y="117"/>
                  </a:lnTo>
                  <a:close/>
                  <a:moveTo>
                    <a:pt x="539" y="457"/>
                  </a:moveTo>
                  <a:lnTo>
                    <a:pt x="539" y="459"/>
                  </a:lnTo>
                  <a:lnTo>
                    <a:pt x="539" y="457"/>
                  </a:lnTo>
                  <a:close/>
                  <a:moveTo>
                    <a:pt x="585" y="248"/>
                  </a:moveTo>
                  <a:lnTo>
                    <a:pt x="587" y="248"/>
                  </a:lnTo>
                  <a:lnTo>
                    <a:pt x="585" y="248"/>
                  </a:lnTo>
                  <a:close/>
                  <a:moveTo>
                    <a:pt x="76" y="411"/>
                  </a:moveTo>
                  <a:lnTo>
                    <a:pt x="76" y="413"/>
                  </a:lnTo>
                  <a:lnTo>
                    <a:pt x="76" y="411"/>
                  </a:lnTo>
                  <a:close/>
                  <a:moveTo>
                    <a:pt x="591" y="286"/>
                  </a:moveTo>
                  <a:lnTo>
                    <a:pt x="593" y="286"/>
                  </a:lnTo>
                  <a:lnTo>
                    <a:pt x="591" y="286"/>
                  </a:lnTo>
                  <a:close/>
                  <a:moveTo>
                    <a:pt x="13" y="256"/>
                  </a:moveTo>
                  <a:lnTo>
                    <a:pt x="13" y="258"/>
                  </a:lnTo>
                  <a:lnTo>
                    <a:pt x="13" y="256"/>
                  </a:lnTo>
                  <a:close/>
                  <a:moveTo>
                    <a:pt x="174" y="89"/>
                  </a:moveTo>
                  <a:lnTo>
                    <a:pt x="176" y="89"/>
                  </a:lnTo>
                  <a:lnTo>
                    <a:pt x="174" y="89"/>
                  </a:lnTo>
                  <a:close/>
                  <a:moveTo>
                    <a:pt x="155" y="108"/>
                  </a:moveTo>
                  <a:lnTo>
                    <a:pt x="157" y="108"/>
                  </a:lnTo>
                  <a:lnTo>
                    <a:pt x="155" y="108"/>
                  </a:lnTo>
                  <a:close/>
                  <a:moveTo>
                    <a:pt x="55" y="169"/>
                  </a:moveTo>
                  <a:lnTo>
                    <a:pt x="57" y="169"/>
                  </a:lnTo>
                  <a:lnTo>
                    <a:pt x="55" y="169"/>
                  </a:lnTo>
                  <a:close/>
                  <a:moveTo>
                    <a:pt x="170" y="91"/>
                  </a:moveTo>
                  <a:lnTo>
                    <a:pt x="170" y="92"/>
                  </a:lnTo>
                  <a:lnTo>
                    <a:pt x="170" y="91"/>
                  </a:lnTo>
                  <a:close/>
                  <a:moveTo>
                    <a:pt x="359" y="394"/>
                  </a:moveTo>
                  <a:lnTo>
                    <a:pt x="361" y="394"/>
                  </a:lnTo>
                  <a:lnTo>
                    <a:pt x="359" y="394"/>
                  </a:lnTo>
                  <a:close/>
                  <a:moveTo>
                    <a:pt x="554" y="213"/>
                  </a:moveTo>
                  <a:lnTo>
                    <a:pt x="554" y="215"/>
                  </a:lnTo>
                  <a:lnTo>
                    <a:pt x="554" y="213"/>
                  </a:lnTo>
                  <a:close/>
                  <a:moveTo>
                    <a:pt x="549" y="202"/>
                  </a:moveTo>
                  <a:lnTo>
                    <a:pt x="549" y="204"/>
                  </a:lnTo>
                  <a:lnTo>
                    <a:pt x="549" y="202"/>
                  </a:lnTo>
                  <a:close/>
                  <a:moveTo>
                    <a:pt x="591" y="323"/>
                  </a:moveTo>
                  <a:lnTo>
                    <a:pt x="591" y="325"/>
                  </a:lnTo>
                  <a:lnTo>
                    <a:pt x="591" y="323"/>
                  </a:lnTo>
                  <a:close/>
                  <a:moveTo>
                    <a:pt x="593" y="294"/>
                  </a:moveTo>
                  <a:lnTo>
                    <a:pt x="593" y="296"/>
                  </a:lnTo>
                  <a:lnTo>
                    <a:pt x="593" y="294"/>
                  </a:lnTo>
                  <a:close/>
                  <a:moveTo>
                    <a:pt x="163" y="102"/>
                  </a:moveTo>
                  <a:lnTo>
                    <a:pt x="163" y="104"/>
                  </a:lnTo>
                  <a:lnTo>
                    <a:pt x="163" y="102"/>
                  </a:lnTo>
                  <a:close/>
                  <a:moveTo>
                    <a:pt x="159" y="104"/>
                  </a:moveTo>
                  <a:lnTo>
                    <a:pt x="159" y="106"/>
                  </a:lnTo>
                  <a:lnTo>
                    <a:pt x="159" y="104"/>
                  </a:lnTo>
                  <a:close/>
                  <a:moveTo>
                    <a:pt x="539" y="457"/>
                  </a:moveTo>
                  <a:lnTo>
                    <a:pt x="539" y="459"/>
                  </a:lnTo>
                  <a:lnTo>
                    <a:pt x="539" y="457"/>
                  </a:lnTo>
                  <a:close/>
                  <a:moveTo>
                    <a:pt x="13" y="265"/>
                  </a:moveTo>
                  <a:lnTo>
                    <a:pt x="13" y="267"/>
                  </a:lnTo>
                  <a:lnTo>
                    <a:pt x="13" y="265"/>
                  </a:lnTo>
                  <a:close/>
                  <a:moveTo>
                    <a:pt x="151" y="102"/>
                  </a:moveTo>
                  <a:lnTo>
                    <a:pt x="153" y="102"/>
                  </a:lnTo>
                  <a:lnTo>
                    <a:pt x="151" y="102"/>
                  </a:lnTo>
                  <a:close/>
                  <a:moveTo>
                    <a:pt x="539" y="198"/>
                  </a:moveTo>
                  <a:lnTo>
                    <a:pt x="541" y="198"/>
                  </a:lnTo>
                  <a:lnTo>
                    <a:pt x="539" y="198"/>
                  </a:lnTo>
                  <a:close/>
                  <a:moveTo>
                    <a:pt x="487" y="139"/>
                  </a:moveTo>
                  <a:lnTo>
                    <a:pt x="489" y="139"/>
                  </a:lnTo>
                  <a:lnTo>
                    <a:pt x="487" y="139"/>
                  </a:lnTo>
                  <a:close/>
                  <a:moveTo>
                    <a:pt x="186" y="73"/>
                  </a:moveTo>
                  <a:lnTo>
                    <a:pt x="188" y="73"/>
                  </a:lnTo>
                  <a:lnTo>
                    <a:pt x="186" y="73"/>
                  </a:lnTo>
                  <a:close/>
                  <a:moveTo>
                    <a:pt x="140" y="394"/>
                  </a:moveTo>
                  <a:lnTo>
                    <a:pt x="142" y="394"/>
                  </a:lnTo>
                  <a:lnTo>
                    <a:pt x="140" y="394"/>
                  </a:lnTo>
                  <a:close/>
                  <a:moveTo>
                    <a:pt x="336" y="77"/>
                  </a:moveTo>
                  <a:lnTo>
                    <a:pt x="336" y="79"/>
                  </a:lnTo>
                  <a:lnTo>
                    <a:pt x="336" y="77"/>
                  </a:lnTo>
                  <a:close/>
                  <a:moveTo>
                    <a:pt x="170" y="94"/>
                  </a:moveTo>
                  <a:lnTo>
                    <a:pt x="172" y="94"/>
                  </a:lnTo>
                  <a:lnTo>
                    <a:pt x="170" y="94"/>
                  </a:lnTo>
                  <a:close/>
                  <a:moveTo>
                    <a:pt x="51" y="171"/>
                  </a:moveTo>
                  <a:lnTo>
                    <a:pt x="53" y="171"/>
                  </a:lnTo>
                  <a:lnTo>
                    <a:pt x="51" y="171"/>
                  </a:lnTo>
                  <a:close/>
                  <a:moveTo>
                    <a:pt x="508" y="502"/>
                  </a:moveTo>
                  <a:lnTo>
                    <a:pt x="510" y="502"/>
                  </a:lnTo>
                  <a:lnTo>
                    <a:pt x="508" y="502"/>
                  </a:lnTo>
                  <a:close/>
                  <a:moveTo>
                    <a:pt x="593" y="296"/>
                  </a:moveTo>
                  <a:lnTo>
                    <a:pt x="595" y="296"/>
                  </a:lnTo>
                  <a:lnTo>
                    <a:pt x="593" y="296"/>
                  </a:lnTo>
                  <a:close/>
                  <a:moveTo>
                    <a:pt x="524" y="171"/>
                  </a:moveTo>
                  <a:lnTo>
                    <a:pt x="526" y="171"/>
                  </a:lnTo>
                  <a:lnTo>
                    <a:pt x="524" y="171"/>
                  </a:lnTo>
                  <a:close/>
                  <a:moveTo>
                    <a:pt x="556" y="221"/>
                  </a:moveTo>
                  <a:lnTo>
                    <a:pt x="558" y="221"/>
                  </a:lnTo>
                  <a:lnTo>
                    <a:pt x="556" y="221"/>
                  </a:lnTo>
                  <a:close/>
                  <a:moveTo>
                    <a:pt x="165" y="106"/>
                  </a:moveTo>
                  <a:lnTo>
                    <a:pt x="165" y="108"/>
                  </a:lnTo>
                  <a:lnTo>
                    <a:pt x="165" y="106"/>
                  </a:lnTo>
                  <a:close/>
                  <a:moveTo>
                    <a:pt x="491" y="479"/>
                  </a:moveTo>
                  <a:lnTo>
                    <a:pt x="493" y="479"/>
                  </a:lnTo>
                  <a:lnTo>
                    <a:pt x="493" y="480"/>
                  </a:lnTo>
                  <a:lnTo>
                    <a:pt x="491" y="480"/>
                  </a:lnTo>
                  <a:lnTo>
                    <a:pt x="491" y="479"/>
                  </a:lnTo>
                  <a:close/>
                  <a:moveTo>
                    <a:pt x="443" y="10"/>
                  </a:moveTo>
                  <a:lnTo>
                    <a:pt x="445" y="10"/>
                  </a:lnTo>
                  <a:lnTo>
                    <a:pt x="443" y="10"/>
                  </a:lnTo>
                  <a:close/>
                  <a:moveTo>
                    <a:pt x="432" y="18"/>
                  </a:moveTo>
                  <a:lnTo>
                    <a:pt x="432" y="19"/>
                  </a:lnTo>
                  <a:lnTo>
                    <a:pt x="432" y="18"/>
                  </a:lnTo>
                  <a:close/>
                  <a:moveTo>
                    <a:pt x="186" y="77"/>
                  </a:moveTo>
                  <a:lnTo>
                    <a:pt x="188" y="77"/>
                  </a:lnTo>
                  <a:lnTo>
                    <a:pt x="186" y="77"/>
                  </a:lnTo>
                  <a:close/>
                  <a:moveTo>
                    <a:pt x="178" y="79"/>
                  </a:moveTo>
                  <a:lnTo>
                    <a:pt x="180" y="79"/>
                  </a:lnTo>
                  <a:lnTo>
                    <a:pt x="178" y="79"/>
                  </a:lnTo>
                  <a:close/>
                  <a:moveTo>
                    <a:pt x="132" y="394"/>
                  </a:moveTo>
                  <a:lnTo>
                    <a:pt x="134" y="394"/>
                  </a:lnTo>
                  <a:lnTo>
                    <a:pt x="134" y="396"/>
                  </a:lnTo>
                  <a:lnTo>
                    <a:pt x="132" y="396"/>
                  </a:lnTo>
                  <a:lnTo>
                    <a:pt x="132" y="394"/>
                  </a:lnTo>
                  <a:close/>
                  <a:moveTo>
                    <a:pt x="516" y="165"/>
                  </a:moveTo>
                  <a:lnTo>
                    <a:pt x="518" y="165"/>
                  </a:lnTo>
                  <a:lnTo>
                    <a:pt x="516" y="165"/>
                  </a:lnTo>
                  <a:close/>
                  <a:moveTo>
                    <a:pt x="13" y="256"/>
                  </a:moveTo>
                  <a:lnTo>
                    <a:pt x="15" y="256"/>
                  </a:lnTo>
                  <a:lnTo>
                    <a:pt x="13" y="256"/>
                  </a:lnTo>
                  <a:close/>
                  <a:moveTo>
                    <a:pt x="182" y="79"/>
                  </a:moveTo>
                  <a:lnTo>
                    <a:pt x="184" y="79"/>
                  </a:lnTo>
                  <a:lnTo>
                    <a:pt x="182" y="79"/>
                  </a:lnTo>
                  <a:close/>
                  <a:moveTo>
                    <a:pt x="493" y="479"/>
                  </a:moveTo>
                  <a:lnTo>
                    <a:pt x="495" y="479"/>
                  </a:lnTo>
                  <a:lnTo>
                    <a:pt x="493" y="479"/>
                  </a:lnTo>
                  <a:close/>
                  <a:moveTo>
                    <a:pt x="180" y="85"/>
                  </a:moveTo>
                  <a:lnTo>
                    <a:pt x="180" y="87"/>
                  </a:lnTo>
                  <a:lnTo>
                    <a:pt x="180" y="85"/>
                  </a:lnTo>
                  <a:close/>
                  <a:moveTo>
                    <a:pt x="326" y="398"/>
                  </a:moveTo>
                  <a:lnTo>
                    <a:pt x="326" y="400"/>
                  </a:lnTo>
                  <a:lnTo>
                    <a:pt x="326" y="398"/>
                  </a:lnTo>
                  <a:close/>
                  <a:moveTo>
                    <a:pt x="579" y="358"/>
                  </a:moveTo>
                  <a:lnTo>
                    <a:pt x="579" y="359"/>
                  </a:lnTo>
                  <a:lnTo>
                    <a:pt x="579" y="358"/>
                  </a:lnTo>
                  <a:close/>
                  <a:moveTo>
                    <a:pt x="533" y="187"/>
                  </a:moveTo>
                  <a:lnTo>
                    <a:pt x="535" y="187"/>
                  </a:lnTo>
                  <a:lnTo>
                    <a:pt x="533" y="187"/>
                  </a:lnTo>
                  <a:close/>
                  <a:moveTo>
                    <a:pt x="524" y="173"/>
                  </a:moveTo>
                  <a:lnTo>
                    <a:pt x="524" y="175"/>
                  </a:lnTo>
                  <a:lnTo>
                    <a:pt x="524" y="173"/>
                  </a:lnTo>
                  <a:close/>
                  <a:moveTo>
                    <a:pt x="518" y="528"/>
                  </a:moveTo>
                  <a:lnTo>
                    <a:pt x="518" y="530"/>
                  </a:lnTo>
                  <a:lnTo>
                    <a:pt x="518" y="528"/>
                  </a:lnTo>
                  <a:close/>
                  <a:moveTo>
                    <a:pt x="426" y="23"/>
                  </a:moveTo>
                  <a:lnTo>
                    <a:pt x="426" y="25"/>
                  </a:lnTo>
                  <a:lnTo>
                    <a:pt x="426" y="23"/>
                  </a:lnTo>
                  <a:close/>
                  <a:moveTo>
                    <a:pt x="451" y="69"/>
                  </a:moveTo>
                  <a:lnTo>
                    <a:pt x="453" y="69"/>
                  </a:lnTo>
                  <a:lnTo>
                    <a:pt x="451" y="69"/>
                  </a:lnTo>
                  <a:close/>
                  <a:moveTo>
                    <a:pt x="36" y="185"/>
                  </a:moveTo>
                  <a:lnTo>
                    <a:pt x="36" y="187"/>
                  </a:lnTo>
                  <a:lnTo>
                    <a:pt x="36" y="185"/>
                  </a:lnTo>
                  <a:close/>
                  <a:moveTo>
                    <a:pt x="126" y="394"/>
                  </a:moveTo>
                  <a:lnTo>
                    <a:pt x="126" y="396"/>
                  </a:lnTo>
                  <a:lnTo>
                    <a:pt x="126" y="394"/>
                  </a:lnTo>
                  <a:close/>
                  <a:moveTo>
                    <a:pt x="151" y="110"/>
                  </a:moveTo>
                  <a:lnTo>
                    <a:pt x="153" y="110"/>
                  </a:lnTo>
                  <a:lnTo>
                    <a:pt x="151" y="110"/>
                  </a:lnTo>
                  <a:close/>
                  <a:moveTo>
                    <a:pt x="182" y="79"/>
                  </a:moveTo>
                  <a:lnTo>
                    <a:pt x="182" y="81"/>
                  </a:lnTo>
                  <a:lnTo>
                    <a:pt x="182" y="79"/>
                  </a:lnTo>
                  <a:close/>
                  <a:moveTo>
                    <a:pt x="297" y="367"/>
                  </a:moveTo>
                  <a:lnTo>
                    <a:pt x="297" y="369"/>
                  </a:lnTo>
                  <a:lnTo>
                    <a:pt x="297" y="367"/>
                  </a:lnTo>
                  <a:close/>
                  <a:moveTo>
                    <a:pt x="472" y="555"/>
                  </a:moveTo>
                  <a:lnTo>
                    <a:pt x="474" y="555"/>
                  </a:lnTo>
                  <a:lnTo>
                    <a:pt x="472" y="555"/>
                  </a:lnTo>
                  <a:close/>
                  <a:moveTo>
                    <a:pt x="426" y="12"/>
                  </a:moveTo>
                  <a:lnTo>
                    <a:pt x="428" y="12"/>
                  </a:lnTo>
                  <a:lnTo>
                    <a:pt x="426" y="12"/>
                  </a:lnTo>
                  <a:close/>
                  <a:moveTo>
                    <a:pt x="170" y="85"/>
                  </a:moveTo>
                  <a:lnTo>
                    <a:pt x="172" y="85"/>
                  </a:lnTo>
                  <a:lnTo>
                    <a:pt x="170" y="85"/>
                  </a:lnTo>
                  <a:close/>
                  <a:moveTo>
                    <a:pt x="165" y="100"/>
                  </a:moveTo>
                  <a:lnTo>
                    <a:pt x="165" y="102"/>
                  </a:lnTo>
                  <a:lnTo>
                    <a:pt x="165" y="100"/>
                  </a:lnTo>
                  <a:close/>
                  <a:moveTo>
                    <a:pt x="591" y="286"/>
                  </a:moveTo>
                  <a:lnTo>
                    <a:pt x="591" y="288"/>
                  </a:lnTo>
                  <a:lnTo>
                    <a:pt x="591" y="286"/>
                  </a:lnTo>
                  <a:close/>
                  <a:moveTo>
                    <a:pt x="153" y="108"/>
                  </a:moveTo>
                  <a:lnTo>
                    <a:pt x="153" y="110"/>
                  </a:lnTo>
                  <a:lnTo>
                    <a:pt x="153" y="108"/>
                  </a:lnTo>
                  <a:close/>
                  <a:moveTo>
                    <a:pt x="445" y="6"/>
                  </a:moveTo>
                  <a:lnTo>
                    <a:pt x="445" y="8"/>
                  </a:lnTo>
                  <a:lnTo>
                    <a:pt x="445" y="6"/>
                  </a:lnTo>
                  <a:close/>
                  <a:moveTo>
                    <a:pt x="345" y="98"/>
                  </a:moveTo>
                  <a:lnTo>
                    <a:pt x="347" y="98"/>
                  </a:lnTo>
                  <a:lnTo>
                    <a:pt x="345" y="98"/>
                  </a:lnTo>
                  <a:close/>
                  <a:moveTo>
                    <a:pt x="174" y="108"/>
                  </a:moveTo>
                  <a:lnTo>
                    <a:pt x="176" y="108"/>
                  </a:lnTo>
                  <a:lnTo>
                    <a:pt x="174" y="108"/>
                  </a:lnTo>
                  <a:close/>
                  <a:moveTo>
                    <a:pt x="130" y="394"/>
                  </a:moveTo>
                  <a:lnTo>
                    <a:pt x="130" y="396"/>
                  </a:lnTo>
                  <a:lnTo>
                    <a:pt x="130" y="394"/>
                  </a:lnTo>
                  <a:close/>
                  <a:moveTo>
                    <a:pt x="524" y="177"/>
                  </a:moveTo>
                  <a:lnTo>
                    <a:pt x="526" y="177"/>
                  </a:lnTo>
                  <a:lnTo>
                    <a:pt x="524" y="177"/>
                  </a:lnTo>
                  <a:close/>
                  <a:moveTo>
                    <a:pt x="516" y="530"/>
                  </a:moveTo>
                  <a:lnTo>
                    <a:pt x="518" y="530"/>
                  </a:lnTo>
                  <a:lnTo>
                    <a:pt x="516" y="530"/>
                  </a:lnTo>
                  <a:close/>
                  <a:moveTo>
                    <a:pt x="13" y="302"/>
                  </a:moveTo>
                  <a:lnTo>
                    <a:pt x="13" y="304"/>
                  </a:lnTo>
                  <a:lnTo>
                    <a:pt x="13" y="302"/>
                  </a:lnTo>
                  <a:close/>
                  <a:moveTo>
                    <a:pt x="543" y="194"/>
                  </a:moveTo>
                  <a:lnTo>
                    <a:pt x="545" y="194"/>
                  </a:lnTo>
                  <a:lnTo>
                    <a:pt x="543" y="194"/>
                  </a:lnTo>
                  <a:close/>
                  <a:moveTo>
                    <a:pt x="483" y="569"/>
                  </a:moveTo>
                  <a:lnTo>
                    <a:pt x="483" y="571"/>
                  </a:lnTo>
                  <a:lnTo>
                    <a:pt x="483" y="569"/>
                  </a:lnTo>
                  <a:close/>
                  <a:moveTo>
                    <a:pt x="481" y="571"/>
                  </a:moveTo>
                  <a:lnTo>
                    <a:pt x="483" y="571"/>
                  </a:lnTo>
                  <a:lnTo>
                    <a:pt x="481" y="571"/>
                  </a:lnTo>
                  <a:close/>
                  <a:moveTo>
                    <a:pt x="499" y="569"/>
                  </a:moveTo>
                  <a:lnTo>
                    <a:pt x="499" y="571"/>
                  </a:lnTo>
                  <a:lnTo>
                    <a:pt x="499" y="569"/>
                  </a:lnTo>
                  <a:close/>
                  <a:moveTo>
                    <a:pt x="128" y="142"/>
                  </a:moveTo>
                  <a:lnTo>
                    <a:pt x="130" y="142"/>
                  </a:lnTo>
                  <a:lnTo>
                    <a:pt x="128" y="142"/>
                  </a:lnTo>
                  <a:close/>
                  <a:moveTo>
                    <a:pt x="587" y="275"/>
                  </a:moveTo>
                  <a:lnTo>
                    <a:pt x="587" y="277"/>
                  </a:lnTo>
                  <a:lnTo>
                    <a:pt x="587" y="275"/>
                  </a:lnTo>
                  <a:close/>
                  <a:moveTo>
                    <a:pt x="186" y="75"/>
                  </a:moveTo>
                  <a:lnTo>
                    <a:pt x="188" y="75"/>
                  </a:lnTo>
                  <a:lnTo>
                    <a:pt x="186" y="75"/>
                  </a:lnTo>
                  <a:close/>
                  <a:moveTo>
                    <a:pt x="136" y="396"/>
                  </a:moveTo>
                  <a:lnTo>
                    <a:pt x="136" y="398"/>
                  </a:lnTo>
                  <a:lnTo>
                    <a:pt x="136" y="396"/>
                  </a:lnTo>
                  <a:close/>
                  <a:moveTo>
                    <a:pt x="439" y="29"/>
                  </a:moveTo>
                  <a:lnTo>
                    <a:pt x="439" y="31"/>
                  </a:lnTo>
                  <a:lnTo>
                    <a:pt x="439" y="29"/>
                  </a:lnTo>
                  <a:close/>
                  <a:moveTo>
                    <a:pt x="136" y="400"/>
                  </a:moveTo>
                  <a:lnTo>
                    <a:pt x="136" y="402"/>
                  </a:lnTo>
                  <a:lnTo>
                    <a:pt x="136" y="400"/>
                  </a:lnTo>
                  <a:close/>
                  <a:moveTo>
                    <a:pt x="485" y="573"/>
                  </a:moveTo>
                  <a:lnTo>
                    <a:pt x="485" y="575"/>
                  </a:lnTo>
                  <a:lnTo>
                    <a:pt x="485" y="573"/>
                  </a:lnTo>
                  <a:close/>
                  <a:moveTo>
                    <a:pt x="562" y="227"/>
                  </a:moveTo>
                  <a:lnTo>
                    <a:pt x="564" y="227"/>
                  </a:lnTo>
                  <a:lnTo>
                    <a:pt x="562" y="227"/>
                  </a:lnTo>
                  <a:close/>
                  <a:moveTo>
                    <a:pt x="180" y="87"/>
                  </a:moveTo>
                  <a:lnTo>
                    <a:pt x="182" y="87"/>
                  </a:lnTo>
                  <a:lnTo>
                    <a:pt x="180" y="87"/>
                  </a:lnTo>
                  <a:close/>
                  <a:moveTo>
                    <a:pt x="466" y="75"/>
                  </a:moveTo>
                  <a:lnTo>
                    <a:pt x="468" y="75"/>
                  </a:lnTo>
                  <a:lnTo>
                    <a:pt x="466" y="75"/>
                  </a:lnTo>
                  <a:close/>
                  <a:moveTo>
                    <a:pt x="186" y="77"/>
                  </a:moveTo>
                  <a:lnTo>
                    <a:pt x="186" y="79"/>
                  </a:lnTo>
                  <a:lnTo>
                    <a:pt x="186" y="77"/>
                  </a:lnTo>
                  <a:close/>
                  <a:moveTo>
                    <a:pt x="38" y="169"/>
                  </a:moveTo>
                  <a:lnTo>
                    <a:pt x="38" y="171"/>
                  </a:lnTo>
                  <a:lnTo>
                    <a:pt x="38" y="169"/>
                  </a:lnTo>
                  <a:close/>
                  <a:moveTo>
                    <a:pt x="142" y="392"/>
                  </a:moveTo>
                  <a:lnTo>
                    <a:pt x="142" y="394"/>
                  </a:lnTo>
                  <a:lnTo>
                    <a:pt x="142" y="392"/>
                  </a:lnTo>
                  <a:close/>
                  <a:moveTo>
                    <a:pt x="180" y="85"/>
                  </a:moveTo>
                  <a:lnTo>
                    <a:pt x="180" y="87"/>
                  </a:lnTo>
                  <a:lnTo>
                    <a:pt x="180" y="85"/>
                  </a:lnTo>
                  <a:close/>
                  <a:moveTo>
                    <a:pt x="433" y="21"/>
                  </a:moveTo>
                  <a:lnTo>
                    <a:pt x="435" y="21"/>
                  </a:lnTo>
                  <a:lnTo>
                    <a:pt x="433" y="21"/>
                  </a:lnTo>
                  <a:close/>
                  <a:moveTo>
                    <a:pt x="466" y="77"/>
                  </a:moveTo>
                  <a:lnTo>
                    <a:pt x="468" y="77"/>
                  </a:lnTo>
                  <a:lnTo>
                    <a:pt x="466" y="77"/>
                  </a:lnTo>
                  <a:close/>
                  <a:moveTo>
                    <a:pt x="474" y="546"/>
                  </a:moveTo>
                  <a:lnTo>
                    <a:pt x="474" y="548"/>
                  </a:lnTo>
                  <a:lnTo>
                    <a:pt x="474" y="546"/>
                  </a:lnTo>
                  <a:close/>
                  <a:moveTo>
                    <a:pt x="155" y="106"/>
                  </a:moveTo>
                  <a:lnTo>
                    <a:pt x="155" y="108"/>
                  </a:lnTo>
                  <a:lnTo>
                    <a:pt x="155" y="106"/>
                  </a:lnTo>
                  <a:close/>
                  <a:moveTo>
                    <a:pt x="159" y="104"/>
                  </a:moveTo>
                  <a:lnTo>
                    <a:pt x="159" y="106"/>
                  </a:lnTo>
                  <a:lnTo>
                    <a:pt x="159" y="104"/>
                  </a:lnTo>
                  <a:close/>
                  <a:moveTo>
                    <a:pt x="583" y="348"/>
                  </a:moveTo>
                  <a:lnTo>
                    <a:pt x="585" y="348"/>
                  </a:lnTo>
                  <a:lnTo>
                    <a:pt x="585" y="350"/>
                  </a:lnTo>
                  <a:lnTo>
                    <a:pt x="583" y="350"/>
                  </a:lnTo>
                  <a:lnTo>
                    <a:pt x="583" y="348"/>
                  </a:lnTo>
                  <a:close/>
                  <a:moveTo>
                    <a:pt x="78" y="411"/>
                  </a:moveTo>
                  <a:lnTo>
                    <a:pt x="80" y="411"/>
                  </a:lnTo>
                  <a:lnTo>
                    <a:pt x="78" y="411"/>
                  </a:lnTo>
                  <a:close/>
                  <a:moveTo>
                    <a:pt x="174" y="92"/>
                  </a:moveTo>
                  <a:lnTo>
                    <a:pt x="176" y="92"/>
                  </a:lnTo>
                  <a:lnTo>
                    <a:pt x="174" y="92"/>
                  </a:lnTo>
                  <a:close/>
                  <a:moveTo>
                    <a:pt x="524" y="175"/>
                  </a:moveTo>
                  <a:lnTo>
                    <a:pt x="526" y="175"/>
                  </a:lnTo>
                  <a:lnTo>
                    <a:pt x="524" y="175"/>
                  </a:lnTo>
                  <a:close/>
                  <a:moveTo>
                    <a:pt x="136" y="396"/>
                  </a:moveTo>
                  <a:lnTo>
                    <a:pt x="136" y="398"/>
                  </a:lnTo>
                  <a:lnTo>
                    <a:pt x="136" y="396"/>
                  </a:lnTo>
                  <a:close/>
                  <a:moveTo>
                    <a:pt x="169" y="91"/>
                  </a:moveTo>
                  <a:lnTo>
                    <a:pt x="169" y="92"/>
                  </a:lnTo>
                  <a:lnTo>
                    <a:pt x="169" y="91"/>
                  </a:lnTo>
                  <a:close/>
                  <a:moveTo>
                    <a:pt x="11" y="300"/>
                  </a:moveTo>
                  <a:lnTo>
                    <a:pt x="13" y="300"/>
                  </a:lnTo>
                  <a:lnTo>
                    <a:pt x="11" y="300"/>
                  </a:lnTo>
                  <a:close/>
                  <a:moveTo>
                    <a:pt x="172" y="89"/>
                  </a:moveTo>
                  <a:lnTo>
                    <a:pt x="172" y="91"/>
                  </a:lnTo>
                  <a:lnTo>
                    <a:pt x="172" y="89"/>
                  </a:lnTo>
                  <a:close/>
                  <a:moveTo>
                    <a:pt x="426" y="12"/>
                  </a:moveTo>
                  <a:lnTo>
                    <a:pt x="426" y="14"/>
                  </a:lnTo>
                  <a:lnTo>
                    <a:pt x="426" y="12"/>
                  </a:lnTo>
                  <a:close/>
                  <a:moveTo>
                    <a:pt x="503" y="573"/>
                  </a:moveTo>
                  <a:lnTo>
                    <a:pt x="503" y="575"/>
                  </a:lnTo>
                  <a:lnTo>
                    <a:pt x="503" y="573"/>
                  </a:lnTo>
                  <a:close/>
                  <a:moveTo>
                    <a:pt x="155" y="106"/>
                  </a:moveTo>
                  <a:lnTo>
                    <a:pt x="155" y="108"/>
                  </a:lnTo>
                  <a:lnTo>
                    <a:pt x="155" y="106"/>
                  </a:lnTo>
                  <a:close/>
                  <a:moveTo>
                    <a:pt x="593" y="294"/>
                  </a:moveTo>
                  <a:lnTo>
                    <a:pt x="593" y="296"/>
                  </a:lnTo>
                  <a:lnTo>
                    <a:pt x="593" y="294"/>
                  </a:lnTo>
                  <a:close/>
                  <a:moveTo>
                    <a:pt x="524" y="173"/>
                  </a:moveTo>
                  <a:lnTo>
                    <a:pt x="524" y="175"/>
                  </a:lnTo>
                  <a:lnTo>
                    <a:pt x="524" y="173"/>
                  </a:lnTo>
                  <a:close/>
                  <a:moveTo>
                    <a:pt x="483" y="569"/>
                  </a:moveTo>
                  <a:lnTo>
                    <a:pt x="483" y="571"/>
                  </a:lnTo>
                  <a:lnTo>
                    <a:pt x="483" y="569"/>
                  </a:lnTo>
                  <a:close/>
                  <a:moveTo>
                    <a:pt x="9" y="269"/>
                  </a:moveTo>
                  <a:lnTo>
                    <a:pt x="11" y="269"/>
                  </a:lnTo>
                  <a:lnTo>
                    <a:pt x="9" y="269"/>
                  </a:lnTo>
                  <a:close/>
                  <a:moveTo>
                    <a:pt x="178" y="91"/>
                  </a:moveTo>
                  <a:lnTo>
                    <a:pt x="178" y="92"/>
                  </a:lnTo>
                  <a:lnTo>
                    <a:pt x="178" y="91"/>
                  </a:lnTo>
                  <a:close/>
                  <a:moveTo>
                    <a:pt x="539" y="457"/>
                  </a:moveTo>
                  <a:lnTo>
                    <a:pt x="539" y="459"/>
                  </a:lnTo>
                  <a:lnTo>
                    <a:pt x="539" y="457"/>
                  </a:lnTo>
                  <a:close/>
                  <a:moveTo>
                    <a:pt x="186" y="73"/>
                  </a:moveTo>
                  <a:lnTo>
                    <a:pt x="186" y="75"/>
                  </a:lnTo>
                  <a:lnTo>
                    <a:pt x="186" y="73"/>
                  </a:lnTo>
                  <a:close/>
                  <a:moveTo>
                    <a:pt x="570" y="371"/>
                  </a:moveTo>
                  <a:lnTo>
                    <a:pt x="572" y="371"/>
                  </a:lnTo>
                  <a:lnTo>
                    <a:pt x="570" y="371"/>
                  </a:lnTo>
                  <a:close/>
                  <a:moveTo>
                    <a:pt x="675" y="350"/>
                  </a:moveTo>
                  <a:lnTo>
                    <a:pt x="675" y="352"/>
                  </a:lnTo>
                  <a:lnTo>
                    <a:pt x="675" y="350"/>
                  </a:lnTo>
                  <a:close/>
                  <a:moveTo>
                    <a:pt x="19" y="260"/>
                  </a:moveTo>
                  <a:lnTo>
                    <a:pt x="19" y="261"/>
                  </a:lnTo>
                  <a:lnTo>
                    <a:pt x="19" y="260"/>
                  </a:lnTo>
                  <a:close/>
                  <a:moveTo>
                    <a:pt x="11" y="300"/>
                  </a:moveTo>
                  <a:lnTo>
                    <a:pt x="13" y="300"/>
                  </a:lnTo>
                  <a:lnTo>
                    <a:pt x="11" y="300"/>
                  </a:lnTo>
                  <a:close/>
                  <a:moveTo>
                    <a:pt x="165" y="91"/>
                  </a:moveTo>
                  <a:lnTo>
                    <a:pt x="165" y="92"/>
                  </a:lnTo>
                  <a:lnTo>
                    <a:pt x="165" y="91"/>
                  </a:lnTo>
                  <a:close/>
                  <a:moveTo>
                    <a:pt x="468" y="77"/>
                  </a:moveTo>
                  <a:lnTo>
                    <a:pt x="468" y="79"/>
                  </a:lnTo>
                  <a:lnTo>
                    <a:pt x="468" y="77"/>
                  </a:lnTo>
                  <a:close/>
                  <a:moveTo>
                    <a:pt x="184" y="79"/>
                  </a:moveTo>
                  <a:lnTo>
                    <a:pt x="186" y="79"/>
                  </a:lnTo>
                  <a:lnTo>
                    <a:pt x="184" y="79"/>
                  </a:lnTo>
                  <a:close/>
                  <a:moveTo>
                    <a:pt x="182" y="79"/>
                  </a:moveTo>
                  <a:lnTo>
                    <a:pt x="182" y="81"/>
                  </a:lnTo>
                  <a:lnTo>
                    <a:pt x="182" y="79"/>
                  </a:lnTo>
                  <a:close/>
                  <a:moveTo>
                    <a:pt x="357" y="402"/>
                  </a:moveTo>
                  <a:lnTo>
                    <a:pt x="359" y="402"/>
                  </a:lnTo>
                  <a:lnTo>
                    <a:pt x="357" y="402"/>
                  </a:lnTo>
                  <a:close/>
                  <a:moveTo>
                    <a:pt x="393" y="112"/>
                  </a:moveTo>
                  <a:lnTo>
                    <a:pt x="393" y="114"/>
                  </a:lnTo>
                  <a:lnTo>
                    <a:pt x="393" y="112"/>
                  </a:lnTo>
                  <a:close/>
                  <a:moveTo>
                    <a:pt x="447" y="60"/>
                  </a:moveTo>
                  <a:lnTo>
                    <a:pt x="449" y="60"/>
                  </a:lnTo>
                  <a:lnTo>
                    <a:pt x="447" y="60"/>
                  </a:lnTo>
                  <a:close/>
                  <a:moveTo>
                    <a:pt x="518" y="528"/>
                  </a:moveTo>
                  <a:lnTo>
                    <a:pt x="518" y="530"/>
                  </a:lnTo>
                  <a:lnTo>
                    <a:pt x="518" y="528"/>
                  </a:lnTo>
                  <a:close/>
                  <a:moveTo>
                    <a:pt x="587" y="342"/>
                  </a:moveTo>
                  <a:lnTo>
                    <a:pt x="587" y="344"/>
                  </a:lnTo>
                  <a:lnTo>
                    <a:pt x="587" y="342"/>
                  </a:lnTo>
                  <a:close/>
                  <a:moveTo>
                    <a:pt x="178" y="79"/>
                  </a:moveTo>
                  <a:lnTo>
                    <a:pt x="180" y="79"/>
                  </a:lnTo>
                  <a:lnTo>
                    <a:pt x="178" y="79"/>
                  </a:lnTo>
                  <a:close/>
                  <a:moveTo>
                    <a:pt x="487" y="573"/>
                  </a:moveTo>
                  <a:lnTo>
                    <a:pt x="487" y="575"/>
                  </a:lnTo>
                  <a:lnTo>
                    <a:pt x="487" y="573"/>
                  </a:lnTo>
                  <a:close/>
                  <a:moveTo>
                    <a:pt x="466" y="511"/>
                  </a:moveTo>
                  <a:lnTo>
                    <a:pt x="466" y="513"/>
                  </a:lnTo>
                  <a:lnTo>
                    <a:pt x="466" y="511"/>
                  </a:lnTo>
                  <a:close/>
                  <a:moveTo>
                    <a:pt x="464" y="532"/>
                  </a:moveTo>
                  <a:lnTo>
                    <a:pt x="466" y="532"/>
                  </a:lnTo>
                  <a:lnTo>
                    <a:pt x="464" y="532"/>
                  </a:lnTo>
                  <a:close/>
                  <a:moveTo>
                    <a:pt x="539" y="457"/>
                  </a:moveTo>
                  <a:lnTo>
                    <a:pt x="539" y="459"/>
                  </a:lnTo>
                  <a:lnTo>
                    <a:pt x="539" y="457"/>
                  </a:lnTo>
                  <a:close/>
                  <a:moveTo>
                    <a:pt x="504" y="563"/>
                  </a:moveTo>
                  <a:lnTo>
                    <a:pt x="504" y="565"/>
                  </a:lnTo>
                  <a:lnTo>
                    <a:pt x="504" y="563"/>
                  </a:lnTo>
                  <a:close/>
                  <a:moveTo>
                    <a:pt x="30" y="394"/>
                  </a:moveTo>
                  <a:lnTo>
                    <a:pt x="30" y="396"/>
                  </a:lnTo>
                  <a:lnTo>
                    <a:pt x="30" y="394"/>
                  </a:lnTo>
                  <a:close/>
                  <a:moveTo>
                    <a:pt x="485" y="573"/>
                  </a:moveTo>
                  <a:lnTo>
                    <a:pt x="485" y="575"/>
                  </a:lnTo>
                  <a:lnTo>
                    <a:pt x="485" y="573"/>
                  </a:lnTo>
                  <a:close/>
                  <a:moveTo>
                    <a:pt x="585" y="336"/>
                  </a:moveTo>
                  <a:lnTo>
                    <a:pt x="587" y="336"/>
                  </a:lnTo>
                  <a:lnTo>
                    <a:pt x="585" y="336"/>
                  </a:lnTo>
                  <a:close/>
                  <a:moveTo>
                    <a:pt x="474" y="546"/>
                  </a:moveTo>
                  <a:lnTo>
                    <a:pt x="474" y="548"/>
                  </a:lnTo>
                  <a:lnTo>
                    <a:pt x="474" y="546"/>
                  </a:lnTo>
                  <a:close/>
                  <a:moveTo>
                    <a:pt x="462" y="525"/>
                  </a:moveTo>
                  <a:lnTo>
                    <a:pt x="464" y="525"/>
                  </a:lnTo>
                  <a:lnTo>
                    <a:pt x="462" y="525"/>
                  </a:lnTo>
                  <a:close/>
                  <a:moveTo>
                    <a:pt x="516" y="540"/>
                  </a:moveTo>
                  <a:lnTo>
                    <a:pt x="518" y="540"/>
                  </a:lnTo>
                  <a:lnTo>
                    <a:pt x="516" y="540"/>
                  </a:lnTo>
                  <a:close/>
                  <a:moveTo>
                    <a:pt x="587" y="342"/>
                  </a:moveTo>
                  <a:lnTo>
                    <a:pt x="587" y="344"/>
                  </a:lnTo>
                  <a:lnTo>
                    <a:pt x="587" y="342"/>
                  </a:lnTo>
                  <a:close/>
                  <a:moveTo>
                    <a:pt x="462" y="523"/>
                  </a:moveTo>
                  <a:lnTo>
                    <a:pt x="464" y="523"/>
                  </a:lnTo>
                  <a:lnTo>
                    <a:pt x="462" y="523"/>
                  </a:lnTo>
                  <a:close/>
                  <a:moveTo>
                    <a:pt x="464" y="523"/>
                  </a:moveTo>
                  <a:lnTo>
                    <a:pt x="464" y="525"/>
                  </a:lnTo>
                  <a:lnTo>
                    <a:pt x="464" y="523"/>
                  </a:lnTo>
                  <a:close/>
                  <a:moveTo>
                    <a:pt x="466" y="532"/>
                  </a:moveTo>
                  <a:lnTo>
                    <a:pt x="466" y="534"/>
                  </a:lnTo>
                  <a:lnTo>
                    <a:pt x="466" y="532"/>
                  </a:lnTo>
                  <a:close/>
                  <a:moveTo>
                    <a:pt x="462" y="523"/>
                  </a:moveTo>
                  <a:lnTo>
                    <a:pt x="464" y="523"/>
                  </a:lnTo>
                  <a:lnTo>
                    <a:pt x="462" y="523"/>
                  </a:lnTo>
                  <a:close/>
                  <a:moveTo>
                    <a:pt x="464" y="528"/>
                  </a:moveTo>
                  <a:lnTo>
                    <a:pt x="464" y="530"/>
                  </a:lnTo>
                  <a:lnTo>
                    <a:pt x="464" y="528"/>
                  </a:lnTo>
                  <a:close/>
                  <a:moveTo>
                    <a:pt x="462" y="523"/>
                  </a:moveTo>
                  <a:lnTo>
                    <a:pt x="464" y="523"/>
                  </a:lnTo>
                  <a:lnTo>
                    <a:pt x="462" y="523"/>
                  </a:lnTo>
                  <a:close/>
                  <a:moveTo>
                    <a:pt x="464" y="521"/>
                  </a:moveTo>
                  <a:lnTo>
                    <a:pt x="464" y="523"/>
                  </a:lnTo>
                  <a:lnTo>
                    <a:pt x="464" y="521"/>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8" name="Freeform 437">
              <a:extLst>
                <a:ext uri="{FF2B5EF4-FFF2-40B4-BE49-F238E27FC236}">
                  <a16:creationId xmlns:a16="http://schemas.microsoft.com/office/drawing/2014/main" id="{F38DDC40-1FE1-44AF-A072-FAF3FA2126FB}"/>
                </a:ext>
              </a:extLst>
            </p:cNvPr>
            <p:cNvSpPr>
              <a:spLocks noEditPoints="1"/>
            </p:cNvSpPr>
            <p:nvPr/>
          </p:nvSpPr>
          <p:spPr bwMode="gray">
            <a:xfrm>
              <a:off x="4946038" y="4586062"/>
              <a:ext cx="2453" cy="1227"/>
            </a:xfrm>
            <a:custGeom>
              <a:avLst/>
              <a:gdLst>
                <a:gd name="T0" fmla="*/ 0 w 2"/>
                <a:gd name="T1" fmla="*/ 0 h 1"/>
                <a:gd name="T2" fmla="*/ 2 w 2"/>
                <a:gd name="T3" fmla="*/ 0 h 1"/>
                <a:gd name="T4" fmla="*/ 2 w 2"/>
                <a:gd name="T5" fmla="*/ 1 h 1"/>
                <a:gd name="T6" fmla="*/ 0 w 2"/>
                <a:gd name="T7" fmla="*/ 1 h 1"/>
                <a:gd name="T8" fmla="*/ 0 w 2"/>
                <a:gd name="T9" fmla="*/ 0 h 1"/>
                <a:gd name="T10" fmla="*/ 2 w 2"/>
                <a:gd name="T11" fmla="*/ 0 h 1"/>
                <a:gd name="T12" fmla="*/ 2 w 2"/>
                <a:gd name="T13" fmla="*/ 1 h 1"/>
                <a:gd name="T14" fmla="*/ 2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0" y="0"/>
                  </a:moveTo>
                  <a:lnTo>
                    <a:pt x="2" y="0"/>
                  </a:lnTo>
                  <a:lnTo>
                    <a:pt x="2" y="1"/>
                  </a:lnTo>
                  <a:lnTo>
                    <a:pt x="0" y="1"/>
                  </a:lnTo>
                  <a:lnTo>
                    <a:pt x="0" y="0"/>
                  </a:lnTo>
                  <a:close/>
                  <a:moveTo>
                    <a:pt x="2" y="0"/>
                  </a:moveTo>
                  <a:lnTo>
                    <a:pt x="2" y="1"/>
                  </a:lnTo>
                  <a:lnTo>
                    <a:pt x="2"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9" name="Freeform 438">
              <a:extLst>
                <a:ext uri="{FF2B5EF4-FFF2-40B4-BE49-F238E27FC236}">
                  <a16:creationId xmlns:a16="http://schemas.microsoft.com/office/drawing/2014/main" id="{83C39CC8-0AFC-483B-87B5-88B7191D9E2F}"/>
                </a:ext>
              </a:extLst>
            </p:cNvPr>
            <p:cNvSpPr>
              <a:spLocks noEditPoints="1"/>
            </p:cNvSpPr>
            <p:nvPr/>
          </p:nvSpPr>
          <p:spPr bwMode="gray">
            <a:xfrm>
              <a:off x="5435362" y="4512479"/>
              <a:ext cx="58866" cy="25754"/>
            </a:xfrm>
            <a:custGeom>
              <a:avLst/>
              <a:gdLst>
                <a:gd name="T0" fmla="*/ 15 w 48"/>
                <a:gd name="T1" fmla="*/ 19 h 21"/>
                <a:gd name="T2" fmla="*/ 13 w 48"/>
                <a:gd name="T3" fmla="*/ 17 h 21"/>
                <a:gd name="T4" fmla="*/ 13 w 48"/>
                <a:gd name="T5" fmla="*/ 17 h 21"/>
                <a:gd name="T6" fmla="*/ 13 w 48"/>
                <a:gd name="T7" fmla="*/ 17 h 21"/>
                <a:gd name="T8" fmla="*/ 15 w 48"/>
                <a:gd name="T9" fmla="*/ 15 h 21"/>
                <a:gd name="T10" fmla="*/ 13 w 48"/>
                <a:gd name="T11" fmla="*/ 13 h 21"/>
                <a:gd name="T12" fmla="*/ 11 w 48"/>
                <a:gd name="T13" fmla="*/ 15 h 21"/>
                <a:gd name="T14" fmla="*/ 13 w 48"/>
                <a:gd name="T15" fmla="*/ 13 h 21"/>
                <a:gd name="T16" fmla="*/ 15 w 48"/>
                <a:gd name="T17" fmla="*/ 11 h 21"/>
                <a:gd name="T18" fmla="*/ 15 w 48"/>
                <a:gd name="T19" fmla="*/ 8 h 21"/>
                <a:gd name="T20" fmla="*/ 19 w 48"/>
                <a:gd name="T21" fmla="*/ 8 h 21"/>
                <a:gd name="T22" fmla="*/ 23 w 48"/>
                <a:gd name="T23" fmla="*/ 8 h 21"/>
                <a:gd name="T24" fmla="*/ 23 w 48"/>
                <a:gd name="T25" fmla="*/ 8 h 21"/>
                <a:gd name="T26" fmla="*/ 23 w 48"/>
                <a:gd name="T27" fmla="*/ 8 h 21"/>
                <a:gd name="T28" fmla="*/ 23 w 48"/>
                <a:gd name="T29" fmla="*/ 8 h 21"/>
                <a:gd name="T30" fmla="*/ 25 w 48"/>
                <a:gd name="T31" fmla="*/ 6 h 21"/>
                <a:gd name="T32" fmla="*/ 25 w 48"/>
                <a:gd name="T33" fmla="*/ 6 h 21"/>
                <a:gd name="T34" fmla="*/ 29 w 48"/>
                <a:gd name="T35" fmla="*/ 6 h 21"/>
                <a:gd name="T36" fmla="*/ 29 w 48"/>
                <a:gd name="T37" fmla="*/ 6 h 21"/>
                <a:gd name="T38" fmla="*/ 32 w 48"/>
                <a:gd name="T39" fmla="*/ 6 h 21"/>
                <a:gd name="T40" fmla="*/ 36 w 48"/>
                <a:gd name="T41" fmla="*/ 6 h 21"/>
                <a:gd name="T42" fmla="*/ 40 w 48"/>
                <a:gd name="T43" fmla="*/ 6 h 21"/>
                <a:gd name="T44" fmla="*/ 42 w 48"/>
                <a:gd name="T45" fmla="*/ 4 h 21"/>
                <a:gd name="T46" fmla="*/ 46 w 48"/>
                <a:gd name="T47" fmla="*/ 4 h 21"/>
                <a:gd name="T48" fmla="*/ 48 w 48"/>
                <a:gd name="T49" fmla="*/ 6 h 21"/>
                <a:gd name="T50" fmla="*/ 46 w 48"/>
                <a:gd name="T51" fmla="*/ 8 h 21"/>
                <a:gd name="T52" fmla="*/ 44 w 48"/>
                <a:gd name="T53" fmla="*/ 10 h 21"/>
                <a:gd name="T54" fmla="*/ 40 w 48"/>
                <a:gd name="T55" fmla="*/ 10 h 21"/>
                <a:gd name="T56" fmla="*/ 36 w 48"/>
                <a:gd name="T57" fmla="*/ 10 h 21"/>
                <a:gd name="T58" fmla="*/ 34 w 48"/>
                <a:gd name="T59" fmla="*/ 11 h 21"/>
                <a:gd name="T60" fmla="*/ 32 w 48"/>
                <a:gd name="T61" fmla="*/ 13 h 21"/>
                <a:gd name="T62" fmla="*/ 29 w 48"/>
                <a:gd name="T63" fmla="*/ 13 h 21"/>
                <a:gd name="T64" fmla="*/ 27 w 48"/>
                <a:gd name="T65" fmla="*/ 15 h 21"/>
                <a:gd name="T66" fmla="*/ 23 w 48"/>
                <a:gd name="T67" fmla="*/ 15 h 21"/>
                <a:gd name="T68" fmla="*/ 21 w 48"/>
                <a:gd name="T69" fmla="*/ 17 h 21"/>
                <a:gd name="T70" fmla="*/ 19 w 48"/>
                <a:gd name="T71" fmla="*/ 19 h 21"/>
                <a:gd name="T72" fmla="*/ 15 w 48"/>
                <a:gd name="T73" fmla="*/ 19 h 21"/>
                <a:gd name="T74" fmla="*/ 6 w 48"/>
                <a:gd name="T75" fmla="*/ 17 h 21"/>
                <a:gd name="T76" fmla="*/ 4 w 48"/>
                <a:gd name="T77" fmla="*/ 19 h 21"/>
                <a:gd name="T78" fmla="*/ 2 w 48"/>
                <a:gd name="T79" fmla="*/ 21 h 21"/>
                <a:gd name="T80" fmla="*/ 2 w 48"/>
                <a:gd name="T81" fmla="*/ 21 h 21"/>
                <a:gd name="T82" fmla="*/ 0 w 48"/>
                <a:gd name="T83" fmla="*/ 19 h 21"/>
                <a:gd name="T84" fmla="*/ 2 w 48"/>
                <a:gd name="T85" fmla="*/ 17 h 21"/>
                <a:gd name="T86" fmla="*/ 6 w 48"/>
                <a:gd name="T87" fmla="*/ 17 h 21"/>
                <a:gd name="T88" fmla="*/ 6 w 48"/>
                <a:gd name="T89" fmla="*/ 17 h 21"/>
                <a:gd name="T90" fmla="*/ 23 w 48"/>
                <a:gd name="T91" fmla="*/ 0 h 21"/>
                <a:gd name="T92" fmla="*/ 21 w 48"/>
                <a:gd name="T93"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21">
                  <a:moveTo>
                    <a:pt x="15" y="21"/>
                  </a:moveTo>
                  <a:lnTo>
                    <a:pt x="15" y="19"/>
                  </a:lnTo>
                  <a:lnTo>
                    <a:pt x="13" y="19"/>
                  </a:lnTo>
                  <a:lnTo>
                    <a:pt x="13" y="17"/>
                  </a:lnTo>
                  <a:lnTo>
                    <a:pt x="13" y="15"/>
                  </a:lnTo>
                  <a:lnTo>
                    <a:pt x="13" y="17"/>
                  </a:lnTo>
                  <a:lnTo>
                    <a:pt x="13" y="15"/>
                  </a:lnTo>
                  <a:lnTo>
                    <a:pt x="13" y="17"/>
                  </a:lnTo>
                  <a:lnTo>
                    <a:pt x="15" y="17"/>
                  </a:lnTo>
                  <a:lnTo>
                    <a:pt x="15" y="15"/>
                  </a:lnTo>
                  <a:lnTo>
                    <a:pt x="15" y="13"/>
                  </a:lnTo>
                  <a:lnTo>
                    <a:pt x="13" y="13"/>
                  </a:lnTo>
                  <a:lnTo>
                    <a:pt x="13" y="15"/>
                  </a:lnTo>
                  <a:lnTo>
                    <a:pt x="11" y="15"/>
                  </a:lnTo>
                  <a:lnTo>
                    <a:pt x="11" y="13"/>
                  </a:lnTo>
                  <a:lnTo>
                    <a:pt x="13" y="13"/>
                  </a:lnTo>
                  <a:lnTo>
                    <a:pt x="13" y="11"/>
                  </a:lnTo>
                  <a:lnTo>
                    <a:pt x="15" y="11"/>
                  </a:lnTo>
                  <a:lnTo>
                    <a:pt x="15" y="10"/>
                  </a:lnTo>
                  <a:lnTo>
                    <a:pt x="15" y="8"/>
                  </a:lnTo>
                  <a:lnTo>
                    <a:pt x="17" y="8"/>
                  </a:lnTo>
                  <a:lnTo>
                    <a:pt x="19" y="8"/>
                  </a:lnTo>
                  <a:lnTo>
                    <a:pt x="21" y="8"/>
                  </a:lnTo>
                  <a:lnTo>
                    <a:pt x="23" y="8"/>
                  </a:lnTo>
                  <a:lnTo>
                    <a:pt x="23" y="6"/>
                  </a:lnTo>
                  <a:lnTo>
                    <a:pt x="23" y="8"/>
                  </a:lnTo>
                  <a:lnTo>
                    <a:pt x="23" y="6"/>
                  </a:lnTo>
                  <a:lnTo>
                    <a:pt x="23" y="8"/>
                  </a:lnTo>
                  <a:lnTo>
                    <a:pt x="23" y="6"/>
                  </a:lnTo>
                  <a:lnTo>
                    <a:pt x="23" y="8"/>
                  </a:lnTo>
                  <a:lnTo>
                    <a:pt x="25" y="8"/>
                  </a:lnTo>
                  <a:lnTo>
                    <a:pt x="25" y="6"/>
                  </a:lnTo>
                  <a:lnTo>
                    <a:pt x="25" y="8"/>
                  </a:lnTo>
                  <a:lnTo>
                    <a:pt x="25" y="6"/>
                  </a:lnTo>
                  <a:lnTo>
                    <a:pt x="27" y="6"/>
                  </a:lnTo>
                  <a:lnTo>
                    <a:pt x="29" y="6"/>
                  </a:lnTo>
                  <a:lnTo>
                    <a:pt x="29" y="8"/>
                  </a:lnTo>
                  <a:lnTo>
                    <a:pt x="29" y="6"/>
                  </a:lnTo>
                  <a:lnTo>
                    <a:pt x="31" y="6"/>
                  </a:lnTo>
                  <a:lnTo>
                    <a:pt x="32" y="6"/>
                  </a:lnTo>
                  <a:lnTo>
                    <a:pt x="34" y="6"/>
                  </a:lnTo>
                  <a:lnTo>
                    <a:pt x="36" y="6"/>
                  </a:lnTo>
                  <a:lnTo>
                    <a:pt x="38" y="6"/>
                  </a:lnTo>
                  <a:lnTo>
                    <a:pt x="40" y="6"/>
                  </a:lnTo>
                  <a:lnTo>
                    <a:pt x="40" y="4"/>
                  </a:lnTo>
                  <a:lnTo>
                    <a:pt x="42" y="4"/>
                  </a:lnTo>
                  <a:lnTo>
                    <a:pt x="44" y="4"/>
                  </a:lnTo>
                  <a:lnTo>
                    <a:pt x="46" y="4"/>
                  </a:lnTo>
                  <a:lnTo>
                    <a:pt x="46" y="6"/>
                  </a:lnTo>
                  <a:lnTo>
                    <a:pt x="48" y="6"/>
                  </a:lnTo>
                  <a:lnTo>
                    <a:pt x="46" y="6"/>
                  </a:lnTo>
                  <a:lnTo>
                    <a:pt x="46" y="8"/>
                  </a:lnTo>
                  <a:lnTo>
                    <a:pt x="44" y="8"/>
                  </a:lnTo>
                  <a:lnTo>
                    <a:pt x="44" y="10"/>
                  </a:lnTo>
                  <a:lnTo>
                    <a:pt x="42" y="10"/>
                  </a:lnTo>
                  <a:lnTo>
                    <a:pt x="40" y="10"/>
                  </a:lnTo>
                  <a:lnTo>
                    <a:pt x="38" y="10"/>
                  </a:lnTo>
                  <a:lnTo>
                    <a:pt x="36" y="10"/>
                  </a:lnTo>
                  <a:lnTo>
                    <a:pt x="36" y="11"/>
                  </a:lnTo>
                  <a:lnTo>
                    <a:pt x="34" y="11"/>
                  </a:lnTo>
                  <a:lnTo>
                    <a:pt x="34" y="13"/>
                  </a:lnTo>
                  <a:lnTo>
                    <a:pt x="32" y="13"/>
                  </a:lnTo>
                  <a:lnTo>
                    <a:pt x="31" y="13"/>
                  </a:lnTo>
                  <a:lnTo>
                    <a:pt x="29" y="13"/>
                  </a:lnTo>
                  <a:lnTo>
                    <a:pt x="29" y="15"/>
                  </a:lnTo>
                  <a:lnTo>
                    <a:pt x="27" y="15"/>
                  </a:lnTo>
                  <a:lnTo>
                    <a:pt x="25" y="15"/>
                  </a:lnTo>
                  <a:lnTo>
                    <a:pt x="23" y="15"/>
                  </a:lnTo>
                  <a:lnTo>
                    <a:pt x="23" y="17"/>
                  </a:lnTo>
                  <a:lnTo>
                    <a:pt x="21" y="17"/>
                  </a:lnTo>
                  <a:lnTo>
                    <a:pt x="19" y="17"/>
                  </a:lnTo>
                  <a:lnTo>
                    <a:pt x="19" y="19"/>
                  </a:lnTo>
                  <a:lnTo>
                    <a:pt x="17" y="19"/>
                  </a:lnTo>
                  <a:lnTo>
                    <a:pt x="15" y="19"/>
                  </a:lnTo>
                  <a:lnTo>
                    <a:pt x="15" y="21"/>
                  </a:lnTo>
                  <a:close/>
                  <a:moveTo>
                    <a:pt x="6" y="17"/>
                  </a:moveTo>
                  <a:lnTo>
                    <a:pt x="6" y="19"/>
                  </a:lnTo>
                  <a:lnTo>
                    <a:pt x="4" y="19"/>
                  </a:lnTo>
                  <a:lnTo>
                    <a:pt x="4" y="21"/>
                  </a:lnTo>
                  <a:lnTo>
                    <a:pt x="2" y="21"/>
                  </a:lnTo>
                  <a:lnTo>
                    <a:pt x="4" y="21"/>
                  </a:lnTo>
                  <a:lnTo>
                    <a:pt x="2" y="21"/>
                  </a:lnTo>
                  <a:lnTo>
                    <a:pt x="2" y="19"/>
                  </a:lnTo>
                  <a:lnTo>
                    <a:pt x="0" y="19"/>
                  </a:lnTo>
                  <a:lnTo>
                    <a:pt x="0" y="17"/>
                  </a:lnTo>
                  <a:lnTo>
                    <a:pt x="2" y="17"/>
                  </a:lnTo>
                  <a:lnTo>
                    <a:pt x="4" y="17"/>
                  </a:lnTo>
                  <a:lnTo>
                    <a:pt x="6" y="17"/>
                  </a:lnTo>
                  <a:lnTo>
                    <a:pt x="6" y="15"/>
                  </a:lnTo>
                  <a:lnTo>
                    <a:pt x="6" y="17"/>
                  </a:lnTo>
                  <a:close/>
                  <a:moveTo>
                    <a:pt x="21" y="0"/>
                  </a:moveTo>
                  <a:lnTo>
                    <a:pt x="23" y="0"/>
                  </a:lnTo>
                  <a:lnTo>
                    <a:pt x="23" y="4"/>
                  </a:lnTo>
                  <a:lnTo>
                    <a:pt x="21" y="4"/>
                  </a:lnTo>
                  <a:lnTo>
                    <a:pt x="21"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0" name="Freeform 439">
              <a:extLst>
                <a:ext uri="{FF2B5EF4-FFF2-40B4-BE49-F238E27FC236}">
                  <a16:creationId xmlns:a16="http://schemas.microsoft.com/office/drawing/2014/main" id="{E5CA91F9-9B03-45E3-8336-2CB500C75009}"/>
                </a:ext>
              </a:extLst>
            </p:cNvPr>
            <p:cNvSpPr>
              <a:spLocks noEditPoints="1"/>
            </p:cNvSpPr>
            <p:nvPr/>
          </p:nvSpPr>
          <p:spPr bwMode="gray">
            <a:xfrm>
              <a:off x="4912926" y="4259846"/>
              <a:ext cx="825352" cy="306594"/>
            </a:xfrm>
            <a:custGeom>
              <a:avLst/>
              <a:gdLst>
                <a:gd name="T0" fmla="*/ 334 w 673"/>
                <a:gd name="T1" fmla="*/ 77 h 250"/>
                <a:gd name="T2" fmla="*/ 272 w 673"/>
                <a:gd name="T3" fmla="*/ 135 h 250"/>
                <a:gd name="T4" fmla="*/ 203 w 673"/>
                <a:gd name="T5" fmla="*/ 77 h 250"/>
                <a:gd name="T6" fmla="*/ 295 w 673"/>
                <a:gd name="T7" fmla="*/ 47 h 250"/>
                <a:gd name="T8" fmla="*/ 71 w 673"/>
                <a:gd name="T9" fmla="*/ 45 h 250"/>
                <a:gd name="T10" fmla="*/ 146 w 673"/>
                <a:gd name="T11" fmla="*/ 118 h 250"/>
                <a:gd name="T12" fmla="*/ 107 w 673"/>
                <a:gd name="T13" fmla="*/ 141 h 250"/>
                <a:gd name="T14" fmla="*/ 7 w 673"/>
                <a:gd name="T15" fmla="*/ 16 h 250"/>
                <a:gd name="T16" fmla="*/ 635 w 673"/>
                <a:gd name="T17" fmla="*/ 181 h 250"/>
                <a:gd name="T18" fmla="*/ 574 w 673"/>
                <a:gd name="T19" fmla="*/ 144 h 250"/>
                <a:gd name="T20" fmla="*/ 570 w 673"/>
                <a:gd name="T21" fmla="*/ 121 h 250"/>
                <a:gd name="T22" fmla="*/ 579 w 673"/>
                <a:gd name="T23" fmla="*/ 123 h 250"/>
                <a:gd name="T24" fmla="*/ 433 w 673"/>
                <a:gd name="T25" fmla="*/ 77 h 250"/>
                <a:gd name="T26" fmla="*/ 399 w 673"/>
                <a:gd name="T27" fmla="*/ 100 h 250"/>
                <a:gd name="T28" fmla="*/ 401 w 673"/>
                <a:gd name="T29" fmla="*/ 152 h 250"/>
                <a:gd name="T30" fmla="*/ 361 w 673"/>
                <a:gd name="T31" fmla="*/ 148 h 250"/>
                <a:gd name="T32" fmla="*/ 401 w 673"/>
                <a:gd name="T33" fmla="*/ 72 h 250"/>
                <a:gd name="T34" fmla="*/ 259 w 673"/>
                <a:gd name="T35" fmla="*/ 194 h 250"/>
                <a:gd name="T36" fmla="*/ 207 w 673"/>
                <a:gd name="T37" fmla="*/ 200 h 250"/>
                <a:gd name="T38" fmla="*/ 495 w 673"/>
                <a:gd name="T39" fmla="*/ 83 h 250"/>
                <a:gd name="T40" fmla="*/ 501 w 673"/>
                <a:gd name="T41" fmla="*/ 137 h 250"/>
                <a:gd name="T42" fmla="*/ 320 w 673"/>
                <a:gd name="T43" fmla="*/ 217 h 250"/>
                <a:gd name="T44" fmla="*/ 386 w 673"/>
                <a:gd name="T45" fmla="*/ 212 h 250"/>
                <a:gd name="T46" fmla="*/ 627 w 673"/>
                <a:gd name="T47" fmla="*/ 202 h 250"/>
                <a:gd name="T48" fmla="*/ 359 w 673"/>
                <a:gd name="T49" fmla="*/ 225 h 250"/>
                <a:gd name="T50" fmla="*/ 184 w 673"/>
                <a:gd name="T51" fmla="*/ 127 h 250"/>
                <a:gd name="T52" fmla="*/ 276 w 673"/>
                <a:gd name="T53" fmla="*/ 193 h 250"/>
                <a:gd name="T54" fmla="*/ 528 w 673"/>
                <a:gd name="T55" fmla="*/ 204 h 250"/>
                <a:gd name="T56" fmla="*/ 401 w 673"/>
                <a:gd name="T57" fmla="*/ 156 h 250"/>
                <a:gd name="T58" fmla="*/ 576 w 673"/>
                <a:gd name="T59" fmla="*/ 179 h 250"/>
                <a:gd name="T60" fmla="*/ 487 w 673"/>
                <a:gd name="T61" fmla="*/ 50 h 250"/>
                <a:gd name="T62" fmla="*/ 474 w 673"/>
                <a:gd name="T63" fmla="*/ 95 h 250"/>
                <a:gd name="T64" fmla="*/ 119 w 673"/>
                <a:gd name="T65" fmla="*/ 77 h 250"/>
                <a:gd name="T66" fmla="*/ 445 w 673"/>
                <a:gd name="T67" fmla="*/ 114 h 250"/>
                <a:gd name="T68" fmla="*/ 78 w 673"/>
                <a:gd name="T69" fmla="*/ 135 h 250"/>
                <a:gd name="T70" fmla="*/ 372 w 673"/>
                <a:gd name="T71" fmla="*/ 171 h 250"/>
                <a:gd name="T72" fmla="*/ 332 w 673"/>
                <a:gd name="T73" fmla="*/ 31 h 250"/>
                <a:gd name="T74" fmla="*/ 576 w 673"/>
                <a:gd name="T75" fmla="*/ 181 h 250"/>
                <a:gd name="T76" fmla="*/ 357 w 673"/>
                <a:gd name="T77" fmla="*/ 212 h 250"/>
                <a:gd name="T78" fmla="*/ 362 w 673"/>
                <a:gd name="T79" fmla="*/ 217 h 250"/>
                <a:gd name="T80" fmla="*/ 503 w 673"/>
                <a:gd name="T81" fmla="*/ 87 h 250"/>
                <a:gd name="T82" fmla="*/ 568 w 673"/>
                <a:gd name="T83" fmla="*/ 121 h 250"/>
                <a:gd name="T84" fmla="*/ 53 w 673"/>
                <a:gd name="T85" fmla="*/ 62 h 250"/>
                <a:gd name="T86" fmla="*/ 278 w 673"/>
                <a:gd name="T87" fmla="*/ 193 h 250"/>
                <a:gd name="T88" fmla="*/ 618 w 673"/>
                <a:gd name="T89" fmla="*/ 116 h 250"/>
                <a:gd name="T90" fmla="*/ 568 w 673"/>
                <a:gd name="T91" fmla="*/ 118 h 250"/>
                <a:gd name="T92" fmla="*/ 495 w 673"/>
                <a:gd name="T93" fmla="*/ 79 h 250"/>
                <a:gd name="T94" fmla="*/ 136 w 673"/>
                <a:gd name="T95" fmla="*/ 85 h 250"/>
                <a:gd name="T96" fmla="*/ 209 w 673"/>
                <a:gd name="T97" fmla="*/ 87 h 250"/>
                <a:gd name="T98" fmla="*/ 126 w 673"/>
                <a:gd name="T99" fmla="*/ 75 h 250"/>
                <a:gd name="T100" fmla="*/ 512 w 673"/>
                <a:gd name="T101" fmla="*/ 179 h 250"/>
                <a:gd name="T102" fmla="*/ 577 w 673"/>
                <a:gd name="T103" fmla="*/ 187 h 250"/>
                <a:gd name="T104" fmla="*/ 579 w 673"/>
                <a:gd name="T105" fmla="*/ 179 h 250"/>
                <a:gd name="T106" fmla="*/ 138 w 673"/>
                <a:gd name="T107" fmla="*/ 85 h 250"/>
                <a:gd name="T108" fmla="*/ 140 w 673"/>
                <a:gd name="T109" fmla="*/ 81 h 250"/>
                <a:gd name="T110" fmla="*/ 528 w 673"/>
                <a:gd name="T111" fmla="*/ 200 h 250"/>
                <a:gd name="T112" fmla="*/ 401 w 673"/>
                <a:gd name="T113" fmla="*/ 79 h 250"/>
                <a:gd name="T114" fmla="*/ 361 w 673"/>
                <a:gd name="T115" fmla="*/ 214 h 250"/>
                <a:gd name="T116" fmla="*/ 36 w 673"/>
                <a:gd name="T117" fmla="*/ 75 h 250"/>
                <a:gd name="T118" fmla="*/ 526 w 673"/>
                <a:gd name="T119" fmla="*/ 210 h 250"/>
                <a:gd name="T120" fmla="*/ 132 w 673"/>
                <a:gd name="T121" fmla="*/ 73 h 250"/>
                <a:gd name="T122" fmla="*/ 608 w 673"/>
                <a:gd name="T123" fmla="*/ 106 h 250"/>
                <a:gd name="T124" fmla="*/ 222 w 673"/>
                <a:gd name="T125" fmla="*/ 13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3" h="250">
                  <a:moveTo>
                    <a:pt x="330" y="27"/>
                  </a:moveTo>
                  <a:lnTo>
                    <a:pt x="330" y="25"/>
                  </a:lnTo>
                  <a:lnTo>
                    <a:pt x="332" y="25"/>
                  </a:lnTo>
                  <a:lnTo>
                    <a:pt x="332" y="27"/>
                  </a:lnTo>
                  <a:lnTo>
                    <a:pt x="330" y="27"/>
                  </a:lnTo>
                  <a:lnTo>
                    <a:pt x="328" y="27"/>
                  </a:lnTo>
                  <a:lnTo>
                    <a:pt x="330" y="27"/>
                  </a:lnTo>
                  <a:lnTo>
                    <a:pt x="330" y="29"/>
                  </a:lnTo>
                  <a:lnTo>
                    <a:pt x="332" y="29"/>
                  </a:lnTo>
                  <a:lnTo>
                    <a:pt x="332" y="31"/>
                  </a:lnTo>
                  <a:lnTo>
                    <a:pt x="334" y="31"/>
                  </a:lnTo>
                  <a:lnTo>
                    <a:pt x="334" y="33"/>
                  </a:lnTo>
                  <a:lnTo>
                    <a:pt x="332" y="33"/>
                  </a:lnTo>
                  <a:lnTo>
                    <a:pt x="332" y="31"/>
                  </a:lnTo>
                  <a:lnTo>
                    <a:pt x="332" y="33"/>
                  </a:lnTo>
                  <a:lnTo>
                    <a:pt x="332" y="31"/>
                  </a:lnTo>
                  <a:lnTo>
                    <a:pt x="332" y="33"/>
                  </a:lnTo>
                  <a:lnTo>
                    <a:pt x="332" y="31"/>
                  </a:lnTo>
                  <a:lnTo>
                    <a:pt x="330" y="31"/>
                  </a:lnTo>
                  <a:lnTo>
                    <a:pt x="330" y="33"/>
                  </a:lnTo>
                  <a:lnTo>
                    <a:pt x="328" y="33"/>
                  </a:lnTo>
                  <a:lnTo>
                    <a:pt x="330" y="33"/>
                  </a:lnTo>
                  <a:lnTo>
                    <a:pt x="330" y="35"/>
                  </a:lnTo>
                  <a:lnTo>
                    <a:pt x="328" y="35"/>
                  </a:lnTo>
                  <a:lnTo>
                    <a:pt x="326" y="35"/>
                  </a:lnTo>
                  <a:lnTo>
                    <a:pt x="324" y="35"/>
                  </a:lnTo>
                  <a:lnTo>
                    <a:pt x="326" y="35"/>
                  </a:lnTo>
                  <a:lnTo>
                    <a:pt x="326" y="37"/>
                  </a:lnTo>
                  <a:lnTo>
                    <a:pt x="328" y="37"/>
                  </a:lnTo>
                  <a:lnTo>
                    <a:pt x="328" y="39"/>
                  </a:lnTo>
                  <a:lnTo>
                    <a:pt x="330" y="39"/>
                  </a:lnTo>
                  <a:lnTo>
                    <a:pt x="328" y="39"/>
                  </a:lnTo>
                  <a:lnTo>
                    <a:pt x="328" y="41"/>
                  </a:lnTo>
                  <a:lnTo>
                    <a:pt x="328" y="39"/>
                  </a:lnTo>
                  <a:lnTo>
                    <a:pt x="328" y="41"/>
                  </a:lnTo>
                  <a:lnTo>
                    <a:pt x="328" y="39"/>
                  </a:lnTo>
                  <a:lnTo>
                    <a:pt x="328" y="41"/>
                  </a:lnTo>
                  <a:lnTo>
                    <a:pt x="326" y="41"/>
                  </a:lnTo>
                  <a:lnTo>
                    <a:pt x="326" y="39"/>
                  </a:lnTo>
                  <a:lnTo>
                    <a:pt x="326" y="41"/>
                  </a:lnTo>
                  <a:lnTo>
                    <a:pt x="326" y="39"/>
                  </a:lnTo>
                  <a:lnTo>
                    <a:pt x="326" y="41"/>
                  </a:lnTo>
                  <a:lnTo>
                    <a:pt x="324" y="41"/>
                  </a:lnTo>
                  <a:lnTo>
                    <a:pt x="324" y="39"/>
                  </a:lnTo>
                  <a:lnTo>
                    <a:pt x="324" y="41"/>
                  </a:lnTo>
                  <a:lnTo>
                    <a:pt x="324" y="39"/>
                  </a:lnTo>
                  <a:lnTo>
                    <a:pt x="324" y="41"/>
                  </a:lnTo>
                  <a:lnTo>
                    <a:pt x="326" y="41"/>
                  </a:lnTo>
                  <a:lnTo>
                    <a:pt x="328" y="41"/>
                  </a:lnTo>
                  <a:lnTo>
                    <a:pt x="330" y="41"/>
                  </a:lnTo>
                  <a:lnTo>
                    <a:pt x="328" y="41"/>
                  </a:lnTo>
                  <a:lnTo>
                    <a:pt x="328" y="43"/>
                  </a:lnTo>
                  <a:lnTo>
                    <a:pt x="330" y="43"/>
                  </a:lnTo>
                  <a:lnTo>
                    <a:pt x="328" y="43"/>
                  </a:lnTo>
                  <a:lnTo>
                    <a:pt x="330" y="43"/>
                  </a:lnTo>
                  <a:lnTo>
                    <a:pt x="328" y="43"/>
                  </a:lnTo>
                  <a:lnTo>
                    <a:pt x="330" y="43"/>
                  </a:lnTo>
                  <a:lnTo>
                    <a:pt x="332" y="43"/>
                  </a:lnTo>
                  <a:lnTo>
                    <a:pt x="330" y="43"/>
                  </a:lnTo>
                  <a:lnTo>
                    <a:pt x="332" y="43"/>
                  </a:lnTo>
                  <a:lnTo>
                    <a:pt x="330" y="43"/>
                  </a:lnTo>
                  <a:lnTo>
                    <a:pt x="330" y="45"/>
                  </a:lnTo>
                  <a:lnTo>
                    <a:pt x="330" y="43"/>
                  </a:lnTo>
                  <a:lnTo>
                    <a:pt x="330" y="45"/>
                  </a:lnTo>
                  <a:lnTo>
                    <a:pt x="332" y="45"/>
                  </a:lnTo>
                  <a:lnTo>
                    <a:pt x="332" y="47"/>
                  </a:lnTo>
                  <a:lnTo>
                    <a:pt x="332" y="45"/>
                  </a:lnTo>
                  <a:lnTo>
                    <a:pt x="332" y="47"/>
                  </a:lnTo>
                  <a:lnTo>
                    <a:pt x="330" y="47"/>
                  </a:lnTo>
                  <a:lnTo>
                    <a:pt x="332" y="47"/>
                  </a:lnTo>
                  <a:lnTo>
                    <a:pt x="334" y="47"/>
                  </a:lnTo>
                  <a:lnTo>
                    <a:pt x="334" y="48"/>
                  </a:lnTo>
                  <a:lnTo>
                    <a:pt x="334" y="50"/>
                  </a:lnTo>
                  <a:lnTo>
                    <a:pt x="336" y="50"/>
                  </a:lnTo>
                  <a:lnTo>
                    <a:pt x="336" y="52"/>
                  </a:lnTo>
                  <a:lnTo>
                    <a:pt x="338" y="52"/>
                  </a:lnTo>
                  <a:lnTo>
                    <a:pt x="338" y="54"/>
                  </a:lnTo>
                  <a:lnTo>
                    <a:pt x="338" y="56"/>
                  </a:lnTo>
                  <a:lnTo>
                    <a:pt x="336" y="56"/>
                  </a:lnTo>
                  <a:lnTo>
                    <a:pt x="336" y="54"/>
                  </a:lnTo>
                  <a:lnTo>
                    <a:pt x="336" y="56"/>
                  </a:lnTo>
                  <a:lnTo>
                    <a:pt x="334" y="56"/>
                  </a:lnTo>
                  <a:lnTo>
                    <a:pt x="332" y="56"/>
                  </a:lnTo>
                  <a:lnTo>
                    <a:pt x="334" y="56"/>
                  </a:lnTo>
                  <a:lnTo>
                    <a:pt x="332" y="56"/>
                  </a:lnTo>
                  <a:lnTo>
                    <a:pt x="334" y="56"/>
                  </a:lnTo>
                  <a:lnTo>
                    <a:pt x="332" y="56"/>
                  </a:lnTo>
                  <a:lnTo>
                    <a:pt x="332" y="58"/>
                  </a:lnTo>
                  <a:lnTo>
                    <a:pt x="334" y="58"/>
                  </a:lnTo>
                  <a:lnTo>
                    <a:pt x="336" y="58"/>
                  </a:lnTo>
                  <a:lnTo>
                    <a:pt x="334" y="58"/>
                  </a:lnTo>
                  <a:lnTo>
                    <a:pt x="336" y="58"/>
                  </a:lnTo>
                  <a:lnTo>
                    <a:pt x="336" y="60"/>
                  </a:lnTo>
                  <a:lnTo>
                    <a:pt x="334" y="60"/>
                  </a:lnTo>
                  <a:lnTo>
                    <a:pt x="336" y="60"/>
                  </a:lnTo>
                  <a:lnTo>
                    <a:pt x="334" y="60"/>
                  </a:lnTo>
                  <a:lnTo>
                    <a:pt x="336" y="60"/>
                  </a:lnTo>
                  <a:lnTo>
                    <a:pt x="334" y="60"/>
                  </a:lnTo>
                  <a:lnTo>
                    <a:pt x="336" y="60"/>
                  </a:lnTo>
                  <a:lnTo>
                    <a:pt x="334" y="60"/>
                  </a:lnTo>
                  <a:lnTo>
                    <a:pt x="336" y="60"/>
                  </a:lnTo>
                  <a:lnTo>
                    <a:pt x="336" y="62"/>
                  </a:lnTo>
                  <a:lnTo>
                    <a:pt x="338" y="62"/>
                  </a:lnTo>
                  <a:lnTo>
                    <a:pt x="338" y="64"/>
                  </a:lnTo>
                  <a:lnTo>
                    <a:pt x="339" y="64"/>
                  </a:lnTo>
                  <a:lnTo>
                    <a:pt x="341" y="64"/>
                  </a:lnTo>
                  <a:lnTo>
                    <a:pt x="341" y="66"/>
                  </a:lnTo>
                  <a:lnTo>
                    <a:pt x="343" y="66"/>
                  </a:lnTo>
                  <a:lnTo>
                    <a:pt x="341" y="66"/>
                  </a:lnTo>
                  <a:lnTo>
                    <a:pt x="343" y="66"/>
                  </a:lnTo>
                  <a:lnTo>
                    <a:pt x="343" y="68"/>
                  </a:lnTo>
                  <a:lnTo>
                    <a:pt x="345" y="68"/>
                  </a:lnTo>
                  <a:lnTo>
                    <a:pt x="347" y="68"/>
                  </a:lnTo>
                  <a:lnTo>
                    <a:pt x="347" y="70"/>
                  </a:lnTo>
                  <a:lnTo>
                    <a:pt x="347" y="72"/>
                  </a:lnTo>
                  <a:lnTo>
                    <a:pt x="347" y="70"/>
                  </a:lnTo>
                  <a:lnTo>
                    <a:pt x="347" y="72"/>
                  </a:lnTo>
                  <a:lnTo>
                    <a:pt x="349" y="72"/>
                  </a:lnTo>
                  <a:lnTo>
                    <a:pt x="351" y="72"/>
                  </a:lnTo>
                  <a:lnTo>
                    <a:pt x="351" y="73"/>
                  </a:lnTo>
                  <a:lnTo>
                    <a:pt x="349" y="75"/>
                  </a:lnTo>
                  <a:lnTo>
                    <a:pt x="351" y="75"/>
                  </a:lnTo>
                  <a:lnTo>
                    <a:pt x="349" y="75"/>
                  </a:lnTo>
                  <a:lnTo>
                    <a:pt x="347" y="75"/>
                  </a:lnTo>
                  <a:lnTo>
                    <a:pt x="345" y="75"/>
                  </a:lnTo>
                  <a:lnTo>
                    <a:pt x="343" y="75"/>
                  </a:lnTo>
                  <a:lnTo>
                    <a:pt x="341" y="75"/>
                  </a:lnTo>
                  <a:lnTo>
                    <a:pt x="339" y="75"/>
                  </a:lnTo>
                  <a:lnTo>
                    <a:pt x="338" y="75"/>
                  </a:lnTo>
                  <a:lnTo>
                    <a:pt x="338" y="73"/>
                  </a:lnTo>
                  <a:lnTo>
                    <a:pt x="338" y="72"/>
                  </a:lnTo>
                  <a:lnTo>
                    <a:pt x="336" y="72"/>
                  </a:lnTo>
                  <a:lnTo>
                    <a:pt x="336" y="73"/>
                  </a:lnTo>
                  <a:lnTo>
                    <a:pt x="338" y="73"/>
                  </a:lnTo>
                  <a:lnTo>
                    <a:pt x="336" y="73"/>
                  </a:lnTo>
                  <a:lnTo>
                    <a:pt x="338" y="73"/>
                  </a:lnTo>
                  <a:lnTo>
                    <a:pt x="338" y="75"/>
                  </a:lnTo>
                  <a:lnTo>
                    <a:pt x="336" y="75"/>
                  </a:lnTo>
                  <a:lnTo>
                    <a:pt x="334" y="75"/>
                  </a:lnTo>
                  <a:lnTo>
                    <a:pt x="334" y="77"/>
                  </a:lnTo>
                  <a:lnTo>
                    <a:pt x="332" y="77"/>
                  </a:lnTo>
                  <a:lnTo>
                    <a:pt x="332" y="79"/>
                  </a:lnTo>
                  <a:lnTo>
                    <a:pt x="332" y="77"/>
                  </a:lnTo>
                  <a:lnTo>
                    <a:pt x="332" y="79"/>
                  </a:lnTo>
                  <a:lnTo>
                    <a:pt x="332" y="81"/>
                  </a:lnTo>
                  <a:lnTo>
                    <a:pt x="330" y="81"/>
                  </a:lnTo>
                  <a:lnTo>
                    <a:pt x="330" y="83"/>
                  </a:lnTo>
                  <a:lnTo>
                    <a:pt x="330" y="85"/>
                  </a:lnTo>
                  <a:lnTo>
                    <a:pt x="330" y="87"/>
                  </a:lnTo>
                  <a:lnTo>
                    <a:pt x="330" y="85"/>
                  </a:lnTo>
                  <a:lnTo>
                    <a:pt x="330" y="87"/>
                  </a:lnTo>
                  <a:lnTo>
                    <a:pt x="330" y="85"/>
                  </a:lnTo>
                  <a:lnTo>
                    <a:pt x="330" y="87"/>
                  </a:lnTo>
                  <a:lnTo>
                    <a:pt x="328" y="87"/>
                  </a:lnTo>
                  <a:lnTo>
                    <a:pt x="330" y="87"/>
                  </a:lnTo>
                  <a:lnTo>
                    <a:pt x="330" y="89"/>
                  </a:lnTo>
                  <a:lnTo>
                    <a:pt x="328" y="89"/>
                  </a:lnTo>
                  <a:lnTo>
                    <a:pt x="328" y="91"/>
                  </a:lnTo>
                  <a:lnTo>
                    <a:pt x="328" y="93"/>
                  </a:lnTo>
                  <a:lnTo>
                    <a:pt x="330" y="93"/>
                  </a:lnTo>
                  <a:lnTo>
                    <a:pt x="328" y="93"/>
                  </a:lnTo>
                  <a:lnTo>
                    <a:pt x="328" y="95"/>
                  </a:lnTo>
                  <a:lnTo>
                    <a:pt x="328" y="96"/>
                  </a:lnTo>
                  <a:lnTo>
                    <a:pt x="326" y="96"/>
                  </a:lnTo>
                  <a:lnTo>
                    <a:pt x="326" y="98"/>
                  </a:lnTo>
                  <a:lnTo>
                    <a:pt x="324" y="98"/>
                  </a:lnTo>
                  <a:lnTo>
                    <a:pt x="326" y="98"/>
                  </a:lnTo>
                  <a:lnTo>
                    <a:pt x="326" y="100"/>
                  </a:lnTo>
                  <a:lnTo>
                    <a:pt x="324" y="100"/>
                  </a:lnTo>
                  <a:lnTo>
                    <a:pt x="324" y="102"/>
                  </a:lnTo>
                  <a:lnTo>
                    <a:pt x="324" y="104"/>
                  </a:lnTo>
                  <a:lnTo>
                    <a:pt x="322" y="104"/>
                  </a:lnTo>
                  <a:lnTo>
                    <a:pt x="322" y="106"/>
                  </a:lnTo>
                  <a:lnTo>
                    <a:pt x="320" y="106"/>
                  </a:lnTo>
                  <a:lnTo>
                    <a:pt x="320" y="104"/>
                  </a:lnTo>
                  <a:lnTo>
                    <a:pt x="320" y="106"/>
                  </a:lnTo>
                  <a:lnTo>
                    <a:pt x="318" y="106"/>
                  </a:lnTo>
                  <a:lnTo>
                    <a:pt x="318" y="104"/>
                  </a:lnTo>
                  <a:lnTo>
                    <a:pt x="318" y="102"/>
                  </a:lnTo>
                  <a:lnTo>
                    <a:pt x="318" y="104"/>
                  </a:lnTo>
                  <a:lnTo>
                    <a:pt x="318" y="106"/>
                  </a:lnTo>
                  <a:lnTo>
                    <a:pt x="318" y="108"/>
                  </a:lnTo>
                  <a:lnTo>
                    <a:pt x="316" y="108"/>
                  </a:lnTo>
                  <a:lnTo>
                    <a:pt x="314" y="108"/>
                  </a:lnTo>
                  <a:lnTo>
                    <a:pt x="314" y="110"/>
                  </a:lnTo>
                  <a:lnTo>
                    <a:pt x="316" y="110"/>
                  </a:lnTo>
                  <a:lnTo>
                    <a:pt x="316" y="112"/>
                  </a:lnTo>
                  <a:lnTo>
                    <a:pt x="314" y="112"/>
                  </a:lnTo>
                  <a:lnTo>
                    <a:pt x="313" y="112"/>
                  </a:lnTo>
                  <a:lnTo>
                    <a:pt x="313" y="114"/>
                  </a:lnTo>
                  <a:lnTo>
                    <a:pt x="313" y="112"/>
                  </a:lnTo>
                  <a:lnTo>
                    <a:pt x="311" y="112"/>
                  </a:lnTo>
                  <a:lnTo>
                    <a:pt x="311" y="114"/>
                  </a:lnTo>
                  <a:lnTo>
                    <a:pt x="313" y="114"/>
                  </a:lnTo>
                  <a:lnTo>
                    <a:pt x="311" y="114"/>
                  </a:lnTo>
                  <a:lnTo>
                    <a:pt x="313" y="114"/>
                  </a:lnTo>
                  <a:lnTo>
                    <a:pt x="314" y="114"/>
                  </a:lnTo>
                  <a:lnTo>
                    <a:pt x="314" y="116"/>
                  </a:lnTo>
                  <a:lnTo>
                    <a:pt x="314" y="118"/>
                  </a:lnTo>
                  <a:lnTo>
                    <a:pt x="313" y="118"/>
                  </a:lnTo>
                  <a:lnTo>
                    <a:pt x="313" y="120"/>
                  </a:lnTo>
                  <a:lnTo>
                    <a:pt x="313" y="118"/>
                  </a:lnTo>
                  <a:lnTo>
                    <a:pt x="313" y="120"/>
                  </a:lnTo>
                  <a:lnTo>
                    <a:pt x="314" y="120"/>
                  </a:lnTo>
                  <a:lnTo>
                    <a:pt x="314" y="118"/>
                  </a:lnTo>
                  <a:lnTo>
                    <a:pt x="314" y="120"/>
                  </a:lnTo>
                  <a:lnTo>
                    <a:pt x="316" y="120"/>
                  </a:lnTo>
                  <a:lnTo>
                    <a:pt x="316" y="121"/>
                  </a:lnTo>
                  <a:lnTo>
                    <a:pt x="316" y="123"/>
                  </a:lnTo>
                  <a:lnTo>
                    <a:pt x="314" y="123"/>
                  </a:lnTo>
                  <a:lnTo>
                    <a:pt x="314" y="125"/>
                  </a:lnTo>
                  <a:lnTo>
                    <a:pt x="314" y="123"/>
                  </a:lnTo>
                  <a:lnTo>
                    <a:pt x="314" y="125"/>
                  </a:lnTo>
                  <a:lnTo>
                    <a:pt x="313" y="125"/>
                  </a:lnTo>
                  <a:lnTo>
                    <a:pt x="311" y="125"/>
                  </a:lnTo>
                  <a:lnTo>
                    <a:pt x="313" y="125"/>
                  </a:lnTo>
                  <a:lnTo>
                    <a:pt x="311" y="125"/>
                  </a:lnTo>
                  <a:lnTo>
                    <a:pt x="313" y="125"/>
                  </a:lnTo>
                  <a:lnTo>
                    <a:pt x="311" y="125"/>
                  </a:lnTo>
                  <a:lnTo>
                    <a:pt x="311" y="127"/>
                  </a:lnTo>
                  <a:lnTo>
                    <a:pt x="311" y="125"/>
                  </a:lnTo>
                  <a:lnTo>
                    <a:pt x="313" y="125"/>
                  </a:lnTo>
                  <a:lnTo>
                    <a:pt x="314" y="125"/>
                  </a:lnTo>
                  <a:lnTo>
                    <a:pt x="313" y="125"/>
                  </a:lnTo>
                  <a:lnTo>
                    <a:pt x="313" y="127"/>
                  </a:lnTo>
                  <a:lnTo>
                    <a:pt x="313" y="129"/>
                  </a:lnTo>
                  <a:lnTo>
                    <a:pt x="313" y="131"/>
                  </a:lnTo>
                  <a:lnTo>
                    <a:pt x="311" y="131"/>
                  </a:lnTo>
                  <a:lnTo>
                    <a:pt x="309" y="131"/>
                  </a:lnTo>
                  <a:lnTo>
                    <a:pt x="311" y="131"/>
                  </a:lnTo>
                  <a:lnTo>
                    <a:pt x="311" y="129"/>
                  </a:lnTo>
                  <a:lnTo>
                    <a:pt x="309" y="129"/>
                  </a:lnTo>
                  <a:lnTo>
                    <a:pt x="309" y="131"/>
                  </a:lnTo>
                  <a:lnTo>
                    <a:pt x="311" y="131"/>
                  </a:lnTo>
                  <a:lnTo>
                    <a:pt x="311" y="133"/>
                  </a:lnTo>
                  <a:lnTo>
                    <a:pt x="309" y="133"/>
                  </a:lnTo>
                  <a:lnTo>
                    <a:pt x="309" y="135"/>
                  </a:lnTo>
                  <a:lnTo>
                    <a:pt x="309" y="133"/>
                  </a:lnTo>
                  <a:lnTo>
                    <a:pt x="311" y="133"/>
                  </a:lnTo>
                  <a:lnTo>
                    <a:pt x="311" y="135"/>
                  </a:lnTo>
                  <a:lnTo>
                    <a:pt x="309" y="135"/>
                  </a:lnTo>
                  <a:lnTo>
                    <a:pt x="309" y="137"/>
                  </a:lnTo>
                  <a:lnTo>
                    <a:pt x="307" y="137"/>
                  </a:lnTo>
                  <a:lnTo>
                    <a:pt x="307" y="139"/>
                  </a:lnTo>
                  <a:lnTo>
                    <a:pt x="307" y="141"/>
                  </a:lnTo>
                  <a:lnTo>
                    <a:pt x="305" y="141"/>
                  </a:lnTo>
                  <a:lnTo>
                    <a:pt x="305" y="143"/>
                  </a:lnTo>
                  <a:lnTo>
                    <a:pt x="303" y="143"/>
                  </a:lnTo>
                  <a:lnTo>
                    <a:pt x="301" y="143"/>
                  </a:lnTo>
                  <a:lnTo>
                    <a:pt x="299" y="143"/>
                  </a:lnTo>
                  <a:lnTo>
                    <a:pt x="299" y="144"/>
                  </a:lnTo>
                  <a:lnTo>
                    <a:pt x="297" y="144"/>
                  </a:lnTo>
                  <a:lnTo>
                    <a:pt x="295" y="144"/>
                  </a:lnTo>
                  <a:lnTo>
                    <a:pt x="295" y="146"/>
                  </a:lnTo>
                  <a:lnTo>
                    <a:pt x="293" y="146"/>
                  </a:lnTo>
                  <a:lnTo>
                    <a:pt x="291" y="146"/>
                  </a:lnTo>
                  <a:lnTo>
                    <a:pt x="291" y="148"/>
                  </a:lnTo>
                  <a:lnTo>
                    <a:pt x="290" y="148"/>
                  </a:lnTo>
                  <a:lnTo>
                    <a:pt x="288" y="148"/>
                  </a:lnTo>
                  <a:lnTo>
                    <a:pt x="288" y="146"/>
                  </a:lnTo>
                  <a:lnTo>
                    <a:pt x="288" y="144"/>
                  </a:lnTo>
                  <a:lnTo>
                    <a:pt x="288" y="143"/>
                  </a:lnTo>
                  <a:lnTo>
                    <a:pt x="288" y="141"/>
                  </a:lnTo>
                  <a:lnTo>
                    <a:pt x="286" y="141"/>
                  </a:lnTo>
                  <a:lnTo>
                    <a:pt x="286" y="139"/>
                  </a:lnTo>
                  <a:lnTo>
                    <a:pt x="286" y="137"/>
                  </a:lnTo>
                  <a:lnTo>
                    <a:pt x="286" y="139"/>
                  </a:lnTo>
                  <a:lnTo>
                    <a:pt x="284" y="139"/>
                  </a:lnTo>
                  <a:lnTo>
                    <a:pt x="282" y="139"/>
                  </a:lnTo>
                  <a:lnTo>
                    <a:pt x="282" y="137"/>
                  </a:lnTo>
                  <a:lnTo>
                    <a:pt x="280" y="137"/>
                  </a:lnTo>
                  <a:lnTo>
                    <a:pt x="280" y="135"/>
                  </a:lnTo>
                  <a:lnTo>
                    <a:pt x="280" y="137"/>
                  </a:lnTo>
                  <a:lnTo>
                    <a:pt x="278" y="137"/>
                  </a:lnTo>
                  <a:lnTo>
                    <a:pt x="276" y="137"/>
                  </a:lnTo>
                  <a:lnTo>
                    <a:pt x="276" y="139"/>
                  </a:lnTo>
                  <a:lnTo>
                    <a:pt x="274" y="139"/>
                  </a:lnTo>
                  <a:lnTo>
                    <a:pt x="272" y="139"/>
                  </a:lnTo>
                  <a:lnTo>
                    <a:pt x="272" y="137"/>
                  </a:lnTo>
                  <a:lnTo>
                    <a:pt x="272" y="135"/>
                  </a:lnTo>
                  <a:lnTo>
                    <a:pt x="272" y="133"/>
                  </a:lnTo>
                  <a:lnTo>
                    <a:pt x="270" y="133"/>
                  </a:lnTo>
                  <a:lnTo>
                    <a:pt x="270" y="135"/>
                  </a:lnTo>
                  <a:lnTo>
                    <a:pt x="268" y="135"/>
                  </a:lnTo>
                  <a:lnTo>
                    <a:pt x="267" y="135"/>
                  </a:lnTo>
                  <a:lnTo>
                    <a:pt x="267" y="133"/>
                  </a:lnTo>
                  <a:lnTo>
                    <a:pt x="265" y="133"/>
                  </a:lnTo>
                  <a:lnTo>
                    <a:pt x="265" y="131"/>
                  </a:lnTo>
                  <a:lnTo>
                    <a:pt x="265" y="133"/>
                  </a:lnTo>
                  <a:lnTo>
                    <a:pt x="263" y="133"/>
                  </a:lnTo>
                  <a:lnTo>
                    <a:pt x="265" y="133"/>
                  </a:lnTo>
                  <a:lnTo>
                    <a:pt x="263" y="135"/>
                  </a:lnTo>
                  <a:lnTo>
                    <a:pt x="261" y="135"/>
                  </a:lnTo>
                  <a:lnTo>
                    <a:pt x="261" y="137"/>
                  </a:lnTo>
                  <a:lnTo>
                    <a:pt x="259" y="137"/>
                  </a:lnTo>
                  <a:lnTo>
                    <a:pt x="257" y="137"/>
                  </a:lnTo>
                  <a:lnTo>
                    <a:pt x="257" y="139"/>
                  </a:lnTo>
                  <a:lnTo>
                    <a:pt x="257" y="137"/>
                  </a:lnTo>
                  <a:lnTo>
                    <a:pt x="255" y="137"/>
                  </a:lnTo>
                  <a:lnTo>
                    <a:pt x="253" y="137"/>
                  </a:lnTo>
                  <a:lnTo>
                    <a:pt x="251" y="137"/>
                  </a:lnTo>
                  <a:lnTo>
                    <a:pt x="249" y="137"/>
                  </a:lnTo>
                  <a:lnTo>
                    <a:pt x="249" y="139"/>
                  </a:lnTo>
                  <a:lnTo>
                    <a:pt x="247" y="139"/>
                  </a:lnTo>
                  <a:lnTo>
                    <a:pt x="245" y="139"/>
                  </a:lnTo>
                  <a:lnTo>
                    <a:pt x="245" y="137"/>
                  </a:lnTo>
                  <a:lnTo>
                    <a:pt x="247" y="137"/>
                  </a:lnTo>
                  <a:lnTo>
                    <a:pt x="247" y="135"/>
                  </a:lnTo>
                  <a:lnTo>
                    <a:pt x="245" y="135"/>
                  </a:lnTo>
                  <a:lnTo>
                    <a:pt x="247" y="135"/>
                  </a:lnTo>
                  <a:lnTo>
                    <a:pt x="245" y="135"/>
                  </a:lnTo>
                  <a:lnTo>
                    <a:pt x="245" y="133"/>
                  </a:lnTo>
                  <a:lnTo>
                    <a:pt x="247" y="133"/>
                  </a:lnTo>
                  <a:lnTo>
                    <a:pt x="247" y="131"/>
                  </a:lnTo>
                  <a:lnTo>
                    <a:pt x="245" y="131"/>
                  </a:lnTo>
                  <a:lnTo>
                    <a:pt x="247" y="131"/>
                  </a:lnTo>
                  <a:lnTo>
                    <a:pt x="245" y="131"/>
                  </a:lnTo>
                  <a:lnTo>
                    <a:pt x="245" y="129"/>
                  </a:lnTo>
                  <a:lnTo>
                    <a:pt x="243" y="129"/>
                  </a:lnTo>
                  <a:lnTo>
                    <a:pt x="243" y="131"/>
                  </a:lnTo>
                  <a:lnTo>
                    <a:pt x="245" y="131"/>
                  </a:lnTo>
                  <a:lnTo>
                    <a:pt x="245" y="129"/>
                  </a:lnTo>
                  <a:lnTo>
                    <a:pt x="245" y="131"/>
                  </a:lnTo>
                  <a:lnTo>
                    <a:pt x="243" y="131"/>
                  </a:lnTo>
                  <a:lnTo>
                    <a:pt x="242" y="131"/>
                  </a:lnTo>
                  <a:lnTo>
                    <a:pt x="242" y="129"/>
                  </a:lnTo>
                  <a:lnTo>
                    <a:pt x="240" y="129"/>
                  </a:lnTo>
                  <a:lnTo>
                    <a:pt x="240" y="131"/>
                  </a:lnTo>
                  <a:lnTo>
                    <a:pt x="240" y="129"/>
                  </a:lnTo>
                  <a:lnTo>
                    <a:pt x="240" y="131"/>
                  </a:lnTo>
                  <a:lnTo>
                    <a:pt x="238" y="131"/>
                  </a:lnTo>
                  <a:lnTo>
                    <a:pt x="236" y="131"/>
                  </a:lnTo>
                  <a:lnTo>
                    <a:pt x="236" y="133"/>
                  </a:lnTo>
                  <a:lnTo>
                    <a:pt x="234" y="133"/>
                  </a:lnTo>
                  <a:lnTo>
                    <a:pt x="234" y="131"/>
                  </a:lnTo>
                  <a:lnTo>
                    <a:pt x="232" y="131"/>
                  </a:lnTo>
                  <a:lnTo>
                    <a:pt x="230" y="131"/>
                  </a:lnTo>
                  <a:lnTo>
                    <a:pt x="230" y="133"/>
                  </a:lnTo>
                  <a:lnTo>
                    <a:pt x="230" y="131"/>
                  </a:lnTo>
                  <a:lnTo>
                    <a:pt x="228" y="131"/>
                  </a:lnTo>
                  <a:lnTo>
                    <a:pt x="230" y="131"/>
                  </a:lnTo>
                  <a:lnTo>
                    <a:pt x="228" y="131"/>
                  </a:lnTo>
                  <a:lnTo>
                    <a:pt x="230" y="131"/>
                  </a:lnTo>
                  <a:lnTo>
                    <a:pt x="228" y="131"/>
                  </a:lnTo>
                  <a:lnTo>
                    <a:pt x="228" y="129"/>
                  </a:lnTo>
                  <a:lnTo>
                    <a:pt x="226" y="129"/>
                  </a:lnTo>
                  <a:lnTo>
                    <a:pt x="226" y="131"/>
                  </a:lnTo>
                  <a:lnTo>
                    <a:pt x="224" y="131"/>
                  </a:lnTo>
                  <a:lnTo>
                    <a:pt x="222" y="129"/>
                  </a:lnTo>
                  <a:lnTo>
                    <a:pt x="224" y="129"/>
                  </a:lnTo>
                  <a:lnTo>
                    <a:pt x="224" y="127"/>
                  </a:lnTo>
                  <a:lnTo>
                    <a:pt x="222" y="127"/>
                  </a:lnTo>
                  <a:lnTo>
                    <a:pt x="222" y="125"/>
                  </a:lnTo>
                  <a:lnTo>
                    <a:pt x="222" y="123"/>
                  </a:lnTo>
                  <a:lnTo>
                    <a:pt x="222" y="121"/>
                  </a:lnTo>
                  <a:lnTo>
                    <a:pt x="220" y="121"/>
                  </a:lnTo>
                  <a:lnTo>
                    <a:pt x="220" y="120"/>
                  </a:lnTo>
                  <a:lnTo>
                    <a:pt x="222" y="120"/>
                  </a:lnTo>
                  <a:lnTo>
                    <a:pt x="222" y="118"/>
                  </a:lnTo>
                  <a:lnTo>
                    <a:pt x="220" y="118"/>
                  </a:lnTo>
                  <a:lnTo>
                    <a:pt x="220" y="116"/>
                  </a:lnTo>
                  <a:lnTo>
                    <a:pt x="219" y="116"/>
                  </a:lnTo>
                  <a:lnTo>
                    <a:pt x="219" y="114"/>
                  </a:lnTo>
                  <a:lnTo>
                    <a:pt x="220" y="114"/>
                  </a:lnTo>
                  <a:lnTo>
                    <a:pt x="220" y="112"/>
                  </a:lnTo>
                  <a:lnTo>
                    <a:pt x="220" y="110"/>
                  </a:lnTo>
                  <a:lnTo>
                    <a:pt x="220" y="108"/>
                  </a:lnTo>
                  <a:lnTo>
                    <a:pt x="220" y="106"/>
                  </a:lnTo>
                  <a:lnTo>
                    <a:pt x="219" y="106"/>
                  </a:lnTo>
                  <a:lnTo>
                    <a:pt x="219" y="104"/>
                  </a:lnTo>
                  <a:lnTo>
                    <a:pt x="217" y="104"/>
                  </a:lnTo>
                  <a:lnTo>
                    <a:pt x="217" y="102"/>
                  </a:lnTo>
                  <a:lnTo>
                    <a:pt x="217" y="100"/>
                  </a:lnTo>
                  <a:lnTo>
                    <a:pt x="217" y="102"/>
                  </a:lnTo>
                  <a:lnTo>
                    <a:pt x="215" y="102"/>
                  </a:lnTo>
                  <a:lnTo>
                    <a:pt x="215" y="100"/>
                  </a:lnTo>
                  <a:lnTo>
                    <a:pt x="213" y="100"/>
                  </a:lnTo>
                  <a:lnTo>
                    <a:pt x="211" y="100"/>
                  </a:lnTo>
                  <a:lnTo>
                    <a:pt x="209" y="100"/>
                  </a:lnTo>
                  <a:lnTo>
                    <a:pt x="209" y="98"/>
                  </a:lnTo>
                  <a:lnTo>
                    <a:pt x="209" y="96"/>
                  </a:lnTo>
                  <a:lnTo>
                    <a:pt x="209" y="98"/>
                  </a:lnTo>
                  <a:lnTo>
                    <a:pt x="211" y="98"/>
                  </a:lnTo>
                  <a:lnTo>
                    <a:pt x="213" y="98"/>
                  </a:lnTo>
                  <a:lnTo>
                    <a:pt x="211" y="98"/>
                  </a:lnTo>
                  <a:lnTo>
                    <a:pt x="213" y="98"/>
                  </a:lnTo>
                  <a:lnTo>
                    <a:pt x="211" y="98"/>
                  </a:lnTo>
                  <a:lnTo>
                    <a:pt x="211" y="96"/>
                  </a:lnTo>
                  <a:lnTo>
                    <a:pt x="213" y="96"/>
                  </a:lnTo>
                  <a:lnTo>
                    <a:pt x="213" y="98"/>
                  </a:lnTo>
                  <a:lnTo>
                    <a:pt x="215" y="98"/>
                  </a:lnTo>
                  <a:lnTo>
                    <a:pt x="215" y="96"/>
                  </a:lnTo>
                  <a:lnTo>
                    <a:pt x="213" y="96"/>
                  </a:lnTo>
                  <a:lnTo>
                    <a:pt x="211" y="96"/>
                  </a:lnTo>
                  <a:lnTo>
                    <a:pt x="209" y="96"/>
                  </a:lnTo>
                  <a:lnTo>
                    <a:pt x="207" y="96"/>
                  </a:lnTo>
                  <a:lnTo>
                    <a:pt x="209" y="96"/>
                  </a:lnTo>
                  <a:lnTo>
                    <a:pt x="207" y="96"/>
                  </a:lnTo>
                  <a:lnTo>
                    <a:pt x="207" y="95"/>
                  </a:lnTo>
                  <a:lnTo>
                    <a:pt x="207" y="93"/>
                  </a:lnTo>
                  <a:lnTo>
                    <a:pt x="207" y="91"/>
                  </a:lnTo>
                  <a:lnTo>
                    <a:pt x="209" y="91"/>
                  </a:lnTo>
                  <a:lnTo>
                    <a:pt x="207" y="91"/>
                  </a:lnTo>
                  <a:lnTo>
                    <a:pt x="207" y="89"/>
                  </a:lnTo>
                  <a:lnTo>
                    <a:pt x="209" y="89"/>
                  </a:lnTo>
                  <a:lnTo>
                    <a:pt x="207" y="89"/>
                  </a:lnTo>
                  <a:lnTo>
                    <a:pt x="207" y="87"/>
                  </a:lnTo>
                  <a:lnTo>
                    <a:pt x="209" y="87"/>
                  </a:lnTo>
                  <a:lnTo>
                    <a:pt x="207" y="87"/>
                  </a:lnTo>
                  <a:lnTo>
                    <a:pt x="207" y="85"/>
                  </a:lnTo>
                  <a:lnTo>
                    <a:pt x="207" y="83"/>
                  </a:lnTo>
                  <a:lnTo>
                    <a:pt x="205" y="83"/>
                  </a:lnTo>
                  <a:lnTo>
                    <a:pt x="203" y="83"/>
                  </a:lnTo>
                  <a:lnTo>
                    <a:pt x="205" y="83"/>
                  </a:lnTo>
                  <a:lnTo>
                    <a:pt x="205" y="81"/>
                  </a:lnTo>
                  <a:lnTo>
                    <a:pt x="203" y="81"/>
                  </a:lnTo>
                  <a:lnTo>
                    <a:pt x="203" y="79"/>
                  </a:lnTo>
                  <a:lnTo>
                    <a:pt x="205" y="79"/>
                  </a:lnTo>
                  <a:lnTo>
                    <a:pt x="203" y="79"/>
                  </a:lnTo>
                  <a:lnTo>
                    <a:pt x="203" y="77"/>
                  </a:lnTo>
                  <a:lnTo>
                    <a:pt x="203" y="75"/>
                  </a:lnTo>
                  <a:lnTo>
                    <a:pt x="205" y="75"/>
                  </a:lnTo>
                  <a:lnTo>
                    <a:pt x="205" y="73"/>
                  </a:lnTo>
                  <a:lnTo>
                    <a:pt x="205" y="72"/>
                  </a:lnTo>
                  <a:lnTo>
                    <a:pt x="203" y="72"/>
                  </a:lnTo>
                  <a:lnTo>
                    <a:pt x="203" y="70"/>
                  </a:lnTo>
                  <a:lnTo>
                    <a:pt x="205" y="70"/>
                  </a:lnTo>
                  <a:lnTo>
                    <a:pt x="205" y="68"/>
                  </a:lnTo>
                  <a:lnTo>
                    <a:pt x="205" y="66"/>
                  </a:lnTo>
                  <a:lnTo>
                    <a:pt x="207" y="66"/>
                  </a:lnTo>
                  <a:lnTo>
                    <a:pt x="207" y="64"/>
                  </a:lnTo>
                  <a:lnTo>
                    <a:pt x="209" y="64"/>
                  </a:lnTo>
                  <a:lnTo>
                    <a:pt x="209" y="62"/>
                  </a:lnTo>
                  <a:lnTo>
                    <a:pt x="211" y="62"/>
                  </a:lnTo>
                  <a:lnTo>
                    <a:pt x="209" y="62"/>
                  </a:lnTo>
                  <a:lnTo>
                    <a:pt x="209" y="60"/>
                  </a:lnTo>
                  <a:lnTo>
                    <a:pt x="211" y="60"/>
                  </a:lnTo>
                  <a:lnTo>
                    <a:pt x="211" y="58"/>
                  </a:lnTo>
                  <a:lnTo>
                    <a:pt x="213" y="58"/>
                  </a:lnTo>
                  <a:lnTo>
                    <a:pt x="215" y="58"/>
                  </a:lnTo>
                  <a:lnTo>
                    <a:pt x="215" y="56"/>
                  </a:lnTo>
                  <a:lnTo>
                    <a:pt x="215" y="58"/>
                  </a:lnTo>
                  <a:lnTo>
                    <a:pt x="213" y="58"/>
                  </a:lnTo>
                  <a:lnTo>
                    <a:pt x="213" y="60"/>
                  </a:lnTo>
                  <a:lnTo>
                    <a:pt x="215" y="60"/>
                  </a:lnTo>
                  <a:lnTo>
                    <a:pt x="215" y="62"/>
                  </a:lnTo>
                  <a:lnTo>
                    <a:pt x="215" y="64"/>
                  </a:lnTo>
                  <a:lnTo>
                    <a:pt x="217" y="64"/>
                  </a:lnTo>
                  <a:lnTo>
                    <a:pt x="217" y="66"/>
                  </a:lnTo>
                  <a:lnTo>
                    <a:pt x="219" y="66"/>
                  </a:lnTo>
                  <a:lnTo>
                    <a:pt x="219" y="68"/>
                  </a:lnTo>
                  <a:lnTo>
                    <a:pt x="219" y="66"/>
                  </a:lnTo>
                  <a:lnTo>
                    <a:pt x="219" y="68"/>
                  </a:lnTo>
                  <a:lnTo>
                    <a:pt x="220" y="68"/>
                  </a:lnTo>
                  <a:lnTo>
                    <a:pt x="220" y="70"/>
                  </a:lnTo>
                  <a:lnTo>
                    <a:pt x="222" y="70"/>
                  </a:lnTo>
                  <a:lnTo>
                    <a:pt x="222" y="72"/>
                  </a:lnTo>
                  <a:lnTo>
                    <a:pt x="224" y="72"/>
                  </a:lnTo>
                  <a:lnTo>
                    <a:pt x="224" y="73"/>
                  </a:lnTo>
                  <a:lnTo>
                    <a:pt x="226" y="73"/>
                  </a:lnTo>
                  <a:lnTo>
                    <a:pt x="226" y="75"/>
                  </a:lnTo>
                  <a:lnTo>
                    <a:pt x="228" y="75"/>
                  </a:lnTo>
                  <a:lnTo>
                    <a:pt x="230" y="75"/>
                  </a:lnTo>
                  <a:lnTo>
                    <a:pt x="228" y="75"/>
                  </a:lnTo>
                  <a:lnTo>
                    <a:pt x="230" y="75"/>
                  </a:lnTo>
                  <a:lnTo>
                    <a:pt x="228" y="75"/>
                  </a:lnTo>
                  <a:lnTo>
                    <a:pt x="228" y="73"/>
                  </a:lnTo>
                  <a:lnTo>
                    <a:pt x="230" y="73"/>
                  </a:lnTo>
                  <a:lnTo>
                    <a:pt x="230" y="75"/>
                  </a:lnTo>
                  <a:lnTo>
                    <a:pt x="230" y="73"/>
                  </a:lnTo>
                  <a:lnTo>
                    <a:pt x="232" y="73"/>
                  </a:lnTo>
                  <a:lnTo>
                    <a:pt x="234" y="73"/>
                  </a:lnTo>
                  <a:lnTo>
                    <a:pt x="234" y="72"/>
                  </a:lnTo>
                  <a:lnTo>
                    <a:pt x="234" y="73"/>
                  </a:lnTo>
                  <a:lnTo>
                    <a:pt x="234" y="72"/>
                  </a:lnTo>
                  <a:lnTo>
                    <a:pt x="236" y="72"/>
                  </a:lnTo>
                  <a:lnTo>
                    <a:pt x="238" y="72"/>
                  </a:lnTo>
                  <a:lnTo>
                    <a:pt x="240" y="72"/>
                  </a:lnTo>
                  <a:lnTo>
                    <a:pt x="240" y="73"/>
                  </a:lnTo>
                  <a:lnTo>
                    <a:pt x="242" y="73"/>
                  </a:lnTo>
                  <a:lnTo>
                    <a:pt x="242" y="72"/>
                  </a:lnTo>
                  <a:lnTo>
                    <a:pt x="242" y="73"/>
                  </a:lnTo>
                  <a:lnTo>
                    <a:pt x="243" y="73"/>
                  </a:lnTo>
                  <a:lnTo>
                    <a:pt x="243" y="72"/>
                  </a:lnTo>
                  <a:lnTo>
                    <a:pt x="245" y="72"/>
                  </a:lnTo>
                  <a:lnTo>
                    <a:pt x="245" y="73"/>
                  </a:lnTo>
                  <a:lnTo>
                    <a:pt x="247" y="73"/>
                  </a:lnTo>
                  <a:lnTo>
                    <a:pt x="247" y="72"/>
                  </a:lnTo>
                  <a:lnTo>
                    <a:pt x="249" y="72"/>
                  </a:lnTo>
                  <a:lnTo>
                    <a:pt x="251" y="72"/>
                  </a:lnTo>
                  <a:lnTo>
                    <a:pt x="251" y="70"/>
                  </a:lnTo>
                  <a:lnTo>
                    <a:pt x="251" y="68"/>
                  </a:lnTo>
                  <a:lnTo>
                    <a:pt x="253" y="68"/>
                  </a:lnTo>
                  <a:lnTo>
                    <a:pt x="251" y="68"/>
                  </a:lnTo>
                  <a:lnTo>
                    <a:pt x="251" y="66"/>
                  </a:lnTo>
                  <a:lnTo>
                    <a:pt x="253" y="66"/>
                  </a:lnTo>
                  <a:lnTo>
                    <a:pt x="255" y="66"/>
                  </a:lnTo>
                  <a:lnTo>
                    <a:pt x="255" y="64"/>
                  </a:lnTo>
                  <a:lnTo>
                    <a:pt x="257" y="64"/>
                  </a:lnTo>
                  <a:lnTo>
                    <a:pt x="259" y="64"/>
                  </a:lnTo>
                  <a:lnTo>
                    <a:pt x="261" y="64"/>
                  </a:lnTo>
                  <a:lnTo>
                    <a:pt x="261" y="66"/>
                  </a:lnTo>
                  <a:lnTo>
                    <a:pt x="261" y="64"/>
                  </a:lnTo>
                  <a:lnTo>
                    <a:pt x="263" y="64"/>
                  </a:lnTo>
                  <a:lnTo>
                    <a:pt x="265" y="64"/>
                  </a:lnTo>
                  <a:lnTo>
                    <a:pt x="265" y="66"/>
                  </a:lnTo>
                  <a:lnTo>
                    <a:pt x="263" y="66"/>
                  </a:lnTo>
                  <a:lnTo>
                    <a:pt x="263" y="68"/>
                  </a:lnTo>
                  <a:lnTo>
                    <a:pt x="265" y="68"/>
                  </a:lnTo>
                  <a:lnTo>
                    <a:pt x="265" y="66"/>
                  </a:lnTo>
                  <a:lnTo>
                    <a:pt x="265" y="68"/>
                  </a:lnTo>
                  <a:lnTo>
                    <a:pt x="267" y="68"/>
                  </a:lnTo>
                  <a:lnTo>
                    <a:pt x="268" y="68"/>
                  </a:lnTo>
                  <a:lnTo>
                    <a:pt x="270" y="68"/>
                  </a:lnTo>
                  <a:lnTo>
                    <a:pt x="270" y="70"/>
                  </a:lnTo>
                  <a:lnTo>
                    <a:pt x="270" y="68"/>
                  </a:lnTo>
                  <a:lnTo>
                    <a:pt x="272" y="68"/>
                  </a:lnTo>
                  <a:lnTo>
                    <a:pt x="272" y="70"/>
                  </a:lnTo>
                  <a:lnTo>
                    <a:pt x="274" y="70"/>
                  </a:lnTo>
                  <a:lnTo>
                    <a:pt x="274" y="68"/>
                  </a:lnTo>
                  <a:lnTo>
                    <a:pt x="276" y="68"/>
                  </a:lnTo>
                  <a:lnTo>
                    <a:pt x="278" y="68"/>
                  </a:lnTo>
                  <a:lnTo>
                    <a:pt x="278" y="66"/>
                  </a:lnTo>
                  <a:lnTo>
                    <a:pt x="280" y="66"/>
                  </a:lnTo>
                  <a:lnTo>
                    <a:pt x="282" y="66"/>
                  </a:lnTo>
                  <a:lnTo>
                    <a:pt x="282" y="68"/>
                  </a:lnTo>
                  <a:lnTo>
                    <a:pt x="282" y="66"/>
                  </a:lnTo>
                  <a:lnTo>
                    <a:pt x="284" y="66"/>
                  </a:lnTo>
                  <a:lnTo>
                    <a:pt x="286" y="66"/>
                  </a:lnTo>
                  <a:lnTo>
                    <a:pt x="288" y="66"/>
                  </a:lnTo>
                  <a:lnTo>
                    <a:pt x="288" y="64"/>
                  </a:lnTo>
                  <a:lnTo>
                    <a:pt x="290" y="64"/>
                  </a:lnTo>
                  <a:lnTo>
                    <a:pt x="290" y="62"/>
                  </a:lnTo>
                  <a:lnTo>
                    <a:pt x="288" y="62"/>
                  </a:lnTo>
                  <a:lnTo>
                    <a:pt x="288" y="60"/>
                  </a:lnTo>
                  <a:lnTo>
                    <a:pt x="290" y="60"/>
                  </a:lnTo>
                  <a:lnTo>
                    <a:pt x="291" y="60"/>
                  </a:lnTo>
                  <a:lnTo>
                    <a:pt x="291" y="58"/>
                  </a:lnTo>
                  <a:lnTo>
                    <a:pt x="290" y="58"/>
                  </a:lnTo>
                  <a:lnTo>
                    <a:pt x="290" y="56"/>
                  </a:lnTo>
                  <a:lnTo>
                    <a:pt x="290" y="54"/>
                  </a:lnTo>
                  <a:lnTo>
                    <a:pt x="291" y="54"/>
                  </a:lnTo>
                  <a:lnTo>
                    <a:pt x="293" y="54"/>
                  </a:lnTo>
                  <a:lnTo>
                    <a:pt x="291" y="54"/>
                  </a:lnTo>
                  <a:lnTo>
                    <a:pt x="291" y="52"/>
                  </a:lnTo>
                  <a:lnTo>
                    <a:pt x="293" y="52"/>
                  </a:lnTo>
                  <a:lnTo>
                    <a:pt x="295" y="52"/>
                  </a:lnTo>
                  <a:lnTo>
                    <a:pt x="295" y="50"/>
                  </a:lnTo>
                  <a:lnTo>
                    <a:pt x="297" y="50"/>
                  </a:lnTo>
                  <a:lnTo>
                    <a:pt x="295" y="50"/>
                  </a:lnTo>
                  <a:lnTo>
                    <a:pt x="295" y="48"/>
                  </a:lnTo>
                  <a:lnTo>
                    <a:pt x="295" y="50"/>
                  </a:lnTo>
                  <a:lnTo>
                    <a:pt x="295" y="48"/>
                  </a:lnTo>
                  <a:lnTo>
                    <a:pt x="293" y="48"/>
                  </a:lnTo>
                  <a:lnTo>
                    <a:pt x="295" y="48"/>
                  </a:lnTo>
                  <a:lnTo>
                    <a:pt x="293" y="48"/>
                  </a:lnTo>
                  <a:lnTo>
                    <a:pt x="295" y="48"/>
                  </a:lnTo>
                  <a:lnTo>
                    <a:pt x="295" y="47"/>
                  </a:lnTo>
                  <a:lnTo>
                    <a:pt x="293" y="47"/>
                  </a:lnTo>
                  <a:lnTo>
                    <a:pt x="295" y="47"/>
                  </a:lnTo>
                  <a:lnTo>
                    <a:pt x="295" y="45"/>
                  </a:lnTo>
                  <a:lnTo>
                    <a:pt x="297" y="45"/>
                  </a:lnTo>
                  <a:lnTo>
                    <a:pt x="297" y="43"/>
                  </a:lnTo>
                  <a:lnTo>
                    <a:pt x="297" y="45"/>
                  </a:lnTo>
                  <a:lnTo>
                    <a:pt x="299" y="45"/>
                  </a:lnTo>
                  <a:lnTo>
                    <a:pt x="299" y="43"/>
                  </a:lnTo>
                  <a:lnTo>
                    <a:pt x="301" y="43"/>
                  </a:lnTo>
                  <a:lnTo>
                    <a:pt x="301" y="41"/>
                  </a:lnTo>
                  <a:lnTo>
                    <a:pt x="301" y="39"/>
                  </a:lnTo>
                  <a:lnTo>
                    <a:pt x="301" y="37"/>
                  </a:lnTo>
                  <a:lnTo>
                    <a:pt x="303" y="37"/>
                  </a:lnTo>
                  <a:lnTo>
                    <a:pt x="301" y="37"/>
                  </a:lnTo>
                  <a:lnTo>
                    <a:pt x="301" y="35"/>
                  </a:lnTo>
                  <a:lnTo>
                    <a:pt x="301" y="33"/>
                  </a:lnTo>
                  <a:lnTo>
                    <a:pt x="301" y="31"/>
                  </a:lnTo>
                  <a:lnTo>
                    <a:pt x="301" y="29"/>
                  </a:lnTo>
                  <a:lnTo>
                    <a:pt x="303" y="29"/>
                  </a:lnTo>
                  <a:lnTo>
                    <a:pt x="303" y="27"/>
                  </a:lnTo>
                  <a:lnTo>
                    <a:pt x="303" y="25"/>
                  </a:lnTo>
                  <a:lnTo>
                    <a:pt x="305" y="25"/>
                  </a:lnTo>
                  <a:lnTo>
                    <a:pt x="305" y="23"/>
                  </a:lnTo>
                  <a:lnTo>
                    <a:pt x="307" y="23"/>
                  </a:lnTo>
                  <a:lnTo>
                    <a:pt x="309" y="23"/>
                  </a:lnTo>
                  <a:lnTo>
                    <a:pt x="309" y="25"/>
                  </a:lnTo>
                  <a:lnTo>
                    <a:pt x="309" y="23"/>
                  </a:lnTo>
                  <a:lnTo>
                    <a:pt x="311" y="23"/>
                  </a:lnTo>
                  <a:lnTo>
                    <a:pt x="313" y="23"/>
                  </a:lnTo>
                  <a:lnTo>
                    <a:pt x="314" y="23"/>
                  </a:lnTo>
                  <a:lnTo>
                    <a:pt x="314" y="25"/>
                  </a:lnTo>
                  <a:lnTo>
                    <a:pt x="314" y="23"/>
                  </a:lnTo>
                  <a:lnTo>
                    <a:pt x="316" y="23"/>
                  </a:lnTo>
                  <a:lnTo>
                    <a:pt x="314" y="23"/>
                  </a:lnTo>
                  <a:lnTo>
                    <a:pt x="316" y="23"/>
                  </a:lnTo>
                  <a:lnTo>
                    <a:pt x="318" y="23"/>
                  </a:lnTo>
                  <a:lnTo>
                    <a:pt x="320" y="23"/>
                  </a:lnTo>
                  <a:lnTo>
                    <a:pt x="322" y="23"/>
                  </a:lnTo>
                  <a:lnTo>
                    <a:pt x="324" y="23"/>
                  </a:lnTo>
                  <a:lnTo>
                    <a:pt x="326" y="23"/>
                  </a:lnTo>
                  <a:lnTo>
                    <a:pt x="326" y="25"/>
                  </a:lnTo>
                  <a:lnTo>
                    <a:pt x="328" y="25"/>
                  </a:lnTo>
                  <a:lnTo>
                    <a:pt x="330" y="25"/>
                  </a:lnTo>
                  <a:lnTo>
                    <a:pt x="330" y="27"/>
                  </a:lnTo>
                  <a:close/>
                  <a:moveTo>
                    <a:pt x="7" y="4"/>
                  </a:moveTo>
                  <a:lnTo>
                    <a:pt x="7" y="6"/>
                  </a:lnTo>
                  <a:lnTo>
                    <a:pt x="7" y="4"/>
                  </a:lnTo>
                  <a:lnTo>
                    <a:pt x="9" y="4"/>
                  </a:lnTo>
                  <a:lnTo>
                    <a:pt x="7" y="4"/>
                  </a:lnTo>
                  <a:lnTo>
                    <a:pt x="9" y="4"/>
                  </a:lnTo>
                  <a:lnTo>
                    <a:pt x="9" y="6"/>
                  </a:lnTo>
                  <a:lnTo>
                    <a:pt x="11" y="6"/>
                  </a:lnTo>
                  <a:lnTo>
                    <a:pt x="13" y="6"/>
                  </a:lnTo>
                  <a:lnTo>
                    <a:pt x="13" y="8"/>
                  </a:lnTo>
                  <a:lnTo>
                    <a:pt x="15" y="8"/>
                  </a:lnTo>
                  <a:lnTo>
                    <a:pt x="15" y="10"/>
                  </a:lnTo>
                  <a:lnTo>
                    <a:pt x="17" y="10"/>
                  </a:lnTo>
                  <a:lnTo>
                    <a:pt x="19" y="10"/>
                  </a:lnTo>
                  <a:lnTo>
                    <a:pt x="21" y="10"/>
                  </a:lnTo>
                  <a:lnTo>
                    <a:pt x="21" y="12"/>
                  </a:lnTo>
                  <a:lnTo>
                    <a:pt x="21" y="10"/>
                  </a:lnTo>
                  <a:lnTo>
                    <a:pt x="23" y="10"/>
                  </a:lnTo>
                  <a:lnTo>
                    <a:pt x="23" y="12"/>
                  </a:lnTo>
                  <a:lnTo>
                    <a:pt x="25" y="12"/>
                  </a:lnTo>
                  <a:lnTo>
                    <a:pt x="25" y="10"/>
                  </a:lnTo>
                  <a:lnTo>
                    <a:pt x="27" y="10"/>
                  </a:lnTo>
                  <a:lnTo>
                    <a:pt x="29" y="10"/>
                  </a:lnTo>
                  <a:lnTo>
                    <a:pt x="30" y="10"/>
                  </a:lnTo>
                  <a:lnTo>
                    <a:pt x="30" y="12"/>
                  </a:lnTo>
                  <a:lnTo>
                    <a:pt x="30" y="10"/>
                  </a:lnTo>
                  <a:lnTo>
                    <a:pt x="30" y="12"/>
                  </a:lnTo>
                  <a:lnTo>
                    <a:pt x="32" y="12"/>
                  </a:lnTo>
                  <a:lnTo>
                    <a:pt x="34" y="12"/>
                  </a:lnTo>
                  <a:lnTo>
                    <a:pt x="36" y="12"/>
                  </a:lnTo>
                  <a:lnTo>
                    <a:pt x="36" y="10"/>
                  </a:lnTo>
                  <a:lnTo>
                    <a:pt x="38" y="10"/>
                  </a:lnTo>
                  <a:lnTo>
                    <a:pt x="38" y="12"/>
                  </a:lnTo>
                  <a:lnTo>
                    <a:pt x="40" y="12"/>
                  </a:lnTo>
                  <a:lnTo>
                    <a:pt x="40" y="14"/>
                  </a:lnTo>
                  <a:lnTo>
                    <a:pt x="40" y="12"/>
                  </a:lnTo>
                  <a:lnTo>
                    <a:pt x="38" y="14"/>
                  </a:lnTo>
                  <a:lnTo>
                    <a:pt x="40" y="14"/>
                  </a:lnTo>
                  <a:lnTo>
                    <a:pt x="42" y="14"/>
                  </a:lnTo>
                  <a:lnTo>
                    <a:pt x="42" y="16"/>
                  </a:lnTo>
                  <a:lnTo>
                    <a:pt x="44" y="16"/>
                  </a:lnTo>
                  <a:lnTo>
                    <a:pt x="44" y="18"/>
                  </a:lnTo>
                  <a:lnTo>
                    <a:pt x="44" y="20"/>
                  </a:lnTo>
                  <a:lnTo>
                    <a:pt x="44" y="22"/>
                  </a:lnTo>
                  <a:lnTo>
                    <a:pt x="46" y="22"/>
                  </a:lnTo>
                  <a:lnTo>
                    <a:pt x="44" y="22"/>
                  </a:lnTo>
                  <a:lnTo>
                    <a:pt x="46" y="22"/>
                  </a:lnTo>
                  <a:lnTo>
                    <a:pt x="48" y="22"/>
                  </a:lnTo>
                  <a:lnTo>
                    <a:pt x="48" y="23"/>
                  </a:lnTo>
                  <a:lnTo>
                    <a:pt x="48" y="22"/>
                  </a:lnTo>
                  <a:lnTo>
                    <a:pt x="48" y="23"/>
                  </a:lnTo>
                  <a:lnTo>
                    <a:pt x="48" y="25"/>
                  </a:lnTo>
                  <a:lnTo>
                    <a:pt x="48" y="27"/>
                  </a:lnTo>
                  <a:lnTo>
                    <a:pt x="46" y="27"/>
                  </a:lnTo>
                  <a:lnTo>
                    <a:pt x="46" y="25"/>
                  </a:lnTo>
                  <a:lnTo>
                    <a:pt x="46" y="27"/>
                  </a:lnTo>
                  <a:lnTo>
                    <a:pt x="48" y="27"/>
                  </a:lnTo>
                  <a:lnTo>
                    <a:pt x="46" y="27"/>
                  </a:lnTo>
                  <a:lnTo>
                    <a:pt x="48" y="27"/>
                  </a:lnTo>
                  <a:lnTo>
                    <a:pt x="50" y="27"/>
                  </a:lnTo>
                  <a:lnTo>
                    <a:pt x="50" y="29"/>
                  </a:lnTo>
                  <a:lnTo>
                    <a:pt x="50" y="27"/>
                  </a:lnTo>
                  <a:lnTo>
                    <a:pt x="50" y="29"/>
                  </a:lnTo>
                  <a:lnTo>
                    <a:pt x="52" y="29"/>
                  </a:lnTo>
                  <a:lnTo>
                    <a:pt x="50" y="29"/>
                  </a:lnTo>
                  <a:lnTo>
                    <a:pt x="52" y="29"/>
                  </a:lnTo>
                  <a:lnTo>
                    <a:pt x="52" y="27"/>
                  </a:lnTo>
                  <a:lnTo>
                    <a:pt x="52" y="29"/>
                  </a:lnTo>
                  <a:lnTo>
                    <a:pt x="52" y="27"/>
                  </a:lnTo>
                  <a:lnTo>
                    <a:pt x="52" y="29"/>
                  </a:lnTo>
                  <a:lnTo>
                    <a:pt x="52" y="27"/>
                  </a:lnTo>
                  <a:lnTo>
                    <a:pt x="52" y="29"/>
                  </a:lnTo>
                  <a:lnTo>
                    <a:pt x="53" y="29"/>
                  </a:lnTo>
                  <a:lnTo>
                    <a:pt x="53" y="31"/>
                  </a:lnTo>
                  <a:lnTo>
                    <a:pt x="55" y="31"/>
                  </a:lnTo>
                  <a:lnTo>
                    <a:pt x="53" y="31"/>
                  </a:lnTo>
                  <a:lnTo>
                    <a:pt x="55" y="31"/>
                  </a:lnTo>
                  <a:lnTo>
                    <a:pt x="53" y="31"/>
                  </a:lnTo>
                  <a:lnTo>
                    <a:pt x="53" y="33"/>
                  </a:lnTo>
                  <a:lnTo>
                    <a:pt x="53" y="31"/>
                  </a:lnTo>
                  <a:lnTo>
                    <a:pt x="55" y="31"/>
                  </a:lnTo>
                  <a:lnTo>
                    <a:pt x="55" y="33"/>
                  </a:lnTo>
                  <a:lnTo>
                    <a:pt x="57" y="33"/>
                  </a:lnTo>
                  <a:lnTo>
                    <a:pt x="59" y="33"/>
                  </a:lnTo>
                  <a:lnTo>
                    <a:pt x="57" y="33"/>
                  </a:lnTo>
                  <a:lnTo>
                    <a:pt x="59" y="33"/>
                  </a:lnTo>
                  <a:lnTo>
                    <a:pt x="59" y="35"/>
                  </a:lnTo>
                  <a:lnTo>
                    <a:pt x="61" y="35"/>
                  </a:lnTo>
                  <a:lnTo>
                    <a:pt x="63" y="35"/>
                  </a:lnTo>
                  <a:lnTo>
                    <a:pt x="63" y="37"/>
                  </a:lnTo>
                  <a:lnTo>
                    <a:pt x="65" y="37"/>
                  </a:lnTo>
                  <a:lnTo>
                    <a:pt x="65" y="39"/>
                  </a:lnTo>
                  <a:lnTo>
                    <a:pt x="67" y="39"/>
                  </a:lnTo>
                  <a:lnTo>
                    <a:pt x="67" y="41"/>
                  </a:lnTo>
                  <a:lnTo>
                    <a:pt x="69" y="41"/>
                  </a:lnTo>
                  <a:lnTo>
                    <a:pt x="71" y="41"/>
                  </a:lnTo>
                  <a:lnTo>
                    <a:pt x="71" y="43"/>
                  </a:lnTo>
                  <a:lnTo>
                    <a:pt x="71" y="45"/>
                  </a:lnTo>
                  <a:lnTo>
                    <a:pt x="71" y="43"/>
                  </a:lnTo>
                  <a:lnTo>
                    <a:pt x="73" y="43"/>
                  </a:lnTo>
                  <a:lnTo>
                    <a:pt x="73" y="45"/>
                  </a:lnTo>
                  <a:lnTo>
                    <a:pt x="73" y="47"/>
                  </a:lnTo>
                  <a:lnTo>
                    <a:pt x="73" y="48"/>
                  </a:lnTo>
                  <a:lnTo>
                    <a:pt x="75" y="47"/>
                  </a:lnTo>
                  <a:lnTo>
                    <a:pt x="75" y="48"/>
                  </a:lnTo>
                  <a:lnTo>
                    <a:pt x="75" y="50"/>
                  </a:lnTo>
                  <a:lnTo>
                    <a:pt x="75" y="48"/>
                  </a:lnTo>
                  <a:lnTo>
                    <a:pt x="77" y="48"/>
                  </a:lnTo>
                  <a:lnTo>
                    <a:pt x="78" y="48"/>
                  </a:lnTo>
                  <a:lnTo>
                    <a:pt x="78" y="50"/>
                  </a:lnTo>
                  <a:lnTo>
                    <a:pt x="78" y="52"/>
                  </a:lnTo>
                  <a:lnTo>
                    <a:pt x="78" y="54"/>
                  </a:lnTo>
                  <a:lnTo>
                    <a:pt x="80" y="54"/>
                  </a:lnTo>
                  <a:lnTo>
                    <a:pt x="80" y="56"/>
                  </a:lnTo>
                  <a:lnTo>
                    <a:pt x="82" y="56"/>
                  </a:lnTo>
                  <a:lnTo>
                    <a:pt x="84" y="56"/>
                  </a:lnTo>
                  <a:lnTo>
                    <a:pt x="84" y="58"/>
                  </a:lnTo>
                  <a:lnTo>
                    <a:pt x="86" y="58"/>
                  </a:lnTo>
                  <a:lnTo>
                    <a:pt x="86" y="56"/>
                  </a:lnTo>
                  <a:lnTo>
                    <a:pt x="84" y="56"/>
                  </a:lnTo>
                  <a:lnTo>
                    <a:pt x="84" y="54"/>
                  </a:lnTo>
                  <a:lnTo>
                    <a:pt x="86" y="54"/>
                  </a:lnTo>
                  <a:lnTo>
                    <a:pt x="88" y="54"/>
                  </a:lnTo>
                  <a:lnTo>
                    <a:pt x="90" y="54"/>
                  </a:lnTo>
                  <a:lnTo>
                    <a:pt x="88" y="54"/>
                  </a:lnTo>
                  <a:lnTo>
                    <a:pt x="90" y="54"/>
                  </a:lnTo>
                  <a:lnTo>
                    <a:pt x="90" y="56"/>
                  </a:lnTo>
                  <a:lnTo>
                    <a:pt x="92" y="56"/>
                  </a:lnTo>
                  <a:lnTo>
                    <a:pt x="92" y="58"/>
                  </a:lnTo>
                  <a:lnTo>
                    <a:pt x="94" y="58"/>
                  </a:lnTo>
                  <a:lnTo>
                    <a:pt x="94" y="60"/>
                  </a:lnTo>
                  <a:lnTo>
                    <a:pt x="94" y="62"/>
                  </a:lnTo>
                  <a:lnTo>
                    <a:pt x="96" y="62"/>
                  </a:lnTo>
                  <a:lnTo>
                    <a:pt x="96" y="64"/>
                  </a:lnTo>
                  <a:lnTo>
                    <a:pt x="98" y="64"/>
                  </a:lnTo>
                  <a:lnTo>
                    <a:pt x="100" y="64"/>
                  </a:lnTo>
                  <a:lnTo>
                    <a:pt x="101" y="64"/>
                  </a:lnTo>
                  <a:lnTo>
                    <a:pt x="101" y="66"/>
                  </a:lnTo>
                  <a:lnTo>
                    <a:pt x="103" y="66"/>
                  </a:lnTo>
                  <a:lnTo>
                    <a:pt x="103" y="68"/>
                  </a:lnTo>
                  <a:lnTo>
                    <a:pt x="105" y="68"/>
                  </a:lnTo>
                  <a:lnTo>
                    <a:pt x="105" y="70"/>
                  </a:lnTo>
                  <a:lnTo>
                    <a:pt x="105" y="72"/>
                  </a:lnTo>
                  <a:lnTo>
                    <a:pt x="105" y="73"/>
                  </a:lnTo>
                  <a:lnTo>
                    <a:pt x="107" y="73"/>
                  </a:lnTo>
                  <a:lnTo>
                    <a:pt x="107" y="75"/>
                  </a:lnTo>
                  <a:lnTo>
                    <a:pt x="109" y="75"/>
                  </a:lnTo>
                  <a:lnTo>
                    <a:pt x="109" y="77"/>
                  </a:lnTo>
                  <a:lnTo>
                    <a:pt x="111" y="77"/>
                  </a:lnTo>
                  <a:lnTo>
                    <a:pt x="113" y="77"/>
                  </a:lnTo>
                  <a:lnTo>
                    <a:pt x="115" y="77"/>
                  </a:lnTo>
                  <a:lnTo>
                    <a:pt x="117" y="77"/>
                  </a:lnTo>
                  <a:lnTo>
                    <a:pt x="117" y="79"/>
                  </a:lnTo>
                  <a:lnTo>
                    <a:pt x="119" y="79"/>
                  </a:lnTo>
                  <a:lnTo>
                    <a:pt x="119" y="81"/>
                  </a:lnTo>
                  <a:lnTo>
                    <a:pt x="117" y="81"/>
                  </a:lnTo>
                  <a:lnTo>
                    <a:pt x="117" y="83"/>
                  </a:lnTo>
                  <a:lnTo>
                    <a:pt x="115" y="83"/>
                  </a:lnTo>
                  <a:lnTo>
                    <a:pt x="117" y="83"/>
                  </a:lnTo>
                  <a:lnTo>
                    <a:pt x="119" y="83"/>
                  </a:lnTo>
                  <a:lnTo>
                    <a:pt x="119" y="81"/>
                  </a:lnTo>
                  <a:lnTo>
                    <a:pt x="121" y="81"/>
                  </a:lnTo>
                  <a:lnTo>
                    <a:pt x="121" y="79"/>
                  </a:lnTo>
                  <a:lnTo>
                    <a:pt x="123" y="79"/>
                  </a:lnTo>
                  <a:lnTo>
                    <a:pt x="124" y="79"/>
                  </a:lnTo>
                  <a:lnTo>
                    <a:pt x="124" y="81"/>
                  </a:lnTo>
                  <a:lnTo>
                    <a:pt x="126" y="81"/>
                  </a:lnTo>
                  <a:lnTo>
                    <a:pt x="126" y="83"/>
                  </a:lnTo>
                  <a:lnTo>
                    <a:pt x="128" y="83"/>
                  </a:lnTo>
                  <a:lnTo>
                    <a:pt x="128" y="85"/>
                  </a:lnTo>
                  <a:lnTo>
                    <a:pt x="128" y="87"/>
                  </a:lnTo>
                  <a:lnTo>
                    <a:pt x="130" y="87"/>
                  </a:lnTo>
                  <a:lnTo>
                    <a:pt x="128" y="87"/>
                  </a:lnTo>
                  <a:lnTo>
                    <a:pt x="126" y="87"/>
                  </a:lnTo>
                  <a:lnTo>
                    <a:pt x="126" y="89"/>
                  </a:lnTo>
                  <a:lnTo>
                    <a:pt x="128" y="89"/>
                  </a:lnTo>
                  <a:lnTo>
                    <a:pt x="126" y="89"/>
                  </a:lnTo>
                  <a:lnTo>
                    <a:pt x="126" y="87"/>
                  </a:lnTo>
                  <a:lnTo>
                    <a:pt x="126" y="89"/>
                  </a:lnTo>
                  <a:lnTo>
                    <a:pt x="126" y="87"/>
                  </a:lnTo>
                  <a:lnTo>
                    <a:pt x="126" y="89"/>
                  </a:lnTo>
                  <a:lnTo>
                    <a:pt x="124" y="89"/>
                  </a:lnTo>
                  <a:lnTo>
                    <a:pt x="124" y="91"/>
                  </a:lnTo>
                  <a:lnTo>
                    <a:pt x="123" y="91"/>
                  </a:lnTo>
                  <a:lnTo>
                    <a:pt x="121" y="91"/>
                  </a:lnTo>
                  <a:lnTo>
                    <a:pt x="121" y="93"/>
                  </a:lnTo>
                  <a:lnTo>
                    <a:pt x="123" y="93"/>
                  </a:lnTo>
                  <a:lnTo>
                    <a:pt x="124" y="93"/>
                  </a:lnTo>
                  <a:lnTo>
                    <a:pt x="126" y="93"/>
                  </a:lnTo>
                  <a:lnTo>
                    <a:pt x="126" y="95"/>
                  </a:lnTo>
                  <a:lnTo>
                    <a:pt x="124" y="95"/>
                  </a:lnTo>
                  <a:lnTo>
                    <a:pt x="123" y="95"/>
                  </a:lnTo>
                  <a:lnTo>
                    <a:pt x="124" y="95"/>
                  </a:lnTo>
                  <a:lnTo>
                    <a:pt x="124" y="96"/>
                  </a:lnTo>
                  <a:lnTo>
                    <a:pt x="123" y="96"/>
                  </a:lnTo>
                  <a:lnTo>
                    <a:pt x="124" y="96"/>
                  </a:lnTo>
                  <a:lnTo>
                    <a:pt x="123" y="96"/>
                  </a:lnTo>
                  <a:lnTo>
                    <a:pt x="124" y="96"/>
                  </a:lnTo>
                  <a:lnTo>
                    <a:pt x="123" y="96"/>
                  </a:lnTo>
                  <a:lnTo>
                    <a:pt x="123" y="98"/>
                  </a:lnTo>
                  <a:lnTo>
                    <a:pt x="124" y="98"/>
                  </a:lnTo>
                  <a:lnTo>
                    <a:pt x="123" y="98"/>
                  </a:lnTo>
                  <a:lnTo>
                    <a:pt x="124" y="98"/>
                  </a:lnTo>
                  <a:lnTo>
                    <a:pt x="124" y="100"/>
                  </a:lnTo>
                  <a:lnTo>
                    <a:pt x="126" y="100"/>
                  </a:lnTo>
                  <a:lnTo>
                    <a:pt x="124" y="100"/>
                  </a:lnTo>
                  <a:lnTo>
                    <a:pt x="126" y="100"/>
                  </a:lnTo>
                  <a:lnTo>
                    <a:pt x="126" y="102"/>
                  </a:lnTo>
                  <a:lnTo>
                    <a:pt x="128" y="102"/>
                  </a:lnTo>
                  <a:lnTo>
                    <a:pt x="130" y="102"/>
                  </a:lnTo>
                  <a:lnTo>
                    <a:pt x="132" y="102"/>
                  </a:lnTo>
                  <a:lnTo>
                    <a:pt x="134" y="102"/>
                  </a:lnTo>
                  <a:lnTo>
                    <a:pt x="134" y="104"/>
                  </a:lnTo>
                  <a:lnTo>
                    <a:pt x="136" y="104"/>
                  </a:lnTo>
                  <a:lnTo>
                    <a:pt x="136" y="102"/>
                  </a:lnTo>
                  <a:lnTo>
                    <a:pt x="138" y="102"/>
                  </a:lnTo>
                  <a:lnTo>
                    <a:pt x="138" y="104"/>
                  </a:lnTo>
                  <a:lnTo>
                    <a:pt x="138" y="106"/>
                  </a:lnTo>
                  <a:lnTo>
                    <a:pt x="138" y="108"/>
                  </a:lnTo>
                  <a:lnTo>
                    <a:pt x="138" y="110"/>
                  </a:lnTo>
                  <a:lnTo>
                    <a:pt x="138" y="112"/>
                  </a:lnTo>
                  <a:lnTo>
                    <a:pt x="140" y="112"/>
                  </a:lnTo>
                  <a:lnTo>
                    <a:pt x="140" y="114"/>
                  </a:lnTo>
                  <a:lnTo>
                    <a:pt x="140" y="116"/>
                  </a:lnTo>
                  <a:lnTo>
                    <a:pt x="138" y="116"/>
                  </a:lnTo>
                  <a:lnTo>
                    <a:pt x="140" y="116"/>
                  </a:lnTo>
                  <a:lnTo>
                    <a:pt x="138" y="116"/>
                  </a:lnTo>
                  <a:lnTo>
                    <a:pt x="140" y="116"/>
                  </a:lnTo>
                  <a:lnTo>
                    <a:pt x="140" y="114"/>
                  </a:lnTo>
                  <a:lnTo>
                    <a:pt x="140" y="116"/>
                  </a:lnTo>
                  <a:lnTo>
                    <a:pt x="142" y="116"/>
                  </a:lnTo>
                  <a:lnTo>
                    <a:pt x="142" y="118"/>
                  </a:lnTo>
                  <a:lnTo>
                    <a:pt x="140" y="118"/>
                  </a:lnTo>
                  <a:lnTo>
                    <a:pt x="142" y="118"/>
                  </a:lnTo>
                  <a:lnTo>
                    <a:pt x="142" y="116"/>
                  </a:lnTo>
                  <a:lnTo>
                    <a:pt x="142" y="118"/>
                  </a:lnTo>
                  <a:lnTo>
                    <a:pt x="144" y="118"/>
                  </a:lnTo>
                  <a:lnTo>
                    <a:pt x="146" y="118"/>
                  </a:lnTo>
                  <a:lnTo>
                    <a:pt x="146" y="120"/>
                  </a:lnTo>
                  <a:lnTo>
                    <a:pt x="144" y="120"/>
                  </a:lnTo>
                  <a:lnTo>
                    <a:pt x="144" y="121"/>
                  </a:lnTo>
                  <a:lnTo>
                    <a:pt x="142" y="121"/>
                  </a:lnTo>
                  <a:lnTo>
                    <a:pt x="144" y="121"/>
                  </a:lnTo>
                  <a:lnTo>
                    <a:pt x="144" y="123"/>
                  </a:lnTo>
                  <a:lnTo>
                    <a:pt x="142" y="123"/>
                  </a:lnTo>
                  <a:lnTo>
                    <a:pt x="144" y="123"/>
                  </a:lnTo>
                  <a:lnTo>
                    <a:pt x="144" y="121"/>
                  </a:lnTo>
                  <a:lnTo>
                    <a:pt x="146" y="121"/>
                  </a:lnTo>
                  <a:lnTo>
                    <a:pt x="146" y="123"/>
                  </a:lnTo>
                  <a:lnTo>
                    <a:pt x="146" y="121"/>
                  </a:lnTo>
                  <a:lnTo>
                    <a:pt x="148" y="121"/>
                  </a:lnTo>
                  <a:lnTo>
                    <a:pt x="148" y="123"/>
                  </a:lnTo>
                  <a:lnTo>
                    <a:pt x="148" y="121"/>
                  </a:lnTo>
                  <a:lnTo>
                    <a:pt x="149" y="121"/>
                  </a:lnTo>
                  <a:lnTo>
                    <a:pt x="151" y="121"/>
                  </a:lnTo>
                  <a:lnTo>
                    <a:pt x="153" y="121"/>
                  </a:lnTo>
                  <a:lnTo>
                    <a:pt x="153" y="123"/>
                  </a:lnTo>
                  <a:lnTo>
                    <a:pt x="155" y="123"/>
                  </a:lnTo>
                  <a:lnTo>
                    <a:pt x="155" y="125"/>
                  </a:lnTo>
                  <a:lnTo>
                    <a:pt x="155" y="127"/>
                  </a:lnTo>
                  <a:lnTo>
                    <a:pt x="157" y="127"/>
                  </a:lnTo>
                  <a:lnTo>
                    <a:pt x="159" y="127"/>
                  </a:lnTo>
                  <a:lnTo>
                    <a:pt x="159" y="129"/>
                  </a:lnTo>
                  <a:lnTo>
                    <a:pt x="159" y="131"/>
                  </a:lnTo>
                  <a:lnTo>
                    <a:pt x="161" y="131"/>
                  </a:lnTo>
                  <a:lnTo>
                    <a:pt x="163" y="131"/>
                  </a:lnTo>
                  <a:lnTo>
                    <a:pt x="163" y="133"/>
                  </a:lnTo>
                  <a:lnTo>
                    <a:pt x="163" y="135"/>
                  </a:lnTo>
                  <a:lnTo>
                    <a:pt x="161" y="135"/>
                  </a:lnTo>
                  <a:lnTo>
                    <a:pt x="161" y="137"/>
                  </a:lnTo>
                  <a:lnTo>
                    <a:pt x="159" y="137"/>
                  </a:lnTo>
                  <a:lnTo>
                    <a:pt x="159" y="139"/>
                  </a:lnTo>
                  <a:lnTo>
                    <a:pt x="159" y="141"/>
                  </a:lnTo>
                  <a:lnTo>
                    <a:pt x="159" y="143"/>
                  </a:lnTo>
                  <a:lnTo>
                    <a:pt x="161" y="143"/>
                  </a:lnTo>
                  <a:lnTo>
                    <a:pt x="161" y="144"/>
                  </a:lnTo>
                  <a:lnTo>
                    <a:pt x="159" y="144"/>
                  </a:lnTo>
                  <a:lnTo>
                    <a:pt x="159" y="146"/>
                  </a:lnTo>
                  <a:lnTo>
                    <a:pt x="159" y="148"/>
                  </a:lnTo>
                  <a:lnTo>
                    <a:pt x="159" y="150"/>
                  </a:lnTo>
                  <a:lnTo>
                    <a:pt x="159" y="152"/>
                  </a:lnTo>
                  <a:lnTo>
                    <a:pt x="161" y="152"/>
                  </a:lnTo>
                  <a:lnTo>
                    <a:pt x="159" y="152"/>
                  </a:lnTo>
                  <a:lnTo>
                    <a:pt x="159" y="154"/>
                  </a:lnTo>
                  <a:lnTo>
                    <a:pt x="159" y="156"/>
                  </a:lnTo>
                  <a:lnTo>
                    <a:pt x="161" y="156"/>
                  </a:lnTo>
                  <a:lnTo>
                    <a:pt x="159" y="156"/>
                  </a:lnTo>
                  <a:lnTo>
                    <a:pt x="159" y="158"/>
                  </a:lnTo>
                  <a:lnTo>
                    <a:pt x="159" y="160"/>
                  </a:lnTo>
                  <a:lnTo>
                    <a:pt x="159" y="162"/>
                  </a:lnTo>
                  <a:lnTo>
                    <a:pt x="159" y="164"/>
                  </a:lnTo>
                  <a:lnTo>
                    <a:pt x="159" y="166"/>
                  </a:lnTo>
                  <a:lnTo>
                    <a:pt x="159" y="168"/>
                  </a:lnTo>
                  <a:lnTo>
                    <a:pt x="159" y="169"/>
                  </a:lnTo>
                  <a:lnTo>
                    <a:pt x="159" y="171"/>
                  </a:lnTo>
                  <a:lnTo>
                    <a:pt x="159" y="173"/>
                  </a:lnTo>
                  <a:lnTo>
                    <a:pt x="157" y="173"/>
                  </a:lnTo>
                  <a:lnTo>
                    <a:pt x="159" y="173"/>
                  </a:lnTo>
                  <a:lnTo>
                    <a:pt x="157" y="173"/>
                  </a:lnTo>
                  <a:lnTo>
                    <a:pt x="155" y="173"/>
                  </a:lnTo>
                  <a:lnTo>
                    <a:pt x="155" y="171"/>
                  </a:lnTo>
                  <a:lnTo>
                    <a:pt x="153" y="171"/>
                  </a:lnTo>
                  <a:lnTo>
                    <a:pt x="155" y="171"/>
                  </a:lnTo>
                  <a:lnTo>
                    <a:pt x="153" y="171"/>
                  </a:lnTo>
                  <a:lnTo>
                    <a:pt x="153" y="169"/>
                  </a:lnTo>
                  <a:lnTo>
                    <a:pt x="151" y="169"/>
                  </a:lnTo>
                  <a:lnTo>
                    <a:pt x="151" y="168"/>
                  </a:lnTo>
                  <a:lnTo>
                    <a:pt x="149" y="168"/>
                  </a:lnTo>
                  <a:lnTo>
                    <a:pt x="151" y="168"/>
                  </a:lnTo>
                  <a:lnTo>
                    <a:pt x="149" y="168"/>
                  </a:lnTo>
                  <a:lnTo>
                    <a:pt x="149" y="169"/>
                  </a:lnTo>
                  <a:lnTo>
                    <a:pt x="151" y="169"/>
                  </a:lnTo>
                  <a:lnTo>
                    <a:pt x="149" y="169"/>
                  </a:lnTo>
                  <a:lnTo>
                    <a:pt x="149" y="171"/>
                  </a:lnTo>
                  <a:lnTo>
                    <a:pt x="149" y="173"/>
                  </a:lnTo>
                  <a:lnTo>
                    <a:pt x="149" y="171"/>
                  </a:lnTo>
                  <a:lnTo>
                    <a:pt x="149" y="173"/>
                  </a:lnTo>
                  <a:lnTo>
                    <a:pt x="149" y="171"/>
                  </a:lnTo>
                  <a:lnTo>
                    <a:pt x="148" y="171"/>
                  </a:lnTo>
                  <a:lnTo>
                    <a:pt x="148" y="173"/>
                  </a:lnTo>
                  <a:lnTo>
                    <a:pt x="148" y="171"/>
                  </a:lnTo>
                  <a:lnTo>
                    <a:pt x="146" y="171"/>
                  </a:lnTo>
                  <a:lnTo>
                    <a:pt x="146" y="169"/>
                  </a:lnTo>
                  <a:lnTo>
                    <a:pt x="146" y="171"/>
                  </a:lnTo>
                  <a:lnTo>
                    <a:pt x="146" y="169"/>
                  </a:lnTo>
                  <a:lnTo>
                    <a:pt x="144" y="169"/>
                  </a:lnTo>
                  <a:lnTo>
                    <a:pt x="142" y="169"/>
                  </a:lnTo>
                  <a:lnTo>
                    <a:pt x="142" y="168"/>
                  </a:lnTo>
                  <a:lnTo>
                    <a:pt x="140" y="168"/>
                  </a:lnTo>
                  <a:lnTo>
                    <a:pt x="140" y="169"/>
                  </a:lnTo>
                  <a:lnTo>
                    <a:pt x="142" y="169"/>
                  </a:lnTo>
                  <a:lnTo>
                    <a:pt x="142" y="171"/>
                  </a:lnTo>
                  <a:lnTo>
                    <a:pt x="142" y="173"/>
                  </a:lnTo>
                  <a:lnTo>
                    <a:pt x="142" y="175"/>
                  </a:lnTo>
                  <a:lnTo>
                    <a:pt x="144" y="175"/>
                  </a:lnTo>
                  <a:lnTo>
                    <a:pt x="142" y="175"/>
                  </a:lnTo>
                  <a:lnTo>
                    <a:pt x="140" y="175"/>
                  </a:lnTo>
                  <a:lnTo>
                    <a:pt x="140" y="173"/>
                  </a:lnTo>
                  <a:lnTo>
                    <a:pt x="140" y="171"/>
                  </a:lnTo>
                  <a:lnTo>
                    <a:pt x="138" y="171"/>
                  </a:lnTo>
                  <a:lnTo>
                    <a:pt x="136" y="171"/>
                  </a:lnTo>
                  <a:lnTo>
                    <a:pt x="136" y="169"/>
                  </a:lnTo>
                  <a:lnTo>
                    <a:pt x="136" y="168"/>
                  </a:lnTo>
                  <a:lnTo>
                    <a:pt x="134" y="168"/>
                  </a:lnTo>
                  <a:lnTo>
                    <a:pt x="132" y="168"/>
                  </a:lnTo>
                  <a:lnTo>
                    <a:pt x="132" y="166"/>
                  </a:lnTo>
                  <a:lnTo>
                    <a:pt x="132" y="164"/>
                  </a:lnTo>
                  <a:lnTo>
                    <a:pt x="130" y="164"/>
                  </a:lnTo>
                  <a:lnTo>
                    <a:pt x="130" y="162"/>
                  </a:lnTo>
                  <a:lnTo>
                    <a:pt x="128" y="162"/>
                  </a:lnTo>
                  <a:lnTo>
                    <a:pt x="128" y="160"/>
                  </a:lnTo>
                  <a:lnTo>
                    <a:pt x="126" y="160"/>
                  </a:lnTo>
                  <a:lnTo>
                    <a:pt x="124" y="160"/>
                  </a:lnTo>
                  <a:lnTo>
                    <a:pt x="124" y="158"/>
                  </a:lnTo>
                  <a:lnTo>
                    <a:pt x="123" y="158"/>
                  </a:lnTo>
                  <a:lnTo>
                    <a:pt x="123" y="156"/>
                  </a:lnTo>
                  <a:lnTo>
                    <a:pt x="121" y="156"/>
                  </a:lnTo>
                  <a:lnTo>
                    <a:pt x="123" y="156"/>
                  </a:lnTo>
                  <a:lnTo>
                    <a:pt x="121" y="156"/>
                  </a:lnTo>
                  <a:lnTo>
                    <a:pt x="121" y="154"/>
                  </a:lnTo>
                  <a:lnTo>
                    <a:pt x="119" y="154"/>
                  </a:lnTo>
                  <a:lnTo>
                    <a:pt x="117" y="154"/>
                  </a:lnTo>
                  <a:lnTo>
                    <a:pt x="117" y="152"/>
                  </a:lnTo>
                  <a:lnTo>
                    <a:pt x="115" y="152"/>
                  </a:lnTo>
                  <a:lnTo>
                    <a:pt x="115" y="150"/>
                  </a:lnTo>
                  <a:lnTo>
                    <a:pt x="113" y="150"/>
                  </a:lnTo>
                  <a:lnTo>
                    <a:pt x="111" y="150"/>
                  </a:lnTo>
                  <a:lnTo>
                    <a:pt x="111" y="148"/>
                  </a:lnTo>
                  <a:lnTo>
                    <a:pt x="109" y="148"/>
                  </a:lnTo>
                  <a:lnTo>
                    <a:pt x="111" y="148"/>
                  </a:lnTo>
                  <a:lnTo>
                    <a:pt x="109" y="148"/>
                  </a:lnTo>
                  <a:lnTo>
                    <a:pt x="109" y="146"/>
                  </a:lnTo>
                  <a:lnTo>
                    <a:pt x="107" y="146"/>
                  </a:lnTo>
                  <a:lnTo>
                    <a:pt x="107" y="144"/>
                  </a:lnTo>
                  <a:lnTo>
                    <a:pt x="107" y="143"/>
                  </a:lnTo>
                  <a:lnTo>
                    <a:pt x="105" y="143"/>
                  </a:lnTo>
                  <a:lnTo>
                    <a:pt x="107" y="143"/>
                  </a:lnTo>
                  <a:lnTo>
                    <a:pt x="107" y="141"/>
                  </a:lnTo>
                  <a:lnTo>
                    <a:pt x="105" y="141"/>
                  </a:lnTo>
                  <a:lnTo>
                    <a:pt x="103" y="141"/>
                  </a:lnTo>
                  <a:lnTo>
                    <a:pt x="103" y="139"/>
                  </a:lnTo>
                  <a:lnTo>
                    <a:pt x="101" y="139"/>
                  </a:lnTo>
                  <a:lnTo>
                    <a:pt x="101" y="137"/>
                  </a:lnTo>
                  <a:lnTo>
                    <a:pt x="100" y="137"/>
                  </a:lnTo>
                  <a:lnTo>
                    <a:pt x="98" y="137"/>
                  </a:lnTo>
                  <a:lnTo>
                    <a:pt x="98" y="135"/>
                  </a:lnTo>
                  <a:lnTo>
                    <a:pt x="96" y="135"/>
                  </a:lnTo>
                  <a:lnTo>
                    <a:pt x="96" y="133"/>
                  </a:lnTo>
                  <a:lnTo>
                    <a:pt x="96" y="131"/>
                  </a:lnTo>
                  <a:lnTo>
                    <a:pt x="94" y="131"/>
                  </a:lnTo>
                  <a:lnTo>
                    <a:pt x="94" y="129"/>
                  </a:lnTo>
                  <a:lnTo>
                    <a:pt x="94" y="127"/>
                  </a:lnTo>
                  <a:lnTo>
                    <a:pt x="92" y="127"/>
                  </a:lnTo>
                  <a:lnTo>
                    <a:pt x="90" y="127"/>
                  </a:lnTo>
                  <a:lnTo>
                    <a:pt x="90" y="125"/>
                  </a:lnTo>
                  <a:lnTo>
                    <a:pt x="90" y="123"/>
                  </a:lnTo>
                  <a:lnTo>
                    <a:pt x="88" y="123"/>
                  </a:lnTo>
                  <a:lnTo>
                    <a:pt x="90" y="123"/>
                  </a:lnTo>
                  <a:lnTo>
                    <a:pt x="88" y="123"/>
                  </a:lnTo>
                  <a:lnTo>
                    <a:pt x="88" y="121"/>
                  </a:lnTo>
                  <a:lnTo>
                    <a:pt x="86" y="121"/>
                  </a:lnTo>
                  <a:lnTo>
                    <a:pt x="86" y="120"/>
                  </a:lnTo>
                  <a:lnTo>
                    <a:pt x="86" y="118"/>
                  </a:lnTo>
                  <a:lnTo>
                    <a:pt x="86" y="116"/>
                  </a:lnTo>
                  <a:lnTo>
                    <a:pt x="86" y="114"/>
                  </a:lnTo>
                  <a:lnTo>
                    <a:pt x="84" y="114"/>
                  </a:lnTo>
                  <a:lnTo>
                    <a:pt x="84" y="112"/>
                  </a:lnTo>
                  <a:lnTo>
                    <a:pt x="82" y="112"/>
                  </a:lnTo>
                  <a:lnTo>
                    <a:pt x="82" y="110"/>
                  </a:lnTo>
                  <a:lnTo>
                    <a:pt x="82" y="108"/>
                  </a:lnTo>
                  <a:lnTo>
                    <a:pt x="82" y="106"/>
                  </a:lnTo>
                  <a:lnTo>
                    <a:pt x="80" y="106"/>
                  </a:lnTo>
                  <a:lnTo>
                    <a:pt x="80" y="104"/>
                  </a:lnTo>
                  <a:lnTo>
                    <a:pt x="78" y="104"/>
                  </a:lnTo>
                  <a:lnTo>
                    <a:pt x="80" y="104"/>
                  </a:lnTo>
                  <a:lnTo>
                    <a:pt x="78" y="104"/>
                  </a:lnTo>
                  <a:lnTo>
                    <a:pt x="78" y="102"/>
                  </a:lnTo>
                  <a:lnTo>
                    <a:pt x="78" y="104"/>
                  </a:lnTo>
                  <a:lnTo>
                    <a:pt x="78" y="102"/>
                  </a:lnTo>
                  <a:lnTo>
                    <a:pt x="80" y="102"/>
                  </a:lnTo>
                  <a:lnTo>
                    <a:pt x="80" y="104"/>
                  </a:lnTo>
                  <a:lnTo>
                    <a:pt x="80" y="102"/>
                  </a:lnTo>
                  <a:lnTo>
                    <a:pt x="78" y="102"/>
                  </a:lnTo>
                  <a:lnTo>
                    <a:pt x="78" y="100"/>
                  </a:lnTo>
                  <a:lnTo>
                    <a:pt x="78" y="98"/>
                  </a:lnTo>
                  <a:lnTo>
                    <a:pt x="78" y="100"/>
                  </a:lnTo>
                  <a:lnTo>
                    <a:pt x="78" y="98"/>
                  </a:lnTo>
                  <a:lnTo>
                    <a:pt x="77" y="98"/>
                  </a:lnTo>
                  <a:lnTo>
                    <a:pt x="77" y="96"/>
                  </a:lnTo>
                  <a:lnTo>
                    <a:pt x="75" y="96"/>
                  </a:lnTo>
                  <a:lnTo>
                    <a:pt x="75" y="95"/>
                  </a:lnTo>
                  <a:lnTo>
                    <a:pt x="73" y="95"/>
                  </a:lnTo>
                  <a:lnTo>
                    <a:pt x="73" y="93"/>
                  </a:lnTo>
                  <a:lnTo>
                    <a:pt x="71" y="93"/>
                  </a:lnTo>
                  <a:lnTo>
                    <a:pt x="71" y="91"/>
                  </a:lnTo>
                  <a:lnTo>
                    <a:pt x="71" y="89"/>
                  </a:lnTo>
                  <a:lnTo>
                    <a:pt x="69" y="89"/>
                  </a:lnTo>
                  <a:lnTo>
                    <a:pt x="69" y="87"/>
                  </a:lnTo>
                  <a:lnTo>
                    <a:pt x="67" y="87"/>
                  </a:lnTo>
                  <a:lnTo>
                    <a:pt x="67" y="85"/>
                  </a:lnTo>
                  <a:lnTo>
                    <a:pt x="65" y="85"/>
                  </a:lnTo>
                  <a:lnTo>
                    <a:pt x="63" y="85"/>
                  </a:lnTo>
                  <a:lnTo>
                    <a:pt x="61" y="85"/>
                  </a:lnTo>
                  <a:lnTo>
                    <a:pt x="61" y="83"/>
                  </a:lnTo>
                  <a:lnTo>
                    <a:pt x="61" y="85"/>
                  </a:lnTo>
                  <a:lnTo>
                    <a:pt x="61" y="83"/>
                  </a:lnTo>
                  <a:lnTo>
                    <a:pt x="61" y="81"/>
                  </a:lnTo>
                  <a:lnTo>
                    <a:pt x="61" y="79"/>
                  </a:lnTo>
                  <a:lnTo>
                    <a:pt x="59" y="79"/>
                  </a:lnTo>
                  <a:lnTo>
                    <a:pt x="59" y="77"/>
                  </a:lnTo>
                  <a:lnTo>
                    <a:pt x="59" y="75"/>
                  </a:lnTo>
                  <a:lnTo>
                    <a:pt x="59" y="73"/>
                  </a:lnTo>
                  <a:lnTo>
                    <a:pt x="57" y="73"/>
                  </a:lnTo>
                  <a:lnTo>
                    <a:pt x="57" y="72"/>
                  </a:lnTo>
                  <a:lnTo>
                    <a:pt x="57" y="70"/>
                  </a:lnTo>
                  <a:lnTo>
                    <a:pt x="57" y="68"/>
                  </a:lnTo>
                  <a:lnTo>
                    <a:pt x="55" y="68"/>
                  </a:lnTo>
                  <a:lnTo>
                    <a:pt x="55" y="66"/>
                  </a:lnTo>
                  <a:lnTo>
                    <a:pt x="55" y="64"/>
                  </a:lnTo>
                  <a:lnTo>
                    <a:pt x="55" y="66"/>
                  </a:lnTo>
                  <a:lnTo>
                    <a:pt x="55" y="64"/>
                  </a:lnTo>
                  <a:lnTo>
                    <a:pt x="57" y="64"/>
                  </a:lnTo>
                  <a:lnTo>
                    <a:pt x="55" y="64"/>
                  </a:lnTo>
                  <a:lnTo>
                    <a:pt x="57" y="64"/>
                  </a:lnTo>
                  <a:lnTo>
                    <a:pt x="55" y="64"/>
                  </a:lnTo>
                  <a:lnTo>
                    <a:pt x="55" y="62"/>
                  </a:lnTo>
                  <a:lnTo>
                    <a:pt x="53" y="62"/>
                  </a:lnTo>
                  <a:lnTo>
                    <a:pt x="55" y="62"/>
                  </a:lnTo>
                  <a:lnTo>
                    <a:pt x="53" y="62"/>
                  </a:lnTo>
                  <a:lnTo>
                    <a:pt x="53" y="60"/>
                  </a:lnTo>
                  <a:lnTo>
                    <a:pt x="52" y="60"/>
                  </a:lnTo>
                  <a:lnTo>
                    <a:pt x="53" y="60"/>
                  </a:lnTo>
                  <a:lnTo>
                    <a:pt x="52" y="60"/>
                  </a:lnTo>
                  <a:lnTo>
                    <a:pt x="52" y="58"/>
                  </a:lnTo>
                  <a:lnTo>
                    <a:pt x="50" y="58"/>
                  </a:lnTo>
                  <a:lnTo>
                    <a:pt x="48" y="58"/>
                  </a:lnTo>
                  <a:lnTo>
                    <a:pt x="48" y="56"/>
                  </a:lnTo>
                  <a:lnTo>
                    <a:pt x="46" y="56"/>
                  </a:lnTo>
                  <a:lnTo>
                    <a:pt x="46" y="54"/>
                  </a:lnTo>
                  <a:lnTo>
                    <a:pt x="44" y="54"/>
                  </a:lnTo>
                  <a:lnTo>
                    <a:pt x="42" y="54"/>
                  </a:lnTo>
                  <a:lnTo>
                    <a:pt x="40" y="54"/>
                  </a:lnTo>
                  <a:lnTo>
                    <a:pt x="40" y="52"/>
                  </a:lnTo>
                  <a:lnTo>
                    <a:pt x="40" y="50"/>
                  </a:lnTo>
                  <a:lnTo>
                    <a:pt x="40" y="48"/>
                  </a:lnTo>
                  <a:lnTo>
                    <a:pt x="38" y="48"/>
                  </a:lnTo>
                  <a:lnTo>
                    <a:pt x="38" y="47"/>
                  </a:lnTo>
                  <a:lnTo>
                    <a:pt x="38" y="45"/>
                  </a:lnTo>
                  <a:lnTo>
                    <a:pt x="36" y="45"/>
                  </a:lnTo>
                  <a:lnTo>
                    <a:pt x="34" y="43"/>
                  </a:lnTo>
                  <a:lnTo>
                    <a:pt x="34" y="41"/>
                  </a:lnTo>
                  <a:lnTo>
                    <a:pt x="32" y="41"/>
                  </a:lnTo>
                  <a:lnTo>
                    <a:pt x="32" y="39"/>
                  </a:lnTo>
                  <a:lnTo>
                    <a:pt x="32" y="41"/>
                  </a:lnTo>
                  <a:lnTo>
                    <a:pt x="32" y="39"/>
                  </a:lnTo>
                  <a:lnTo>
                    <a:pt x="30" y="39"/>
                  </a:lnTo>
                  <a:lnTo>
                    <a:pt x="30" y="37"/>
                  </a:lnTo>
                  <a:lnTo>
                    <a:pt x="30" y="35"/>
                  </a:lnTo>
                  <a:lnTo>
                    <a:pt x="29" y="35"/>
                  </a:lnTo>
                  <a:lnTo>
                    <a:pt x="29" y="33"/>
                  </a:lnTo>
                  <a:lnTo>
                    <a:pt x="27" y="33"/>
                  </a:lnTo>
                  <a:lnTo>
                    <a:pt x="25" y="33"/>
                  </a:lnTo>
                  <a:lnTo>
                    <a:pt x="23" y="33"/>
                  </a:lnTo>
                  <a:lnTo>
                    <a:pt x="21" y="31"/>
                  </a:lnTo>
                  <a:lnTo>
                    <a:pt x="21" y="29"/>
                  </a:lnTo>
                  <a:lnTo>
                    <a:pt x="19" y="29"/>
                  </a:lnTo>
                  <a:lnTo>
                    <a:pt x="19" y="27"/>
                  </a:lnTo>
                  <a:lnTo>
                    <a:pt x="17" y="27"/>
                  </a:lnTo>
                  <a:lnTo>
                    <a:pt x="17" y="25"/>
                  </a:lnTo>
                  <a:lnTo>
                    <a:pt x="15" y="25"/>
                  </a:lnTo>
                  <a:lnTo>
                    <a:pt x="13" y="23"/>
                  </a:lnTo>
                  <a:lnTo>
                    <a:pt x="11" y="22"/>
                  </a:lnTo>
                  <a:lnTo>
                    <a:pt x="9" y="20"/>
                  </a:lnTo>
                  <a:lnTo>
                    <a:pt x="7" y="20"/>
                  </a:lnTo>
                  <a:lnTo>
                    <a:pt x="7" y="18"/>
                  </a:lnTo>
                  <a:lnTo>
                    <a:pt x="5" y="18"/>
                  </a:lnTo>
                  <a:lnTo>
                    <a:pt x="7" y="18"/>
                  </a:lnTo>
                  <a:lnTo>
                    <a:pt x="7" y="16"/>
                  </a:lnTo>
                  <a:lnTo>
                    <a:pt x="5" y="16"/>
                  </a:lnTo>
                  <a:lnTo>
                    <a:pt x="5" y="14"/>
                  </a:lnTo>
                  <a:lnTo>
                    <a:pt x="5" y="12"/>
                  </a:lnTo>
                  <a:lnTo>
                    <a:pt x="4" y="12"/>
                  </a:lnTo>
                  <a:lnTo>
                    <a:pt x="5" y="12"/>
                  </a:lnTo>
                  <a:lnTo>
                    <a:pt x="4" y="12"/>
                  </a:lnTo>
                  <a:lnTo>
                    <a:pt x="4" y="10"/>
                  </a:lnTo>
                  <a:lnTo>
                    <a:pt x="4" y="8"/>
                  </a:lnTo>
                  <a:lnTo>
                    <a:pt x="4" y="10"/>
                  </a:lnTo>
                  <a:lnTo>
                    <a:pt x="4" y="8"/>
                  </a:lnTo>
                  <a:lnTo>
                    <a:pt x="4" y="6"/>
                  </a:lnTo>
                  <a:lnTo>
                    <a:pt x="5" y="6"/>
                  </a:lnTo>
                  <a:lnTo>
                    <a:pt x="5" y="4"/>
                  </a:lnTo>
                  <a:lnTo>
                    <a:pt x="5" y="6"/>
                  </a:lnTo>
                  <a:lnTo>
                    <a:pt x="5" y="4"/>
                  </a:lnTo>
                  <a:lnTo>
                    <a:pt x="7" y="4"/>
                  </a:lnTo>
                  <a:close/>
                  <a:moveTo>
                    <a:pt x="673" y="125"/>
                  </a:moveTo>
                  <a:lnTo>
                    <a:pt x="673" y="129"/>
                  </a:lnTo>
                  <a:lnTo>
                    <a:pt x="673" y="131"/>
                  </a:lnTo>
                  <a:lnTo>
                    <a:pt x="673" y="133"/>
                  </a:lnTo>
                  <a:lnTo>
                    <a:pt x="673" y="135"/>
                  </a:lnTo>
                  <a:lnTo>
                    <a:pt x="673" y="137"/>
                  </a:lnTo>
                  <a:lnTo>
                    <a:pt x="673" y="139"/>
                  </a:lnTo>
                  <a:lnTo>
                    <a:pt x="673" y="144"/>
                  </a:lnTo>
                  <a:lnTo>
                    <a:pt x="673" y="146"/>
                  </a:lnTo>
                  <a:lnTo>
                    <a:pt x="673" y="148"/>
                  </a:lnTo>
                  <a:lnTo>
                    <a:pt x="673" y="154"/>
                  </a:lnTo>
                  <a:lnTo>
                    <a:pt x="673" y="156"/>
                  </a:lnTo>
                  <a:lnTo>
                    <a:pt x="673" y="160"/>
                  </a:lnTo>
                  <a:lnTo>
                    <a:pt x="673" y="164"/>
                  </a:lnTo>
                  <a:lnTo>
                    <a:pt x="673" y="166"/>
                  </a:lnTo>
                  <a:lnTo>
                    <a:pt x="673" y="173"/>
                  </a:lnTo>
                  <a:lnTo>
                    <a:pt x="673" y="179"/>
                  </a:lnTo>
                  <a:lnTo>
                    <a:pt x="673" y="181"/>
                  </a:lnTo>
                  <a:lnTo>
                    <a:pt x="671" y="181"/>
                  </a:lnTo>
                  <a:lnTo>
                    <a:pt x="673" y="181"/>
                  </a:lnTo>
                  <a:lnTo>
                    <a:pt x="671" y="181"/>
                  </a:lnTo>
                  <a:lnTo>
                    <a:pt x="673" y="181"/>
                  </a:lnTo>
                  <a:lnTo>
                    <a:pt x="671" y="181"/>
                  </a:lnTo>
                  <a:lnTo>
                    <a:pt x="671" y="183"/>
                  </a:lnTo>
                  <a:lnTo>
                    <a:pt x="673" y="183"/>
                  </a:lnTo>
                  <a:lnTo>
                    <a:pt x="671" y="183"/>
                  </a:lnTo>
                  <a:lnTo>
                    <a:pt x="673" y="183"/>
                  </a:lnTo>
                  <a:lnTo>
                    <a:pt x="671" y="183"/>
                  </a:lnTo>
                  <a:lnTo>
                    <a:pt x="671" y="185"/>
                  </a:lnTo>
                  <a:lnTo>
                    <a:pt x="671" y="183"/>
                  </a:lnTo>
                  <a:lnTo>
                    <a:pt x="671" y="185"/>
                  </a:lnTo>
                  <a:lnTo>
                    <a:pt x="671" y="187"/>
                  </a:lnTo>
                  <a:lnTo>
                    <a:pt x="671" y="189"/>
                  </a:lnTo>
                  <a:lnTo>
                    <a:pt x="673" y="189"/>
                  </a:lnTo>
                  <a:lnTo>
                    <a:pt x="671" y="189"/>
                  </a:lnTo>
                  <a:lnTo>
                    <a:pt x="673" y="189"/>
                  </a:lnTo>
                  <a:lnTo>
                    <a:pt x="673" y="191"/>
                  </a:lnTo>
                  <a:lnTo>
                    <a:pt x="673" y="200"/>
                  </a:lnTo>
                  <a:lnTo>
                    <a:pt x="673" y="202"/>
                  </a:lnTo>
                  <a:lnTo>
                    <a:pt x="673" y="217"/>
                  </a:lnTo>
                  <a:lnTo>
                    <a:pt x="673" y="221"/>
                  </a:lnTo>
                  <a:lnTo>
                    <a:pt x="671" y="221"/>
                  </a:lnTo>
                  <a:lnTo>
                    <a:pt x="671" y="219"/>
                  </a:lnTo>
                  <a:lnTo>
                    <a:pt x="670" y="219"/>
                  </a:lnTo>
                  <a:lnTo>
                    <a:pt x="670" y="217"/>
                  </a:lnTo>
                  <a:lnTo>
                    <a:pt x="668" y="217"/>
                  </a:lnTo>
                  <a:lnTo>
                    <a:pt x="668" y="216"/>
                  </a:lnTo>
                  <a:lnTo>
                    <a:pt x="666" y="216"/>
                  </a:lnTo>
                  <a:lnTo>
                    <a:pt x="666" y="214"/>
                  </a:lnTo>
                  <a:lnTo>
                    <a:pt x="664" y="214"/>
                  </a:lnTo>
                  <a:lnTo>
                    <a:pt x="664" y="212"/>
                  </a:lnTo>
                  <a:lnTo>
                    <a:pt x="662" y="212"/>
                  </a:lnTo>
                  <a:lnTo>
                    <a:pt x="662" y="210"/>
                  </a:lnTo>
                  <a:lnTo>
                    <a:pt x="660" y="210"/>
                  </a:lnTo>
                  <a:lnTo>
                    <a:pt x="660" y="208"/>
                  </a:lnTo>
                  <a:lnTo>
                    <a:pt x="658" y="208"/>
                  </a:lnTo>
                  <a:lnTo>
                    <a:pt x="658" y="206"/>
                  </a:lnTo>
                  <a:lnTo>
                    <a:pt x="660" y="206"/>
                  </a:lnTo>
                  <a:lnTo>
                    <a:pt x="660" y="204"/>
                  </a:lnTo>
                  <a:lnTo>
                    <a:pt x="660" y="206"/>
                  </a:lnTo>
                  <a:lnTo>
                    <a:pt x="658" y="206"/>
                  </a:lnTo>
                  <a:lnTo>
                    <a:pt x="656" y="206"/>
                  </a:lnTo>
                  <a:lnTo>
                    <a:pt x="654" y="206"/>
                  </a:lnTo>
                  <a:lnTo>
                    <a:pt x="652" y="206"/>
                  </a:lnTo>
                  <a:lnTo>
                    <a:pt x="652" y="208"/>
                  </a:lnTo>
                  <a:lnTo>
                    <a:pt x="650" y="208"/>
                  </a:lnTo>
                  <a:lnTo>
                    <a:pt x="648" y="208"/>
                  </a:lnTo>
                  <a:lnTo>
                    <a:pt x="647" y="208"/>
                  </a:lnTo>
                  <a:lnTo>
                    <a:pt x="647" y="206"/>
                  </a:lnTo>
                  <a:lnTo>
                    <a:pt x="645" y="206"/>
                  </a:lnTo>
                  <a:lnTo>
                    <a:pt x="645" y="208"/>
                  </a:lnTo>
                  <a:lnTo>
                    <a:pt x="645" y="206"/>
                  </a:lnTo>
                  <a:lnTo>
                    <a:pt x="645" y="208"/>
                  </a:lnTo>
                  <a:lnTo>
                    <a:pt x="643" y="208"/>
                  </a:lnTo>
                  <a:lnTo>
                    <a:pt x="645" y="208"/>
                  </a:lnTo>
                  <a:lnTo>
                    <a:pt x="645" y="210"/>
                  </a:lnTo>
                  <a:lnTo>
                    <a:pt x="643" y="210"/>
                  </a:lnTo>
                  <a:lnTo>
                    <a:pt x="643" y="208"/>
                  </a:lnTo>
                  <a:lnTo>
                    <a:pt x="641" y="208"/>
                  </a:lnTo>
                  <a:lnTo>
                    <a:pt x="641" y="206"/>
                  </a:lnTo>
                  <a:lnTo>
                    <a:pt x="643" y="206"/>
                  </a:lnTo>
                  <a:lnTo>
                    <a:pt x="643" y="204"/>
                  </a:lnTo>
                  <a:lnTo>
                    <a:pt x="645" y="204"/>
                  </a:lnTo>
                  <a:lnTo>
                    <a:pt x="645" y="202"/>
                  </a:lnTo>
                  <a:lnTo>
                    <a:pt x="645" y="200"/>
                  </a:lnTo>
                  <a:lnTo>
                    <a:pt x="645" y="198"/>
                  </a:lnTo>
                  <a:lnTo>
                    <a:pt x="647" y="198"/>
                  </a:lnTo>
                  <a:lnTo>
                    <a:pt x="645" y="198"/>
                  </a:lnTo>
                  <a:lnTo>
                    <a:pt x="643" y="198"/>
                  </a:lnTo>
                  <a:lnTo>
                    <a:pt x="643" y="196"/>
                  </a:lnTo>
                  <a:lnTo>
                    <a:pt x="643" y="194"/>
                  </a:lnTo>
                  <a:lnTo>
                    <a:pt x="641" y="194"/>
                  </a:lnTo>
                  <a:lnTo>
                    <a:pt x="639" y="194"/>
                  </a:lnTo>
                  <a:lnTo>
                    <a:pt x="639" y="193"/>
                  </a:lnTo>
                  <a:lnTo>
                    <a:pt x="641" y="193"/>
                  </a:lnTo>
                  <a:lnTo>
                    <a:pt x="643" y="193"/>
                  </a:lnTo>
                  <a:lnTo>
                    <a:pt x="643" y="194"/>
                  </a:lnTo>
                  <a:lnTo>
                    <a:pt x="645" y="194"/>
                  </a:lnTo>
                  <a:lnTo>
                    <a:pt x="647" y="194"/>
                  </a:lnTo>
                  <a:lnTo>
                    <a:pt x="647" y="193"/>
                  </a:lnTo>
                  <a:lnTo>
                    <a:pt x="648" y="193"/>
                  </a:lnTo>
                  <a:lnTo>
                    <a:pt x="648" y="194"/>
                  </a:lnTo>
                  <a:lnTo>
                    <a:pt x="648" y="193"/>
                  </a:lnTo>
                  <a:lnTo>
                    <a:pt x="648" y="194"/>
                  </a:lnTo>
                  <a:lnTo>
                    <a:pt x="650" y="194"/>
                  </a:lnTo>
                  <a:lnTo>
                    <a:pt x="650" y="193"/>
                  </a:lnTo>
                  <a:lnTo>
                    <a:pt x="648" y="193"/>
                  </a:lnTo>
                  <a:lnTo>
                    <a:pt x="650" y="193"/>
                  </a:lnTo>
                  <a:lnTo>
                    <a:pt x="650" y="191"/>
                  </a:lnTo>
                  <a:lnTo>
                    <a:pt x="648" y="191"/>
                  </a:lnTo>
                  <a:lnTo>
                    <a:pt x="647" y="191"/>
                  </a:lnTo>
                  <a:lnTo>
                    <a:pt x="647" y="189"/>
                  </a:lnTo>
                  <a:lnTo>
                    <a:pt x="647" y="191"/>
                  </a:lnTo>
                  <a:lnTo>
                    <a:pt x="647" y="189"/>
                  </a:lnTo>
                  <a:lnTo>
                    <a:pt x="645" y="189"/>
                  </a:lnTo>
                  <a:lnTo>
                    <a:pt x="643" y="189"/>
                  </a:lnTo>
                  <a:lnTo>
                    <a:pt x="643" y="187"/>
                  </a:lnTo>
                  <a:lnTo>
                    <a:pt x="641" y="187"/>
                  </a:lnTo>
                  <a:lnTo>
                    <a:pt x="641" y="185"/>
                  </a:lnTo>
                  <a:lnTo>
                    <a:pt x="639" y="185"/>
                  </a:lnTo>
                  <a:lnTo>
                    <a:pt x="639" y="183"/>
                  </a:lnTo>
                  <a:lnTo>
                    <a:pt x="637" y="183"/>
                  </a:lnTo>
                  <a:lnTo>
                    <a:pt x="637" y="181"/>
                  </a:lnTo>
                  <a:lnTo>
                    <a:pt x="635" y="181"/>
                  </a:lnTo>
                  <a:lnTo>
                    <a:pt x="635" y="179"/>
                  </a:lnTo>
                  <a:lnTo>
                    <a:pt x="635" y="177"/>
                  </a:lnTo>
                  <a:lnTo>
                    <a:pt x="635" y="179"/>
                  </a:lnTo>
                  <a:lnTo>
                    <a:pt x="635" y="177"/>
                  </a:lnTo>
                  <a:lnTo>
                    <a:pt x="635" y="175"/>
                  </a:lnTo>
                  <a:lnTo>
                    <a:pt x="633" y="175"/>
                  </a:lnTo>
                  <a:lnTo>
                    <a:pt x="633" y="173"/>
                  </a:lnTo>
                  <a:lnTo>
                    <a:pt x="631" y="173"/>
                  </a:lnTo>
                  <a:lnTo>
                    <a:pt x="631" y="171"/>
                  </a:lnTo>
                  <a:lnTo>
                    <a:pt x="633" y="171"/>
                  </a:lnTo>
                  <a:lnTo>
                    <a:pt x="631" y="171"/>
                  </a:lnTo>
                  <a:lnTo>
                    <a:pt x="629" y="171"/>
                  </a:lnTo>
                  <a:lnTo>
                    <a:pt x="629" y="169"/>
                  </a:lnTo>
                  <a:lnTo>
                    <a:pt x="631" y="169"/>
                  </a:lnTo>
                  <a:lnTo>
                    <a:pt x="631" y="168"/>
                  </a:lnTo>
                  <a:lnTo>
                    <a:pt x="629" y="168"/>
                  </a:lnTo>
                  <a:lnTo>
                    <a:pt x="627" y="168"/>
                  </a:lnTo>
                  <a:lnTo>
                    <a:pt x="627" y="166"/>
                  </a:lnTo>
                  <a:lnTo>
                    <a:pt x="625" y="166"/>
                  </a:lnTo>
                  <a:lnTo>
                    <a:pt x="627" y="166"/>
                  </a:lnTo>
                  <a:lnTo>
                    <a:pt x="625" y="166"/>
                  </a:lnTo>
                  <a:lnTo>
                    <a:pt x="625" y="164"/>
                  </a:lnTo>
                  <a:lnTo>
                    <a:pt x="624" y="164"/>
                  </a:lnTo>
                  <a:lnTo>
                    <a:pt x="624" y="162"/>
                  </a:lnTo>
                  <a:lnTo>
                    <a:pt x="624" y="164"/>
                  </a:lnTo>
                  <a:lnTo>
                    <a:pt x="624" y="162"/>
                  </a:lnTo>
                  <a:lnTo>
                    <a:pt x="624" y="164"/>
                  </a:lnTo>
                  <a:lnTo>
                    <a:pt x="624" y="162"/>
                  </a:lnTo>
                  <a:lnTo>
                    <a:pt x="624" y="160"/>
                  </a:lnTo>
                  <a:lnTo>
                    <a:pt x="624" y="162"/>
                  </a:lnTo>
                  <a:lnTo>
                    <a:pt x="622" y="162"/>
                  </a:lnTo>
                  <a:lnTo>
                    <a:pt x="622" y="164"/>
                  </a:lnTo>
                  <a:lnTo>
                    <a:pt x="622" y="162"/>
                  </a:lnTo>
                  <a:lnTo>
                    <a:pt x="624" y="162"/>
                  </a:lnTo>
                  <a:lnTo>
                    <a:pt x="624" y="160"/>
                  </a:lnTo>
                  <a:lnTo>
                    <a:pt x="622" y="160"/>
                  </a:lnTo>
                  <a:lnTo>
                    <a:pt x="622" y="162"/>
                  </a:lnTo>
                  <a:lnTo>
                    <a:pt x="622" y="160"/>
                  </a:lnTo>
                  <a:lnTo>
                    <a:pt x="620" y="160"/>
                  </a:lnTo>
                  <a:lnTo>
                    <a:pt x="620" y="162"/>
                  </a:lnTo>
                  <a:lnTo>
                    <a:pt x="618" y="162"/>
                  </a:lnTo>
                  <a:lnTo>
                    <a:pt x="618" y="160"/>
                  </a:lnTo>
                  <a:lnTo>
                    <a:pt x="618" y="162"/>
                  </a:lnTo>
                  <a:lnTo>
                    <a:pt x="618" y="160"/>
                  </a:lnTo>
                  <a:lnTo>
                    <a:pt x="616" y="160"/>
                  </a:lnTo>
                  <a:lnTo>
                    <a:pt x="618" y="160"/>
                  </a:lnTo>
                  <a:lnTo>
                    <a:pt x="618" y="158"/>
                  </a:lnTo>
                  <a:lnTo>
                    <a:pt x="618" y="160"/>
                  </a:lnTo>
                  <a:lnTo>
                    <a:pt x="616" y="160"/>
                  </a:lnTo>
                  <a:lnTo>
                    <a:pt x="616" y="158"/>
                  </a:lnTo>
                  <a:lnTo>
                    <a:pt x="616" y="160"/>
                  </a:lnTo>
                  <a:lnTo>
                    <a:pt x="616" y="158"/>
                  </a:lnTo>
                  <a:lnTo>
                    <a:pt x="616" y="160"/>
                  </a:lnTo>
                  <a:lnTo>
                    <a:pt x="614" y="160"/>
                  </a:lnTo>
                  <a:lnTo>
                    <a:pt x="616" y="160"/>
                  </a:lnTo>
                  <a:lnTo>
                    <a:pt x="614" y="160"/>
                  </a:lnTo>
                  <a:lnTo>
                    <a:pt x="616" y="160"/>
                  </a:lnTo>
                  <a:lnTo>
                    <a:pt x="614" y="160"/>
                  </a:lnTo>
                  <a:lnTo>
                    <a:pt x="614" y="158"/>
                  </a:lnTo>
                  <a:lnTo>
                    <a:pt x="614" y="160"/>
                  </a:lnTo>
                  <a:lnTo>
                    <a:pt x="614" y="158"/>
                  </a:lnTo>
                  <a:lnTo>
                    <a:pt x="612" y="158"/>
                  </a:lnTo>
                  <a:lnTo>
                    <a:pt x="614" y="158"/>
                  </a:lnTo>
                  <a:lnTo>
                    <a:pt x="612" y="158"/>
                  </a:lnTo>
                  <a:lnTo>
                    <a:pt x="612" y="160"/>
                  </a:lnTo>
                  <a:lnTo>
                    <a:pt x="610" y="160"/>
                  </a:lnTo>
                  <a:lnTo>
                    <a:pt x="610" y="158"/>
                  </a:lnTo>
                  <a:lnTo>
                    <a:pt x="608" y="158"/>
                  </a:lnTo>
                  <a:lnTo>
                    <a:pt x="608" y="156"/>
                  </a:lnTo>
                  <a:lnTo>
                    <a:pt x="608" y="158"/>
                  </a:lnTo>
                  <a:lnTo>
                    <a:pt x="608" y="156"/>
                  </a:lnTo>
                  <a:lnTo>
                    <a:pt x="606" y="156"/>
                  </a:lnTo>
                  <a:lnTo>
                    <a:pt x="604" y="156"/>
                  </a:lnTo>
                  <a:lnTo>
                    <a:pt x="602" y="156"/>
                  </a:lnTo>
                  <a:lnTo>
                    <a:pt x="602" y="154"/>
                  </a:lnTo>
                  <a:lnTo>
                    <a:pt x="602" y="156"/>
                  </a:lnTo>
                  <a:lnTo>
                    <a:pt x="602" y="154"/>
                  </a:lnTo>
                  <a:lnTo>
                    <a:pt x="602" y="156"/>
                  </a:lnTo>
                  <a:lnTo>
                    <a:pt x="602" y="154"/>
                  </a:lnTo>
                  <a:lnTo>
                    <a:pt x="600" y="154"/>
                  </a:lnTo>
                  <a:lnTo>
                    <a:pt x="599" y="154"/>
                  </a:lnTo>
                  <a:lnTo>
                    <a:pt x="600" y="154"/>
                  </a:lnTo>
                  <a:lnTo>
                    <a:pt x="599" y="154"/>
                  </a:lnTo>
                  <a:lnTo>
                    <a:pt x="597" y="154"/>
                  </a:lnTo>
                  <a:lnTo>
                    <a:pt x="597" y="152"/>
                  </a:lnTo>
                  <a:lnTo>
                    <a:pt x="597" y="154"/>
                  </a:lnTo>
                  <a:lnTo>
                    <a:pt x="595" y="154"/>
                  </a:lnTo>
                  <a:lnTo>
                    <a:pt x="595" y="152"/>
                  </a:lnTo>
                  <a:lnTo>
                    <a:pt x="595" y="154"/>
                  </a:lnTo>
                  <a:lnTo>
                    <a:pt x="595" y="152"/>
                  </a:lnTo>
                  <a:lnTo>
                    <a:pt x="593" y="152"/>
                  </a:lnTo>
                  <a:lnTo>
                    <a:pt x="591" y="152"/>
                  </a:lnTo>
                  <a:lnTo>
                    <a:pt x="589" y="152"/>
                  </a:lnTo>
                  <a:lnTo>
                    <a:pt x="587" y="152"/>
                  </a:lnTo>
                  <a:lnTo>
                    <a:pt x="585" y="152"/>
                  </a:lnTo>
                  <a:lnTo>
                    <a:pt x="585" y="150"/>
                  </a:lnTo>
                  <a:lnTo>
                    <a:pt x="585" y="152"/>
                  </a:lnTo>
                  <a:lnTo>
                    <a:pt x="585" y="150"/>
                  </a:lnTo>
                  <a:lnTo>
                    <a:pt x="583" y="150"/>
                  </a:lnTo>
                  <a:lnTo>
                    <a:pt x="581" y="150"/>
                  </a:lnTo>
                  <a:lnTo>
                    <a:pt x="581" y="148"/>
                  </a:lnTo>
                  <a:lnTo>
                    <a:pt x="579" y="148"/>
                  </a:lnTo>
                  <a:lnTo>
                    <a:pt x="579" y="146"/>
                  </a:lnTo>
                  <a:lnTo>
                    <a:pt x="581" y="146"/>
                  </a:lnTo>
                  <a:lnTo>
                    <a:pt x="579" y="146"/>
                  </a:lnTo>
                  <a:lnTo>
                    <a:pt x="579" y="148"/>
                  </a:lnTo>
                  <a:lnTo>
                    <a:pt x="581" y="148"/>
                  </a:lnTo>
                  <a:lnTo>
                    <a:pt x="579" y="146"/>
                  </a:lnTo>
                  <a:lnTo>
                    <a:pt x="581" y="146"/>
                  </a:lnTo>
                  <a:lnTo>
                    <a:pt x="581" y="144"/>
                  </a:lnTo>
                  <a:lnTo>
                    <a:pt x="581" y="146"/>
                  </a:lnTo>
                  <a:lnTo>
                    <a:pt x="581" y="144"/>
                  </a:lnTo>
                  <a:lnTo>
                    <a:pt x="581" y="146"/>
                  </a:lnTo>
                  <a:lnTo>
                    <a:pt x="581" y="144"/>
                  </a:lnTo>
                  <a:lnTo>
                    <a:pt x="581" y="146"/>
                  </a:lnTo>
                  <a:lnTo>
                    <a:pt x="583" y="146"/>
                  </a:lnTo>
                  <a:lnTo>
                    <a:pt x="581" y="146"/>
                  </a:lnTo>
                  <a:lnTo>
                    <a:pt x="581" y="144"/>
                  </a:lnTo>
                  <a:lnTo>
                    <a:pt x="583" y="144"/>
                  </a:lnTo>
                  <a:lnTo>
                    <a:pt x="583" y="146"/>
                  </a:lnTo>
                  <a:lnTo>
                    <a:pt x="585" y="146"/>
                  </a:lnTo>
                  <a:lnTo>
                    <a:pt x="585" y="144"/>
                  </a:lnTo>
                  <a:lnTo>
                    <a:pt x="585" y="146"/>
                  </a:lnTo>
                  <a:lnTo>
                    <a:pt x="583" y="146"/>
                  </a:lnTo>
                  <a:lnTo>
                    <a:pt x="583" y="144"/>
                  </a:lnTo>
                  <a:lnTo>
                    <a:pt x="585" y="144"/>
                  </a:lnTo>
                  <a:lnTo>
                    <a:pt x="583" y="144"/>
                  </a:lnTo>
                  <a:lnTo>
                    <a:pt x="581" y="144"/>
                  </a:lnTo>
                  <a:lnTo>
                    <a:pt x="579" y="144"/>
                  </a:lnTo>
                  <a:lnTo>
                    <a:pt x="579" y="146"/>
                  </a:lnTo>
                  <a:lnTo>
                    <a:pt x="577" y="146"/>
                  </a:lnTo>
                  <a:lnTo>
                    <a:pt x="577" y="144"/>
                  </a:lnTo>
                  <a:lnTo>
                    <a:pt x="576" y="144"/>
                  </a:lnTo>
                  <a:lnTo>
                    <a:pt x="576" y="146"/>
                  </a:lnTo>
                  <a:lnTo>
                    <a:pt x="576" y="144"/>
                  </a:lnTo>
                  <a:lnTo>
                    <a:pt x="576" y="146"/>
                  </a:lnTo>
                  <a:lnTo>
                    <a:pt x="574" y="146"/>
                  </a:lnTo>
                  <a:lnTo>
                    <a:pt x="574" y="144"/>
                  </a:lnTo>
                  <a:lnTo>
                    <a:pt x="572" y="144"/>
                  </a:lnTo>
                  <a:lnTo>
                    <a:pt x="574" y="144"/>
                  </a:lnTo>
                  <a:lnTo>
                    <a:pt x="574" y="143"/>
                  </a:lnTo>
                  <a:lnTo>
                    <a:pt x="574" y="144"/>
                  </a:lnTo>
                  <a:lnTo>
                    <a:pt x="574" y="143"/>
                  </a:lnTo>
                  <a:lnTo>
                    <a:pt x="572" y="143"/>
                  </a:lnTo>
                  <a:lnTo>
                    <a:pt x="574" y="143"/>
                  </a:lnTo>
                  <a:lnTo>
                    <a:pt x="572" y="143"/>
                  </a:lnTo>
                  <a:lnTo>
                    <a:pt x="572" y="144"/>
                  </a:lnTo>
                  <a:lnTo>
                    <a:pt x="572" y="143"/>
                  </a:lnTo>
                  <a:lnTo>
                    <a:pt x="570" y="143"/>
                  </a:lnTo>
                  <a:lnTo>
                    <a:pt x="570" y="144"/>
                  </a:lnTo>
                  <a:lnTo>
                    <a:pt x="570" y="143"/>
                  </a:lnTo>
                  <a:lnTo>
                    <a:pt x="570" y="144"/>
                  </a:lnTo>
                  <a:lnTo>
                    <a:pt x="570" y="143"/>
                  </a:lnTo>
                  <a:lnTo>
                    <a:pt x="570" y="141"/>
                  </a:lnTo>
                  <a:lnTo>
                    <a:pt x="568" y="141"/>
                  </a:lnTo>
                  <a:lnTo>
                    <a:pt x="568" y="139"/>
                  </a:lnTo>
                  <a:lnTo>
                    <a:pt x="568" y="141"/>
                  </a:lnTo>
                  <a:lnTo>
                    <a:pt x="568" y="143"/>
                  </a:lnTo>
                  <a:lnTo>
                    <a:pt x="568" y="141"/>
                  </a:lnTo>
                  <a:lnTo>
                    <a:pt x="566" y="141"/>
                  </a:lnTo>
                  <a:lnTo>
                    <a:pt x="566" y="139"/>
                  </a:lnTo>
                  <a:lnTo>
                    <a:pt x="566" y="137"/>
                  </a:lnTo>
                  <a:lnTo>
                    <a:pt x="566" y="139"/>
                  </a:lnTo>
                  <a:lnTo>
                    <a:pt x="566" y="137"/>
                  </a:lnTo>
                  <a:lnTo>
                    <a:pt x="564" y="137"/>
                  </a:lnTo>
                  <a:lnTo>
                    <a:pt x="564" y="139"/>
                  </a:lnTo>
                  <a:lnTo>
                    <a:pt x="562" y="139"/>
                  </a:lnTo>
                  <a:lnTo>
                    <a:pt x="562" y="137"/>
                  </a:lnTo>
                  <a:lnTo>
                    <a:pt x="562" y="139"/>
                  </a:lnTo>
                  <a:lnTo>
                    <a:pt x="564" y="139"/>
                  </a:lnTo>
                  <a:lnTo>
                    <a:pt x="564" y="141"/>
                  </a:lnTo>
                  <a:lnTo>
                    <a:pt x="562" y="141"/>
                  </a:lnTo>
                  <a:lnTo>
                    <a:pt x="562" y="143"/>
                  </a:lnTo>
                  <a:lnTo>
                    <a:pt x="562" y="144"/>
                  </a:lnTo>
                  <a:lnTo>
                    <a:pt x="562" y="146"/>
                  </a:lnTo>
                  <a:lnTo>
                    <a:pt x="560" y="146"/>
                  </a:lnTo>
                  <a:lnTo>
                    <a:pt x="558" y="146"/>
                  </a:lnTo>
                  <a:lnTo>
                    <a:pt x="556" y="146"/>
                  </a:lnTo>
                  <a:lnTo>
                    <a:pt x="556" y="148"/>
                  </a:lnTo>
                  <a:lnTo>
                    <a:pt x="554" y="148"/>
                  </a:lnTo>
                  <a:lnTo>
                    <a:pt x="554" y="146"/>
                  </a:lnTo>
                  <a:lnTo>
                    <a:pt x="554" y="144"/>
                  </a:lnTo>
                  <a:lnTo>
                    <a:pt x="554" y="146"/>
                  </a:lnTo>
                  <a:lnTo>
                    <a:pt x="554" y="144"/>
                  </a:lnTo>
                  <a:lnTo>
                    <a:pt x="554" y="146"/>
                  </a:lnTo>
                  <a:lnTo>
                    <a:pt x="554" y="144"/>
                  </a:lnTo>
                  <a:lnTo>
                    <a:pt x="552" y="144"/>
                  </a:lnTo>
                  <a:lnTo>
                    <a:pt x="554" y="144"/>
                  </a:lnTo>
                  <a:lnTo>
                    <a:pt x="552" y="144"/>
                  </a:lnTo>
                  <a:lnTo>
                    <a:pt x="552" y="143"/>
                  </a:lnTo>
                  <a:lnTo>
                    <a:pt x="552" y="144"/>
                  </a:lnTo>
                  <a:lnTo>
                    <a:pt x="552" y="143"/>
                  </a:lnTo>
                  <a:lnTo>
                    <a:pt x="552" y="141"/>
                  </a:lnTo>
                  <a:lnTo>
                    <a:pt x="554" y="141"/>
                  </a:lnTo>
                  <a:lnTo>
                    <a:pt x="554" y="139"/>
                  </a:lnTo>
                  <a:lnTo>
                    <a:pt x="554" y="137"/>
                  </a:lnTo>
                  <a:lnTo>
                    <a:pt x="552" y="137"/>
                  </a:lnTo>
                  <a:lnTo>
                    <a:pt x="554" y="137"/>
                  </a:lnTo>
                  <a:lnTo>
                    <a:pt x="552" y="137"/>
                  </a:lnTo>
                  <a:lnTo>
                    <a:pt x="554" y="137"/>
                  </a:lnTo>
                  <a:lnTo>
                    <a:pt x="554" y="135"/>
                  </a:lnTo>
                  <a:lnTo>
                    <a:pt x="554" y="137"/>
                  </a:lnTo>
                  <a:lnTo>
                    <a:pt x="554" y="135"/>
                  </a:lnTo>
                  <a:lnTo>
                    <a:pt x="552" y="135"/>
                  </a:lnTo>
                  <a:lnTo>
                    <a:pt x="552" y="137"/>
                  </a:lnTo>
                  <a:lnTo>
                    <a:pt x="551" y="137"/>
                  </a:lnTo>
                  <a:lnTo>
                    <a:pt x="551" y="135"/>
                  </a:lnTo>
                  <a:lnTo>
                    <a:pt x="551" y="137"/>
                  </a:lnTo>
                  <a:lnTo>
                    <a:pt x="551" y="135"/>
                  </a:lnTo>
                  <a:lnTo>
                    <a:pt x="551" y="133"/>
                  </a:lnTo>
                  <a:lnTo>
                    <a:pt x="549" y="133"/>
                  </a:lnTo>
                  <a:lnTo>
                    <a:pt x="549" y="131"/>
                  </a:lnTo>
                  <a:lnTo>
                    <a:pt x="547" y="131"/>
                  </a:lnTo>
                  <a:lnTo>
                    <a:pt x="549" y="131"/>
                  </a:lnTo>
                  <a:lnTo>
                    <a:pt x="547" y="131"/>
                  </a:lnTo>
                  <a:lnTo>
                    <a:pt x="545" y="131"/>
                  </a:lnTo>
                  <a:lnTo>
                    <a:pt x="545" y="129"/>
                  </a:lnTo>
                  <a:lnTo>
                    <a:pt x="545" y="131"/>
                  </a:lnTo>
                  <a:lnTo>
                    <a:pt x="543" y="131"/>
                  </a:lnTo>
                  <a:lnTo>
                    <a:pt x="543" y="129"/>
                  </a:lnTo>
                  <a:lnTo>
                    <a:pt x="543" y="131"/>
                  </a:lnTo>
                  <a:lnTo>
                    <a:pt x="543" y="129"/>
                  </a:lnTo>
                  <a:lnTo>
                    <a:pt x="541" y="129"/>
                  </a:lnTo>
                  <a:lnTo>
                    <a:pt x="541" y="131"/>
                  </a:lnTo>
                  <a:lnTo>
                    <a:pt x="541" y="129"/>
                  </a:lnTo>
                  <a:lnTo>
                    <a:pt x="543" y="129"/>
                  </a:lnTo>
                  <a:lnTo>
                    <a:pt x="541" y="129"/>
                  </a:lnTo>
                  <a:lnTo>
                    <a:pt x="543" y="129"/>
                  </a:lnTo>
                  <a:lnTo>
                    <a:pt x="541" y="129"/>
                  </a:lnTo>
                  <a:lnTo>
                    <a:pt x="543" y="129"/>
                  </a:lnTo>
                  <a:lnTo>
                    <a:pt x="541" y="129"/>
                  </a:lnTo>
                  <a:lnTo>
                    <a:pt x="543" y="129"/>
                  </a:lnTo>
                  <a:lnTo>
                    <a:pt x="543" y="127"/>
                  </a:lnTo>
                  <a:lnTo>
                    <a:pt x="541" y="127"/>
                  </a:lnTo>
                  <a:lnTo>
                    <a:pt x="541" y="129"/>
                  </a:lnTo>
                  <a:lnTo>
                    <a:pt x="541" y="127"/>
                  </a:lnTo>
                  <a:lnTo>
                    <a:pt x="541" y="129"/>
                  </a:lnTo>
                  <a:lnTo>
                    <a:pt x="541" y="127"/>
                  </a:lnTo>
                  <a:lnTo>
                    <a:pt x="543" y="127"/>
                  </a:lnTo>
                  <a:lnTo>
                    <a:pt x="545" y="127"/>
                  </a:lnTo>
                  <a:lnTo>
                    <a:pt x="543" y="127"/>
                  </a:lnTo>
                  <a:lnTo>
                    <a:pt x="545" y="127"/>
                  </a:lnTo>
                  <a:lnTo>
                    <a:pt x="547" y="127"/>
                  </a:lnTo>
                  <a:lnTo>
                    <a:pt x="549" y="127"/>
                  </a:lnTo>
                  <a:lnTo>
                    <a:pt x="547" y="127"/>
                  </a:lnTo>
                  <a:lnTo>
                    <a:pt x="549" y="127"/>
                  </a:lnTo>
                  <a:lnTo>
                    <a:pt x="551" y="127"/>
                  </a:lnTo>
                  <a:lnTo>
                    <a:pt x="552" y="127"/>
                  </a:lnTo>
                  <a:lnTo>
                    <a:pt x="552" y="129"/>
                  </a:lnTo>
                  <a:lnTo>
                    <a:pt x="552" y="127"/>
                  </a:lnTo>
                  <a:lnTo>
                    <a:pt x="554" y="127"/>
                  </a:lnTo>
                  <a:lnTo>
                    <a:pt x="554" y="125"/>
                  </a:lnTo>
                  <a:lnTo>
                    <a:pt x="556" y="125"/>
                  </a:lnTo>
                  <a:lnTo>
                    <a:pt x="556" y="123"/>
                  </a:lnTo>
                  <a:lnTo>
                    <a:pt x="558" y="123"/>
                  </a:lnTo>
                  <a:lnTo>
                    <a:pt x="560" y="123"/>
                  </a:lnTo>
                  <a:lnTo>
                    <a:pt x="562" y="123"/>
                  </a:lnTo>
                  <a:lnTo>
                    <a:pt x="562" y="125"/>
                  </a:lnTo>
                  <a:lnTo>
                    <a:pt x="562" y="127"/>
                  </a:lnTo>
                  <a:lnTo>
                    <a:pt x="562" y="125"/>
                  </a:lnTo>
                  <a:lnTo>
                    <a:pt x="562" y="123"/>
                  </a:lnTo>
                  <a:lnTo>
                    <a:pt x="562" y="125"/>
                  </a:lnTo>
                  <a:lnTo>
                    <a:pt x="564" y="125"/>
                  </a:lnTo>
                  <a:lnTo>
                    <a:pt x="562" y="125"/>
                  </a:lnTo>
                  <a:lnTo>
                    <a:pt x="562" y="123"/>
                  </a:lnTo>
                  <a:lnTo>
                    <a:pt x="564" y="123"/>
                  </a:lnTo>
                  <a:lnTo>
                    <a:pt x="564" y="125"/>
                  </a:lnTo>
                  <a:lnTo>
                    <a:pt x="566" y="125"/>
                  </a:lnTo>
                  <a:lnTo>
                    <a:pt x="566" y="127"/>
                  </a:lnTo>
                  <a:lnTo>
                    <a:pt x="566" y="125"/>
                  </a:lnTo>
                  <a:lnTo>
                    <a:pt x="566" y="123"/>
                  </a:lnTo>
                  <a:lnTo>
                    <a:pt x="568" y="123"/>
                  </a:lnTo>
                  <a:lnTo>
                    <a:pt x="568" y="125"/>
                  </a:lnTo>
                  <a:lnTo>
                    <a:pt x="568" y="127"/>
                  </a:lnTo>
                  <a:lnTo>
                    <a:pt x="568" y="125"/>
                  </a:lnTo>
                  <a:lnTo>
                    <a:pt x="568" y="123"/>
                  </a:lnTo>
                  <a:lnTo>
                    <a:pt x="568" y="125"/>
                  </a:lnTo>
                  <a:lnTo>
                    <a:pt x="568" y="123"/>
                  </a:lnTo>
                  <a:lnTo>
                    <a:pt x="570" y="123"/>
                  </a:lnTo>
                  <a:lnTo>
                    <a:pt x="570" y="121"/>
                  </a:lnTo>
                  <a:lnTo>
                    <a:pt x="568" y="121"/>
                  </a:lnTo>
                  <a:lnTo>
                    <a:pt x="570" y="121"/>
                  </a:lnTo>
                  <a:lnTo>
                    <a:pt x="570" y="120"/>
                  </a:lnTo>
                  <a:lnTo>
                    <a:pt x="570" y="118"/>
                  </a:lnTo>
                  <a:lnTo>
                    <a:pt x="570" y="120"/>
                  </a:lnTo>
                  <a:lnTo>
                    <a:pt x="570" y="118"/>
                  </a:lnTo>
                  <a:lnTo>
                    <a:pt x="568" y="118"/>
                  </a:lnTo>
                  <a:lnTo>
                    <a:pt x="568" y="120"/>
                  </a:lnTo>
                  <a:lnTo>
                    <a:pt x="566" y="120"/>
                  </a:lnTo>
                  <a:lnTo>
                    <a:pt x="564" y="120"/>
                  </a:lnTo>
                  <a:lnTo>
                    <a:pt x="562" y="120"/>
                  </a:lnTo>
                  <a:lnTo>
                    <a:pt x="560" y="120"/>
                  </a:lnTo>
                  <a:lnTo>
                    <a:pt x="558" y="120"/>
                  </a:lnTo>
                  <a:lnTo>
                    <a:pt x="556" y="120"/>
                  </a:lnTo>
                  <a:lnTo>
                    <a:pt x="556" y="121"/>
                  </a:lnTo>
                  <a:lnTo>
                    <a:pt x="554" y="121"/>
                  </a:lnTo>
                  <a:lnTo>
                    <a:pt x="554" y="120"/>
                  </a:lnTo>
                  <a:lnTo>
                    <a:pt x="552" y="120"/>
                  </a:lnTo>
                  <a:lnTo>
                    <a:pt x="552" y="121"/>
                  </a:lnTo>
                  <a:lnTo>
                    <a:pt x="551" y="121"/>
                  </a:lnTo>
                  <a:lnTo>
                    <a:pt x="551" y="120"/>
                  </a:lnTo>
                  <a:lnTo>
                    <a:pt x="549" y="120"/>
                  </a:lnTo>
                  <a:lnTo>
                    <a:pt x="547" y="120"/>
                  </a:lnTo>
                  <a:lnTo>
                    <a:pt x="547" y="121"/>
                  </a:lnTo>
                  <a:lnTo>
                    <a:pt x="545" y="121"/>
                  </a:lnTo>
                  <a:lnTo>
                    <a:pt x="545" y="120"/>
                  </a:lnTo>
                  <a:lnTo>
                    <a:pt x="543" y="120"/>
                  </a:lnTo>
                  <a:lnTo>
                    <a:pt x="543" y="118"/>
                  </a:lnTo>
                  <a:lnTo>
                    <a:pt x="543" y="116"/>
                  </a:lnTo>
                  <a:lnTo>
                    <a:pt x="543" y="118"/>
                  </a:lnTo>
                  <a:lnTo>
                    <a:pt x="541" y="118"/>
                  </a:lnTo>
                  <a:lnTo>
                    <a:pt x="541" y="116"/>
                  </a:lnTo>
                  <a:lnTo>
                    <a:pt x="541" y="114"/>
                  </a:lnTo>
                  <a:lnTo>
                    <a:pt x="541" y="112"/>
                  </a:lnTo>
                  <a:lnTo>
                    <a:pt x="543" y="112"/>
                  </a:lnTo>
                  <a:lnTo>
                    <a:pt x="541" y="112"/>
                  </a:lnTo>
                  <a:lnTo>
                    <a:pt x="543" y="112"/>
                  </a:lnTo>
                  <a:lnTo>
                    <a:pt x="541" y="112"/>
                  </a:lnTo>
                  <a:lnTo>
                    <a:pt x="539" y="112"/>
                  </a:lnTo>
                  <a:lnTo>
                    <a:pt x="541" y="112"/>
                  </a:lnTo>
                  <a:lnTo>
                    <a:pt x="541" y="110"/>
                  </a:lnTo>
                  <a:lnTo>
                    <a:pt x="539" y="110"/>
                  </a:lnTo>
                  <a:lnTo>
                    <a:pt x="539" y="112"/>
                  </a:lnTo>
                  <a:lnTo>
                    <a:pt x="539" y="110"/>
                  </a:lnTo>
                  <a:lnTo>
                    <a:pt x="537" y="110"/>
                  </a:lnTo>
                  <a:lnTo>
                    <a:pt x="537" y="108"/>
                  </a:lnTo>
                  <a:lnTo>
                    <a:pt x="535" y="108"/>
                  </a:lnTo>
                  <a:lnTo>
                    <a:pt x="535" y="110"/>
                  </a:lnTo>
                  <a:lnTo>
                    <a:pt x="533" y="110"/>
                  </a:lnTo>
                  <a:lnTo>
                    <a:pt x="533" y="108"/>
                  </a:lnTo>
                  <a:lnTo>
                    <a:pt x="531" y="108"/>
                  </a:lnTo>
                  <a:lnTo>
                    <a:pt x="531" y="110"/>
                  </a:lnTo>
                  <a:lnTo>
                    <a:pt x="529" y="110"/>
                  </a:lnTo>
                  <a:lnTo>
                    <a:pt x="529" y="108"/>
                  </a:lnTo>
                  <a:lnTo>
                    <a:pt x="528" y="108"/>
                  </a:lnTo>
                  <a:lnTo>
                    <a:pt x="526" y="108"/>
                  </a:lnTo>
                  <a:lnTo>
                    <a:pt x="528" y="108"/>
                  </a:lnTo>
                  <a:lnTo>
                    <a:pt x="528" y="106"/>
                  </a:lnTo>
                  <a:lnTo>
                    <a:pt x="529" y="106"/>
                  </a:lnTo>
                  <a:lnTo>
                    <a:pt x="529" y="104"/>
                  </a:lnTo>
                  <a:lnTo>
                    <a:pt x="531" y="104"/>
                  </a:lnTo>
                  <a:lnTo>
                    <a:pt x="531" y="102"/>
                  </a:lnTo>
                  <a:lnTo>
                    <a:pt x="531" y="100"/>
                  </a:lnTo>
                  <a:lnTo>
                    <a:pt x="529" y="100"/>
                  </a:lnTo>
                  <a:lnTo>
                    <a:pt x="531" y="100"/>
                  </a:lnTo>
                  <a:lnTo>
                    <a:pt x="531" y="98"/>
                  </a:lnTo>
                  <a:lnTo>
                    <a:pt x="533" y="98"/>
                  </a:lnTo>
                  <a:lnTo>
                    <a:pt x="535" y="98"/>
                  </a:lnTo>
                  <a:lnTo>
                    <a:pt x="537" y="98"/>
                  </a:lnTo>
                  <a:lnTo>
                    <a:pt x="539" y="98"/>
                  </a:lnTo>
                  <a:lnTo>
                    <a:pt x="541" y="98"/>
                  </a:lnTo>
                  <a:lnTo>
                    <a:pt x="541" y="96"/>
                  </a:lnTo>
                  <a:lnTo>
                    <a:pt x="543" y="96"/>
                  </a:lnTo>
                  <a:lnTo>
                    <a:pt x="543" y="95"/>
                  </a:lnTo>
                  <a:lnTo>
                    <a:pt x="545" y="95"/>
                  </a:lnTo>
                  <a:lnTo>
                    <a:pt x="545" y="93"/>
                  </a:lnTo>
                  <a:lnTo>
                    <a:pt x="547" y="93"/>
                  </a:lnTo>
                  <a:lnTo>
                    <a:pt x="549" y="93"/>
                  </a:lnTo>
                  <a:lnTo>
                    <a:pt x="551" y="93"/>
                  </a:lnTo>
                  <a:lnTo>
                    <a:pt x="552" y="93"/>
                  </a:lnTo>
                  <a:lnTo>
                    <a:pt x="552" y="95"/>
                  </a:lnTo>
                  <a:lnTo>
                    <a:pt x="554" y="95"/>
                  </a:lnTo>
                  <a:lnTo>
                    <a:pt x="556" y="95"/>
                  </a:lnTo>
                  <a:lnTo>
                    <a:pt x="558" y="95"/>
                  </a:lnTo>
                  <a:lnTo>
                    <a:pt x="558" y="96"/>
                  </a:lnTo>
                  <a:lnTo>
                    <a:pt x="558" y="95"/>
                  </a:lnTo>
                  <a:lnTo>
                    <a:pt x="558" y="96"/>
                  </a:lnTo>
                  <a:lnTo>
                    <a:pt x="560" y="96"/>
                  </a:lnTo>
                  <a:lnTo>
                    <a:pt x="560" y="98"/>
                  </a:lnTo>
                  <a:lnTo>
                    <a:pt x="562" y="98"/>
                  </a:lnTo>
                  <a:lnTo>
                    <a:pt x="564" y="98"/>
                  </a:lnTo>
                  <a:lnTo>
                    <a:pt x="566" y="98"/>
                  </a:lnTo>
                  <a:lnTo>
                    <a:pt x="568" y="98"/>
                  </a:lnTo>
                  <a:lnTo>
                    <a:pt x="566" y="98"/>
                  </a:lnTo>
                  <a:lnTo>
                    <a:pt x="568" y="98"/>
                  </a:lnTo>
                  <a:lnTo>
                    <a:pt x="570" y="98"/>
                  </a:lnTo>
                  <a:lnTo>
                    <a:pt x="572" y="98"/>
                  </a:lnTo>
                  <a:lnTo>
                    <a:pt x="572" y="100"/>
                  </a:lnTo>
                  <a:lnTo>
                    <a:pt x="574" y="100"/>
                  </a:lnTo>
                  <a:lnTo>
                    <a:pt x="572" y="100"/>
                  </a:lnTo>
                  <a:lnTo>
                    <a:pt x="572" y="102"/>
                  </a:lnTo>
                  <a:lnTo>
                    <a:pt x="572" y="104"/>
                  </a:lnTo>
                  <a:lnTo>
                    <a:pt x="574" y="104"/>
                  </a:lnTo>
                  <a:lnTo>
                    <a:pt x="574" y="106"/>
                  </a:lnTo>
                  <a:lnTo>
                    <a:pt x="576" y="106"/>
                  </a:lnTo>
                  <a:lnTo>
                    <a:pt x="576" y="108"/>
                  </a:lnTo>
                  <a:lnTo>
                    <a:pt x="574" y="108"/>
                  </a:lnTo>
                  <a:lnTo>
                    <a:pt x="574" y="110"/>
                  </a:lnTo>
                  <a:lnTo>
                    <a:pt x="574" y="112"/>
                  </a:lnTo>
                  <a:lnTo>
                    <a:pt x="572" y="112"/>
                  </a:lnTo>
                  <a:lnTo>
                    <a:pt x="572" y="114"/>
                  </a:lnTo>
                  <a:lnTo>
                    <a:pt x="572" y="116"/>
                  </a:lnTo>
                  <a:lnTo>
                    <a:pt x="574" y="116"/>
                  </a:lnTo>
                  <a:lnTo>
                    <a:pt x="572" y="116"/>
                  </a:lnTo>
                  <a:lnTo>
                    <a:pt x="574" y="116"/>
                  </a:lnTo>
                  <a:lnTo>
                    <a:pt x="574" y="118"/>
                  </a:lnTo>
                  <a:lnTo>
                    <a:pt x="572" y="118"/>
                  </a:lnTo>
                  <a:lnTo>
                    <a:pt x="572" y="120"/>
                  </a:lnTo>
                  <a:lnTo>
                    <a:pt x="574" y="120"/>
                  </a:lnTo>
                  <a:lnTo>
                    <a:pt x="574" y="121"/>
                  </a:lnTo>
                  <a:lnTo>
                    <a:pt x="574" y="123"/>
                  </a:lnTo>
                  <a:lnTo>
                    <a:pt x="574" y="121"/>
                  </a:lnTo>
                  <a:lnTo>
                    <a:pt x="574" y="123"/>
                  </a:lnTo>
                  <a:lnTo>
                    <a:pt x="576" y="123"/>
                  </a:lnTo>
                  <a:lnTo>
                    <a:pt x="576" y="125"/>
                  </a:lnTo>
                  <a:lnTo>
                    <a:pt x="576" y="123"/>
                  </a:lnTo>
                  <a:lnTo>
                    <a:pt x="576" y="125"/>
                  </a:lnTo>
                  <a:lnTo>
                    <a:pt x="576" y="127"/>
                  </a:lnTo>
                  <a:lnTo>
                    <a:pt x="577" y="127"/>
                  </a:lnTo>
                  <a:lnTo>
                    <a:pt x="576" y="127"/>
                  </a:lnTo>
                  <a:lnTo>
                    <a:pt x="577" y="127"/>
                  </a:lnTo>
                  <a:lnTo>
                    <a:pt x="577" y="129"/>
                  </a:lnTo>
                  <a:lnTo>
                    <a:pt x="579" y="129"/>
                  </a:lnTo>
                  <a:lnTo>
                    <a:pt x="577" y="129"/>
                  </a:lnTo>
                  <a:lnTo>
                    <a:pt x="577" y="127"/>
                  </a:lnTo>
                  <a:lnTo>
                    <a:pt x="577" y="125"/>
                  </a:lnTo>
                  <a:lnTo>
                    <a:pt x="577" y="123"/>
                  </a:lnTo>
                  <a:lnTo>
                    <a:pt x="579" y="123"/>
                  </a:lnTo>
                  <a:lnTo>
                    <a:pt x="577" y="123"/>
                  </a:lnTo>
                  <a:lnTo>
                    <a:pt x="579" y="123"/>
                  </a:lnTo>
                  <a:lnTo>
                    <a:pt x="579" y="125"/>
                  </a:lnTo>
                  <a:lnTo>
                    <a:pt x="581" y="125"/>
                  </a:lnTo>
                  <a:lnTo>
                    <a:pt x="581" y="127"/>
                  </a:lnTo>
                  <a:lnTo>
                    <a:pt x="581" y="129"/>
                  </a:lnTo>
                  <a:lnTo>
                    <a:pt x="581" y="131"/>
                  </a:lnTo>
                  <a:lnTo>
                    <a:pt x="583" y="131"/>
                  </a:lnTo>
                  <a:lnTo>
                    <a:pt x="583" y="129"/>
                  </a:lnTo>
                  <a:lnTo>
                    <a:pt x="583" y="131"/>
                  </a:lnTo>
                  <a:lnTo>
                    <a:pt x="583" y="133"/>
                  </a:lnTo>
                  <a:lnTo>
                    <a:pt x="583" y="135"/>
                  </a:lnTo>
                  <a:lnTo>
                    <a:pt x="585" y="135"/>
                  </a:lnTo>
                  <a:lnTo>
                    <a:pt x="585" y="137"/>
                  </a:lnTo>
                  <a:lnTo>
                    <a:pt x="587" y="137"/>
                  </a:lnTo>
                  <a:lnTo>
                    <a:pt x="589" y="137"/>
                  </a:lnTo>
                  <a:lnTo>
                    <a:pt x="591" y="137"/>
                  </a:lnTo>
                  <a:lnTo>
                    <a:pt x="593" y="137"/>
                  </a:lnTo>
                  <a:lnTo>
                    <a:pt x="593" y="135"/>
                  </a:lnTo>
                  <a:lnTo>
                    <a:pt x="595" y="135"/>
                  </a:lnTo>
                  <a:lnTo>
                    <a:pt x="595" y="133"/>
                  </a:lnTo>
                  <a:lnTo>
                    <a:pt x="597" y="133"/>
                  </a:lnTo>
                  <a:lnTo>
                    <a:pt x="597" y="131"/>
                  </a:lnTo>
                  <a:lnTo>
                    <a:pt x="597" y="133"/>
                  </a:lnTo>
                  <a:lnTo>
                    <a:pt x="597" y="131"/>
                  </a:lnTo>
                  <a:lnTo>
                    <a:pt x="599" y="131"/>
                  </a:lnTo>
                  <a:lnTo>
                    <a:pt x="597" y="131"/>
                  </a:lnTo>
                  <a:lnTo>
                    <a:pt x="599" y="131"/>
                  </a:lnTo>
                  <a:lnTo>
                    <a:pt x="600" y="131"/>
                  </a:lnTo>
                  <a:lnTo>
                    <a:pt x="599" y="131"/>
                  </a:lnTo>
                  <a:lnTo>
                    <a:pt x="600" y="131"/>
                  </a:lnTo>
                  <a:lnTo>
                    <a:pt x="599" y="131"/>
                  </a:lnTo>
                  <a:lnTo>
                    <a:pt x="599" y="129"/>
                  </a:lnTo>
                  <a:lnTo>
                    <a:pt x="600" y="129"/>
                  </a:lnTo>
                  <a:lnTo>
                    <a:pt x="599" y="129"/>
                  </a:lnTo>
                  <a:lnTo>
                    <a:pt x="599" y="127"/>
                  </a:lnTo>
                  <a:lnTo>
                    <a:pt x="599" y="129"/>
                  </a:lnTo>
                  <a:lnTo>
                    <a:pt x="599" y="127"/>
                  </a:lnTo>
                  <a:lnTo>
                    <a:pt x="600" y="127"/>
                  </a:lnTo>
                  <a:lnTo>
                    <a:pt x="602" y="127"/>
                  </a:lnTo>
                  <a:lnTo>
                    <a:pt x="602" y="125"/>
                  </a:lnTo>
                  <a:lnTo>
                    <a:pt x="602" y="127"/>
                  </a:lnTo>
                  <a:lnTo>
                    <a:pt x="602" y="125"/>
                  </a:lnTo>
                  <a:lnTo>
                    <a:pt x="604" y="125"/>
                  </a:lnTo>
                  <a:lnTo>
                    <a:pt x="604" y="123"/>
                  </a:lnTo>
                  <a:lnTo>
                    <a:pt x="604" y="121"/>
                  </a:lnTo>
                  <a:lnTo>
                    <a:pt x="606" y="121"/>
                  </a:lnTo>
                  <a:lnTo>
                    <a:pt x="606" y="120"/>
                  </a:lnTo>
                  <a:lnTo>
                    <a:pt x="608" y="120"/>
                  </a:lnTo>
                  <a:lnTo>
                    <a:pt x="608" y="121"/>
                  </a:lnTo>
                  <a:lnTo>
                    <a:pt x="608" y="120"/>
                  </a:lnTo>
                  <a:lnTo>
                    <a:pt x="610" y="120"/>
                  </a:lnTo>
                  <a:lnTo>
                    <a:pt x="610" y="121"/>
                  </a:lnTo>
                  <a:lnTo>
                    <a:pt x="610" y="120"/>
                  </a:lnTo>
                  <a:lnTo>
                    <a:pt x="610" y="121"/>
                  </a:lnTo>
                  <a:lnTo>
                    <a:pt x="610" y="120"/>
                  </a:lnTo>
                  <a:lnTo>
                    <a:pt x="610" y="121"/>
                  </a:lnTo>
                  <a:lnTo>
                    <a:pt x="612" y="121"/>
                  </a:lnTo>
                  <a:lnTo>
                    <a:pt x="610" y="121"/>
                  </a:lnTo>
                  <a:lnTo>
                    <a:pt x="610" y="120"/>
                  </a:lnTo>
                  <a:lnTo>
                    <a:pt x="612" y="120"/>
                  </a:lnTo>
                  <a:lnTo>
                    <a:pt x="614" y="120"/>
                  </a:lnTo>
                  <a:lnTo>
                    <a:pt x="614" y="118"/>
                  </a:lnTo>
                  <a:lnTo>
                    <a:pt x="614" y="120"/>
                  </a:lnTo>
                  <a:lnTo>
                    <a:pt x="616" y="120"/>
                  </a:lnTo>
                  <a:lnTo>
                    <a:pt x="614" y="120"/>
                  </a:lnTo>
                  <a:lnTo>
                    <a:pt x="614" y="118"/>
                  </a:lnTo>
                  <a:lnTo>
                    <a:pt x="616" y="118"/>
                  </a:lnTo>
                  <a:lnTo>
                    <a:pt x="618" y="118"/>
                  </a:lnTo>
                  <a:lnTo>
                    <a:pt x="618" y="116"/>
                  </a:lnTo>
                  <a:lnTo>
                    <a:pt x="618" y="118"/>
                  </a:lnTo>
                  <a:lnTo>
                    <a:pt x="618" y="116"/>
                  </a:lnTo>
                  <a:lnTo>
                    <a:pt x="618" y="114"/>
                  </a:lnTo>
                  <a:lnTo>
                    <a:pt x="618" y="112"/>
                  </a:lnTo>
                  <a:lnTo>
                    <a:pt x="620" y="112"/>
                  </a:lnTo>
                  <a:lnTo>
                    <a:pt x="622" y="112"/>
                  </a:lnTo>
                  <a:lnTo>
                    <a:pt x="622" y="110"/>
                  </a:lnTo>
                  <a:lnTo>
                    <a:pt x="624" y="110"/>
                  </a:lnTo>
                  <a:lnTo>
                    <a:pt x="625" y="110"/>
                  </a:lnTo>
                  <a:lnTo>
                    <a:pt x="627" y="110"/>
                  </a:lnTo>
                  <a:lnTo>
                    <a:pt x="627" y="108"/>
                  </a:lnTo>
                  <a:lnTo>
                    <a:pt x="627" y="110"/>
                  </a:lnTo>
                  <a:lnTo>
                    <a:pt x="627" y="108"/>
                  </a:lnTo>
                  <a:lnTo>
                    <a:pt x="629" y="108"/>
                  </a:lnTo>
                  <a:lnTo>
                    <a:pt x="629" y="110"/>
                  </a:lnTo>
                  <a:lnTo>
                    <a:pt x="631" y="110"/>
                  </a:lnTo>
                  <a:lnTo>
                    <a:pt x="631" y="112"/>
                  </a:lnTo>
                  <a:lnTo>
                    <a:pt x="633" y="112"/>
                  </a:lnTo>
                  <a:lnTo>
                    <a:pt x="635" y="112"/>
                  </a:lnTo>
                  <a:lnTo>
                    <a:pt x="635" y="114"/>
                  </a:lnTo>
                  <a:lnTo>
                    <a:pt x="637" y="114"/>
                  </a:lnTo>
                  <a:lnTo>
                    <a:pt x="639" y="114"/>
                  </a:lnTo>
                  <a:lnTo>
                    <a:pt x="641" y="114"/>
                  </a:lnTo>
                  <a:lnTo>
                    <a:pt x="641" y="116"/>
                  </a:lnTo>
                  <a:lnTo>
                    <a:pt x="643" y="116"/>
                  </a:lnTo>
                  <a:lnTo>
                    <a:pt x="645" y="116"/>
                  </a:lnTo>
                  <a:lnTo>
                    <a:pt x="645" y="118"/>
                  </a:lnTo>
                  <a:lnTo>
                    <a:pt x="647" y="118"/>
                  </a:lnTo>
                  <a:lnTo>
                    <a:pt x="648" y="118"/>
                  </a:lnTo>
                  <a:lnTo>
                    <a:pt x="648" y="120"/>
                  </a:lnTo>
                  <a:lnTo>
                    <a:pt x="650" y="120"/>
                  </a:lnTo>
                  <a:lnTo>
                    <a:pt x="652" y="120"/>
                  </a:lnTo>
                  <a:lnTo>
                    <a:pt x="652" y="121"/>
                  </a:lnTo>
                  <a:lnTo>
                    <a:pt x="654" y="121"/>
                  </a:lnTo>
                  <a:lnTo>
                    <a:pt x="656" y="121"/>
                  </a:lnTo>
                  <a:lnTo>
                    <a:pt x="658" y="121"/>
                  </a:lnTo>
                  <a:lnTo>
                    <a:pt x="660" y="121"/>
                  </a:lnTo>
                  <a:lnTo>
                    <a:pt x="662" y="121"/>
                  </a:lnTo>
                  <a:lnTo>
                    <a:pt x="662" y="123"/>
                  </a:lnTo>
                  <a:lnTo>
                    <a:pt x="664" y="123"/>
                  </a:lnTo>
                  <a:lnTo>
                    <a:pt x="666" y="123"/>
                  </a:lnTo>
                  <a:lnTo>
                    <a:pt x="668" y="123"/>
                  </a:lnTo>
                  <a:lnTo>
                    <a:pt x="670" y="123"/>
                  </a:lnTo>
                  <a:lnTo>
                    <a:pt x="670" y="125"/>
                  </a:lnTo>
                  <a:lnTo>
                    <a:pt x="671" y="125"/>
                  </a:lnTo>
                  <a:lnTo>
                    <a:pt x="673" y="125"/>
                  </a:lnTo>
                  <a:close/>
                  <a:moveTo>
                    <a:pt x="439" y="62"/>
                  </a:moveTo>
                  <a:lnTo>
                    <a:pt x="439" y="64"/>
                  </a:lnTo>
                  <a:lnTo>
                    <a:pt x="439" y="62"/>
                  </a:lnTo>
                  <a:lnTo>
                    <a:pt x="439" y="64"/>
                  </a:lnTo>
                  <a:lnTo>
                    <a:pt x="441" y="64"/>
                  </a:lnTo>
                  <a:lnTo>
                    <a:pt x="441" y="62"/>
                  </a:lnTo>
                  <a:lnTo>
                    <a:pt x="441" y="64"/>
                  </a:lnTo>
                  <a:lnTo>
                    <a:pt x="441" y="62"/>
                  </a:lnTo>
                  <a:lnTo>
                    <a:pt x="441" y="64"/>
                  </a:lnTo>
                  <a:lnTo>
                    <a:pt x="443" y="64"/>
                  </a:lnTo>
                  <a:lnTo>
                    <a:pt x="443" y="66"/>
                  </a:lnTo>
                  <a:lnTo>
                    <a:pt x="441" y="66"/>
                  </a:lnTo>
                  <a:lnTo>
                    <a:pt x="441" y="68"/>
                  </a:lnTo>
                  <a:lnTo>
                    <a:pt x="439" y="68"/>
                  </a:lnTo>
                  <a:lnTo>
                    <a:pt x="439" y="70"/>
                  </a:lnTo>
                  <a:lnTo>
                    <a:pt x="439" y="72"/>
                  </a:lnTo>
                  <a:lnTo>
                    <a:pt x="437" y="72"/>
                  </a:lnTo>
                  <a:lnTo>
                    <a:pt x="437" y="73"/>
                  </a:lnTo>
                  <a:lnTo>
                    <a:pt x="435" y="73"/>
                  </a:lnTo>
                  <a:lnTo>
                    <a:pt x="435" y="75"/>
                  </a:lnTo>
                  <a:lnTo>
                    <a:pt x="435" y="73"/>
                  </a:lnTo>
                  <a:lnTo>
                    <a:pt x="435" y="75"/>
                  </a:lnTo>
                  <a:lnTo>
                    <a:pt x="435" y="73"/>
                  </a:lnTo>
                  <a:lnTo>
                    <a:pt x="435" y="75"/>
                  </a:lnTo>
                  <a:lnTo>
                    <a:pt x="433" y="75"/>
                  </a:lnTo>
                  <a:lnTo>
                    <a:pt x="433" y="77"/>
                  </a:lnTo>
                  <a:lnTo>
                    <a:pt x="433" y="79"/>
                  </a:lnTo>
                  <a:lnTo>
                    <a:pt x="432" y="79"/>
                  </a:lnTo>
                  <a:lnTo>
                    <a:pt x="433" y="79"/>
                  </a:lnTo>
                  <a:lnTo>
                    <a:pt x="432" y="79"/>
                  </a:lnTo>
                  <a:lnTo>
                    <a:pt x="432" y="81"/>
                  </a:lnTo>
                  <a:lnTo>
                    <a:pt x="430" y="81"/>
                  </a:lnTo>
                  <a:lnTo>
                    <a:pt x="428" y="81"/>
                  </a:lnTo>
                  <a:lnTo>
                    <a:pt x="430" y="81"/>
                  </a:lnTo>
                  <a:lnTo>
                    <a:pt x="428" y="81"/>
                  </a:lnTo>
                  <a:lnTo>
                    <a:pt x="430" y="81"/>
                  </a:lnTo>
                  <a:lnTo>
                    <a:pt x="428" y="81"/>
                  </a:lnTo>
                  <a:lnTo>
                    <a:pt x="426" y="81"/>
                  </a:lnTo>
                  <a:lnTo>
                    <a:pt x="426" y="83"/>
                  </a:lnTo>
                  <a:lnTo>
                    <a:pt x="426" y="81"/>
                  </a:lnTo>
                  <a:lnTo>
                    <a:pt x="426" y="83"/>
                  </a:lnTo>
                  <a:lnTo>
                    <a:pt x="426" y="81"/>
                  </a:lnTo>
                  <a:lnTo>
                    <a:pt x="426" y="83"/>
                  </a:lnTo>
                  <a:lnTo>
                    <a:pt x="426" y="81"/>
                  </a:lnTo>
                  <a:lnTo>
                    <a:pt x="424" y="81"/>
                  </a:lnTo>
                  <a:lnTo>
                    <a:pt x="424" y="83"/>
                  </a:lnTo>
                  <a:lnTo>
                    <a:pt x="422" y="83"/>
                  </a:lnTo>
                  <a:lnTo>
                    <a:pt x="420" y="83"/>
                  </a:lnTo>
                  <a:lnTo>
                    <a:pt x="418" y="83"/>
                  </a:lnTo>
                  <a:lnTo>
                    <a:pt x="416" y="83"/>
                  </a:lnTo>
                  <a:lnTo>
                    <a:pt x="414" y="83"/>
                  </a:lnTo>
                  <a:lnTo>
                    <a:pt x="412" y="83"/>
                  </a:lnTo>
                  <a:lnTo>
                    <a:pt x="412" y="81"/>
                  </a:lnTo>
                  <a:lnTo>
                    <a:pt x="410" y="81"/>
                  </a:lnTo>
                  <a:lnTo>
                    <a:pt x="410" y="79"/>
                  </a:lnTo>
                  <a:lnTo>
                    <a:pt x="410" y="81"/>
                  </a:lnTo>
                  <a:lnTo>
                    <a:pt x="409" y="81"/>
                  </a:lnTo>
                  <a:lnTo>
                    <a:pt x="407" y="81"/>
                  </a:lnTo>
                  <a:lnTo>
                    <a:pt x="405" y="81"/>
                  </a:lnTo>
                  <a:lnTo>
                    <a:pt x="405" y="79"/>
                  </a:lnTo>
                  <a:lnTo>
                    <a:pt x="405" y="81"/>
                  </a:lnTo>
                  <a:lnTo>
                    <a:pt x="405" y="79"/>
                  </a:lnTo>
                  <a:lnTo>
                    <a:pt x="405" y="81"/>
                  </a:lnTo>
                  <a:lnTo>
                    <a:pt x="403" y="81"/>
                  </a:lnTo>
                  <a:lnTo>
                    <a:pt x="403" y="79"/>
                  </a:lnTo>
                  <a:lnTo>
                    <a:pt x="403" y="81"/>
                  </a:lnTo>
                  <a:lnTo>
                    <a:pt x="403" y="79"/>
                  </a:lnTo>
                  <a:lnTo>
                    <a:pt x="403" y="81"/>
                  </a:lnTo>
                  <a:lnTo>
                    <a:pt x="403" y="79"/>
                  </a:lnTo>
                  <a:lnTo>
                    <a:pt x="403" y="81"/>
                  </a:lnTo>
                  <a:lnTo>
                    <a:pt x="403" y="79"/>
                  </a:lnTo>
                  <a:lnTo>
                    <a:pt x="403" y="81"/>
                  </a:lnTo>
                  <a:lnTo>
                    <a:pt x="403" y="79"/>
                  </a:lnTo>
                  <a:lnTo>
                    <a:pt x="401" y="79"/>
                  </a:lnTo>
                  <a:lnTo>
                    <a:pt x="403" y="79"/>
                  </a:lnTo>
                  <a:lnTo>
                    <a:pt x="401" y="79"/>
                  </a:lnTo>
                  <a:lnTo>
                    <a:pt x="401" y="81"/>
                  </a:lnTo>
                  <a:lnTo>
                    <a:pt x="401" y="79"/>
                  </a:lnTo>
                  <a:lnTo>
                    <a:pt x="401" y="81"/>
                  </a:lnTo>
                  <a:lnTo>
                    <a:pt x="401" y="79"/>
                  </a:lnTo>
                  <a:lnTo>
                    <a:pt x="401" y="81"/>
                  </a:lnTo>
                  <a:lnTo>
                    <a:pt x="401" y="79"/>
                  </a:lnTo>
                  <a:lnTo>
                    <a:pt x="401" y="81"/>
                  </a:lnTo>
                  <a:lnTo>
                    <a:pt x="399" y="81"/>
                  </a:lnTo>
                  <a:lnTo>
                    <a:pt x="401" y="81"/>
                  </a:lnTo>
                  <a:lnTo>
                    <a:pt x="399" y="81"/>
                  </a:lnTo>
                  <a:lnTo>
                    <a:pt x="397" y="81"/>
                  </a:lnTo>
                  <a:lnTo>
                    <a:pt x="395" y="81"/>
                  </a:lnTo>
                  <a:lnTo>
                    <a:pt x="393" y="81"/>
                  </a:lnTo>
                  <a:lnTo>
                    <a:pt x="391" y="81"/>
                  </a:lnTo>
                  <a:lnTo>
                    <a:pt x="391" y="79"/>
                  </a:lnTo>
                  <a:lnTo>
                    <a:pt x="389" y="79"/>
                  </a:lnTo>
                  <a:lnTo>
                    <a:pt x="387" y="79"/>
                  </a:lnTo>
                  <a:lnTo>
                    <a:pt x="389" y="79"/>
                  </a:lnTo>
                  <a:lnTo>
                    <a:pt x="387" y="79"/>
                  </a:lnTo>
                  <a:lnTo>
                    <a:pt x="389" y="79"/>
                  </a:lnTo>
                  <a:lnTo>
                    <a:pt x="387" y="79"/>
                  </a:lnTo>
                  <a:lnTo>
                    <a:pt x="389" y="79"/>
                  </a:lnTo>
                  <a:lnTo>
                    <a:pt x="387" y="79"/>
                  </a:lnTo>
                  <a:lnTo>
                    <a:pt x="387" y="81"/>
                  </a:lnTo>
                  <a:lnTo>
                    <a:pt x="386" y="81"/>
                  </a:lnTo>
                  <a:lnTo>
                    <a:pt x="384" y="81"/>
                  </a:lnTo>
                  <a:lnTo>
                    <a:pt x="382" y="81"/>
                  </a:lnTo>
                  <a:lnTo>
                    <a:pt x="380" y="81"/>
                  </a:lnTo>
                  <a:lnTo>
                    <a:pt x="378" y="81"/>
                  </a:lnTo>
                  <a:lnTo>
                    <a:pt x="376" y="81"/>
                  </a:lnTo>
                  <a:lnTo>
                    <a:pt x="376" y="79"/>
                  </a:lnTo>
                  <a:lnTo>
                    <a:pt x="374" y="79"/>
                  </a:lnTo>
                  <a:lnTo>
                    <a:pt x="374" y="81"/>
                  </a:lnTo>
                  <a:lnTo>
                    <a:pt x="372" y="81"/>
                  </a:lnTo>
                  <a:lnTo>
                    <a:pt x="370" y="81"/>
                  </a:lnTo>
                  <a:lnTo>
                    <a:pt x="370" y="83"/>
                  </a:lnTo>
                  <a:lnTo>
                    <a:pt x="368" y="83"/>
                  </a:lnTo>
                  <a:lnTo>
                    <a:pt x="368" y="85"/>
                  </a:lnTo>
                  <a:lnTo>
                    <a:pt x="368" y="87"/>
                  </a:lnTo>
                  <a:lnTo>
                    <a:pt x="368" y="89"/>
                  </a:lnTo>
                  <a:lnTo>
                    <a:pt x="366" y="89"/>
                  </a:lnTo>
                  <a:lnTo>
                    <a:pt x="366" y="91"/>
                  </a:lnTo>
                  <a:lnTo>
                    <a:pt x="366" y="93"/>
                  </a:lnTo>
                  <a:lnTo>
                    <a:pt x="366" y="95"/>
                  </a:lnTo>
                  <a:lnTo>
                    <a:pt x="366" y="93"/>
                  </a:lnTo>
                  <a:lnTo>
                    <a:pt x="366" y="95"/>
                  </a:lnTo>
                  <a:lnTo>
                    <a:pt x="366" y="96"/>
                  </a:lnTo>
                  <a:lnTo>
                    <a:pt x="366" y="98"/>
                  </a:lnTo>
                  <a:lnTo>
                    <a:pt x="368" y="98"/>
                  </a:lnTo>
                  <a:lnTo>
                    <a:pt x="368" y="100"/>
                  </a:lnTo>
                  <a:lnTo>
                    <a:pt x="370" y="100"/>
                  </a:lnTo>
                  <a:lnTo>
                    <a:pt x="368" y="100"/>
                  </a:lnTo>
                  <a:lnTo>
                    <a:pt x="370" y="100"/>
                  </a:lnTo>
                  <a:lnTo>
                    <a:pt x="370" y="102"/>
                  </a:lnTo>
                  <a:lnTo>
                    <a:pt x="372" y="102"/>
                  </a:lnTo>
                  <a:lnTo>
                    <a:pt x="372" y="100"/>
                  </a:lnTo>
                  <a:lnTo>
                    <a:pt x="372" y="102"/>
                  </a:lnTo>
                  <a:lnTo>
                    <a:pt x="374" y="102"/>
                  </a:lnTo>
                  <a:lnTo>
                    <a:pt x="374" y="104"/>
                  </a:lnTo>
                  <a:lnTo>
                    <a:pt x="374" y="106"/>
                  </a:lnTo>
                  <a:lnTo>
                    <a:pt x="376" y="106"/>
                  </a:lnTo>
                  <a:lnTo>
                    <a:pt x="376" y="108"/>
                  </a:lnTo>
                  <a:lnTo>
                    <a:pt x="378" y="108"/>
                  </a:lnTo>
                  <a:lnTo>
                    <a:pt x="380" y="108"/>
                  </a:lnTo>
                  <a:lnTo>
                    <a:pt x="382" y="108"/>
                  </a:lnTo>
                  <a:lnTo>
                    <a:pt x="384" y="108"/>
                  </a:lnTo>
                  <a:lnTo>
                    <a:pt x="382" y="108"/>
                  </a:lnTo>
                  <a:lnTo>
                    <a:pt x="384" y="108"/>
                  </a:lnTo>
                  <a:lnTo>
                    <a:pt x="384" y="106"/>
                  </a:lnTo>
                  <a:lnTo>
                    <a:pt x="384" y="104"/>
                  </a:lnTo>
                  <a:lnTo>
                    <a:pt x="386" y="104"/>
                  </a:lnTo>
                  <a:lnTo>
                    <a:pt x="386" y="102"/>
                  </a:lnTo>
                  <a:lnTo>
                    <a:pt x="387" y="102"/>
                  </a:lnTo>
                  <a:lnTo>
                    <a:pt x="387" y="100"/>
                  </a:lnTo>
                  <a:lnTo>
                    <a:pt x="389" y="100"/>
                  </a:lnTo>
                  <a:lnTo>
                    <a:pt x="389" y="98"/>
                  </a:lnTo>
                  <a:lnTo>
                    <a:pt x="391" y="98"/>
                  </a:lnTo>
                  <a:lnTo>
                    <a:pt x="391" y="100"/>
                  </a:lnTo>
                  <a:lnTo>
                    <a:pt x="389" y="100"/>
                  </a:lnTo>
                  <a:lnTo>
                    <a:pt x="391" y="100"/>
                  </a:lnTo>
                  <a:lnTo>
                    <a:pt x="391" y="102"/>
                  </a:lnTo>
                  <a:lnTo>
                    <a:pt x="393" y="102"/>
                  </a:lnTo>
                  <a:lnTo>
                    <a:pt x="395" y="102"/>
                  </a:lnTo>
                  <a:lnTo>
                    <a:pt x="395" y="100"/>
                  </a:lnTo>
                  <a:lnTo>
                    <a:pt x="395" y="102"/>
                  </a:lnTo>
                  <a:lnTo>
                    <a:pt x="397" y="102"/>
                  </a:lnTo>
                  <a:lnTo>
                    <a:pt x="397" y="100"/>
                  </a:lnTo>
                  <a:lnTo>
                    <a:pt x="397" y="98"/>
                  </a:lnTo>
                  <a:lnTo>
                    <a:pt x="397" y="100"/>
                  </a:lnTo>
                  <a:lnTo>
                    <a:pt x="399" y="100"/>
                  </a:lnTo>
                  <a:lnTo>
                    <a:pt x="399" y="98"/>
                  </a:lnTo>
                  <a:lnTo>
                    <a:pt x="401" y="98"/>
                  </a:lnTo>
                  <a:lnTo>
                    <a:pt x="403" y="98"/>
                  </a:lnTo>
                  <a:lnTo>
                    <a:pt x="405" y="98"/>
                  </a:lnTo>
                  <a:lnTo>
                    <a:pt x="405" y="100"/>
                  </a:lnTo>
                  <a:lnTo>
                    <a:pt x="405" y="98"/>
                  </a:lnTo>
                  <a:lnTo>
                    <a:pt x="407" y="98"/>
                  </a:lnTo>
                  <a:lnTo>
                    <a:pt x="407" y="100"/>
                  </a:lnTo>
                  <a:lnTo>
                    <a:pt x="407" y="98"/>
                  </a:lnTo>
                  <a:lnTo>
                    <a:pt x="409" y="98"/>
                  </a:lnTo>
                  <a:lnTo>
                    <a:pt x="407" y="98"/>
                  </a:lnTo>
                  <a:lnTo>
                    <a:pt x="407" y="96"/>
                  </a:lnTo>
                  <a:lnTo>
                    <a:pt x="409" y="96"/>
                  </a:lnTo>
                  <a:lnTo>
                    <a:pt x="410" y="96"/>
                  </a:lnTo>
                  <a:lnTo>
                    <a:pt x="412" y="96"/>
                  </a:lnTo>
                  <a:lnTo>
                    <a:pt x="414" y="96"/>
                  </a:lnTo>
                  <a:lnTo>
                    <a:pt x="416" y="96"/>
                  </a:lnTo>
                  <a:lnTo>
                    <a:pt x="416" y="98"/>
                  </a:lnTo>
                  <a:lnTo>
                    <a:pt x="416" y="100"/>
                  </a:lnTo>
                  <a:lnTo>
                    <a:pt x="416" y="102"/>
                  </a:lnTo>
                  <a:lnTo>
                    <a:pt x="414" y="102"/>
                  </a:lnTo>
                  <a:lnTo>
                    <a:pt x="412" y="102"/>
                  </a:lnTo>
                  <a:lnTo>
                    <a:pt x="412" y="100"/>
                  </a:lnTo>
                  <a:lnTo>
                    <a:pt x="410" y="100"/>
                  </a:lnTo>
                  <a:lnTo>
                    <a:pt x="409" y="100"/>
                  </a:lnTo>
                  <a:lnTo>
                    <a:pt x="407" y="100"/>
                  </a:lnTo>
                  <a:lnTo>
                    <a:pt x="407" y="102"/>
                  </a:lnTo>
                  <a:lnTo>
                    <a:pt x="407" y="104"/>
                  </a:lnTo>
                  <a:lnTo>
                    <a:pt x="405" y="104"/>
                  </a:lnTo>
                  <a:lnTo>
                    <a:pt x="405" y="106"/>
                  </a:lnTo>
                  <a:lnTo>
                    <a:pt x="403" y="106"/>
                  </a:lnTo>
                  <a:lnTo>
                    <a:pt x="403" y="108"/>
                  </a:lnTo>
                  <a:lnTo>
                    <a:pt x="401" y="108"/>
                  </a:lnTo>
                  <a:lnTo>
                    <a:pt x="401" y="110"/>
                  </a:lnTo>
                  <a:lnTo>
                    <a:pt x="399" y="110"/>
                  </a:lnTo>
                  <a:lnTo>
                    <a:pt x="399" y="112"/>
                  </a:lnTo>
                  <a:lnTo>
                    <a:pt x="397" y="112"/>
                  </a:lnTo>
                  <a:lnTo>
                    <a:pt x="397" y="110"/>
                  </a:lnTo>
                  <a:lnTo>
                    <a:pt x="397" y="112"/>
                  </a:lnTo>
                  <a:lnTo>
                    <a:pt x="395" y="112"/>
                  </a:lnTo>
                  <a:lnTo>
                    <a:pt x="393" y="112"/>
                  </a:lnTo>
                  <a:lnTo>
                    <a:pt x="393" y="114"/>
                  </a:lnTo>
                  <a:lnTo>
                    <a:pt x="391" y="114"/>
                  </a:lnTo>
                  <a:lnTo>
                    <a:pt x="391" y="116"/>
                  </a:lnTo>
                  <a:lnTo>
                    <a:pt x="389" y="116"/>
                  </a:lnTo>
                  <a:lnTo>
                    <a:pt x="387" y="116"/>
                  </a:lnTo>
                  <a:lnTo>
                    <a:pt x="387" y="114"/>
                  </a:lnTo>
                  <a:lnTo>
                    <a:pt x="387" y="116"/>
                  </a:lnTo>
                  <a:lnTo>
                    <a:pt x="387" y="114"/>
                  </a:lnTo>
                  <a:lnTo>
                    <a:pt x="386" y="114"/>
                  </a:lnTo>
                  <a:lnTo>
                    <a:pt x="386" y="116"/>
                  </a:lnTo>
                  <a:lnTo>
                    <a:pt x="386" y="114"/>
                  </a:lnTo>
                  <a:lnTo>
                    <a:pt x="386" y="116"/>
                  </a:lnTo>
                  <a:lnTo>
                    <a:pt x="386" y="118"/>
                  </a:lnTo>
                  <a:lnTo>
                    <a:pt x="386" y="116"/>
                  </a:lnTo>
                  <a:lnTo>
                    <a:pt x="387" y="116"/>
                  </a:lnTo>
                  <a:lnTo>
                    <a:pt x="387" y="118"/>
                  </a:lnTo>
                  <a:lnTo>
                    <a:pt x="389" y="118"/>
                  </a:lnTo>
                  <a:lnTo>
                    <a:pt x="389" y="120"/>
                  </a:lnTo>
                  <a:lnTo>
                    <a:pt x="391" y="120"/>
                  </a:lnTo>
                  <a:lnTo>
                    <a:pt x="391" y="121"/>
                  </a:lnTo>
                  <a:lnTo>
                    <a:pt x="393" y="121"/>
                  </a:lnTo>
                  <a:lnTo>
                    <a:pt x="393" y="123"/>
                  </a:lnTo>
                  <a:lnTo>
                    <a:pt x="395" y="123"/>
                  </a:lnTo>
                  <a:lnTo>
                    <a:pt x="395" y="125"/>
                  </a:lnTo>
                  <a:lnTo>
                    <a:pt x="395" y="127"/>
                  </a:lnTo>
                  <a:lnTo>
                    <a:pt x="395" y="125"/>
                  </a:lnTo>
                  <a:lnTo>
                    <a:pt x="395" y="127"/>
                  </a:lnTo>
                  <a:lnTo>
                    <a:pt x="397" y="127"/>
                  </a:lnTo>
                  <a:lnTo>
                    <a:pt x="397" y="129"/>
                  </a:lnTo>
                  <a:lnTo>
                    <a:pt x="399" y="129"/>
                  </a:lnTo>
                  <a:lnTo>
                    <a:pt x="399" y="131"/>
                  </a:lnTo>
                  <a:lnTo>
                    <a:pt x="401" y="131"/>
                  </a:lnTo>
                  <a:lnTo>
                    <a:pt x="399" y="131"/>
                  </a:lnTo>
                  <a:lnTo>
                    <a:pt x="399" y="133"/>
                  </a:lnTo>
                  <a:lnTo>
                    <a:pt x="401" y="133"/>
                  </a:lnTo>
                  <a:lnTo>
                    <a:pt x="403" y="133"/>
                  </a:lnTo>
                  <a:lnTo>
                    <a:pt x="401" y="133"/>
                  </a:lnTo>
                  <a:lnTo>
                    <a:pt x="403" y="133"/>
                  </a:lnTo>
                  <a:lnTo>
                    <a:pt x="403" y="135"/>
                  </a:lnTo>
                  <a:lnTo>
                    <a:pt x="401" y="135"/>
                  </a:lnTo>
                  <a:lnTo>
                    <a:pt x="399" y="135"/>
                  </a:lnTo>
                  <a:lnTo>
                    <a:pt x="399" y="137"/>
                  </a:lnTo>
                  <a:lnTo>
                    <a:pt x="401" y="137"/>
                  </a:lnTo>
                  <a:lnTo>
                    <a:pt x="401" y="139"/>
                  </a:lnTo>
                  <a:lnTo>
                    <a:pt x="401" y="137"/>
                  </a:lnTo>
                  <a:lnTo>
                    <a:pt x="399" y="137"/>
                  </a:lnTo>
                  <a:lnTo>
                    <a:pt x="399" y="139"/>
                  </a:lnTo>
                  <a:lnTo>
                    <a:pt x="399" y="141"/>
                  </a:lnTo>
                  <a:lnTo>
                    <a:pt x="399" y="139"/>
                  </a:lnTo>
                  <a:lnTo>
                    <a:pt x="399" y="141"/>
                  </a:lnTo>
                  <a:lnTo>
                    <a:pt x="399" y="139"/>
                  </a:lnTo>
                  <a:lnTo>
                    <a:pt x="399" y="141"/>
                  </a:lnTo>
                  <a:lnTo>
                    <a:pt x="399" y="139"/>
                  </a:lnTo>
                  <a:lnTo>
                    <a:pt x="399" y="141"/>
                  </a:lnTo>
                  <a:lnTo>
                    <a:pt x="399" y="143"/>
                  </a:lnTo>
                  <a:lnTo>
                    <a:pt x="401" y="143"/>
                  </a:lnTo>
                  <a:lnTo>
                    <a:pt x="403" y="143"/>
                  </a:lnTo>
                  <a:lnTo>
                    <a:pt x="403" y="144"/>
                  </a:lnTo>
                  <a:lnTo>
                    <a:pt x="403" y="143"/>
                  </a:lnTo>
                  <a:lnTo>
                    <a:pt x="403" y="144"/>
                  </a:lnTo>
                  <a:lnTo>
                    <a:pt x="403" y="143"/>
                  </a:lnTo>
                  <a:lnTo>
                    <a:pt x="403" y="144"/>
                  </a:lnTo>
                  <a:lnTo>
                    <a:pt x="405" y="144"/>
                  </a:lnTo>
                  <a:lnTo>
                    <a:pt x="403" y="144"/>
                  </a:lnTo>
                  <a:lnTo>
                    <a:pt x="405" y="144"/>
                  </a:lnTo>
                  <a:lnTo>
                    <a:pt x="405" y="146"/>
                  </a:lnTo>
                  <a:lnTo>
                    <a:pt x="403" y="146"/>
                  </a:lnTo>
                  <a:lnTo>
                    <a:pt x="405" y="146"/>
                  </a:lnTo>
                  <a:lnTo>
                    <a:pt x="405" y="148"/>
                  </a:lnTo>
                  <a:lnTo>
                    <a:pt x="407" y="148"/>
                  </a:lnTo>
                  <a:lnTo>
                    <a:pt x="405" y="148"/>
                  </a:lnTo>
                  <a:lnTo>
                    <a:pt x="407" y="148"/>
                  </a:lnTo>
                  <a:lnTo>
                    <a:pt x="405" y="148"/>
                  </a:lnTo>
                  <a:lnTo>
                    <a:pt x="407" y="148"/>
                  </a:lnTo>
                  <a:lnTo>
                    <a:pt x="407" y="146"/>
                  </a:lnTo>
                  <a:lnTo>
                    <a:pt x="409" y="146"/>
                  </a:lnTo>
                  <a:lnTo>
                    <a:pt x="409" y="148"/>
                  </a:lnTo>
                  <a:lnTo>
                    <a:pt x="409" y="150"/>
                  </a:lnTo>
                  <a:lnTo>
                    <a:pt x="409" y="152"/>
                  </a:lnTo>
                  <a:lnTo>
                    <a:pt x="407" y="152"/>
                  </a:lnTo>
                  <a:lnTo>
                    <a:pt x="409" y="152"/>
                  </a:lnTo>
                  <a:lnTo>
                    <a:pt x="407" y="152"/>
                  </a:lnTo>
                  <a:lnTo>
                    <a:pt x="409" y="152"/>
                  </a:lnTo>
                  <a:lnTo>
                    <a:pt x="407" y="152"/>
                  </a:lnTo>
                  <a:lnTo>
                    <a:pt x="407" y="150"/>
                  </a:lnTo>
                  <a:lnTo>
                    <a:pt x="405" y="150"/>
                  </a:lnTo>
                  <a:lnTo>
                    <a:pt x="405" y="152"/>
                  </a:lnTo>
                  <a:lnTo>
                    <a:pt x="407" y="152"/>
                  </a:lnTo>
                  <a:lnTo>
                    <a:pt x="407" y="154"/>
                  </a:lnTo>
                  <a:lnTo>
                    <a:pt x="405" y="154"/>
                  </a:lnTo>
                  <a:lnTo>
                    <a:pt x="407" y="154"/>
                  </a:lnTo>
                  <a:lnTo>
                    <a:pt x="405" y="154"/>
                  </a:lnTo>
                  <a:lnTo>
                    <a:pt x="405" y="152"/>
                  </a:lnTo>
                  <a:lnTo>
                    <a:pt x="405" y="154"/>
                  </a:lnTo>
                  <a:lnTo>
                    <a:pt x="405" y="152"/>
                  </a:lnTo>
                  <a:lnTo>
                    <a:pt x="403" y="152"/>
                  </a:lnTo>
                  <a:lnTo>
                    <a:pt x="401" y="152"/>
                  </a:lnTo>
                  <a:lnTo>
                    <a:pt x="403" y="152"/>
                  </a:lnTo>
                  <a:lnTo>
                    <a:pt x="401" y="152"/>
                  </a:lnTo>
                  <a:lnTo>
                    <a:pt x="399" y="152"/>
                  </a:lnTo>
                  <a:lnTo>
                    <a:pt x="399" y="154"/>
                  </a:lnTo>
                  <a:lnTo>
                    <a:pt x="399" y="152"/>
                  </a:lnTo>
                  <a:lnTo>
                    <a:pt x="399" y="154"/>
                  </a:lnTo>
                  <a:lnTo>
                    <a:pt x="399" y="152"/>
                  </a:lnTo>
                  <a:lnTo>
                    <a:pt x="399" y="154"/>
                  </a:lnTo>
                  <a:lnTo>
                    <a:pt x="397" y="154"/>
                  </a:lnTo>
                  <a:lnTo>
                    <a:pt x="397" y="156"/>
                  </a:lnTo>
                  <a:lnTo>
                    <a:pt x="395" y="156"/>
                  </a:lnTo>
                  <a:lnTo>
                    <a:pt x="397" y="156"/>
                  </a:lnTo>
                  <a:lnTo>
                    <a:pt x="395" y="156"/>
                  </a:lnTo>
                  <a:lnTo>
                    <a:pt x="395" y="158"/>
                  </a:lnTo>
                  <a:lnTo>
                    <a:pt x="397" y="158"/>
                  </a:lnTo>
                  <a:lnTo>
                    <a:pt x="395" y="158"/>
                  </a:lnTo>
                  <a:lnTo>
                    <a:pt x="395" y="160"/>
                  </a:lnTo>
                  <a:lnTo>
                    <a:pt x="395" y="158"/>
                  </a:lnTo>
                  <a:lnTo>
                    <a:pt x="395" y="160"/>
                  </a:lnTo>
                  <a:lnTo>
                    <a:pt x="393" y="160"/>
                  </a:lnTo>
                  <a:lnTo>
                    <a:pt x="393" y="158"/>
                  </a:lnTo>
                  <a:lnTo>
                    <a:pt x="391" y="158"/>
                  </a:lnTo>
                  <a:lnTo>
                    <a:pt x="389" y="158"/>
                  </a:lnTo>
                  <a:lnTo>
                    <a:pt x="387" y="158"/>
                  </a:lnTo>
                  <a:lnTo>
                    <a:pt x="387" y="156"/>
                  </a:lnTo>
                  <a:lnTo>
                    <a:pt x="387" y="154"/>
                  </a:lnTo>
                  <a:lnTo>
                    <a:pt x="387" y="152"/>
                  </a:lnTo>
                  <a:lnTo>
                    <a:pt x="387" y="150"/>
                  </a:lnTo>
                  <a:lnTo>
                    <a:pt x="389" y="150"/>
                  </a:lnTo>
                  <a:lnTo>
                    <a:pt x="387" y="150"/>
                  </a:lnTo>
                  <a:lnTo>
                    <a:pt x="389" y="150"/>
                  </a:lnTo>
                  <a:lnTo>
                    <a:pt x="389" y="148"/>
                  </a:lnTo>
                  <a:lnTo>
                    <a:pt x="389" y="146"/>
                  </a:lnTo>
                  <a:lnTo>
                    <a:pt x="387" y="146"/>
                  </a:lnTo>
                  <a:lnTo>
                    <a:pt x="386" y="146"/>
                  </a:lnTo>
                  <a:lnTo>
                    <a:pt x="386" y="144"/>
                  </a:lnTo>
                  <a:lnTo>
                    <a:pt x="384" y="144"/>
                  </a:lnTo>
                  <a:lnTo>
                    <a:pt x="384" y="143"/>
                  </a:lnTo>
                  <a:lnTo>
                    <a:pt x="384" y="144"/>
                  </a:lnTo>
                  <a:lnTo>
                    <a:pt x="384" y="143"/>
                  </a:lnTo>
                  <a:lnTo>
                    <a:pt x="382" y="143"/>
                  </a:lnTo>
                  <a:lnTo>
                    <a:pt x="382" y="141"/>
                  </a:lnTo>
                  <a:lnTo>
                    <a:pt x="380" y="141"/>
                  </a:lnTo>
                  <a:lnTo>
                    <a:pt x="380" y="139"/>
                  </a:lnTo>
                  <a:lnTo>
                    <a:pt x="378" y="139"/>
                  </a:lnTo>
                  <a:lnTo>
                    <a:pt x="380" y="139"/>
                  </a:lnTo>
                  <a:lnTo>
                    <a:pt x="378" y="139"/>
                  </a:lnTo>
                  <a:lnTo>
                    <a:pt x="380" y="139"/>
                  </a:lnTo>
                  <a:lnTo>
                    <a:pt x="378" y="139"/>
                  </a:lnTo>
                  <a:lnTo>
                    <a:pt x="378" y="137"/>
                  </a:lnTo>
                  <a:lnTo>
                    <a:pt x="380" y="137"/>
                  </a:lnTo>
                  <a:lnTo>
                    <a:pt x="380" y="135"/>
                  </a:lnTo>
                  <a:lnTo>
                    <a:pt x="382" y="135"/>
                  </a:lnTo>
                  <a:lnTo>
                    <a:pt x="382" y="133"/>
                  </a:lnTo>
                  <a:lnTo>
                    <a:pt x="382" y="131"/>
                  </a:lnTo>
                  <a:lnTo>
                    <a:pt x="382" y="129"/>
                  </a:lnTo>
                  <a:lnTo>
                    <a:pt x="380" y="129"/>
                  </a:lnTo>
                  <a:lnTo>
                    <a:pt x="382" y="129"/>
                  </a:lnTo>
                  <a:lnTo>
                    <a:pt x="380" y="129"/>
                  </a:lnTo>
                  <a:lnTo>
                    <a:pt x="382" y="129"/>
                  </a:lnTo>
                  <a:lnTo>
                    <a:pt x="382" y="127"/>
                  </a:lnTo>
                  <a:lnTo>
                    <a:pt x="380" y="127"/>
                  </a:lnTo>
                  <a:lnTo>
                    <a:pt x="380" y="125"/>
                  </a:lnTo>
                  <a:lnTo>
                    <a:pt x="378" y="125"/>
                  </a:lnTo>
                  <a:lnTo>
                    <a:pt x="378" y="127"/>
                  </a:lnTo>
                  <a:lnTo>
                    <a:pt x="378" y="125"/>
                  </a:lnTo>
                  <a:lnTo>
                    <a:pt x="376" y="125"/>
                  </a:lnTo>
                  <a:lnTo>
                    <a:pt x="376" y="127"/>
                  </a:lnTo>
                  <a:lnTo>
                    <a:pt x="374" y="127"/>
                  </a:lnTo>
                  <a:lnTo>
                    <a:pt x="374" y="129"/>
                  </a:lnTo>
                  <a:lnTo>
                    <a:pt x="372" y="129"/>
                  </a:lnTo>
                  <a:lnTo>
                    <a:pt x="370" y="129"/>
                  </a:lnTo>
                  <a:lnTo>
                    <a:pt x="370" y="131"/>
                  </a:lnTo>
                  <a:lnTo>
                    <a:pt x="370" y="129"/>
                  </a:lnTo>
                  <a:lnTo>
                    <a:pt x="370" y="131"/>
                  </a:lnTo>
                  <a:lnTo>
                    <a:pt x="368" y="131"/>
                  </a:lnTo>
                  <a:lnTo>
                    <a:pt x="370" y="131"/>
                  </a:lnTo>
                  <a:lnTo>
                    <a:pt x="370" y="133"/>
                  </a:lnTo>
                  <a:lnTo>
                    <a:pt x="370" y="135"/>
                  </a:lnTo>
                  <a:lnTo>
                    <a:pt x="372" y="135"/>
                  </a:lnTo>
                  <a:lnTo>
                    <a:pt x="372" y="137"/>
                  </a:lnTo>
                  <a:lnTo>
                    <a:pt x="372" y="139"/>
                  </a:lnTo>
                  <a:lnTo>
                    <a:pt x="372" y="141"/>
                  </a:lnTo>
                  <a:lnTo>
                    <a:pt x="372" y="143"/>
                  </a:lnTo>
                  <a:lnTo>
                    <a:pt x="372" y="144"/>
                  </a:lnTo>
                  <a:lnTo>
                    <a:pt x="370" y="144"/>
                  </a:lnTo>
                  <a:lnTo>
                    <a:pt x="372" y="146"/>
                  </a:lnTo>
                  <a:lnTo>
                    <a:pt x="370" y="146"/>
                  </a:lnTo>
                  <a:lnTo>
                    <a:pt x="372" y="146"/>
                  </a:lnTo>
                  <a:lnTo>
                    <a:pt x="370" y="146"/>
                  </a:lnTo>
                  <a:lnTo>
                    <a:pt x="370" y="148"/>
                  </a:lnTo>
                  <a:lnTo>
                    <a:pt x="372" y="148"/>
                  </a:lnTo>
                  <a:lnTo>
                    <a:pt x="370" y="148"/>
                  </a:lnTo>
                  <a:lnTo>
                    <a:pt x="372" y="148"/>
                  </a:lnTo>
                  <a:lnTo>
                    <a:pt x="372" y="150"/>
                  </a:lnTo>
                  <a:lnTo>
                    <a:pt x="372" y="152"/>
                  </a:lnTo>
                  <a:lnTo>
                    <a:pt x="372" y="154"/>
                  </a:lnTo>
                  <a:lnTo>
                    <a:pt x="372" y="156"/>
                  </a:lnTo>
                  <a:lnTo>
                    <a:pt x="372" y="158"/>
                  </a:lnTo>
                  <a:lnTo>
                    <a:pt x="370" y="158"/>
                  </a:lnTo>
                  <a:lnTo>
                    <a:pt x="370" y="160"/>
                  </a:lnTo>
                  <a:lnTo>
                    <a:pt x="370" y="162"/>
                  </a:lnTo>
                  <a:lnTo>
                    <a:pt x="370" y="164"/>
                  </a:lnTo>
                  <a:lnTo>
                    <a:pt x="370" y="166"/>
                  </a:lnTo>
                  <a:lnTo>
                    <a:pt x="372" y="166"/>
                  </a:lnTo>
                  <a:lnTo>
                    <a:pt x="372" y="168"/>
                  </a:lnTo>
                  <a:lnTo>
                    <a:pt x="372" y="169"/>
                  </a:lnTo>
                  <a:lnTo>
                    <a:pt x="372" y="168"/>
                  </a:lnTo>
                  <a:lnTo>
                    <a:pt x="370" y="168"/>
                  </a:lnTo>
                  <a:lnTo>
                    <a:pt x="370" y="169"/>
                  </a:lnTo>
                  <a:lnTo>
                    <a:pt x="368" y="169"/>
                  </a:lnTo>
                  <a:lnTo>
                    <a:pt x="366" y="169"/>
                  </a:lnTo>
                  <a:lnTo>
                    <a:pt x="364" y="169"/>
                  </a:lnTo>
                  <a:lnTo>
                    <a:pt x="364" y="171"/>
                  </a:lnTo>
                  <a:lnTo>
                    <a:pt x="364" y="169"/>
                  </a:lnTo>
                  <a:lnTo>
                    <a:pt x="364" y="171"/>
                  </a:lnTo>
                  <a:lnTo>
                    <a:pt x="362" y="171"/>
                  </a:lnTo>
                  <a:lnTo>
                    <a:pt x="361" y="171"/>
                  </a:lnTo>
                  <a:lnTo>
                    <a:pt x="361" y="169"/>
                  </a:lnTo>
                  <a:lnTo>
                    <a:pt x="361" y="171"/>
                  </a:lnTo>
                  <a:lnTo>
                    <a:pt x="361" y="169"/>
                  </a:lnTo>
                  <a:lnTo>
                    <a:pt x="359" y="169"/>
                  </a:lnTo>
                  <a:lnTo>
                    <a:pt x="357" y="169"/>
                  </a:lnTo>
                  <a:lnTo>
                    <a:pt x="359" y="169"/>
                  </a:lnTo>
                  <a:lnTo>
                    <a:pt x="359" y="168"/>
                  </a:lnTo>
                  <a:lnTo>
                    <a:pt x="357" y="168"/>
                  </a:lnTo>
                  <a:lnTo>
                    <a:pt x="359" y="168"/>
                  </a:lnTo>
                  <a:lnTo>
                    <a:pt x="357" y="168"/>
                  </a:lnTo>
                  <a:lnTo>
                    <a:pt x="357" y="166"/>
                  </a:lnTo>
                  <a:lnTo>
                    <a:pt x="357" y="164"/>
                  </a:lnTo>
                  <a:lnTo>
                    <a:pt x="357" y="162"/>
                  </a:lnTo>
                  <a:lnTo>
                    <a:pt x="359" y="162"/>
                  </a:lnTo>
                  <a:lnTo>
                    <a:pt x="359" y="160"/>
                  </a:lnTo>
                  <a:lnTo>
                    <a:pt x="359" y="158"/>
                  </a:lnTo>
                  <a:lnTo>
                    <a:pt x="359" y="156"/>
                  </a:lnTo>
                  <a:lnTo>
                    <a:pt x="361" y="156"/>
                  </a:lnTo>
                  <a:lnTo>
                    <a:pt x="361" y="154"/>
                  </a:lnTo>
                  <a:lnTo>
                    <a:pt x="361" y="152"/>
                  </a:lnTo>
                  <a:lnTo>
                    <a:pt x="361" y="150"/>
                  </a:lnTo>
                  <a:lnTo>
                    <a:pt x="361" y="152"/>
                  </a:lnTo>
                  <a:lnTo>
                    <a:pt x="361" y="150"/>
                  </a:lnTo>
                  <a:lnTo>
                    <a:pt x="361" y="148"/>
                  </a:lnTo>
                  <a:lnTo>
                    <a:pt x="361" y="146"/>
                  </a:lnTo>
                  <a:lnTo>
                    <a:pt x="361" y="144"/>
                  </a:lnTo>
                  <a:lnTo>
                    <a:pt x="359" y="144"/>
                  </a:lnTo>
                  <a:lnTo>
                    <a:pt x="359" y="143"/>
                  </a:lnTo>
                  <a:lnTo>
                    <a:pt x="359" y="141"/>
                  </a:lnTo>
                  <a:lnTo>
                    <a:pt x="359" y="143"/>
                  </a:lnTo>
                  <a:lnTo>
                    <a:pt x="359" y="141"/>
                  </a:lnTo>
                  <a:lnTo>
                    <a:pt x="359" y="139"/>
                  </a:lnTo>
                  <a:lnTo>
                    <a:pt x="357" y="139"/>
                  </a:lnTo>
                  <a:lnTo>
                    <a:pt x="357" y="137"/>
                  </a:lnTo>
                  <a:lnTo>
                    <a:pt x="357" y="139"/>
                  </a:lnTo>
                  <a:lnTo>
                    <a:pt x="357" y="137"/>
                  </a:lnTo>
                  <a:lnTo>
                    <a:pt x="355" y="137"/>
                  </a:lnTo>
                  <a:lnTo>
                    <a:pt x="355" y="139"/>
                  </a:lnTo>
                  <a:lnTo>
                    <a:pt x="353" y="139"/>
                  </a:lnTo>
                  <a:lnTo>
                    <a:pt x="351" y="139"/>
                  </a:lnTo>
                  <a:lnTo>
                    <a:pt x="351" y="141"/>
                  </a:lnTo>
                  <a:lnTo>
                    <a:pt x="351" y="139"/>
                  </a:lnTo>
                  <a:lnTo>
                    <a:pt x="351" y="141"/>
                  </a:lnTo>
                  <a:lnTo>
                    <a:pt x="351" y="139"/>
                  </a:lnTo>
                  <a:lnTo>
                    <a:pt x="349" y="139"/>
                  </a:lnTo>
                  <a:lnTo>
                    <a:pt x="349" y="137"/>
                  </a:lnTo>
                  <a:lnTo>
                    <a:pt x="349" y="135"/>
                  </a:lnTo>
                  <a:lnTo>
                    <a:pt x="349" y="133"/>
                  </a:lnTo>
                  <a:lnTo>
                    <a:pt x="349" y="131"/>
                  </a:lnTo>
                  <a:lnTo>
                    <a:pt x="349" y="129"/>
                  </a:lnTo>
                  <a:lnTo>
                    <a:pt x="347" y="129"/>
                  </a:lnTo>
                  <a:lnTo>
                    <a:pt x="349" y="129"/>
                  </a:lnTo>
                  <a:lnTo>
                    <a:pt x="347" y="129"/>
                  </a:lnTo>
                  <a:lnTo>
                    <a:pt x="347" y="127"/>
                  </a:lnTo>
                  <a:lnTo>
                    <a:pt x="349" y="127"/>
                  </a:lnTo>
                  <a:lnTo>
                    <a:pt x="349" y="125"/>
                  </a:lnTo>
                  <a:lnTo>
                    <a:pt x="349" y="127"/>
                  </a:lnTo>
                  <a:lnTo>
                    <a:pt x="351" y="127"/>
                  </a:lnTo>
                  <a:lnTo>
                    <a:pt x="351" y="125"/>
                  </a:lnTo>
                  <a:lnTo>
                    <a:pt x="353" y="125"/>
                  </a:lnTo>
                  <a:lnTo>
                    <a:pt x="351" y="125"/>
                  </a:lnTo>
                  <a:lnTo>
                    <a:pt x="353" y="125"/>
                  </a:lnTo>
                  <a:lnTo>
                    <a:pt x="353" y="123"/>
                  </a:lnTo>
                  <a:lnTo>
                    <a:pt x="353" y="121"/>
                  </a:lnTo>
                  <a:lnTo>
                    <a:pt x="353" y="120"/>
                  </a:lnTo>
                  <a:lnTo>
                    <a:pt x="355" y="120"/>
                  </a:lnTo>
                  <a:lnTo>
                    <a:pt x="353" y="120"/>
                  </a:lnTo>
                  <a:lnTo>
                    <a:pt x="355" y="120"/>
                  </a:lnTo>
                  <a:lnTo>
                    <a:pt x="355" y="118"/>
                  </a:lnTo>
                  <a:lnTo>
                    <a:pt x="355" y="116"/>
                  </a:lnTo>
                  <a:lnTo>
                    <a:pt x="357" y="116"/>
                  </a:lnTo>
                  <a:lnTo>
                    <a:pt x="357" y="114"/>
                  </a:lnTo>
                  <a:lnTo>
                    <a:pt x="357" y="112"/>
                  </a:lnTo>
                  <a:lnTo>
                    <a:pt x="355" y="112"/>
                  </a:lnTo>
                  <a:lnTo>
                    <a:pt x="357" y="112"/>
                  </a:lnTo>
                  <a:lnTo>
                    <a:pt x="357" y="110"/>
                  </a:lnTo>
                  <a:lnTo>
                    <a:pt x="355" y="110"/>
                  </a:lnTo>
                  <a:lnTo>
                    <a:pt x="355" y="108"/>
                  </a:lnTo>
                  <a:lnTo>
                    <a:pt x="357" y="108"/>
                  </a:lnTo>
                  <a:lnTo>
                    <a:pt x="357" y="106"/>
                  </a:lnTo>
                  <a:lnTo>
                    <a:pt x="357" y="104"/>
                  </a:lnTo>
                  <a:lnTo>
                    <a:pt x="359" y="104"/>
                  </a:lnTo>
                  <a:lnTo>
                    <a:pt x="359" y="102"/>
                  </a:lnTo>
                  <a:lnTo>
                    <a:pt x="359" y="100"/>
                  </a:lnTo>
                  <a:lnTo>
                    <a:pt x="361" y="100"/>
                  </a:lnTo>
                  <a:lnTo>
                    <a:pt x="361" y="98"/>
                  </a:lnTo>
                  <a:lnTo>
                    <a:pt x="362" y="98"/>
                  </a:lnTo>
                  <a:lnTo>
                    <a:pt x="362" y="96"/>
                  </a:lnTo>
                  <a:lnTo>
                    <a:pt x="362" y="98"/>
                  </a:lnTo>
                  <a:lnTo>
                    <a:pt x="362" y="100"/>
                  </a:lnTo>
                  <a:lnTo>
                    <a:pt x="364" y="100"/>
                  </a:lnTo>
                  <a:lnTo>
                    <a:pt x="364" y="98"/>
                  </a:lnTo>
                  <a:lnTo>
                    <a:pt x="362" y="96"/>
                  </a:lnTo>
                  <a:lnTo>
                    <a:pt x="362" y="95"/>
                  </a:lnTo>
                  <a:lnTo>
                    <a:pt x="362" y="93"/>
                  </a:lnTo>
                  <a:lnTo>
                    <a:pt x="362" y="91"/>
                  </a:lnTo>
                  <a:lnTo>
                    <a:pt x="362" y="89"/>
                  </a:lnTo>
                  <a:lnTo>
                    <a:pt x="361" y="89"/>
                  </a:lnTo>
                  <a:lnTo>
                    <a:pt x="361" y="87"/>
                  </a:lnTo>
                  <a:lnTo>
                    <a:pt x="362" y="87"/>
                  </a:lnTo>
                  <a:lnTo>
                    <a:pt x="362" y="89"/>
                  </a:lnTo>
                  <a:lnTo>
                    <a:pt x="364" y="89"/>
                  </a:lnTo>
                  <a:lnTo>
                    <a:pt x="364" y="87"/>
                  </a:lnTo>
                  <a:lnTo>
                    <a:pt x="364" y="85"/>
                  </a:lnTo>
                  <a:lnTo>
                    <a:pt x="364" y="87"/>
                  </a:lnTo>
                  <a:lnTo>
                    <a:pt x="364" y="85"/>
                  </a:lnTo>
                  <a:lnTo>
                    <a:pt x="362" y="85"/>
                  </a:lnTo>
                  <a:lnTo>
                    <a:pt x="364" y="85"/>
                  </a:lnTo>
                  <a:lnTo>
                    <a:pt x="364" y="83"/>
                  </a:lnTo>
                  <a:lnTo>
                    <a:pt x="364" y="81"/>
                  </a:lnTo>
                  <a:lnTo>
                    <a:pt x="366" y="81"/>
                  </a:lnTo>
                  <a:lnTo>
                    <a:pt x="366" y="79"/>
                  </a:lnTo>
                  <a:lnTo>
                    <a:pt x="366" y="77"/>
                  </a:lnTo>
                  <a:lnTo>
                    <a:pt x="368" y="77"/>
                  </a:lnTo>
                  <a:lnTo>
                    <a:pt x="368" y="75"/>
                  </a:lnTo>
                  <a:lnTo>
                    <a:pt x="370" y="75"/>
                  </a:lnTo>
                  <a:lnTo>
                    <a:pt x="370" y="73"/>
                  </a:lnTo>
                  <a:lnTo>
                    <a:pt x="372" y="73"/>
                  </a:lnTo>
                  <a:lnTo>
                    <a:pt x="370" y="73"/>
                  </a:lnTo>
                  <a:lnTo>
                    <a:pt x="370" y="75"/>
                  </a:lnTo>
                  <a:lnTo>
                    <a:pt x="372" y="75"/>
                  </a:lnTo>
                  <a:lnTo>
                    <a:pt x="374" y="75"/>
                  </a:lnTo>
                  <a:lnTo>
                    <a:pt x="374" y="77"/>
                  </a:lnTo>
                  <a:lnTo>
                    <a:pt x="374" y="75"/>
                  </a:lnTo>
                  <a:lnTo>
                    <a:pt x="376" y="75"/>
                  </a:lnTo>
                  <a:lnTo>
                    <a:pt x="374" y="75"/>
                  </a:lnTo>
                  <a:lnTo>
                    <a:pt x="376" y="75"/>
                  </a:lnTo>
                  <a:lnTo>
                    <a:pt x="374" y="75"/>
                  </a:lnTo>
                  <a:lnTo>
                    <a:pt x="376" y="75"/>
                  </a:lnTo>
                  <a:lnTo>
                    <a:pt x="374" y="75"/>
                  </a:lnTo>
                  <a:lnTo>
                    <a:pt x="376" y="75"/>
                  </a:lnTo>
                  <a:lnTo>
                    <a:pt x="376" y="73"/>
                  </a:lnTo>
                  <a:lnTo>
                    <a:pt x="378" y="73"/>
                  </a:lnTo>
                  <a:lnTo>
                    <a:pt x="376" y="73"/>
                  </a:lnTo>
                  <a:lnTo>
                    <a:pt x="378" y="73"/>
                  </a:lnTo>
                  <a:lnTo>
                    <a:pt x="376" y="73"/>
                  </a:lnTo>
                  <a:lnTo>
                    <a:pt x="378" y="73"/>
                  </a:lnTo>
                  <a:lnTo>
                    <a:pt x="378" y="72"/>
                  </a:lnTo>
                  <a:lnTo>
                    <a:pt x="378" y="70"/>
                  </a:lnTo>
                  <a:lnTo>
                    <a:pt x="378" y="68"/>
                  </a:lnTo>
                  <a:lnTo>
                    <a:pt x="380" y="68"/>
                  </a:lnTo>
                  <a:lnTo>
                    <a:pt x="382" y="68"/>
                  </a:lnTo>
                  <a:lnTo>
                    <a:pt x="384" y="68"/>
                  </a:lnTo>
                  <a:lnTo>
                    <a:pt x="384" y="70"/>
                  </a:lnTo>
                  <a:lnTo>
                    <a:pt x="386" y="70"/>
                  </a:lnTo>
                  <a:lnTo>
                    <a:pt x="387" y="70"/>
                  </a:lnTo>
                  <a:lnTo>
                    <a:pt x="387" y="68"/>
                  </a:lnTo>
                  <a:lnTo>
                    <a:pt x="387" y="70"/>
                  </a:lnTo>
                  <a:lnTo>
                    <a:pt x="387" y="72"/>
                  </a:lnTo>
                  <a:lnTo>
                    <a:pt x="389" y="72"/>
                  </a:lnTo>
                  <a:lnTo>
                    <a:pt x="391" y="72"/>
                  </a:lnTo>
                  <a:lnTo>
                    <a:pt x="389" y="72"/>
                  </a:lnTo>
                  <a:lnTo>
                    <a:pt x="391" y="72"/>
                  </a:lnTo>
                  <a:lnTo>
                    <a:pt x="393" y="72"/>
                  </a:lnTo>
                  <a:lnTo>
                    <a:pt x="395" y="72"/>
                  </a:lnTo>
                  <a:lnTo>
                    <a:pt x="395" y="73"/>
                  </a:lnTo>
                  <a:lnTo>
                    <a:pt x="395" y="72"/>
                  </a:lnTo>
                  <a:lnTo>
                    <a:pt x="397" y="72"/>
                  </a:lnTo>
                  <a:lnTo>
                    <a:pt x="399" y="72"/>
                  </a:lnTo>
                  <a:lnTo>
                    <a:pt x="399" y="73"/>
                  </a:lnTo>
                  <a:lnTo>
                    <a:pt x="401" y="73"/>
                  </a:lnTo>
                  <a:lnTo>
                    <a:pt x="401" y="72"/>
                  </a:lnTo>
                  <a:lnTo>
                    <a:pt x="401" y="73"/>
                  </a:lnTo>
                  <a:lnTo>
                    <a:pt x="401" y="72"/>
                  </a:lnTo>
                  <a:lnTo>
                    <a:pt x="403" y="72"/>
                  </a:lnTo>
                  <a:lnTo>
                    <a:pt x="403" y="73"/>
                  </a:lnTo>
                  <a:lnTo>
                    <a:pt x="405" y="73"/>
                  </a:lnTo>
                  <a:lnTo>
                    <a:pt x="405" y="75"/>
                  </a:lnTo>
                  <a:lnTo>
                    <a:pt x="407" y="75"/>
                  </a:lnTo>
                  <a:lnTo>
                    <a:pt x="409" y="75"/>
                  </a:lnTo>
                  <a:lnTo>
                    <a:pt x="409" y="73"/>
                  </a:lnTo>
                  <a:lnTo>
                    <a:pt x="409" y="75"/>
                  </a:lnTo>
                  <a:lnTo>
                    <a:pt x="409" y="73"/>
                  </a:lnTo>
                  <a:lnTo>
                    <a:pt x="410" y="73"/>
                  </a:lnTo>
                  <a:lnTo>
                    <a:pt x="409" y="73"/>
                  </a:lnTo>
                  <a:lnTo>
                    <a:pt x="410" y="73"/>
                  </a:lnTo>
                  <a:lnTo>
                    <a:pt x="412" y="73"/>
                  </a:lnTo>
                  <a:lnTo>
                    <a:pt x="414" y="73"/>
                  </a:lnTo>
                  <a:lnTo>
                    <a:pt x="416" y="73"/>
                  </a:lnTo>
                  <a:lnTo>
                    <a:pt x="416" y="75"/>
                  </a:lnTo>
                  <a:lnTo>
                    <a:pt x="416" y="73"/>
                  </a:lnTo>
                  <a:lnTo>
                    <a:pt x="416" y="75"/>
                  </a:lnTo>
                  <a:lnTo>
                    <a:pt x="418" y="75"/>
                  </a:lnTo>
                  <a:lnTo>
                    <a:pt x="418" y="73"/>
                  </a:lnTo>
                  <a:lnTo>
                    <a:pt x="420" y="73"/>
                  </a:lnTo>
                  <a:lnTo>
                    <a:pt x="420" y="75"/>
                  </a:lnTo>
                  <a:lnTo>
                    <a:pt x="422" y="75"/>
                  </a:lnTo>
                  <a:lnTo>
                    <a:pt x="420" y="75"/>
                  </a:lnTo>
                  <a:lnTo>
                    <a:pt x="422" y="75"/>
                  </a:lnTo>
                  <a:lnTo>
                    <a:pt x="424" y="75"/>
                  </a:lnTo>
                  <a:lnTo>
                    <a:pt x="426" y="73"/>
                  </a:lnTo>
                  <a:lnTo>
                    <a:pt x="428" y="73"/>
                  </a:lnTo>
                  <a:lnTo>
                    <a:pt x="430" y="73"/>
                  </a:lnTo>
                  <a:lnTo>
                    <a:pt x="430" y="72"/>
                  </a:lnTo>
                  <a:lnTo>
                    <a:pt x="430" y="70"/>
                  </a:lnTo>
                  <a:lnTo>
                    <a:pt x="432" y="70"/>
                  </a:lnTo>
                  <a:lnTo>
                    <a:pt x="433" y="70"/>
                  </a:lnTo>
                  <a:lnTo>
                    <a:pt x="432" y="70"/>
                  </a:lnTo>
                  <a:lnTo>
                    <a:pt x="432" y="68"/>
                  </a:lnTo>
                  <a:lnTo>
                    <a:pt x="433" y="68"/>
                  </a:lnTo>
                  <a:lnTo>
                    <a:pt x="435" y="68"/>
                  </a:lnTo>
                  <a:lnTo>
                    <a:pt x="435" y="66"/>
                  </a:lnTo>
                  <a:lnTo>
                    <a:pt x="437" y="66"/>
                  </a:lnTo>
                  <a:lnTo>
                    <a:pt x="437" y="64"/>
                  </a:lnTo>
                  <a:lnTo>
                    <a:pt x="435" y="64"/>
                  </a:lnTo>
                  <a:lnTo>
                    <a:pt x="437" y="64"/>
                  </a:lnTo>
                  <a:lnTo>
                    <a:pt x="437" y="62"/>
                  </a:lnTo>
                  <a:lnTo>
                    <a:pt x="439" y="62"/>
                  </a:lnTo>
                  <a:lnTo>
                    <a:pt x="439" y="64"/>
                  </a:lnTo>
                  <a:lnTo>
                    <a:pt x="439" y="62"/>
                  </a:lnTo>
                  <a:lnTo>
                    <a:pt x="439" y="64"/>
                  </a:lnTo>
                  <a:lnTo>
                    <a:pt x="439" y="62"/>
                  </a:lnTo>
                  <a:close/>
                  <a:moveTo>
                    <a:pt x="163" y="173"/>
                  </a:moveTo>
                  <a:lnTo>
                    <a:pt x="163" y="175"/>
                  </a:lnTo>
                  <a:lnTo>
                    <a:pt x="165" y="175"/>
                  </a:lnTo>
                  <a:lnTo>
                    <a:pt x="167" y="175"/>
                  </a:lnTo>
                  <a:lnTo>
                    <a:pt x="169" y="175"/>
                  </a:lnTo>
                  <a:lnTo>
                    <a:pt x="171" y="175"/>
                  </a:lnTo>
                  <a:lnTo>
                    <a:pt x="172" y="175"/>
                  </a:lnTo>
                  <a:lnTo>
                    <a:pt x="172" y="177"/>
                  </a:lnTo>
                  <a:lnTo>
                    <a:pt x="174" y="177"/>
                  </a:lnTo>
                  <a:lnTo>
                    <a:pt x="176" y="177"/>
                  </a:lnTo>
                  <a:lnTo>
                    <a:pt x="176" y="175"/>
                  </a:lnTo>
                  <a:lnTo>
                    <a:pt x="176" y="177"/>
                  </a:lnTo>
                  <a:lnTo>
                    <a:pt x="176" y="175"/>
                  </a:lnTo>
                  <a:lnTo>
                    <a:pt x="176" y="173"/>
                  </a:lnTo>
                  <a:lnTo>
                    <a:pt x="176" y="175"/>
                  </a:lnTo>
                  <a:lnTo>
                    <a:pt x="178" y="175"/>
                  </a:lnTo>
                  <a:lnTo>
                    <a:pt x="180" y="175"/>
                  </a:lnTo>
                  <a:lnTo>
                    <a:pt x="182" y="175"/>
                  </a:lnTo>
                  <a:lnTo>
                    <a:pt x="182" y="177"/>
                  </a:lnTo>
                  <a:lnTo>
                    <a:pt x="184" y="177"/>
                  </a:lnTo>
                  <a:lnTo>
                    <a:pt x="184" y="179"/>
                  </a:lnTo>
                  <a:lnTo>
                    <a:pt x="186" y="179"/>
                  </a:lnTo>
                  <a:lnTo>
                    <a:pt x="188" y="179"/>
                  </a:lnTo>
                  <a:lnTo>
                    <a:pt x="190" y="179"/>
                  </a:lnTo>
                  <a:lnTo>
                    <a:pt x="192" y="179"/>
                  </a:lnTo>
                  <a:lnTo>
                    <a:pt x="192" y="181"/>
                  </a:lnTo>
                  <a:lnTo>
                    <a:pt x="194" y="181"/>
                  </a:lnTo>
                  <a:lnTo>
                    <a:pt x="194" y="179"/>
                  </a:lnTo>
                  <a:lnTo>
                    <a:pt x="196" y="179"/>
                  </a:lnTo>
                  <a:lnTo>
                    <a:pt x="196" y="181"/>
                  </a:lnTo>
                  <a:lnTo>
                    <a:pt x="197" y="181"/>
                  </a:lnTo>
                  <a:lnTo>
                    <a:pt x="197" y="183"/>
                  </a:lnTo>
                  <a:lnTo>
                    <a:pt x="199" y="183"/>
                  </a:lnTo>
                  <a:lnTo>
                    <a:pt x="199" y="185"/>
                  </a:lnTo>
                  <a:lnTo>
                    <a:pt x="199" y="187"/>
                  </a:lnTo>
                  <a:lnTo>
                    <a:pt x="201" y="187"/>
                  </a:lnTo>
                  <a:lnTo>
                    <a:pt x="203" y="187"/>
                  </a:lnTo>
                  <a:lnTo>
                    <a:pt x="201" y="187"/>
                  </a:lnTo>
                  <a:lnTo>
                    <a:pt x="203" y="187"/>
                  </a:lnTo>
                  <a:lnTo>
                    <a:pt x="205" y="187"/>
                  </a:lnTo>
                  <a:lnTo>
                    <a:pt x="207" y="187"/>
                  </a:lnTo>
                  <a:lnTo>
                    <a:pt x="207" y="189"/>
                  </a:lnTo>
                  <a:lnTo>
                    <a:pt x="209" y="189"/>
                  </a:lnTo>
                  <a:lnTo>
                    <a:pt x="211" y="189"/>
                  </a:lnTo>
                  <a:lnTo>
                    <a:pt x="213" y="189"/>
                  </a:lnTo>
                  <a:lnTo>
                    <a:pt x="213" y="187"/>
                  </a:lnTo>
                  <a:lnTo>
                    <a:pt x="213" y="189"/>
                  </a:lnTo>
                  <a:lnTo>
                    <a:pt x="215" y="189"/>
                  </a:lnTo>
                  <a:lnTo>
                    <a:pt x="217" y="189"/>
                  </a:lnTo>
                  <a:lnTo>
                    <a:pt x="219" y="189"/>
                  </a:lnTo>
                  <a:lnTo>
                    <a:pt x="220" y="189"/>
                  </a:lnTo>
                  <a:lnTo>
                    <a:pt x="222" y="189"/>
                  </a:lnTo>
                  <a:lnTo>
                    <a:pt x="224" y="189"/>
                  </a:lnTo>
                  <a:lnTo>
                    <a:pt x="226" y="189"/>
                  </a:lnTo>
                  <a:lnTo>
                    <a:pt x="228" y="189"/>
                  </a:lnTo>
                  <a:lnTo>
                    <a:pt x="228" y="187"/>
                  </a:lnTo>
                  <a:lnTo>
                    <a:pt x="228" y="185"/>
                  </a:lnTo>
                  <a:lnTo>
                    <a:pt x="230" y="185"/>
                  </a:lnTo>
                  <a:lnTo>
                    <a:pt x="230" y="183"/>
                  </a:lnTo>
                  <a:lnTo>
                    <a:pt x="230" y="181"/>
                  </a:lnTo>
                  <a:lnTo>
                    <a:pt x="230" y="183"/>
                  </a:lnTo>
                  <a:lnTo>
                    <a:pt x="230" y="181"/>
                  </a:lnTo>
                  <a:lnTo>
                    <a:pt x="232" y="181"/>
                  </a:lnTo>
                  <a:lnTo>
                    <a:pt x="234" y="181"/>
                  </a:lnTo>
                  <a:lnTo>
                    <a:pt x="236" y="181"/>
                  </a:lnTo>
                  <a:lnTo>
                    <a:pt x="236" y="183"/>
                  </a:lnTo>
                  <a:lnTo>
                    <a:pt x="236" y="185"/>
                  </a:lnTo>
                  <a:lnTo>
                    <a:pt x="238" y="185"/>
                  </a:lnTo>
                  <a:lnTo>
                    <a:pt x="240" y="185"/>
                  </a:lnTo>
                  <a:lnTo>
                    <a:pt x="240" y="187"/>
                  </a:lnTo>
                  <a:lnTo>
                    <a:pt x="240" y="185"/>
                  </a:lnTo>
                  <a:lnTo>
                    <a:pt x="242" y="185"/>
                  </a:lnTo>
                  <a:lnTo>
                    <a:pt x="243" y="185"/>
                  </a:lnTo>
                  <a:lnTo>
                    <a:pt x="243" y="187"/>
                  </a:lnTo>
                  <a:lnTo>
                    <a:pt x="245" y="187"/>
                  </a:lnTo>
                  <a:lnTo>
                    <a:pt x="247" y="187"/>
                  </a:lnTo>
                  <a:lnTo>
                    <a:pt x="249" y="187"/>
                  </a:lnTo>
                  <a:lnTo>
                    <a:pt x="249" y="189"/>
                  </a:lnTo>
                  <a:lnTo>
                    <a:pt x="251" y="189"/>
                  </a:lnTo>
                  <a:lnTo>
                    <a:pt x="253" y="189"/>
                  </a:lnTo>
                  <a:lnTo>
                    <a:pt x="255" y="189"/>
                  </a:lnTo>
                  <a:lnTo>
                    <a:pt x="257" y="189"/>
                  </a:lnTo>
                  <a:lnTo>
                    <a:pt x="259" y="189"/>
                  </a:lnTo>
                  <a:lnTo>
                    <a:pt x="257" y="189"/>
                  </a:lnTo>
                  <a:lnTo>
                    <a:pt x="257" y="191"/>
                  </a:lnTo>
                  <a:lnTo>
                    <a:pt x="259" y="191"/>
                  </a:lnTo>
                  <a:lnTo>
                    <a:pt x="259" y="193"/>
                  </a:lnTo>
                  <a:lnTo>
                    <a:pt x="259" y="194"/>
                  </a:lnTo>
                  <a:lnTo>
                    <a:pt x="259" y="193"/>
                  </a:lnTo>
                  <a:lnTo>
                    <a:pt x="259" y="194"/>
                  </a:lnTo>
                  <a:lnTo>
                    <a:pt x="259" y="193"/>
                  </a:lnTo>
                  <a:lnTo>
                    <a:pt x="259" y="194"/>
                  </a:lnTo>
                  <a:lnTo>
                    <a:pt x="259" y="193"/>
                  </a:lnTo>
                  <a:lnTo>
                    <a:pt x="259" y="194"/>
                  </a:lnTo>
                  <a:lnTo>
                    <a:pt x="259" y="193"/>
                  </a:lnTo>
                  <a:lnTo>
                    <a:pt x="261" y="193"/>
                  </a:lnTo>
                  <a:lnTo>
                    <a:pt x="261" y="194"/>
                  </a:lnTo>
                  <a:lnTo>
                    <a:pt x="261" y="196"/>
                  </a:lnTo>
                  <a:lnTo>
                    <a:pt x="261" y="198"/>
                  </a:lnTo>
                  <a:lnTo>
                    <a:pt x="263" y="198"/>
                  </a:lnTo>
                  <a:lnTo>
                    <a:pt x="261" y="198"/>
                  </a:lnTo>
                  <a:lnTo>
                    <a:pt x="263" y="198"/>
                  </a:lnTo>
                  <a:lnTo>
                    <a:pt x="261" y="198"/>
                  </a:lnTo>
                  <a:lnTo>
                    <a:pt x="263" y="198"/>
                  </a:lnTo>
                  <a:lnTo>
                    <a:pt x="261" y="198"/>
                  </a:lnTo>
                  <a:lnTo>
                    <a:pt x="263" y="198"/>
                  </a:lnTo>
                  <a:lnTo>
                    <a:pt x="263" y="200"/>
                  </a:lnTo>
                  <a:lnTo>
                    <a:pt x="265" y="200"/>
                  </a:lnTo>
                  <a:lnTo>
                    <a:pt x="267" y="200"/>
                  </a:lnTo>
                  <a:lnTo>
                    <a:pt x="267" y="202"/>
                  </a:lnTo>
                  <a:lnTo>
                    <a:pt x="267" y="200"/>
                  </a:lnTo>
                  <a:lnTo>
                    <a:pt x="267" y="202"/>
                  </a:lnTo>
                  <a:lnTo>
                    <a:pt x="267" y="200"/>
                  </a:lnTo>
                  <a:lnTo>
                    <a:pt x="267" y="202"/>
                  </a:lnTo>
                  <a:lnTo>
                    <a:pt x="268" y="202"/>
                  </a:lnTo>
                  <a:lnTo>
                    <a:pt x="268" y="200"/>
                  </a:lnTo>
                  <a:lnTo>
                    <a:pt x="268" y="202"/>
                  </a:lnTo>
                  <a:lnTo>
                    <a:pt x="270" y="202"/>
                  </a:lnTo>
                  <a:lnTo>
                    <a:pt x="270" y="200"/>
                  </a:lnTo>
                  <a:lnTo>
                    <a:pt x="272" y="200"/>
                  </a:lnTo>
                  <a:lnTo>
                    <a:pt x="274" y="200"/>
                  </a:lnTo>
                  <a:lnTo>
                    <a:pt x="276" y="200"/>
                  </a:lnTo>
                  <a:lnTo>
                    <a:pt x="278" y="200"/>
                  </a:lnTo>
                  <a:lnTo>
                    <a:pt x="278" y="198"/>
                  </a:lnTo>
                  <a:lnTo>
                    <a:pt x="280" y="198"/>
                  </a:lnTo>
                  <a:lnTo>
                    <a:pt x="280" y="200"/>
                  </a:lnTo>
                  <a:lnTo>
                    <a:pt x="282" y="200"/>
                  </a:lnTo>
                  <a:lnTo>
                    <a:pt x="282" y="202"/>
                  </a:lnTo>
                  <a:lnTo>
                    <a:pt x="284" y="202"/>
                  </a:lnTo>
                  <a:lnTo>
                    <a:pt x="286" y="202"/>
                  </a:lnTo>
                  <a:lnTo>
                    <a:pt x="286" y="204"/>
                  </a:lnTo>
                  <a:lnTo>
                    <a:pt x="284" y="204"/>
                  </a:lnTo>
                  <a:lnTo>
                    <a:pt x="284" y="206"/>
                  </a:lnTo>
                  <a:lnTo>
                    <a:pt x="284" y="208"/>
                  </a:lnTo>
                  <a:lnTo>
                    <a:pt x="284" y="210"/>
                  </a:lnTo>
                  <a:lnTo>
                    <a:pt x="284" y="212"/>
                  </a:lnTo>
                  <a:lnTo>
                    <a:pt x="284" y="214"/>
                  </a:lnTo>
                  <a:lnTo>
                    <a:pt x="284" y="212"/>
                  </a:lnTo>
                  <a:lnTo>
                    <a:pt x="284" y="214"/>
                  </a:lnTo>
                  <a:lnTo>
                    <a:pt x="286" y="214"/>
                  </a:lnTo>
                  <a:lnTo>
                    <a:pt x="286" y="216"/>
                  </a:lnTo>
                  <a:lnTo>
                    <a:pt x="288" y="216"/>
                  </a:lnTo>
                  <a:lnTo>
                    <a:pt x="286" y="216"/>
                  </a:lnTo>
                  <a:lnTo>
                    <a:pt x="284" y="216"/>
                  </a:lnTo>
                  <a:lnTo>
                    <a:pt x="284" y="214"/>
                  </a:lnTo>
                  <a:lnTo>
                    <a:pt x="282" y="214"/>
                  </a:lnTo>
                  <a:lnTo>
                    <a:pt x="280" y="214"/>
                  </a:lnTo>
                  <a:lnTo>
                    <a:pt x="278" y="214"/>
                  </a:lnTo>
                  <a:lnTo>
                    <a:pt x="276" y="214"/>
                  </a:lnTo>
                  <a:lnTo>
                    <a:pt x="276" y="212"/>
                  </a:lnTo>
                  <a:lnTo>
                    <a:pt x="274" y="212"/>
                  </a:lnTo>
                  <a:lnTo>
                    <a:pt x="274" y="214"/>
                  </a:lnTo>
                  <a:lnTo>
                    <a:pt x="274" y="212"/>
                  </a:lnTo>
                  <a:lnTo>
                    <a:pt x="274" y="214"/>
                  </a:lnTo>
                  <a:lnTo>
                    <a:pt x="274" y="212"/>
                  </a:lnTo>
                  <a:lnTo>
                    <a:pt x="272" y="212"/>
                  </a:lnTo>
                  <a:lnTo>
                    <a:pt x="270" y="212"/>
                  </a:lnTo>
                  <a:lnTo>
                    <a:pt x="270" y="210"/>
                  </a:lnTo>
                  <a:lnTo>
                    <a:pt x="270" y="212"/>
                  </a:lnTo>
                  <a:lnTo>
                    <a:pt x="268" y="212"/>
                  </a:lnTo>
                  <a:lnTo>
                    <a:pt x="268" y="210"/>
                  </a:lnTo>
                  <a:lnTo>
                    <a:pt x="267" y="210"/>
                  </a:lnTo>
                  <a:lnTo>
                    <a:pt x="265" y="210"/>
                  </a:lnTo>
                  <a:lnTo>
                    <a:pt x="263" y="210"/>
                  </a:lnTo>
                  <a:lnTo>
                    <a:pt x="263" y="212"/>
                  </a:lnTo>
                  <a:lnTo>
                    <a:pt x="263" y="210"/>
                  </a:lnTo>
                  <a:lnTo>
                    <a:pt x="263" y="212"/>
                  </a:lnTo>
                  <a:lnTo>
                    <a:pt x="261" y="212"/>
                  </a:lnTo>
                  <a:lnTo>
                    <a:pt x="261" y="210"/>
                  </a:lnTo>
                  <a:lnTo>
                    <a:pt x="261" y="212"/>
                  </a:lnTo>
                  <a:lnTo>
                    <a:pt x="261" y="210"/>
                  </a:lnTo>
                  <a:lnTo>
                    <a:pt x="261" y="212"/>
                  </a:lnTo>
                  <a:lnTo>
                    <a:pt x="259" y="212"/>
                  </a:lnTo>
                  <a:lnTo>
                    <a:pt x="257" y="212"/>
                  </a:lnTo>
                  <a:lnTo>
                    <a:pt x="255" y="212"/>
                  </a:lnTo>
                  <a:lnTo>
                    <a:pt x="255" y="210"/>
                  </a:lnTo>
                  <a:lnTo>
                    <a:pt x="253" y="210"/>
                  </a:lnTo>
                  <a:lnTo>
                    <a:pt x="251" y="210"/>
                  </a:lnTo>
                  <a:lnTo>
                    <a:pt x="249" y="210"/>
                  </a:lnTo>
                  <a:lnTo>
                    <a:pt x="247" y="210"/>
                  </a:lnTo>
                  <a:lnTo>
                    <a:pt x="247" y="208"/>
                  </a:lnTo>
                  <a:lnTo>
                    <a:pt x="247" y="210"/>
                  </a:lnTo>
                  <a:lnTo>
                    <a:pt x="245" y="210"/>
                  </a:lnTo>
                  <a:lnTo>
                    <a:pt x="245" y="208"/>
                  </a:lnTo>
                  <a:lnTo>
                    <a:pt x="245" y="210"/>
                  </a:lnTo>
                  <a:lnTo>
                    <a:pt x="243" y="210"/>
                  </a:lnTo>
                  <a:lnTo>
                    <a:pt x="242" y="210"/>
                  </a:lnTo>
                  <a:lnTo>
                    <a:pt x="242" y="208"/>
                  </a:lnTo>
                  <a:lnTo>
                    <a:pt x="240" y="208"/>
                  </a:lnTo>
                  <a:lnTo>
                    <a:pt x="240" y="210"/>
                  </a:lnTo>
                  <a:lnTo>
                    <a:pt x="240" y="208"/>
                  </a:lnTo>
                  <a:lnTo>
                    <a:pt x="240" y="210"/>
                  </a:lnTo>
                  <a:lnTo>
                    <a:pt x="240" y="208"/>
                  </a:lnTo>
                  <a:lnTo>
                    <a:pt x="240" y="210"/>
                  </a:lnTo>
                  <a:lnTo>
                    <a:pt x="240" y="208"/>
                  </a:lnTo>
                  <a:lnTo>
                    <a:pt x="240" y="210"/>
                  </a:lnTo>
                  <a:lnTo>
                    <a:pt x="240" y="208"/>
                  </a:lnTo>
                  <a:lnTo>
                    <a:pt x="240" y="210"/>
                  </a:lnTo>
                  <a:lnTo>
                    <a:pt x="240" y="208"/>
                  </a:lnTo>
                  <a:lnTo>
                    <a:pt x="238" y="208"/>
                  </a:lnTo>
                  <a:lnTo>
                    <a:pt x="238" y="210"/>
                  </a:lnTo>
                  <a:lnTo>
                    <a:pt x="240" y="210"/>
                  </a:lnTo>
                  <a:lnTo>
                    <a:pt x="238" y="210"/>
                  </a:lnTo>
                  <a:lnTo>
                    <a:pt x="238" y="208"/>
                  </a:lnTo>
                  <a:lnTo>
                    <a:pt x="238" y="210"/>
                  </a:lnTo>
                  <a:lnTo>
                    <a:pt x="238" y="208"/>
                  </a:lnTo>
                  <a:lnTo>
                    <a:pt x="238" y="210"/>
                  </a:lnTo>
                  <a:lnTo>
                    <a:pt x="236" y="210"/>
                  </a:lnTo>
                  <a:lnTo>
                    <a:pt x="236" y="208"/>
                  </a:lnTo>
                  <a:lnTo>
                    <a:pt x="234" y="208"/>
                  </a:lnTo>
                  <a:lnTo>
                    <a:pt x="232" y="208"/>
                  </a:lnTo>
                  <a:lnTo>
                    <a:pt x="230" y="208"/>
                  </a:lnTo>
                  <a:lnTo>
                    <a:pt x="228" y="208"/>
                  </a:lnTo>
                  <a:lnTo>
                    <a:pt x="228" y="206"/>
                  </a:lnTo>
                  <a:lnTo>
                    <a:pt x="228" y="208"/>
                  </a:lnTo>
                  <a:lnTo>
                    <a:pt x="228" y="206"/>
                  </a:lnTo>
                  <a:lnTo>
                    <a:pt x="228" y="208"/>
                  </a:lnTo>
                  <a:lnTo>
                    <a:pt x="228" y="206"/>
                  </a:lnTo>
                  <a:lnTo>
                    <a:pt x="226" y="206"/>
                  </a:lnTo>
                  <a:lnTo>
                    <a:pt x="224" y="206"/>
                  </a:lnTo>
                  <a:lnTo>
                    <a:pt x="224" y="204"/>
                  </a:lnTo>
                  <a:lnTo>
                    <a:pt x="222" y="204"/>
                  </a:lnTo>
                  <a:lnTo>
                    <a:pt x="220" y="204"/>
                  </a:lnTo>
                  <a:lnTo>
                    <a:pt x="219" y="204"/>
                  </a:lnTo>
                  <a:lnTo>
                    <a:pt x="219" y="202"/>
                  </a:lnTo>
                  <a:lnTo>
                    <a:pt x="217" y="202"/>
                  </a:lnTo>
                  <a:lnTo>
                    <a:pt x="215" y="202"/>
                  </a:lnTo>
                  <a:lnTo>
                    <a:pt x="213" y="202"/>
                  </a:lnTo>
                  <a:lnTo>
                    <a:pt x="211" y="202"/>
                  </a:lnTo>
                  <a:lnTo>
                    <a:pt x="211" y="200"/>
                  </a:lnTo>
                  <a:lnTo>
                    <a:pt x="209" y="200"/>
                  </a:lnTo>
                  <a:lnTo>
                    <a:pt x="207" y="200"/>
                  </a:lnTo>
                  <a:lnTo>
                    <a:pt x="205" y="200"/>
                  </a:lnTo>
                  <a:lnTo>
                    <a:pt x="205" y="202"/>
                  </a:lnTo>
                  <a:lnTo>
                    <a:pt x="205" y="200"/>
                  </a:lnTo>
                  <a:lnTo>
                    <a:pt x="205" y="202"/>
                  </a:lnTo>
                  <a:lnTo>
                    <a:pt x="205" y="200"/>
                  </a:lnTo>
                  <a:lnTo>
                    <a:pt x="203" y="200"/>
                  </a:lnTo>
                  <a:lnTo>
                    <a:pt x="201" y="200"/>
                  </a:lnTo>
                  <a:lnTo>
                    <a:pt x="199" y="200"/>
                  </a:lnTo>
                  <a:lnTo>
                    <a:pt x="201" y="200"/>
                  </a:lnTo>
                  <a:lnTo>
                    <a:pt x="199" y="200"/>
                  </a:lnTo>
                  <a:lnTo>
                    <a:pt x="197" y="200"/>
                  </a:lnTo>
                  <a:lnTo>
                    <a:pt x="197" y="202"/>
                  </a:lnTo>
                  <a:lnTo>
                    <a:pt x="196" y="202"/>
                  </a:lnTo>
                  <a:lnTo>
                    <a:pt x="194" y="202"/>
                  </a:lnTo>
                  <a:lnTo>
                    <a:pt x="192" y="202"/>
                  </a:lnTo>
                  <a:lnTo>
                    <a:pt x="190" y="202"/>
                  </a:lnTo>
                  <a:lnTo>
                    <a:pt x="190" y="200"/>
                  </a:lnTo>
                  <a:lnTo>
                    <a:pt x="190" y="202"/>
                  </a:lnTo>
                  <a:lnTo>
                    <a:pt x="190" y="200"/>
                  </a:lnTo>
                  <a:lnTo>
                    <a:pt x="188" y="200"/>
                  </a:lnTo>
                  <a:lnTo>
                    <a:pt x="186" y="200"/>
                  </a:lnTo>
                  <a:lnTo>
                    <a:pt x="186" y="198"/>
                  </a:lnTo>
                  <a:lnTo>
                    <a:pt x="184" y="198"/>
                  </a:lnTo>
                  <a:lnTo>
                    <a:pt x="182" y="198"/>
                  </a:lnTo>
                  <a:lnTo>
                    <a:pt x="180" y="198"/>
                  </a:lnTo>
                  <a:lnTo>
                    <a:pt x="180" y="196"/>
                  </a:lnTo>
                  <a:lnTo>
                    <a:pt x="178" y="196"/>
                  </a:lnTo>
                  <a:lnTo>
                    <a:pt x="176" y="196"/>
                  </a:lnTo>
                  <a:lnTo>
                    <a:pt x="174" y="196"/>
                  </a:lnTo>
                  <a:lnTo>
                    <a:pt x="172" y="196"/>
                  </a:lnTo>
                  <a:lnTo>
                    <a:pt x="171" y="196"/>
                  </a:lnTo>
                  <a:lnTo>
                    <a:pt x="169" y="196"/>
                  </a:lnTo>
                  <a:lnTo>
                    <a:pt x="167" y="196"/>
                  </a:lnTo>
                  <a:lnTo>
                    <a:pt x="167" y="194"/>
                  </a:lnTo>
                  <a:lnTo>
                    <a:pt x="167" y="193"/>
                  </a:lnTo>
                  <a:lnTo>
                    <a:pt x="169" y="193"/>
                  </a:lnTo>
                  <a:lnTo>
                    <a:pt x="169" y="191"/>
                  </a:lnTo>
                  <a:lnTo>
                    <a:pt x="169" y="189"/>
                  </a:lnTo>
                  <a:lnTo>
                    <a:pt x="169" y="191"/>
                  </a:lnTo>
                  <a:lnTo>
                    <a:pt x="169" y="189"/>
                  </a:lnTo>
                  <a:lnTo>
                    <a:pt x="167" y="189"/>
                  </a:lnTo>
                  <a:lnTo>
                    <a:pt x="169" y="189"/>
                  </a:lnTo>
                  <a:lnTo>
                    <a:pt x="167" y="189"/>
                  </a:lnTo>
                  <a:lnTo>
                    <a:pt x="167" y="191"/>
                  </a:lnTo>
                  <a:lnTo>
                    <a:pt x="165" y="191"/>
                  </a:lnTo>
                  <a:lnTo>
                    <a:pt x="165" y="189"/>
                  </a:lnTo>
                  <a:lnTo>
                    <a:pt x="163" y="189"/>
                  </a:lnTo>
                  <a:lnTo>
                    <a:pt x="163" y="187"/>
                  </a:lnTo>
                  <a:lnTo>
                    <a:pt x="161" y="187"/>
                  </a:lnTo>
                  <a:lnTo>
                    <a:pt x="159" y="187"/>
                  </a:lnTo>
                  <a:lnTo>
                    <a:pt x="159" y="189"/>
                  </a:lnTo>
                  <a:lnTo>
                    <a:pt x="157" y="189"/>
                  </a:lnTo>
                  <a:lnTo>
                    <a:pt x="155" y="189"/>
                  </a:lnTo>
                  <a:lnTo>
                    <a:pt x="153" y="189"/>
                  </a:lnTo>
                  <a:lnTo>
                    <a:pt x="153" y="187"/>
                  </a:lnTo>
                  <a:lnTo>
                    <a:pt x="151" y="187"/>
                  </a:lnTo>
                  <a:lnTo>
                    <a:pt x="151" y="189"/>
                  </a:lnTo>
                  <a:lnTo>
                    <a:pt x="149" y="189"/>
                  </a:lnTo>
                  <a:lnTo>
                    <a:pt x="149" y="187"/>
                  </a:lnTo>
                  <a:lnTo>
                    <a:pt x="151" y="187"/>
                  </a:lnTo>
                  <a:lnTo>
                    <a:pt x="151" y="185"/>
                  </a:lnTo>
                  <a:lnTo>
                    <a:pt x="153" y="185"/>
                  </a:lnTo>
                  <a:lnTo>
                    <a:pt x="153" y="187"/>
                  </a:lnTo>
                  <a:lnTo>
                    <a:pt x="155" y="187"/>
                  </a:lnTo>
                  <a:lnTo>
                    <a:pt x="155" y="185"/>
                  </a:lnTo>
                  <a:lnTo>
                    <a:pt x="155" y="187"/>
                  </a:lnTo>
                  <a:lnTo>
                    <a:pt x="155" y="185"/>
                  </a:lnTo>
                  <a:lnTo>
                    <a:pt x="155" y="183"/>
                  </a:lnTo>
                  <a:lnTo>
                    <a:pt x="157" y="183"/>
                  </a:lnTo>
                  <a:lnTo>
                    <a:pt x="155" y="183"/>
                  </a:lnTo>
                  <a:lnTo>
                    <a:pt x="157" y="183"/>
                  </a:lnTo>
                  <a:lnTo>
                    <a:pt x="159" y="183"/>
                  </a:lnTo>
                  <a:lnTo>
                    <a:pt x="159" y="181"/>
                  </a:lnTo>
                  <a:lnTo>
                    <a:pt x="159" y="179"/>
                  </a:lnTo>
                  <a:lnTo>
                    <a:pt x="159" y="177"/>
                  </a:lnTo>
                  <a:lnTo>
                    <a:pt x="161" y="177"/>
                  </a:lnTo>
                  <a:lnTo>
                    <a:pt x="161" y="175"/>
                  </a:lnTo>
                  <a:lnTo>
                    <a:pt x="161" y="173"/>
                  </a:lnTo>
                  <a:lnTo>
                    <a:pt x="163" y="173"/>
                  </a:lnTo>
                  <a:close/>
                  <a:moveTo>
                    <a:pt x="483" y="56"/>
                  </a:moveTo>
                  <a:lnTo>
                    <a:pt x="483" y="58"/>
                  </a:lnTo>
                  <a:lnTo>
                    <a:pt x="481" y="58"/>
                  </a:lnTo>
                  <a:lnTo>
                    <a:pt x="481" y="60"/>
                  </a:lnTo>
                  <a:lnTo>
                    <a:pt x="481" y="62"/>
                  </a:lnTo>
                  <a:lnTo>
                    <a:pt x="483" y="62"/>
                  </a:lnTo>
                  <a:lnTo>
                    <a:pt x="483" y="64"/>
                  </a:lnTo>
                  <a:lnTo>
                    <a:pt x="483" y="66"/>
                  </a:lnTo>
                  <a:lnTo>
                    <a:pt x="483" y="68"/>
                  </a:lnTo>
                  <a:lnTo>
                    <a:pt x="483" y="70"/>
                  </a:lnTo>
                  <a:lnTo>
                    <a:pt x="481" y="70"/>
                  </a:lnTo>
                  <a:lnTo>
                    <a:pt x="481" y="72"/>
                  </a:lnTo>
                  <a:lnTo>
                    <a:pt x="480" y="72"/>
                  </a:lnTo>
                  <a:lnTo>
                    <a:pt x="478" y="72"/>
                  </a:lnTo>
                  <a:lnTo>
                    <a:pt x="478" y="73"/>
                  </a:lnTo>
                  <a:lnTo>
                    <a:pt x="478" y="75"/>
                  </a:lnTo>
                  <a:lnTo>
                    <a:pt x="480" y="75"/>
                  </a:lnTo>
                  <a:lnTo>
                    <a:pt x="481" y="75"/>
                  </a:lnTo>
                  <a:lnTo>
                    <a:pt x="481" y="73"/>
                  </a:lnTo>
                  <a:lnTo>
                    <a:pt x="481" y="72"/>
                  </a:lnTo>
                  <a:lnTo>
                    <a:pt x="483" y="72"/>
                  </a:lnTo>
                  <a:lnTo>
                    <a:pt x="485" y="72"/>
                  </a:lnTo>
                  <a:lnTo>
                    <a:pt x="485" y="70"/>
                  </a:lnTo>
                  <a:lnTo>
                    <a:pt x="483" y="70"/>
                  </a:lnTo>
                  <a:lnTo>
                    <a:pt x="485" y="70"/>
                  </a:lnTo>
                  <a:lnTo>
                    <a:pt x="485" y="68"/>
                  </a:lnTo>
                  <a:lnTo>
                    <a:pt x="485" y="70"/>
                  </a:lnTo>
                  <a:lnTo>
                    <a:pt x="485" y="68"/>
                  </a:lnTo>
                  <a:lnTo>
                    <a:pt x="487" y="68"/>
                  </a:lnTo>
                  <a:lnTo>
                    <a:pt x="487" y="66"/>
                  </a:lnTo>
                  <a:lnTo>
                    <a:pt x="489" y="66"/>
                  </a:lnTo>
                  <a:lnTo>
                    <a:pt x="489" y="64"/>
                  </a:lnTo>
                  <a:lnTo>
                    <a:pt x="489" y="66"/>
                  </a:lnTo>
                  <a:lnTo>
                    <a:pt x="491" y="66"/>
                  </a:lnTo>
                  <a:lnTo>
                    <a:pt x="491" y="64"/>
                  </a:lnTo>
                  <a:lnTo>
                    <a:pt x="493" y="64"/>
                  </a:lnTo>
                  <a:lnTo>
                    <a:pt x="493" y="66"/>
                  </a:lnTo>
                  <a:lnTo>
                    <a:pt x="493" y="68"/>
                  </a:lnTo>
                  <a:lnTo>
                    <a:pt x="495" y="68"/>
                  </a:lnTo>
                  <a:lnTo>
                    <a:pt x="493" y="68"/>
                  </a:lnTo>
                  <a:lnTo>
                    <a:pt x="495" y="68"/>
                  </a:lnTo>
                  <a:lnTo>
                    <a:pt x="493" y="68"/>
                  </a:lnTo>
                  <a:lnTo>
                    <a:pt x="493" y="70"/>
                  </a:lnTo>
                  <a:lnTo>
                    <a:pt x="493" y="72"/>
                  </a:lnTo>
                  <a:lnTo>
                    <a:pt x="491" y="72"/>
                  </a:lnTo>
                  <a:lnTo>
                    <a:pt x="491" y="73"/>
                  </a:lnTo>
                  <a:lnTo>
                    <a:pt x="489" y="73"/>
                  </a:lnTo>
                  <a:lnTo>
                    <a:pt x="487" y="73"/>
                  </a:lnTo>
                  <a:lnTo>
                    <a:pt x="487" y="75"/>
                  </a:lnTo>
                  <a:lnTo>
                    <a:pt x="485" y="75"/>
                  </a:lnTo>
                  <a:lnTo>
                    <a:pt x="485" y="77"/>
                  </a:lnTo>
                  <a:lnTo>
                    <a:pt x="487" y="77"/>
                  </a:lnTo>
                  <a:lnTo>
                    <a:pt x="489" y="77"/>
                  </a:lnTo>
                  <a:lnTo>
                    <a:pt x="487" y="77"/>
                  </a:lnTo>
                  <a:lnTo>
                    <a:pt x="489" y="77"/>
                  </a:lnTo>
                  <a:lnTo>
                    <a:pt x="489" y="79"/>
                  </a:lnTo>
                  <a:lnTo>
                    <a:pt x="491" y="79"/>
                  </a:lnTo>
                  <a:lnTo>
                    <a:pt x="493" y="79"/>
                  </a:lnTo>
                  <a:lnTo>
                    <a:pt x="493" y="81"/>
                  </a:lnTo>
                  <a:lnTo>
                    <a:pt x="493" y="83"/>
                  </a:lnTo>
                  <a:lnTo>
                    <a:pt x="495" y="83"/>
                  </a:lnTo>
                  <a:lnTo>
                    <a:pt x="495" y="85"/>
                  </a:lnTo>
                  <a:lnTo>
                    <a:pt x="497" y="85"/>
                  </a:lnTo>
                  <a:lnTo>
                    <a:pt x="495" y="85"/>
                  </a:lnTo>
                  <a:lnTo>
                    <a:pt x="495" y="83"/>
                  </a:lnTo>
                  <a:lnTo>
                    <a:pt x="493" y="83"/>
                  </a:lnTo>
                  <a:lnTo>
                    <a:pt x="491" y="83"/>
                  </a:lnTo>
                  <a:lnTo>
                    <a:pt x="491" y="81"/>
                  </a:lnTo>
                  <a:lnTo>
                    <a:pt x="489" y="81"/>
                  </a:lnTo>
                  <a:lnTo>
                    <a:pt x="487" y="81"/>
                  </a:lnTo>
                  <a:lnTo>
                    <a:pt x="485" y="81"/>
                  </a:lnTo>
                  <a:lnTo>
                    <a:pt x="483" y="81"/>
                  </a:lnTo>
                  <a:lnTo>
                    <a:pt x="481" y="81"/>
                  </a:lnTo>
                  <a:lnTo>
                    <a:pt x="481" y="83"/>
                  </a:lnTo>
                  <a:lnTo>
                    <a:pt x="481" y="85"/>
                  </a:lnTo>
                  <a:lnTo>
                    <a:pt x="481" y="87"/>
                  </a:lnTo>
                  <a:lnTo>
                    <a:pt x="481" y="85"/>
                  </a:lnTo>
                  <a:lnTo>
                    <a:pt x="481" y="87"/>
                  </a:lnTo>
                  <a:lnTo>
                    <a:pt x="481" y="89"/>
                  </a:lnTo>
                  <a:lnTo>
                    <a:pt x="483" y="89"/>
                  </a:lnTo>
                  <a:lnTo>
                    <a:pt x="483" y="91"/>
                  </a:lnTo>
                  <a:lnTo>
                    <a:pt x="483" y="93"/>
                  </a:lnTo>
                  <a:lnTo>
                    <a:pt x="483" y="95"/>
                  </a:lnTo>
                  <a:lnTo>
                    <a:pt x="483" y="93"/>
                  </a:lnTo>
                  <a:lnTo>
                    <a:pt x="483" y="95"/>
                  </a:lnTo>
                  <a:lnTo>
                    <a:pt x="485" y="95"/>
                  </a:lnTo>
                  <a:lnTo>
                    <a:pt x="485" y="96"/>
                  </a:lnTo>
                  <a:lnTo>
                    <a:pt x="485" y="98"/>
                  </a:lnTo>
                  <a:lnTo>
                    <a:pt x="487" y="98"/>
                  </a:lnTo>
                  <a:lnTo>
                    <a:pt x="487" y="100"/>
                  </a:lnTo>
                  <a:lnTo>
                    <a:pt x="489" y="100"/>
                  </a:lnTo>
                  <a:lnTo>
                    <a:pt x="487" y="100"/>
                  </a:lnTo>
                  <a:lnTo>
                    <a:pt x="487" y="98"/>
                  </a:lnTo>
                  <a:lnTo>
                    <a:pt x="485" y="98"/>
                  </a:lnTo>
                  <a:lnTo>
                    <a:pt x="483" y="98"/>
                  </a:lnTo>
                  <a:lnTo>
                    <a:pt x="483" y="96"/>
                  </a:lnTo>
                  <a:lnTo>
                    <a:pt x="481" y="96"/>
                  </a:lnTo>
                  <a:lnTo>
                    <a:pt x="481" y="95"/>
                  </a:lnTo>
                  <a:lnTo>
                    <a:pt x="481" y="93"/>
                  </a:lnTo>
                  <a:lnTo>
                    <a:pt x="480" y="93"/>
                  </a:lnTo>
                  <a:lnTo>
                    <a:pt x="480" y="91"/>
                  </a:lnTo>
                  <a:lnTo>
                    <a:pt x="478" y="91"/>
                  </a:lnTo>
                  <a:lnTo>
                    <a:pt x="478" y="89"/>
                  </a:lnTo>
                  <a:lnTo>
                    <a:pt x="480" y="89"/>
                  </a:lnTo>
                  <a:lnTo>
                    <a:pt x="480" y="87"/>
                  </a:lnTo>
                  <a:lnTo>
                    <a:pt x="478" y="87"/>
                  </a:lnTo>
                  <a:lnTo>
                    <a:pt x="478" y="85"/>
                  </a:lnTo>
                  <a:lnTo>
                    <a:pt x="480" y="85"/>
                  </a:lnTo>
                  <a:lnTo>
                    <a:pt x="478" y="85"/>
                  </a:lnTo>
                  <a:lnTo>
                    <a:pt x="480" y="85"/>
                  </a:lnTo>
                  <a:lnTo>
                    <a:pt x="480" y="83"/>
                  </a:lnTo>
                  <a:lnTo>
                    <a:pt x="478" y="83"/>
                  </a:lnTo>
                  <a:lnTo>
                    <a:pt x="480" y="83"/>
                  </a:lnTo>
                  <a:lnTo>
                    <a:pt x="478" y="83"/>
                  </a:lnTo>
                  <a:lnTo>
                    <a:pt x="478" y="81"/>
                  </a:lnTo>
                  <a:lnTo>
                    <a:pt x="478" y="79"/>
                  </a:lnTo>
                  <a:lnTo>
                    <a:pt x="476" y="79"/>
                  </a:lnTo>
                  <a:lnTo>
                    <a:pt x="476" y="77"/>
                  </a:lnTo>
                  <a:lnTo>
                    <a:pt x="478" y="77"/>
                  </a:lnTo>
                  <a:lnTo>
                    <a:pt x="478" y="75"/>
                  </a:lnTo>
                  <a:lnTo>
                    <a:pt x="476" y="75"/>
                  </a:lnTo>
                  <a:lnTo>
                    <a:pt x="476" y="73"/>
                  </a:lnTo>
                  <a:lnTo>
                    <a:pt x="476" y="72"/>
                  </a:lnTo>
                  <a:lnTo>
                    <a:pt x="474" y="72"/>
                  </a:lnTo>
                  <a:lnTo>
                    <a:pt x="476" y="72"/>
                  </a:lnTo>
                  <a:lnTo>
                    <a:pt x="474" y="72"/>
                  </a:lnTo>
                  <a:lnTo>
                    <a:pt x="474" y="70"/>
                  </a:lnTo>
                  <a:lnTo>
                    <a:pt x="476" y="70"/>
                  </a:lnTo>
                  <a:lnTo>
                    <a:pt x="476" y="68"/>
                  </a:lnTo>
                  <a:lnTo>
                    <a:pt x="476" y="66"/>
                  </a:lnTo>
                  <a:lnTo>
                    <a:pt x="476" y="64"/>
                  </a:lnTo>
                  <a:lnTo>
                    <a:pt x="476" y="66"/>
                  </a:lnTo>
                  <a:lnTo>
                    <a:pt x="476" y="64"/>
                  </a:lnTo>
                  <a:lnTo>
                    <a:pt x="478" y="64"/>
                  </a:lnTo>
                  <a:lnTo>
                    <a:pt x="476" y="64"/>
                  </a:lnTo>
                  <a:lnTo>
                    <a:pt x="478" y="64"/>
                  </a:lnTo>
                  <a:lnTo>
                    <a:pt x="478" y="62"/>
                  </a:lnTo>
                  <a:lnTo>
                    <a:pt x="476" y="62"/>
                  </a:lnTo>
                  <a:lnTo>
                    <a:pt x="478" y="62"/>
                  </a:lnTo>
                  <a:lnTo>
                    <a:pt x="478" y="60"/>
                  </a:lnTo>
                  <a:lnTo>
                    <a:pt x="480" y="60"/>
                  </a:lnTo>
                  <a:lnTo>
                    <a:pt x="478" y="60"/>
                  </a:lnTo>
                  <a:lnTo>
                    <a:pt x="480" y="60"/>
                  </a:lnTo>
                  <a:lnTo>
                    <a:pt x="480" y="58"/>
                  </a:lnTo>
                  <a:lnTo>
                    <a:pt x="481" y="58"/>
                  </a:lnTo>
                  <a:lnTo>
                    <a:pt x="481" y="56"/>
                  </a:lnTo>
                  <a:lnTo>
                    <a:pt x="483" y="56"/>
                  </a:lnTo>
                  <a:lnTo>
                    <a:pt x="483" y="54"/>
                  </a:lnTo>
                  <a:lnTo>
                    <a:pt x="481" y="54"/>
                  </a:lnTo>
                  <a:lnTo>
                    <a:pt x="483" y="54"/>
                  </a:lnTo>
                  <a:lnTo>
                    <a:pt x="483" y="56"/>
                  </a:lnTo>
                  <a:close/>
                  <a:moveTo>
                    <a:pt x="506" y="129"/>
                  </a:moveTo>
                  <a:lnTo>
                    <a:pt x="508" y="129"/>
                  </a:lnTo>
                  <a:lnTo>
                    <a:pt x="510" y="129"/>
                  </a:lnTo>
                  <a:lnTo>
                    <a:pt x="510" y="131"/>
                  </a:lnTo>
                  <a:lnTo>
                    <a:pt x="510" y="129"/>
                  </a:lnTo>
                  <a:lnTo>
                    <a:pt x="510" y="131"/>
                  </a:lnTo>
                  <a:lnTo>
                    <a:pt x="512" y="131"/>
                  </a:lnTo>
                  <a:lnTo>
                    <a:pt x="514" y="131"/>
                  </a:lnTo>
                  <a:lnTo>
                    <a:pt x="516" y="131"/>
                  </a:lnTo>
                  <a:lnTo>
                    <a:pt x="518" y="131"/>
                  </a:lnTo>
                  <a:lnTo>
                    <a:pt x="518" y="133"/>
                  </a:lnTo>
                  <a:lnTo>
                    <a:pt x="520" y="133"/>
                  </a:lnTo>
                  <a:lnTo>
                    <a:pt x="522" y="133"/>
                  </a:lnTo>
                  <a:lnTo>
                    <a:pt x="522" y="135"/>
                  </a:lnTo>
                  <a:lnTo>
                    <a:pt x="522" y="137"/>
                  </a:lnTo>
                  <a:lnTo>
                    <a:pt x="524" y="137"/>
                  </a:lnTo>
                  <a:lnTo>
                    <a:pt x="524" y="139"/>
                  </a:lnTo>
                  <a:lnTo>
                    <a:pt x="526" y="139"/>
                  </a:lnTo>
                  <a:lnTo>
                    <a:pt x="526" y="141"/>
                  </a:lnTo>
                  <a:lnTo>
                    <a:pt x="524" y="141"/>
                  </a:lnTo>
                  <a:lnTo>
                    <a:pt x="524" y="143"/>
                  </a:lnTo>
                  <a:lnTo>
                    <a:pt x="524" y="144"/>
                  </a:lnTo>
                  <a:lnTo>
                    <a:pt x="526" y="144"/>
                  </a:lnTo>
                  <a:lnTo>
                    <a:pt x="524" y="144"/>
                  </a:lnTo>
                  <a:lnTo>
                    <a:pt x="526" y="144"/>
                  </a:lnTo>
                  <a:lnTo>
                    <a:pt x="524" y="144"/>
                  </a:lnTo>
                  <a:lnTo>
                    <a:pt x="524" y="143"/>
                  </a:lnTo>
                  <a:lnTo>
                    <a:pt x="524" y="144"/>
                  </a:lnTo>
                  <a:lnTo>
                    <a:pt x="524" y="143"/>
                  </a:lnTo>
                  <a:lnTo>
                    <a:pt x="522" y="143"/>
                  </a:lnTo>
                  <a:lnTo>
                    <a:pt x="520" y="143"/>
                  </a:lnTo>
                  <a:lnTo>
                    <a:pt x="520" y="141"/>
                  </a:lnTo>
                  <a:lnTo>
                    <a:pt x="518" y="141"/>
                  </a:lnTo>
                  <a:lnTo>
                    <a:pt x="516" y="141"/>
                  </a:lnTo>
                  <a:lnTo>
                    <a:pt x="516" y="139"/>
                  </a:lnTo>
                  <a:lnTo>
                    <a:pt x="514" y="139"/>
                  </a:lnTo>
                  <a:lnTo>
                    <a:pt x="512" y="139"/>
                  </a:lnTo>
                  <a:lnTo>
                    <a:pt x="512" y="137"/>
                  </a:lnTo>
                  <a:lnTo>
                    <a:pt x="510" y="137"/>
                  </a:lnTo>
                  <a:lnTo>
                    <a:pt x="508" y="137"/>
                  </a:lnTo>
                  <a:lnTo>
                    <a:pt x="506" y="137"/>
                  </a:lnTo>
                  <a:lnTo>
                    <a:pt x="506" y="135"/>
                  </a:lnTo>
                  <a:lnTo>
                    <a:pt x="505" y="135"/>
                  </a:lnTo>
                  <a:lnTo>
                    <a:pt x="505" y="137"/>
                  </a:lnTo>
                  <a:lnTo>
                    <a:pt x="506" y="137"/>
                  </a:lnTo>
                  <a:lnTo>
                    <a:pt x="506" y="139"/>
                  </a:lnTo>
                  <a:lnTo>
                    <a:pt x="505" y="139"/>
                  </a:lnTo>
                  <a:lnTo>
                    <a:pt x="505" y="137"/>
                  </a:lnTo>
                  <a:lnTo>
                    <a:pt x="503" y="137"/>
                  </a:lnTo>
                  <a:lnTo>
                    <a:pt x="501" y="137"/>
                  </a:lnTo>
                  <a:lnTo>
                    <a:pt x="499" y="137"/>
                  </a:lnTo>
                  <a:lnTo>
                    <a:pt x="497" y="137"/>
                  </a:lnTo>
                  <a:lnTo>
                    <a:pt x="497" y="135"/>
                  </a:lnTo>
                  <a:lnTo>
                    <a:pt x="495" y="135"/>
                  </a:lnTo>
                  <a:lnTo>
                    <a:pt x="493" y="135"/>
                  </a:lnTo>
                  <a:lnTo>
                    <a:pt x="493" y="137"/>
                  </a:lnTo>
                  <a:lnTo>
                    <a:pt x="493" y="139"/>
                  </a:lnTo>
                  <a:lnTo>
                    <a:pt x="493" y="137"/>
                  </a:lnTo>
                  <a:lnTo>
                    <a:pt x="493" y="139"/>
                  </a:lnTo>
                  <a:lnTo>
                    <a:pt x="493" y="137"/>
                  </a:lnTo>
                  <a:lnTo>
                    <a:pt x="491" y="137"/>
                  </a:lnTo>
                  <a:lnTo>
                    <a:pt x="491" y="139"/>
                  </a:lnTo>
                  <a:lnTo>
                    <a:pt x="489" y="139"/>
                  </a:lnTo>
                  <a:lnTo>
                    <a:pt x="489" y="137"/>
                  </a:lnTo>
                  <a:lnTo>
                    <a:pt x="487" y="137"/>
                  </a:lnTo>
                  <a:lnTo>
                    <a:pt x="487" y="135"/>
                  </a:lnTo>
                  <a:lnTo>
                    <a:pt x="485" y="135"/>
                  </a:lnTo>
                  <a:lnTo>
                    <a:pt x="485" y="133"/>
                  </a:lnTo>
                  <a:lnTo>
                    <a:pt x="483" y="133"/>
                  </a:lnTo>
                  <a:lnTo>
                    <a:pt x="483" y="135"/>
                  </a:lnTo>
                  <a:lnTo>
                    <a:pt x="483" y="137"/>
                  </a:lnTo>
                  <a:lnTo>
                    <a:pt x="483" y="139"/>
                  </a:lnTo>
                  <a:lnTo>
                    <a:pt x="481" y="139"/>
                  </a:lnTo>
                  <a:lnTo>
                    <a:pt x="483" y="139"/>
                  </a:lnTo>
                  <a:lnTo>
                    <a:pt x="481" y="139"/>
                  </a:lnTo>
                  <a:lnTo>
                    <a:pt x="481" y="141"/>
                  </a:lnTo>
                  <a:lnTo>
                    <a:pt x="481" y="139"/>
                  </a:lnTo>
                  <a:lnTo>
                    <a:pt x="481" y="141"/>
                  </a:lnTo>
                  <a:lnTo>
                    <a:pt x="481" y="139"/>
                  </a:lnTo>
                  <a:lnTo>
                    <a:pt x="481" y="137"/>
                  </a:lnTo>
                  <a:lnTo>
                    <a:pt x="481" y="135"/>
                  </a:lnTo>
                  <a:lnTo>
                    <a:pt x="481" y="133"/>
                  </a:lnTo>
                  <a:lnTo>
                    <a:pt x="483" y="133"/>
                  </a:lnTo>
                  <a:lnTo>
                    <a:pt x="485" y="133"/>
                  </a:lnTo>
                  <a:lnTo>
                    <a:pt x="485" y="131"/>
                  </a:lnTo>
                  <a:lnTo>
                    <a:pt x="483" y="131"/>
                  </a:lnTo>
                  <a:lnTo>
                    <a:pt x="485" y="131"/>
                  </a:lnTo>
                  <a:lnTo>
                    <a:pt x="483" y="131"/>
                  </a:lnTo>
                  <a:lnTo>
                    <a:pt x="485" y="131"/>
                  </a:lnTo>
                  <a:lnTo>
                    <a:pt x="485" y="129"/>
                  </a:lnTo>
                  <a:lnTo>
                    <a:pt x="487" y="129"/>
                  </a:lnTo>
                  <a:lnTo>
                    <a:pt x="489" y="129"/>
                  </a:lnTo>
                  <a:lnTo>
                    <a:pt x="491" y="129"/>
                  </a:lnTo>
                  <a:lnTo>
                    <a:pt x="493" y="129"/>
                  </a:lnTo>
                  <a:lnTo>
                    <a:pt x="495" y="129"/>
                  </a:lnTo>
                  <a:lnTo>
                    <a:pt x="497" y="129"/>
                  </a:lnTo>
                  <a:lnTo>
                    <a:pt x="499" y="129"/>
                  </a:lnTo>
                  <a:lnTo>
                    <a:pt x="499" y="131"/>
                  </a:lnTo>
                  <a:lnTo>
                    <a:pt x="499" y="129"/>
                  </a:lnTo>
                  <a:lnTo>
                    <a:pt x="499" y="131"/>
                  </a:lnTo>
                  <a:lnTo>
                    <a:pt x="501" y="131"/>
                  </a:lnTo>
                  <a:lnTo>
                    <a:pt x="501" y="129"/>
                  </a:lnTo>
                  <a:lnTo>
                    <a:pt x="503" y="129"/>
                  </a:lnTo>
                  <a:lnTo>
                    <a:pt x="505" y="129"/>
                  </a:lnTo>
                  <a:lnTo>
                    <a:pt x="505" y="127"/>
                  </a:lnTo>
                  <a:lnTo>
                    <a:pt x="506" y="127"/>
                  </a:lnTo>
                  <a:lnTo>
                    <a:pt x="506" y="129"/>
                  </a:lnTo>
                  <a:close/>
                  <a:moveTo>
                    <a:pt x="336" y="206"/>
                  </a:moveTo>
                  <a:lnTo>
                    <a:pt x="338" y="206"/>
                  </a:lnTo>
                  <a:lnTo>
                    <a:pt x="339" y="206"/>
                  </a:lnTo>
                  <a:lnTo>
                    <a:pt x="339" y="208"/>
                  </a:lnTo>
                  <a:lnTo>
                    <a:pt x="339" y="210"/>
                  </a:lnTo>
                  <a:lnTo>
                    <a:pt x="341" y="210"/>
                  </a:lnTo>
                  <a:lnTo>
                    <a:pt x="343" y="210"/>
                  </a:lnTo>
                  <a:lnTo>
                    <a:pt x="343" y="208"/>
                  </a:lnTo>
                  <a:lnTo>
                    <a:pt x="345" y="208"/>
                  </a:lnTo>
                  <a:lnTo>
                    <a:pt x="345" y="210"/>
                  </a:lnTo>
                  <a:lnTo>
                    <a:pt x="345" y="208"/>
                  </a:lnTo>
                  <a:lnTo>
                    <a:pt x="345" y="210"/>
                  </a:lnTo>
                  <a:lnTo>
                    <a:pt x="347" y="210"/>
                  </a:lnTo>
                  <a:lnTo>
                    <a:pt x="347" y="212"/>
                  </a:lnTo>
                  <a:lnTo>
                    <a:pt x="347" y="214"/>
                  </a:lnTo>
                  <a:lnTo>
                    <a:pt x="347" y="212"/>
                  </a:lnTo>
                  <a:lnTo>
                    <a:pt x="347" y="210"/>
                  </a:lnTo>
                  <a:lnTo>
                    <a:pt x="349" y="210"/>
                  </a:lnTo>
                  <a:lnTo>
                    <a:pt x="351" y="210"/>
                  </a:lnTo>
                  <a:lnTo>
                    <a:pt x="351" y="212"/>
                  </a:lnTo>
                  <a:lnTo>
                    <a:pt x="353" y="212"/>
                  </a:lnTo>
                  <a:lnTo>
                    <a:pt x="353" y="214"/>
                  </a:lnTo>
                  <a:lnTo>
                    <a:pt x="351" y="214"/>
                  </a:lnTo>
                  <a:lnTo>
                    <a:pt x="353" y="214"/>
                  </a:lnTo>
                  <a:lnTo>
                    <a:pt x="351" y="214"/>
                  </a:lnTo>
                  <a:lnTo>
                    <a:pt x="353" y="214"/>
                  </a:lnTo>
                  <a:lnTo>
                    <a:pt x="351" y="214"/>
                  </a:lnTo>
                  <a:lnTo>
                    <a:pt x="353" y="214"/>
                  </a:lnTo>
                  <a:lnTo>
                    <a:pt x="353" y="216"/>
                  </a:lnTo>
                  <a:lnTo>
                    <a:pt x="353" y="214"/>
                  </a:lnTo>
                  <a:lnTo>
                    <a:pt x="355" y="214"/>
                  </a:lnTo>
                  <a:lnTo>
                    <a:pt x="353" y="214"/>
                  </a:lnTo>
                  <a:lnTo>
                    <a:pt x="355" y="214"/>
                  </a:lnTo>
                  <a:lnTo>
                    <a:pt x="353" y="214"/>
                  </a:lnTo>
                  <a:lnTo>
                    <a:pt x="355" y="214"/>
                  </a:lnTo>
                  <a:lnTo>
                    <a:pt x="353" y="214"/>
                  </a:lnTo>
                  <a:lnTo>
                    <a:pt x="355" y="214"/>
                  </a:lnTo>
                  <a:lnTo>
                    <a:pt x="355" y="216"/>
                  </a:lnTo>
                  <a:lnTo>
                    <a:pt x="353" y="216"/>
                  </a:lnTo>
                  <a:lnTo>
                    <a:pt x="355" y="216"/>
                  </a:lnTo>
                  <a:lnTo>
                    <a:pt x="353" y="216"/>
                  </a:lnTo>
                  <a:lnTo>
                    <a:pt x="355" y="216"/>
                  </a:lnTo>
                  <a:lnTo>
                    <a:pt x="353" y="216"/>
                  </a:lnTo>
                  <a:lnTo>
                    <a:pt x="351" y="216"/>
                  </a:lnTo>
                  <a:lnTo>
                    <a:pt x="349" y="216"/>
                  </a:lnTo>
                  <a:lnTo>
                    <a:pt x="347" y="216"/>
                  </a:lnTo>
                  <a:lnTo>
                    <a:pt x="349" y="216"/>
                  </a:lnTo>
                  <a:lnTo>
                    <a:pt x="351" y="216"/>
                  </a:lnTo>
                  <a:lnTo>
                    <a:pt x="351" y="217"/>
                  </a:lnTo>
                  <a:lnTo>
                    <a:pt x="349" y="217"/>
                  </a:lnTo>
                  <a:lnTo>
                    <a:pt x="347" y="217"/>
                  </a:lnTo>
                  <a:lnTo>
                    <a:pt x="345" y="217"/>
                  </a:lnTo>
                  <a:lnTo>
                    <a:pt x="343" y="217"/>
                  </a:lnTo>
                  <a:lnTo>
                    <a:pt x="341" y="217"/>
                  </a:lnTo>
                  <a:lnTo>
                    <a:pt x="341" y="216"/>
                  </a:lnTo>
                  <a:lnTo>
                    <a:pt x="343" y="216"/>
                  </a:lnTo>
                  <a:lnTo>
                    <a:pt x="343" y="214"/>
                  </a:lnTo>
                  <a:lnTo>
                    <a:pt x="343" y="216"/>
                  </a:lnTo>
                  <a:lnTo>
                    <a:pt x="341" y="216"/>
                  </a:lnTo>
                  <a:lnTo>
                    <a:pt x="341" y="217"/>
                  </a:lnTo>
                  <a:lnTo>
                    <a:pt x="339" y="217"/>
                  </a:lnTo>
                  <a:lnTo>
                    <a:pt x="338" y="217"/>
                  </a:lnTo>
                  <a:lnTo>
                    <a:pt x="336" y="217"/>
                  </a:lnTo>
                  <a:lnTo>
                    <a:pt x="336" y="219"/>
                  </a:lnTo>
                  <a:lnTo>
                    <a:pt x="334" y="219"/>
                  </a:lnTo>
                  <a:lnTo>
                    <a:pt x="334" y="217"/>
                  </a:lnTo>
                  <a:lnTo>
                    <a:pt x="334" y="219"/>
                  </a:lnTo>
                  <a:lnTo>
                    <a:pt x="332" y="219"/>
                  </a:lnTo>
                  <a:lnTo>
                    <a:pt x="330" y="219"/>
                  </a:lnTo>
                  <a:lnTo>
                    <a:pt x="328" y="219"/>
                  </a:lnTo>
                  <a:lnTo>
                    <a:pt x="328" y="221"/>
                  </a:lnTo>
                  <a:lnTo>
                    <a:pt x="326" y="221"/>
                  </a:lnTo>
                  <a:lnTo>
                    <a:pt x="326" y="219"/>
                  </a:lnTo>
                  <a:lnTo>
                    <a:pt x="324" y="219"/>
                  </a:lnTo>
                  <a:lnTo>
                    <a:pt x="324" y="221"/>
                  </a:lnTo>
                  <a:lnTo>
                    <a:pt x="322" y="221"/>
                  </a:lnTo>
                  <a:lnTo>
                    <a:pt x="320" y="221"/>
                  </a:lnTo>
                  <a:lnTo>
                    <a:pt x="320" y="219"/>
                  </a:lnTo>
                  <a:lnTo>
                    <a:pt x="320" y="221"/>
                  </a:lnTo>
                  <a:lnTo>
                    <a:pt x="320" y="219"/>
                  </a:lnTo>
                  <a:lnTo>
                    <a:pt x="318" y="219"/>
                  </a:lnTo>
                  <a:lnTo>
                    <a:pt x="318" y="217"/>
                  </a:lnTo>
                  <a:lnTo>
                    <a:pt x="320" y="217"/>
                  </a:lnTo>
                  <a:lnTo>
                    <a:pt x="320" y="216"/>
                  </a:lnTo>
                  <a:lnTo>
                    <a:pt x="318" y="216"/>
                  </a:lnTo>
                  <a:lnTo>
                    <a:pt x="318" y="214"/>
                  </a:lnTo>
                  <a:lnTo>
                    <a:pt x="320" y="214"/>
                  </a:lnTo>
                  <a:lnTo>
                    <a:pt x="320" y="212"/>
                  </a:lnTo>
                  <a:lnTo>
                    <a:pt x="320" y="214"/>
                  </a:lnTo>
                  <a:lnTo>
                    <a:pt x="320" y="212"/>
                  </a:lnTo>
                  <a:lnTo>
                    <a:pt x="322" y="212"/>
                  </a:lnTo>
                  <a:lnTo>
                    <a:pt x="324" y="212"/>
                  </a:lnTo>
                  <a:lnTo>
                    <a:pt x="324" y="210"/>
                  </a:lnTo>
                  <a:lnTo>
                    <a:pt x="324" y="212"/>
                  </a:lnTo>
                  <a:lnTo>
                    <a:pt x="326" y="212"/>
                  </a:lnTo>
                  <a:lnTo>
                    <a:pt x="328" y="212"/>
                  </a:lnTo>
                  <a:lnTo>
                    <a:pt x="330" y="212"/>
                  </a:lnTo>
                  <a:lnTo>
                    <a:pt x="332" y="212"/>
                  </a:lnTo>
                  <a:lnTo>
                    <a:pt x="330" y="212"/>
                  </a:lnTo>
                  <a:lnTo>
                    <a:pt x="332" y="212"/>
                  </a:lnTo>
                  <a:lnTo>
                    <a:pt x="330" y="212"/>
                  </a:lnTo>
                  <a:lnTo>
                    <a:pt x="332" y="212"/>
                  </a:lnTo>
                  <a:lnTo>
                    <a:pt x="332" y="214"/>
                  </a:lnTo>
                  <a:lnTo>
                    <a:pt x="334" y="214"/>
                  </a:lnTo>
                  <a:lnTo>
                    <a:pt x="334" y="216"/>
                  </a:lnTo>
                  <a:lnTo>
                    <a:pt x="336" y="216"/>
                  </a:lnTo>
                  <a:lnTo>
                    <a:pt x="338" y="216"/>
                  </a:lnTo>
                  <a:lnTo>
                    <a:pt x="336" y="216"/>
                  </a:lnTo>
                  <a:lnTo>
                    <a:pt x="338" y="216"/>
                  </a:lnTo>
                  <a:lnTo>
                    <a:pt x="336" y="216"/>
                  </a:lnTo>
                  <a:lnTo>
                    <a:pt x="338" y="216"/>
                  </a:lnTo>
                  <a:lnTo>
                    <a:pt x="339" y="216"/>
                  </a:lnTo>
                  <a:lnTo>
                    <a:pt x="339" y="214"/>
                  </a:lnTo>
                  <a:lnTo>
                    <a:pt x="339" y="216"/>
                  </a:lnTo>
                  <a:lnTo>
                    <a:pt x="339" y="214"/>
                  </a:lnTo>
                  <a:lnTo>
                    <a:pt x="339" y="216"/>
                  </a:lnTo>
                  <a:lnTo>
                    <a:pt x="339" y="214"/>
                  </a:lnTo>
                  <a:lnTo>
                    <a:pt x="339" y="216"/>
                  </a:lnTo>
                  <a:lnTo>
                    <a:pt x="339" y="214"/>
                  </a:lnTo>
                  <a:lnTo>
                    <a:pt x="339" y="216"/>
                  </a:lnTo>
                  <a:lnTo>
                    <a:pt x="339" y="214"/>
                  </a:lnTo>
                  <a:lnTo>
                    <a:pt x="339" y="216"/>
                  </a:lnTo>
                  <a:lnTo>
                    <a:pt x="339" y="214"/>
                  </a:lnTo>
                  <a:lnTo>
                    <a:pt x="339" y="216"/>
                  </a:lnTo>
                  <a:lnTo>
                    <a:pt x="341" y="216"/>
                  </a:lnTo>
                  <a:lnTo>
                    <a:pt x="341" y="214"/>
                  </a:lnTo>
                  <a:lnTo>
                    <a:pt x="341" y="216"/>
                  </a:lnTo>
                  <a:lnTo>
                    <a:pt x="341" y="214"/>
                  </a:lnTo>
                  <a:lnTo>
                    <a:pt x="339" y="214"/>
                  </a:lnTo>
                  <a:lnTo>
                    <a:pt x="339" y="212"/>
                  </a:lnTo>
                  <a:lnTo>
                    <a:pt x="338" y="212"/>
                  </a:lnTo>
                  <a:lnTo>
                    <a:pt x="336" y="212"/>
                  </a:lnTo>
                  <a:lnTo>
                    <a:pt x="336" y="210"/>
                  </a:lnTo>
                  <a:lnTo>
                    <a:pt x="334" y="210"/>
                  </a:lnTo>
                  <a:lnTo>
                    <a:pt x="334" y="208"/>
                  </a:lnTo>
                  <a:lnTo>
                    <a:pt x="332" y="208"/>
                  </a:lnTo>
                  <a:lnTo>
                    <a:pt x="334" y="208"/>
                  </a:lnTo>
                  <a:lnTo>
                    <a:pt x="334" y="206"/>
                  </a:lnTo>
                  <a:lnTo>
                    <a:pt x="336" y="206"/>
                  </a:lnTo>
                  <a:close/>
                  <a:moveTo>
                    <a:pt x="409" y="206"/>
                  </a:moveTo>
                  <a:lnTo>
                    <a:pt x="410" y="206"/>
                  </a:lnTo>
                  <a:lnTo>
                    <a:pt x="410" y="208"/>
                  </a:lnTo>
                  <a:lnTo>
                    <a:pt x="409" y="208"/>
                  </a:lnTo>
                  <a:lnTo>
                    <a:pt x="410" y="208"/>
                  </a:lnTo>
                  <a:lnTo>
                    <a:pt x="410" y="210"/>
                  </a:lnTo>
                  <a:lnTo>
                    <a:pt x="409" y="210"/>
                  </a:lnTo>
                  <a:lnTo>
                    <a:pt x="409" y="212"/>
                  </a:lnTo>
                  <a:lnTo>
                    <a:pt x="407" y="212"/>
                  </a:lnTo>
                  <a:lnTo>
                    <a:pt x="407" y="214"/>
                  </a:lnTo>
                  <a:lnTo>
                    <a:pt x="409" y="214"/>
                  </a:lnTo>
                  <a:lnTo>
                    <a:pt x="407" y="214"/>
                  </a:lnTo>
                  <a:lnTo>
                    <a:pt x="405" y="214"/>
                  </a:lnTo>
                  <a:lnTo>
                    <a:pt x="405" y="216"/>
                  </a:lnTo>
                  <a:lnTo>
                    <a:pt x="405" y="214"/>
                  </a:lnTo>
                  <a:lnTo>
                    <a:pt x="405" y="216"/>
                  </a:lnTo>
                  <a:lnTo>
                    <a:pt x="403" y="216"/>
                  </a:lnTo>
                  <a:lnTo>
                    <a:pt x="401" y="216"/>
                  </a:lnTo>
                  <a:lnTo>
                    <a:pt x="399" y="216"/>
                  </a:lnTo>
                  <a:lnTo>
                    <a:pt x="397" y="216"/>
                  </a:lnTo>
                  <a:lnTo>
                    <a:pt x="395" y="216"/>
                  </a:lnTo>
                  <a:lnTo>
                    <a:pt x="395" y="217"/>
                  </a:lnTo>
                  <a:lnTo>
                    <a:pt x="393" y="217"/>
                  </a:lnTo>
                  <a:lnTo>
                    <a:pt x="391" y="217"/>
                  </a:lnTo>
                  <a:lnTo>
                    <a:pt x="389" y="217"/>
                  </a:lnTo>
                  <a:lnTo>
                    <a:pt x="387" y="217"/>
                  </a:lnTo>
                  <a:lnTo>
                    <a:pt x="386" y="217"/>
                  </a:lnTo>
                  <a:lnTo>
                    <a:pt x="386" y="219"/>
                  </a:lnTo>
                  <a:lnTo>
                    <a:pt x="386" y="217"/>
                  </a:lnTo>
                  <a:lnTo>
                    <a:pt x="384" y="217"/>
                  </a:lnTo>
                  <a:lnTo>
                    <a:pt x="382" y="217"/>
                  </a:lnTo>
                  <a:lnTo>
                    <a:pt x="382" y="219"/>
                  </a:lnTo>
                  <a:lnTo>
                    <a:pt x="380" y="219"/>
                  </a:lnTo>
                  <a:lnTo>
                    <a:pt x="380" y="217"/>
                  </a:lnTo>
                  <a:lnTo>
                    <a:pt x="378" y="217"/>
                  </a:lnTo>
                  <a:lnTo>
                    <a:pt x="376" y="217"/>
                  </a:lnTo>
                  <a:lnTo>
                    <a:pt x="374" y="217"/>
                  </a:lnTo>
                  <a:lnTo>
                    <a:pt x="372" y="217"/>
                  </a:lnTo>
                  <a:lnTo>
                    <a:pt x="370" y="217"/>
                  </a:lnTo>
                  <a:lnTo>
                    <a:pt x="368" y="217"/>
                  </a:lnTo>
                  <a:lnTo>
                    <a:pt x="368" y="216"/>
                  </a:lnTo>
                  <a:lnTo>
                    <a:pt x="368" y="217"/>
                  </a:lnTo>
                  <a:lnTo>
                    <a:pt x="366" y="217"/>
                  </a:lnTo>
                  <a:lnTo>
                    <a:pt x="364" y="217"/>
                  </a:lnTo>
                  <a:lnTo>
                    <a:pt x="362" y="217"/>
                  </a:lnTo>
                  <a:lnTo>
                    <a:pt x="364" y="217"/>
                  </a:lnTo>
                  <a:lnTo>
                    <a:pt x="364" y="216"/>
                  </a:lnTo>
                  <a:lnTo>
                    <a:pt x="362" y="216"/>
                  </a:lnTo>
                  <a:lnTo>
                    <a:pt x="362" y="214"/>
                  </a:lnTo>
                  <a:lnTo>
                    <a:pt x="364" y="214"/>
                  </a:lnTo>
                  <a:lnTo>
                    <a:pt x="364" y="212"/>
                  </a:lnTo>
                  <a:lnTo>
                    <a:pt x="366" y="212"/>
                  </a:lnTo>
                  <a:lnTo>
                    <a:pt x="366" y="210"/>
                  </a:lnTo>
                  <a:lnTo>
                    <a:pt x="366" y="212"/>
                  </a:lnTo>
                  <a:lnTo>
                    <a:pt x="366" y="210"/>
                  </a:lnTo>
                  <a:lnTo>
                    <a:pt x="366" y="212"/>
                  </a:lnTo>
                  <a:lnTo>
                    <a:pt x="366" y="210"/>
                  </a:lnTo>
                  <a:lnTo>
                    <a:pt x="368" y="210"/>
                  </a:lnTo>
                  <a:lnTo>
                    <a:pt x="368" y="212"/>
                  </a:lnTo>
                  <a:lnTo>
                    <a:pt x="366" y="212"/>
                  </a:lnTo>
                  <a:lnTo>
                    <a:pt x="368" y="212"/>
                  </a:lnTo>
                  <a:lnTo>
                    <a:pt x="366" y="212"/>
                  </a:lnTo>
                  <a:lnTo>
                    <a:pt x="368" y="212"/>
                  </a:lnTo>
                  <a:lnTo>
                    <a:pt x="366" y="212"/>
                  </a:lnTo>
                  <a:lnTo>
                    <a:pt x="368" y="212"/>
                  </a:lnTo>
                  <a:lnTo>
                    <a:pt x="366" y="212"/>
                  </a:lnTo>
                  <a:lnTo>
                    <a:pt x="368" y="212"/>
                  </a:lnTo>
                  <a:lnTo>
                    <a:pt x="368" y="210"/>
                  </a:lnTo>
                  <a:lnTo>
                    <a:pt x="370" y="210"/>
                  </a:lnTo>
                  <a:lnTo>
                    <a:pt x="372" y="210"/>
                  </a:lnTo>
                  <a:lnTo>
                    <a:pt x="372" y="208"/>
                  </a:lnTo>
                  <a:lnTo>
                    <a:pt x="372" y="210"/>
                  </a:lnTo>
                  <a:lnTo>
                    <a:pt x="374" y="210"/>
                  </a:lnTo>
                  <a:lnTo>
                    <a:pt x="374" y="208"/>
                  </a:lnTo>
                  <a:lnTo>
                    <a:pt x="376" y="208"/>
                  </a:lnTo>
                  <a:lnTo>
                    <a:pt x="376" y="210"/>
                  </a:lnTo>
                  <a:lnTo>
                    <a:pt x="378" y="210"/>
                  </a:lnTo>
                  <a:lnTo>
                    <a:pt x="380" y="210"/>
                  </a:lnTo>
                  <a:lnTo>
                    <a:pt x="380" y="212"/>
                  </a:lnTo>
                  <a:lnTo>
                    <a:pt x="380" y="210"/>
                  </a:lnTo>
                  <a:lnTo>
                    <a:pt x="382" y="210"/>
                  </a:lnTo>
                  <a:lnTo>
                    <a:pt x="382" y="212"/>
                  </a:lnTo>
                  <a:lnTo>
                    <a:pt x="384" y="212"/>
                  </a:lnTo>
                  <a:lnTo>
                    <a:pt x="386" y="212"/>
                  </a:lnTo>
                  <a:lnTo>
                    <a:pt x="384" y="212"/>
                  </a:lnTo>
                  <a:lnTo>
                    <a:pt x="386" y="212"/>
                  </a:lnTo>
                  <a:lnTo>
                    <a:pt x="386" y="214"/>
                  </a:lnTo>
                  <a:lnTo>
                    <a:pt x="387" y="214"/>
                  </a:lnTo>
                  <a:lnTo>
                    <a:pt x="389" y="214"/>
                  </a:lnTo>
                  <a:lnTo>
                    <a:pt x="387" y="214"/>
                  </a:lnTo>
                  <a:lnTo>
                    <a:pt x="389" y="214"/>
                  </a:lnTo>
                  <a:lnTo>
                    <a:pt x="389" y="212"/>
                  </a:lnTo>
                  <a:lnTo>
                    <a:pt x="391" y="212"/>
                  </a:lnTo>
                  <a:lnTo>
                    <a:pt x="393" y="212"/>
                  </a:lnTo>
                  <a:lnTo>
                    <a:pt x="391" y="212"/>
                  </a:lnTo>
                  <a:lnTo>
                    <a:pt x="393" y="212"/>
                  </a:lnTo>
                  <a:lnTo>
                    <a:pt x="395" y="212"/>
                  </a:lnTo>
                  <a:lnTo>
                    <a:pt x="395" y="214"/>
                  </a:lnTo>
                  <a:lnTo>
                    <a:pt x="395" y="212"/>
                  </a:lnTo>
                  <a:lnTo>
                    <a:pt x="395" y="214"/>
                  </a:lnTo>
                  <a:lnTo>
                    <a:pt x="397" y="214"/>
                  </a:lnTo>
                  <a:lnTo>
                    <a:pt x="397" y="212"/>
                  </a:lnTo>
                  <a:lnTo>
                    <a:pt x="397" y="214"/>
                  </a:lnTo>
                  <a:lnTo>
                    <a:pt x="399" y="214"/>
                  </a:lnTo>
                  <a:lnTo>
                    <a:pt x="401" y="214"/>
                  </a:lnTo>
                  <a:lnTo>
                    <a:pt x="403" y="214"/>
                  </a:lnTo>
                  <a:lnTo>
                    <a:pt x="403" y="212"/>
                  </a:lnTo>
                  <a:lnTo>
                    <a:pt x="405" y="212"/>
                  </a:lnTo>
                  <a:lnTo>
                    <a:pt x="405" y="210"/>
                  </a:lnTo>
                  <a:lnTo>
                    <a:pt x="407" y="210"/>
                  </a:lnTo>
                  <a:lnTo>
                    <a:pt x="409" y="210"/>
                  </a:lnTo>
                  <a:lnTo>
                    <a:pt x="409" y="208"/>
                  </a:lnTo>
                  <a:lnTo>
                    <a:pt x="407" y="208"/>
                  </a:lnTo>
                  <a:lnTo>
                    <a:pt x="407" y="206"/>
                  </a:lnTo>
                  <a:lnTo>
                    <a:pt x="409" y="206"/>
                  </a:lnTo>
                  <a:close/>
                  <a:moveTo>
                    <a:pt x="439" y="219"/>
                  </a:moveTo>
                  <a:lnTo>
                    <a:pt x="437" y="219"/>
                  </a:lnTo>
                  <a:lnTo>
                    <a:pt x="437" y="221"/>
                  </a:lnTo>
                  <a:lnTo>
                    <a:pt x="439" y="221"/>
                  </a:lnTo>
                  <a:lnTo>
                    <a:pt x="439" y="219"/>
                  </a:lnTo>
                  <a:lnTo>
                    <a:pt x="441" y="219"/>
                  </a:lnTo>
                  <a:lnTo>
                    <a:pt x="441" y="221"/>
                  </a:lnTo>
                  <a:lnTo>
                    <a:pt x="441" y="223"/>
                  </a:lnTo>
                  <a:lnTo>
                    <a:pt x="439" y="223"/>
                  </a:lnTo>
                  <a:lnTo>
                    <a:pt x="439" y="221"/>
                  </a:lnTo>
                  <a:lnTo>
                    <a:pt x="439" y="223"/>
                  </a:lnTo>
                  <a:lnTo>
                    <a:pt x="439" y="221"/>
                  </a:lnTo>
                  <a:lnTo>
                    <a:pt x="439" y="223"/>
                  </a:lnTo>
                  <a:lnTo>
                    <a:pt x="439" y="225"/>
                  </a:lnTo>
                  <a:lnTo>
                    <a:pt x="441" y="225"/>
                  </a:lnTo>
                  <a:lnTo>
                    <a:pt x="441" y="227"/>
                  </a:lnTo>
                  <a:lnTo>
                    <a:pt x="439" y="227"/>
                  </a:lnTo>
                  <a:lnTo>
                    <a:pt x="439" y="229"/>
                  </a:lnTo>
                  <a:lnTo>
                    <a:pt x="439" y="227"/>
                  </a:lnTo>
                  <a:lnTo>
                    <a:pt x="439" y="229"/>
                  </a:lnTo>
                  <a:lnTo>
                    <a:pt x="437" y="229"/>
                  </a:lnTo>
                  <a:lnTo>
                    <a:pt x="437" y="231"/>
                  </a:lnTo>
                  <a:lnTo>
                    <a:pt x="435" y="231"/>
                  </a:lnTo>
                  <a:lnTo>
                    <a:pt x="435" y="233"/>
                  </a:lnTo>
                  <a:lnTo>
                    <a:pt x="433" y="233"/>
                  </a:lnTo>
                  <a:lnTo>
                    <a:pt x="433" y="235"/>
                  </a:lnTo>
                  <a:lnTo>
                    <a:pt x="432" y="235"/>
                  </a:lnTo>
                  <a:lnTo>
                    <a:pt x="432" y="237"/>
                  </a:lnTo>
                  <a:lnTo>
                    <a:pt x="430" y="237"/>
                  </a:lnTo>
                  <a:lnTo>
                    <a:pt x="428" y="237"/>
                  </a:lnTo>
                  <a:lnTo>
                    <a:pt x="426" y="237"/>
                  </a:lnTo>
                  <a:lnTo>
                    <a:pt x="426" y="239"/>
                  </a:lnTo>
                  <a:lnTo>
                    <a:pt x="424" y="239"/>
                  </a:lnTo>
                  <a:lnTo>
                    <a:pt x="422" y="239"/>
                  </a:lnTo>
                  <a:lnTo>
                    <a:pt x="422" y="241"/>
                  </a:lnTo>
                  <a:lnTo>
                    <a:pt x="420" y="241"/>
                  </a:lnTo>
                  <a:lnTo>
                    <a:pt x="418" y="241"/>
                  </a:lnTo>
                  <a:lnTo>
                    <a:pt x="418" y="239"/>
                  </a:lnTo>
                  <a:lnTo>
                    <a:pt x="418" y="241"/>
                  </a:lnTo>
                  <a:lnTo>
                    <a:pt x="416" y="241"/>
                  </a:lnTo>
                  <a:lnTo>
                    <a:pt x="416" y="239"/>
                  </a:lnTo>
                  <a:lnTo>
                    <a:pt x="418" y="239"/>
                  </a:lnTo>
                  <a:lnTo>
                    <a:pt x="416" y="239"/>
                  </a:lnTo>
                  <a:lnTo>
                    <a:pt x="418" y="239"/>
                  </a:lnTo>
                  <a:lnTo>
                    <a:pt x="418" y="237"/>
                  </a:lnTo>
                  <a:lnTo>
                    <a:pt x="420" y="237"/>
                  </a:lnTo>
                  <a:lnTo>
                    <a:pt x="420" y="235"/>
                  </a:lnTo>
                  <a:lnTo>
                    <a:pt x="422" y="235"/>
                  </a:lnTo>
                  <a:lnTo>
                    <a:pt x="420" y="235"/>
                  </a:lnTo>
                  <a:lnTo>
                    <a:pt x="418" y="235"/>
                  </a:lnTo>
                  <a:lnTo>
                    <a:pt x="418" y="233"/>
                  </a:lnTo>
                  <a:lnTo>
                    <a:pt x="420" y="233"/>
                  </a:lnTo>
                  <a:lnTo>
                    <a:pt x="420" y="231"/>
                  </a:lnTo>
                  <a:lnTo>
                    <a:pt x="420" y="229"/>
                  </a:lnTo>
                  <a:lnTo>
                    <a:pt x="420" y="227"/>
                  </a:lnTo>
                  <a:lnTo>
                    <a:pt x="422" y="227"/>
                  </a:lnTo>
                  <a:lnTo>
                    <a:pt x="424" y="227"/>
                  </a:lnTo>
                  <a:lnTo>
                    <a:pt x="424" y="225"/>
                  </a:lnTo>
                  <a:lnTo>
                    <a:pt x="426" y="225"/>
                  </a:lnTo>
                  <a:lnTo>
                    <a:pt x="428" y="225"/>
                  </a:lnTo>
                  <a:lnTo>
                    <a:pt x="428" y="227"/>
                  </a:lnTo>
                  <a:lnTo>
                    <a:pt x="430" y="227"/>
                  </a:lnTo>
                  <a:lnTo>
                    <a:pt x="428" y="227"/>
                  </a:lnTo>
                  <a:lnTo>
                    <a:pt x="430" y="227"/>
                  </a:lnTo>
                  <a:lnTo>
                    <a:pt x="430" y="225"/>
                  </a:lnTo>
                  <a:lnTo>
                    <a:pt x="432" y="225"/>
                  </a:lnTo>
                  <a:lnTo>
                    <a:pt x="432" y="223"/>
                  </a:lnTo>
                  <a:lnTo>
                    <a:pt x="433" y="223"/>
                  </a:lnTo>
                  <a:lnTo>
                    <a:pt x="433" y="221"/>
                  </a:lnTo>
                  <a:lnTo>
                    <a:pt x="435" y="221"/>
                  </a:lnTo>
                  <a:lnTo>
                    <a:pt x="435" y="219"/>
                  </a:lnTo>
                  <a:lnTo>
                    <a:pt x="437" y="219"/>
                  </a:lnTo>
                  <a:lnTo>
                    <a:pt x="439" y="219"/>
                  </a:lnTo>
                  <a:close/>
                  <a:moveTo>
                    <a:pt x="639" y="196"/>
                  </a:moveTo>
                  <a:lnTo>
                    <a:pt x="641" y="196"/>
                  </a:lnTo>
                  <a:lnTo>
                    <a:pt x="643" y="196"/>
                  </a:lnTo>
                  <a:lnTo>
                    <a:pt x="643" y="198"/>
                  </a:lnTo>
                  <a:lnTo>
                    <a:pt x="645" y="198"/>
                  </a:lnTo>
                  <a:lnTo>
                    <a:pt x="645" y="200"/>
                  </a:lnTo>
                  <a:lnTo>
                    <a:pt x="645" y="202"/>
                  </a:lnTo>
                  <a:lnTo>
                    <a:pt x="643" y="202"/>
                  </a:lnTo>
                  <a:lnTo>
                    <a:pt x="643" y="204"/>
                  </a:lnTo>
                  <a:lnTo>
                    <a:pt x="643" y="206"/>
                  </a:lnTo>
                  <a:lnTo>
                    <a:pt x="641" y="206"/>
                  </a:lnTo>
                  <a:lnTo>
                    <a:pt x="641" y="208"/>
                  </a:lnTo>
                  <a:lnTo>
                    <a:pt x="639" y="208"/>
                  </a:lnTo>
                  <a:lnTo>
                    <a:pt x="639" y="210"/>
                  </a:lnTo>
                  <a:lnTo>
                    <a:pt x="637" y="210"/>
                  </a:lnTo>
                  <a:lnTo>
                    <a:pt x="635" y="210"/>
                  </a:lnTo>
                  <a:lnTo>
                    <a:pt x="633" y="210"/>
                  </a:lnTo>
                  <a:lnTo>
                    <a:pt x="633" y="212"/>
                  </a:lnTo>
                  <a:lnTo>
                    <a:pt x="633" y="210"/>
                  </a:lnTo>
                  <a:lnTo>
                    <a:pt x="633" y="212"/>
                  </a:lnTo>
                  <a:lnTo>
                    <a:pt x="633" y="210"/>
                  </a:lnTo>
                  <a:lnTo>
                    <a:pt x="631" y="210"/>
                  </a:lnTo>
                  <a:lnTo>
                    <a:pt x="629" y="210"/>
                  </a:lnTo>
                  <a:lnTo>
                    <a:pt x="627" y="210"/>
                  </a:lnTo>
                  <a:lnTo>
                    <a:pt x="627" y="212"/>
                  </a:lnTo>
                  <a:lnTo>
                    <a:pt x="625" y="212"/>
                  </a:lnTo>
                  <a:lnTo>
                    <a:pt x="624" y="212"/>
                  </a:lnTo>
                  <a:lnTo>
                    <a:pt x="624" y="210"/>
                  </a:lnTo>
                  <a:lnTo>
                    <a:pt x="625" y="210"/>
                  </a:lnTo>
                  <a:lnTo>
                    <a:pt x="625" y="208"/>
                  </a:lnTo>
                  <a:lnTo>
                    <a:pt x="625" y="206"/>
                  </a:lnTo>
                  <a:lnTo>
                    <a:pt x="627" y="206"/>
                  </a:lnTo>
                  <a:lnTo>
                    <a:pt x="625" y="206"/>
                  </a:lnTo>
                  <a:lnTo>
                    <a:pt x="627" y="206"/>
                  </a:lnTo>
                  <a:lnTo>
                    <a:pt x="627" y="204"/>
                  </a:lnTo>
                  <a:lnTo>
                    <a:pt x="627" y="202"/>
                  </a:lnTo>
                  <a:lnTo>
                    <a:pt x="629" y="202"/>
                  </a:lnTo>
                  <a:lnTo>
                    <a:pt x="629" y="200"/>
                  </a:lnTo>
                  <a:lnTo>
                    <a:pt x="629" y="198"/>
                  </a:lnTo>
                  <a:lnTo>
                    <a:pt x="631" y="198"/>
                  </a:lnTo>
                  <a:lnTo>
                    <a:pt x="633" y="198"/>
                  </a:lnTo>
                  <a:lnTo>
                    <a:pt x="633" y="196"/>
                  </a:lnTo>
                  <a:lnTo>
                    <a:pt x="635" y="196"/>
                  </a:lnTo>
                  <a:lnTo>
                    <a:pt x="637" y="196"/>
                  </a:lnTo>
                  <a:lnTo>
                    <a:pt x="639" y="196"/>
                  </a:lnTo>
                  <a:close/>
                  <a:moveTo>
                    <a:pt x="161" y="110"/>
                  </a:moveTo>
                  <a:lnTo>
                    <a:pt x="159" y="110"/>
                  </a:lnTo>
                  <a:lnTo>
                    <a:pt x="161" y="110"/>
                  </a:lnTo>
                  <a:lnTo>
                    <a:pt x="163" y="112"/>
                  </a:lnTo>
                  <a:lnTo>
                    <a:pt x="161" y="112"/>
                  </a:lnTo>
                  <a:lnTo>
                    <a:pt x="163" y="112"/>
                  </a:lnTo>
                  <a:lnTo>
                    <a:pt x="163" y="114"/>
                  </a:lnTo>
                  <a:lnTo>
                    <a:pt x="163" y="116"/>
                  </a:lnTo>
                  <a:lnTo>
                    <a:pt x="165" y="116"/>
                  </a:lnTo>
                  <a:lnTo>
                    <a:pt x="163" y="116"/>
                  </a:lnTo>
                  <a:lnTo>
                    <a:pt x="163" y="118"/>
                  </a:lnTo>
                  <a:lnTo>
                    <a:pt x="165" y="118"/>
                  </a:lnTo>
                  <a:lnTo>
                    <a:pt x="165" y="120"/>
                  </a:lnTo>
                  <a:lnTo>
                    <a:pt x="165" y="121"/>
                  </a:lnTo>
                  <a:lnTo>
                    <a:pt x="165" y="123"/>
                  </a:lnTo>
                  <a:lnTo>
                    <a:pt x="167" y="123"/>
                  </a:lnTo>
                  <a:lnTo>
                    <a:pt x="169" y="123"/>
                  </a:lnTo>
                  <a:lnTo>
                    <a:pt x="169" y="125"/>
                  </a:lnTo>
                  <a:lnTo>
                    <a:pt x="171" y="125"/>
                  </a:lnTo>
                  <a:lnTo>
                    <a:pt x="172" y="125"/>
                  </a:lnTo>
                  <a:lnTo>
                    <a:pt x="174" y="125"/>
                  </a:lnTo>
                  <a:lnTo>
                    <a:pt x="172" y="125"/>
                  </a:lnTo>
                  <a:lnTo>
                    <a:pt x="172" y="127"/>
                  </a:lnTo>
                  <a:lnTo>
                    <a:pt x="171" y="127"/>
                  </a:lnTo>
                  <a:lnTo>
                    <a:pt x="171" y="129"/>
                  </a:lnTo>
                  <a:lnTo>
                    <a:pt x="171" y="131"/>
                  </a:lnTo>
                  <a:lnTo>
                    <a:pt x="172" y="131"/>
                  </a:lnTo>
                  <a:lnTo>
                    <a:pt x="172" y="133"/>
                  </a:lnTo>
                  <a:lnTo>
                    <a:pt x="171" y="133"/>
                  </a:lnTo>
                  <a:lnTo>
                    <a:pt x="169" y="133"/>
                  </a:lnTo>
                  <a:lnTo>
                    <a:pt x="169" y="131"/>
                  </a:lnTo>
                  <a:lnTo>
                    <a:pt x="167" y="131"/>
                  </a:lnTo>
                  <a:lnTo>
                    <a:pt x="165" y="131"/>
                  </a:lnTo>
                  <a:lnTo>
                    <a:pt x="165" y="129"/>
                  </a:lnTo>
                  <a:lnTo>
                    <a:pt x="163" y="129"/>
                  </a:lnTo>
                  <a:lnTo>
                    <a:pt x="161" y="129"/>
                  </a:lnTo>
                  <a:lnTo>
                    <a:pt x="161" y="127"/>
                  </a:lnTo>
                  <a:lnTo>
                    <a:pt x="159" y="127"/>
                  </a:lnTo>
                  <a:lnTo>
                    <a:pt x="159" y="125"/>
                  </a:lnTo>
                  <a:lnTo>
                    <a:pt x="161" y="125"/>
                  </a:lnTo>
                  <a:lnTo>
                    <a:pt x="161" y="123"/>
                  </a:lnTo>
                  <a:lnTo>
                    <a:pt x="159" y="123"/>
                  </a:lnTo>
                  <a:lnTo>
                    <a:pt x="159" y="121"/>
                  </a:lnTo>
                  <a:lnTo>
                    <a:pt x="159" y="120"/>
                  </a:lnTo>
                  <a:lnTo>
                    <a:pt x="157" y="120"/>
                  </a:lnTo>
                  <a:lnTo>
                    <a:pt x="157" y="118"/>
                  </a:lnTo>
                  <a:lnTo>
                    <a:pt x="155" y="118"/>
                  </a:lnTo>
                  <a:lnTo>
                    <a:pt x="155" y="120"/>
                  </a:lnTo>
                  <a:lnTo>
                    <a:pt x="155" y="118"/>
                  </a:lnTo>
                  <a:lnTo>
                    <a:pt x="153" y="118"/>
                  </a:lnTo>
                  <a:lnTo>
                    <a:pt x="153" y="120"/>
                  </a:lnTo>
                  <a:lnTo>
                    <a:pt x="153" y="118"/>
                  </a:lnTo>
                  <a:lnTo>
                    <a:pt x="153" y="120"/>
                  </a:lnTo>
                  <a:lnTo>
                    <a:pt x="151" y="120"/>
                  </a:lnTo>
                  <a:lnTo>
                    <a:pt x="151" y="118"/>
                  </a:lnTo>
                  <a:lnTo>
                    <a:pt x="151" y="120"/>
                  </a:lnTo>
                  <a:lnTo>
                    <a:pt x="151" y="118"/>
                  </a:lnTo>
                  <a:lnTo>
                    <a:pt x="149" y="118"/>
                  </a:lnTo>
                  <a:lnTo>
                    <a:pt x="148" y="118"/>
                  </a:lnTo>
                  <a:lnTo>
                    <a:pt x="149" y="118"/>
                  </a:lnTo>
                  <a:lnTo>
                    <a:pt x="149" y="116"/>
                  </a:lnTo>
                  <a:lnTo>
                    <a:pt x="151" y="116"/>
                  </a:lnTo>
                  <a:lnTo>
                    <a:pt x="151" y="114"/>
                  </a:lnTo>
                  <a:lnTo>
                    <a:pt x="153" y="114"/>
                  </a:lnTo>
                  <a:lnTo>
                    <a:pt x="151" y="114"/>
                  </a:lnTo>
                  <a:lnTo>
                    <a:pt x="151" y="112"/>
                  </a:lnTo>
                  <a:lnTo>
                    <a:pt x="153" y="112"/>
                  </a:lnTo>
                  <a:lnTo>
                    <a:pt x="153" y="110"/>
                  </a:lnTo>
                  <a:lnTo>
                    <a:pt x="155" y="110"/>
                  </a:lnTo>
                  <a:lnTo>
                    <a:pt x="155" y="112"/>
                  </a:lnTo>
                  <a:lnTo>
                    <a:pt x="157" y="112"/>
                  </a:lnTo>
                  <a:lnTo>
                    <a:pt x="157" y="114"/>
                  </a:lnTo>
                  <a:lnTo>
                    <a:pt x="159" y="114"/>
                  </a:lnTo>
                  <a:lnTo>
                    <a:pt x="157" y="114"/>
                  </a:lnTo>
                  <a:lnTo>
                    <a:pt x="159" y="114"/>
                  </a:lnTo>
                  <a:lnTo>
                    <a:pt x="157" y="114"/>
                  </a:lnTo>
                  <a:lnTo>
                    <a:pt x="159" y="114"/>
                  </a:lnTo>
                  <a:lnTo>
                    <a:pt x="157" y="114"/>
                  </a:lnTo>
                  <a:lnTo>
                    <a:pt x="157" y="112"/>
                  </a:lnTo>
                  <a:lnTo>
                    <a:pt x="157" y="110"/>
                  </a:lnTo>
                  <a:lnTo>
                    <a:pt x="159" y="110"/>
                  </a:lnTo>
                  <a:lnTo>
                    <a:pt x="161" y="110"/>
                  </a:lnTo>
                  <a:close/>
                  <a:moveTo>
                    <a:pt x="364" y="223"/>
                  </a:moveTo>
                  <a:lnTo>
                    <a:pt x="364" y="225"/>
                  </a:lnTo>
                  <a:lnTo>
                    <a:pt x="366" y="225"/>
                  </a:lnTo>
                  <a:lnTo>
                    <a:pt x="366" y="227"/>
                  </a:lnTo>
                  <a:lnTo>
                    <a:pt x="368" y="227"/>
                  </a:lnTo>
                  <a:lnTo>
                    <a:pt x="370" y="227"/>
                  </a:lnTo>
                  <a:lnTo>
                    <a:pt x="370" y="229"/>
                  </a:lnTo>
                  <a:lnTo>
                    <a:pt x="372" y="229"/>
                  </a:lnTo>
                  <a:lnTo>
                    <a:pt x="374" y="229"/>
                  </a:lnTo>
                  <a:lnTo>
                    <a:pt x="374" y="231"/>
                  </a:lnTo>
                  <a:lnTo>
                    <a:pt x="374" y="229"/>
                  </a:lnTo>
                  <a:lnTo>
                    <a:pt x="374" y="231"/>
                  </a:lnTo>
                  <a:lnTo>
                    <a:pt x="376" y="231"/>
                  </a:lnTo>
                  <a:lnTo>
                    <a:pt x="376" y="233"/>
                  </a:lnTo>
                  <a:lnTo>
                    <a:pt x="378" y="233"/>
                  </a:lnTo>
                  <a:lnTo>
                    <a:pt x="378" y="235"/>
                  </a:lnTo>
                  <a:lnTo>
                    <a:pt x="378" y="237"/>
                  </a:lnTo>
                  <a:lnTo>
                    <a:pt x="376" y="237"/>
                  </a:lnTo>
                  <a:lnTo>
                    <a:pt x="376" y="239"/>
                  </a:lnTo>
                  <a:lnTo>
                    <a:pt x="374" y="239"/>
                  </a:lnTo>
                  <a:lnTo>
                    <a:pt x="372" y="239"/>
                  </a:lnTo>
                  <a:lnTo>
                    <a:pt x="370" y="239"/>
                  </a:lnTo>
                  <a:lnTo>
                    <a:pt x="368" y="239"/>
                  </a:lnTo>
                  <a:lnTo>
                    <a:pt x="368" y="237"/>
                  </a:lnTo>
                  <a:lnTo>
                    <a:pt x="366" y="237"/>
                  </a:lnTo>
                  <a:lnTo>
                    <a:pt x="368" y="237"/>
                  </a:lnTo>
                  <a:lnTo>
                    <a:pt x="366" y="237"/>
                  </a:lnTo>
                  <a:lnTo>
                    <a:pt x="366" y="235"/>
                  </a:lnTo>
                  <a:lnTo>
                    <a:pt x="364" y="235"/>
                  </a:lnTo>
                  <a:lnTo>
                    <a:pt x="366" y="235"/>
                  </a:lnTo>
                  <a:lnTo>
                    <a:pt x="364" y="235"/>
                  </a:lnTo>
                  <a:lnTo>
                    <a:pt x="364" y="233"/>
                  </a:lnTo>
                  <a:lnTo>
                    <a:pt x="362" y="233"/>
                  </a:lnTo>
                  <a:lnTo>
                    <a:pt x="361" y="233"/>
                  </a:lnTo>
                  <a:lnTo>
                    <a:pt x="362" y="233"/>
                  </a:lnTo>
                  <a:lnTo>
                    <a:pt x="362" y="231"/>
                  </a:lnTo>
                  <a:lnTo>
                    <a:pt x="361" y="231"/>
                  </a:lnTo>
                  <a:lnTo>
                    <a:pt x="359" y="231"/>
                  </a:lnTo>
                  <a:lnTo>
                    <a:pt x="357" y="231"/>
                  </a:lnTo>
                  <a:lnTo>
                    <a:pt x="355" y="231"/>
                  </a:lnTo>
                  <a:lnTo>
                    <a:pt x="353" y="231"/>
                  </a:lnTo>
                  <a:lnTo>
                    <a:pt x="353" y="229"/>
                  </a:lnTo>
                  <a:lnTo>
                    <a:pt x="351" y="229"/>
                  </a:lnTo>
                  <a:lnTo>
                    <a:pt x="351" y="227"/>
                  </a:lnTo>
                  <a:lnTo>
                    <a:pt x="353" y="227"/>
                  </a:lnTo>
                  <a:lnTo>
                    <a:pt x="353" y="225"/>
                  </a:lnTo>
                  <a:lnTo>
                    <a:pt x="355" y="225"/>
                  </a:lnTo>
                  <a:lnTo>
                    <a:pt x="357" y="225"/>
                  </a:lnTo>
                  <a:lnTo>
                    <a:pt x="359" y="225"/>
                  </a:lnTo>
                  <a:lnTo>
                    <a:pt x="361" y="225"/>
                  </a:lnTo>
                  <a:lnTo>
                    <a:pt x="362" y="225"/>
                  </a:lnTo>
                  <a:lnTo>
                    <a:pt x="364" y="225"/>
                  </a:lnTo>
                  <a:lnTo>
                    <a:pt x="364" y="223"/>
                  </a:lnTo>
                  <a:close/>
                  <a:moveTo>
                    <a:pt x="464" y="133"/>
                  </a:moveTo>
                  <a:lnTo>
                    <a:pt x="466" y="133"/>
                  </a:lnTo>
                  <a:lnTo>
                    <a:pt x="468" y="133"/>
                  </a:lnTo>
                  <a:lnTo>
                    <a:pt x="468" y="135"/>
                  </a:lnTo>
                  <a:lnTo>
                    <a:pt x="468" y="133"/>
                  </a:lnTo>
                  <a:lnTo>
                    <a:pt x="470" y="133"/>
                  </a:lnTo>
                  <a:lnTo>
                    <a:pt x="470" y="135"/>
                  </a:lnTo>
                  <a:lnTo>
                    <a:pt x="468" y="135"/>
                  </a:lnTo>
                  <a:lnTo>
                    <a:pt x="470" y="135"/>
                  </a:lnTo>
                  <a:lnTo>
                    <a:pt x="470" y="137"/>
                  </a:lnTo>
                  <a:lnTo>
                    <a:pt x="472" y="137"/>
                  </a:lnTo>
                  <a:lnTo>
                    <a:pt x="472" y="139"/>
                  </a:lnTo>
                  <a:lnTo>
                    <a:pt x="472" y="141"/>
                  </a:lnTo>
                  <a:lnTo>
                    <a:pt x="470" y="141"/>
                  </a:lnTo>
                  <a:lnTo>
                    <a:pt x="470" y="143"/>
                  </a:lnTo>
                  <a:lnTo>
                    <a:pt x="468" y="143"/>
                  </a:lnTo>
                  <a:lnTo>
                    <a:pt x="466" y="143"/>
                  </a:lnTo>
                  <a:lnTo>
                    <a:pt x="466" y="144"/>
                  </a:lnTo>
                  <a:lnTo>
                    <a:pt x="464" y="144"/>
                  </a:lnTo>
                  <a:lnTo>
                    <a:pt x="462" y="144"/>
                  </a:lnTo>
                  <a:lnTo>
                    <a:pt x="462" y="143"/>
                  </a:lnTo>
                  <a:lnTo>
                    <a:pt x="462" y="144"/>
                  </a:lnTo>
                  <a:lnTo>
                    <a:pt x="462" y="143"/>
                  </a:lnTo>
                  <a:lnTo>
                    <a:pt x="460" y="143"/>
                  </a:lnTo>
                  <a:lnTo>
                    <a:pt x="458" y="143"/>
                  </a:lnTo>
                  <a:lnTo>
                    <a:pt x="458" y="141"/>
                  </a:lnTo>
                  <a:lnTo>
                    <a:pt x="457" y="141"/>
                  </a:lnTo>
                  <a:lnTo>
                    <a:pt x="457" y="139"/>
                  </a:lnTo>
                  <a:lnTo>
                    <a:pt x="455" y="139"/>
                  </a:lnTo>
                  <a:lnTo>
                    <a:pt x="455" y="137"/>
                  </a:lnTo>
                  <a:lnTo>
                    <a:pt x="455" y="135"/>
                  </a:lnTo>
                  <a:lnTo>
                    <a:pt x="455" y="137"/>
                  </a:lnTo>
                  <a:lnTo>
                    <a:pt x="455" y="135"/>
                  </a:lnTo>
                  <a:lnTo>
                    <a:pt x="455" y="133"/>
                  </a:lnTo>
                  <a:lnTo>
                    <a:pt x="457" y="133"/>
                  </a:lnTo>
                  <a:lnTo>
                    <a:pt x="457" y="135"/>
                  </a:lnTo>
                  <a:lnTo>
                    <a:pt x="457" y="133"/>
                  </a:lnTo>
                  <a:lnTo>
                    <a:pt x="458" y="133"/>
                  </a:lnTo>
                  <a:lnTo>
                    <a:pt x="460" y="133"/>
                  </a:lnTo>
                  <a:lnTo>
                    <a:pt x="462" y="133"/>
                  </a:lnTo>
                  <a:lnTo>
                    <a:pt x="464" y="133"/>
                  </a:lnTo>
                  <a:close/>
                  <a:moveTo>
                    <a:pt x="295" y="206"/>
                  </a:moveTo>
                  <a:lnTo>
                    <a:pt x="297" y="206"/>
                  </a:lnTo>
                  <a:lnTo>
                    <a:pt x="299" y="206"/>
                  </a:lnTo>
                  <a:lnTo>
                    <a:pt x="299" y="208"/>
                  </a:lnTo>
                  <a:lnTo>
                    <a:pt x="301" y="208"/>
                  </a:lnTo>
                  <a:lnTo>
                    <a:pt x="301" y="210"/>
                  </a:lnTo>
                  <a:lnTo>
                    <a:pt x="303" y="210"/>
                  </a:lnTo>
                  <a:lnTo>
                    <a:pt x="303" y="212"/>
                  </a:lnTo>
                  <a:lnTo>
                    <a:pt x="301" y="212"/>
                  </a:lnTo>
                  <a:lnTo>
                    <a:pt x="301" y="214"/>
                  </a:lnTo>
                  <a:lnTo>
                    <a:pt x="299" y="214"/>
                  </a:lnTo>
                  <a:lnTo>
                    <a:pt x="297" y="214"/>
                  </a:lnTo>
                  <a:lnTo>
                    <a:pt x="297" y="216"/>
                  </a:lnTo>
                  <a:lnTo>
                    <a:pt x="295" y="216"/>
                  </a:lnTo>
                  <a:lnTo>
                    <a:pt x="297" y="216"/>
                  </a:lnTo>
                  <a:lnTo>
                    <a:pt x="295" y="216"/>
                  </a:lnTo>
                  <a:lnTo>
                    <a:pt x="295" y="217"/>
                  </a:lnTo>
                  <a:lnTo>
                    <a:pt x="295" y="216"/>
                  </a:lnTo>
                  <a:lnTo>
                    <a:pt x="295" y="217"/>
                  </a:lnTo>
                  <a:lnTo>
                    <a:pt x="297" y="217"/>
                  </a:lnTo>
                  <a:lnTo>
                    <a:pt x="295" y="217"/>
                  </a:lnTo>
                  <a:lnTo>
                    <a:pt x="293" y="217"/>
                  </a:lnTo>
                  <a:lnTo>
                    <a:pt x="295" y="217"/>
                  </a:lnTo>
                  <a:lnTo>
                    <a:pt x="295" y="216"/>
                  </a:lnTo>
                  <a:lnTo>
                    <a:pt x="295" y="217"/>
                  </a:lnTo>
                  <a:lnTo>
                    <a:pt x="295" y="216"/>
                  </a:lnTo>
                  <a:lnTo>
                    <a:pt x="295" y="214"/>
                  </a:lnTo>
                  <a:lnTo>
                    <a:pt x="293" y="214"/>
                  </a:lnTo>
                  <a:lnTo>
                    <a:pt x="293" y="212"/>
                  </a:lnTo>
                  <a:lnTo>
                    <a:pt x="291" y="212"/>
                  </a:lnTo>
                  <a:lnTo>
                    <a:pt x="290" y="212"/>
                  </a:lnTo>
                  <a:lnTo>
                    <a:pt x="288" y="212"/>
                  </a:lnTo>
                  <a:lnTo>
                    <a:pt x="288" y="210"/>
                  </a:lnTo>
                  <a:lnTo>
                    <a:pt x="286" y="210"/>
                  </a:lnTo>
                  <a:lnTo>
                    <a:pt x="286" y="208"/>
                  </a:lnTo>
                  <a:lnTo>
                    <a:pt x="284" y="208"/>
                  </a:lnTo>
                  <a:lnTo>
                    <a:pt x="286" y="208"/>
                  </a:lnTo>
                  <a:lnTo>
                    <a:pt x="286" y="206"/>
                  </a:lnTo>
                  <a:lnTo>
                    <a:pt x="284" y="206"/>
                  </a:lnTo>
                  <a:lnTo>
                    <a:pt x="286" y="206"/>
                  </a:lnTo>
                  <a:lnTo>
                    <a:pt x="286" y="208"/>
                  </a:lnTo>
                  <a:lnTo>
                    <a:pt x="286" y="206"/>
                  </a:lnTo>
                  <a:lnTo>
                    <a:pt x="286" y="208"/>
                  </a:lnTo>
                  <a:lnTo>
                    <a:pt x="286" y="206"/>
                  </a:lnTo>
                  <a:lnTo>
                    <a:pt x="288" y="206"/>
                  </a:lnTo>
                  <a:lnTo>
                    <a:pt x="288" y="208"/>
                  </a:lnTo>
                  <a:lnTo>
                    <a:pt x="288" y="206"/>
                  </a:lnTo>
                  <a:lnTo>
                    <a:pt x="288" y="208"/>
                  </a:lnTo>
                  <a:lnTo>
                    <a:pt x="288" y="206"/>
                  </a:lnTo>
                  <a:lnTo>
                    <a:pt x="288" y="208"/>
                  </a:lnTo>
                  <a:lnTo>
                    <a:pt x="290" y="208"/>
                  </a:lnTo>
                  <a:lnTo>
                    <a:pt x="291" y="208"/>
                  </a:lnTo>
                  <a:lnTo>
                    <a:pt x="293" y="208"/>
                  </a:lnTo>
                  <a:lnTo>
                    <a:pt x="293" y="206"/>
                  </a:lnTo>
                  <a:lnTo>
                    <a:pt x="295" y="206"/>
                  </a:lnTo>
                  <a:close/>
                  <a:moveTo>
                    <a:pt x="188" y="125"/>
                  </a:moveTo>
                  <a:lnTo>
                    <a:pt x="190" y="125"/>
                  </a:lnTo>
                  <a:lnTo>
                    <a:pt x="192" y="125"/>
                  </a:lnTo>
                  <a:lnTo>
                    <a:pt x="190" y="125"/>
                  </a:lnTo>
                  <a:lnTo>
                    <a:pt x="192" y="125"/>
                  </a:lnTo>
                  <a:lnTo>
                    <a:pt x="190" y="125"/>
                  </a:lnTo>
                  <a:lnTo>
                    <a:pt x="192" y="125"/>
                  </a:lnTo>
                  <a:lnTo>
                    <a:pt x="192" y="127"/>
                  </a:lnTo>
                  <a:lnTo>
                    <a:pt x="192" y="125"/>
                  </a:lnTo>
                  <a:lnTo>
                    <a:pt x="192" y="127"/>
                  </a:lnTo>
                  <a:lnTo>
                    <a:pt x="194" y="127"/>
                  </a:lnTo>
                  <a:lnTo>
                    <a:pt x="194" y="129"/>
                  </a:lnTo>
                  <a:lnTo>
                    <a:pt x="196" y="129"/>
                  </a:lnTo>
                  <a:lnTo>
                    <a:pt x="194" y="129"/>
                  </a:lnTo>
                  <a:lnTo>
                    <a:pt x="194" y="131"/>
                  </a:lnTo>
                  <a:lnTo>
                    <a:pt x="194" y="133"/>
                  </a:lnTo>
                  <a:lnTo>
                    <a:pt x="194" y="135"/>
                  </a:lnTo>
                  <a:lnTo>
                    <a:pt x="194" y="133"/>
                  </a:lnTo>
                  <a:lnTo>
                    <a:pt x="194" y="135"/>
                  </a:lnTo>
                  <a:lnTo>
                    <a:pt x="194" y="133"/>
                  </a:lnTo>
                  <a:lnTo>
                    <a:pt x="194" y="135"/>
                  </a:lnTo>
                  <a:lnTo>
                    <a:pt x="192" y="135"/>
                  </a:lnTo>
                  <a:lnTo>
                    <a:pt x="192" y="133"/>
                  </a:lnTo>
                  <a:lnTo>
                    <a:pt x="192" y="135"/>
                  </a:lnTo>
                  <a:lnTo>
                    <a:pt x="190" y="135"/>
                  </a:lnTo>
                  <a:lnTo>
                    <a:pt x="190" y="133"/>
                  </a:lnTo>
                  <a:lnTo>
                    <a:pt x="188" y="133"/>
                  </a:lnTo>
                  <a:lnTo>
                    <a:pt x="188" y="135"/>
                  </a:lnTo>
                  <a:lnTo>
                    <a:pt x="186" y="135"/>
                  </a:lnTo>
                  <a:lnTo>
                    <a:pt x="184" y="135"/>
                  </a:lnTo>
                  <a:lnTo>
                    <a:pt x="184" y="133"/>
                  </a:lnTo>
                  <a:lnTo>
                    <a:pt x="186" y="133"/>
                  </a:lnTo>
                  <a:lnTo>
                    <a:pt x="184" y="133"/>
                  </a:lnTo>
                  <a:lnTo>
                    <a:pt x="184" y="131"/>
                  </a:lnTo>
                  <a:lnTo>
                    <a:pt x="184" y="129"/>
                  </a:lnTo>
                  <a:lnTo>
                    <a:pt x="184" y="127"/>
                  </a:lnTo>
                  <a:lnTo>
                    <a:pt x="184" y="129"/>
                  </a:lnTo>
                  <a:lnTo>
                    <a:pt x="184" y="127"/>
                  </a:lnTo>
                  <a:lnTo>
                    <a:pt x="186" y="127"/>
                  </a:lnTo>
                  <a:lnTo>
                    <a:pt x="184" y="127"/>
                  </a:lnTo>
                  <a:lnTo>
                    <a:pt x="186" y="127"/>
                  </a:lnTo>
                  <a:lnTo>
                    <a:pt x="186" y="125"/>
                  </a:lnTo>
                  <a:lnTo>
                    <a:pt x="186" y="127"/>
                  </a:lnTo>
                  <a:lnTo>
                    <a:pt x="186" y="125"/>
                  </a:lnTo>
                  <a:lnTo>
                    <a:pt x="188" y="125"/>
                  </a:lnTo>
                  <a:close/>
                  <a:moveTo>
                    <a:pt x="313" y="208"/>
                  </a:moveTo>
                  <a:lnTo>
                    <a:pt x="314" y="208"/>
                  </a:lnTo>
                  <a:lnTo>
                    <a:pt x="316" y="208"/>
                  </a:lnTo>
                  <a:lnTo>
                    <a:pt x="316" y="210"/>
                  </a:lnTo>
                  <a:lnTo>
                    <a:pt x="318" y="210"/>
                  </a:lnTo>
                  <a:lnTo>
                    <a:pt x="318" y="212"/>
                  </a:lnTo>
                  <a:lnTo>
                    <a:pt x="316" y="212"/>
                  </a:lnTo>
                  <a:lnTo>
                    <a:pt x="318" y="212"/>
                  </a:lnTo>
                  <a:lnTo>
                    <a:pt x="316" y="212"/>
                  </a:lnTo>
                  <a:lnTo>
                    <a:pt x="318" y="212"/>
                  </a:lnTo>
                  <a:lnTo>
                    <a:pt x="316" y="212"/>
                  </a:lnTo>
                  <a:lnTo>
                    <a:pt x="316" y="214"/>
                  </a:lnTo>
                  <a:lnTo>
                    <a:pt x="316" y="216"/>
                  </a:lnTo>
                  <a:lnTo>
                    <a:pt x="314" y="216"/>
                  </a:lnTo>
                  <a:lnTo>
                    <a:pt x="314" y="217"/>
                  </a:lnTo>
                  <a:lnTo>
                    <a:pt x="316" y="217"/>
                  </a:lnTo>
                  <a:lnTo>
                    <a:pt x="314" y="217"/>
                  </a:lnTo>
                  <a:lnTo>
                    <a:pt x="316" y="217"/>
                  </a:lnTo>
                  <a:lnTo>
                    <a:pt x="314" y="217"/>
                  </a:lnTo>
                  <a:lnTo>
                    <a:pt x="316" y="217"/>
                  </a:lnTo>
                  <a:lnTo>
                    <a:pt x="314" y="217"/>
                  </a:lnTo>
                  <a:lnTo>
                    <a:pt x="316" y="217"/>
                  </a:lnTo>
                  <a:lnTo>
                    <a:pt x="314" y="217"/>
                  </a:lnTo>
                  <a:lnTo>
                    <a:pt x="316" y="217"/>
                  </a:lnTo>
                  <a:lnTo>
                    <a:pt x="314" y="217"/>
                  </a:lnTo>
                  <a:lnTo>
                    <a:pt x="316" y="217"/>
                  </a:lnTo>
                  <a:lnTo>
                    <a:pt x="314" y="217"/>
                  </a:lnTo>
                  <a:lnTo>
                    <a:pt x="314" y="219"/>
                  </a:lnTo>
                  <a:lnTo>
                    <a:pt x="314" y="217"/>
                  </a:lnTo>
                  <a:lnTo>
                    <a:pt x="314" y="219"/>
                  </a:lnTo>
                  <a:lnTo>
                    <a:pt x="314" y="217"/>
                  </a:lnTo>
                  <a:lnTo>
                    <a:pt x="314" y="219"/>
                  </a:lnTo>
                  <a:lnTo>
                    <a:pt x="314" y="217"/>
                  </a:lnTo>
                  <a:lnTo>
                    <a:pt x="313" y="217"/>
                  </a:lnTo>
                  <a:lnTo>
                    <a:pt x="313" y="219"/>
                  </a:lnTo>
                  <a:lnTo>
                    <a:pt x="313" y="217"/>
                  </a:lnTo>
                  <a:lnTo>
                    <a:pt x="313" y="219"/>
                  </a:lnTo>
                  <a:lnTo>
                    <a:pt x="313" y="217"/>
                  </a:lnTo>
                  <a:lnTo>
                    <a:pt x="313" y="219"/>
                  </a:lnTo>
                  <a:lnTo>
                    <a:pt x="313" y="217"/>
                  </a:lnTo>
                  <a:lnTo>
                    <a:pt x="313" y="219"/>
                  </a:lnTo>
                  <a:lnTo>
                    <a:pt x="313" y="217"/>
                  </a:lnTo>
                  <a:lnTo>
                    <a:pt x="311" y="217"/>
                  </a:lnTo>
                  <a:lnTo>
                    <a:pt x="311" y="219"/>
                  </a:lnTo>
                  <a:lnTo>
                    <a:pt x="313" y="219"/>
                  </a:lnTo>
                  <a:lnTo>
                    <a:pt x="311" y="219"/>
                  </a:lnTo>
                  <a:lnTo>
                    <a:pt x="311" y="217"/>
                  </a:lnTo>
                  <a:lnTo>
                    <a:pt x="311" y="219"/>
                  </a:lnTo>
                  <a:lnTo>
                    <a:pt x="311" y="217"/>
                  </a:lnTo>
                  <a:lnTo>
                    <a:pt x="311" y="219"/>
                  </a:lnTo>
                  <a:lnTo>
                    <a:pt x="311" y="217"/>
                  </a:lnTo>
                  <a:lnTo>
                    <a:pt x="311" y="219"/>
                  </a:lnTo>
                  <a:lnTo>
                    <a:pt x="311" y="217"/>
                  </a:lnTo>
                  <a:lnTo>
                    <a:pt x="309" y="217"/>
                  </a:lnTo>
                  <a:lnTo>
                    <a:pt x="307" y="217"/>
                  </a:lnTo>
                  <a:lnTo>
                    <a:pt x="309" y="217"/>
                  </a:lnTo>
                  <a:lnTo>
                    <a:pt x="307" y="217"/>
                  </a:lnTo>
                  <a:lnTo>
                    <a:pt x="305" y="217"/>
                  </a:lnTo>
                  <a:lnTo>
                    <a:pt x="305" y="216"/>
                  </a:lnTo>
                  <a:lnTo>
                    <a:pt x="307" y="216"/>
                  </a:lnTo>
                  <a:lnTo>
                    <a:pt x="309" y="216"/>
                  </a:lnTo>
                  <a:lnTo>
                    <a:pt x="309" y="214"/>
                  </a:lnTo>
                  <a:lnTo>
                    <a:pt x="309" y="212"/>
                  </a:lnTo>
                  <a:lnTo>
                    <a:pt x="309" y="210"/>
                  </a:lnTo>
                  <a:lnTo>
                    <a:pt x="311" y="210"/>
                  </a:lnTo>
                  <a:lnTo>
                    <a:pt x="311" y="208"/>
                  </a:lnTo>
                  <a:lnTo>
                    <a:pt x="313" y="208"/>
                  </a:lnTo>
                  <a:close/>
                  <a:moveTo>
                    <a:pt x="410" y="152"/>
                  </a:moveTo>
                  <a:lnTo>
                    <a:pt x="412" y="152"/>
                  </a:lnTo>
                  <a:lnTo>
                    <a:pt x="412" y="154"/>
                  </a:lnTo>
                  <a:lnTo>
                    <a:pt x="412" y="152"/>
                  </a:lnTo>
                  <a:lnTo>
                    <a:pt x="412" y="154"/>
                  </a:lnTo>
                  <a:lnTo>
                    <a:pt x="412" y="156"/>
                  </a:lnTo>
                  <a:lnTo>
                    <a:pt x="412" y="158"/>
                  </a:lnTo>
                  <a:lnTo>
                    <a:pt x="412" y="156"/>
                  </a:lnTo>
                  <a:lnTo>
                    <a:pt x="412" y="158"/>
                  </a:lnTo>
                  <a:lnTo>
                    <a:pt x="412" y="156"/>
                  </a:lnTo>
                  <a:lnTo>
                    <a:pt x="412" y="158"/>
                  </a:lnTo>
                  <a:lnTo>
                    <a:pt x="410" y="158"/>
                  </a:lnTo>
                  <a:lnTo>
                    <a:pt x="412" y="158"/>
                  </a:lnTo>
                  <a:lnTo>
                    <a:pt x="410" y="158"/>
                  </a:lnTo>
                  <a:lnTo>
                    <a:pt x="410" y="160"/>
                  </a:lnTo>
                  <a:lnTo>
                    <a:pt x="409" y="160"/>
                  </a:lnTo>
                  <a:lnTo>
                    <a:pt x="409" y="162"/>
                  </a:lnTo>
                  <a:lnTo>
                    <a:pt x="410" y="162"/>
                  </a:lnTo>
                  <a:lnTo>
                    <a:pt x="409" y="162"/>
                  </a:lnTo>
                  <a:lnTo>
                    <a:pt x="410" y="162"/>
                  </a:lnTo>
                  <a:lnTo>
                    <a:pt x="409" y="162"/>
                  </a:lnTo>
                  <a:lnTo>
                    <a:pt x="409" y="164"/>
                  </a:lnTo>
                  <a:lnTo>
                    <a:pt x="410" y="164"/>
                  </a:lnTo>
                  <a:lnTo>
                    <a:pt x="412" y="164"/>
                  </a:lnTo>
                  <a:lnTo>
                    <a:pt x="412" y="166"/>
                  </a:lnTo>
                  <a:lnTo>
                    <a:pt x="412" y="168"/>
                  </a:lnTo>
                  <a:lnTo>
                    <a:pt x="410" y="168"/>
                  </a:lnTo>
                  <a:lnTo>
                    <a:pt x="410" y="166"/>
                  </a:lnTo>
                  <a:lnTo>
                    <a:pt x="410" y="168"/>
                  </a:lnTo>
                  <a:lnTo>
                    <a:pt x="409" y="168"/>
                  </a:lnTo>
                  <a:lnTo>
                    <a:pt x="409" y="169"/>
                  </a:lnTo>
                  <a:lnTo>
                    <a:pt x="409" y="168"/>
                  </a:lnTo>
                  <a:lnTo>
                    <a:pt x="409" y="169"/>
                  </a:lnTo>
                  <a:lnTo>
                    <a:pt x="407" y="169"/>
                  </a:lnTo>
                  <a:lnTo>
                    <a:pt x="407" y="171"/>
                  </a:lnTo>
                  <a:lnTo>
                    <a:pt x="407" y="169"/>
                  </a:lnTo>
                  <a:lnTo>
                    <a:pt x="407" y="171"/>
                  </a:lnTo>
                  <a:lnTo>
                    <a:pt x="407" y="169"/>
                  </a:lnTo>
                  <a:lnTo>
                    <a:pt x="405" y="169"/>
                  </a:lnTo>
                  <a:lnTo>
                    <a:pt x="405" y="171"/>
                  </a:lnTo>
                  <a:lnTo>
                    <a:pt x="405" y="169"/>
                  </a:lnTo>
                  <a:lnTo>
                    <a:pt x="403" y="169"/>
                  </a:lnTo>
                  <a:lnTo>
                    <a:pt x="403" y="168"/>
                  </a:lnTo>
                  <a:lnTo>
                    <a:pt x="405" y="168"/>
                  </a:lnTo>
                  <a:lnTo>
                    <a:pt x="405" y="166"/>
                  </a:lnTo>
                  <a:lnTo>
                    <a:pt x="407" y="166"/>
                  </a:lnTo>
                  <a:lnTo>
                    <a:pt x="405" y="166"/>
                  </a:lnTo>
                  <a:lnTo>
                    <a:pt x="407" y="166"/>
                  </a:lnTo>
                  <a:lnTo>
                    <a:pt x="407" y="164"/>
                  </a:lnTo>
                  <a:lnTo>
                    <a:pt x="407" y="162"/>
                  </a:lnTo>
                  <a:lnTo>
                    <a:pt x="407" y="160"/>
                  </a:lnTo>
                  <a:lnTo>
                    <a:pt x="407" y="158"/>
                  </a:lnTo>
                  <a:lnTo>
                    <a:pt x="409" y="158"/>
                  </a:lnTo>
                  <a:lnTo>
                    <a:pt x="409" y="156"/>
                  </a:lnTo>
                  <a:lnTo>
                    <a:pt x="407" y="156"/>
                  </a:lnTo>
                  <a:lnTo>
                    <a:pt x="409" y="156"/>
                  </a:lnTo>
                  <a:lnTo>
                    <a:pt x="409" y="154"/>
                  </a:lnTo>
                  <a:lnTo>
                    <a:pt x="409" y="152"/>
                  </a:lnTo>
                  <a:lnTo>
                    <a:pt x="410" y="152"/>
                  </a:lnTo>
                  <a:close/>
                  <a:moveTo>
                    <a:pt x="276" y="189"/>
                  </a:moveTo>
                  <a:lnTo>
                    <a:pt x="278" y="189"/>
                  </a:lnTo>
                  <a:lnTo>
                    <a:pt x="280" y="189"/>
                  </a:lnTo>
                  <a:lnTo>
                    <a:pt x="280" y="191"/>
                  </a:lnTo>
                  <a:lnTo>
                    <a:pt x="278" y="191"/>
                  </a:lnTo>
                  <a:lnTo>
                    <a:pt x="276" y="191"/>
                  </a:lnTo>
                  <a:lnTo>
                    <a:pt x="278" y="191"/>
                  </a:lnTo>
                  <a:lnTo>
                    <a:pt x="276" y="191"/>
                  </a:lnTo>
                  <a:lnTo>
                    <a:pt x="276" y="193"/>
                  </a:lnTo>
                  <a:lnTo>
                    <a:pt x="274" y="193"/>
                  </a:lnTo>
                  <a:lnTo>
                    <a:pt x="272" y="193"/>
                  </a:lnTo>
                  <a:lnTo>
                    <a:pt x="272" y="194"/>
                  </a:lnTo>
                  <a:lnTo>
                    <a:pt x="270" y="194"/>
                  </a:lnTo>
                  <a:lnTo>
                    <a:pt x="270" y="193"/>
                  </a:lnTo>
                  <a:lnTo>
                    <a:pt x="270" y="194"/>
                  </a:lnTo>
                  <a:lnTo>
                    <a:pt x="270" y="193"/>
                  </a:lnTo>
                  <a:lnTo>
                    <a:pt x="270" y="194"/>
                  </a:lnTo>
                  <a:lnTo>
                    <a:pt x="270" y="193"/>
                  </a:lnTo>
                  <a:lnTo>
                    <a:pt x="270" y="194"/>
                  </a:lnTo>
                  <a:lnTo>
                    <a:pt x="270" y="193"/>
                  </a:lnTo>
                  <a:lnTo>
                    <a:pt x="268" y="193"/>
                  </a:lnTo>
                  <a:lnTo>
                    <a:pt x="268" y="194"/>
                  </a:lnTo>
                  <a:lnTo>
                    <a:pt x="267" y="194"/>
                  </a:lnTo>
                  <a:lnTo>
                    <a:pt x="267" y="193"/>
                  </a:lnTo>
                  <a:lnTo>
                    <a:pt x="267" y="194"/>
                  </a:lnTo>
                  <a:lnTo>
                    <a:pt x="267" y="193"/>
                  </a:lnTo>
                  <a:lnTo>
                    <a:pt x="267" y="194"/>
                  </a:lnTo>
                  <a:lnTo>
                    <a:pt x="265" y="194"/>
                  </a:lnTo>
                  <a:lnTo>
                    <a:pt x="265" y="193"/>
                  </a:lnTo>
                  <a:lnTo>
                    <a:pt x="263" y="193"/>
                  </a:lnTo>
                  <a:lnTo>
                    <a:pt x="261" y="193"/>
                  </a:lnTo>
                  <a:lnTo>
                    <a:pt x="259" y="193"/>
                  </a:lnTo>
                  <a:lnTo>
                    <a:pt x="259" y="191"/>
                  </a:lnTo>
                  <a:lnTo>
                    <a:pt x="261" y="191"/>
                  </a:lnTo>
                  <a:lnTo>
                    <a:pt x="261" y="189"/>
                  </a:lnTo>
                  <a:lnTo>
                    <a:pt x="263" y="189"/>
                  </a:lnTo>
                  <a:lnTo>
                    <a:pt x="265" y="189"/>
                  </a:lnTo>
                  <a:lnTo>
                    <a:pt x="263" y="189"/>
                  </a:lnTo>
                  <a:lnTo>
                    <a:pt x="265" y="189"/>
                  </a:lnTo>
                  <a:lnTo>
                    <a:pt x="267" y="189"/>
                  </a:lnTo>
                  <a:lnTo>
                    <a:pt x="268" y="189"/>
                  </a:lnTo>
                  <a:lnTo>
                    <a:pt x="270" y="189"/>
                  </a:lnTo>
                  <a:lnTo>
                    <a:pt x="272" y="189"/>
                  </a:lnTo>
                  <a:lnTo>
                    <a:pt x="274" y="189"/>
                  </a:lnTo>
                  <a:lnTo>
                    <a:pt x="276" y="189"/>
                  </a:lnTo>
                  <a:close/>
                  <a:moveTo>
                    <a:pt x="34" y="66"/>
                  </a:moveTo>
                  <a:lnTo>
                    <a:pt x="36" y="66"/>
                  </a:lnTo>
                  <a:lnTo>
                    <a:pt x="38" y="66"/>
                  </a:lnTo>
                  <a:lnTo>
                    <a:pt x="38" y="68"/>
                  </a:lnTo>
                  <a:lnTo>
                    <a:pt x="38" y="70"/>
                  </a:lnTo>
                  <a:lnTo>
                    <a:pt x="40" y="70"/>
                  </a:lnTo>
                  <a:lnTo>
                    <a:pt x="40" y="72"/>
                  </a:lnTo>
                  <a:lnTo>
                    <a:pt x="42" y="72"/>
                  </a:lnTo>
                  <a:lnTo>
                    <a:pt x="44" y="72"/>
                  </a:lnTo>
                  <a:lnTo>
                    <a:pt x="44" y="73"/>
                  </a:lnTo>
                  <a:lnTo>
                    <a:pt x="42" y="73"/>
                  </a:lnTo>
                  <a:lnTo>
                    <a:pt x="42" y="75"/>
                  </a:lnTo>
                  <a:lnTo>
                    <a:pt x="44" y="75"/>
                  </a:lnTo>
                  <a:lnTo>
                    <a:pt x="42" y="75"/>
                  </a:lnTo>
                  <a:lnTo>
                    <a:pt x="42" y="77"/>
                  </a:lnTo>
                  <a:lnTo>
                    <a:pt x="42" y="79"/>
                  </a:lnTo>
                  <a:lnTo>
                    <a:pt x="40" y="79"/>
                  </a:lnTo>
                  <a:lnTo>
                    <a:pt x="40" y="77"/>
                  </a:lnTo>
                  <a:lnTo>
                    <a:pt x="38" y="77"/>
                  </a:lnTo>
                  <a:lnTo>
                    <a:pt x="38" y="75"/>
                  </a:lnTo>
                  <a:lnTo>
                    <a:pt x="38" y="73"/>
                  </a:lnTo>
                  <a:lnTo>
                    <a:pt x="36" y="73"/>
                  </a:lnTo>
                  <a:lnTo>
                    <a:pt x="36" y="72"/>
                  </a:lnTo>
                  <a:lnTo>
                    <a:pt x="34" y="72"/>
                  </a:lnTo>
                  <a:lnTo>
                    <a:pt x="34" y="70"/>
                  </a:lnTo>
                  <a:lnTo>
                    <a:pt x="32" y="70"/>
                  </a:lnTo>
                  <a:lnTo>
                    <a:pt x="32" y="68"/>
                  </a:lnTo>
                  <a:lnTo>
                    <a:pt x="30" y="68"/>
                  </a:lnTo>
                  <a:lnTo>
                    <a:pt x="30" y="66"/>
                  </a:lnTo>
                  <a:lnTo>
                    <a:pt x="30" y="68"/>
                  </a:lnTo>
                  <a:lnTo>
                    <a:pt x="30" y="66"/>
                  </a:lnTo>
                  <a:lnTo>
                    <a:pt x="30" y="68"/>
                  </a:lnTo>
                  <a:lnTo>
                    <a:pt x="30" y="66"/>
                  </a:lnTo>
                  <a:lnTo>
                    <a:pt x="32" y="66"/>
                  </a:lnTo>
                  <a:lnTo>
                    <a:pt x="32" y="68"/>
                  </a:lnTo>
                  <a:lnTo>
                    <a:pt x="34" y="68"/>
                  </a:lnTo>
                  <a:lnTo>
                    <a:pt x="34" y="66"/>
                  </a:lnTo>
                  <a:lnTo>
                    <a:pt x="34" y="68"/>
                  </a:lnTo>
                  <a:lnTo>
                    <a:pt x="34" y="66"/>
                  </a:lnTo>
                  <a:close/>
                  <a:moveTo>
                    <a:pt x="57" y="100"/>
                  </a:moveTo>
                  <a:lnTo>
                    <a:pt x="57" y="102"/>
                  </a:lnTo>
                  <a:lnTo>
                    <a:pt x="57" y="100"/>
                  </a:lnTo>
                  <a:lnTo>
                    <a:pt x="57" y="102"/>
                  </a:lnTo>
                  <a:lnTo>
                    <a:pt x="57" y="100"/>
                  </a:lnTo>
                  <a:lnTo>
                    <a:pt x="57" y="102"/>
                  </a:lnTo>
                  <a:lnTo>
                    <a:pt x="57" y="104"/>
                  </a:lnTo>
                  <a:lnTo>
                    <a:pt x="59" y="104"/>
                  </a:lnTo>
                  <a:lnTo>
                    <a:pt x="57" y="104"/>
                  </a:lnTo>
                  <a:lnTo>
                    <a:pt x="59" y="104"/>
                  </a:lnTo>
                  <a:lnTo>
                    <a:pt x="59" y="106"/>
                  </a:lnTo>
                  <a:lnTo>
                    <a:pt x="61" y="106"/>
                  </a:lnTo>
                  <a:lnTo>
                    <a:pt x="61" y="108"/>
                  </a:lnTo>
                  <a:lnTo>
                    <a:pt x="61" y="110"/>
                  </a:lnTo>
                  <a:lnTo>
                    <a:pt x="61" y="108"/>
                  </a:lnTo>
                  <a:lnTo>
                    <a:pt x="61" y="110"/>
                  </a:lnTo>
                  <a:lnTo>
                    <a:pt x="61" y="112"/>
                  </a:lnTo>
                  <a:lnTo>
                    <a:pt x="63" y="112"/>
                  </a:lnTo>
                  <a:lnTo>
                    <a:pt x="63" y="110"/>
                  </a:lnTo>
                  <a:lnTo>
                    <a:pt x="63" y="112"/>
                  </a:lnTo>
                  <a:lnTo>
                    <a:pt x="63" y="114"/>
                  </a:lnTo>
                  <a:lnTo>
                    <a:pt x="63" y="112"/>
                  </a:lnTo>
                  <a:lnTo>
                    <a:pt x="61" y="112"/>
                  </a:lnTo>
                  <a:lnTo>
                    <a:pt x="63" y="112"/>
                  </a:lnTo>
                  <a:lnTo>
                    <a:pt x="63" y="114"/>
                  </a:lnTo>
                  <a:lnTo>
                    <a:pt x="61" y="114"/>
                  </a:lnTo>
                  <a:lnTo>
                    <a:pt x="59" y="114"/>
                  </a:lnTo>
                  <a:lnTo>
                    <a:pt x="59" y="112"/>
                  </a:lnTo>
                  <a:lnTo>
                    <a:pt x="57" y="112"/>
                  </a:lnTo>
                  <a:lnTo>
                    <a:pt x="55" y="112"/>
                  </a:lnTo>
                  <a:lnTo>
                    <a:pt x="57" y="112"/>
                  </a:lnTo>
                  <a:lnTo>
                    <a:pt x="57" y="110"/>
                  </a:lnTo>
                  <a:lnTo>
                    <a:pt x="55" y="110"/>
                  </a:lnTo>
                  <a:lnTo>
                    <a:pt x="55" y="108"/>
                  </a:lnTo>
                  <a:lnTo>
                    <a:pt x="53" y="108"/>
                  </a:lnTo>
                  <a:lnTo>
                    <a:pt x="53" y="106"/>
                  </a:lnTo>
                  <a:lnTo>
                    <a:pt x="53" y="104"/>
                  </a:lnTo>
                  <a:lnTo>
                    <a:pt x="53" y="102"/>
                  </a:lnTo>
                  <a:lnTo>
                    <a:pt x="55" y="102"/>
                  </a:lnTo>
                  <a:lnTo>
                    <a:pt x="55" y="100"/>
                  </a:lnTo>
                  <a:lnTo>
                    <a:pt x="57" y="100"/>
                  </a:lnTo>
                  <a:close/>
                  <a:moveTo>
                    <a:pt x="537" y="193"/>
                  </a:moveTo>
                  <a:lnTo>
                    <a:pt x="537" y="194"/>
                  </a:lnTo>
                  <a:lnTo>
                    <a:pt x="537" y="196"/>
                  </a:lnTo>
                  <a:lnTo>
                    <a:pt x="537" y="198"/>
                  </a:lnTo>
                  <a:lnTo>
                    <a:pt x="535" y="198"/>
                  </a:lnTo>
                  <a:lnTo>
                    <a:pt x="535" y="200"/>
                  </a:lnTo>
                  <a:lnTo>
                    <a:pt x="537" y="200"/>
                  </a:lnTo>
                  <a:lnTo>
                    <a:pt x="535" y="200"/>
                  </a:lnTo>
                  <a:lnTo>
                    <a:pt x="533" y="200"/>
                  </a:lnTo>
                  <a:lnTo>
                    <a:pt x="533" y="202"/>
                  </a:lnTo>
                  <a:lnTo>
                    <a:pt x="531" y="202"/>
                  </a:lnTo>
                  <a:lnTo>
                    <a:pt x="531" y="204"/>
                  </a:lnTo>
                  <a:lnTo>
                    <a:pt x="533" y="204"/>
                  </a:lnTo>
                  <a:lnTo>
                    <a:pt x="531" y="204"/>
                  </a:lnTo>
                  <a:lnTo>
                    <a:pt x="531" y="206"/>
                  </a:lnTo>
                  <a:lnTo>
                    <a:pt x="531" y="204"/>
                  </a:lnTo>
                  <a:lnTo>
                    <a:pt x="531" y="206"/>
                  </a:lnTo>
                  <a:lnTo>
                    <a:pt x="529" y="206"/>
                  </a:lnTo>
                  <a:lnTo>
                    <a:pt x="529" y="204"/>
                  </a:lnTo>
                  <a:lnTo>
                    <a:pt x="529" y="206"/>
                  </a:lnTo>
                  <a:lnTo>
                    <a:pt x="529" y="204"/>
                  </a:lnTo>
                  <a:lnTo>
                    <a:pt x="529" y="206"/>
                  </a:lnTo>
                  <a:lnTo>
                    <a:pt x="529" y="204"/>
                  </a:lnTo>
                  <a:lnTo>
                    <a:pt x="528" y="204"/>
                  </a:lnTo>
                  <a:lnTo>
                    <a:pt x="529" y="204"/>
                  </a:lnTo>
                  <a:lnTo>
                    <a:pt x="528" y="204"/>
                  </a:lnTo>
                  <a:lnTo>
                    <a:pt x="529" y="204"/>
                  </a:lnTo>
                  <a:lnTo>
                    <a:pt x="528" y="204"/>
                  </a:lnTo>
                  <a:lnTo>
                    <a:pt x="529" y="204"/>
                  </a:lnTo>
                  <a:lnTo>
                    <a:pt x="528" y="204"/>
                  </a:lnTo>
                  <a:lnTo>
                    <a:pt x="529" y="204"/>
                  </a:lnTo>
                  <a:lnTo>
                    <a:pt x="528" y="202"/>
                  </a:lnTo>
                  <a:lnTo>
                    <a:pt x="528" y="204"/>
                  </a:lnTo>
                  <a:lnTo>
                    <a:pt x="528" y="202"/>
                  </a:lnTo>
                  <a:lnTo>
                    <a:pt x="529" y="202"/>
                  </a:lnTo>
                  <a:lnTo>
                    <a:pt x="529" y="200"/>
                  </a:lnTo>
                  <a:lnTo>
                    <a:pt x="529" y="202"/>
                  </a:lnTo>
                  <a:lnTo>
                    <a:pt x="529" y="200"/>
                  </a:lnTo>
                  <a:lnTo>
                    <a:pt x="529" y="202"/>
                  </a:lnTo>
                  <a:lnTo>
                    <a:pt x="529" y="200"/>
                  </a:lnTo>
                  <a:lnTo>
                    <a:pt x="528" y="200"/>
                  </a:lnTo>
                  <a:lnTo>
                    <a:pt x="529" y="200"/>
                  </a:lnTo>
                  <a:lnTo>
                    <a:pt x="531" y="200"/>
                  </a:lnTo>
                  <a:lnTo>
                    <a:pt x="529" y="200"/>
                  </a:lnTo>
                  <a:lnTo>
                    <a:pt x="529" y="198"/>
                  </a:lnTo>
                  <a:lnTo>
                    <a:pt x="529" y="196"/>
                  </a:lnTo>
                  <a:lnTo>
                    <a:pt x="531" y="196"/>
                  </a:lnTo>
                  <a:lnTo>
                    <a:pt x="533" y="196"/>
                  </a:lnTo>
                  <a:lnTo>
                    <a:pt x="531" y="196"/>
                  </a:lnTo>
                  <a:lnTo>
                    <a:pt x="533" y="196"/>
                  </a:lnTo>
                  <a:lnTo>
                    <a:pt x="533" y="194"/>
                  </a:lnTo>
                  <a:lnTo>
                    <a:pt x="535" y="194"/>
                  </a:lnTo>
                  <a:lnTo>
                    <a:pt x="535" y="193"/>
                  </a:lnTo>
                  <a:lnTo>
                    <a:pt x="537" y="193"/>
                  </a:lnTo>
                  <a:close/>
                  <a:moveTo>
                    <a:pt x="524" y="87"/>
                  </a:moveTo>
                  <a:lnTo>
                    <a:pt x="526" y="87"/>
                  </a:lnTo>
                  <a:lnTo>
                    <a:pt x="526" y="89"/>
                  </a:lnTo>
                  <a:lnTo>
                    <a:pt x="526" y="87"/>
                  </a:lnTo>
                  <a:lnTo>
                    <a:pt x="526" y="89"/>
                  </a:lnTo>
                  <a:lnTo>
                    <a:pt x="528" y="89"/>
                  </a:lnTo>
                  <a:lnTo>
                    <a:pt x="528" y="87"/>
                  </a:lnTo>
                  <a:lnTo>
                    <a:pt x="528" y="89"/>
                  </a:lnTo>
                  <a:lnTo>
                    <a:pt x="529" y="89"/>
                  </a:lnTo>
                  <a:lnTo>
                    <a:pt x="531" y="89"/>
                  </a:lnTo>
                  <a:lnTo>
                    <a:pt x="531" y="91"/>
                  </a:lnTo>
                  <a:lnTo>
                    <a:pt x="531" y="93"/>
                  </a:lnTo>
                  <a:lnTo>
                    <a:pt x="529" y="93"/>
                  </a:lnTo>
                  <a:lnTo>
                    <a:pt x="528" y="93"/>
                  </a:lnTo>
                  <a:lnTo>
                    <a:pt x="526" y="93"/>
                  </a:lnTo>
                  <a:lnTo>
                    <a:pt x="526" y="91"/>
                  </a:lnTo>
                  <a:lnTo>
                    <a:pt x="524" y="91"/>
                  </a:lnTo>
                  <a:lnTo>
                    <a:pt x="524" y="89"/>
                  </a:lnTo>
                  <a:lnTo>
                    <a:pt x="524" y="91"/>
                  </a:lnTo>
                  <a:lnTo>
                    <a:pt x="524" y="89"/>
                  </a:lnTo>
                  <a:lnTo>
                    <a:pt x="524" y="91"/>
                  </a:lnTo>
                  <a:lnTo>
                    <a:pt x="524" y="89"/>
                  </a:lnTo>
                  <a:lnTo>
                    <a:pt x="522" y="89"/>
                  </a:lnTo>
                  <a:lnTo>
                    <a:pt x="522" y="91"/>
                  </a:lnTo>
                  <a:lnTo>
                    <a:pt x="524" y="91"/>
                  </a:lnTo>
                  <a:lnTo>
                    <a:pt x="524" y="93"/>
                  </a:lnTo>
                  <a:lnTo>
                    <a:pt x="526" y="93"/>
                  </a:lnTo>
                  <a:lnTo>
                    <a:pt x="526" y="95"/>
                  </a:lnTo>
                  <a:lnTo>
                    <a:pt x="526" y="93"/>
                  </a:lnTo>
                  <a:lnTo>
                    <a:pt x="526" y="95"/>
                  </a:lnTo>
                  <a:lnTo>
                    <a:pt x="526" y="93"/>
                  </a:lnTo>
                  <a:lnTo>
                    <a:pt x="526" y="95"/>
                  </a:lnTo>
                  <a:lnTo>
                    <a:pt x="524" y="95"/>
                  </a:lnTo>
                  <a:lnTo>
                    <a:pt x="522" y="95"/>
                  </a:lnTo>
                  <a:lnTo>
                    <a:pt x="522" y="93"/>
                  </a:lnTo>
                  <a:lnTo>
                    <a:pt x="520" y="93"/>
                  </a:lnTo>
                  <a:lnTo>
                    <a:pt x="522" y="93"/>
                  </a:lnTo>
                  <a:lnTo>
                    <a:pt x="520" y="93"/>
                  </a:lnTo>
                  <a:lnTo>
                    <a:pt x="522" y="93"/>
                  </a:lnTo>
                  <a:lnTo>
                    <a:pt x="520" y="93"/>
                  </a:lnTo>
                  <a:lnTo>
                    <a:pt x="522" y="93"/>
                  </a:lnTo>
                  <a:lnTo>
                    <a:pt x="520" y="93"/>
                  </a:lnTo>
                  <a:lnTo>
                    <a:pt x="520" y="95"/>
                  </a:lnTo>
                  <a:lnTo>
                    <a:pt x="520" y="93"/>
                  </a:lnTo>
                  <a:lnTo>
                    <a:pt x="520" y="91"/>
                  </a:lnTo>
                  <a:lnTo>
                    <a:pt x="520" y="93"/>
                  </a:lnTo>
                  <a:lnTo>
                    <a:pt x="518" y="93"/>
                  </a:lnTo>
                  <a:lnTo>
                    <a:pt x="518" y="91"/>
                  </a:lnTo>
                  <a:lnTo>
                    <a:pt x="516" y="91"/>
                  </a:lnTo>
                  <a:lnTo>
                    <a:pt x="518" y="91"/>
                  </a:lnTo>
                  <a:lnTo>
                    <a:pt x="516" y="91"/>
                  </a:lnTo>
                  <a:lnTo>
                    <a:pt x="518" y="91"/>
                  </a:lnTo>
                  <a:lnTo>
                    <a:pt x="520" y="91"/>
                  </a:lnTo>
                  <a:lnTo>
                    <a:pt x="518" y="91"/>
                  </a:lnTo>
                  <a:lnTo>
                    <a:pt x="518" y="89"/>
                  </a:lnTo>
                  <a:lnTo>
                    <a:pt x="518" y="91"/>
                  </a:lnTo>
                  <a:lnTo>
                    <a:pt x="518" y="89"/>
                  </a:lnTo>
                  <a:lnTo>
                    <a:pt x="518" y="91"/>
                  </a:lnTo>
                  <a:lnTo>
                    <a:pt x="518" y="89"/>
                  </a:lnTo>
                  <a:lnTo>
                    <a:pt x="518" y="91"/>
                  </a:lnTo>
                  <a:lnTo>
                    <a:pt x="516" y="91"/>
                  </a:lnTo>
                  <a:lnTo>
                    <a:pt x="516" y="89"/>
                  </a:lnTo>
                  <a:lnTo>
                    <a:pt x="518" y="89"/>
                  </a:lnTo>
                  <a:lnTo>
                    <a:pt x="520" y="89"/>
                  </a:lnTo>
                  <a:lnTo>
                    <a:pt x="522" y="89"/>
                  </a:lnTo>
                  <a:lnTo>
                    <a:pt x="520" y="89"/>
                  </a:lnTo>
                  <a:lnTo>
                    <a:pt x="522" y="89"/>
                  </a:lnTo>
                  <a:lnTo>
                    <a:pt x="524" y="89"/>
                  </a:lnTo>
                  <a:lnTo>
                    <a:pt x="522" y="89"/>
                  </a:lnTo>
                  <a:lnTo>
                    <a:pt x="524" y="89"/>
                  </a:lnTo>
                  <a:lnTo>
                    <a:pt x="522" y="89"/>
                  </a:lnTo>
                  <a:lnTo>
                    <a:pt x="524" y="89"/>
                  </a:lnTo>
                  <a:lnTo>
                    <a:pt x="524" y="87"/>
                  </a:lnTo>
                  <a:lnTo>
                    <a:pt x="524" y="89"/>
                  </a:lnTo>
                  <a:lnTo>
                    <a:pt x="524" y="87"/>
                  </a:lnTo>
                  <a:close/>
                  <a:moveTo>
                    <a:pt x="405" y="156"/>
                  </a:moveTo>
                  <a:lnTo>
                    <a:pt x="407" y="156"/>
                  </a:lnTo>
                  <a:lnTo>
                    <a:pt x="407" y="158"/>
                  </a:lnTo>
                  <a:lnTo>
                    <a:pt x="407" y="160"/>
                  </a:lnTo>
                  <a:lnTo>
                    <a:pt x="405" y="160"/>
                  </a:lnTo>
                  <a:lnTo>
                    <a:pt x="405" y="162"/>
                  </a:lnTo>
                  <a:lnTo>
                    <a:pt x="405" y="164"/>
                  </a:lnTo>
                  <a:lnTo>
                    <a:pt x="405" y="166"/>
                  </a:lnTo>
                  <a:lnTo>
                    <a:pt x="405" y="168"/>
                  </a:lnTo>
                  <a:lnTo>
                    <a:pt x="403" y="168"/>
                  </a:lnTo>
                  <a:lnTo>
                    <a:pt x="403" y="166"/>
                  </a:lnTo>
                  <a:lnTo>
                    <a:pt x="403" y="164"/>
                  </a:lnTo>
                  <a:lnTo>
                    <a:pt x="403" y="166"/>
                  </a:lnTo>
                  <a:lnTo>
                    <a:pt x="403" y="168"/>
                  </a:lnTo>
                  <a:lnTo>
                    <a:pt x="401" y="168"/>
                  </a:lnTo>
                  <a:lnTo>
                    <a:pt x="401" y="166"/>
                  </a:lnTo>
                  <a:lnTo>
                    <a:pt x="403" y="166"/>
                  </a:lnTo>
                  <a:lnTo>
                    <a:pt x="401" y="166"/>
                  </a:lnTo>
                  <a:lnTo>
                    <a:pt x="401" y="168"/>
                  </a:lnTo>
                  <a:lnTo>
                    <a:pt x="399" y="168"/>
                  </a:lnTo>
                  <a:lnTo>
                    <a:pt x="399" y="166"/>
                  </a:lnTo>
                  <a:lnTo>
                    <a:pt x="399" y="164"/>
                  </a:lnTo>
                  <a:lnTo>
                    <a:pt x="401" y="164"/>
                  </a:lnTo>
                  <a:lnTo>
                    <a:pt x="399" y="164"/>
                  </a:lnTo>
                  <a:lnTo>
                    <a:pt x="401" y="164"/>
                  </a:lnTo>
                  <a:lnTo>
                    <a:pt x="399" y="164"/>
                  </a:lnTo>
                  <a:lnTo>
                    <a:pt x="401" y="164"/>
                  </a:lnTo>
                  <a:lnTo>
                    <a:pt x="401" y="162"/>
                  </a:lnTo>
                  <a:lnTo>
                    <a:pt x="401" y="160"/>
                  </a:lnTo>
                  <a:lnTo>
                    <a:pt x="401" y="158"/>
                  </a:lnTo>
                  <a:lnTo>
                    <a:pt x="401" y="156"/>
                  </a:lnTo>
                  <a:lnTo>
                    <a:pt x="401" y="158"/>
                  </a:lnTo>
                  <a:lnTo>
                    <a:pt x="401" y="156"/>
                  </a:lnTo>
                  <a:lnTo>
                    <a:pt x="401" y="158"/>
                  </a:lnTo>
                  <a:lnTo>
                    <a:pt x="401" y="156"/>
                  </a:lnTo>
                  <a:lnTo>
                    <a:pt x="401" y="158"/>
                  </a:lnTo>
                  <a:lnTo>
                    <a:pt x="403" y="158"/>
                  </a:lnTo>
                  <a:lnTo>
                    <a:pt x="403" y="156"/>
                  </a:lnTo>
                  <a:lnTo>
                    <a:pt x="403" y="158"/>
                  </a:lnTo>
                  <a:lnTo>
                    <a:pt x="403" y="156"/>
                  </a:lnTo>
                  <a:lnTo>
                    <a:pt x="405" y="156"/>
                  </a:lnTo>
                  <a:lnTo>
                    <a:pt x="405" y="154"/>
                  </a:lnTo>
                  <a:lnTo>
                    <a:pt x="405" y="156"/>
                  </a:lnTo>
                  <a:close/>
                  <a:moveTo>
                    <a:pt x="432" y="112"/>
                  </a:moveTo>
                  <a:lnTo>
                    <a:pt x="433" y="112"/>
                  </a:lnTo>
                  <a:lnTo>
                    <a:pt x="435" y="112"/>
                  </a:lnTo>
                  <a:lnTo>
                    <a:pt x="437" y="112"/>
                  </a:lnTo>
                  <a:lnTo>
                    <a:pt x="435" y="112"/>
                  </a:lnTo>
                  <a:lnTo>
                    <a:pt x="437" y="112"/>
                  </a:lnTo>
                  <a:lnTo>
                    <a:pt x="439" y="112"/>
                  </a:lnTo>
                  <a:lnTo>
                    <a:pt x="439" y="114"/>
                  </a:lnTo>
                  <a:lnTo>
                    <a:pt x="441" y="114"/>
                  </a:lnTo>
                  <a:lnTo>
                    <a:pt x="441" y="112"/>
                  </a:lnTo>
                  <a:lnTo>
                    <a:pt x="443" y="112"/>
                  </a:lnTo>
                  <a:lnTo>
                    <a:pt x="443" y="114"/>
                  </a:lnTo>
                  <a:lnTo>
                    <a:pt x="441" y="114"/>
                  </a:lnTo>
                  <a:lnTo>
                    <a:pt x="443" y="114"/>
                  </a:lnTo>
                  <a:lnTo>
                    <a:pt x="443" y="112"/>
                  </a:lnTo>
                  <a:lnTo>
                    <a:pt x="443" y="114"/>
                  </a:lnTo>
                  <a:lnTo>
                    <a:pt x="443" y="116"/>
                  </a:lnTo>
                  <a:lnTo>
                    <a:pt x="441" y="116"/>
                  </a:lnTo>
                  <a:lnTo>
                    <a:pt x="439" y="116"/>
                  </a:lnTo>
                  <a:lnTo>
                    <a:pt x="437" y="116"/>
                  </a:lnTo>
                  <a:lnTo>
                    <a:pt x="435" y="116"/>
                  </a:lnTo>
                  <a:lnTo>
                    <a:pt x="433" y="116"/>
                  </a:lnTo>
                  <a:lnTo>
                    <a:pt x="433" y="118"/>
                  </a:lnTo>
                  <a:lnTo>
                    <a:pt x="432" y="118"/>
                  </a:lnTo>
                  <a:lnTo>
                    <a:pt x="430" y="118"/>
                  </a:lnTo>
                  <a:lnTo>
                    <a:pt x="430" y="116"/>
                  </a:lnTo>
                  <a:lnTo>
                    <a:pt x="430" y="114"/>
                  </a:lnTo>
                  <a:lnTo>
                    <a:pt x="430" y="112"/>
                  </a:lnTo>
                  <a:lnTo>
                    <a:pt x="432" y="112"/>
                  </a:lnTo>
                  <a:close/>
                  <a:moveTo>
                    <a:pt x="462" y="198"/>
                  </a:moveTo>
                  <a:lnTo>
                    <a:pt x="464" y="198"/>
                  </a:lnTo>
                  <a:lnTo>
                    <a:pt x="464" y="200"/>
                  </a:lnTo>
                  <a:lnTo>
                    <a:pt x="464" y="198"/>
                  </a:lnTo>
                  <a:lnTo>
                    <a:pt x="464" y="200"/>
                  </a:lnTo>
                  <a:lnTo>
                    <a:pt x="466" y="200"/>
                  </a:lnTo>
                  <a:lnTo>
                    <a:pt x="466" y="202"/>
                  </a:lnTo>
                  <a:lnTo>
                    <a:pt x="466" y="200"/>
                  </a:lnTo>
                  <a:lnTo>
                    <a:pt x="466" y="202"/>
                  </a:lnTo>
                  <a:lnTo>
                    <a:pt x="466" y="200"/>
                  </a:lnTo>
                  <a:lnTo>
                    <a:pt x="466" y="202"/>
                  </a:lnTo>
                  <a:lnTo>
                    <a:pt x="464" y="202"/>
                  </a:lnTo>
                  <a:lnTo>
                    <a:pt x="462" y="202"/>
                  </a:lnTo>
                  <a:lnTo>
                    <a:pt x="462" y="204"/>
                  </a:lnTo>
                  <a:lnTo>
                    <a:pt x="460" y="204"/>
                  </a:lnTo>
                  <a:lnTo>
                    <a:pt x="458" y="204"/>
                  </a:lnTo>
                  <a:lnTo>
                    <a:pt x="457" y="204"/>
                  </a:lnTo>
                  <a:lnTo>
                    <a:pt x="455" y="204"/>
                  </a:lnTo>
                  <a:lnTo>
                    <a:pt x="453" y="204"/>
                  </a:lnTo>
                  <a:lnTo>
                    <a:pt x="451" y="204"/>
                  </a:lnTo>
                  <a:lnTo>
                    <a:pt x="451" y="206"/>
                  </a:lnTo>
                  <a:lnTo>
                    <a:pt x="451" y="204"/>
                  </a:lnTo>
                  <a:lnTo>
                    <a:pt x="451" y="202"/>
                  </a:lnTo>
                  <a:lnTo>
                    <a:pt x="453" y="202"/>
                  </a:lnTo>
                  <a:lnTo>
                    <a:pt x="453" y="200"/>
                  </a:lnTo>
                  <a:lnTo>
                    <a:pt x="455" y="200"/>
                  </a:lnTo>
                  <a:lnTo>
                    <a:pt x="457" y="200"/>
                  </a:lnTo>
                  <a:lnTo>
                    <a:pt x="458" y="200"/>
                  </a:lnTo>
                  <a:lnTo>
                    <a:pt x="460" y="200"/>
                  </a:lnTo>
                  <a:lnTo>
                    <a:pt x="460" y="198"/>
                  </a:lnTo>
                  <a:lnTo>
                    <a:pt x="462" y="198"/>
                  </a:lnTo>
                  <a:close/>
                  <a:moveTo>
                    <a:pt x="591" y="96"/>
                  </a:moveTo>
                  <a:lnTo>
                    <a:pt x="593" y="96"/>
                  </a:lnTo>
                  <a:lnTo>
                    <a:pt x="595" y="96"/>
                  </a:lnTo>
                  <a:lnTo>
                    <a:pt x="595" y="98"/>
                  </a:lnTo>
                  <a:lnTo>
                    <a:pt x="595" y="96"/>
                  </a:lnTo>
                  <a:lnTo>
                    <a:pt x="595" y="98"/>
                  </a:lnTo>
                  <a:lnTo>
                    <a:pt x="597" y="98"/>
                  </a:lnTo>
                  <a:lnTo>
                    <a:pt x="599" y="98"/>
                  </a:lnTo>
                  <a:lnTo>
                    <a:pt x="600" y="98"/>
                  </a:lnTo>
                  <a:lnTo>
                    <a:pt x="600" y="100"/>
                  </a:lnTo>
                  <a:lnTo>
                    <a:pt x="602" y="100"/>
                  </a:lnTo>
                  <a:lnTo>
                    <a:pt x="602" y="102"/>
                  </a:lnTo>
                  <a:lnTo>
                    <a:pt x="604" y="102"/>
                  </a:lnTo>
                  <a:lnTo>
                    <a:pt x="604" y="104"/>
                  </a:lnTo>
                  <a:lnTo>
                    <a:pt x="604" y="102"/>
                  </a:lnTo>
                  <a:lnTo>
                    <a:pt x="606" y="102"/>
                  </a:lnTo>
                  <a:lnTo>
                    <a:pt x="606" y="104"/>
                  </a:lnTo>
                  <a:lnTo>
                    <a:pt x="604" y="104"/>
                  </a:lnTo>
                  <a:lnTo>
                    <a:pt x="602" y="104"/>
                  </a:lnTo>
                  <a:lnTo>
                    <a:pt x="600" y="104"/>
                  </a:lnTo>
                  <a:lnTo>
                    <a:pt x="599" y="104"/>
                  </a:lnTo>
                  <a:lnTo>
                    <a:pt x="597" y="104"/>
                  </a:lnTo>
                  <a:lnTo>
                    <a:pt x="597" y="102"/>
                  </a:lnTo>
                  <a:lnTo>
                    <a:pt x="597" y="100"/>
                  </a:lnTo>
                  <a:lnTo>
                    <a:pt x="597" y="98"/>
                  </a:lnTo>
                  <a:lnTo>
                    <a:pt x="595" y="98"/>
                  </a:lnTo>
                  <a:lnTo>
                    <a:pt x="595" y="100"/>
                  </a:lnTo>
                  <a:lnTo>
                    <a:pt x="593" y="100"/>
                  </a:lnTo>
                  <a:lnTo>
                    <a:pt x="593" y="98"/>
                  </a:lnTo>
                  <a:lnTo>
                    <a:pt x="593" y="100"/>
                  </a:lnTo>
                  <a:lnTo>
                    <a:pt x="593" y="98"/>
                  </a:lnTo>
                  <a:lnTo>
                    <a:pt x="591" y="98"/>
                  </a:lnTo>
                  <a:lnTo>
                    <a:pt x="591" y="96"/>
                  </a:lnTo>
                  <a:close/>
                  <a:moveTo>
                    <a:pt x="478" y="106"/>
                  </a:moveTo>
                  <a:lnTo>
                    <a:pt x="478" y="108"/>
                  </a:lnTo>
                  <a:lnTo>
                    <a:pt x="478" y="106"/>
                  </a:lnTo>
                  <a:lnTo>
                    <a:pt x="478" y="108"/>
                  </a:lnTo>
                  <a:lnTo>
                    <a:pt x="480" y="108"/>
                  </a:lnTo>
                  <a:lnTo>
                    <a:pt x="480" y="106"/>
                  </a:lnTo>
                  <a:lnTo>
                    <a:pt x="480" y="108"/>
                  </a:lnTo>
                  <a:lnTo>
                    <a:pt x="481" y="108"/>
                  </a:lnTo>
                  <a:lnTo>
                    <a:pt x="481" y="110"/>
                  </a:lnTo>
                  <a:lnTo>
                    <a:pt x="483" y="110"/>
                  </a:lnTo>
                  <a:lnTo>
                    <a:pt x="485" y="110"/>
                  </a:lnTo>
                  <a:lnTo>
                    <a:pt x="485" y="112"/>
                  </a:lnTo>
                  <a:lnTo>
                    <a:pt x="483" y="112"/>
                  </a:lnTo>
                  <a:lnTo>
                    <a:pt x="481" y="112"/>
                  </a:lnTo>
                  <a:lnTo>
                    <a:pt x="480" y="112"/>
                  </a:lnTo>
                  <a:lnTo>
                    <a:pt x="478" y="112"/>
                  </a:lnTo>
                  <a:lnTo>
                    <a:pt x="478" y="114"/>
                  </a:lnTo>
                  <a:lnTo>
                    <a:pt x="478" y="112"/>
                  </a:lnTo>
                  <a:lnTo>
                    <a:pt x="478" y="114"/>
                  </a:lnTo>
                  <a:lnTo>
                    <a:pt x="476" y="114"/>
                  </a:lnTo>
                  <a:lnTo>
                    <a:pt x="476" y="112"/>
                  </a:lnTo>
                  <a:lnTo>
                    <a:pt x="474" y="112"/>
                  </a:lnTo>
                  <a:lnTo>
                    <a:pt x="474" y="110"/>
                  </a:lnTo>
                  <a:lnTo>
                    <a:pt x="476" y="110"/>
                  </a:lnTo>
                  <a:lnTo>
                    <a:pt x="474" y="110"/>
                  </a:lnTo>
                  <a:lnTo>
                    <a:pt x="476" y="110"/>
                  </a:lnTo>
                  <a:lnTo>
                    <a:pt x="476" y="108"/>
                  </a:lnTo>
                  <a:lnTo>
                    <a:pt x="474" y="108"/>
                  </a:lnTo>
                  <a:lnTo>
                    <a:pt x="476" y="108"/>
                  </a:lnTo>
                  <a:lnTo>
                    <a:pt x="474" y="108"/>
                  </a:lnTo>
                  <a:lnTo>
                    <a:pt x="476" y="108"/>
                  </a:lnTo>
                  <a:lnTo>
                    <a:pt x="474" y="108"/>
                  </a:lnTo>
                  <a:lnTo>
                    <a:pt x="476" y="108"/>
                  </a:lnTo>
                  <a:lnTo>
                    <a:pt x="478" y="108"/>
                  </a:lnTo>
                  <a:lnTo>
                    <a:pt x="478" y="106"/>
                  </a:lnTo>
                  <a:close/>
                  <a:moveTo>
                    <a:pt x="572" y="177"/>
                  </a:moveTo>
                  <a:lnTo>
                    <a:pt x="574" y="177"/>
                  </a:lnTo>
                  <a:lnTo>
                    <a:pt x="574" y="179"/>
                  </a:lnTo>
                  <a:lnTo>
                    <a:pt x="576" y="179"/>
                  </a:lnTo>
                  <a:lnTo>
                    <a:pt x="576" y="181"/>
                  </a:lnTo>
                  <a:lnTo>
                    <a:pt x="577" y="181"/>
                  </a:lnTo>
                  <a:lnTo>
                    <a:pt x="577" y="183"/>
                  </a:lnTo>
                  <a:lnTo>
                    <a:pt x="577" y="181"/>
                  </a:lnTo>
                  <a:lnTo>
                    <a:pt x="577" y="183"/>
                  </a:lnTo>
                  <a:lnTo>
                    <a:pt x="577" y="185"/>
                  </a:lnTo>
                  <a:lnTo>
                    <a:pt x="579" y="185"/>
                  </a:lnTo>
                  <a:lnTo>
                    <a:pt x="577" y="185"/>
                  </a:lnTo>
                  <a:lnTo>
                    <a:pt x="577" y="187"/>
                  </a:lnTo>
                  <a:lnTo>
                    <a:pt x="576" y="187"/>
                  </a:lnTo>
                  <a:lnTo>
                    <a:pt x="576" y="189"/>
                  </a:lnTo>
                  <a:lnTo>
                    <a:pt x="574" y="189"/>
                  </a:lnTo>
                  <a:lnTo>
                    <a:pt x="572" y="189"/>
                  </a:lnTo>
                  <a:lnTo>
                    <a:pt x="572" y="187"/>
                  </a:lnTo>
                  <a:lnTo>
                    <a:pt x="572" y="185"/>
                  </a:lnTo>
                  <a:lnTo>
                    <a:pt x="572" y="183"/>
                  </a:lnTo>
                  <a:lnTo>
                    <a:pt x="574" y="183"/>
                  </a:lnTo>
                  <a:lnTo>
                    <a:pt x="574" y="185"/>
                  </a:lnTo>
                  <a:lnTo>
                    <a:pt x="574" y="183"/>
                  </a:lnTo>
                  <a:lnTo>
                    <a:pt x="574" y="181"/>
                  </a:lnTo>
                  <a:lnTo>
                    <a:pt x="574" y="183"/>
                  </a:lnTo>
                  <a:lnTo>
                    <a:pt x="574" y="181"/>
                  </a:lnTo>
                  <a:lnTo>
                    <a:pt x="572" y="181"/>
                  </a:lnTo>
                  <a:lnTo>
                    <a:pt x="574" y="181"/>
                  </a:lnTo>
                  <a:lnTo>
                    <a:pt x="572" y="181"/>
                  </a:lnTo>
                  <a:lnTo>
                    <a:pt x="574" y="181"/>
                  </a:lnTo>
                  <a:lnTo>
                    <a:pt x="574" y="179"/>
                  </a:lnTo>
                  <a:lnTo>
                    <a:pt x="572" y="179"/>
                  </a:lnTo>
                  <a:lnTo>
                    <a:pt x="574" y="179"/>
                  </a:lnTo>
                  <a:lnTo>
                    <a:pt x="572" y="179"/>
                  </a:lnTo>
                  <a:lnTo>
                    <a:pt x="572" y="177"/>
                  </a:lnTo>
                  <a:close/>
                  <a:moveTo>
                    <a:pt x="412" y="104"/>
                  </a:moveTo>
                  <a:lnTo>
                    <a:pt x="412" y="106"/>
                  </a:lnTo>
                  <a:lnTo>
                    <a:pt x="414" y="106"/>
                  </a:lnTo>
                  <a:lnTo>
                    <a:pt x="412" y="106"/>
                  </a:lnTo>
                  <a:lnTo>
                    <a:pt x="412" y="108"/>
                  </a:lnTo>
                  <a:lnTo>
                    <a:pt x="412" y="106"/>
                  </a:lnTo>
                  <a:lnTo>
                    <a:pt x="412" y="108"/>
                  </a:lnTo>
                  <a:lnTo>
                    <a:pt x="414" y="108"/>
                  </a:lnTo>
                  <a:lnTo>
                    <a:pt x="412" y="108"/>
                  </a:lnTo>
                  <a:lnTo>
                    <a:pt x="414" y="108"/>
                  </a:lnTo>
                  <a:lnTo>
                    <a:pt x="414" y="106"/>
                  </a:lnTo>
                  <a:lnTo>
                    <a:pt x="416" y="106"/>
                  </a:lnTo>
                  <a:lnTo>
                    <a:pt x="418" y="106"/>
                  </a:lnTo>
                  <a:lnTo>
                    <a:pt x="418" y="108"/>
                  </a:lnTo>
                  <a:lnTo>
                    <a:pt x="416" y="108"/>
                  </a:lnTo>
                  <a:lnTo>
                    <a:pt x="416" y="110"/>
                  </a:lnTo>
                  <a:lnTo>
                    <a:pt x="416" y="108"/>
                  </a:lnTo>
                  <a:lnTo>
                    <a:pt x="416" y="110"/>
                  </a:lnTo>
                  <a:lnTo>
                    <a:pt x="416" y="108"/>
                  </a:lnTo>
                  <a:lnTo>
                    <a:pt x="416" y="110"/>
                  </a:lnTo>
                  <a:lnTo>
                    <a:pt x="414" y="110"/>
                  </a:lnTo>
                  <a:lnTo>
                    <a:pt x="414" y="108"/>
                  </a:lnTo>
                  <a:lnTo>
                    <a:pt x="414" y="110"/>
                  </a:lnTo>
                  <a:lnTo>
                    <a:pt x="414" y="112"/>
                  </a:lnTo>
                  <a:lnTo>
                    <a:pt x="414" y="110"/>
                  </a:lnTo>
                  <a:lnTo>
                    <a:pt x="414" y="112"/>
                  </a:lnTo>
                  <a:lnTo>
                    <a:pt x="412" y="112"/>
                  </a:lnTo>
                  <a:lnTo>
                    <a:pt x="414" y="112"/>
                  </a:lnTo>
                  <a:lnTo>
                    <a:pt x="412" y="112"/>
                  </a:lnTo>
                  <a:lnTo>
                    <a:pt x="412" y="110"/>
                  </a:lnTo>
                  <a:lnTo>
                    <a:pt x="412" y="112"/>
                  </a:lnTo>
                  <a:lnTo>
                    <a:pt x="410" y="112"/>
                  </a:lnTo>
                  <a:lnTo>
                    <a:pt x="410" y="110"/>
                  </a:lnTo>
                  <a:lnTo>
                    <a:pt x="412" y="110"/>
                  </a:lnTo>
                  <a:lnTo>
                    <a:pt x="412" y="108"/>
                  </a:lnTo>
                  <a:lnTo>
                    <a:pt x="412" y="106"/>
                  </a:lnTo>
                  <a:lnTo>
                    <a:pt x="410" y="108"/>
                  </a:lnTo>
                  <a:lnTo>
                    <a:pt x="410" y="110"/>
                  </a:lnTo>
                  <a:lnTo>
                    <a:pt x="409" y="110"/>
                  </a:lnTo>
                  <a:lnTo>
                    <a:pt x="409" y="112"/>
                  </a:lnTo>
                  <a:lnTo>
                    <a:pt x="409" y="110"/>
                  </a:lnTo>
                  <a:lnTo>
                    <a:pt x="407" y="110"/>
                  </a:lnTo>
                  <a:lnTo>
                    <a:pt x="409" y="110"/>
                  </a:lnTo>
                  <a:lnTo>
                    <a:pt x="407" y="110"/>
                  </a:lnTo>
                  <a:lnTo>
                    <a:pt x="407" y="108"/>
                  </a:lnTo>
                  <a:lnTo>
                    <a:pt x="407" y="106"/>
                  </a:lnTo>
                  <a:lnTo>
                    <a:pt x="409" y="106"/>
                  </a:lnTo>
                  <a:lnTo>
                    <a:pt x="409" y="104"/>
                  </a:lnTo>
                  <a:lnTo>
                    <a:pt x="409" y="106"/>
                  </a:lnTo>
                  <a:lnTo>
                    <a:pt x="410" y="106"/>
                  </a:lnTo>
                  <a:lnTo>
                    <a:pt x="410" y="104"/>
                  </a:lnTo>
                  <a:lnTo>
                    <a:pt x="412" y="104"/>
                  </a:lnTo>
                  <a:lnTo>
                    <a:pt x="412" y="106"/>
                  </a:lnTo>
                  <a:lnTo>
                    <a:pt x="412" y="104"/>
                  </a:lnTo>
                  <a:close/>
                  <a:moveTo>
                    <a:pt x="593" y="112"/>
                  </a:moveTo>
                  <a:lnTo>
                    <a:pt x="595" y="112"/>
                  </a:lnTo>
                  <a:lnTo>
                    <a:pt x="597" y="112"/>
                  </a:lnTo>
                  <a:lnTo>
                    <a:pt x="599" y="112"/>
                  </a:lnTo>
                  <a:lnTo>
                    <a:pt x="600" y="112"/>
                  </a:lnTo>
                  <a:lnTo>
                    <a:pt x="602" y="112"/>
                  </a:lnTo>
                  <a:lnTo>
                    <a:pt x="604" y="112"/>
                  </a:lnTo>
                  <a:lnTo>
                    <a:pt x="606" y="112"/>
                  </a:lnTo>
                  <a:lnTo>
                    <a:pt x="608" y="112"/>
                  </a:lnTo>
                  <a:lnTo>
                    <a:pt x="610" y="112"/>
                  </a:lnTo>
                  <a:lnTo>
                    <a:pt x="610" y="114"/>
                  </a:lnTo>
                  <a:lnTo>
                    <a:pt x="612" y="114"/>
                  </a:lnTo>
                  <a:lnTo>
                    <a:pt x="614" y="114"/>
                  </a:lnTo>
                  <a:lnTo>
                    <a:pt x="612" y="114"/>
                  </a:lnTo>
                  <a:lnTo>
                    <a:pt x="610" y="114"/>
                  </a:lnTo>
                  <a:lnTo>
                    <a:pt x="610" y="116"/>
                  </a:lnTo>
                  <a:lnTo>
                    <a:pt x="608" y="116"/>
                  </a:lnTo>
                  <a:lnTo>
                    <a:pt x="608" y="114"/>
                  </a:lnTo>
                  <a:lnTo>
                    <a:pt x="608" y="116"/>
                  </a:lnTo>
                  <a:lnTo>
                    <a:pt x="606" y="116"/>
                  </a:lnTo>
                  <a:lnTo>
                    <a:pt x="604" y="116"/>
                  </a:lnTo>
                  <a:lnTo>
                    <a:pt x="602" y="116"/>
                  </a:lnTo>
                  <a:lnTo>
                    <a:pt x="604" y="116"/>
                  </a:lnTo>
                  <a:lnTo>
                    <a:pt x="602" y="116"/>
                  </a:lnTo>
                  <a:lnTo>
                    <a:pt x="602" y="114"/>
                  </a:lnTo>
                  <a:lnTo>
                    <a:pt x="600" y="114"/>
                  </a:lnTo>
                  <a:lnTo>
                    <a:pt x="599" y="114"/>
                  </a:lnTo>
                  <a:lnTo>
                    <a:pt x="597" y="114"/>
                  </a:lnTo>
                  <a:lnTo>
                    <a:pt x="599" y="114"/>
                  </a:lnTo>
                  <a:lnTo>
                    <a:pt x="597" y="114"/>
                  </a:lnTo>
                  <a:lnTo>
                    <a:pt x="597" y="112"/>
                  </a:lnTo>
                  <a:lnTo>
                    <a:pt x="595" y="112"/>
                  </a:lnTo>
                  <a:lnTo>
                    <a:pt x="593" y="112"/>
                  </a:lnTo>
                  <a:lnTo>
                    <a:pt x="591" y="112"/>
                  </a:lnTo>
                  <a:lnTo>
                    <a:pt x="593" y="112"/>
                  </a:lnTo>
                  <a:lnTo>
                    <a:pt x="593" y="110"/>
                  </a:lnTo>
                  <a:lnTo>
                    <a:pt x="593" y="112"/>
                  </a:lnTo>
                  <a:close/>
                  <a:moveTo>
                    <a:pt x="491" y="48"/>
                  </a:moveTo>
                  <a:lnTo>
                    <a:pt x="491" y="50"/>
                  </a:lnTo>
                  <a:lnTo>
                    <a:pt x="493" y="50"/>
                  </a:lnTo>
                  <a:lnTo>
                    <a:pt x="493" y="52"/>
                  </a:lnTo>
                  <a:lnTo>
                    <a:pt x="493" y="54"/>
                  </a:lnTo>
                  <a:lnTo>
                    <a:pt x="493" y="56"/>
                  </a:lnTo>
                  <a:lnTo>
                    <a:pt x="491" y="56"/>
                  </a:lnTo>
                  <a:lnTo>
                    <a:pt x="491" y="58"/>
                  </a:lnTo>
                  <a:lnTo>
                    <a:pt x="489" y="58"/>
                  </a:lnTo>
                  <a:lnTo>
                    <a:pt x="487" y="58"/>
                  </a:lnTo>
                  <a:lnTo>
                    <a:pt x="487" y="56"/>
                  </a:lnTo>
                  <a:lnTo>
                    <a:pt x="487" y="54"/>
                  </a:lnTo>
                  <a:lnTo>
                    <a:pt x="485" y="54"/>
                  </a:lnTo>
                  <a:lnTo>
                    <a:pt x="487" y="54"/>
                  </a:lnTo>
                  <a:lnTo>
                    <a:pt x="487" y="52"/>
                  </a:lnTo>
                  <a:lnTo>
                    <a:pt x="487" y="50"/>
                  </a:lnTo>
                  <a:lnTo>
                    <a:pt x="489" y="50"/>
                  </a:lnTo>
                  <a:lnTo>
                    <a:pt x="487" y="50"/>
                  </a:lnTo>
                  <a:lnTo>
                    <a:pt x="489" y="50"/>
                  </a:lnTo>
                  <a:lnTo>
                    <a:pt x="491" y="50"/>
                  </a:lnTo>
                  <a:lnTo>
                    <a:pt x="491" y="48"/>
                  </a:lnTo>
                  <a:close/>
                  <a:moveTo>
                    <a:pt x="643" y="189"/>
                  </a:moveTo>
                  <a:lnTo>
                    <a:pt x="645" y="189"/>
                  </a:lnTo>
                  <a:lnTo>
                    <a:pt x="647" y="189"/>
                  </a:lnTo>
                  <a:lnTo>
                    <a:pt x="647" y="191"/>
                  </a:lnTo>
                  <a:lnTo>
                    <a:pt x="648" y="191"/>
                  </a:lnTo>
                  <a:lnTo>
                    <a:pt x="648" y="193"/>
                  </a:lnTo>
                  <a:lnTo>
                    <a:pt x="650" y="193"/>
                  </a:lnTo>
                  <a:lnTo>
                    <a:pt x="648" y="193"/>
                  </a:lnTo>
                  <a:lnTo>
                    <a:pt x="650" y="193"/>
                  </a:lnTo>
                  <a:lnTo>
                    <a:pt x="650" y="194"/>
                  </a:lnTo>
                  <a:lnTo>
                    <a:pt x="648" y="194"/>
                  </a:lnTo>
                  <a:lnTo>
                    <a:pt x="648" y="193"/>
                  </a:lnTo>
                  <a:lnTo>
                    <a:pt x="647" y="193"/>
                  </a:lnTo>
                  <a:lnTo>
                    <a:pt x="645" y="193"/>
                  </a:lnTo>
                  <a:lnTo>
                    <a:pt x="643" y="193"/>
                  </a:lnTo>
                  <a:lnTo>
                    <a:pt x="641" y="193"/>
                  </a:lnTo>
                  <a:lnTo>
                    <a:pt x="641" y="191"/>
                  </a:lnTo>
                  <a:lnTo>
                    <a:pt x="639" y="191"/>
                  </a:lnTo>
                  <a:lnTo>
                    <a:pt x="637" y="191"/>
                  </a:lnTo>
                  <a:lnTo>
                    <a:pt x="637" y="189"/>
                  </a:lnTo>
                  <a:lnTo>
                    <a:pt x="639" y="189"/>
                  </a:lnTo>
                  <a:lnTo>
                    <a:pt x="641" y="189"/>
                  </a:lnTo>
                  <a:lnTo>
                    <a:pt x="643" y="189"/>
                  </a:lnTo>
                  <a:close/>
                  <a:moveTo>
                    <a:pt x="433" y="206"/>
                  </a:moveTo>
                  <a:lnTo>
                    <a:pt x="433" y="208"/>
                  </a:lnTo>
                  <a:lnTo>
                    <a:pt x="435" y="208"/>
                  </a:lnTo>
                  <a:lnTo>
                    <a:pt x="437" y="208"/>
                  </a:lnTo>
                  <a:lnTo>
                    <a:pt x="439" y="208"/>
                  </a:lnTo>
                  <a:lnTo>
                    <a:pt x="441" y="208"/>
                  </a:lnTo>
                  <a:lnTo>
                    <a:pt x="441" y="210"/>
                  </a:lnTo>
                  <a:lnTo>
                    <a:pt x="439" y="210"/>
                  </a:lnTo>
                  <a:lnTo>
                    <a:pt x="437" y="210"/>
                  </a:lnTo>
                  <a:lnTo>
                    <a:pt x="437" y="212"/>
                  </a:lnTo>
                  <a:lnTo>
                    <a:pt x="435" y="212"/>
                  </a:lnTo>
                  <a:lnTo>
                    <a:pt x="435" y="210"/>
                  </a:lnTo>
                  <a:lnTo>
                    <a:pt x="433" y="210"/>
                  </a:lnTo>
                  <a:lnTo>
                    <a:pt x="433" y="212"/>
                  </a:lnTo>
                  <a:lnTo>
                    <a:pt x="432" y="212"/>
                  </a:lnTo>
                  <a:lnTo>
                    <a:pt x="430" y="212"/>
                  </a:lnTo>
                  <a:lnTo>
                    <a:pt x="430" y="210"/>
                  </a:lnTo>
                  <a:lnTo>
                    <a:pt x="432" y="210"/>
                  </a:lnTo>
                  <a:lnTo>
                    <a:pt x="432" y="208"/>
                  </a:lnTo>
                  <a:lnTo>
                    <a:pt x="433" y="208"/>
                  </a:lnTo>
                  <a:lnTo>
                    <a:pt x="432" y="208"/>
                  </a:lnTo>
                  <a:lnTo>
                    <a:pt x="432" y="210"/>
                  </a:lnTo>
                  <a:lnTo>
                    <a:pt x="430" y="210"/>
                  </a:lnTo>
                  <a:lnTo>
                    <a:pt x="430" y="208"/>
                  </a:lnTo>
                  <a:lnTo>
                    <a:pt x="432" y="208"/>
                  </a:lnTo>
                  <a:lnTo>
                    <a:pt x="432" y="206"/>
                  </a:lnTo>
                  <a:lnTo>
                    <a:pt x="432" y="208"/>
                  </a:lnTo>
                  <a:lnTo>
                    <a:pt x="432" y="206"/>
                  </a:lnTo>
                  <a:lnTo>
                    <a:pt x="433" y="206"/>
                  </a:lnTo>
                  <a:close/>
                  <a:moveTo>
                    <a:pt x="518" y="112"/>
                  </a:moveTo>
                  <a:lnTo>
                    <a:pt x="518" y="114"/>
                  </a:lnTo>
                  <a:lnTo>
                    <a:pt x="520" y="114"/>
                  </a:lnTo>
                  <a:lnTo>
                    <a:pt x="518" y="114"/>
                  </a:lnTo>
                  <a:lnTo>
                    <a:pt x="518" y="116"/>
                  </a:lnTo>
                  <a:lnTo>
                    <a:pt x="518" y="114"/>
                  </a:lnTo>
                  <a:lnTo>
                    <a:pt x="518" y="116"/>
                  </a:lnTo>
                  <a:lnTo>
                    <a:pt x="518" y="118"/>
                  </a:lnTo>
                  <a:lnTo>
                    <a:pt x="520" y="118"/>
                  </a:lnTo>
                  <a:lnTo>
                    <a:pt x="518" y="118"/>
                  </a:lnTo>
                  <a:lnTo>
                    <a:pt x="518" y="116"/>
                  </a:lnTo>
                  <a:lnTo>
                    <a:pt x="516" y="116"/>
                  </a:lnTo>
                  <a:lnTo>
                    <a:pt x="516" y="118"/>
                  </a:lnTo>
                  <a:lnTo>
                    <a:pt x="514" y="118"/>
                  </a:lnTo>
                  <a:lnTo>
                    <a:pt x="516" y="118"/>
                  </a:lnTo>
                  <a:lnTo>
                    <a:pt x="514" y="118"/>
                  </a:lnTo>
                  <a:lnTo>
                    <a:pt x="512" y="118"/>
                  </a:lnTo>
                  <a:lnTo>
                    <a:pt x="514" y="118"/>
                  </a:lnTo>
                  <a:lnTo>
                    <a:pt x="512" y="118"/>
                  </a:lnTo>
                  <a:lnTo>
                    <a:pt x="510" y="118"/>
                  </a:lnTo>
                  <a:lnTo>
                    <a:pt x="510" y="116"/>
                  </a:lnTo>
                  <a:lnTo>
                    <a:pt x="508" y="116"/>
                  </a:lnTo>
                  <a:lnTo>
                    <a:pt x="508" y="114"/>
                  </a:lnTo>
                  <a:lnTo>
                    <a:pt x="510" y="114"/>
                  </a:lnTo>
                  <a:lnTo>
                    <a:pt x="512" y="114"/>
                  </a:lnTo>
                  <a:lnTo>
                    <a:pt x="512" y="112"/>
                  </a:lnTo>
                  <a:lnTo>
                    <a:pt x="514" y="112"/>
                  </a:lnTo>
                  <a:lnTo>
                    <a:pt x="514" y="114"/>
                  </a:lnTo>
                  <a:lnTo>
                    <a:pt x="514" y="112"/>
                  </a:lnTo>
                  <a:lnTo>
                    <a:pt x="514" y="114"/>
                  </a:lnTo>
                  <a:lnTo>
                    <a:pt x="514" y="112"/>
                  </a:lnTo>
                  <a:lnTo>
                    <a:pt x="516" y="112"/>
                  </a:lnTo>
                  <a:lnTo>
                    <a:pt x="518" y="112"/>
                  </a:lnTo>
                  <a:close/>
                  <a:moveTo>
                    <a:pt x="313" y="135"/>
                  </a:moveTo>
                  <a:lnTo>
                    <a:pt x="311" y="135"/>
                  </a:lnTo>
                  <a:lnTo>
                    <a:pt x="311" y="137"/>
                  </a:lnTo>
                  <a:lnTo>
                    <a:pt x="313" y="137"/>
                  </a:lnTo>
                  <a:lnTo>
                    <a:pt x="313" y="139"/>
                  </a:lnTo>
                  <a:lnTo>
                    <a:pt x="311" y="139"/>
                  </a:lnTo>
                  <a:lnTo>
                    <a:pt x="313" y="139"/>
                  </a:lnTo>
                  <a:lnTo>
                    <a:pt x="313" y="141"/>
                  </a:lnTo>
                  <a:lnTo>
                    <a:pt x="313" y="143"/>
                  </a:lnTo>
                  <a:lnTo>
                    <a:pt x="311" y="143"/>
                  </a:lnTo>
                  <a:lnTo>
                    <a:pt x="311" y="144"/>
                  </a:lnTo>
                  <a:lnTo>
                    <a:pt x="313" y="144"/>
                  </a:lnTo>
                  <a:lnTo>
                    <a:pt x="311" y="144"/>
                  </a:lnTo>
                  <a:lnTo>
                    <a:pt x="311" y="146"/>
                  </a:lnTo>
                  <a:lnTo>
                    <a:pt x="309" y="146"/>
                  </a:lnTo>
                  <a:lnTo>
                    <a:pt x="309" y="144"/>
                  </a:lnTo>
                  <a:lnTo>
                    <a:pt x="309" y="143"/>
                  </a:lnTo>
                  <a:lnTo>
                    <a:pt x="307" y="143"/>
                  </a:lnTo>
                  <a:lnTo>
                    <a:pt x="309" y="143"/>
                  </a:lnTo>
                  <a:lnTo>
                    <a:pt x="307" y="143"/>
                  </a:lnTo>
                  <a:lnTo>
                    <a:pt x="307" y="141"/>
                  </a:lnTo>
                  <a:lnTo>
                    <a:pt x="309" y="141"/>
                  </a:lnTo>
                  <a:lnTo>
                    <a:pt x="309" y="139"/>
                  </a:lnTo>
                  <a:lnTo>
                    <a:pt x="309" y="137"/>
                  </a:lnTo>
                  <a:lnTo>
                    <a:pt x="309" y="135"/>
                  </a:lnTo>
                  <a:lnTo>
                    <a:pt x="309" y="137"/>
                  </a:lnTo>
                  <a:lnTo>
                    <a:pt x="309" y="135"/>
                  </a:lnTo>
                  <a:lnTo>
                    <a:pt x="311" y="135"/>
                  </a:lnTo>
                  <a:lnTo>
                    <a:pt x="313" y="135"/>
                  </a:lnTo>
                  <a:close/>
                  <a:moveTo>
                    <a:pt x="476" y="93"/>
                  </a:moveTo>
                  <a:lnTo>
                    <a:pt x="478" y="93"/>
                  </a:lnTo>
                  <a:lnTo>
                    <a:pt x="478" y="95"/>
                  </a:lnTo>
                  <a:lnTo>
                    <a:pt x="478" y="96"/>
                  </a:lnTo>
                  <a:lnTo>
                    <a:pt x="478" y="98"/>
                  </a:lnTo>
                  <a:lnTo>
                    <a:pt x="478" y="96"/>
                  </a:lnTo>
                  <a:lnTo>
                    <a:pt x="478" y="98"/>
                  </a:lnTo>
                  <a:lnTo>
                    <a:pt x="480" y="98"/>
                  </a:lnTo>
                  <a:lnTo>
                    <a:pt x="480" y="96"/>
                  </a:lnTo>
                  <a:lnTo>
                    <a:pt x="480" y="98"/>
                  </a:lnTo>
                  <a:lnTo>
                    <a:pt x="480" y="96"/>
                  </a:lnTo>
                  <a:lnTo>
                    <a:pt x="480" y="98"/>
                  </a:lnTo>
                  <a:lnTo>
                    <a:pt x="481" y="98"/>
                  </a:lnTo>
                  <a:lnTo>
                    <a:pt x="481" y="100"/>
                  </a:lnTo>
                  <a:lnTo>
                    <a:pt x="480" y="100"/>
                  </a:lnTo>
                  <a:lnTo>
                    <a:pt x="478" y="100"/>
                  </a:lnTo>
                  <a:lnTo>
                    <a:pt x="478" y="98"/>
                  </a:lnTo>
                  <a:lnTo>
                    <a:pt x="476" y="98"/>
                  </a:lnTo>
                  <a:lnTo>
                    <a:pt x="476" y="100"/>
                  </a:lnTo>
                  <a:lnTo>
                    <a:pt x="476" y="98"/>
                  </a:lnTo>
                  <a:lnTo>
                    <a:pt x="476" y="96"/>
                  </a:lnTo>
                  <a:lnTo>
                    <a:pt x="474" y="96"/>
                  </a:lnTo>
                  <a:lnTo>
                    <a:pt x="474" y="95"/>
                  </a:lnTo>
                  <a:lnTo>
                    <a:pt x="472" y="95"/>
                  </a:lnTo>
                  <a:lnTo>
                    <a:pt x="474" y="95"/>
                  </a:lnTo>
                  <a:lnTo>
                    <a:pt x="474" y="93"/>
                  </a:lnTo>
                  <a:lnTo>
                    <a:pt x="476" y="93"/>
                  </a:lnTo>
                  <a:lnTo>
                    <a:pt x="476" y="95"/>
                  </a:lnTo>
                  <a:lnTo>
                    <a:pt x="476" y="93"/>
                  </a:lnTo>
                  <a:close/>
                  <a:moveTo>
                    <a:pt x="11" y="45"/>
                  </a:moveTo>
                  <a:lnTo>
                    <a:pt x="13" y="45"/>
                  </a:lnTo>
                  <a:lnTo>
                    <a:pt x="13" y="47"/>
                  </a:lnTo>
                  <a:lnTo>
                    <a:pt x="13" y="45"/>
                  </a:lnTo>
                  <a:lnTo>
                    <a:pt x="13" y="47"/>
                  </a:lnTo>
                  <a:lnTo>
                    <a:pt x="13" y="45"/>
                  </a:lnTo>
                  <a:lnTo>
                    <a:pt x="13" y="47"/>
                  </a:lnTo>
                  <a:lnTo>
                    <a:pt x="15" y="47"/>
                  </a:lnTo>
                  <a:lnTo>
                    <a:pt x="17" y="47"/>
                  </a:lnTo>
                  <a:lnTo>
                    <a:pt x="17" y="48"/>
                  </a:lnTo>
                  <a:lnTo>
                    <a:pt x="17" y="47"/>
                  </a:lnTo>
                  <a:lnTo>
                    <a:pt x="17" y="48"/>
                  </a:lnTo>
                  <a:lnTo>
                    <a:pt x="17" y="47"/>
                  </a:lnTo>
                  <a:lnTo>
                    <a:pt x="17" y="48"/>
                  </a:lnTo>
                  <a:lnTo>
                    <a:pt x="19" y="48"/>
                  </a:lnTo>
                  <a:lnTo>
                    <a:pt x="19" y="50"/>
                  </a:lnTo>
                  <a:lnTo>
                    <a:pt x="21" y="50"/>
                  </a:lnTo>
                  <a:lnTo>
                    <a:pt x="21" y="52"/>
                  </a:lnTo>
                  <a:lnTo>
                    <a:pt x="21" y="50"/>
                  </a:lnTo>
                  <a:lnTo>
                    <a:pt x="21" y="52"/>
                  </a:lnTo>
                  <a:lnTo>
                    <a:pt x="23" y="52"/>
                  </a:lnTo>
                  <a:lnTo>
                    <a:pt x="21" y="52"/>
                  </a:lnTo>
                  <a:lnTo>
                    <a:pt x="21" y="54"/>
                  </a:lnTo>
                  <a:lnTo>
                    <a:pt x="21" y="52"/>
                  </a:lnTo>
                  <a:lnTo>
                    <a:pt x="21" y="54"/>
                  </a:lnTo>
                  <a:lnTo>
                    <a:pt x="21" y="52"/>
                  </a:lnTo>
                  <a:lnTo>
                    <a:pt x="19" y="52"/>
                  </a:lnTo>
                  <a:lnTo>
                    <a:pt x="21" y="52"/>
                  </a:lnTo>
                  <a:lnTo>
                    <a:pt x="19" y="52"/>
                  </a:lnTo>
                  <a:lnTo>
                    <a:pt x="19" y="50"/>
                  </a:lnTo>
                  <a:lnTo>
                    <a:pt x="17" y="50"/>
                  </a:lnTo>
                  <a:lnTo>
                    <a:pt x="15" y="50"/>
                  </a:lnTo>
                  <a:lnTo>
                    <a:pt x="13" y="50"/>
                  </a:lnTo>
                  <a:lnTo>
                    <a:pt x="13" y="48"/>
                  </a:lnTo>
                  <a:lnTo>
                    <a:pt x="13" y="50"/>
                  </a:lnTo>
                  <a:lnTo>
                    <a:pt x="13" y="48"/>
                  </a:lnTo>
                  <a:lnTo>
                    <a:pt x="13" y="50"/>
                  </a:lnTo>
                  <a:lnTo>
                    <a:pt x="13" y="48"/>
                  </a:lnTo>
                  <a:lnTo>
                    <a:pt x="11" y="48"/>
                  </a:lnTo>
                  <a:lnTo>
                    <a:pt x="11" y="47"/>
                  </a:lnTo>
                  <a:lnTo>
                    <a:pt x="11" y="45"/>
                  </a:lnTo>
                  <a:close/>
                  <a:moveTo>
                    <a:pt x="579" y="175"/>
                  </a:moveTo>
                  <a:lnTo>
                    <a:pt x="581" y="175"/>
                  </a:lnTo>
                  <a:lnTo>
                    <a:pt x="581" y="177"/>
                  </a:lnTo>
                  <a:lnTo>
                    <a:pt x="581" y="175"/>
                  </a:lnTo>
                  <a:lnTo>
                    <a:pt x="581" y="177"/>
                  </a:lnTo>
                  <a:lnTo>
                    <a:pt x="581" y="175"/>
                  </a:lnTo>
                  <a:lnTo>
                    <a:pt x="581" y="177"/>
                  </a:lnTo>
                  <a:lnTo>
                    <a:pt x="583" y="177"/>
                  </a:lnTo>
                  <a:lnTo>
                    <a:pt x="581" y="177"/>
                  </a:lnTo>
                  <a:lnTo>
                    <a:pt x="581" y="179"/>
                  </a:lnTo>
                  <a:lnTo>
                    <a:pt x="581" y="177"/>
                  </a:lnTo>
                  <a:lnTo>
                    <a:pt x="581" y="179"/>
                  </a:lnTo>
                  <a:lnTo>
                    <a:pt x="581" y="177"/>
                  </a:lnTo>
                  <a:lnTo>
                    <a:pt x="581" y="179"/>
                  </a:lnTo>
                  <a:lnTo>
                    <a:pt x="581" y="181"/>
                  </a:lnTo>
                  <a:lnTo>
                    <a:pt x="581" y="179"/>
                  </a:lnTo>
                  <a:lnTo>
                    <a:pt x="581" y="181"/>
                  </a:lnTo>
                  <a:lnTo>
                    <a:pt x="581" y="179"/>
                  </a:lnTo>
                  <a:lnTo>
                    <a:pt x="581" y="181"/>
                  </a:lnTo>
                  <a:lnTo>
                    <a:pt x="579" y="181"/>
                  </a:lnTo>
                  <a:lnTo>
                    <a:pt x="579" y="179"/>
                  </a:lnTo>
                  <a:lnTo>
                    <a:pt x="579" y="181"/>
                  </a:lnTo>
                  <a:lnTo>
                    <a:pt x="577" y="181"/>
                  </a:lnTo>
                  <a:lnTo>
                    <a:pt x="577" y="179"/>
                  </a:lnTo>
                  <a:lnTo>
                    <a:pt x="576" y="179"/>
                  </a:lnTo>
                  <a:lnTo>
                    <a:pt x="576" y="177"/>
                  </a:lnTo>
                  <a:lnTo>
                    <a:pt x="576" y="175"/>
                  </a:lnTo>
                  <a:lnTo>
                    <a:pt x="577" y="175"/>
                  </a:lnTo>
                  <a:lnTo>
                    <a:pt x="579" y="175"/>
                  </a:lnTo>
                  <a:close/>
                  <a:moveTo>
                    <a:pt x="526" y="100"/>
                  </a:moveTo>
                  <a:lnTo>
                    <a:pt x="528" y="100"/>
                  </a:lnTo>
                  <a:lnTo>
                    <a:pt x="528" y="102"/>
                  </a:lnTo>
                  <a:lnTo>
                    <a:pt x="528" y="104"/>
                  </a:lnTo>
                  <a:lnTo>
                    <a:pt x="528" y="106"/>
                  </a:lnTo>
                  <a:lnTo>
                    <a:pt x="528" y="108"/>
                  </a:lnTo>
                  <a:lnTo>
                    <a:pt x="526" y="108"/>
                  </a:lnTo>
                  <a:lnTo>
                    <a:pt x="526" y="106"/>
                  </a:lnTo>
                  <a:lnTo>
                    <a:pt x="526" y="108"/>
                  </a:lnTo>
                  <a:lnTo>
                    <a:pt x="526" y="106"/>
                  </a:lnTo>
                  <a:lnTo>
                    <a:pt x="526" y="108"/>
                  </a:lnTo>
                  <a:lnTo>
                    <a:pt x="526" y="106"/>
                  </a:lnTo>
                  <a:lnTo>
                    <a:pt x="524" y="106"/>
                  </a:lnTo>
                  <a:lnTo>
                    <a:pt x="524" y="104"/>
                  </a:lnTo>
                  <a:lnTo>
                    <a:pt x="522" y="104"/>
                  </a:lnTo>
                  <a:lnTo>
                    <a:pt x="524" y="104"/>
                  </a:lnTo>
                  <a:lnTo>
                    <a:pt x="522" y="104"/>
                  </a:lnTo>
                  <a:lnTo>
                    <a:pt x="524" y="104"/>
                  </a:lnTo>
                  <a:lnTo>
                    <a:pt x="522" y="104"/>
                  </a:lnTo>
                  <a:lnTo>
                    <a:pt x="522" y="102"/>
                  </a:lnTo>
                  <a:lnTo>
                    <a:pt x="522" y="100"/>
                  </a:lnTo>
                  <a:lnTo>
                    <a:pt x="522" y="102"/>
                  </a:lnTo>
                  <a:lnTo>
                    <a:pt x="522" y="100"/>
                  </a:lnTo>
                  <a:lnTo>
                    <a:pt x="522" y="102"/>
                  </a:lnTo>
                  <a:lnTo>
                    <a:pt x="524" y="102"/>
                  </a:lnTo>
                  <a:lnTo>
                    <a:pt x="524" y="100"/>
                  </a:lnTo>
                  <a:lnTo>
                    <a:pt x="524" y="102"/>
                  </a:lnTo>
                  <a:lnTo>
                    <a:pt x="524" y="100"/>
                  </a:lnTo>
                  <a:lnTo>
                    <a:pt x="526" y="100"/>
                  </a:lnTo>
                  <a:close/>
                  <a:moveTo>
                    <a:pt x="194" y="25"/>
                  </a:moveTo>
                  <a:lnTo>
                    <a:pt x="194" y="27"/>
                  </a:lnTo>
                  <a:lnTo>
                    <a:pt x="196" y="27"/>
                  </a:lnTo>
                  <a:lnTo>
                    <a:pt x="196" y="29"/>
                  </a:lnTo>
                  <a:lnTo>
                    <a:pt x="196" y="31"/>
                  </a:lnTo>
                  <a:lnTo>
                    <a:pt x="197" y="31"/>
                  </a:lnTo>
                  <a:lnTo>
                    <a:pt x="196" y="31"/>
                  </a:lnTo>
                  <a:lnTo>
                    <a:pt x="197" y="31"/>
                  </a:lnTo>
                  <a:lnTo>
                    <a:pt x="196" y="31"/>
                  </a:lnTo>
                  <a:lnTo>
                    <a:pt x="196" y="33"/>
                  </a:lnTo>
                  <a:lnTo>
                    <a:pt x="194" y="33"/>
                  </a:lnTo>
                  <a:lnTo>
                    <a:pt x="194" y="35"/>
                  </a:lnTo>
                  <a:lnTo>
                    <a:pt x="194" y="33"/>
                  </a:lnTo>
                  <a:lnTo>
                    <a:pt x="192" y="33"/>
                  </a:lnTo>
                  <a:lnTo>
                    <a:pt x="194" y="33"/>
                  </a:lnTo>
                  <a:lnTo>
                    <a:pt x="194" y="31"/>
                  </a:lnTo>
                  <a:lnTo>
                    <a:pt x="194" y="33"/>
                  </a:lnTo>
                  <a:lnTo>
                    <a:pt x="196" y="33"/>
                  </a:lnTo>
                  <a:lnTo>
                    <a:pt x="194" y="33"/>
                  </a:lnTo>
                  <a:lnTo>
                    <a:pt x="194" y="31"/>
                  </a:lnTo>
                  <a:lnTo>
                    <a:pt x="192" y="31"/>
                  </a:lnTo>
                  <a:lnTo>
                    <a:pt x="192" y="29"/>
                  </a:lnTo>
                  <a:lnTo>
                    <a:pt x="190" y="29"/>
                  </a:lnTo>
                  <a:lnTo>
                    <a:pt x="192" y="29"/>
                  </a:lnTo>
                  <a:lnTo>
                    <a:pt x="192" y="27"/>
                  </a:lnTo>
                  <a:lnTo>
                    <a:pt x="194" y="27"/>
                  </a:lnTo>
                  <a:lnTo>
                    <a:pt x="194" y="25"/>
                  </a:lnTo>
                  <a:close/>
                  <a:moveTo>
                    <a:pt x="111" y="72"/>
                  </a:moveTo>
                  <a:lnTo>
                    <a:pt x="111" y="73"/>
                  </a:lnTo>
                  <a:lnTo>
                    <a:pt x="113" y="73"/>
                  </a:lnTo>
                  <a:lnTo>
                    <a:pt x="115" y="73"/>
                  </a:lnTo>
                  <a:lnTo>
                    <a:pt x="117" y="73"/>
                  </a:lnTo>
                  <a:lnTo>
                    <a:pt x="117" y="75"/>
                  </a:lnTo>
                  <a:lnTo>
                    <a:pt x="119" y="75"/>
                  </a:lnTo>
                  <a:lnTo>
                    <a:pt x="119" y="77"/>
                  </a:lnTo>
                  <a:lnTo>
                    <a:pt x="117" y="77"/>
                  </a:lnTo>
                  <a:lnTo>
                    <a:pt x="117" y="75"/>
                  </a:lnTo>
                  <a:lnTo>
                    <a:pt x="115" y="75"/>
                  </a:lnTo>
                  <a:lnTo>
                    <a:pt x="113" y="75"/>
                  </a:lnTo>
                  <a:lnTo>
                    <a:pt x="111" y="75"/>
                  </a:lnTo>
                  <a:lnTo>
                    <a:pt x="109" y="75"/>
                  </a:lnTo>
                  <a:lnTo>
                    <a:pt x="109" y="73"/>
                  </a:lnTo>
                  <a:lnTo>
                    <a:pt x="111" y="73"/>
                  </a:lnTo>
                  <a:lnTo>
                    <a:pt x="109" y="73"/>
                  </a:lnTo>
                  <a:lnTo>
                    <a:pt x="109" y="72"/>
                  </a:lnTo>
                  <a:lnTo>
                    <a:pt x="111" y="72"/>
                  </a:lnTo>
                  <a:close/>
                  <a:moveTo>
                    <a:pt x="577" y="169"/>
                  </a:moveTo>
                  <a:lnTo>
                    <a:pt x="579" y="169"/>
                  </a:lnTo>
                  <a:lnTo>
                    <a:pt x="579" y="171"/>
                  </a:lnTo>
                  <a:lnTo>
                    <a:pt x="581" y="171"/>
                  </a:lnTo>
                  <a:lnTo>
                    <a:pt x="581" y="173"/>
                  </a:lnTo>
                  <a:lnTo>
                    <a:pt x="581" y="175"/>
                  </a:lnTo>
                  <a:lnTo>
                    <a:pt x="579" y="175"/>
                  </a:lnTo>
                  <a:lnTo>
                    <a:pt x="579" y="173"/>
                  </a:lnTo>
                  <a:lnTo>
                    <a:pt x="579" y="175"/>
                  </a:lnTo>
                  <a:lnTo>
                    <a:pt x="579" y="173"/>
                  </a:lnTo>
                  <a:lnTo>
                    <a:pt x="579" y="175"/>
                  </a:lnTo>
                  <a:lnTo>
                    <a:pt x="577" y="175"/>
                  </a:lnTo>
                  <a:lnTo>
                    <a:pt x="576" y="175"/>
                  </a:lnTo>
                  <a:lnTo>
                    <a:pt x="576" y="173"/>
                  </a:lnTo>
                  <a:lnTo>
                    <a:pt x="577" y="173"/>
                  </a:lnTo>
                  <a:lnTo>
                    <a:pt x="577" y="171"/>
                  </a:lnTo>
                  <a:lnTo>
                    <a:pt x="577" y="173"/>
                  </a:lnTo>
                  <a:lnTo>
                    <a:pt x="577" y="171"/>
                  </a:lnTo>
                  <a:lnTo>
                    <a:pt x="577" y="173"/>
                  </a:lnTo>
                  <a:lnTo>
                    <a:pt x="577" y="171"/>
                  </a:lnTo>
                  <a:lnTo>
                    <a:pt x="577" y="173"/>
                  </a:lnTo>
                  <a:lnTo>
                    <a:pt x="577" y="171"/>
                  </a:lnTo>
                  <a:lnTo>
                    <a:pt x="576" y="171"/>
                  </a:lnTo>
                  <a:lnTo>
                    <a:pt x="576" y="173"/>
                  </a:lnTo>
                  <a:lnTo>
                    <a:pt x="576" y="171"/>
                  </a:lnTo>
                  <a:lnTo>
                    <a:pt x="576" y="173"/>
                  </a:lnTo>
                  <a:lnTo>
                    <a:pt x="576" y="171"/>
                  </a:lnTo>
                  <a:lnTo>
                    <a:pt x="574" y="171"/>
                  </a:lnTo>
                  <a:lnTo>
                    <a:pt x="576" y="171"/>
                  </a:lnTo>
                  <a:lnTo>
                    <a:pt x="577" y="171"/>
                  </a:lnTo>
                  <a:lnTo>
                    <a:pt x="577" y="169"/>
                  </a:lnTo>
                  <a:close/>
                  <a:moveTo>
                    <a:pt x="98" y="56"/>
                  </a:moveTo>
                  <a:lnTo>
                    <a:pt x="100" y="56"/>
                  </a:lnTo>
                  <a:lnTo>
                    <a:pt x="100" y="58"/>
                  </a:lnTo>
                  <a:lnTo>
                    <a:pt x="100" y="60"/>
                  </a:lnTo>
                  <a:lnTo>
                    <a:pt x="100" y="62"/>
                  </a:lnTo>
                  <a:lnTo>
                    <a:pt x="98" y="62"/>
                  </a:lnTo>
                  <a:lnTo>
                    <a:pt x="96" y="62"/>
                  </a:lnTo>
                  <a:lnTo>
                    <a:pt x="94" y="62"/>
                  </a:lnTo>
                  <a:lnTo>
                    <a:pt x="94" y="60"/>
                  </a:lnTo>
                  <a:lnTo>
                    <a:pt x="94" y="58"/>
                  </a:lnTo>
                  <a:lnTo>
                    <a:pt x="96" y="58"/>
                  </a:lnTo>
                  <a:lnTo>
                    <a:pt x="98" y="58"/>
                  </a:lnTo>
                  <a:lnTo>
                    <a:pt x="98" y="56"/>
                  </a:lnTo>
                  <a:close/>
                  <a:moveTo>
                    <a:pt x="422" y="208"/>
                  </a:moveTo>
                  <a:lnTo>
                    <a:pt x="424" y="208"/>
                  </a:lnTo>
                  <a:lnTo>
                    <a:pt x="424" y="210"/>
                  </a:lnTo>
                  <a:lnTo>
                    <a:pt x="422" y="210"/>
                  </a:lnTo>
                  <a:lnTo>
                    <a:pt x="420" y="210"/>
                  </a:lnTo>
                  <a:lnTo>
                    <a:pt x="420" y="212"/>
                  </a:lnTo>
                  <a:lnTo>
                    <a:pt x="418" y="212"/>
                  </a:lnTo>
                  <a:lnTo>
                    <a:pt x="418" y="214"/>
                  </a:lnTo>
                  <a:lnTo>
                    <a:pt x="418" y="212"/>
                  </a:lnTo>
                  <a:lnTo>
                    <a:pt x="416" y="212"/>
                  </a:lnTo>
                  <a:lnTo>
                    <a:pt x="416" y="214"/>
                  </a:lnTo>
                  <a:lnTo>
                    <a:pt x="414" y="214"/>
                  </a:lnTo>
                  <a:lnTo>
                    <a:pt x="412" y="214"/>
                  </a:lnTo>
                  <a:lnTo>
                    <a:pt x="412" y="212"/>
                  </a:lnTo>
                  <a:lnTo>
                    <a:pt x="414" y="212"/>
                  </a:lnTo>
                  <a:lnTo>
                    <a:pt x="414" y="210"/>
                  </a:lnTo>
                  <a:lnTo>
                    <a:pt x="414" y="212"/>
                  </a:lnTo>
                  <a:lnTo>
                    <a:pt x="414" y="210"/>
                  </a:lnTo>
                  <a:lnTo>
                    <a:pt x="416" y="210"/>
                  </a:lnTo>
                  <a:lnTo>
                    <a:pt x="414" y="210"/>
                  </a:lnTo>
                  <a:lnTo>
                    <a:pt x="416" y="210"/>
                  </a:lnTo>
                  <a:lnTo>
                    <a:pt x="416" y="208"/>
                  </a:lnTo>
                  <a:lnTo>
                    <a:pt x="416" y="210"/>
                  </a:lnTo>
                  <a:lnTo>
                    <a:pt x="416" y="208"/>
                  </a:lnTo>
                  <a:lnTo>
                    <a:pt x="418" y="208"/>
                  </a:lnTo>
                  <a:lnTo>
                    <a:pt x="418" y="210"/>
                  </a:lnTo>
                  <a:lnTo>
                    <a:pt x="420" y="210"/>
                  </a:lnTo>
                  <a:lnTo>
                    <a:pt x="420" y="208"/>
                  </a:lnTo>
                  <a:lnTo>
                    <a:pt x="418" y="208"/>
                  </a:lnTo>
                  <a:lnTo>
                    <a:pt x="420" y="208"/>
                  </a:lnTo>
                  <a:lnTo>
                    <a:pt x="422" y="208"/>
                  </a:lnTo>
                  <a:close/>
                  <a:moveTo>
                    <a:pt x="416" y="241"/>
                  </a:moveTo>
                  <a:lnTo>
                    <a:pt x="416" y="242"/>
                  </a:lnTo>
                  <a:lnTo>
                    <a:pt x="414" y="242"/>
                  </a:lnTo>
                  <a:lnTo>
                    <a:pt x="416" y="242"/>
                  </a:lnTo>
                  <a:lnTo>
                    <a:pt x="414" y="242"/>
                  </a:lnTo>
                  <a:lnTo>
                    <a:pt x="414" y="244"/>
                  </a:lnTo>
                  <a:lnTo>
                    <a:pt x="416" y="244"/>
                  </a:lnTo>
                  <a:lnTo>
                    <a:pt x="414" y="244"/>
                  </a:lnTo>
                  <a:lnTo>
                    <a:pt x="414" y="246"/>
                  </a:lnTo>
                  <a:lnTo>
                    <a:pt x="412" y="246"/>
                  </a:lnTo>
                  <a:lnTo>
                    <a:pt x="410" y="246"/>
                  </a:lnTo>
                  <a:lnTo>
                    <a:pt x="412" y="246"/>
                  </a:lnTo>
                  <a:lnTo>
                    <a:pt x="410" y="246"/>
                  </a:lnTo>
                  <a:lnTo>
                    <a:pt x="410" y="248"/>
                  </a:lnTo>
                  <a:lnTo>
                    <a:pt x="410" y="246"/>
                  </a:lnTo>
                  <a:lnTo>
                    <a:pt x="410" y="248"/>
                  </a:lnTo>
                  <a:lnTo>
                    <a:pt x="409" y="248"/>
                  </a:lnTo>
                  <a:lnTo>
                    <a:pt x="410" y="248"/>
                  </a:lnTo>
                  <a:lnTo>
                    <a:pt x="409" y="248"/>
                  </a:lnTo>
                  <a:lnTo>
                    <a:pt x="407" y="248"/>
                  </a:lnTo>
                  <a:lnTo>
                    <a:pt x="407" y="246"/>
                  </a:lnTo>
                  <a:lnTo>
                    <a:pt x="409" y="246"/>
                  </a:lnTo>
                  <a:lnTo>
                    <a:pt x="410" y="246"/>
                  </a:lnTo>
                  <a:lnTo>
                    <a:pt x="410" y="244"/>
                  </a:lnTo>
                  <a:lnTo>
                    <a:pt x="412" y="244"/>
                  </a:lnTo>
                  <a:lnTo>
                    <a:pt x="412" y="242"/>
                  </a:lnTo>
                  <a:lnTo>
                    <a:pt x="412" y="244"/>
                  </a:lnTo>
                  <a:lnTo>
                    <a:pt x="414" y="244"/>
                  </a:lnTo>
                  <a:lnTo>
                    <a:pt x="414" y="242"/>
                  </a:lnTo>
                  <a:lnTo>
                    <a:pt x="414" y="244"/>
                  </a:lnTo>
                  <a:lnTo>
                    <a:pt x="412" y="244"/>
                  </a:lnTo>
                  <a:lnTo>
                    <a:pt x="412" y="242"/>
                  </a:lnTo>
                  <a:lnTo>
                    <a:pt x="414" y="242"/>
                  </a:lnTo>
                  <a:lnTo>
                    <a:pt x="416" y="242"/>
                  </a:lnTo>
                  <a:lnTo>
                    <a:pt x="416" y="241"/>
                  </a:lnTo>
                  <a:close/>
                  <a:moveTo>
                    <a:pt x="445" y="114"/>
                  </a:moveTo>
                  <a:lnTo>
                    <a:pt x="447" y="114"/>
                  </a:lnTo>
                  <a:lnTo>
                    <a:pt x="449" y="114"/>
                  </a:lnTo>
                  <a:lnTo>
                    <a:pt x="451" y="114"/>
                  </a:lnTo>
                  <a:lnTo>
                    <a:pt x="453" y="114"/>
                  </a:lnTo>
                  <a:lnTo>
                    <a:pt x="455" y="114"/>
                  </a:lnTo>
                  <a:lnTo>
                    <a:pt x="457" y="114"/>
                  </a:lnTo>
                  <a:lnTo>
                    <a:pt x="458" y="114"/>
                  </a:lnTo>
                  <a:lnTo>
                    <a:pt x="458" y="116"/>
                  </a:lnTo>
                  <a:lnTo>
                    <a:pt x="457" y="116"/>
                  </a:lnTo>
                  <a:lnTo>
                    <a:pt x="455" y="116"/>
                  </a:lnTo>
                  <a:lnTo>
                    <a:pt x="453" y="116"/>
                  </a:lnTo>
                  <a:lnTo>
                    <a:pt x="451" y="116"/>
                  </a:lnTo>
                  <a:lnTo>
                    <a:pt x="449" y="116"/>
                  </a:lnTo>
                  <a:lnTo>
                    <a:pt x="447" y="116"/>
                  </a:lnTo>
                  <a:lnTo>
                    <a:pt x="445" y="116"/>
                  </a:lnTo>
                  <a:lnTo>
                    <a:pt x="445" y="114"/>
                  </a:lnTo>
                  <a:lnTo>
                    <a:pt x="445" y="116"/>
                  </a:lnTo>
                  <a:lnTo>
                    <a:pt x="445" y="114"/>
                  </a:lnTo>
                  <a:lnTo>
                    <a:pt x="445" y="116"/>
                  </a:lnTo>
                  <a:lnTo>
                    <a:pt x="445" y="114"/>
                  </a:lnTo>
                  <a:lnTo>
                    <a:pt x="445" y="116"/>
                  </a:lnTo>
                  <a:lnTo>
                    <a:pt x="443" y="116"/>
                  </a:lnTo>
                  <a:lnTo>
                    <a:pt x="443" y="114"/>
                  </a:lnTo>
                  <a:lnTo>
                    <a:pt x="445" y="114"/>
                  </a:lnTo>
                  <a:close/>
                  <a:moveTo>
                    <a:pt x="140" y="70"/>
                  </a:moveTo>
                  <a:lnTo>
                    <a:pt x="140" y="72"/>
                  </a:lnTo>
                  <a:lnTo>
                    <a:pt x="142" y="72"/>
                  </a:lnTo>
                  <a:lnTo>
                    <a:pt x="142" y="73"/>
                  </a:lnTo>
                  <a:lnTo>
                    <a:pt x="142" y="75"/>
                  </a:lnTo>
                  <a:lnTo>
                    <a:pt x="140" y="75"/>
                  </a:lnTo>
                  <a:lnTo>
                    <a:pt x="140" y="73"/>
                  </a:lnTo>
                  <a:lnTo>
                    <a:pt x="138" y="73"/>
                  </a:lnTo>
                  <a:lnTo>
                    <a:pt x="140" y="73"/>
                  </a:lnTo>
                  <a:lnTo>
                    <a:pt x="138" y="73"/>
                  </a:lnTo>
                  <a:lnTo>
                    <a:pt x="140" y="73"/>
                  </a:lnTo>
                  <a:lnTo>
                    <a:pt x="138" y="73"/>
                  </a:lnTo>
                  <a:lnTo>
                    <a:pt x="140" y="73"/>
                  </a:lnTo>
                  <a:lnTo>
                    <a:pt x="140" y="72"/>
                  </a:lnTo>
                  <a:lnTo>
                    <a:pt x="138" y="72"/>
                  </a:lnTo>
                  <a:lnTo>
                    <a:pt x="138" y="73"/>
                  </a:lnTo>
                  <a:lnTo>
                    <a:pt x="138" y="72"/>
                  </a:lnTo>
                  <a:lnTo>
                    <a:pt x="136" y="72"/>
                  </a:lnTo>
                  <a:lnTo>
                    <a:pt x="136" y="73"/>
                  </a:lnTo>
                  <a:lnTo>
                    <a:pt x="136" y="72"/>
                  </a:lnTo>
                  <a:lnTo>
                    <a:pt x="138" y="72"/>
                  </a:lnTo>
                  <a:lnTo>
                    <a:pt x="138" y="73"/>
                  </a:lnTo>
                  <a:lnTo>
                    <a:pt x="136" y="73"/>
                  </a:lnTo>
                  <a:lnTo>
                    <a:pt x="136" y="72"/>
                  </a:lnTo>
                  <a:lnTo>
                    <a:pt x="136" y="70"/>
                  </a:lnTo>
                  <a:lnTo>
                    <a:pt x="138" y="70"/>
                  </a:lnTo>
                  <a:lnTo>
                    <a:pt x="140" y="70"/>
                  </a:lnTo>
                  <a:close/>
                  <a:moveTo>
                    <a:pt x="107" y="68"/>
                  </a:moveTo>
                  <a:lnTo>
                    <a:pt x="109" y="68"/>
                  </a:lnTo>
                  <a:lnTo>
                    <a:pt x="109" y="70"/>
                  </a:lnTo>
                  <a:lnTo>
                    <a:pt x="109" y="72"/>
                  </a:lnTo>
                  <a:lnTo>
                    <a:pt x="109" y="73"/>
                  </a:lnTo>
                  <a:lnTo>
                    <a:pt x="107" y="73"/>
                  </a:lnTo>
                  <a:lnTo>
                    <a:pt x="107" y="72"/>
                  </a:lnTo>
                  <a:lnTo>
                    <a:pt x="105" y="72"/>
                  </a:lnTo>
                  <a:lnTo>
                    <a:pt x="107" y="72"/>
                  </a:lnTo>
                  <a:lnTo>
                    <a:pt x="107" y="70"/>
                  </a:lnTo>
                  <a:lnTo>
                    <a:pt x="105" y="70"/>
                  </a:lnTo>
                  <a:lnTo>
                    <a:pt x="105" y="68"/>
                  </a:lnTo>
                  <a:lnTo>
                    <a:pt x="107" y="68"/>
                  </a:lnTo>
                  <a:close/>
                  <a:moveTo>
                    <a:pt x="213" y="102"/>
                  </a:moveTo>
                  <a:lnTo>
                    <a:pt x="215" y="102"/>
                  </a:lnTo>
                  <a:lnTo>
                    <a:pt x="217" y="102"/>
                  </a:lnTo>
                  <a:lnTo>
                    <a:pt x="217" y="104"/>
                  </a:lnTo>
                  <a:lnTo>
                    <a:pt x="215" y="104"/>
                  </a:lnTo>
                  <a:lnTo>
                    <a:pt x="215" y="106"/>
                  </a:lnTo>
                  <a:lnTo>
                    <a:pt x="213" y="106"/>
                  </a:lnTo>
                  <a:lnTo>
                    <a:pt x="211" y="106"/>
                  </a:lnTo>
                  <a:lnTo>
                    <a:pt x="211" y="104"/>
                  </a:lnTo>
                  <a:lnTo>
                    <a:pt x="211" y="102"/>
                  </a:lnTo>
                  <a:lnTo>
                    <a:pt x="213" y="102"/>
                  </a:lnTo>
                  <a:lnTo>
                    <a:pt x="211" y="102"/>
                  </a:lnTo>
                  <a:lnTo>
                    <a:pt x="213" y="102"/>
                  </a:lnTo>
                  <a:close/>
                  <a:moveTo>
                    <a:pt x="103" y="64"/>
                  </a:moveTo>
                  <a:lnTo>
                    <a:pt x="105" y="64"/>
                  </a:lnTo>
                  <a:lnTo>
                    <a:pt x="107" y="64"/>
                  </a:lnTo>
                  <a:lnTo>
                    <a:pt x="107" y="66"/>
                  </a:lnTo>
                  <a:lnTo>
                    <a:pt x="107" y="64"/>
                  </a:lnTo>
                  <a:lnTo>
                    <a:pt x="107" y="66"/>
                  </a:lnTo>
                  <a:lnTo>
                    <a:pt x="109" y="66"/>
                  </a:lnTo>
                  <a:lnTo>
                    <a:pt x="109" y="68"/>
                  </a:lnTo>
                  <a:lnTo>
                    <a:pt x="111" y="68"/>
                  </a:lnTo>
                  <a:lnTo>
                    <a:pt x="111" y="70"/>
                  </a:lnTo>
                  <a:lnTo>
                    <a:pt x="109" y="70"/>
                  </a:lnTo>
                  <a:lnTo>
                    <a:pt x="109" y="68"/>
                  </a:lnTo>
                  <a:lnTo>
                    <a:pt x="107" y="68"/>
                  </a:lnTo>
                  <a:lnTo>
                    <a:pt x="107" y="66"/>
                  </a:lnTo>
                  <a:lnTo>
                    <a:pt x="105" y="66"/>
                  </a:lnTo>
                  <a:lnTo>
                    <a:pt x="103" y="66"/>
                  </a:lnTo>
                  <a:lnTo>
                    <a:pt x="103" y="64"/>
                  </a:lnTo>
                  <a:close/>
                  <a:moveTo>
                    <a:pt x="113" y="70"/>
                  </a:moveTo>
                  <a:lnTo>
                    <a:pt x="115" y="70"/>
                  </a:lnTo>
                  <a:lnTo>
                    <a:pt x="115" y="72"/>
                  </a:lnTo>
                  <a:lnTo>
                    <a:pt x="115" y="70"/>
                  </a:lnTo>
                  <a:lnTo>
                    <a:pt x="115" y="72"/>
                  </a:lnTo>
                  <a:lnTo>
                    <a:pt x="117" y="72"/>
                  </a:lnTo>
                  <a:lnTo>
                    <a:pt x="119" y="72"/>
                  </a:lnTo>
                  <a:lnTo>
                    <a:pt x="119" y="73"/>
                  </a:lnTo>
                  <a:lnTo>
                    <a:pt x="119" y="75"/>
                  </a:lnTo>
                  <a:lnTo>
                    <a:pt x="121" y="75"/>
                  </a:lnTo>
                  <a:lnTo>
                    <a:pt x="119" y="75"/>
                  </a:lnTo>
                  <a:lnTo>
                    <a:pt x="121" y="75"/>
                  </a:lnTo>
                  <a:lnTo>
                    <a:pt x="119" y="75"/>
                  </a:lnTo>
                  <a:lnTo>
                    <a:pt x="117" y="75"/>
                  </a:lnTo>
                  <a:lnTo>
                    <a:pt x="117" y="73"/>
                  </a:lnTo>
                  <a:lnTo>
                    <a:pt x="115" y="73"/>
                  </a:lnTo>
                  <a:lnTo>
                    <a:pt x="115" y="72"/>
                  </a:lnTo>
                  <a:lnTo>
                    <a:pt x="115" y="73"/>
                  </a:lnTo>
                  <a:lnTo>
                    <a:pt x="113" y="72"/>
                  </a:lnTo>
                  <a:lnTo>
                    <a:pt x="113" y="73"/>
                  </a:lnTo>
                  <a:lnTo>
                    <a:pt x="111" y="73"/>
                  </a:lnTo>
                  <a:lnTo>
                    <a:pt x="113" y="73"/>
                  </a:lnTo>
                  <a:lnTo>
                    <a:pt x="113" y="72"/>
                  </a:lnTo>
                  <a:lnTo>
                    <a:pt x="113" y="70"/>
                  </a:lnTo>
                  <a:close/>
                  <a:moveTo>
                    <a:pt x="393" y="162"/>
                  </a:moveTo>
                  <a:lnTo>
                    <a:pt x="395" y="162"/>
                  </a:lnTo>
                  <a:lnTo>
                    <a:pt x="395" y="164"/>
                  </a:lnTo>
                  <a:lnTo>
                    <a:pt x="397" y="164"/>
                  </a:lnTo>
                  <a:lnTo>
                    <a:pt x="395" y="164"/>
                  </a:lnTo>
                  <a:lnTo>
                    <a:pt x="395" y="166"/>
                  </a:lnTo>
                  <a:lnTo>
                    <a:pt x="397" y="166"/>
                  </a:lnTo>
                  <a:lnTo>
                    <a:pt x="395" y="166"/>
                  </a:lnTo>
                  <a:lnTo>
                    <a:pt x="397" y="166"/>
                  </a:lnTo>
                  <a:lnTo>
                    <a:pt x="395" y="166"/>
                  </a:lnTo>
                  <a:lnTo>
                    <a:pt x="397" y="166"/>
                  </a:lnTo>
                  <a:lnTo>
                    <a:pt x="395" y="166"/>
                  </a:lnTo>
                  <a:lnTo>
                    <a:pt x="397" y="166"/>
                  </a:lnTo>
                  <a:lnTo>
                    <a:pt x="395" y="166"/>
                  </a:lnTo>
                  <a:lnTo>
                    <a:pt x="395" y="168"/>
                  </a:lnTo>
                  <a:lnTo>
                    <a:pt x="393" y="168"/>
                  </a:lnTo>
                  <a:lnTo>
                    <a:pt x="393" y="166"/>
                  </a:lnTo>
                  <a:lnTo>
                    <a:pt x="393" y="164"/>
                  </a:lnTo>
                  <a:lnTo>
                    <a:pt x="393" y="162"/>
                  </a:lnTo>
                  <a:close/>
                  <a:moveTo>
                    <a:pt x="77" y="129"/>
                  </a:moveTo>
                  <a:lnTo>
                    <a:pt x="78" y="129"/>
                  </a:lnTo>
                  <a:lnTo>
                    <a:pt x="77" y="129"/>
                  </a:lnTo>
                  <a:lnTo>
                    <a:pt x="78" y="129"/>
                  </a:lnTo>
                  <a:lnTo>
                    <a:pt x="78" y="131"/>
                  </a:lnTo>
                  <a:lnTo>
                    <a:pt x="80" y="131"/>
                  </a:lnTo>
                  <a:lnTo>
                    <a:pt x="80" y="133"/>
                  </a:lnTo>
                  <a:lnTo>
                    <a:pt x="80" y="131"/>
                  </a:lnTo>
                  <a:lnTo>
                    <a:pt x="80" y="133"/>
                  </a:lnTo>
                  <a:lnTo>
                    <a:pt x="80" y="131"/>
                  </a:lnTo>
                  <a:lnTo>
                    <a:pt x="80" y="133"/>
                  </a:lnTo>
                  <a:lnTo>
                    <a:pt x="78" y="133"/>
                  </a:lnTo>
                  <a:lnTo>
                    <a:pt x="78" y="135"/>
                  </a:lnTo>
                  <a:lnTo>
                    <a:pt x="80" y="135"/>
                  </a:lnTo>
                  <a:lnTo>
                    <a:pt x="78" y="135"/>
                  </a:lnTo>
                  <a:lnTo>
                    <a:pt x="80" y="135"/>
                  </a:lnTo>
                  <a:lnTo>
                    <a:pt x="78" y="135"/>
                  </a:lnTo>
                  <a:lnTo>
                    <a:pt x="80" y="135"/>
                  </a:lnTo>
                  <a:lnTo>
                    <a:pt x="80" y="137"/>
                  </a:lnTo>
                  <a:lnTo>
                    <a:pt x="80" y="135"/>
                  </a:lnTo>
                  <a:lnTo>
                    <a:pt x="78" y="135"/>
                  </a:lnTo>
                  <a:lnTo>
                    <a:pt x="78" y="133"/>
                  </a:lnTo>
                  <a:lnTo>
                    <a:pt x="77" y="133"/>
                  </a:lnTo>
                  <a:lnTo>
                    <a:pt x="77" y="131"/>
                  </a:lnTo>
                  <a:lnTo>
                    <a:pt x="77" y="129"/>
                  </a:lnTo>
                  <a:close/>
                  <a:moveTo>
                    <a:pt x="140" y="87"/>
                  </a:moveTo>
                  <a:lnTo>
                    <a:pt x="142" y="87"/>
                  </a:lnTo>
                  <a:lnTo>
                    <a:pt x="142" y="89"/>
                  </a:lnTo>
                  <a:lnTo>
                    <a:pt x="144" y="89"/>
                  </a:lnTo>
                  <a:lnTo>
                    <a:pt x="144" y="91"/>
                  </a:lnTo>
                  <a:lnTo>
                    <a:pt x="144" y="89"/>
                  </a:lnTo>
                  <a:lnTo>
                    <a:pt x="144" y="91"/>
                  </a:lnTo>
                  <a:lnTo>
                    <a:pt x="146" y="91"/>
                  </a:lnTo>
                  <a:lnTo>
                    <a:pt x="148" y="91"/>
                  </a:lnTo>
                  <a:lnTo>
                    <a:pt x="148" y="93"/>
                  </a:lnTo>
                  <a:lnTo>
                    <a:pt x="146" y="93"/>
                  </a:lnTo>
                  <a:lnTo>
                    <a:pt x="146" y="91"/>
                  </a:lnTo>
                  <a:lnTo>
                    <a:pt x="146" y="93"/>
                  </a:lnTo>
                  <a:lnTo>
                    <a:pt x="144" y="93"/>
                  </a:lnTo>
                  <a:lnTo>
                    <a:pt x="144" y="91"/>
                  </a:lnTo>
                  <a:lnTo>
                    <a:pt x="142" y="91"/>
                  </a:lnTo>
                  <a:lnTo>
                    <a:pt x="140" y="91"/>
                  </a:lnTo>
                  <a:lnTo>
                    <a:pt x="138" y="91"/>
                  </a:lnTo>
                  <a:lnTo>
                    <a:pt x="140" y="91"/>
                  </a:lnTo>
                  <a:lnTo>
                    <a:pt x="140" y="89"/>
                  </a:lnTo>
                  <a:lnTo>
                    <a:pt x="138" y="89"/>
                  </a:lnTo>
                  <a:lnTo>
                    <a:pt x="140" y="89"/>
                  </a:lnTo>
                  <a:lnTo>
                    <a:pt x="140" y="87"/>
                  </a:lnTo>
                  <a:lnTo>
                    <a:pt x="140" y="89"/>
                  </a:lnTo>
                  <a:lnTo>
                    <a:pt x="140" y="87"/>
                  </a:lnTo>
                  <a:close/>
                  <a:moveTo>
                    <a:pt x="464" y="22"/>
                  </a:moveTo>
                  <a:lnTo>
                    <a:pt x="466" y="22"/>
                  </a:lnTo>
                  <a:lnTo>
                    <a:pt x="464" y="22"/>
                  </a:lnTo>
                  <a:lnTo>
                    <a:pt x="466" y="22"/>
                  </a:lnTo>
                  <a:lnTo>
                    <a:pt x="466" y="23"/>
                  </a:lnTo>
                  <a:lnTo>
                    <a:pt x="466" y="25"/>
                  </a:lnTo>
                  <a:lnTo>
                    <a:pt x="468" y="25"/>
                  </a:lnTo>
                  <a:lnTo>
                    <a:pt x="466" y="25"/>
                  </a:lnTo>
                  <a:lnTo>
                    <a:pt x="466" y="27"/>
                  </a:lnTo>
                  <a:lnTo>
                    <a:pt x="466" y="29"/>
                  </a:lnTo>
                  <a:lnTo>
                    <a:pt x="464" y="29"/>
                  </a:lnTo>
                  <a:lnTo>
                    <a:pt x="464" y="27"/>
                  </a:lnTo>
                  <a:lnTo>
                    <a:pt x="464" y="25"/>
                  </a:lnTo>
                  <a:lnTo>
                    <a:pt x="466" y="25"/>
                  </a:lnTo>
                  <a:lnTo>
                    <a:pt x="464" y="25"/>
                  </a:lnTo>
                  <a:lnTo>
                    <a:pt x="464" y="23"/>
                  </a:lnTo>
                  <a:lnTo>
                    <a:pt x="464" y="22"/>
                  </a:lnTo>
                  <a:close/>
                  <a:moveTo>
                    <a:pt x="140" y="93"/>
                  </a:moveTo>
                  <a:lnTo>
                    <a:pt x="140" y="95"/>
                  </a:lnTo>
                  <a:lnTo>
                    <a:pt x="142" y="95"/>
                  </a:lnTo>
                  <a:lnTo>
                    <a:pt x="140" y="95"/>
                  </a:lnTo>
                  <a:lnTo>
                    <a:pt x="140" y="96"/>
                  </a:lnTo>
                  <a:lnTo>
                    <a:pt x="138" y="96"/>
                  </a:lnTo>
                  <a:lnTo>
                    <a:pt x="138" y="98"/>
                  </a:lnTo>
                  <a:lnTo>
                    <a:pt x="138" y="96"/>
                  </a:lnTo>
                  <a:lnTo>
                    <a:pt x="136" y="96"/>
                  </a:lnTo>
                  <a:lnTo>
                    <a:pt x="136" y="95"/>
                  </a:lnTo>
                  <a:lnTo>
                    <a:pt x="136" y="93"/>
                  </a:lnTo>
                  <a:lnTo>
                    <a:pt x="138" y="93"/>
                  </a:lnTo>
                  <a:lnTo>
                    <a:pt x="136" y="93"/>
                  </a:lnTo>
                  <a:lnTo>
                    <a:pt x="138" y="93"/>
                  </a:lnTo>
                  <a:lnTo>
                    <a:pt x="136" y="93"/>
                  </a:lnTo>
                  <a:lnTo>
                    <a:pt x="136" y="95"/>
                  </a:lnTo>
                  <a:lnTo>
                    <a:pt x="138" y="95"/>
                  </a:lnTo>
                  <a:lnTo>
                    <a:pt x="138" y="93"/>
                  </a:lnTo>
                  <a:lnTo>
                    <a:pt x="140" y="93"/>
                  </a:lnTo>
                  <a:close/>
                  <a:moveTo>
                    <a:pt x="487" y="139"/>
                  </a:moveTo>
                  <a:lnTo>
                    <a:pt x="489" y="139"/>
                  </a:lnTo>
                  <a:lnTo>
                    <a:pt x="487" y="139"/>
                  </a:lnTo>
                  <a:lnTo>
                    <a:pt x="487" y="141"/>
                  </a:lnTo>
                  <a:lnTo>
                    <a:pt x="489" y="141"/>
                  </a:lnTo>
                  <a:lnTo>
                    <a:pt x="487" y="141"/>
                  </a:lnTo>
                  <a:lnTo>
                    <a:pt x="487" y="143"/>
                  </a:lnTo>
                  <a:lnTo>
                    <a:pt x="487" y="141"/>
                  </a:lnTo>
                  <a:lnTo>
                    <a:pt x="487" y="143"/>
                  </a:lnTo>
                  <a:lnTo>
                    <a:pt x="485" y="143"/>
                  </a:lnTo>
                  <a:lnTo>
                    <a:pt x="485" y="141"/>
                  </a:lnTo>
                  <a:lnTo>
                    <a:pt x="487" y="141"/>
                  </a:lnTo>
                  <a:lnTo>
                    <a:pt x="485" y="141"/>
                  </a:lnTo>
                  <a:lnTo>
                    <a:pt x="485" y="143"/>
                  </a:lnTo>
                  <a:lnTo>
                    <a:pt x="483" y="143"/>
                  </a:lnTo>
                  <a:lnTo>
                    <a:pt x="481" y="143"/>
                  </a:lnTo>
                  <a:lnTo>
                    <a:pt x="481" y="141"/>
                  </a:lnTo>
                  <a:lnTo>
                    <a:pt x="483" y="141"/>
                  </a:lnTo>
                  <a:lnTo>
                    <a:pt x="485" y="141"/>
                  </a:lnTo>
                  <a:lnTo>
                    <a:pt x="485" y="139"/>
                  </a:lnTo>
                  <a:lnTo>
                    <a:pt x="487" y="139"/>
                  </a:lnTo>
                  <a:close/>
                  <a:moveTo>
                    <a:pt x="430" y="208"/>
                  </a:moveTo>
                  <a:lnTo>
                    <a:pt x="430" y="210"/>
                  </a:lnTo>
                  <a:lnTo>
                    <a:pt x="428" y="210"/>
                  </a:lnTo>
                  <a:lnTo>
                    <a:pt x="428" y="212"/>
                  </a:lnTo>
                  <a:lnTo>
                    <a:pt x="428" y="214"/>
                  </a:lnTo>
                  <a:lnTo>
                    <a:pt x="426" y="214"/>
                  </a:lnTo>
                  <a:lnTo>
                    <a:pt x="426" y="212"/>
                  </a:lnTo>
                  <a:lnTo>
                    <a:pt x="424" y="212"/>
                  </a:lnTo>
                  <a:lnTo>
                    <a:pt x="424" y="210"/>
                  </a:lnTo>
                  <a:lnTo>
                    <a:pt x="426" y="210"/>
                  </a:lnTo>
                  <a:lnTo>
                    <a:pt x="428" y="210"/>
                  </a:lnTo>
                  <a:lnTo>
                    <a:pt x="428" y="208"/>
                  </a:lnTo>
                  <a:lnTo>
                    <a:pt x="430" y="208"/>
                  </a:lnTo>
                  <a:close/>
                  <a:moveTo>
                    <a:pt x="410" y="146"/>
                  </a:moveTo>
                  <a:lnTo>
                    <a:pt x="412" y="146"/>
                  </a:lnTo>
                  <a:lnTo>
                    <a:pt x="414" y="146"/>
                  </a:lnTo>
                  <a:lnTo>
                    <a:pt x="414" y="148"/>
                  </a:lnTo>
                  <a:lnTo>
                    <a:pt x="412" y="148"/>
                  </a:lnTo>
                  <a:lnTo>
                    <a:pt x="412" y="150"/>
                  </a:lnTo>
                  <a:lnTo>
                    <a:pt x="410" y="150"/>
                  </a:lnTo>
                  <a:lnTo>
                    <a:pt x="410" y="148"/>
                  </a:lnTo>
                  <a:lnTo>
                    <a:pt x="409" y="148"/>
                  </a:lnTo>
                  <a:lnTo>
                    <a:pt x="409" y="146"/>
                  </a:lnTo>
                  <a:lnTo>
                    <a:pt x="410" y="146"/>
                  </a:lnTo>
                  <a:close/>
                  <a:moveTo>
                    <a:pt x="641" y="208"/>
                  </a:moveTo>
                  <a:lnTo>
                    <a:pt x="641" y="210"/>
                  </a:lnTo>
                  <a:lnTo>
                    <a:pt x="643" y="210"/>
                  </a:lnTo>
                  <a:lnTo>
                    <a:pt x="641" y="210"/>
                  </a:lnTo>
                  <a:lnTo>
                    <a:pt x="639" y="210"/>
                  </a:lnTo>
                  <a:lnTo>
                    <a:pt x="637" y="210"/>
                  </a:lnTo>
                  <a:lnTo>
                    <a:pt x="639" y="210"/>
                  </a:lnTo>
                  <a:lnTo>
                    <a:pt x="639" y="208"/>
                  </a:lnTo>
                  <a:lnTo>
                    <a:pt x="641" y="208"/>
                  </a:lnTo>
                  <a:close/>
                  <a:moveTo>
                    <a:pt x="374" y="171"/>
                  </a:moveTo>
                  <a:lnTo>
                    <a:pt x="374" y="173"/>
                  </a:lnTo>
                  <a:lnTo>
                    <a:pt x="374" y="175"/>
                  </a:lnTo>
                  <a:lnTo>
                    <a:pt x="374" y="177"/>
                  </a:lnTo>
                  <a:lnTo>
                    <a:pt x="374" y="179"/>
                  </a:lnTo>
                  <a:lnTo>
                    <a:pt x="374" y="181"/>
                  </a:lnTo>
                  <a:lnTo>
                    <a:pt x="374" y="183"/>
                  </a:lnTo>
                  <a:lnTo>
                    <a:pt x="372" y="183"/>
                  </a:lnTo>
                  <a:lnTo>
                    <a:pt x="372" y="181"/>
                  </a:lnTo>
                  <a:lnTo>
                    <a:pt x="374" y="179"/>
                  </a:lnTo>
                  <a:lnTo>
                    <a:pt x="372" y="179"/>
                  </a:lnTo>
                  <a:lnTo>
                    <a:pt x="374" y="179"/>
                  </a:lnTo>
                  <a:lnTo>
                    <a:pt x="372" y="179"/>
                  </a:lnTo>
                  <a:lnTo>
                    <a:pt x="372" y="177"/>
                  </a:lnTo>
                  <a:lnTo>
                    <a:pt x="372" y="179"/>
                  </a:lnTo>
                  <a:lnTo>
                    <a:pt x="372" y="177"/>
                  </a:lnTo>
                  <a:lnTo>
                    <a:pt x="372" y="175"/>
                  </a:lnTo>
                  <a:lnTo>
                    <a:pt x="372" y="173"/>
                  </a:lnTo>
                  <a:lnTo>
                    <a:pt x="372" y="171"/>
                  </a:lnTo>
                  <a:lnTo>
                    <a:pt x="372" y="173"/>
                  </a:lnTo>
                  <a:lnTo>
                    <a:pt x="372" y="171"/>
                  </a:lnTo>
                  <a:lnTo>
                    <a:pt x="374" y="171"/>
                  </a:lnTo>
                  <a:close/>
                  <a:moveTo>
                    <a:pt x="508" y="202"/>
                  </a:moveTo>
                  <a:lnTo>
                    <a:pt x="510" y="202"/>
                  </a:lnTo>
                  <a:lnTo>
                    <a:pt x="510" y="204"/>
                  </a:lnTo>
                  <a:lnTo>
                    <a:pt x="510" y="206"/>
                  </a:lnTo>
                  <a:lnTo>
                    <a:pt x="508" y="206"/>
                  </a:lnTo>
                  <a:lnTo>
                    <a:pt x="508" y="204"/>
                  </a:lnTo>
                  <a:lnTo>
                    <a:pt x="506" y="204"/>
                  </a:lnTo>
                  <a:lnTo>
                    <a:pt x="506" y="202"/>
                  </a:lnTo>
                  <a:lnTo>
                    <a:pt x="508" y="202"/>
                  </a:lnTo>
                  <a:close/>
                  <a:moveTo>
                    <a:pt x="73" y="123"/>
                  </a:moveTo>
                  <a:lnTo>
                    <a:pt x="75" y="123"/>
                  </a:lnTo>
                  <a:lnTo>
                    <a:pt x="75" y="125"/>
                  </a:lnTo>
                  <a:lnTo>
                    <a:pt x="77" y="125"/>
                  </a:lnTo>
                  <a:lnTo>
                    <a:pt x="77" y="127"/>
                  </a:lnTo>
                  <a:lnTo>
                    <a:pt x="77" y="129"/>
                  </a:lnTo>
                  <a:lnTo>
                    <a:pt x="77" y="127"/>
                  </a:lnTo>
                  <a:lnTo>
                    <a:pt x="77" y="129"/>
                  </a:lnTo>
                  <a:lnTo>
                    <a:pt x="75" y="129"/>
                  </a:lnTo>
                  <a:lnTo>
                    <a:pt x="73" y="129"/>
                  </a:lnTo>
                  <a:lnTo>
                    <a:pt x="75" y="129"/>
                  </a:lnTo>
                  <a:lnTo>
                    <a:pt x="73" y="129"/>
                  </a:lnTo>
                  <a:lnTo>
                    <a:pt x="73" y="127"/>
                  </a:lnTo>
                  <a:lnTo>
                    <a:pt x="73" y="129"/>
                  </a:lnTo>
                  <a:lnTo>
                    <a:pt x="73" y="127"/>
                  </a:lnTo>
                  <a:lnTo>
                    <a:pt x="75" y="127"/>
                  </a:lnTo>
                  <a:lnTo>
                    <a:pt x="73" y="127"/>
                  </a:lnTo>
                  <a:lnTo>
                    <a:pt x="75" y="127"/>
                  </a:lnTo>
                  <a:lnTo>
                    <a:pt x="73" y="127"/>
                  </a:lnTo>
                  <a:lnTo>
                    <a:pt x="73" y="125"/>
                  </a:lnTo>
                  <a:lnTo>
                    <a:pt x="73" y="123"/>
                  </a:lnTo>
                  <a:close/>
                  <a:moveTo>
                    <a:pt x="69" y="118"/>
                  </a:moveTo>
                  <a:lnTo>
                    <a:pt x="67" y="118"/>
                  </a:lnTo>
                  <a:lnTo>
                    <a:pt x="69" y="118"/>
                  </a:lnTo>
                  <a:lnTo>
                    <a:pt x="69" y="120"/>
                  </a:lnTo>
                  <a:lnTo>
                    <a:pt x="71" y="120"/>
                  </a:lnTo>
                  <a:lnTo>
                    <a:pt x="71" y="121"/>
                  </a:lnTo>
                  <a:lnTo>
                    <a:pt x="71" y="123"/>
                  </a:lnTo>
                  <a:lnTo>
                    <a:pt x="71" y="121"/>
                  </a:lnTo>
                  <a:lnTo>
                    <a:pt x="69" y="121"/>
                  </a:lnTo>
                  <a:lnTo>
                    <a:pt x="67" y="121"/>
                  </a:lnTo>
                  <a:lnTo>
                    <a:pt x="67" y="120"/>
                  </a:lnTo>
                  <a:lnTo>
                    <a:pt x="67" y="118"/>
                  </a:lnTo>
                  <a:lnTo>
                    <a:pt x="69" y="118"/>
                  </a:lnTo>
                  <a:close/>
                  <a:moveTo>
                    <a:pt x="445" y="33"/>
                  </a:moveTo>
                  <a:lnTo>
                    <a:pt x="447" y="33"/>
                  </a:lnTo>
                  <a:lnTo>
                    <a:pt x="447" y="35"/>
                  </a:lnTo>
                  <a:lnTo>
                    <a:pt x="447" y="33"/>
                  </a:lnTo>
                  <a:lnTo>
                    <a:pt x="447" y="35"/>
                  </a:lnTo>
                  <a:lnTo>
                    <a:pt x="449" y="35"/>
                  </a:lnTo>
                  <a:lnTo>
                    <a:pt x="447" y="35"/>
                  </a:lnTo>
                  <a:lnTo>
                    <a:pt x="449" y="35"/>
                  </a:lnTo>
                  <a:lnTo>
                    <a:pt x="449" y="37"/>
                  </a:lnTo>
                  <a:lnTo>
                    <a:pt x="449" y="35"/>
                  </a:lnTo>
                  <a:lnTo>
                    <a:pt x="449" y="37"/>
                  </a:lnTo>
                  <a:lnTo>
                    <a:pt x="449" y="35"/>
                  </a:lnTo>
                  <a:lnTo>
                    <a:pt x="449" y="37"/>
                  </a:lnTo>
                  <a:lnTo>
                    <a:pt x="449" y="39"/>
                  </a:lnTo>
                  <a:lnTo>
                    <a:pt x="449" y="37"/>
                  </a:lnTo>
                  <a:lnTo>
                    <a:pt x="449" y="39"/>
                  </a:lnTo>
                  <a:lnTo>
                    <a:pt x="449" y="37"/>
                  </a:lnTo>
                  <a:lnTo>
                    <a:pt x="449" y="39"/>
                  </a:lnTo>
                  <a:lnTo>
                    <a:pt x="447" y="39"/>
                  </a:lnTo>
                  <a:lnTo>
                    <a:pt x="447" y="37"/>
                  </a:lnTo>
                  <a:lnTo>
                    <a:pt x="447" y="35"/>
                  </a:lnTo>
                  <a:lnTo>
                    <a:pt x="445" y="35"/>
                  </a:lnTo>
                  <a:lnTo>
                    <a:pt x="445" y="33"/>
                  </a:lnTo>
                  <a:close/>
                  <a:moveTo>
                    <a:pt x="558" y="166"/>
                  </a:moveTo>
                  <a:lnTo>
                    <a:pt x="558" y="168"/>
                  </a:lnTo>
                  <a:lnTo>
                    <a:pt x="558" y="169"/>
                  </a:lnTo>
                  <a:lnTo>
                    <a:pt x="556" y="169"/>
                  </a:lnTo>
                  <a:lnTo>
                    <a:pt x="556" y="171"/>
                  </a:lnTo>
                  <a:lnTo>
                    <a:pt x="556" y="173"/>
                  </a:lnTo>
                  <a:lnTo>
                    <a:pt x="554" y="173"/>
                  </a:lnTo>
                  <a:lnTo>
                    <a:pt x="556" y="173"/>
                  </a:lnTo>
                  <a:lnTo>
                    <a:pt x="554" y="173"/>
                  </a:lnTo>
                  <a:lnTo>
                    <a:pt x="554" y="175"/>
                  </a:lnTo>
                  <a:lnTo>
                    <a:pt x="554" y="173"/>
                  </a:lnTo>
                  <a:lnTo>
                    <a:pt x="554" y="171"/>
                  </a:lnTo>
                  <a:lnTo>
                    <a:pt x="556" y="171"/>
                  </a:lnTo>
                  <a:lnTo>
                    <a:pt x="554" y="171"/>
                  </a:lnTo>
                  <a:lnTo>
                    <a:pt x="556" y="171"/>
                  </a:lnTo>
                  <a:lnTo>
                    <a:pt x="554" y="171"/>
                  </a:lnTo>
                  <a:lnTo>
                    <a:pt x="556" y="171"/>
                  </a:lnTo>
                  <a:lnTo>
                    <a:pt x="554" y="171"/>
                  </a:lnTo>
                  <a:lnTo>
                    <a:pt x="556" y="171"/>
                  </a:lnTo>
                  <a:lnTo>
                    <a:pt x="554" y="171"/>
                  </a:lnTo>
                  <a:lnTo>
                    <a:pt x="556" y="171"/>
                  </a:lnTo>
                  <a:lnTo>
                    <a:pt x="556" y="169"/>
                  </a:lnTo>
                  <a:lnTo>
                    <a:pt x="556" y="171"/>
                  </a:lnTo>
                  <a:lnTo>
                    <a:pt x="556" y="169"/>
                  </a:lnTo>
                  <a:lnTo>
                    <a:pt x="556" y="171"/>
                  </a:lnTo>
                  <a:lnTo>
                    <a:pt x="556" y="169"/>
                  </a:lnTo>
                  <a:lnTo>
                    <a:pt x="556" y="168"/>
                  </a:lnTo>
                  <a:lnTo>
                    <a:pt x="558" y="166"/>
                  </a:lnTo>
                  <a:close/>
                  <a:moveTo>
                    <a:pt x="453" y="116"/>
                  </a:moveTo>
                  <a:lnTo>
                    <a:pt x="453" y="118"/>
                  </a:lnTo>
                  <a:lnTo>
                    <a:pt x="455" y="118"/>
                  </a:lnTo>
                  <a:lnTo>
                    <a:pt x="453" y="118"/>
                  </a:lnTo>
                  <a:lnTo>
                    <a:pt x="453" y="120"/>
                  </a:lnTo>
                  <a:lnTo>
                    <a:pt x="455" y="120"/>
                  </a:lnTo>
                  <a:lnTo>
                    <a:pt x="455" y="121"/>
                  </a:lnTo>
                  <a:lnTo>
                    <a:pt x="455" y="123"/>
                  </a:lnTo>
                  <a:lnTo>
                    <a:pt x="453" y="123"/>
                  </a:lnTo>
                  <a:lnTo>
                    <a:pt x="453" y="121"/>
                  </a:lnTo>
                  <a:lnTo>
                    <a:pt x="453" y="120"/>
                  </a:lnTo>
                  <a:lnTo>
                    <a:pt x="453" y="118"/>
                  </a:lnTo>
                  <a:lnTo>
                    <a:pt x="451" y="118"/>
                  </a:lnTo>
                  <a:lnTo>
                    <a:pt x="453" y="118"/>
                  </a:lnTo>
                  <a:lnTo>
                    <a:pt x="453" y="116"/>
                  </a:lnTo>
                  <a:close/>
                  <a:moveTo>
                    <a:pt x="412" y="208"/>
                  </a:moveTo>
                  <a:lnTo>
                    <a:pt x="414" y="208"/>
                  </a:lnTo>
                  <a:lnTo>
                    <a:pt x="414" y="210"/>
                  </a:lnTo>
                  <a:lnTo>
                    <a:pt x="414" y="208"/>
                  </a:lnTo>
                  <a:lnTo>
                    <a:pt x="414" y="210"/>
                  </a:lnTo>
                  <a:lnTo>
                    <a:pt x="414" y="212"/>
                  </a:lnTo>
                  <a:lnTo>
                    <a:pt x="412" y="212"/>
                  </a:lnTo>
                  <a:lnTo>
                    <a:pt x="412" y="210"/>
                  </a:lnTo>
                  <a:lnTo>
                    <a:pt x="412" y="212"/>
                  </a:lnTo>
                  <a:lnTo>
                    <a:pt x="412" y="210"/>
                  </a:lnTo>
                  <a:lnTo>
                    <a:pt x="412" y="212"/>
                  </a:lnTo>
                  <a:lnTo>
                    <a:pt x="412" y="210"/>
                  </a:lnTo>
                  <a:lnTo>
                    <a:pt x="412" y="212"/>
                  </a:lnTo>
                  <a:lnTo>
                    <a:pt x="412" y="210"/>
                  </a:lnTo>
                  <a:lnTo>
                    <a:pt x="412" y="212"/>
                  </a:lnTo>
                  <a:lnTo>
                    <a:pt x="410" y="212"/>
                  </a:lnTo>
                  <a:lnTo>
                    <a:pt x="410" y="210"/>
                  </a:lnTo>
                  <a:lnTo>
                    <a:pt x="412" y="210"/>
                  </a:lnTo>
                  <a:lnTo>
                    <a:pt x="412" y="208"/>
                  </a:lnTo>
                  <a:close/>
                  <a:moveTo>
                    <a:pt x="332" y="31"/>
                  </a:moveTo>
                  <a:lnTo>
                    <a:pt x="332" y="33"/>
                  </a:lnTo>
                  <a:lnTo>
                    <a:pt x="332" y="31"/>
                  </a:lnTo>
                  <a:lnTo>
                    <a:pt x="332" y="33"/>
                  </a:lnTo>
                  <a:lnTo>
                    <a:pt x="334" y="33"/>
                  </a:lnTo>
                  <a:lnTo>
                    <a:pt x="334" y="35"/>
                  </a:lnTo>
                  <a:lnTo>
                    <a:pt x="332" y="35"/>
                  </a:lnTo>
                  <a:lnTo>
                    <a:pt x="330" y="35"/>
                  </a:lnTo>
                  <a:lnTo>
                    <a:pt x="330" y="33"/>
                  </a:lnTo>
                  <a:lnTo>
                    <a:pt x="330" y="31"/>
                  </a:lnTo>
                  <a:lnTo>
                    <a:pt x="332" y="31"/>
                  </a:lnTo>
                  <a:close/>
                  <a:moveTo>
                    <a:pt x="126" y="91"/>
                  </a:moveTo>
                  <a:lnTo>
                    <a:pt x="128" y="91"/>
                  </a:lnTo>
                  <a:lnTo>
                    <a:pt x="128" y="93"/>
                  </a:lnTo>
                  <a:lnTo>
                    <a:pt x="126" y="93"/>
                  </a:lnTo>
                  <a:lnTo>
                    <a:pt x="124" y="93"/>
                  </a:lnTo>
                  <a:lnTo>
                    <a:pt x="124" y="91"/>
                  </a:lnTo>
                  <a:lnTo>
                    <a:pt x="126" y="91"/>
                  </a:lnTo>
                  <a:close/>
                  <a:moveTo>
                    <a:pt x="524" y="98"/>
                  </a:moveTo>
                  <a:lnTo>
                    <a:pt x="526" y="98"/>
                  </a:lnTo>
                  <a:lnTo>
                    <a:pt x="526" y="100"/>
                  </a:lnTo>
                  <a:lnTo>
                    <a:pt x="524" y="100"/>
                  </a:lnTo>
                  <a:lnTo>
                    <a:pt x="522" y="100"/>
                  </a:lnTo>
                  <a:lnTo>
                    <a:pt x="520" y="100"/>
                  </a:lnTo>
                  <a:lnTo>
                    <a:pt x="522" y="100"/>
                  </a:lnTo>
                  <a:lnTo>
                    <a:pt x="520" y="100"/>
                  </a:lnTo>
                  <a:lnTo>
                    <a:pt x="518" y="100"/>
                  </a:lnTo>
                  <a:lnTo>
                    <a:pt x="520" y="100"/>
                  </a:lnTo>
                  <a:lnTo>
                    <a:pt x="518" y="100"/>
                  </a:lnTo>
                  <a:lnTo>
                    <a:pt x="520" y="100"/>
                  </a:lnTo>
                  <a:lnTo>
                    <a:pt x="518" y="100"/>
                  </a:lnTo>
                  <a:lnTo>
                    <a:pt x="520" y="100"/>
                  </a:lnTo>
                  <a:lnTo>
                    <a:pt x="520" y="98"/>
                  </a:lnTo>
                  <a:lnTo>
                    <a:pt x="520" y="100"/>
                  </a:lnTo>
                  <a:lnTo>
                    <a:pt x="520" y="98"/>
                  </a:lnTo>
                  <a:lnTo>
                    <a:pt x="520" y="100"/>
                  </a:lnTo>
                  <a:lnTo>
                    <a:pt x="520" y="98"/>
                  </a:lnTo>
                  <a:lnTo>
                    <a:pt x="522" y="98"/>
                  </a:lnTo>
                  <a:lnTo>
                    <a:pt x="522" y="100"/>
                  </a:lnTo>
                  <a:lnTo>
                    <a:pt x="520" y="100"/>
                  </a:lnTo>
                  <a:lnTo>
                    <a:pt x="522" y="100"/>
                  </a:lnTo>
                  <a:lnTo>
                    <a:pt x="522" y="98"/>
                  </a:lnTo>
                  <a:lnTo>
                    <a:pt x="522" y="100"/>
                  </a:lnTo>
                  <a:lnTo>
                    <a:pt x="522" y="98"/>
                  </a:lnTo>
                  <a:lnTo>
                    <a:pt x="524" y="98"/>
                  </a:lnTo>
                  <a:lnTo>
                    <a:pt x="524" y="100"/>
                  </a:lnTo>
                  <a:lnTo>
                    <a:pt x="522" y="100"/>
                  </a:lnTo>
                  <a:lnTo>
                    <a:pt x="524" y="100"/>
                  </a:lnTo>
                  <a:lnTo>
                    <a:pt x="524" y="98"/>
                  </a:lnTo>
                  <a:lnTo>
                    <a:pt x="524" y="100"/>
                  </a:lnTo>
                  <a:lnTo>
                    <a:pt x="524" y="98"/>
                  </a:lnTo>
                  <a:lnTo>
                    <a:pt x="524" y="100"/>
                  </a:lnTo>
                  <a:lnTo>
                    <a:pt x="524" y="98"/>
                  </a:lnTo>
                  <a:lnTo>
                    <a:pt x="524" y="100"/>
                  </a:lnTo>
                  <a:lnTo>
                    <a:pt x="524" y="98"/>
                  </a:lnTo>
                  <a:close/>
                  <a:moveTo>
                    <a:pt x="50" y="91"/>
                  </a:moveTo>
                  <a:lnTo>
                    <a:pt x="52" y="91"/>
                  </a:lnTo>
                  <a:lnTo>
                    <a:pt x="52" y="93"/>
                  </a:lnTo>
                  <a:lnTo>
                    <a:pt x="52" y="95"/>
                  </a:lnTo>
                  <a:lnTo>
                    <a:pt x="52" y="96"/>
                  </a:lnTo>
                  <a:lnTo>
                    <a:pt x="52" y="95"/>
                  </a:lnTo>
                  <a:lnTo>
                    <a:pt x="50" y="95"/>
                  </a:lnTo>
                  <a:lnTo>
                    <a:pt x="50" y="96"/>
                  </a:lnTo>
                  <a:lnTo>
                    <a:pt x="50" y="95"/>
                  </a:lnTo>
                  <a:lnTo>
                    <a:pt x="48" y="95"/>
                  </a:lnTo>
                  <a:lnTo>
                    <a:pt x="50" y="95"/>
                  </a:lnTo>
                  <a:lnTo>
                    <a:pt x="50" y="93"/>
                  </a:lnTo>
                  <a:lnTo>
                    <a:pt x="52" y="93"/>
                  </a:lnTo>
                  <a:lnTo>
                    <a:pt x="52" y="91"/>
                  </a:lnTo>
                  <a:lnTo>
                    <a:pt x="50" y="91"/>
                  </a:lnTo>
                  <a:close/>
                  <a:moveTo>
                    <a:pt x="472" y="91"/>
                  </a:moveTo>
                  <a:lnTo>
                    <a:pt x="474" y="91"/>
                  </a:lnTo>
                  <a:lnTo>
                    <a:pt x="474" y="93"/>
                  </a:lnTo>
                  <a:lnTo>
                    <a:pt x="472" y="93"/>
                  </a:lnTo>
                  <a:lnTo>
                    <a:pt x="472" y="95"/>
                  </a:lnTo>
                  <a:lnTo>
                    <a:pt x="470" y="95"/>
                  </a:lnTo>
                  <a:lnTo>
                    <a:pt x="470" y="93"/>
                  </a:lnTo>
                  <a:lnTo>
                    <a:pt x="470" y="95"/>
                  </a:lnTo>
                  <a:lnTo>
                    <a:pt x="470" y="93"/>
                  </a:lnTo>
                  <a:lnTo>
                    <a:pt x="470" y="91"/>
                  </a:lnTo>
                  <a:lnTo>
                    <a:pt x="472" y="91"/>
                  </a:lnTo>
                  <a:close/>
                  <a:moveTo>
                    <a:pt x="297" y="187"/>
                  </a:moveTo>
                  <a:lnTo>
                    <a:pt x="297" y="189"/>
                  </a:lnTo>
                  <a:lnTo>
                    <a:pt x="299" y="189"/>
                  </a:lnTo>
                  <a:lnTo>
                    <a:pt x="301" y="189"/>
                  </a:lnTo>
                  <a:lnTo>
                    <a:pt x="301" y="191"/>
                  </a:lnTo>
                  <a:lnTo>
                    <a:pt x="301" y="189"/>
                  </a:lnTo>
                  <a:lnTo>
                    <a:pt x="299" y="189"/>
                  </a:lnTo>
                  <a:lnTo>
                    <a:pt x="301" y="189"/>
                  </a:lnTo>
                  <a:lnTo>
                    <a:pt x="299" y="189"/>
                  </a:lnTo>
                  <a:lnTo>
                    <a:pt x="297" y="189"/>
                  </a:lnTo>
                  <a:lnTo>
                    <a:pt x="299" y="189"/>
                  </a:lnTo>
                  <a:lnTo>
                    <a:pt x="299" y="191"/>
                  </a:lnTo>
                  <a:lnTo>
                    <a:pt x="297" y="191"/>
                  </a:lnTo>
                  <a:lnTo>
                    <a:pt x="297" y="189"/>
                  </a:lnTo>
                  <a:lnTo>
                    <a:pt x="297" y="191"/>
                  </a:lnTo>
                  <a:lnTo>
                    <a:pt x="297" y="189"/>
                  </a:lnTo>
                  <a:lnTo>
                    <a:pt x="297" y="191"/>
                  </a:lnTo>
                  <a:lnTo>
                    <a:pt x="297" y="189"/>
                  </a:lnTo>
                  <a:lnTo>
                    <a:pt x="297" y="191"/>
                  </a:lnTo>
                  <a:lnTo>
                    <a:pt x="297" y="189"/>
                  </a:lnTo>
                  <a:lnTo>
                    <a:pt x="295" y="189"/>
                  </a:lnTo>
                  <a:lnTo>
                    <a:pt x="297" y="189"/>
                  </a:lnTo>
                  <a:lnTo>
                    <a:pt x="295" y="189"/>
                  </a:lnTo>
                  <a:lnTo>
                    <a:pt x="297" y="189"/>
                  </a:lnTo>
                  <a:lnTo>
                    <a:pt x="297" y="187"/>
                  </a:lnTo>
                  <a:close/>
                  <a:moveTo>
                    <a:pt x="393" y="241"/>
                  </a:moveTo>
                  <a:lnTo>
                    <a:pt x="395" y="241"/>
                  </a:lnTo>
                  <a:lnTo>
                    <a:pt x="395" y="242"/>
                  </a:lnTo>
                  <a:lnTo>
                    <a:pt x="393" y="242"/>
                  </a:lnTo>
                  <a:lnTo>
                    <a:pt x="393" y="244"/>
                  </a:lnTo>
                  <a:lnTo>
                    <a:pt x="391" y="244"/>
                  </a:lnTo>
                  <a:lnTo>
                    <a:pt x="391" y="242"/>
                  </a:lnTo>
                  <a:lnTo>
                    <a:pt x="391" y="244"/>
                  </a:lnTo>
                  <a:lnTo>
                    <a:pt x="391" y="242"/>
                  </a:lnTo>
                  <a:lnTo>
                    <a:pt x="393" y="242"/>
                  </a:lnTo>
                  <a:lnTo>
                    <a:pt x="393" y="241"/>
                  </a:lnTo>
                  <a:close/>
                  <a:moveTo>
                    <a:pt x="552" y="169"/>
                  </a:moveTo>
                  <a:lnTo>
                    <a:pt x="552" y="171"/>
                  </a:lnTo>
                  <a:lnTo>
                    <a:pt x="552" y="169"/>
                  </a:lnTo>
                  <a:lnTo>
                    <a:pt x="552" y="171"/>
                  </a:lnTo>
                  <a:lnTo>
                    <a:pt x="552" y="169"/>
                  </a:lnTo>
                  <a:lnTo>
                    <a:pt x="552" y="171"/>
                  </a:lnTo>
                  <a:lnTo>
                    <a:pt x="552" y="173"/>
                  </a:lnTo>
                  <a:lnTo>
                    <a:pt x="552" y="171"/>
                  </a:lnTo>
                  <a:lnTo>
                    <a:pt x="552" y="173"/>
                  </a:lnTo>
                  <a:lnTo>
                    <a:pt x="554" y="173"/>
                  </a:lnTo>
                  <a:lnTo>
                    <a:pt x="552" y="173"/>
                  </a:lnTo>
                  <a:lnTo>
                    <a:pt x="552" y="175"/>
                  </a:lnTo>
                  <a:lnTo>
                    <a:pt x="552" y="173"/>
                  </a:lnTo>
                  <a:lnTo>
                    <a:pt x="552" y="175"/>
                  </a:lnTo>
                  <a:lnTo>
                    <a:pt x="552" y="173"/>
                  </a:lnTo>
                  <a:lnTo>
                    <a:pt x="551" y="173"/>
                  </a:lnTo>
                  <a:lnTo>
                    <a:pt x="552" y="173"/>
                  </a:lnTo>
                  <a:lnTo>
                    <a:pt x="551" y="173"/>
                  </a:lnTo>
                  <a:lnTo>
                    <a:pt x="551" y="171"/>
                  </a:lnTo>
                  <a:lnTo>
                    <a:pt x="552" y="171"/>
                  </a:lnTo>
                  <a:lnTo>
                    <a:pt x="552" y="173"/>
                  </a:lnTo>
                  <a:lnTo>
                    <a:pt x="552" y="171"/>
                  </a:lnTo>
                  <a:lnTo>
                    <a:pt x="551" y="171"/>
                  </a:lnTo>
                  <a:lnTo>
                    <a:pt x="551" y="169"/>
                  </a:lnTo>
                  <a:lnTo>
                    <a:pt x="552" y="169"/>
                  </a:lnTo>
                  <a:lnTo>
                    <a:pt x="551" y="169"/>
                  </a:lnTo>
                  <a:lnTo>
                    <a:pt x="552" y="169"/>
                  </a:lnTo>
                  <a:close/>
                  <a:moveTo>
                    <a:pt x="577" y="179"/>
                  </a:moveTo>
                  <a:lnTo>
                    <a:pt x="577" y="181"/>
                  </a:lnTo>
                  <a:lnTo>
                    <a:pt x="579" y="181"/>
                  </a:lnTo>
                  <a:lnTo>
                    <a:pt x="579" y="183"/>
                  </a:lnTo>
                  <a:lnTo>
                    <a:pt x="577" y="183"/>
                  </a:lnTo>
                  <a:lnTo>
                    <a:pt x="577" y="181"/>
                  </a:lnTo>
                  <a:lnTo>
                    <a:pt x="576" y="181"/>
                  </a:lnTo>
                  <a:lnTo>
                    <a:pt x="577" y="181"/>
                  </a:lnTo>
                  <a:lnTo>
                    <a:pt x="577" y="179"/>
                  </a:lnTo>
                  <a:close/>
                  <a:moveTo>
                    <a:pt x="105" y="166"/>
                  </a:moveTo>
                  <a:lnTo>
                    <a:pt x="107" y="166"/>
                  </a:lnTo>
                  <a:lnTo>
                    <a:pt x="109" y="166"/>
                  </a:lnTo>
                  <a:lnTo>
                    <a:pt x="109" y="168"/>
                  </a:lnTo>
                  <a:lnTo>
                    <a:pt x="107" y="168"/>
                  </a:lnTo>
                  <a:lnTo>
                    <a:pt x="109" y="168"/>
                  </a:lnTo>
                  <a:lnTo>
                    <a:pt x="107" y="168"/>
                  </a:lnTo>
                  <a:lnTo>
                    <a:pt x="109" y="168"/>
                  </a:lnTo>
                  <a:lnTo>
                    <a:pt x="107" y="168"/>
                  </a:lnTo>
                  <a:lnTo>
                    <a:pt x="105" y="168"/>
                  </a:lnTo>
                  <a:lnTo>
                    <a:pt x="105" y="166"/>
                  </a:lnTo>
                  <a:lnTo>
                    <a:pt x="103" y="166"/>
                  </a:lnTo>
                  <a:lnTo>
                    <a:pt x="105" y="166"/>
                  </a:lnTo>
                  <a:close/>
                  <a:moveTo>
                    <a:pt x="134" y="70"/>
                  </a:moveTo>
                  <a:lnTo>
                    <a:pt x="134" y="72"/>
                  </a:lnTo>
                  <a:lnTo>
                    <a:pt x="132" y="72"/>
                  </a:lnTo>
                  <a:lnTo>
                    <a:pt x="134" y="72"/>
                  </a:lnTo>
                  <a:lnTo>
                    <a:pt x="132" y="72"/>
                  </a:lnTo>
                  <a:lnTo>
                    <a:pt x="134" y="72"/>
                  </a:lnTo>
                  <a:lnTo>
                    <a:pt x="134" y="73"/>
                  </a:lnTo>
                  <a:lnTo>
                    <a:pt x="132" y="73"/>
                  </a:lnTo>
                  <a:lnTo>
                    <a:pt x="130" y="73"/>
                  </a:lnTo>
                  <a:lnTo>
                    <a:pt x="130" y="72"/>
                  </a:lnTo>
                  <a:lnTo>
                    <a:pt x="132" y="72"/>
                  </a:lnTo>
                  <a:lnTo>
                    <a:pt x="130" y="72"/>
                  </a:lnTo>
                  <a:lnTo>
                    <a:pt x="132" y="72"/>
                  </a:lnTo>
                  <a:lnTo>
                    <a:pt x="132" y="70"/>
                  </a:lnTo>
                  <a:lnTo>
                    <a:pt x="132" y="72"/>
                  </a:lnTo>
                  <a:lnTo>
                    <a:pt x="134" y="72"/>
                  </a:lnTo>
                  <a:lnTo>
                    <a:pt x="134" y="70"/>
                  </a:lnTo>
                  <a:lnTo>
                    <a:pt x="132" y="70"/>
                  </a:lnTo>
                  <a:lnTo>
                    <a:pt x="134" y="70"/>
                  </a:lnTo>
                  <a:close/>
                  <a:moveTo>
                    <a:pt x="574" y="175"/>
                  </a:moveTo>
                  <a:lnTo>
                    <a:pt x="574" y="177"/>
                  </a:lnTo>
                  <a:lnTo>
                    <a:pt x="576" y="177"/>
                  </a:lnTo>
                  <a:lnTo>
                    <a:pt x="574" y="177"/>
                  </a:lnTo>
                  <a:lnTo>
                    <a:pt x="576" y="177"/>
                  </a:lnTo>
                  <a:lnTo>
                    <a:pt x="576" y="179"/>
                  </a:lnTo>
                  <a:lnTo>
                    <a:pt x="577" y="179"/>
                  </a:lnTo>
                  <a:lnTo>
                    <a:pt x="577" y="181"/>
                  </a:lnTo>
                  <a:lnTo>
                    <a:pt x="576" y="181"/>
                  </a:lnTo>
                  <a:lnTo>
                    <a:pt x="576" y="179"/>
                  </a:lnTo>
                  <a:lnTo>
                    <a:pt x="576" y="181"/>
                  </a:lnTo>
                  <a:lnTo>
                    <a:pt x="576" y="179"/>
                  </a:lnTo>
                  <a:lnTo>
                    <a:pt x="576" y="181"/>
                  </a:lnTo>
                  <a:lnTo>
                    <a:pt x="576" y="179"/>
                  </a:lnTo>
                  <a:lnTo>
                    <a:pt x="574" y="179"/>
                  </a:lnTo>
                  <a:lnTo>
                    <a:pt x="574" y="177"/>
                  </a:lnTo>
                  <a:lnTo>
                    <a:pt x="572" y="177"/>
                  </a:lnTo>
                  <a:lnTo>
                    <a:pt x="574" y="177"/>
                  </a:lnTo>
                  <a:lnTo>
                    <a:pt x="572" y="177"/>
                  </a:lnTo>
                  <a:lnTo>
                    <a:pt x="572" y="175"/>
                  </a:lnTo>
                  <a:lnTo>
                    <a:pt x="574" y="175"/>
                  </a:lnTo>
                  <a:close/>
                  <a:moveTo>
                    <a:pt x="330" y="96"/>
                  </a:moveTo>
                  <a:lnTo>
                    <a:pt x="328" y="96"/>
                  </a:lnTo>
                  <a:lnTo>
                    <a:pt x="330" y="96"/>
                  </a:lnTo>
                  <a:lnTo>
                    <a:pt x="330" y="98"/>
                  </a:lnTo>
                  <a:lnTo>
                    <a:pt x="330" y="96"/>
                  </a:lnTo>
                  <a:lnTo>
                    <a:pt x="328" y="96"/>
                  </a:lnTo>
                  <a:lnTo>
                    <a:pt x="328" y="98"/>
                  </a:lnTo>
                  <a:lnTo>
                    <a:pt x="328" y="96"/>
                  </a:lnTo>
                  <a:lnTo>
                    <a:pt x="328" y="98"/>
                  </a:lnTo>
                  <a:lnTo>
                    <a:pt x="330" y="98"/>
                  </a:lnTo>
                  <a:lnTo>
                    <a:pt x="328" y="98"/>
                  </a:lnTo>
                  <a:lnTo>
                    <a:pt x="330" y="98"/>
                  </a:lnTo>
                  <a:lnTo>
                    <a:pt x="332" y="98"/>
                  </a:lnTo>
                  <a:lnTo>
                    <a:pt x="330" y="98"/>
                  </a:lnTo>
                  <a:lnTo>
                    <a:pt x="330" y="100"/>
                  </a:lnTo>
                  <a:lnTo>
                    <a:pt x="330" y="98"/>
                  </a:lnTo>
                  <a:lnTo>
                    <a:pt x="330" y="100"/>
                  </a:lnTo>
                  <a:lnTo>
                    <a:pt x="330" y="98"/>
                  </a:lnTo>
                  <a:lnTo>
                    <a:pt x="328" y="98"/>
                  </a:lnTo>
                  <a:lnTo>
                    <a:pt x="328" y="96"/>
                  </a:lnTo>
                  <a:lnTo>
                    <a:pt x="326" y="96"/>
                  </a:lnTo>
                  <a:lnTo>
                    <a:pt x="328" y="96"/>
                  </a:lnTo>
                  <a:lnTo>
                    <a:pt x="330" y="96"/>
                  </a:lnTo>
                  <a:close/>
                  <a:moveTo>
                    <a:pt x="480" y="206"/>
                  </a:moveTo>
                  <a:lnTo>
                    <a:pt x="481" y="206"/>
                  </a:lnTo>
                  <a:lnTo>
                    <a:pt x="481" y="208"/>
                  </a:lnTo>
                  <a:lnTo>
                    <a:pt x="483" y="208"/>
                  </a:lnTo>
                  <a:lnTo>
                    <a:pt x="485" y="208"/>
                  </a:lnTo>
                  <a:lnTo>
                    <a:pt x="483" y="208"/>
                  </a:lnTo>
                  <a:lnTo>
                    <a:pt x="481" y="208"/>
                  </a:lnTo>
                  <a:lnTo>
                    <a:pt x="480" y="208"/>
                  </a:lnTo>
                  <a:lnTo>
                    <a:pt x="480" y="206"/>
                  </a:lnTo>
                  <a:close/>
                  <a:moveTo>
                    <a:pt x="528" y="206"/>
                  </a:moveTo>
                  <a:lnTo>
                    <a:pt x="528" y="208"/>
                  </a:lnTo>
                  <a:lnTo>
                    <a:pt x="529" y="208"/>
                  </a:lnTo>
                  <a:lnTo>
                    <a:pt x="529" y="206"/>
                  </a:lnTo>
                  <a:lnTo>
                    <a:pt x="529" y="208"/>
                  </a:lnTo>
                  <a:lnTo>
                    <a:pt x="528" y="208"/>
                  </a:lnTo>
                  <a:lnTo>
                    <a:pt x="526" y="208"/>
                  </a:lnTo>
                  <a:lnTo>
                    <a:pt x="526" y="210"/>
                  </a:lnTo>
                  <a:lnTo>
                    <a:pt x="524" y="210"/>
                  </a:lnTo>
                  <a:lnTo>
                    <a:pt x="524" y="208"/>
                  </a:lnTo>
                  <a:lnTo>
                    <a:pt x="526" y="208"/>
                  </a:lnTo>
                  <a:lnTo>
                    <a:pt x="526" y="206"/>
                  </a:lnTo>
                  <a:lnTo>
                    <a:pt x="526" y="208"/>
                  </a:lnTo>
                  <a:lnTo>
                    <a:pt x="528" y="208"/>
                  </a:lnTo>
                  <a:lnTo>
                    <a:pt x="528" y="206"/>
                  </a:lnTo>
                  <a:close/>
                  <a:moveTo>
                    <a:pt x="330" y="208"/>
                  </a:moveTo>
                  <a:lnTo>
                    <a:pt x="332" y="208"/>
                  </a:lnTo>
                  <a:lnTo>
                    <a:pt x="332" y="210"/>
                  </a:lnTo>
                  <a:lnTo>
                    <a:pt x="330" y="210"/>
                  </a:lnTo>
                  <a:lnTo>
                    <a:pt x="330" y="208"/>
                  </a:lnTo>
                  <a:close/>
                  <a:moveTo>
                    <a:pt x="50" y="87"/>
                  </a:moveTo>
                  <a:lnTo>
                    <a:pt x="50" y="89"/>
                  </a:lnTo>
                  <a:lnTo>
                    <a:pt x="52" y="89"/>
                  </a:lnTo>
                  <a:lnTo>
                    <a:pt x="52" y="91"/>
                  </a:lnTo>
                  <a:lnTo>
                    <a:pt x="53" y="91"/>
                  </a:lnTo>
                  <a:lnTo>
                    <a:pt x="53" y="93"/>
                  </a:lnTo>
                  <a:lnTo>
                    <a:pt x="52" y="93"/>
                  </a:lnTo>
                  <a:lnTo>
                    <a:pt x="52" y="91"/>
                  </a:lnTo>
                  <a:lnTo>
                    <a:pt x="50" y="91"/>
                  </a:lnTo>
                  <a:lnTo>
                    <a:pt x="52" y="91"/>
                  </a:lnTo>
                  <a:lnTo>
                    <a:pt x="50" y="91"/>
                  </a:lnTo>
                  <a:lnTo>
                    <a:pt x="50" y="89"/>
                  </a:lnTo>
                  <a:lnTo>
                    <a:pt x="48" y="89"/>
                  </a:lnTo>
                  <a:lnTo>
                    <a:pt x="48" y="87"/>
                  </a:lnTo>
                  <a:lnTo>
                    <a:pt x="50" y="87"/>
                  </a:lnTo>
                  <a:close/>
                  <a:moveTo>
                    <a:pt x="359" y="212"/>
                  </a:moveTo>
                  <a:lnTo>
                    <a:pt x="361" y="212"/>
                  </a:lnTo>
                  <a:lnTo>
                    <a:pt x="361" y="214"/>
                  </a:lnTo>
                  <a:lnTo>
                    <a:pt x="361" y="212"/>
                  </a:lnTo>
                  <a:lnTo>
                    <a:pt x="359" y="212"/>
                  </a:lnTo>
                  <a:lnTo>
                    <a:pt x="359" y="214"/>
                  </a:lnTo>
                  <a:lnTo>
                    <a:pt x="361" y="214"/>
                  </a:lnTo>
                  <a:lnTo>
                    <a:pt x="359" y="214"/>
                  </a:lnTo>
                  <a:lnTo>
                    <a:pt x="359" y="216"/>
                  </a:lnTo>
                  <a:lnTo>
                    <a:pt x="359" y="214"/>
                  </a:lnTo>
                  <a:lnTo>
                    <a:pt x="359" y="216"/>
                  </a:lnTo>
                  <a:lnTo>
                    <a:pt x="357" y="216"/>
                  </a:lnTo>
                  <a:lnTo>
                    <a:pt x="357" y="214"/>
                  </a:lnTo>
                  <a:lnTo>
                    <a:pt x="359" y="214"/>
                  </a:lnTo>
                  <a:lnTo>
                    <a:pt x="359" y="212"/>
                  </a:lnTo>
                  <a:lnTo>
                    <a:pt x="357" y="212"/>
                  </a:lnTo>
                  <a:lnTo>
                    <a:pt x="359" y="212"/>
                  </a:lnTo>
                  <a:lnTo>
                    <a:pt x="357" y="212"/>
                  </a:lnTo>
                  <a:lnTo>
                    <a:pt x="359" y="212"/>
                  </a:lnTo>
                  <a:lnTo>
                    <a:pt x="357" y="212"/>
                  </a:lnTo>
                  <a:lnTo>
                    <a:pt x="359" y="212"/>
                  </a:lnTo>
                  <a:close/>
                  <a:moveTo>
                    <a:pt x="583" y="100"/>
                  </a:moveTo>
                  <a:lnTo>
                    <a:pt x="585" y="100"/>
                  </a:lnTo>
                  <a:lnTo>
                    <a:pt x="585" y="104"/>
                  </a:lnTo>
                  <a:lnTo>
                    <a:pt x="583" y="104"/>
                  </a:lnTo>
                  <a:lnTo>
                    <a:pt x="583" y="100"/>
                  </a:lnTo>
                  <a:close/>
                  <a:moveTo>
                    <a:pt x="53" y="85"/>
                  </a:moveTo>
                  <a:lnTo>
                    <a:pt x="55" y="85"/>
                  </a:lnTo>
                  <a:lnTo>
                    <a:pt x="57" y="85"/>
                  </a:lnTo>
                  <a:lnTo>
                    <a:pt x="57" y="87"/>
                  </a:lnTo>
                  <a:lnTo>
                    <a:pt x="55" y="87"/>
                  </a:lnTo>
                  <a:lnTo>
                    <a:pt x="53" y="87"/>
                  </a:lnTo>
                  <a:lnTo>
                    <a:pt x="52" y="87"/>
                  </a:lnTo>
                  <a:lnTo>
                    <a:pt x="52" y="85"/>
                  </a:lnTo>
                  <a:lnTo>
                    <a:pt x="53" y="85"/>
                  </a:lnTo>
                  <a:close/>
                  <a:moveTo>
                    <a:pt x="123" y="75"/>
                  </a:moveTo>
                  <a:lnTo>
                    <a:pt x="124" y="75"/>
                  </a:lnTo>
                  <a:lnTo>
                    <a:pt x="124" y="77"/>
                  </a:lnTo>
                  <a:lnTo>
                    <a:pt x="123" y="77"/>
                  </a:lnTo>
                  <a:lnTo>
                    <a:pt x="123" y="75"/>
                  </a:lnTo>
                  <a:lnTo>
                    <a:pt x="123" y="73"/>
                  </a:lnTo>
                  <a:lnTo>
                    <a:pt x="123" y="75"/>
                  </a:lnTo>
                  <a:close/>
                  <a:moveTo>
                    <a:pt x="119" y="77"/>
                  </a:moveTo>
                  <a:lnTo>
                    <a:pt x="123" y="77"/>
                  </a:lnTo>
                  <a:lnTo>
                    <a:pt x="123" y="81"/>
                  </a:lnTo>
                  <a:lnTo>
                    <a:pt x="119" y="81"/>
                  </a:lnTo>
                  <a:lnTo>
                    <a:pt x="119" y="77"/>
                  </a:lnTo>
                  <a:close/>
                  <a:moveTo>
                    <a:pt x="579" y="169"/>
                  </a:moveTo>
                  <a:lnTo>
                    <a:pt x="581" y="169"/>
                  </a:lnTo>
                  <a:lnTo>
                    <a:pt x="581" y="171"/>
                  </a:lnTo>
                  <a:lnTo>
                    <a:pt x="579" y="171"/>
                  </a:lnTo>
                  <a:lnTo>
                    <a:pt x="579" y="169"/>
                  </a:lnTo>
                  <a:close/>
                  <a:moveTo>
                    <a:pt x="577" y="168"/>
                  </a:moveTo>
                  <a:lnTo>
                    <a:pt x="581" y="168"/>
                  </a:lnTo>
                  <a:lnTo>
                    <a:pt x="581" y="169"/>
                  </a:lnTo>
                  <a:lnTo>
                    <a:pt x="577" y="169"/>
                  </a:lnTo>
                  <a:lnTo>
                    <a:pt x="577" y="168"/>
                  </a:lnTo>
                  <a:close/>
                  <a:moveTo>
                    <a:pt x="124" y="91"/>
                  </a:moveTo>
                  <a:lnTo>
                    <a:pt x="124" y="93"/>
                  </a:lnTo>
                  <a:lnTo>
                    <a:pt x="123" y="93"/>
                  </a:lnTo>
                  <a:lnTo>
                    <a:pt x="121" y="93"/>
                  </a:lnTo>
                  <a:lnTo>
                    <a:pt x="121" y="91"/>
                  </a:lnTo>
                  <a:lnTo>
                    <a:pt x="123" y="91"/>
                  </a:lnTo>
                  <a:lnTo>
                    <a:pt x="124" y="91"/>
                  </a:lnTo>
                  <a:close/>
                  <a:moveTo>
                    <a:pt x="326" y="35"/>
                  </a:moveTo>
                  <a:lnTo>
                    <a:pt x="328" y="35"/>
                  </a:lnTo>
                  <a:lnTo>
                    <a:pt x="328" y="37"/>
                  </a:lnTo>
                  <a:lnTo>
                    <a:pt x="330" y="37"/>
                  </a:lnTo>
                  <a:lnTo>
                    <a:pt x="328" y="37"/>
                  </a:lnTo>
                  <a:lnTo>
                    <a:pt x="326" y="37"/>
                  </a:lnTo>
                  <a:lnTo>
                    <a:pt x="326" y="35"/>
                  </a:lnTo>
                  <a:close/>
                  <a:moveTo>
                    <a:pt x="418" y="110"/>
                  </a:moveTo>
                  <a:lnTo>
                    <a:pt x="418" y="112"/>
                  </a:lnTo>
                  <a:lnTo>
                    <a:pt x="418" y="110"/>
                  </a:lnTo>
                  <a:lnTo>
                    <a:pt x="418" y="112"/>
                  </a:lnTo>
                  <a:lnTo>
                    <a:pt x="416" y="112"/>
                  </a:lnTo>
                  <a:lnTo>
                    <a:pt x="418" y="112"/>
                  </a:lnTo>
                  <a:lnTo>
                    <a:pt x="418" y="110"/>
                  </a:lnTo>
                  <a:lnTo>
                    <a:pt x="416" y="110"/>
                  </a:lnTo>
                  <a:lnTo>
                    <a:pt x="418" y="110"/>
                  </a:lnTo>
                  <a:close/>
                  <a:moveTo>
                    <a:pt x="330" y="37"/>
                  </a:moveTo>
                  <a:lnTo>
                    <a:pt x="332" y="37"/>
                  </a:lnTo>
                  <a:lnTo>
                    <a:pt x="332" y="41"/>
                  </a:lnTo>
                  <a:lnTo>
                    <a:pt x="330" y="41"/>
                  </a:lnTo>
                  <a:lnTo>
                    <a:pt x="330" y="37"/>
                  </a:lnTo>
                  <a:close/>
                  <a:moveTo>
                    <a:pt x="393" y="93"/>
                  </a:moveTo>
                  <a:lnTo>
                    <a:pt x="393" y="95"/>
                  </a:lnTo>
                  <a:lnTo>
                    <a:pt x="395" y="95"/>
                  </a:lnTo>
                  <a:lnTo>
                    <a:pt x="393" y="95"/>
                  </a:lnTo>
                  <a:lnTo>
                    <a:pt x="395" y="95"/>
                  </a:lnTo>
                  <a:lnTo>
                    <a:pt x="393" y="95"/>
                  </a:lnTo>
                  <a:lnTo>
                    <a:pt x="391" y="95"/>
                  </a:lnTo>
                  <a:lnTo>
                    <a:pt x="391" y="96"/>
                  </a:lnTo>
                  <a:lnTo>
                    <a:pt x="389" y="96"/>
                  </a:lnTo>
                  <a:lnTo>
                    <a:pt x="391" y="96"/>
                  </a:lnTo>
                  <a:lnTo>
                    <a:pt x="389" y="96"/>
                  </a:lnTo>
                  <a:lnTo>
                    <a:pt x="389" y="95"/>
                  </a:lnTo>
                  <a:lnTo>
                    <a:pt x="391" y="95"/>
                  </a:lnTo>
                  <a:lnTo>
                    <a:pt x="391" y="93"/>
                  </a:lnTo>
                  <a:lnTo>
                    <a:pt x="391" y="95"/>
                  </a:lnTo>
                  <a:lnTo>
                    <a:pt x="393" y="95"/>
                  </a:lnTo>
                  <a:lnTo>
                    <a:pt x="393" y="93"/>
                  </a:lnTo>
                  <a:close/>
                  <a:moveTo>
                    <a:pt x="332" y="25"/>
                  </a:moveTo>
                  <a:lnTo>
                    <a:pt x="336" y="25"/>
                  </a:lnTo>
                  <a:lnTo>
                    <a:pt x="336" y="29"/>
                  </a:lnTo>
                  <a:lnTo>
                    <a:pt x="332" y="29"/>
                  </a:lnTo>
                  <a:lnTo>
                    <a:pt x="332" y="25"/>
                  </a:lnTo>
                  <a:close/>
                  <a:moveTo>
                    <a:pt x="330" y="27"/>
                  </a:moveTo>
                  <a:lnTo>
                    <a:pt x="334" y="27"/>
                  </a:lnTo>
                  <a:lnTo>
                    <a:pt x="334" y="29"/>
                  </a:lnTo>
                  <a:lnTo>
                    <a:pt x="330" y="29"/>
                  </a:lnTo>
                  <a:lnTo>
                    <a:pt x="330" y="27"/>
                  </a:lnTo>
                  <a:close/>
                  <a:moveTo>
                    <a:pt x="414" y="237"/>
                  </a:moveTo>
                  <a:lnTo>
                    <a:pt x="418" y="237"/>
                  </a:lnTo>
                  <a:lnTo>
                    <a:pt x="418" y="241"/>
                  </a:lnTo>
                  <a:lnTo>
                    <a:pt x="414" y="241"/>
                  </a:lnTo>
                  <a:lnTo>
                    <a:pt x="414" y="237"/>
                  </a:lnTo>
                  <a:close/>
                  <a:moveTo>
                    <a:pt x="641" y="187"/>
                  </a:moveTo>
                  <a:lnTo>
                    <a:pt x="643" y="187"/>
                  </a:lnTo>
                  <a:lnTo>
                    <a:pt x="641" y="187"/>
                  </a:lnTo>
                  <a:lnTo>
                    <a:pt x="639" y="187"/>
                  </a:lnTo>
                  <a:lnTo>
                    <a:pt x="639" y="185"/>
                  </a:lnTo>
                  <a:lnTo>
                    <a:pt x="641" y="185"/>
                  </a:lnTo>
                  <a:lnTo>
                    <a:pt x="641" y="187"/>
                  </a:lnTo>
                  <a:close/>
                  <a:moveTo>
                    <a:pt x="412" y="212"/>
                  </a:moveTo>
                  <a:lnTo>
                    <a:pt x="410" y="212"/>
                  </a:lnTo>
                  <a:lnTo>
                    <a:pt x="410" y="214"/>
                  </a:lnTo>
                  <a:lnTo>
                    <a:pt x="409" y="214"/>
                  </a:lnTo>
                  <a:lnTo>
                    <a:pt x="409" y="212"/>
                  </a:lnTo>
                  <a:lnTo>
                    <a:pt x="410" y="212"/>
                  </a:lnTo>
                  <a:lnTo>
                    <a:pt x="412" y="212"/>
                  </a:lnTo>
                  <a:close/>
                  <a:moveTo>
                    <a:pt x="328" y="93"/>
                  </a:moveTo>
                  <a:lnTo>
                    <a:pt x="332" y="93"/>
                  </a:lnTo>
                  <a:lnTo>
                    <a:pt x="332" y="96"/>
                  </a:lnTo>
                  <a:lnTo>
                    <a:pt x="328" y="96"/>
                  </a:lnTo>
                  <a:lnTo>
                    <a:pt x="328" y="93"/>
                  </a:lnTo>
                  <a:close/>
                  <a:moveTo>
                    <a:pt x="541" y="193"/>
                  </a:moveTo>
                  <a:lnTo>
                    <a:pt x="541" y="194"/>
                  </a:lnTo>
                  <a:lnTo>
                    <a:pt x="541" y="193"/>
                  </a:lnTo>
                  <a:lnTo>
                    <a:pt x="539" y="193"/>
                  </a:lnTo>
                  <a:lnTo>
                    <a:pt x="537" y="193"/>
                  </a:lnTo>
                  <a:lnTo>
                    <a:pt x="539" y="193"/>
                  </a:lnTo>
                  <a:lnTo>
                    <a:pt x="541" y="193"/>
                  </a:lnTo>
                  <a:close/>
                  <a:moveTo>
                    <a:pt x="470" y="96"/>
                  </a:moveTo>
                  <a:lnTo>
                    <a:pt x="474" y="96"/>
                  </a:lnTo>
                  <a:lnTo>
                    <a:pt x="474" y="98"/>
                  </a:lnTo>
                  <a:lnTo>
                    <a:pt x="470" y="98"/>
                  </a:lnTo>
                  <a:lnTo>
                    <a:pt x="470" y="96"/>
                  </a:lnTo>
                  <a:close/>
                  <a:moveTo>
                    <a:pt x="314" y="137"/>
                  </a:moveTo>
                  <a:lnTo>
                    <a:pt x="314" y="139"/>
                  </a:lnTo>
                  <a:lnTo>
                    <a:pt x="313" y="139"/>
                  </a:lnTo>
                  <a:lnTo>
                    <a:pt x="313" y="141"/>
                  </a:lnTo>
                  <a:lnTo>
                    <a:pt x="313" y="139"/>
                  </a:lnTo>
                  <a:lnTo>
                    <a:pt x="313" y="137"/>
                  </a:lnTo>
                  <a:lnTo>
                    <a:pt x="314" y="137"/>
                  </a:lnTo>
                  <a:close/>
                  <a:moveTo>
                    <a:pt x="361" y="214"/>
                  </a:moveTo>
                  <a:lnTo>
                    <a:pt x="362" y="214"/>
                  </a:lnTo>
                  <a:lnTo>
                    <a:pt x="362" y="217"/>
                  </a:lnTo>
                  <a:lnTo>
                    <a:pt x="361" y="217"/>
                  </a:lnTo>
                  <a:lnTo>
                    <a:pt x="361" y="214"/>
                  </a:lnTo>
                  <a:close/>
                  <a:moveTo>
                    <a:pt x="172" y="129"/>
                  </a:moveTo>
                  <a:lnTo>
                    <a:pt x="174" y="129"/>
                  </a:lnTo>
                  <a:lnTo>
                    <a:pt x="174" y="131"/>
                  </a:lnTo>
                  <a:lnTo>
                    <a:pt x="172" y="131"/>
                  </a:lnTo>
                  <a:lnTo>
                    <a:pt x="172" y="129"/>
                  </a:lnTo>
                  <a:close/>
                  <a:moveTo>
                    <a:pt x="30" y="54"/>
                  </a:moveTo>
                  <a:lnTo>
                    <a:pt x="34" y="54"/>
                  </a:lnTo>
                  <a:lnTo>
                    <a:pt x="34" y="58"/>
                  </a:lnTo>
                  <a:lnTo>
                    <a:pt x="30" y="58"/>
                  </a:lnTo>
                  <a:lnTo>
                    <a:pt x="30" y="54"/>
                  </a:lnTo>
                  <a:close/>
                  <a:moveTo>
                    <a:pt x="157" y="43"/>
                  </a:moveTo>
                  <a:lnTo>
                    <a:pt x="159" y="43"/>
                  </a:lnTo>
                  <a:lnTo>
                    <a:pt x="159" y="47"/>
                  </a:lnTo>
                  <a:lnTo>
                    <a:pt x="157" y="47"/>
                  </a:lnTo>
                  <a:lnTo>
                    <a:pt x="157" y="43"/>
                  </a:lnTo>
                  <a:close/>
                  <a:moveTo>
                    <a:pt x="257" y="171"/>
                  </a:moveTo>
                  <a:lnTo>
                    <a:pt x="261" y="171"/>
                  </a:lnTo>
                  <a:lnTo>
                    <a:pt x="261" y="173"/>
                  </a:lnTo>
                  <a:lnTo>
                    <a:pt x="257" y="173"/>
                  </a:lnTo>
                  <a:lnTo>
                    <a:pt x="257" y="171"/>
                  </a:lnTo>
                  <a:close/>
                  <a:moveTo>
                    <a:pt x="299" y="216"/>
                  </a:moveTo>
                  <a:lnTo>
                    <a:pt x="303" y="216"/>
                  </a:lnTo>
                  <a:lnTo>
                    <a:pt x="303" y="217"/>
                  </a:lnTo>
                  <a:lnTo>
                    <a:pt x="299" y="217"/>
                  </a:lnTo>
                  <a:lnTo>
                    <a:pt x="299" y="216"/>
                  </a:lnTo>
                  <a:close/>
                  <a:moveTo>
                    <a:pt x="491" y="191"/>
                  </a:moveTo>
                  <a:lnTo>
                    <a:pt x="493" y="191"/>
                  </a:lnTo>
                  <a:lnTo>
                    <a:pt x="493" y="193"/>
                  </a:lnTo>
                  <a:lnTo>
                    <a:pt x="491" y="193"/>
                  </a:lnTo>
                  <a:lnTo>
                    <a:pt x="491" y="191"/>
                  </a:lnTo>
                  <a:close/>
                  <a:moveTo>
                    <a:pt x="520" y="93"/>
                  </a:moveTo>
                  <a:lnTo>
                    <a:pt x="522" y="93"/>
                  </a:lnTo>
                  <a:lnTo>
                    <a:pt x="522" y="95"/>
                  </a:lnTo>
                  <a:lnTo>
                    <a:pt x="520" y="95"/>
                  </a:lnTo>
                  <a:lnTo>
                    <a:pt x="520" y="93"/>
                  </a:lnTo>
                  <a:close/>
                  <a:moveTo>
                    <a:pt x="639" y="187"/>
                  </a:moveTo>
                  <a:lnTo>
                    <a:pt x="641" y="187"/>
                  </a:lnTo>
                  <a:lnTo>
                    <a:pt x="641" y="189"/>
                  </a:lnTo>
                  <a:lnTo>
                    <a:pt x="639" y="189"/>
                  </a:lnTo>
                  <a:lnTo>
                    <a:pt x="639" y="187"/>
                  </a:lnTo>
                  <a:close/>
                  <a:moveTo>
                    <a:pt x="201" y="110"/>
                  </a:moveTo>
                  <a:lnTo>
                    <a:pt x="205" y="110"/>
                  </a:lnTo>
                  <a:lnTo>
                    <a:pt x="205" y="112"/>
                  </a:lnTo>
                  <a:lnTo>
                    <a:pt x="201" y="112"/>
                  </a:lnTo>
                  <a:lnTo>
                    <a:pt x="201" y="110"/>
                  </a:lnTo>
                  <a:close/>
                  <a:moveTo>
                    <a:pt x="328" y="98"/>
                  </a:moveTo>
                  <a:lnTo>
                    <a:pt x="330" y="98"/>
                  </a:lnTo>
                  <a:lnTo>
                    <a:pt x="330" y="100"/>
                  </a:lnTo>
                  <a:lnTo>
                    <a:pt x="328" y="100"/>
                  </a:lnTo>
                  <a:lnTo>
                    <a:pt x="328" y="98"/>
                  </a:lnTo>
                  <a:lnTo>
                    <a:pt x="328" y="100"/>
                  </a:lnTo>
                  <a:lnTo>
                    <a:pt x="328" y="98"/>
                  </a:lnTo>
                  <a:lnTo>
                    <a:pt x="328" y="100"/>
                  </a:lnTo>
                  <a:lnTo>
                    <a:pt x="328" y="98"/>
                  </a:lnTo>
                  <a:lnTo>
                    <a:pt x="326" y="98"/>
                  </a:lnTo>
                  <a:lnTo>
                    <a:pt x="326" y="96"/>
                  </a:lnTo>
                  <a:lnTo>
                    <a:pt x="328" y="96"/>
                  </a:lnTo>
                  <a:lnTo>
                    <a:pt x="328" y="98"/>
                  </a:lnTo>
                  <a:close/>
                  <a:moveTo>
                    <a:pt x="393" y="93"/>
                  </a:moveTo>
                  <a:lnTo>
                    <a:pt x="397" y="93"/>
                  </a:lnTo>
                  <a:lnTo>
                    <a:pt x="397" y="95"/>
                  </a:lnTo>
                  <a:lnTo>
                    <a:pt x="393" y="95"/>
                  </a:lnTo>
                  <a:lnTo>
                    <a:pt x="393" y="93"/>
                  </a:lnTo>
                  <a:close/>
                  <a:moveTo>
                    <a:pt x="474" y="198"/>
                  </a:moveTo>
                  <a:lnTo>
                    <a:pt x="476" y="198"/>
                  </a:lnTo>
                  <a:lnTo>
                    <a:pt x="476" y="200"/>
                  </a:lnTo>
                  <a:lnTo>
                    <a:pt x="474" y="200"/>
                  </a:lnTo>
                  <a:lnTo>
                    <a:pt x="474" y="198"/>
                  </a:lnTo>
                  <a:close/>
                  <a:moveTo>
                    <a:pt x="489" y="139"/>
                  </a:moveTo>
                  <a:lnTo>
                    <a:pt x="491" y="139"/>
                  </a:lnTo>
                  <a:lnTo>
                    <a:pt x="491" y="141"/>
                  </a:lnTo>
                  <a:lnTo>
                    <a:pt x="489" y="141"/>
                  </a:lnTo>
                  <a:lnTo>
                    <a:pt x="489" y="139"/>
                  </a:lnTo>
                  <a:close/>
                  <a:moveTo>
                    <a:pt x="476" y="104"/>
                  </a:moveTo>
                  <a:lnTo>
                    <a:pt x="480" y="104"/>
                  </a:lnTo>
                  <a:lnTo>
                    <a:pt x="480" y="106"/>
                  </a:lnTo>
                  <a:lnTo>
                    <a:pt x="476" y="106"/>
                  </a:lnTo>
                  <a:lnTo>
                    <a:pt x="476" y="104"/>
                  </a:lnTo>
                  <a:close/>
                  <a:moveTo>
                    <a:pt x="579" y="185"/>
                  </a:moveTo>
                  <a:lnTo>
                    <a:pt x="581" y="185"/>
                  </a:lnTo>
                  <a:lnTo>
                    <a:pt x="581" y="187"/>
                  </a:lnTo>
                  <a:lnTo>
                    <a:pt x="579" y="187"/>
                  </a:lnTo>
                  <a:lnTo>
                    <a:pt x="579" y="185"/>
                  </a:lnTo>
                  <a:close/>
                  <a:moveTo>
                    <a:pt x="491" y="139"/>
                  </a:moveTo>
                  <a:lnTo>
                    <a:pt x="493" y="139"/>
                  </a:lnTo>
                  <a:lnTo>
                    <a:pt x="493" y="141"/>
                  </a:lnTo>
                  <a:lnTo>
                    <a:pt x="491" y="141"/>
                  </a:lnTo>
                  <a:lnTo>
                    <a:pt x="491" y="139"/>
                  </a:lnTo>
                  <a:close/>
                  <a:moveTo>
                    <a:pt x="374" y="191"/>
                  </a:moveTo>
                  <a:lnTo>
                    <a:pt x="378" y="191"/>
                  </a:lnTo>
                  <a:lnTo>
                    <a:pt x="378" y="193"/>
                  </a:lnTo>
                  <a:lnTo>
                    <a:pt x="374" y="193"/>
                  </a:lnTo>
                  <a:lnTo>
                    <a:pt x="374" y="191"/>
                  </a:lnTo>
                  <a:close/>
                  <a:moveTo>
                    <a:pt x="526" y="196"/>
                  </a:moveTo>
                  <a:lnTo>
                    <a:pt x="529" y="196"/>
                  </a:lnTo>
                  <a:lnTo>
                    <a:pt x="529" y="198"/>
                  </a:lnTo>
                  <a:lnTo>
                    <a:pt x="526" y="198"/>
                  </a:lnTo>
                  <a:lnTo>
                    <a:pt x="526" y="196"/>
                  </a:lnTo>
                  <a:close/>
                  <a:moveTo>
                    <a:pt x="134" y="73"/>
                  </a:moveTo>
                  <a:lnTo>
                    <a:pt x="136" y="73"/>
                  </a:lnTo>
                  <a:lnTo>
                    <a:pt x="136" y="75"/>
                  </a:lnTo>
                  <a:lnTo>
                    <a:pt x="134" y="75"/>
                  </a:lnTo>
                  <a:lnTo>
                    <a:pt x="134" y="73"/>
                  </a:lnTo>
                  <a:close/>
                  <a:moveTo>
                    <a:pt x="418" y="164"/>
                  </a:moveTo>
                  <a:lnTo>
                    <a:pt x="420" y="164"/>
                  </a:lnTo>
                  <a:lnTo>
                    <a:pt x="420" y="166"/>
                  </a:lnTo>
                  <a:lnTo>
                    <a:pt x="418" y="166"/>
                  </a:lnTo>
                  <a:lnTo>
                    <a:pt x="418" y="164"/>
                  </a:lnTo>
                  <a:close/>
                  <a:moveTo>
                    <a:pt x="560" y="148"/>
                  </a:moveTo>
                  <a:lnTo>
                    <a:pt x="562" y="148"/>
                  </a:lnTo>
                  <a:lnTo>
                    <a:pt x="564" y="148"/>
                  </a:lnTo>
                  <a:lnTo>
                    <a:pt x="564" y="150"/>
                  </a:lnTo>
                  <a:lnTo>
                    <a:pt x="566" y="150"/>
                  </a:lnTo>
                  <a:lnTo>
                    <a:pt x="564" y="150"/>
                  </a:lnTo>
                  <a:lnTo>
                    <a:pt x="562" y="150"/>
                  </a:lnTo>
                  <a:lnTo>
                    <a:pt x="562" y="148"/>
                  </a:lnTo>
                  <a:lnTo>
                    <a:pt x="560" y="148"/>
                  </a:lnTo>
                  <a:lnTo>
                    <a:pt x="562" y="148"/>
                  </a:lnTo>
                  <a:lnTo>
                    <a:pt x="560" y="148"/>
                  </a:lnTo>
                  <a:close/>
                  <a:moveTo>
                    <a:pt x="351" y="206"/>
                  </a:moveTo>
                  <a:lnTo>
                    <a:pt x="353" y="206"/>
                  </a:lnTo>
                  <a:lnTo>
                    <a:pt x="353" y="210"/>
                  </a:lnTo>
                  <a:lnTo>
                    <a:pt x="351" y="210"/>
                  </a:lnTo>
                  <a:lnTo>
                    <a:pt x="351" y="206"/>
                  </a:lnTo>
                  <a:close/>
                  <a:moveTo>
                    <a:pt x="508" y="104"/>
                  </a:moveTo>
                  <a:lnTo>
                    <a:pt x="512" y="104"/>
                  </a:lnTo>
                  <a:lnTo>
                    <a:pt x="512" y="106"/>
                  </a:lnTo>
                  <a:lnTo>
                    <a:pt x="508" y="106"/>
                  </a:lnTo>
                  <a:lnTo>
                    <a:pt x="508" y="104"/>
                  </a:lnTo>
                  <a:close/>
                  <a:moveTo>
                    <a:pt x="503" y="87"/>
                  </a:moveTo>
                  <a:lnTo>
                    <a:pt x="505" y="87"/>
                  </a:lnTo>
                  <a:lnTo>
                    <a:pt x="505" y="89"/>
                  </a:lnTo>
                  <a:lnTo>
                    <a:pt x="506" y="89"/>
                  </a:lnTo>
                  <a:lnTo>
                    <a:pt x="506" y="91"/>
                  </a:lnTo>
                  <a:lnTo>
                    <a:pt x="505" y="91"/>
                  </a:lnTo>
                  <a:lnTo>
                    <a:pt x="505" y="89"/>
                  </a:lnTo>
                  <a:lnTo>
                    <a:pt x="503" y="89"/>
                  </a:lnTo>
                  <a:lnTo>
                    <a:pt x="503" y="87"/>
                  </a:lnTo>
                  <a:close/>
                  <a:moveTo>
                    <a:pt x="478" y="133"/>
                  </a:moveTo>
                  <a:lnTo>
                    <a:pt x="480" y="133"/>
                  </a:lnTo>
                  <a:lnTo>
                    <a:pt x="480" y="135"/>
                  </a:lnTo>
                  <a:lnTo>
                    <a:pt x="478" y="135"/>
                  </a:lnTo>
                  <a:lnTo>
                    <a:pt x="478" y="133"/>
                  </a:lnTo>
                  <a:close/>
                  <a:moveTo>
                    <a:pt x="535" y="108"/>
                  </a:moveTo>
                  <a:lnTo>
                    <a:pt x="537" y="108"/>
                  </a:lnTo>
                  <a:lnTo>
                    <a:pt x="537" y="110"/>
                  </a:lnTo>
                  <a:lnTo>
                    <a:pt x="535" y="110"/>
                  </a:lnTo>
                  <a:lnTo>
                    <a:pt x="535" y="108"/>
                  </a:lnTo>
                  <a:close/>
                  <a:moveTo>
                    <a:pt x="140" y="83"/>
                  </a:moveTo>
                  <a:lnTo>
                    <a:pt x="142" y="83"/>
                  </a:lnTo>
                  <a:lnTo>
                    <a:pt x="142" y="87"/>
                  </a:lnTo>
                  <a:lnTo>
                    <a:pt x="140" y="87"/>
                  </a:lnTo>
                  <a:lnTo>
                    <a:pt x="140" y="83"/>
                  </a:lnTo>
                  <a:close/>
                  <a:moveTo>
                    <a:pt x="583" y="179"/>
                  </a:moveTo>
                  <a:lnTo>
                    <a:pt x="583" y="183"/>
                  </a:lnTo>
                  <a:lnTo>
                    <a:pt x="583" y="179"/>
                  </a:lnTo>
                  <a:close/>
                  <a:moveTo>
                    <a:pt x="203" y="200"/>
                  </a:moveTo>
                  <a:lnTo>
                    <a:pt x="205" y="200"/>
                  </a:lnTo>
                  <a:lnTo>
                    <a:pt x="205" y="202"/>
                  </a:lnTo>
                  <a:lnTo>
                    <a:pt x="205" y="200"/>
                  </a:lnTo>
                  <a:lnTo>
                    <a:pt x="205" y="202"/>
                  </a:lnTo>
                  <a:lnTo>
                    <a:pt x="203" y="202"/>
                  </a:lnTo>
                  <a:lnTo>
                    <a:pt x="203" y="200"/>
                  </a:lnTo>
                  <a:lnTo>
                    <a:pt x="203" y="202"/>
                  </a:lnTo>
                  <a:lnTo>
                    <a:pt x="203" y="200"/>
                  </a:lnTo>
                  <a:lnTo>
                    <a:pt x="203" y="202"/>
                  </a:lnTo>
                  <a:lnTo>
                    <a:pt x="201" y="200"/>
                  </a:lnTo>
                  <a:lnTo>
                    <a:pt x="203" y="200"/>
                  </a:lnTo>
                  <a:lnTo>
                    <a:pt x="201" y="200"/>
                  </a:lnTo>
                  <a:lnTo>
                    <a:pt x="203" y="200"/>
                  </a:lnTo>
                  <a:lnTo>
                    <a:pt x="201" y="200"/>
                  </a:lnTo>
                  <a:lnTo>
                    <a:pt x="203" y="200"/>
                  </a:lnTo>
                  <a:lnTo>
                    <a:pt x="201" y="200"/>
                  </a:lnTo>
                  <a:lnTo>
                    <a:pt x="203" y="200"/>
                  </a:lnTo>
                  <a:close/>
                  <a:moveTo>
                    <a:pt x="201" y="43"/>
                  </a:moveTo>
                  <a:lnTo>
                    <a:pt x="203" y="43"/>
                  </a:lnTo>
                  <a:lnTo>
                    <a:pt x="203" y="47"/>
                  </a:lnTo>
                  <a:lnTo>
                    <a:pt x="201" y="47"/>
                  </a:lnTo>
                  <a:lnTo>
                    <a:pt x="201" y="43"/>
                  </a:lnTo>
                  <a:close/>
                  <a:moveTo>
                    <a:pt x="282" y="191"/>
                  </a:moveTo>
                  <a:lnTo>
                    <a:pt x="284" y="191"/>
                  </a:lnTo>
                  <a:lnTo>
                    <a:pt x="284" y="193"/>
                  </a:lnTo>
                  <a:lnTo>
                    <a:pt x="282" y="193"/>
                  </a:lnTo>
                  <a:lnTo>
                    <a:pt x="282" y="191"/>
                  </a:lnTo>
                  <a:close/>
                  <a:moveTo>
                    <a:pt x="481" y="131"/>
                  </a:moveTo>
                  <a:lnTo>
                    <a:pt x="483" y="131"/>
                  </a:lnTo>
                  <a:lnTo>
                    <a:pt x="483" y="133"/>
                  </a:lnTo>
                  <a:lnTo>
                    <a:pt x="481" y="133"/>
                  </a:lnTo>
                  <a:lnTo>
                    <a:pt x="481" y="131"/>
                  </a:lnTo>
                  <a:close/>
                  <a:moveTo>
                    <a:pt x="332" y="56"/>
                  </a:moveTo>
                  <a:lnTo>
                    <a:pt x="336" y="56"/>
                  </a:lnTo>
                  <a:lnTo>
                    <a:pt x="336" y="58"/>
                  </a:lnTo>
                  <a:lnTo>
                    <a:pt x="332" y="58"/>
                  </a:lnTo>
                  <a:lnTo>
                    <a:pt x="332" y="56"/>
                  </a:lnTo>
                  <a:close/>
                  <a:moveTo>
                    <a:pt x="123" y="72"/>
                  </a:moveTo>
                  <a:lnTo>
                    <a:pt x="124" y="72"/>
                  </a:lnTo>
                  <a:lnTo>
                    <a:pt x="124" y="73"/>
                  </a:lnTo>
                  <a:lnTo>
                    <a:pt x="123" y="73"/>
                  </a:lnTo>
                  <a:lnTo>
                    <a:pt x="123" y="72"/>
                  </a:lnTo>
                  <a:close/>
                  <a:moveTo>
                    <a:pt x="148" y="183"/>
                  </a:moveTo>
                  <a:lnTo>
                    <a:pt x="151" y="183"/>
                  </a:lnTo>
                  <a:lnTo>
                    <a:pt x="151" y="185"/>
                  </a:lnTo>
                  <a:lnTo>
                    <a:pt x="148" y="185"/>
                  </a:lnTo>
                  <a:lnTo>
                    <a:pt x="148" y="183"/>
                  </a:lnTo>
                  <a:close/>
                  <a:moveTo>
                    <a:pt x="620" y="160"/>
                  </a:moveTo>
                  <a:lnTo>
                    <a:pt x="622" y="160"/>
                  </a:lnTo>
                  <a:lnTo>
                    <a:pt x="622" y="162"/>
                  </a:lnTo>
                  <a:lnTo>
                    <a:pt x="620" y="162"/>
                  </a:lnTo>
                  <a:lnTo>
                    <a:pt x="620" y="160"/>
                  </a:lnTo>
                  <a:close/>
                  <a:moveTo>
                    <a:pt x="4" y="0"/>
                  </a:moveTo>
                  <a:lnTo>
                    <a:pt x="5" y="0"/>
                  </a:lnTo>
                  <a:lnTo>
                    <a:pt x="5" y="2"/>
                  </a:lnTo>
                  <a:lnTo>
                    <a:pt x="4" y="2"/>
                  </a:lnTo>
                  <a:lnTo>
                    <a:pt x="4" y="0"/>
                  </a:lnTo>
                  <a:close/>
                  <a:moveTo>
                    <a:pt x="180" y="129"/>
                  </a:moveTo>
                  <a:lnTo>
                    <a:pt x="184" y="129"/>
                  </a:lnTo>
                  <a:lnTo>
                    <a:pt x="184" y="131"/>
                  </a:lnTo>
                  <a:lnTo>
                    <a:pt x="180" y="131"/>
                  </a:lnTo>
                  <a:lnTo>
                    <a:pt x="180" y="129"/>
                  </a:lnTo>
                  <a:close/>
                  <a:moveTo>
                    <a:pt x="474" y="77"/>
                  </a:moveTo>
                  <a:lnTo>
                    <a:pt x="476" y="77"/>
                  </a:lnTo>
                  <a:lnTo>
                    <a:pt x="476" y="79"/>
                  </a:lnTo>
                  <a:lnTo>
                    <a:pt x="474" y="79"/>
                  </a:lnTo>
                  <a:lnTo>
                    <a:pt x="474" y="77"/>
                  </a:lnTo>
                  <a:close/>
                  <a:moveTo>
                    <a:pt x="445" y="47"/>
                  </a:moveTo>
                  <a:lnTo>
                    <a:pt x="445" y="48"/>
                  </a:lnTo>
                  <a:lnTo>
                    <a:pt x="445" y="47"/>
                  </a:lnTo>
                  <a:close/>
                  <a:moveTo>
                    <a:pt x="476" y="135"/>
                  </a:moveTo>
                  <a:lnTo>
                    <a:pt x="478" y="135"/>
                  </a:lnTo>
                  <a:lnTo>
                    <a:pt x="478" y="137"/>
                  </a:lnTo>
                  <a:lnTo>
                    <a:pt x="476" y="137"/>
                  </a:lnTo>
                  <a:lnTo>
                    <a:pt x="476" y="135"/>
                  </a:lnTo>
                  <a:close/>
                  <a:moveTo>
                    <a:pt x="410" y="114"/>
                  </a:moveTo>
                  <a:lnTo>
                    <a:pt x="412" y="114"/>
                  </a:lnTo>
                  <a:lnTo>
                    <a:pt x="412" y="116"/>
                  </a:lnTo>
                  <a:lnTo>
                    <a:pt x="410" y="116"/>
                  </a:lnTo>
                  <a:lnTo>
                    <a:pt x="410" y="114"/>
                  </a:lnTo>
                  <a:close/>
                  <a:moveTo>
                    <a:pt x="334" y="35"/>
                  </a:moveTo>
                  <a:lnTo>
                    <a:pt x="336" y="35"/>
                  </a:lnTo>
                  <a:lnTo>
                    <a:pt x="336" y="37"/>
                  </a:lnTo>
                  <a:lnTo>
                    <a:pt x="334" y="37"/>
                  </a:lnTo>
                  <a:lnTo>
                    <a:pt x="334" y="35"/>
                  </a:lnTo>
                  <a:close/>
                  <a:moveTo>
                    <a:pt x="483" y="208"/>
                  </a:moveTo>
                  <a:lnTo>
                    <a:pt x="487" y="208"/>
                  </a:lnTo>
                  <a:lnTo>
                    <a:pt x="487" y="210"/>
                  </a:lnTo>
                  <a:lnTo>
                    <a:pt x="483" y="210"/>
                  </a:lnTo>
                  <a:lnTo>
                    <a:pt x="483" y="208"/>
                  </a:lnTo>
                  <a:close/>
                  <a:moveTo>
                    <a:pt x="378" y="194"/>
                  </a:moveTo>
                  <a:lnTo>
                    <a:pt x="380" y="194"/>
                  </a:lnTo>
                  <a:lnTo>
                    <a:pt x="382" y="194"/>
                  </a:lnTo>
                  <a:lnTo>
                    <a:pt x="380" y="194"/>
                  </a:lnTo>
                  <a:lnTo>
                    <a:pt x="378" y="194"/>
                  </a:lnTo>
                  <a:close/>
                  <a:moveTo>
                    <a:pt x="576" y="118"/>
                  </a:moveTo>
                  <a:lnTo>
                    <a:pt x="577" y="118"/>
                  </a:lnTo>
                  <a:lnTo>
                    <a:pt x="577" y="120"/>
                  </a:lnTo>
                  <a:lnTo>
                    <a:pt x="576" y="120"/>
                  </a:lnTo>
                  <a:lnTo>
                    <a:pt x="576" y="118"/>
                  </a:lnTo>
                  <a:close/>
                  <a:moveTo>
                    <a:pt x="495" y="208"/>
                  </a:moveTo>
                  <a:lnTo>
                    <a:pt x="499" y="208"/>
                  </a:lnTo>
                  <a:lnTo>
                    <a:pt x="495" y="208"/>
                  </a:lnTo>
                  <a:close/>
                  <a:moveTo>
                    <a:pt x="579" y="183"/>
                  </a:moveTo>
                  <a:lnTo>
                    <a:pt x="581" y="183"/>
                  </a:lnTo>
                  <a:lnTo>
                    <a:pt x="579" y="183"/>
                  </a:lnTo>
                  <a:close/>
                  <a:moveTo>
                    <a:pt x="130" y="72"/>
                  </a:moveTo>
                  <a:lnTo>
                    <a:pt x="132" y="72"/>
                  </a:lnTo>
                  <a:lnTo>
                    <a:pt x="132" y="73"/>
                  </a:lnTo>
                  <a:lnTo>
                    <a:pt x="130" y="73"/>
                  </a:lnTo>
                  <a:lnTo>
                    <a:pt x="130" y="72"/>
                  </a:lnTo>
                  <a:close/>
                  <a:moveTo>
                    <a:pt x="165" y="41"/>
                  </a:moveTo>
                  <a:lnTo>
                    <a:pt x="165" y="43"/>
                  </a:lnTo>
                  <a:lnTo>
                    <a:pt x="165" y="41"/>
                  </a:lnTo>
                  <a:close/>
                  <a:moveTo>
                    <a:pt x="574" y="114"/>
                  </a:moveTo>
                  <a:lnTo>
                    <a:pt x="574" y="116"/>
                  </a:lnTo>
                  <a:lnTo>
                    <a:pt x="574" y="114"/>
                  </a:lnTo>
                  <a:close/>
                  <a:moveTo>
                    <a:pt x="568" y="120"/>
                  </a:moveTo>
                  <a:lnTo>
                    <a:pt x="570" y="120"/>
                  </a:lnTo>
                  <a:lnTo>
                    <a:pt x="570" y="121"/>
                  </a:lnTo>
                  <a:lnTo>
                    <a:pt x="568" y="121"/>
                  </a:lnTo>
                  <a:lnTo>
                    <a:pt x="568" y="120"/>
                  </a:lnTo>
                  <a:close/>
                  <a:moveTo>
                    <a:pt x="303" y="193"/>
                  </a:moveTo>
                  <a:lnTo>
                    <a:pt x="307" y="193"/>
                  </a:lnTo>
                  <a:lnTo>
                    <a:pt x="303" y="193"/>
                  </a:lnTo>
                  <a:close/>
                  <a:moveTo>
                    <a:pt x="472" y="75"/>
                  </a:moveTo>
                  <a:lnTo>
                    <a:pt x="474" y="75"/>
                  </a:lnTo>
                  <a:lnTo>
                    <a:pt x="474" y="77"/>
                  </a:lnTo>
                  <a:lnTo>
                    <a:pt x="472" y="77"/>
                  </a:lnTo>
                  <a:lnTo>
                    <a:pt x="472" y="75"/>
                  </a:lnTo>
                  <a:close/>
                  <a:moveTo>
                    <a:pt x="424" y="173"/>
                  </a:moveTo>
                  <a:lnTo>
                    <a:pt x="426" y="173"/>
                  </a:lnTo>
                  <a:lnTo>
                    <a:pt x="426" y="175"/>
                  </a:lnTo>
                  <a:lnTo>
                    <a:pt x="424" y="175"/>
                  </a:lnTo>
                  <a:lnTo>
                    <a:pt x="424" y="173"/>
                  </a:lnTo>
                  <a:close/>
                  <a:moveTo>
                    <a:pt x="397" y="91"/>
                  </a:moveTo>
                  <a:lnTo>
                    <a:pt x="397" y="95"/>
                  </a:lnTo>
                  <a:lnTo>
                    <a:pt x="397" y="91"/>
                  </a:lnTo>
                  <a:close/>
                  <a:moveTo>
                    <a:pt x="552" y="168"/>
                  </a:moveTo>
                  <a:lnTo>
                    <a:pt x="554" y="168"/>
                  </a:lnTo>
                  <a:lnTo>
                    <a:pt x="554" y="171"/>
                  </a:lnTo>
                  <a:lnTo>
                    <a:pt x="552" y="171"/>
                  </a:lnTo>
                  <a:lnTo>
                    <a:pt x="552" y="168"/>
                  </a:lnTo>
                  <a:close/>
                  <a:moveTo>
                    <a:pt x="526" y="200"/>
                  </a:moveTo>
                  <a:lnTo>
                    <a:pt x="529" y="200"/>
                  </a:lnTo>
                  <a:lnTo>
                    <a:pt x="526" y="200"/>
                  </a:lnTo>
                  <a:close/>
                  <a:moveTo>
                    <a:pt x="464" y="31"/>
                  </a:moveTo>
                  <a:lnTo>
                    <a:pt x="466" y="31"/>
                  </a:lnTo>
                  <a:lnTo>
                    <a:pt x="466" y="33"/>
                  </a:lnTo>
                  <a:lnTo>
                    <a:pt x="464" y="33"/>
                  </a:lnTo>
                  <a:lnTo>
                    <a:pt x="464" y="31"/>
                  </a:lnTo>
                  <a:close/>
                  <a:moveTo>
                    <a:pt x="568" y="121"/>
                  </a:moveTo>
                  <a:lnTo>
                    <a:pt x="570" y="121"/>
                  </a:lnTo>
                  <a:lnTo>
                    <a:pt x="570" y="123"/>
                  </a:lnTo>
                  <a:lnTo>
                    <a:pt x="568" y="123"/>
                  </a:lnTo>
                  <a:lnTo>
                    <a:pt x="568" y="121"/>
                  </a:lnTo>
                  <a:close/>
                  <a:moveTo>
                    <a:pt x="128" y="75"/>
                  </a:moveTo>
                  <a:lnTo>
                    <a:pt x="130" y="75"/>
                  </a:lnTo>
                  <a:lnTo>
                    <a:pt x="130" y="77"/>
                  </a:lnTo>
                  <a:lnTo>
                    <a:pt x="128" y="77"/>
                  </a:lnTo>
                  <a:lnTo>
                    <a:pt x="128" y="75"/>
                  </a:lnTo>
                  <a:close/>
                  <a:moveTo>
                    <a:pt x="524" y="198"/>
                  </a:moveTo>
                  <a:lnTo>
                    <a:pt x="528" y="198"/>
                  </a:lnTo>
                  <a:lnTo>
                    <a:pt x="524" y="198"/>
                  </a:lnTo>
                  <a:close/>
                  <a:moveTo>
                    <a:pt x="478" y="208"/>
                  </a:moveTo>
                  <a:lnTo>
                    <a:pt x="480" y="208"/>
                  </a:lnTo>
                  <a:lnTo>
                    <a:pt x="478" y="208"/>
                  </a:lnTo>
                  <a:close/>
                  <a:moveTo>
                    <a:pt x="462" y="27"/>
                  </a:moveTo>
                  <a:lnTo>
                    <a:pt x="464" y="27"/>
                  </a:lnTo>
                  <a:lnTo>
                    <a:pt x="464" y="31"/>
                  </a:lnTo>
                  <a:lnTo>
                    <a:pt x="462" y="31"/>
                  </a:lnTo>
                  <a:lnTo>
                    <a:pt x="462" y="27"/>
                  </a:lnTo>
                  <a:close/>
                  <a:moveTo>
                    <a:pt x="587" y="108"/>
                  </a:moveTo>
                  <a:lnTo>
                    <a:pt x="591" y="108"/>
                  </a:lnTo>
                  <a:lnTo>
                    <a:pt x="591" y="110"/>
                  </a:lnTo>
                  <a:lnTo>
                    <a:pt x="587" y="110"/>
                  </a:lnTo>
                  <a:lnTo>
                    <a:pt x="587" y="108"/>
                  </a:lnTo>
                  <a:close/>
                  <a:moveTo>
                    <a:pt x="633" y="210"/>
                  </a:moveTo>
                  <a:lnTo>
                    <a:pt x="637" y="210"/>
                  </a:lnTo>
                  <a:lnTo>
                    <a:pt x="637" y="212"/>
                  </a:lnTo>
                  <a:lnTo>
                    <a:pt x="633" y="212"/>
                  </a:lnTo>
                  <a:lnTo>
                    <a:pt x="633" y="210"/>
                  </a:lnTo>
                  <a:close/>
                  <a:moveTo>
                    <a:pt x="328" y="35"/>
                  </a:moveTo>
                  <a:lnTo>
                    <a:pt x="332" y="35"/>
                  </a:lnTo>
                  <a:lnTo>
                    <a:pt x="332" y="37"/>
                  </a:lnTo>
                  <a:lnTo>
                    <a:pt x="328" y="37"/>
                  </a:lnTo>
                  <a:lnTo>
                    <a:pt x="328" y="35"/>
                  </a:lnTo>
                  <a:close/>
                  <a:moveTo>
                    <a:pt x="134" y="75"/>
                  </a:moveTo>
                  <a:lnTo>
                    <a:pt x="136" y="75"/>
                  </a:lnTo>
                  <a:lnTo>
                    <a:pt x="136" y="77"/>
                  </a:lnTo>
                  <a:lnTo>
                    <a:pt x="134" y="77"/>
                  </a:lnTo>
                  <a:lnTo>
                    <a:pt x="134" y="75"/>
                  </a:lnTo>
                  <a:close/>
                  <a:moveTo>
                    <a:pt x="422" y="116"/>
                  </a:moveTo>
                  <a:lnTo>
                    <a:pt x="422" y="118"/>
                  </a:lnTo>
                  <a:lnTo>
                    <a:pt x="422" y="116"/>
                  </a:lnTo>
                  <a:close/>
                  <a:moveTo>
                    <a:pt x="165" y="39"/>
                  </a:moveTo>
                  <a:lnTo>
                    <a:pt x="167" y="39"/>
                  </a:lnTo>
                  <a:lnTo>
                    <a:pt x="167" y="41"/>
                  </a:lnTo>
                  <a:lnTo>
                    <a:pt x="165" y="41"/>
                  </a:lnTo>
                  <a:lnTo>
                    <a:pt x="165" y="39"/>
                  </a:lnTo>
                  <a:close/>
                  <a:moveTo>
                    <a:pt x="474" y="81"/>
                  </a:moveTo>
                  <a:lnTo>
                    <a:pt x="476" y="81"/>
                  </a:lnTo>
                  <a:lnTo>
                    <a:pt x="476" y="83"/>
                  </a:lnTo>
                  <a:lnTo>
                    <a:pt x="474" y="83"/>
                  </a:lnTo>
                  <a:lnTo>
                    <a:pt x="474" y="81"/>
                  </a:lnTo>
                  <a:close/>
                  <a:moveTo>
                    <a:pt x="564" y="123"/>
                  </a:moveTo>
                  <a:lnTo>
                    <a:pt x="566" y="123"/>
                  </a:lnTo>
                  <a:lnTo>
                    <a:pt x="566" y="125"/>
                  </a:lnTo>
                  <a:lnTo>
                    <a:pt x="564" y="125"/>
                  </a:lnTo>
                  <a:lnTo>
                    <a:pt x="564" y="123"/>
                  </a:lnTo>
                  <a:close/>
                  <a:moveTo>
                    <a:pt x="470" y="206"/>
                  </a:moveTo>
                  <a:lnTo>
                    <a:pt x="472" y="206"/>
                  </a:lnTo>
                  <a:lnTo>
                    <a:pt x="470" y="206"/>
                  </a:lnTo>
                  <a:close/>
                  <a:moveTo>
                    <a:pt x="128" y="73"/>
                  </a:moveTo>
                  <a:lnTo>
                    <a:pt x="130" y="73"/>
                  </a:lnTo>
                  <a:lnTo>
                    <a:pt x="130" y="77"/>
                  </a:lnTo>
                  <a:lnTo>
                    <a:pt x="128" y="77"/>
                  </a:lnTo>
                  <a:lnTo>
                    <a:pt x="128" y="73"/>
                  </a:lnTo>
                  <a:close/>
                  <a:moveTo>
                    <a:pt x="268" y="212"/>
                  </a:moveTo>
                  <a:lnTo>
                    <a:pt x="270" y="212"/>
                  </a:lnTo>
                  <a:lnTo>
                    <a:pt x="268" y="212"/>
                  </a:lnTo>
                  <a:close/>
                  <a:moveTo>
                    <a:pt x="205" y="91"/>
                  </a:moveTo>
                  <a:lnTo>
                    <a:pt x="209" y="91"/>
                  </a:lnTo>
                  <a:lnTo>
                    <a:pt x="209" y="93"/>
                  </a:lnTo>
                  <a:lnTo>
                    <a:pt x="205" y="93"/>
                  </a:lnTo>
                  <a:lnTo>
                    <a:pt x="205" y="91"/>
                  </a:lnTo>
                  <a:close/>
                  <a:moveTo>
                    <a:pt x="211" y="96"/>
                  </a:moveTo>
                  <a:lnTo>
                    <a:pt x="213" y="96"/>
                  </a:lnTo>
                  <a:lnTo>
                    <a:pt x="213" y="98"/>
                  </a:lnTo>
                  <a:lnTo>
                    <a:pt x="211" y="98"/>
                  </a:lnTo>
                  <a:lnTo>
                    <a:pt x="211" y="96"/>
                  </a:lnTo>
                  <a:close/>
                  <a:moveTo>
                    <a:pt x="410" y="139"/>
                  </a:moveTo>
                  <a:lnTo>
                    <a:pt x="412" y="139"/>
                  </a:lnTo>
                  <a:lnTo>
                    <a:pt x="412" y="141"/>
                  </a:lnTo>
                  <a:lnTo>
                    <a:pt x="410" y="141"/>
                  </a:lnTo>
                  <a:lnTo>
                    <a:pt x="410" y="139"/>
                  </a:lnTo>
                  <a:close/>
                  <a:moveTo>
                    <a:pt x="391" y="194"/>
                  </a:moveTo>
                  <a:lnTo>
                    <a:pt x="393" y="194"/>
                  </a:lnTo>
                  <a:lnTo>
                    <a:pt x="393" y="196"/>
                  </a:lnTo>
                  <a:lnTo>
                    <a:pt x="391" y="196"/>
                  </a:lnTo>
                  <a:lnTo>
                    <a:pt x="391" y="194"/>
                  </a:lnTo>
                  <a:close/>
                  <a:moveTo>
                    <a:pt x="399" y="91"/>
                  </a:moveTo>
                  <a:lnTo>
                    <a:pt x="401" y="91"/>
                  </a:lnTo>
                  <a:lnTo>
                    <a:pt x="401" y="93"/>
                  </a:lnTo>
                  <a:lnTo>
                    <a:pt x="399" y="93"/>
                  </a:lnTo>
                  <a:lnTo>
                    <a:pt x="399" y="91"/>
                  </a:lnTo>
                  <a:close/>
                  <a:moveTo>
                    <a:pt x="389" y="89"/>
                  </a:moveTo>
                  <a:lnTo>
                    <a:pt x="391" y="89"/>
                  </a:lnTo>
                  <a:lnTo>
                    <a:pt x="391" y="91"/>
                  </a:lnTo>
                  <a:lnTo>
                    <a:pt x="389" y="91"/>
                  </a:lnTo>
                  <a:lnTo>
                    <a:pt x="389" y="89"/>
                  </a:lnTo>
                  <a:close/>
                  <a:moveTo>
                    <a:pt x="616" y="114"/>
                  </a:moveTo>
                  <a:lnTo>
                    <a:pt x="618" y="114"/>
                  </a:lnTo>
                  <a:lnTo>
                    <a:pt x="618" y="116"/>
                  </a:lnTo>
                  <a:lnTo>
                    <a:pt x="616" y="116"/>
                  </a:lnTo>
                  <a:lnTo>
                    <a:pt x="616" y="114"/>
                  </a:lnTo>
                  <a:close/>
                  <a:moveTo>
                    <a:pt x="566" y="123"/>
                  </a:moveTo>
                  <a:lnTo>
                    <a:pt x="570" y="123"/>
                  </a:lnTo>
                  <a:lnTo>
                    <a:pt x="566" y="123"/>
                  </a:lnTo>
                  <a:close/>
                  <a:moveTo>
                    <a:pt x="52" y="62"/>
                  </a:moveTo>
                  <a:lnTo>
                    <a:pt x="53" y="62"/>
                  </a:lnTo>
                  <a:lnTo>
                    <a:pt x="53" y="64"/>
                  </a:lnTo>
                  <a:lnTo>
                    <a:pt x="52" y="64"/>
                  </a:lnTo>
                  <a:lnTo>
                    <a:pt x="52" y="62"/>
                  </a:lnTo>
                  <a:close/>
                  <a:moveTo>
                    <a:pt x="535" y="185"/>
                  </a:moveTo>
                  <a:lnTo>
                    <a:pt x="535" y="187"/>
                  </a:lnTo>
                  <a:lnTo>
                    <a:pt x="535" y="185"/>
                  </a:lnTo>
                  <a:close/>
                  <a:moveTo>
                    <a:pt x="612" y="158"/>
                  </a:moveTo>
                  <a:lnTo>
                    <a:pt x="614" y="158"/>
                  </a:lnTo>
                  <a:lnTo>
                    <a:pt x="614" y="160"/>
                  </a:lnTo>
                  <a:lnTo>
                    <a:pt x="612" y="160"/>
                  </a:lnTo>
                  <a:lnTo>
                    <a:pt x="612" y="158"/>
                  </a:lnTo>
                  <a:close/>
                  <a:moveTo>
                    <a:pt x="138" y="85"/>
                  </a:moveTo>
                  <a:lnTo>
                    <a:pt x="140" y="85"/>
                  </a:lnTo>
                  <a:lnTo>
                    <a:pt x="140" y="87"/>
                  </a:lnTo>
                  <a:lnTo>
                    <a:pt x="138" y="87"/>
                  </a:lnTo>
                  <a:lnTo>
                    <a:pt x="138" y="85"/>
                  </a:lnTo>
                  <a:close/>
                  <a:moveTo>
                    <a:pt x="470" y="143"/>
                  </a:moveTo>
                  <a:lnTo>
                    <a:pt x="472" y="143"/>
                  </a:lnTo>
                  <a:lnTo>
                    <a:pt x="472" y="144"/>
                  </a:lnTo>
                  <a:lnTo>
                    <a:pt x="470" y="144"/>
                  </a:lnTo>
                  <a:lnTo>
                    <a:pt x="470" y="143"/>
                  </a:lnTo>
                  <a:close/>
                  <a:moveTo>
                    <a:pt x="474" y="85"/>
                  </a:moveTo>
                  <a:lnTo>
                    <a:pt x="476" y="85"/>
                  </a:lnTo>
                  <a:lnTo>
                    <a:pt x="476" y="89"/>
                  </a:lnTo>
                  <a:lnTo>
                    <a:pt x="474" y="89"/>
                  </a:lnTo>
                  <a:lnTo>
                    <a:pt x="474" y="85"/>
                  </a:lnTo>
                  <a:close/>
                  <a:moveTo>
                    <a:pt x="328" y="93"/>
                  </a:moveTo>
                  <a:lnTo>
                    <a:pt x="330" y="93"/>
                  </a:lnTo>
                  <a:lnTo>
                    <a:pt x="330" y="95"/>
                  </a:lnTo>
                  <a:lnTo>
                    <a:pt x="328" y="95"/>
                  </a:lnTo>
                  <a:lnTo>
                    <a:pt x="328" y="93"/>
                  </a:lnTo>
                  <a:close/>
                  <a:moveTo>
                    <a:pt x="572" y="144"/>
                  </a:moveTo>
                  <a:lnTo>
                    <a:pt x="574" y="144"/>
                  </a:lnTo>
                  <a:lnTo>
                    <a:pt x="574" y="146"/>
                  </a:lnTo>
                  <a:lnTo>
                    <a:pt x="572" y="146"/>
                  </a:lnTo>
                  <a:lnTo>
                    <a:pt x="572" y="144"/>
                  </a:lnTo>
                  <a:close/>
                  <a:moveTo>
                    <a:pt x="414" y="112"/>
                  </a:moveTo>
                  <a:lnTo>
                    <a:pt x="416" y="112"/>
                  </a:lnTo>
                  <a:lnTo>
                    <a:pt x="416" y="114"/>
                  </a:lnTo>
                  <a:lnTo>
                    <a:pt x="414" y="114"/>
                  </a:lnTo>
                  <a:lnTo>
                    <a:pt x="414" y="112"/>
                  </a:lnTo>
                  <a:close/>
                  <a:moveTo>
                    <a:pt x="531" y="144"/>
                  </a:moveTo>
                  <a:lnTo>
                    <a:pt x="533" y="144"/>
                  </a:lnTo>
                  <a:lnTo>
                    <a:pt x="533" y="146"/>
                  </a:lnTo>
                  <a:lnTo>
                    <a:pt x="531" y="146"/>
                  </a:lnTo>
                  <a:lnTo>
                    <a:pt x="531" y="144"/>
                  </a:lnTo>
                  <a:close/>
                  <a:moveTo>
                    <a:pt x="332" y="56"/>
                  </a:moveTo>
                  <a:lnTo>
                    <a:pt x="334" y="56"/>
                  </a:lnTo>
                  <a:lnTo>
                    <a:pt x="332" y="56"/>
                  </a:lnTo>
                  <a:close/>
                  <a:moveTo>
                    <a:pt x="472" y="108"/>
                  </a:moveTo>
                  <a:lnTo>
                    <a:pt x="474" y="108"/>
                  </a:lnTo>
                  <a:lnTo>
                    <a:pt x="472" y="108"/>
                  </a:lnTo>
                  <a:close/>
                  <a:moveTo>
                    <a:pt x="382" y="194"/>
                  </a:moveTo>
                  <a:lnTo>
                    <a:pt x="384" y="194"/>
                  </a:lnTo>
                  <a:lnTo>
                    <a:pt x="384" y="196"/>
                  </a:lnTo>
                  <a:lnTo>
                    <a:pt x="382" y="196"/>
                  </a:lnTo>
                  <a:lnTo>
                    <a:pt x="382" y="194"/>
                  </a:lnTo>
                  <a:close/>
                  <a:moveTo>
                    <a:pt x="420" y="168"/>
                  </a:moveTo>
                  <a:lnTo>
                    <a:pt x="422" y="168"/>
                  </a:lnTo>
                  <a:lnTo>
                    <a:pt x="422" y="169"/>
                  </a:lnTo>
                  <a:lnTo>
                    <a:pt x="420" y="169"/>
                  </a:lnTo>
                  <a:lnTo>
                    <a:pt x="420" y="168"/>
                  </a:lnTo>
                  <a:close/>
                  <a:moveTo>
                    <a:pt x="332" y="31"/>
                  </a:moveTo>
                  <a:lnTo>
                    <a:pt x="334" y="31"/>
                  </a:lnTo>
                  <a:lnTo>
                    <a:pt x="332" y="31"/>
                  </a:lnTo>
                  <a:close/>
                  <a:moveTo>
                    <a:pt x="334" y="56"/>
                  </a:moveTo>
                  <a:lnTo>
                    <a:pt x="336" y="56"/>
                  </a:lnTo>
                  <a:lnTo>
                    <a:pt x="334" y="56"/>
                  </a:lnTo>
                  <a:close/>
                  <a:moveTo>
                    <a:pt x="510" y="93"/>
                  </a:moveTo>
                  <a:lnTo>
                    <a:pt x="512" y="93"/>
                  </a:lnTo>
                  <a:lnTo>
                    <a:pt x="512" y="95"/>
                  </a:lnTo>
                  <a:lnTo>
                    <a:pt x="510" y="95"/>
                  </a:lnTo>
                  <a:lnTo>
                    <a:pt x="510" y="93"/>
                  </a:lnTo>
                  <a:close/>
                  <a:moveTo>
                    <a:pt x="568" y="121"/>
                  </a:moveTo>
                  <a:lnTo>
                    <a:pt x="570" y="121"/>
                  </a:lnTo>
                  <a:lnTo>
                    <a:pt x="570" y="123"/>
                  </a:lnTo>
                  <a:lnTo>
                    <a:pt x="568" y="123"/>
                  </a:lnTo>
                  <a:lnTo>
                    <a:pt x="568" y="121"/>
                  </a:lnTo>
                  <a:close/>
                  <a:moveTo>
                    <a:pt x="0" y="2"/>
                  </a:moveTo>
                  <a:lnTo>
                    <a:pt x="2" y="2"/>
                  </a:lnTo>
                  <a:lnTo>
                    <a:pt x="2" y="4"/>
                  </a:lnTo>
                  <a:lnTo>
                    <a:pt x="0" y="4"/>
                  </a:lnTo>
                  <a:lnTo>
                    <a:pt x="0" y="2"/>
                  </a:lnTo>
                  <a:close/>
                  <a:moveTo>
                    <a:pt x="485" y="52"/>
                  </a:moveTo>
                  <a:lnTo>
                    <a:pt x="485" y="54"/>
                  </a:lnTo>
                  <a:lnTo>
                    <a:pt x="485" y="52"/>
                  </a:lnTo>
                  <a:close/>
                  <a:moveTo>
                    <a:pt x="205" y="50"/>
                  </a:moveTo>
                  <a:lnTo>
                    <a:pt x="207" y="50"/>
                  </a:lnTo>
                  <a:lnTo>
                    <a:pt x="205" y="50"/>
                  </a:lnTo>
                  <a:close/>
                  <a:moveTo>
                    <a:pt x="487" y="100"/>
                  </a:moveTo>
                  <a:lnTo>
                    <a:pt x="489" y="100"/>
                  </a:lnTo>
                  <a:lnTo>
                    <a:pt x="489" y="102"/>
                  </a:lnTo>
                  <a:lnTo>
                    <a:pt x="487" y="102"/>
                  </a:lnTo>
                  <a:lnTo>
                    <a:pt x="487" y="100"/>
                  </a:lnTo>
                  <a:close/>
                  <a:moveTo>
                    <a:pt x="30" y="56"/>
                  </a:moveTo>
                  <a:lnTo>
                    <a:pt x="32" y="56"/>
                  </a:lnTo>
                  <a:lnTo>
                    <a:pt x="32" y="58"/>
                  </a:lnTo>
                  <a:lnTo>
                    <a:pt x="30" y="58"/>
                  </a:lnTo>
                  <a:lnTo>
                    <a:pt x="30" y="56"/>
                  </a:lnTo>
                  <a:close/>
                  <a:moveTo>
                    <a:pt x="441" y="64"/>
                  </a:moveTo>
                  <a:lnTo>
                    <a:pt x="443" y="64"/>
                  </a:lnTo>
                  <a:lnTo>
                    <a:pt x="443" y="68"/>
                  </a:lnTo>
                  <a:lnTo>
                    <a:pt x="441" y="68"/>
                  </a:lnTo>
                  <a:lnTo>
                    <a:pt x="441" y="64"/>
                  </a:lnTo>
                  <a:close/>
                  <a:moveTo>
                    <a:pt x="207" y="89"/>
                  </a:moveTo>
                  <a:lnTo>
                    <a:pt x="207" y="91"/>
                  </a:lnTo>
                  <a:lnTo>
                    <a:pt x="207" y="89"/>
                  </a:lnTo>
                  <a:close/>
                  <a:moveTo>
                    <a:pt x="577" y="121"/>
                  </a:moveTo>
                  <a:lnTo>
                    <a:pt x="579" y="121"/>
                  </a:lnTo>
                  <a:lnTo>
                    <a:pt x="579" y="123"/>
                  </a:lnTo>
                  <a:lnTo>
                    <a:pt x="577" y="123"/>
                  </a:lnTo>
                  <a:lnTo>
                    <a:pt x="577" y="121"/>
                  </a:lnTo>
                  <a:close/>
                  <a:moveTo>
                    <a:pt x="581" y="171"/>
                  </a:moveTo>
                  <a:lnTo>
                    <a:pt x="581" y="173"/>
                  </a:lnTo>
                  <a:lnTo>
                    <a:pt x="581" y="171"/>
                  </a:lnTo>
                  <a:close/>
                  <a:moveTo>
                    <a:pt x="445" y="52"/>
                  </a:moveTo>
                  <a:lnTo>
                    <a:pt x="447" y="52"/>
                  </a:lnTo>
                  <a:lnTo>
                    <a:pt x="447" y="54"/>
                  </a:lnTo>
                  <a:lnTo>
                    <a:pt x="445" y="54"/>
                  </a:lnTo>
                  <a:lnTo>
                    <a:pt x="445" y="52"/>
                  </a:lnTo>
                  <a:close/>
                  <a:moveTo>
                    <a:pt x="123" y="75"/>
                  </a:moveTo>
                  <a:lnTo>
                    <a:pt x="124" y="75"/>
                  </a:lnTo>
                  <a:lnTo>
                    <a:pt x="123" y="75"/>
                  </a:lnTo>
                  <a:close/>
                  <a:moveTo>
                    <a:pt x="403" y="169"/>
                  </a:moveTo>
                  <a:lnTo>
                    <a:pt x="403" y="171"/>
                  </a:lnTo>
                  <a:lnTo>
                    <a:pt x="403" y="169"/>
                  </a:lnTo>
                  <a:close/>
                  <a:moveTo>
                    <a:pt x="326" y="96"/>
                  </a:moveTo>
                  <a:lnTo>
                    <a:pt x="328" y="96"/>
                  </a:lnTo>
                  <a:lnTo>
                    <a:pt x="328" y="100"/>
                  </a:lnTo>
                  <a:lnTo>
                    <a:pt x="326" y="100"/>
                  </a:lnTo>
                  <a:lnTo>
                    <a:pt x="326" y="96"/>
                  </a:lnTo>
                  <a:close/>
                  <a:moveTo>
                    <a:pt x="531" y="146"/>
                  </a:moveTo>
                  <a:lnTo>
                    <a:pt x="533" y="146"/>
                  </a:lnTo>
                  <a:lnTo>
                    <a:pt x="533" y="148"/>
                  </a:lnTo>
                  <a:lnTo>
                    <a:pt x="531" y="148"/>
                  </a:lnTo>
                  <a:lnTo>
                    <a:pt x="531" y="146"/>
                  </a:lnTo>
                  <a:close/>
                  <a:moveTo>
                    <a:pt x="278" y="191"/>
                  </a:moveTo>
                  <a:lnTo>
                    <a:pt x="280" y="191"/>
                  </a:lnTo>
                  <a:lnTo>
                    <a:pt x="280" y="193"/>
                  </a:lnTo>
                  <a:lnTo>
                    <a:pt x="278" y="193"/>
                  </a:lnTo>
                  <a:lnTo>
                    <a:pt x="278" y="191"/>
                  </a:lnTo>
                  <a:close/>
                  <a:moveTo>
                    <a:pt x="220" y="127"/>
                  </a:moveTo>
                  <a:lnTo>
                    <a:pt x="222" y="127"/>
                  </a:lnTo>
                  <a:lnTo>
                    <a:pt x="220" y="127"/>
                  </a:lnTo>
                  <a:close/>
                  <a:moveTo>
                    <a:pt x="326" y="98"/>
                  </a:moveTo>
                  <a:lnTo>
                    <a:pt x="328" y="98"/>
                  </a:lnTo>
                  <a:lnTo>
                    <a:pt x="328" y="100"/>
                  </a:lnTo>
                  <a:lnTo>
                    <a:pt x="326" y="100"/>
                  </a:lnTo>
                  <a:lnTo>
                    <a:pt x="326" y="98"/>
                  </a:lnTo>
                  <a:close/>
                  <a:moveTo>
                    <a:pt x="574" y="171"/>
                  </a:moveTo>
                  <a:lnTo>
                    <a:pt x="574" y="173"/>
                  </a:lnTo>
                  <a:lnTo>
                    <a:pt x="574" y="171"/>
                  </a:lnTo>
                  <a:close/>
                  <a:moveTo>
                    <a:pt x="176" y="129"/>
                  </a:moveTo>
                  <a:lnTo>
                    <a:pt x="178" y="129"/>
                  </a:lnTo>
                  <a:lnTo>
                    <a:pt x="178" y="131"/>
                  </a:lnTo>
                  <a:lnTo>
                    <a:pt x="176" y="131"/>
                  </a:lnTo>
                  <a:lnTo>
                    <a:pt x="176" y="129"/>
                  </a:lnTo>
                  <a:close/>
                  <a:moveTo>
                    <a:pt x="551" y="137"/>
                  </a:moveTo>
                  <a:lnTo>
                    <a:pt x="552" y="137"/>
                  </a:lnTo>
                  <a:lnTo>
                    <a:pt x="552" y="139"/>
                  </a:lnTo>
                  <a:lnTo>
                    <a:pt x="551" y="139"/>
                  </a:lnTo>
                  <a:lnTo>
                    <a:pt x="551" y="137"/>
                  </a:lnTo>
                  <a:close/>
                  <a:moveTo>
                    <a:pt x="577" y="166"/>
                  </a:moveTo>
                  <a:lnTo>
                    <a:pt x="579" y="166"/>
                  </a:lnTo>
                  <a:lnTo>
                    <a:pt x="579" y="168"/>
                  </a:lnTo>
                  <a:lnTo>
                    <a:pt x="577" y="168"/>
                  </a:lnTo>
                  <a:lnTo>
                    <a:pt x="577" y="166"/>
                  </a:lnTo>
                  <a:close/>
                  <a:moveTo>
                    <a:pt x="514" y="87"/>
                  </a:moveTo>
                  <a:lnTo>
                    <a:pt x="514" y="89"/>
                  </a:lnTo>
                  <a:lnTo>
                    <a:pt x="514" y="87"/>
                  </a:lnTo>
                  <a:close/>
                  <a:moveTo>
                    <a:pt x="301" y="189"/>
                  </a:moveTo>
                  <a:lnTo>
                    <a:pt x="303" y="189"/>
                  </a:lnTo>
                  <a:lnTo>
                    <a:pt x="303" y="191"/>
                  </a:lnTo>
                  <a:lnTo>
                    <a:pt x="301" y="191"/>
                  </a:lnTo>
                  <a:lnTo>
                    <a:pt x="301" y="189"/>
                  </a:lnTo>
                  <a:close/>
                  <a:moveTo>
                    <a:pt x="330" y="35"/>
                  </a:moveTo>
                  <a:lnTo>
                    <a:pt x="332" y="35"/>
                  </a:lnTo>
                  <a:lnTo>
                    <a:pt x="330" y="35"/>
                  </a:lnTo>
                  <a:close/>
                  <a:moveTo>
                    <a:pt x="510" y="206"/>
                  </a:moveTo>
                  <a:lnTo>
                    <a:pt x="512" y="206"/>
                  </a:lnTo>
                  <a:lnTo>
                    <a:pt x="512" y="208"/>
                  </a:lnTo>
                  <a:lnTo>
                    <a:pt x="510" y="208"/>
                  </a:lnTo>
                  <a:lnTo>
                    <a:pt x="510" y="206"/>
                  </a:lnTo>
                  <a:close/>
                  <a:moveTo>
                    <a:pt x="25" y="56"/>
                  </a:moveTo>
                  <a:lnTo>
                    <a:pt x="25" y="58"/>
                  </a:lnTo>
                  <a:lnTo>
                    <a:pt x="25" y="56"/>
                  </a:lnTo>
                  <a:close/>
                  <a:moveTo>
                    <a:pt x="123" y="73"/>
                  </a:moveTo>
                  <a:lnTo>
                    <a:pt x="124" y="73"/>
                  </a:lnTo>
                  <a:lnTo>
                    <a:pt x="124" y="75"/>
                  </a:lnTo>
                  <a:lnTo>
                    <a:pt x="123" y="75"/>
                  </a:lnTo>
                  <a:lnTo>
                    <a:pt x="123" y="73"/>
                  </a:lnTo>
                  <a:close/>
                  <a:moveTo>
                    <a:pt x="441" y="60"/>
                  </a:moveTo>
                  <a:lnTo>
                    <a:pt x="441" y="62"/>
                  </a:lnTo>
                  <a:lnTo>
                    <a:pt x="441" y="60"/>
                  </a:lnTo>
                  <a:close/>
                  <a:moveTo>
                    <a:pt x="505" y="202"/>
                  </a:moveTo>
                  <a:lnTo>
                    <a:pt x="506" y="202"/>
                  </a:lnTo>
                  <a:lnTo>
                    <a:pt x="506" y="204"/>
                  </a:lnTo>
                  <a:lnTo>
                    <a:pt x="505" y="204"/>
                  </a:lnTo>
                  <a:lnTo>
                    <a:pt x="505" y="202"/>
                  </a:lnTo>
                  <a:close/>
                  <a:moveTo>
                    <a:pt x="574" y="169"/>
                  </a:moveTo>
                  <a:lnTo>
                    <a:pt x="576" y="169"/>
                  </a:lnTo>
                  <a:lnTo>
                    <a:pt x="574" y="169"/>
                  </a:lnTo>
                  <a:close/>
                  <a:moveTo>
                    <a:pt x="136" y="81"/>
                  </a:moveTo>
                  <a:lnTo>
                    <a:pt x="138" y="81"/>
                  </a:lnTo>
                  <a:lnTo>
                    <a:pt x="138" y="83"/>
                  </a:lnTo>
                  <a:lnTo>
                    <a:pt x="136" y="83"/>
                  </a:lnTo>
                  <a:lnTo>
                    <a:pt x="136" y="81"/>
                  </a:lnTo>
                  <a:close/>
                  <a:moveTo>
                    <a:pt x="401" y="137"/>
                  </a:moveTo>
                  <a:lnTo>
                    <a:pt x="403" y="137"/>
                  </a:lnTo>
                  <a:lnTo>
                    <a:pt x="403" y="139"/>
                  </a:lnTo>
                  <a:lnTo>
                    <a:pt x="401" y="139"/>
                  </a:lnTo>
                  <a:lnTo>
                    <a:pt x="401" y="137"/>
                  </a:lnTo>
                  <a:close/>
                  <a:moveTo>
                    <a:pt x="528" y="102"/>
                  </a:moveTo>
                  <a:lnTo>
                    <a:pt x="529" y="102"/>
                  </a:lnTo>
                  <a:lnTo>
                    <a:pt x="529" y="104"/>
                  </a:lnTo>
                  <a:lnTo>
                    <a:pt x="528" y="104"/>
                  </a:lnTo>
                  <a:lnTo>
                    <a:pt x="528" y="102"/>
                  </a:lnTo>
                  <a:close/>
                  <a:moveTo>
                    <a:pt x="397" y="91"/>
                  </a:moveTo>
                  <a:lnTo>
                    <a:pt x="399" y="91"/>
                  </a:lnTo>
                  <a:lnTo>
                    <a:pt x="399" y="93"/>
                  </a:lnTo>
                  <a:lnTo>
                    <a:pt x="397" y="93"/>
                  </a:lnTo>
                  <a:lnTo>
                    <a:pt x="397" y="91"/>
                  </a:lnTo>
                  <a:close/>
                  <a:moveTo>
                    <a:pt x="138" y="91"/>
                  </a:moveTo>
                  <a:lnTo>
                    <a:pt x="140" y="91"/>
                  </a:lnTo>
                  <a:lnTo>
                    <a:pt x="140" y="93"/>
                  </a:lnTo>
                  <a:lnTo>
                    <a:pt x="138" y="93"/>
                  </a:lnTo>
                  <a:lnTo>
                    <a:pt x="138" y="91"/>
                  </a:lnTo>
                  <a:close/>
                  <a:moveTo>
                    <a:pt x="414" y="104"/>
                  </a:moveTo>
                  <a:lnTo>
                    <a:pt x="414" y="106"/>
                  </a:lnTo>
                  <a:lnTo>
                    <a:pt x="414" y="104"/>
                  </a:lnTo>
                  <a:close/>
                  <a:moveTo>
                    <a:pt x="410" y="158"/>
                  </a:moveTo>
                  <a:lnTo>
                    <a:pt x="412" y="158"/>
                  </a:lnTo>
                  <a:lnTo>
                    <a:pt x="410" y="158"/>
                  </a:lnTo>
                  <a:close/>
                  <a:moveTo>
                    <a:pt x="355" y="168"/>
                  </a:moveTo>
                  <a:lnTo>
                    <a:pt x="357" y="168"/>
                  </a:lnTo>
                  <a:lnTo>
                    <a:pt x="357" y="169"/>
                  </a:lnTo>
                  <a:lnTo>
                    <a:pt x="355" y="169"/>
                  </a:lnTo>
                  <a:lnTo>
                    <a:pt x="355" y="168"/>
                  </a:lnTo>
                  <a:close/>
                  <a:moveTo>
                    <a:pt x="487" y="112"/>
                  </a:moveTo>
                  <a:lnTo>
                    <a:pt x="489" y="112"/>
                  </a:lnTo>
                  <a:lnTo>
                    <a:pt x="487" y="112"/>
                  </a:lnTo>
                  <a:close/>
                  <a:moveTo>
                    <a:pt x="328" y="37"/>
                  </a:moveTo>
                  <a:lnTo>
                    <a:pt x="330" y="37"/>
                  </a:lnTo>
                  <a:lnTo>
                    <a:pt x="330" y="39"/>
                  </a:lnTo>
                  <a:lnTo>
                    <a:pt x="328" y="39"/>
                  </a:lnTo>
                  <a:lnTo>
                    <a:pt x="328" y="37"/>
                  </a:lnTo>
                  <a:close/>
                  <a:moveTo>
                    <a:pt x="430" y="116"/>
                  </a:moveTo>
                  <a:lnTo>
                    <a:pt x="430" y="118"/>
                  </a:lnTo>
                  <a:lnTo>
                    <a:pt x="430" y="116"/>
                  </a:lnTo>
                  <a:close/>
                  <a:moveTo>
                    <a:pt x="86" y="56"/>
                  </a:moveTo>
                  <a:lnTo>
                    <a:pt x="86" y="58"/>
                  </a:lnTo>
                  <a:lnTo>
                    <a:pt x="86" y="56"/>
                  </a:lnTo>
                  <a:close/>
                  <a:moveTo>
                    <a:pt x="570" y="143"/>
                  </a:moveTo>
                  <a:lnTo>
                    <a:pt x="570" y="144"/>
                  </a:lnTo>
                  <a:lnTo>
                    <a:pt x="570" y="143"/>
                  </a:lnTo>
                  <a:close/>
                  <a:moveTo>
                    <a:pt x="163" y="37"/>
                  </a:moveTo>
                  <a:lnTo>
                    <a:pt x="165" y="37"/>
                  </a:lnTo>
                  <a:lnTo>
                    <a:pt x="165" y="39"/>
                  </a:lnTo>
                  <a:lnTo>
                    <a:pt x="163" y="39"/>
                  </a:lnTo>
                  <a:lnTo>
                    <a:pt x="163" y="37"/>
                  </a:lnTo>
                  <a:close/>
                  <a:moveTo>
                    <a:pt x="334" y="56"/>
                  </a:moveTo>
                  <a:lnTo>
                    <a:pt x="336" y="56"/>
                  </a:lnTo>
                  <a:lnTo>
                    <a:pt x="334" y="56"/>
                  </a:lnTo>
                  <a:close/>
                  <a:moveTo>
                    <a:pt x="387" y="244"/>
                  </a:moveTo>
                  <a:lnTo>
                    <a:pt x="389" y="244"/>
                  </a:lnTo>
                  <a:lnTo>
                    <a:pt x="387" y="244"/>
                  </a:lnTo>
                  <a:close/>
                  <a:moveTo>
                    <a:pt x="332" y="47"/>
                  </a:moveTo>
                  <a:lnTo>
                    <a:pt x="334" y="47"/>
                  </a:lnTo>
                  <a:lnTo>
                    <a:pt x="332" y="47"/>
                  </a:lnTo>
                  <a:close/>
                  <a:moveTo>
                    <a:pt x="581" y="183"/>
                  </a:moveTo>
                  <a:lnTo>
                    <a:pt x="583" y="183"/>
                  </a:lnTo>
                  <a:lnTo>
                    <a:pt x="581" y="183"/>
                  </a:lnTo>
                  <a:close/>
                  <a:moveTo>
                    <a:pt x="326" y="35"/>
                  </a:moveTo>
                  <a:lnTo>
                    <a:pt x="330" y="35"/>
                  </a:lnTo>
                  <a:lnTo>
                    <a:pt x="326" y="35"/>
                  </a:lnTo>
                  <a:close/>
                  <a:moveTo>
                    <a:pt x="541" y="166"/>
                  </a:moveTo>
                  <a:lnTo>
                    <a:pt x="543" y="166"/>
                  </a:lnTo>
                  <a:lnTo>
                    <a:pt x="541" y="166"/>
                  </a:lnTo>
                  <a:close/>
                  <a:moveTo>
                    <a:pt x="618" y="114"/>
                  </a:moveTo>
                  <a:lnTo>
                    <a:pt x="618" y="116"/>
                  </a:lnTo>
                  <a:lnTo>
                    <a:pt x="618" y="114"/>
                  </a:lnTo>
                  <a:close/>
                  <a:moveTo>
                    <a:pt x="226" y="171"/>
                  </a:moveTo>
                  <a:lnTo>
                    <a:pt x="226" y="173"/>
                  </a:lnTo>
                  <a:lnTo>
                    <a:pt x="226" y="171"/>
                  </a:lnTo>
                  <a:close/>
                  <a:moveTo>
                    <a:pt x="190" y="18"/>
                  </a:moveTo>
                  <a:lnTo>
                    <a:pt x="190" y="20"/>
                  </a:lnTo>
                  <a:lnTo>
                    <a:pt x="190" y="18"/>
                  </a:lnTo>
                  <a:close/>
                  <a:moveTo>
                    <a:pt x="480" y="54"/>
                  </a:moveTo>
                  <a:lnTo>
                    <a:pt x="481" y="54"/>
                  </a:lnTo>
                  <a:lnTo>
                    <a:pt x="480" y="54"/>
                  </a:lnTo>
                  <a:close/>
                  <a:moveTo>
                    <a:pt x="328" y="93"/>
                  </a:moveTo>
                  <a:lnTo>
                    <a:pt x="330" y="93"/>
                  </a:lnTo>
                  <a:lnTo>
                    <a:pt x="330" y="95"/>
                  </a:lnTo>
                  <a:lnTo>
                    <a:pt x="328" y="95"/>
                  </a:lnTo>
                  <a:lnTo>
                    <a:pt x="328" y="93"/>
                  </a:lnTo>
                  <a:close/>
                  <a:moveTo>
                    <a:pt x="529" y="194"/>
                  </a:moveTo>
                  <a:lnTo>
                    <a:pt x="531" y="194"/>
                  </a:lnTo>
                  <a:lnTo>
                    <a:pt x="531" y="196"/>
                  </a:lnTo>
                  <a:lnTo>
                    <a:pt x="529" y="196"/>
                  </a:lnTo>
                  <a:lnTo>
                    <a:pt x="529" y="194"/>
                  </a:lnTo>
                  <a:close/>
                  <a:moveTo>
                    <a:pt x="286" y="193"/>
                  </a:moveTo>
                  <a:lnTo>
                    <a:pt x="288" y="193"/>
                  </a:lnTo>
                  <a:lnTo>
                    <a:pt x="286" y="193"/>
                  </a:lnTo>
                  <a:close/>
                  <a:moveTo>
                    <a:pt x="570" y="120"/>
                  </a:moveTo>
                  <a:lnTo>
                    <a:pt x="570" y="121"/>
                  </a:lnTo>
                  <a:lnTo>
                    <a:pt x="570" y="120"/>
                  </a:lnTo>
                  <a:close/>
                  <a:moveTo>
                    <a:pt x="458" y="114"/>
                  </a:moveTo>
                  <a:lnTo>
                    <a:pt x="460" y="114"/>
                  </a:lnTo>
                  <a:lnTo>
                    <a:pt x="458" y="114"/>
                  </a:lnTo>
                  <a:close/>
                  <a:moveTo>
                    <a:pt x="211" y="96"/>
                  </a:moveTo>
                  <a:lnTo>
                    <a:pt x="213" y="96"/>
                  </a:lnTo>
                  <a:lnTo>
                    <a:pt x="213" y="98"/>
                  </a:lnTo>
                  <a:lnTo>
                    <a:pt x="211" y="98"/>
                  </a:lnTo>
                  <a:lnTo>
                    <a:pt x="211" y="96"/>
                  </a:lnTo>
                  <a:close/>
                  <a:moveTo>
                    <a:pt x="115" y="83"/>
                  </a:moveTo>
                  <a:lnTo>
                    <a:pt x="117" y="83"/>
                  </a:lnTo>
                  <a:lnTo>
                    <a:pt x="115" y="83"/>
                  </a:lnTo>
                  <a:close/>
                  <a:moveTo>
                    <a:pt x="399" y="139"/>
                  </a:moveTo>
                  <a:lnTo>
                    <a:pt x="401" y="139"/>
                  </a:lnTo>
                  <a:lnTo>
                    <a:pt x="401" y="141"/>
                  </a:lnTo>
                  <a:lnTo>
                    <a:pt x="399" y="141"/>
                  </a:lnTo>
                  <a:lnTo>
                    <a:pt x="399" y="139"/>
                  </a:lnTo>
                  <a:close/>
                  <a:moveTo>
                    <a:pt x="144" y="171"/>
                  </a:moveTo>
                  <a:lnTo>
                    <a:pt x="144" y="173"/>
                  </a:lnTo>
                  <a:lnTo>
                    <a:pt x="144" y="171"/>
                  </a:lnTo>
                  <a:close/>
                  <a:moveTo>
                    <a:pt x="386" y="146"/>
                  </a:moveTo>
                  <a:lnTo>
                    <a:pt x="387" y="146"/>
                  </a:lnTo>
                  <a:lnTo>
                    <a:pt x="387" y="148"/>
                  </a:lnTo>
                  <a:lnTo>
                    <a:pt x="386" y="148"/>
                  </a:lnTo>
                  <a:lnTo>
                    <a:pt x="386" y="146"/>
                  </a:lnTo>
                  <a:close/>
                  <a:moveTo>
                    <a:pt x="136" y="77"/>
                  </a:moveTo>
                  <a:lnTo>
                    <a:pt x="136" y="79"/>
                  </a:lnTo>
                  <a:lnTo>
                    <a:pt x="136" y="77"/>
                  </a:lnTo>
                  <a:close/>
                  <a:moveTo>
                    <a:pt x="184" y="72"/>
                  </a:moveTo>
                  <a:lnTo>
                    <a:pt x="184" y="73"/>
                  </a:lnTo>
                  <a:lnTo>
                    <a:pt x="184" y="72"/>
                  </a:lnTo>
                  <a:close/>
                  <a:moveTo>
                    <a:pt x="506" y="87"/>
                  </a:moveTo>
                  <a:lnTo>
                    <a:pt x="506" y="89"/>
                  </a:lnTo>
                  <a:lnTo>
                    <a:pt x="506" y="87"/>
                  </a:lnTo>
                  <a:close/>
                  <a:moveTo>
                    <a:pt x="332" y="212"/>
                  </a:moveTo>
                  <a:lnTo>
                    <a:pt x="334" y="212"/>
                  </a:lnTo>
                  <a:lnTo>
                    <a:pt x="334" y="214"/>
                  </a:lnTo>
                  <a:lnTo>
                    <a:pt x="332" y="214"/>
                  </a:lnTo>
                  <a:lnTo>
                    <a:pt x="332" y="212"/>
                  </a:lnTo>
                  <a:close/>
                  <a:moveTo>
                    <a:pt x="535" y="152"/>
                  </a:moveTo>
                  <a:lnTo>
                    <a:pt x="537" y="152"/>
                  </a:lnTo>
                  <a:lnTo>
                    <a:pt x="537" y="154"/>
                  </a:lnTo>
                  <a:lnTo>
                    <a:pt x="535" y="154"/>
                  </a:lnTo>
                  <a:lnTo>
                    <a:pt x="535" y="152"/>
                  </a:lnTo>
                  <a:close/>
                  <a:moveTo>
                    <a:pt x="119" y="75"/>
                  </a:moveTo>
                  <a:lnTo>
                    <a:pt x="119" y="77"/>
                  </a:lnTo>
                  <a:lnTo>
                    <a:pt x="119" y="75"/>
                  </a:lnTo>
                  <a:close/>
                  <a:moveTo>
                    <a:pt x="343" y="66"/>
                  </a:moveTo>
                  <a:lnTo>
                    <a:pt x="345" y="66"/>
                  </a:lnTo>
                  <a:lnTo>
                    <a:pt x="345" y="68"/>
                  </a:lnTo>
                  <a:lnTo>
                    <a:pt x="343" y="68"/>
                  </a:lnTo>
                  <a:lnTo>
                    <a:pt x="343" y="66"/>
                  </a:lnTo>
                  <a:close/>
                  <a:moveTo>
                    <a:pt x="119" y="77"/>
                  </a:moveTo>
                  <a:lnTo>
                    <a:pt x="119" y="79"/>
                  </a:lnTo>
                  <a:lnTo>
                    <a:pt x="119" y="77"/>
                  </a:lnTo>
                  <a:close/>
                  <a:moveTo>
                    <a:pt x="222" y="129"/>
                  </a:moveTo>
                  <a:lnTo>
                    <a:pt x="222" y="131"/>
                  </a:lnTo>
                  <a:lnTo>
                    <a:pt x="222" y="129"/>
                  </a:lnTo>
                  <a:close/>
                  <a:moveTo>
                    <a:pt x="144" y="72"/>
                  </a:moveTo>
                  <a:lnTo>
                    <a:pt x="144" y="73"/>
                  </a:lnTo>
                  <a:lnTo>
                    <a:pt x="144" y="72"/>
                  </a:lnTo>
                  <a:close/>
                  <a:moveTo>
                    <a:pt x="2" y="4"/>
                  </a:moveTo>
                  <a:lnTo>
                    <a:pt x="4" y="4"/>
                  </a:lnTo>
                  <a:lnTo>
                    <a:pt x="4" y="6"/>
                  </a:lnTo>
                  <a:lnTo>
                    <a:pt x="2" y="6"/>
                  </a:lnTo>
                  <a:lnTo>
                    <a:pt x="2" y="4"/>
                  </a:lnTo>
                  <a:close/>
                  <a:moveTo>
                    <a:pt x="474" y="104"/>
                  </a:moveTo>
                  <a:lnTo>
                    <a:pt x="476" y="104"/>
                  </a:lnTo>
                  <a:lnTo>
                    <a:pt x="476" y="106"/>
                  </a:lnTo>
                  <a:lnTo>
                    <a:pt x="474" y="106"/>
                  </a:lnTo>
                  <a:lnTo>
                    <a:pt x="474" y="104"/>
                  </a:lnTo>
                  <a:close/>
                  <a:moveTo>
                    <a:pt x="576" y="146"/>
                  </a:moveTo>
                  <a:lnTo>
                    <a:pt x="577" y="146"/>
                  </a:lnTo>
                  <a:lnTo>
                    <a:pt x="576" y="146"/>
                  </a:lnTo>
                  <a:close/>
                  <a:moveTo>
                    <a:pt x="165" y="47"/>
                  </a:moveTo>
                  <a:lnTo>
                    <a:pt x="165" y="48"/>
                  </a:lnTo>
                  <a:lnTo>
                    <a:pt x="165" y="47"/>
                  </a:lnTo>
                  <a:close/>
                  <a:moveTo>
                    <a:pt x="495" y="141"/>
                  </a:moveTo>
                  <a:lnTo>
                    <a:pt x="495" y="143"/>
                  </a:lnTo>
                  <a:lnTo>
                    <a:pt x="495" y="141"/>
                  </a:lnTo>
                  <a:close/>
                  <a:moveTo>
                    <a:pt x="547" y="168"/>
                  </a:moveTo>
                  <a:lnTo>
                    <a:pt x="547" y="169"/>
                  </a:lnTo>
                  <a:lnTo>
                    <a:pt x="547" y="168"/>
                  </a:lnTo>
                  <a:close/>
                  <a:moveTo>
                    <a:pt x="128" y="72"/>
                  </a:moveTo>
                  <a:lnTo>
                    <a:pt x="128" y="73"/>
                  </a:lnTo>
                  <a:lnTo>
                    <a:pt x="128" y="72"/>
                  </a:lnTo>
                  <a:close/>
                  <a:moveTo>
                    <a:pt x="355" y="212"/>
                  </a:moveTo>
                  <a:lnTo>
                    <a:pt x="357" y="212"/>
                  </a:lnTo>
                  <a:lnTo>
                    <a:pt x="355" y="212"/>
                  </a:lnTo>
                  <a:close/>
                  <a:moveTo>
                    <a:pt x="328" y="98"/>
                  </a:moveTo>
                  <a:lnTo>
                    <a:pt x="330" y="98"/>
                  </a:lnTo>
                  <a:lnTo>
                    <a:pt x="328" y="98"/>
                  </a:lnTo>
                  <a:close/>
                  <a:moveTo>
                    <a:pt x="566" y="120"/>
                  </a:moveTo>
                  <a:lnTo>
                    <a:pt x="568" y="120"/>
                  </a:lnTo>
                  <a:lnTo>
                    <a:pt x="566" y="120"/>
                  </a:lnTo>
                  <a:close/>
                  <a:moveTo>
                    <a:pt x="487" y="102"/>
                  </a:moveTo>
                  <a:lnTo>
                    <a:pt x="489" y="102"/>
                  </a:lnTo>
                  <a:lnTo>
                    <a:pt x="489" y="104"/>
                  </a:lnTo>
                  <a:lnTo>
                    <a:pt x="487" y="104"/>
                  </a:lnTo>
                  <a:lnTo>
                    <a:pt x="487" y="102"/>
                  </a:lnTo>
                  <a:close/>
                  <a:moveTo>
                    <a:pt x="124" y="77"/>
                  </a:moveTo>
                  <a:lnTo>
                    <a:pt x="124" y="79"/>
                  </a:lnTo>
                  <a:lnTo>
                    <a:pt x="124" y="77"/>
                  </a:lnTo>
                  <a:close/>
                  <a:moveTo>
                    <a:pt x="186" y="43"/>
                  </a:moveTo>
                  <a:lnTo>
                    <a:pt x="188" y="43"/>
                  </a:lnTo>
                  <a:lnTo>
                    <a:pt x="188" y="45"/>
                  </a:lnTo>
                  <a:lnTo>
                    <a:pt x="186" y="45"/>
                  </a:lnTo>
                  <a:lnTo>
                    <a:pt x="186" y="43"/>
                  </a:lnTo>
                  <a:close/>
                  <a:moveTo>
                    <a:pt x="510" y="83"/>
                  </a:moveTo>
                  <a:lnTo>
                    <a:pt x="512" y="83"/>
                  </a:lnTo>
                  <a:lnTo>
                    <a:pt x="510" y="83"/>
                  </a:lnTo>
                  <a:close/>
                  <a:moveTo>
                    <a:pt x="510" y="154"/>
                  </a:moveTo>
                  <a:lnTo>
                    <a:pt x="512" y="154"/>
                  </a:lnTo>
                  <a:lnTo>
                    <a:pt x="510" y="154"/>
                  </a:lnTo>
                  <a:close/>
                  <a:moveTo>
                    <a:pt x="568" y="118"/>
                  </a:moveTo>
                  <a:lnTo>
                    <a:pt x="570" y="118"/>
                  </a:lnTo>
                  <a:lnTo>
                    <a:pt x="570" y="120"/>
                  </a:lnTo>
                  <a:lnTo>
                    <a:pt x="568" y="120"/>
                  </a:lnTo>
                  <a:lnTo>
                    <a:pt x="568" y="118"/>
                  </a:lnTo>
                  <a:close/>
                  <a:moveTo>
                    <a:pt x="336" y="214"/>
                  </a:moveTo>
                  <a:lnTo>
                    <a:pt x="338" y="214"/>
                  </a:lnTo>
                  <a:lnTo>
                    <a:pt x="338" y="216"/>
                  </a:lnTo>
                  <a:lnTo>
                    <a:pt x="336" y="216"/>
                  </a:lnTo>
                  <a:lnTo>
                    <a:pt x="336" y="214"/>
                  </a:lnTo>
                  <a:close/>
                  <a:moveTo>
                    <a:pt x="474" y="81"/>
                  </a:moveTo>
                  <a:lnTo>
                    <a:pt x="476" y="81"/>
                  </a:lnTo>
                  <a:lnTo>
                    <a:pt x="474" y="81"/>
                  </a:lnTo>
                  <a:close/>
                  <a:moveTo>
                    <a:pt x="508" y="104"/>
                  </a:moveTo>
                  <a:lnTo>
                    <a:pt x="508" y="106"/>
                  </a:lnTo>
                  <a:lnTo>
                    <a:pt x="508" y="104"/>
                  </a:lnTo>
                  <a:close/>
                  <a:moveTo>
                    <a:pt x="284" y="169"/>
                  </a:moveTo>
                  <a:lnTo>
                    <a:pt x="286" y="169"/>
                  </a:lnTo>
                  <a:lnTo>
                    <a:pt x="284" y="169"/>
                  </a:lnTo>
                  <a:close/>
                  <a:moveTo>
                    <a:pt x="422" y="118"/>
                  </a:moveTo>
                  <a:lnTo>
                    <a:pt x="424" y="118"/>
                  </a:lnTo>
                  <a:lnTo>
                    <a:pt x="422" y="118"/>
                  </a:lnTo>
                  <a:close/>
                  <a:moveTo>
                    <a:pt x="403" y="168"/>
                  </a:moveTo>
                  <a:lnTo>
                    <a:pt x="403" y="169"/>
                  </a:lnTo>
                  <a:lnTo>
                    <a:pt x="403" y="168"/>
                  </a:lnTo>
                  <a:close/>
                  <a:moveTo>
                    <a:pt x="405" y="154"/>
                  </a:moveTo>
                  <a:lnTo>
                    <a:pt x="407" y="154"/>
                  </a:lnTo>
                  <a:lnTo>
                    <a:pt x="405" y="154"/>
                  </a:lnTo>
                  <a:close/>
                  <a:moveTo>
                    <a:pt x="332" y="212"/>
                  </a:moveTo>
                  <a:lnTo>
                    <a:pt x="332" y="214"/>
                  </a:lnTo>
                  <a:lnTo>
                    <a:pt x="332" y="212"/>
                  </a:lnTo>
                  <a:close/>
                  <a:moveTo>
                    <a:pt x="165" y="41"/>
                  </a:moveTo>
                  <a:lnTo>
                    <a:pt x="167" y="41"/>
                  </a:lnTo>
                  <a:lnTo>
                    <a:pt x="167" y="43"/>
                  </a:lnTo>
                  <a:lnTo>
                    <a:pt x="165" y="43"/>
                  </a:lnTo>
                  <a:lnTo>
                    <a:pt x="165" y="41"/>
                  </a:lnTo>
                  <a:close/>
                  <a:moveTo>
                    <a:pt x="468" y="91"/>
                  </a:moveTo>
                  <a:lnTo>
                    <a:pt x="470" y="91"/>
                  </a:lnTo>
                  <a:lnTo>
                    <a:pt x="470" y="93"/>
                  </a:lnTo>
                  <a:lnTo>
                    <a:pt x="468" y="93"/>
                  </a:lnTo>
                  <a:lnTo>
                    <a:pt x="468" y="91"/>
                  </a:lnTo>
                  <a:close/>
                  <a:moveTo>
                    <a:pt x="445" y="56"/>
                  </a:moveTo>
                  <a:lnTo>
                    <a:pt x="445" y="58"/>
                  </a:lnTo>
                  <a:lnTo>
                    <a:pt x="445" y="56"/>
                  </a:lnTo>
                  <a:close/>
                  <a:moveTo>
                    <a:pt x="639" y="193"/>
                  </a:moveTo>
                  <a:lnTo>
                    <a:pt x="641" y="193"/>
                  </a:lnTo>
                  <a:lnTo>
                    <a:pt x="639" y="193"/>
                  </a:lnTo>
                  <a:close/>
                  <a:moveTo>
                    <a:pt x="449" y="204"/>
                  </a:moveTo>
                  <a:lnTo>
                    <a:pt x="451" y="204"/>
                  </a:lnTo>
                  <a:lnTo>
                    <a:pt x="451" y="206"/>
                  </a:lnTo>
                  <a:lnTo>
                    <a:pt x="449" y="206"/>
                  </a:lnTo>
                  <a:lnTo>
                    <a:pt x="449" y="204"/>
                  </a:lnTo>
                  <a:close/>
                  <a:moveTo>
                    <a:pt x="345" y="54"/>
                  </a:moveTo>
                  <a:lnTo>
                    <a:pt x="347" y="54"/>
                  </a:lnTo>
                  <a:lnTo>
                    <a:pt x="347" y="56"/>
                  </a:lnTo>
                  <a:lnTo>
                    <a:pt x="345" y="56"/>
                  </a:lnTo>
                  <a:lnTo>
                    <a:pt x="345" y="54"/>
                  </a:lnTo>
                  <a:close/>
                  <a:moveTo>
                    <a:pt x="533" y="189"/>
                  </a:moveTo>
                  <a:lnTo>
                    <a:pt x="535" y="189"/>
                  </a:lnTo>
                  <a:lnTo>
                    <a:pt x="533" y="189"/>
                  </a:lnTo>
                  <a:close/>
                  <a:moveTo>
                    <a:pt x="458" y="68"/>
                  </a:moveTo>
                  <a:lnTo>
                    <a:pt x="460" y="68"/>
                  </a:lnTo>
                  <a:lnTo>
                    <a:pt x="460" y="70"/>
                  </a:lnTo>
                  <a:lnTo>
                    <a:pt x="458" y="70"/>
                  </a:lnTo>
                  <a:lnTo>
                    <a:pt x="458" y="68"/>
                  </a:lnTo>
                  <a:close/>
                  <a:moveTo>
                    <a:pt x="560" y="123"/>
                  </a:moveTo>
                  <a:lnTo>
                    <a:pt x="562" y="123"/>
                  </a:lnTo>
                  <a:lnTo>
                    <a:pt x="560" y="123"/>
                  </a:lnTo>
                  <a:close/>
                  <a:moveTo>
                    <a:pt x="372" y="177"/>
                  </a:moveTo>
                  <a:lnTo>
                    <a:pt x="372" y="179"/>
                  </a:lnTo>
                  <a:lnTo>
                    <a:pt x="372" y="177"/>
                  </a:lnTo>
                  <a:close/>
                  <a:moveTo>
                    <a:pt x="478" y="114"/>
                  </a:moveTo>
                  <a:lnTo>
                    <a:pt x="478" y="116"/>
                  </a:lnTo>
                  <a:lnTo>
                    <a:pt x="478" y="114"/>
                  </a:lnTo>
                  <a:close/>
                  <a:moveTo>
                    <a:pt x="372" y="72"/>
                  </a:moveTo>
                  <a:lnTo>
                    <a:pt x="372" y="73"/>
                  </a:lnTo>
                  <a:lnTo>
                    <a:pt x="372" y="72"/>
                  </a:lnTo>
                  <a:close/>
                  <a:moveTo>
                    <a:pt x="545" y="169"/>
                  </a:moveTo>
                  <a:lnTo>
                    <a:pt x="547" y="169"/>
                  </a:lnTo>
                  <a:lnTo>
                    <a:pt x="545" y="169"/>
                  </a:lnTo>
                  <a:close/>
                  <a:moveTo>
                    <a:pt x="537" y="156"/>
                  </a:moveTo>
                  <a:lnTo>
                    <a:pt x="537" y="158"/>
                  </a:lnTo>
                  <a:lnTo>
                    <a:pt x="537" y="156"/>
                  </a:lnTo>
                  <a:close/>
                  <a:moveTo>
                    <a:pt x="209" y="104"/>
                  </a:moveTo>
                  <a:lnTo>
                    <a:pt x="209" y="106"/>
                  </a:lnTo>
                  <a:lnTo>
                    <a:pt x="209" y="104"/>
                  </a:lnTo>
                  <a:close/>
                  <a:moveTo>
                    <a:pt x="614" y="114"/>
                  </a:moveTo>
                  <a:lnTo>
                    <a:pt x="616" y="114"/>
                  </a:lnTo>
                  <a:lnTo>
                    <a:pt x="616" y="116"/>
                  </a:lnTo>
                  <a:lnTo>
                    <a:pt x="614" y="116"/>
                  </a:lnTo>
                  <a:lnTo>
                    <a:pt x="614" y="114"/>
                  </a:lnTo>
                  <a:close/>
                  <a:moveTo>
                    <a:pt x="142" y="75"/>
                  </a:moveTo>
                  <a:lnTo>
                    <a:pt x="144" y="75"/>
                  </a:lnTo>
                  <a:lnTo>
                    <a:pt x="144" y="77"/>
                  </a:lnTo>
                  <a:lnTo>
                    <a:pt x="142" y="77"/>
                  </a:lnTo>
                  <a:lnTo>
                    <a:pt x="142" y="75"/>
                  </a:lnTo>
                  <a:close/>
                  <a:moveTo>
                    <a:pt x="641" y="208"/>
                  </a:moveTo>
                  <a:lnTo>
                    <a:pt x="643" y="208"/>
                  </a:lnTo>
                  <a:lnTo>
                    <a:pt x="643" y="210"/>
                  </a:lnTo>
                  <a:lnTo>
                    <a:pt x="641" y="210"/>
                  </a:lnTo>
                  <a:lnTo>
                    <a:pt x="641" y="208"/>
                  </a:lnTo>
                  <a:close/>
                  <a:moveTo>
                    <a:pt x="403" y="95"/>
                  </a:moveTo>
                  <a:lnTo>
                    <a:pt x="405" y="95"/>
                  </a:lnTo>
                  <a:lnTo>
                    <a:pt x="403" y="95"/>
                  </a:lnTo>
                  <a:close/>
                  <a:moveTo>
                    <a:pt x="124" y="73"/>
                  </a:moveTo>
                  <a:lnTo>
                    <a:pt x="124" y="75"/>
                  </a:lnTo>
                  <a:lnTo>
                    <a:pt x="124" y="73"/>
                  </a:lnTo>
                  <a:close/>
                  <a:moveTo>
                    <a:pt x="529" y="146"/>
                  </a:moveTo>
                  <a:lnTo>
                    <a:pt x="531" y="146"/>
                  </a:lnTo>
                  <a:lnTo>
                    <a:pt x="529" y="146"/>
                  </a:lnTo>
                  <a:close/>
                  <a:moveTo>
                    <a:pt x="505" y="187"/>
                  </a:moveTo>
                  <a:lnTo>
                    <a:pt x="506" y="187"/>
                  </a:lnTo>
                  <a:lnTo>
                    <a:pt x="505" y="187"/>
                  </a:lnTo>
                  <a:close/>
                  <a:moveTo>
                    <a:pt x="549" y="125"/>
                  </a:moveTo>
                  <a:lnTo>
                    <a:pt x="549" y="127"/>
                  </a:lnTo>
                  <a:lnTo>
                    <a:pt x="549" y="125"/>
                  </a:lnTo>
                  <a:close/>
                  <a:moveTo>
                    <a:pt x="424" y="114"/>
                  </a:moveTo>
                  <a:lnTo>
                    <a:pt x="426" y="114"/>
                  </a:lnTo>
                  <a:lnTo>
                    <a:pt x="426" y="116"/>
                  </a:lnTo>
                  <a:lnTo>
                    <a:pt x="424" y="116"/>
                  </a:lnTo>
                  <a:lnTo>
                    <a:pt x="424" y="114"/>
                  </a:lnTo>
                  <a:close/>
                  <a:moveTo>
                    <a:pt x="149" y="173"/>
                  </a:moveTo>
                  <a:lnTo>
                    <a:pt x="151" y="173"/>
                  </a:lnTo>
                  <a:lnTo>
                    <a:pt x="149" y="173"/>
                  </a:lnTo>
                  <a:close/>
                  <a:moveTo>
                    <a:pt x="140" y="75"/>
                  </a:moveTo>
                  <a:lnTo>
                    <a:pt x="140" y="77"/>
                  </a:lnTo>
                  <a:lnTo>
                    <a:pt x="140" y="75"/>
                  </a:lnTo>
                  <a:close/>
                  <a:moveTo>
                    <a:pt x="330" y="96"/>
                  </a:moveTo>
                  <a:lnTo>
                    <a:pt x="330" y="98"/>
                  </a:lnTo>
                  <a:lnTo>
                    <a:pt x="330" y="96"/>
                  </a:lnTo>
                  <a:close/>
                  <a:moveTo>
                    <a:pt x="124" y="91"/>
                  </a:moveTo>
                  <a:lnTo>
                    <a:pt x="126" y="91"/>
                  </a:lnTo>
                  <a:lnTo>
                    <a:pt x="124" y="91"/>
                  </a:lnTo>
                  <a:close/>
                  <a:moveTo>
                    <a:pt x="126" y="75"/>
                  </a:moveTo>
                  <a:lnTo>
                    <a:pt x="128" y="75"/>
                  </a:lnTo>
                  <a:lnTo>
                    <a:pt x="128" y="77"/>
                  </a:lnTo>
                  <a:lnTo>
                    <a:pt x="126" y="77"/>
                  </a:lnTo>
                  <a:lnTo>
                    <a:pt x="126" y="75"/>
                  </a:lnTo>
                  <a:close/>
                  <a:moveTo>
                    <a:pt x="495" y="79"/>
                  </a:moveTo>
                  <a:lnTo>
                    <a:pt x="495" y="81"/>
                  </a:lnTo>
                  <a:lnTo>
                    <a:pt x="495" y="79"/>
                  </a:lnTo>
                  <a:close/>
                  <a:moveTo>
                    <a:pt x="142" y="77"/>
                  </a:moveTo>
                  <a:lnTo>
                    <a:pt x="144" y="77"/>
                  </a:lnTo>
                  <a:lnTo>
                    <a:pt x="142" y="77"/>
                  </a:lnTo>
                  <a:close/>
                  <a:moveTo>
                    <a:pt x="574" y="168"/>
                  </a:moveTo>
                  <a:lnTo>
                    <a:pt x="576" y="168"/>
                  </a:lnTo>
                  <a:lnTo>
                    <a:pt x="576" y="169"/>
                  </a:lnTo>
                  <a:lnTo>
                    <a:pt x="574" y="169"/>
                  </a:lnTo>
                  <a:lnTo>
                    <a:pt x="574" y="168"/>
                  </a:lnTo>
                  <a:close/>
                  <a:moveTo>
                    <a:pt x="276" y="193"/>
                  </a:moveTo>
                  <a:lnTo>
                    <a:pt x="278" y="193"/>
                  </a:lnTo>
                  <a:lnTo>
                    <a:pt x="278" y="194"/>
                  </a:lnTo>
                  <a:lnTo>
                    <a:pt x="276" y="194"/>
                  </a:lnTo>
                  <a:lnTo>
                    <a:pt x="276" y="193"/>
                  </a:lnTo>
                  <a:close/>
                  <a:moveTo>
                    <a:pt x="370" y="217"/>
                  </a:moveTo>
                  <a:lnTo>
                    <a:pt x="370" y="219"/>
                  </a:lnTo>
                  <a:lnTo>
                    <a:pt x="370" y="217"/>
                  </a:lnTo>
                  <a:close/>
                  <a:moveTo>
                    <a:pt x="583" y="179"/>
                  </a:moveTo>
                  <a:lnTo>
                    <a:pt x="583" y="181"/>
                  </a:lnTo>
                  <a:lnTo>
                    <a:pt x="583" y="179"/>
                  </a:lnTo>
                  <a:close/>
                  <a:moveTo>
                    <a:pt x="378" y="187"/>
                  </a:moveTo>
                  <a:lnTo>
                    <a:pt x="378" y="189"/>
                  </a:lnTo>
                  <a:lnTo>
                    <a:pt x="378" y="187"/>
                  </a:lnTo>
                  <a:close/>
                  <a:moveTo>
                    <a:pt x="566" y="120"/>
                  </a:moveTo>
                  <a:lnTo>
                    <a:pt x="568" y="120"/>
                  </a:lnTo>
                  <a:lnTo>
                    <a:pt x="568" y="121"/>
                  </a:lnTo>
                  <a:lnTo>
                    <a:pt x="566" y="121"/>
                  </a:lnTo>
                  <a:lnTo>
                    <a:pt x="566" y="120"/>
                  </a:lnTo>
                  <a:close/>
                  <a:moveTo>
                    <a:pt x="416" y="166"/>
                  </a:moveTo>
                  <a:lnTo>
                    <a:pt x="418" y="166"/>
                  </a:lnTo>
                  <a:lnTo>
                    <a:pt x="416" y="166"/>
                  </a:lnTo>
                  <a:close/>
                  <a:moveTo>
                    <a:pt x="439" y="60"/>
                  </a:moveTo>
                  <a:lnTo>
                    <a:pt x="441" y="60"/>
                  </a:lnTo>
                  <a:lnTo>
                    <a:pt x="441" y="62"/>
                  </a:lnTo>
                  <a:lnTo>
                    <a:pt x="439" y="62"/>
                  </a:lnTo>
                  <a:lnTo>
                    <a:pt x="439" y="60"/>
                  </a:lnTo>
                  <a:close/>
                  <a:moveTo>
                    <a:pt x="577" y="187"/>
                  </a:moveTo>
                  <a:lnTo>
                    <a:pt x="579" y="187"/>
                  </a:lnTo>
                  <a:lnTo>
                    <a:pt x="577" y="187"/>
                  </a:lnTo>
                  <a:close/>
                  <a:moveTo>
                    <a:pt x="82" y="54"/>
                  </a:moveTo>
                  <a:lnTo>
                    <a:pt x="84" y="54"/>
                  </a:lnTo>
                  <a:lnTo>
                    <a:pt x="84" y="56"/>
                  </a:lnTo>
                  <a:lnTo>
                    <a:pt x="82" y="56"/>
                  </a:lnTo>
                  <a:lnTo>
                    <a:pt x="82" y="54"/>
                  </a:lnTo>
                  <a:close/>
                  <a:moveTo>
                    <a:pt x="153" y="173"/>
                  </a:moveTo>
                  <a:lnTo>
                    <a:pt x="155" y="173"/>
                  </a:lnTo>
                  <a:lnTo>
                    <a:pt x="153" y="173"/>
                  </a:lnTo>
                  <a:close/>
                  <a:moveTo>
                    <a:pt x="320" y="212"/>
                  </a:moveTo>
                  <a:lnTo>
                    <a:pt x="322" y="212"/>
                  </a:lnTo>
                  <a:lnTo>
                    <a:pt x="320" y="212"/>
                  </a:lnTo>
                  <a:close/>
                  <a:moveTo>
                    <a:pt x="328" y="33"/>
                  </a:moveTo>
                  <a:lnTo>
                    <a:pt x="330" y="33"/>
                  </a:lnTo>
                  <a:lnTo>
                    <a:pt x="328" y="33"/>
                  </a:lnTo>
                  <a:close/>
                  <a:moveTo>
                    <a:pt x="543" y="116"/>
                  </a:moveTo>
                  <a:lnTo>
                    <a:pt x="543" y="118"/>
                  </a:lnTo>
                  <a:lnTo>
                    <a:pt x="543" y="116"/>
                  </a:lnTo>
                  <a:close/>
                  <a:moveTo>
                    <a:pt x="506" y="198"/>
                  </a:moveTo>
                  <a:lnTo>
                    <a:pt x="508" y="198"/>
                  </a:lnTo>
                  <a:lnTo>
                    <a:pt x="506" y="198"/>
                  </a:lnTo>
                  <a:close/>
                  <a:moveTo>
                    <a:pt x="624" y="160"/>
                  </a:moveTo>
                  <a:lnTo>
                    <a:pt x="624" y="162"/>
                  </a:lnTo>
                  <a:lnTo>
                    <a:pt x="624" y="160"/>
                  </a:lnTo>
                  <a:close/>
                  <a:moveTo>
                    <a:pt x="326" y="98"/>
                  </a:moveTo>
                  <a:lnTo>
                    <a:pt x="326" y="100"/>
                  </a:lnTo>
                  <a:lnTo>
                    <a:pt x="326" y="98"/>
                  </a:lnTo>
                  <a:close/>
                  <a:moveTo>
                    <a:pt x="474" y="87"/>
                  </a:moveTo>
                  <a:lnTo>
                    <a:pt x="476" y="87"/>
                  </a:lnTo>
                  <a:lnTo>
                    <a:pt x="476" y="89"/>
                  </a:lnTo>
                  <a:lnTo>
                    <a:pt x="474" y="89"/>
                  </a:lnTo>
                  <a:lnTo>
                    <a:pt x="474" y="87"/>
                  </a:lnTo>
                  <a:close/>
                  <a:moveTo>
                    <a:pt x="136" y="83"/>
                  </a:moveTo>
                  <a:lnTo>
                    <a:pt x="138" y="83"/>
                  </a:lnTo>
                  <a:lnTo>
                    <a:pt x="136" y="83"/>
                  </a:lnTo>
                  <a:close/>
                  <a:moveTo>
                    <a:pt x="48" y="25"/>
                  </a:moveTo>
                  <a:lnTo>
                    <a:pt x="48" y="27"/>
                  </a:lnTo>
                  <a:lnTo>
                    <a:pt x="48" y="25"/>
                  </a:lnTo>
                  <a:close/>
                  <a:moveTo>
                    <a:pt x="579" y="189"/>
                  </a:moveTo>
                  <a:lnTo>
                    <a:pt x="581" y="189"/>
                  </a:lnTo>
                  <a:lnTo>
                    <a:pt x="579" y="189"/>
                  </a:lnTo>
                  <a:close/>
                  <a:moveTo>
                    <a:pt x="268" y="135"/>
                  </a:moveTo>
                  <a:lnTo>
                    <a:pt x="270" y="135"/>
                  </a:lnTo>
                  <a:lnTo>
                    <a:pt x="270" y="137"/>
                  </a:lnTo>
                  <a:lnTo>
                    <a:pt x="268" y="137"/>
                  </a:lnTo>
                  <a:lnTo>
                    <a:pt x="268" y="135"/>
                  </a:lnTo>
                  <a:close/>
                  <a:moveTo>
                    <a:pt x="577" y="191"/>
                  </a:moveTo>
                  <a:lnTo>
                    <a:pt x="579" y="191"/>
                  </a:lnTo>
                  <a:lnTo>
                    <a:pt x="579" y="193"/>
                  </a:lnTo>
                  <a:lnTo>
                    <a:pt x="577" y="193"/>
                  </a:lnTo>
                  <a:lnTo>
                    <a:pt x="577" y="191"/>
                  </a:lnTo>
                  <a:close/>
                  <a:moveTo>
                    <a:pt x="132" y="73"/>
                  </a:moveTo>
                  <a:lnTo>
                    <a:pt x="134" y="73"/>
                  </a:lnTo>
                  <a:lnTo>
                    <a:pt x="132" y="73"/>
                  </a:lnTo>
                  <a:close/>
                  <a:moveTo>
                    <a:pt x="409" y="248"/>
                  </a:moveTo>
                  <a:lnTo>
                    <a:pt x="409" y="250"/>
                  </a:lnTo>
                  <a:lnTo>
                    <a:pt x="409" y="248"/>
                  </a:lnTo>
                  <a:close/>
                  <a:moveTo>
                    <a:pt x="359" y="214"/>
                  </a:moveTo>
                  <a:lnTo>
                    <a:pt x="361" y="214"/>
                  </a:lnTo>
                  <a:lnTo>
                    <a:pt x="361" y="216"/>
                  </a:lnTo>
                  <a:lnTo>
                    <a:pt x="359" y="216"/>
                  </a:lnTo>
                  <a:lnTo>
                    <a:pt x="359" y="214"/>
                  </a:lnTo>
                  <a:close/>
                  <a:moveTo>
                    <a:pt x="48" y="89"/>
                  </a:moveTo>
                  <a:lnTo>
                    <a:pt x="50" y="89"/>
                  </a:lnTo>
                  <a:lnTo>
                    <a:pt x="48" y="89"/>
                  </a:lnTo>
                  <a:close/>
                  <a:moveTo>
                    <a:pt x="643" y="193"/>
                  </a:moveTo>
                  <a:lnTo>
                    <a:pt x="645" y="193"/>
                  </a:lnTo>
                  <a:lnTo>
                    <a:pt x="645" y="194"/>
                  </a:lnTo>
                  <a:lnTo>
                    <a:pt x="643" y="194"/>
                  </a:lnTo>
                  <a:lnTo>
                    <a:pt x="643" y="193"/>
                  </a:lnTo>
                  <a:close/>
                  <a:moveTo>
                    <a:pt x="520" y="96"/>
                  </a:moveTo>
                  <a:lnTo>
                    <a:pt x="522" y="96"/>
                  </a:lnTo>
                  <a:lnTo>
                    <a:pt x="520" y="96"/>
                  </a:lnTo>
                  <a:close/>
                  <a:moveTo>
                    <a:pt x="140" y="75"/>
                  </a:moveTo>
                  <a:lnTo>
                    <a:pt x="142" y="75"/>
                  </a:lnTo>
                  <a:lnTo>
                    <a:pt x="142" y="77"/>
                  </a:lnTo>
                  <a:lnTo>
                    <a:pt x="140" y="77"/>
                  </a:lnTo>
                  <a:lnTo>
                    <a:pt x="140" y="75"/>
                  </a:lnTo>
                  <a:close/>
                  <a:moveTo>
                    <a:pt x="134" y="79"/>
                  </a:moveTo>
                  <a:lnTo>
                    <a:pt x="136" y="79"/>
                  </a:lnTo>
                  <a:lnTo>
                    <a:pt x="134" y="79"/>
                  </a:lnTo>
                  <a:close/>
                  <a:moveTo>
                    <a:pt x="512" y="202"/>
                  </a:moveTo>
                  <a:lnTo>
                    <a:pt x="514" y="202"/>
                  </a:lnTo>
                  <a:lnTo>
                    <a:pt x="512" y="202"/>
                  </a:lnTo>
                  <a:close/>
                  <a:moveTo>
                    <a:pt x="322" y="210"/>
                  </a:moveTo>
                  <a:lnTo>
                    <a:pt x="322" y="212"/>
                  </a:lnTo>
                  <a:lnTo>
                    <a:pt x="322" y="210"/>
                  </a:lnTo>
                  <a:close/>
                  <a:moveTo>
                    <a:pt x="142" y="73"/>
                  </a:moveTo>
                  <a:lnTo>
                    <a:pt x="142" y="75"/>
                  </a:lnTo>
                  <a:lnTo>
                    <a:pt x="142" y="73"/>
                  </a:lnTo>
                  <a:close/>
                  <a:moveTo>
                    <a:pt x="487" y="95"/>
                  </a:moveTo>
                  <a:lnTo>
                    <a:pt x="489" y="95"/>
                  </a:lnTo>
                  <a:lnTo>
                    <a:pt x="489" y="96"/>
                  </a:lnTo>
                  <a:lnTo>
                    <a:pt x="487" y="96"/>
                  </a:lnTo>
                  <a:lnTo>
                    <a:pt x="487" y="95"/>
                  </a:lnTo>
                  <a:close/>
                  <a:moveTo>
                    <a:pt x="422" y="210"/>
                  </a:moveTo>
                  <a:lnTo>
                    <a:pt x="422" y="212"/>
                  </a:lnTo>
                  <a:lnTo>
                    <a:pt x="422" y="210"/>
                  </a:lnTo>
                  <a:close/>
                  <a:moveTo>
                    <a:pt x="136" y="85"/>
                  </a:moveTo>
                  <a:lnTo>
                    <a:pt x="138" y="85"/>
                  </a:lnTo>
                  <a:lnTo>
                    <a:pt x="138" y="87"/>
                  </a:lnTo>
                  <a:lnTo>
                    <a:pt x="136" y="87"/>
                  </a:lnTo>
                  <a:lnTo>
                    <a:pt x="136" y="85"/>
                  </a:lnTo>
                  <a:close/>
                  <a:moveTo>
                    <a:pt x="80" y="133"/>
                  </a:moveTo>
                  <a:lnTo>
                    <a:pt x="82" y="133"/>
                  </a:lnTo>
                  <a:lnTo>
                    <a:pt x="82" y="135"/>
                  </a:lnTo>
                  <a:lnTo>
                    <a:pt x="80" y="135"/>
                  </a:lnTo>
                  <a:lnTo>
                    <a:pt x="80" y="133"/>
                  </a:lnTo>
                  <a:close/>
                  <a:moveTo>
                    <a:pt x="499" y="189"/>
                  </a:moveTo>
                  <a:lnTo>
                    <a:pt x="501" y="189"/>
                  </a:lnTo>
                  <a:lnTo>
                    <a:pt x="501" y="191"/>
                  </a:lnTo>
                  <a:lnTo>
                    <a:pt x="499" y="191"/>
                  </a:lnTo>
                  <a:lnTo>
                    <a:pt x="499" y="189"/>
                  </a:lnTo>
                  <a:close/>
                  <a:moveTo>
                    <a:pt x="359" y="141"/>
                  </a:moveTo>
                  <a:lnTo>
                    <a:pt x="359" y="143"/>
                  </a:lnTo>
                  <a:lnTo>
                    <a:pt x="359" y="141"/>
                  </a:lnTo>
                  <a:close/>
                  <a:moveTo>
                    <a:pt x="604" y="116"/>
                  </a:moveTo>
                  <a:lnTo>
                    <a:pt x="606" y="116"/>
                  </a:lnTo>
                  <a:lnTo>
                    <a:pt x="604" y="116"/>
                  </a:lnTo>
                  <a:close/>
                  <a:moveTo>
                    <a:pt x="516" y="91"/>
                  </a:moveTo>
                  <a:lnTo>
                    <a:pt x="516" y="93"/>
                  </a:lnTo>
                  <a:lnTo>
                    <a:pt x="516" y="91"/>
                  </a:lnTo>
                  <a:close/>
                  <a:moveTo>
                    <a:pt x="545" y="131"/>
                  </a:moveTo>
                  <a:lnTo>
                    <a:pt x="547" y="131"/>
                  </a:lnTo>
                  <a:lnTo>
                    <a:pt x="545" y="131"/>
                  </a:lnTo>
                  <a:close/>
                  <a:moveTo>
                    <a:pt x="134" y="93"/>
                  </a:moveTo>
                  <a:lnTo>
                    <a:pt x="136" y="93"/>
                  </a:lnTo>
                  <a:lnTo>
                    <a:pt x="134" y="93"/>
                  </a:lnTo>
                  <a:close/>
                  <a:moveTo>
                    <a:pt x="328" y="98"/>
                  </a:moveTo>
                  <a:lnTo>
                    <a:pt x="330" y="98"/>
                  </a:lnTo>
                  <a:lnTo>
                    <a:pt x="328" y="98"/>
                  </a:lnTo>
                  <a:close/>
                  <a:moveTo>
                    <a:pt x="639" y="110"/>
                  </a:moveTo>
                  <a:lnTo>
                    <a:pt x="641" y="110"/>
                  </a:lnTo>
                  <a:lnTo>
                    <a:pt x="641" y="112"/>
                  </a:lnTo>
                  <a:lnTo>
                    <a:pt x="639" y="112"/>
                  </a:lnTo>
                  <a:lnTo>
                    <a:pt x="639" y="110"/>
                  </a:lnTo>
                  <a:close/>
                  <a:moveTo>
                    <a:pt x="336" y="166"/>
                  </a:moveTo>
                  <a:lnTo>
                    <a:pt x="336" y="168"/>
                  </a:lnTo>
                  <a:lnTo>
                    <a:pt x="336" y="166"/>
                  </a:lnTo>
                  <a:close/>
                  <a:moveTo>
                    <a:pt x="577" y="185"/>
                  </a:moveTo>
                  <a:lnTo>
                    <a:pt x="579" y="185"/>
                  </a:lnTo>
                  <a:lnTo>
                    <a:pt x="579" y="187"/>
                  </a:lnTo>
                  <a:lnTo>
                    <a:pt x="577" y="187"/>
                  </a:lnTo>
                  <a:lnTo>
                    <a:pt x="577" y="185"/>
                  </a:lnTo>
                  <a:close/>
                  <a:moveTo>
                    <a:pt x="395" y="91"/>
                  </a:moveTo>
                  <a:lnTo>
                    <a:pt x="397" y="91"/>
                  </a:lnTo>
                  <a:lnTo>
                    <a:pt x="395" y="91"/>
                  </a:lnTo>
                  <a:close/>
                  <a:moveTo>
                    <a:pt x="418" y="168"/>
                  </a:moveTo>
                  <a:lnTo>
                    <a:pt x="420" y="168"/>
                  </a:lnTo>
                  <a:lnTo>
                    <a:pt x="418" y="168"/>
                  </a:lnTo>
                  <a:close/>
                  <a:moveTo>
                    <a:pt x="426" y="114"/>
                  </a:moveTo>
                  <a:lnTo>
                    <a:pt x="428" y="114"/>
                  </a:lnTo>
                  <a:lnTo>
                    <a:pt x="426" y="114"/>
                  </a:lnTo>
                  <a:close/>
                  <a:moveTo>
                    <a:pt x="140" y="77"/>
                  </a:moveTo>
                  <a:lnTo>
                    <a:pt x="142" y="77"/>
                  </a:lnTo>
                  <a:lnTo>
                    <a:pt x="140" y="77"/>
                  </a:lnTo>
                  <a:close/>
                  <a:moveTo>
                    <a:pt x="134" y="93"/>
                  </a:moveTo>
                  <a:lnTo>
                    <a:pt x="136" y="93"/>
                  </a:lnTo>
                  <a:lnTo>
                    <a:pt x="136" y="95"/>
                  </a:lnTo>
                  <a:lnTo>
                    <a:pt x="134" y="95"/>
                  </a:lnTo>
                  <a:lnTo>
                    <a:pt x="134" y="93"/>
                  </a:lnTo>
                  <a:close/>
                  <a:moveTo>
                    <a:pt x="142" y="73"/>
                  </a:moveTo>
                  <a:lnTo>
                    <a:pt x="142" y="75"/>
                  </a:lnTo>
                  <a:lnTo>
                    <a:pt x="142" y="73"/>
                  </a:lnTo>
                  <a:close/>
                  <a:moveTo>
                    <a:pt x="512" y="85"/>
                  </a:moveTo>
                  <a:lnTo>
                    <a:pt x="514" y="85"/>
                  </a:lnTo>
                  <a:lnTo>
                    <a:pt x="512" y="85"/>
                  </a:lnTo>
                  <a:close/>
                  <a:moveTo>
                    <a:pt x="192" y="33"/>
                  </a:moveTo>
                  <a:lnTo>
                    <a:pt x="192" y="35"/>
                  </a:lnTo>
                  <a:lnTo>
                    <a:pt x="192" y="33"/>
                  </a:lnTo>
                  <a:close/>
                  <a:moveTo>
                    <a:pt x="134" y="85"/>
                  </a:moveTo>
                  <a:lnTo>
                    <a:pt x="136" y="85"/>
                  </a:lnTo>
                  <a:lnTo>
                    <a:pt x="134" y="85"/>
                  </a:lnTo>
                  <a:close/>
                  <a:moveTo>
                    <a:pt x="126" y="79"/>
                  </a:moveTo>
                  <a:lnTo>
                    <a:pt x="126" y="81"/>
                  </a:lnTo>
                  <a:lnTo>
                    <a:pt x="126" y="79"/>
                  </a:lnTo>
                  <a:close/>
                  <a:moveTo>
                    <a:pt x="516" y="89"/>
                  </a:moveTo>
                  <a:lnTo>
                    <a:pt x="516" y="91"/>
                  </a:lnTo>
                  <a:lnTo>
                    <a:pt x="516" y="89"/>
                  </a:lnTo>
                  <a:close/>
                  <a:moveTo>
                    <a:pt x="512" y="200"/>
                  </a:moveTo>
                  <a:lnTo>
                    <a:pt x="512" y="202"/>
                  </a:lnTo>
                  <a:lnTo>
                    <a:pt x="512" y="200"/>
                  </a:lnTo>
                  <a:close/>
                  <a:moveTo>
                    <a:pt x="334" y="56"/>
                  </a:moveTo>
                  <a:lnTo>
                    <a:pt x="336" y="56"/>
                  </a:lnTo>
                  <a:lnTo>
                    <a:pt x="334" y="56"/>
                  </a:lnTo>
                  <a:close/>
                  <a:moveTo>
                    <a:pt x="207" y="89"/>
                  </a:moveTo>
                  <a:lnTo>
                    <a:pt x="207" y="91"/>
                  </a:lnTo>
                  <a:lnTo>
                    <a:pt x="207" y="89"/>
                  </a:lnTo>
                  <a:close/>
                  <a:moveTo>
                    <a:pt x="326" y="98"/>
                  </a:moveTo>
                  <a:lnTo>
                    <a:pt x="326" y="100"/>
                  </a:lnTo>
                  <a:lnTo>
                    <a:pt x="326" y="98"/>
                  </a:lnTo>
                  <a:close/>
                  <a:moveTo>
                    <a:pt x="574" y="146"/>
                  </a:moveTo>
                  <a:lnTo>
                    <a:pt x="576" y="146"/>
                  </a:lnTo>
                  <a:lnTo>
                    <a:pt x="574" y="146"/>
                  </a:lnTo>
                  <a:close/>
                  <a:moveTo>
                    <a:pt x="343" y="56"/>
                  </a:moveTo>
                  <a:lnTo>
                    <a:pt x="345" y="56"/>
                  </a:lnTo>
                  <a:lnTo>
                    <a:pt x="343" y="56"/>
                  </a:lnTo>
                  <a:close/>
                  <a:moveTo>
                    <a:pt x="407" y="73"/>
                  </a:moveTo>
                  <a:lnTo>
                    <a:pt x="407" y="75"/>
                  </a:lnTo>
                  <a:lnTo>
                    <a:pt x="407" y="73"/>
                  </a:lnTo>
                  <a:close/>
                  <a:moveTo>
                    <a:pt x="524" y="135"/>
                  </a:moveTo>
                  <a:lnTo>
                    <a:pt x="524" y="137"/>
                  </a:lnTo>
                  <a:lnTo>
                    <a:pt x="524" y="135"/>
                  </a:lnTo>
                  <a:close/>
                  <a:moveTo>
                    <a:pt x="608" y="104"/>
                  </a:moveTo>
                  <a:lnTo>
                    <a:pt x="608" y="106"/>
                  </a:lnTo>
                  <a:lnTo>
                    <a:pt x="608" y="104"/>
                  </a:lnTo>
                  <a:close/>
                  <a:moveTo>
                    <a:pt x="581" y="185"/>
                  </a:moveTo>
                  <a:lnTo>
                    <a:pt x="583" y="185"/>
                  </a:lnTo>
                  <a:lnTo>
                    <a:pt x="581" y="185"/>
                  </a:lnTo>
                  <a:close/>
                  <a:moveTo>
                    <a:pt x="167" y="37"/>
                  </a:moveTo>
                  <a:lnTo>
                    <a:pt x="167" y="39"/>
                  </a:lnTo>
                  <a:lnTo>
                    <a:pt x="167" y="37"/>
                  </a:lnTo>
                  <a:close/>
                  <a:moveTo>
                    <a:pt x="336" y="54"/>
                  </a:moveTo>
                  <a:lnTo>
                    <a:pt x="336" y="56"/>
                  </a:lnTo>
                  <a:lnTo>
                    <a:pt x="336" y="54"/>
                  </a:lnTo>
                  <a:close/>
                  <a:moveTo>
                    <a:pt x="140" y="81"/>
                  </a:moveTo>
                  <a:lnTo>
                    <a:pt x="140" y="83"/>
                  </a:lnTo>
                  <a:lnTo>
                    <a:pt x="140" y="81"/>
                  </a:lnTo>
                  <a:close/>
                  <a:moveTo>
                    <a:pt x="566" y="123"/>
                  </a:moveTo>
                  <a:lnTo>
                    <a:pt x="566" y="125"/>
                  </a:lnTo>
                  <a:lnTo>
                    <a:pt x="566" y="123"/>
                  </a:lnTo>
                  <a:close/>
                  <a:moveTo>
                    <a:pt x="274" y="193"/>
                  </a:moveTo>
                  <a:lnTo>
                    <a:pt x="276" y="193"/>
                  </a:lnTo>
                  <a:lnTo>
                    <a:pt x="276" y="194"/>
                  </a:lnTo>
                  <a:lnTo>
                    <a:pt x="274" y="194"/>
                  </a:lnTo>
                  <a:lnTo>
                    <a:pt x="274" y="193"/>
                  </a:lnTo>
                  <a:close/>
                  <a:moveTo>
                    <a:pt x="124" y="81"/>
                  </a:moveTo>
                  <a:lnTo>
                    <a:pt x="126" y="81"/>
                  </a:lnTo>
                  <a:lnTo>
                    <a:pt x="124" y="81"/>
                  </a:lnTo>
                  <a:close/>
                  <a:moveTo>
                    <a:pt x="478" y="198"/>
                  </a:moveTo>
                  <a:lnTo>
                    <a:pt x="478" y="200"/>
                  </a:lnTo>
                  <a:lnTo>
                    <a:pt x="478" y="198"/>
                  </a:lnTo>
                  <a:close/>
                  <a:moveTo>
                    <a:pt x="138" y="75"/>
                  </a:moveTo>
                  <a:lnTo>
                    <a:pt x="140" y="75"/>
                  </a:lnTo>
                  <a:lnTo>
                    <a:pt x="138" y="75"/>
                  </a:lnTo>
                  <a:close/>
                  <a:moveTo>
                    <a:pt x="94" y="60"/>
                  </a:moveTo>
                  <a:lnTo>
                    <a:pt x="94" y="62"/>
                  </a:lnTo>
                  <a:lnTo>
                    <a:pt x="94" y="60"/>
                  </a:lnTo>
                  <a:close/>
                  <a:moveTo>
                    <a:pt x="520" y="98"/>
                  </a:moveTo>
                  <a:lnTo>
                    <a:pt x="520" y="100"/>
                  </a:lnTo>
                  <a:lnTo>
                    <a:pt x="520" y="98"/>
                  </a:lnTo>
                  <a:close/>
                  <a:moveTo>
                    <a:pt x="207" y="87"/>
                  </a:moveTo>
                  <a:lnTo>
                    <a:pt x="209" y="87"/>
                  </a:lnTo>
                  <a:lnTo>
                    <a:pt x="207" y="87"/>
                  </a:lnTo>
                  <a:close/>
                  <a:moveTo>
                    <a:pt x="581" y="144"/>
                  </a:moveTo>
                  <a:lnTo>
                    <a:pt x="581" y="146"/>
                  </a:lnTo>
                  <a:lnTo>
                    <a:pt x="581" y="144"/>
                  </a:lnTo>
                  <a:close/>
                  <a:moveTo>
                    <a:pt x="562" y="125"/>
                  </a:moveTo>
                  <a:lnTo>
                    <a:pt x="562" y="127"/>
                  </a:lnTo>
                  <a:lnTo>
                    <a:pt x="562" y="125"/>
                  </a:lnTo>
                  <a:close/>
                  <a:moveTo>
                    <a:pt x="201" y="75"/>
                  </a:moveTo>
                  <a:lnTo>
                    <a:pt x="201" y="77"/>
                  </a:lnTo>
                  <a:lnTo>
                    <a:pt x="201" y="75"/>
                  </a:lnTo>
                  <a:close/>
                  <a:moveTo>
                    <a:pt x="328" y="206"/>
                  </a:moveTo>
                  <a:lnTo>
                    <a:pt x="328" y="208"/>
                  </a:lnTo>
                  <a:lnTo>
                    <a:pt x="328" y="206"/>
                  </a:lnTo>
                  <a:close/>
                  <a:moveTo>
                    <a:pt x="420" y="118"/>
                  </a:moveTo>
                  <a:lnTo>
                    <a:pt x="422" y="118"/>
                  </a:lnTo>
                  <a:lnTo>
                    <a:pt x="420" y="118"/>
                  </a:lnTo>
                  <a:close/>
                  <a:moveTo>
                    <a:pt x="34" y="52"/>
                  </a:moveTo>
                  <a:lnTo>
                    <a:pt x="36" y="52"/>
                  </a:lnTo>
                  <a:lnTo>
                    <a:pt x="36" y="54"/>
                  </a:lnTo>
                  <a:lnTo>
                    <a:pt x="34" y="54"/>
                  </a:lnTo>
                  <a:lnTo>
                    <a:pt x="34" y="52"/>
                  </a:lnTo>
                  <a:close/>
                  <a:moveTo>
                    <a:pt x="516" y="108"/>
                  </a:moveTo>
                  <a:lnTo>
                    <a:pt x="516" y="110"/>
                  </a:lnTo>
                  <a:lnTo>
                    <a:pt x="516" y="108"/>
                  </a:lnTo>
                  <a:close/>
                  <a:moveTo>
                    <a:pt x="190" y="31"/>
                  </a:moveTo>
                  <a:lnTo>
                    <a:pt x="192" y="31"/>
                  </a:lnTo>
                  <a:lnTo>
                    <a:pt x="192" y="33"/>
                  </a:lnTo>
                  <a:lnTo>
                    <a:pt x="190" y="33"/>
                  </a:lnTo>
                  <a:lnTo>
                    <a:pt x="190" y="31"/>
                  </a:lnTo>
                  <a:close/>
                  <a:moveTo>
                    <a:pt x="595" y="131"/>
                  </a:moveTo>
                  <a:lnTo>
                    <a:pt x="597" y="131"/>
                  </a:lnTo>
                  <a:lnTo>
                    <a:pt x="595" y="131"/>
                  </a:lnTo>
                  <a:close/>
                  <a:moveTo>
                    <a:pt x="576" y="125"/>
                  </a:moveTo>
                  <a:lnTo>
                    <a:pt x="577" y="125"/>
                  </a:lnTo>
                  <a:lnTo>
                    <a:pt x="576" y="125"/>
                  </a:lnTo>
                  <a:close/>
                  <a:moveTo>
                    <a:pt x="576" y="179"/>
                  </a:moveTo>
                  <a:lnTo>
                    <a:pt x="576" y="181"/>
                  </a:lnTo>
                  <a:lnTo>
                    <a:pt x="576" y="179"/>
                  </a:lnTo>
                  <a:close/>
                  <a:moveTo>
                    <a:pt x="332" y="56"/>
                  </a:moveTo>
                  <a:lnTo>
                    <a:pt x="334" y="56"/>
                  </a:lnTo>
                  <a:lnTo>
                    <a:pt x="332" y="56"/>
                  </a:lnTo>
                  <a:close/>
                  <a:moveTo>
                    <a:pt x="401" y="131"/>
                  </a:moveTo>
                  <a:lnTo>
                    <a:pt x="401" y="133"/>
                  </a:lnTo>
                  <a:lnTo>
                    <a:pt x="401" y="131"/>
                  </a:lnTo>
                  <a:close/>
                  <a:moveTo>
                    <a:pt x="387" y="217"/>
                  </a:moveTo>
                  <a:lnTo>
                    <a:pt x="389" y="217"/>
                  </a:lnTo>
                  <a:lnTo>
                    <a:pt x="387" y="217"/>
                  </a:lnTo>
                  <a:close/>
                  <a:moveTo>
                    <a:pt x="69" y="121"/>
                  </a:moveTo>
                  <a:lnTo>
                    <a:pt x="71" y="121"/>
                  </a:lnTo>
                  <a:lnTo>
                    <a:pt x="71" y="123"/>
                  </a:lnTo>
                  <a:lnTo>
                    <a:pt x="69" y="123"/>
                  </a:lnTo>
                  <a:lnTo>
                    <a:pt x="69" y="121"/>
                  </a:lnTo>
                  <a:close/>
                  <a:moveTo>
                    <a:pt x="616" y="158"/>
                  </a:moveTo>
                  <a:lnTo>
                    <a:pt x="616" y="160"/>
                  </a:lnTo>
                  <a:lnTo>
                    <a:pt x="616" y="158"/>
                  </a:lnTo>
                  <a:close/>
                  <a:moveTo>
                    <a:pt x="579" y="166"/>
                  </a:moveTo>
                  <a:lnTo>
                    <a:pt x="579" y="168"/>
                  </a:lnTo>
                  <a:lnTo>
                    <a:pt x="579" y="166"/>
                  </a:lnTo>
                  <a:close/>
                  <a:moveTo>
                    <a:pt x="474" y="106"/>
                  </a:moveTo>
                  <a:lnTo>
                    <a:pt x="476" y="106"/>
                  </a:lnTo>
                  <a:lnTo>
                    <a:pt x="474" y="106"/>
                  </a:lnTo>
                  <a:close/>
                  <a:moveTo>
                    <a:pt x="178" y="85"/>
                  </a:moveTo>
                  <a:lnTo>
                    <a:pt x="180" y="85"/>
                  </a:lnTo>
                  <a:lnTo>
                    <a:pt x="180" y="87"/>
                  </a:lnTo>
                  <a:lnTo>
                    <a:pt x="178" y="87"/>
                  </a:lnTo>
                  <a:lnTo>
                    <a:pt x="178" y="85"/>
                  </a:lnTo>
                  <a:close/>
                  <a:moveTo>
                    <a:pt x="301" y="191"/>
                  </a:moveTo>
                  <a:lnTo>
                    <a:pt x="303" y="191"/>
                  </a:lnTo>
                  <a:lnTo>
                    <a:pt x="301" y="191"/>
                  </a:lnTo>
                  <a:close/>
                  <a:moveTo>
                    <a:pt x="391" y="196"/>
                  </a:moveTo>
                  <a:lnTo>
                    <a:pt x="393" y="196"/>
                  </a:lnTo>
                  <a:lnTo>
                    <a:pt x="393" y="198"/>
                  </a:lnTo>
                  <a:lnTo>
                    <a:pt x="391" y="198"/>
                  </a:lnTo>
                  <a:lnTo>
                    <a:pt x="391" y="196"/>
                  </a:lnTo>
                  <a:close/>
                  <a:moveTo>
                    <a:pt x="577" y="187"/>
                  </a:moveTo>
                  <a:lnTo>
                    <a:pt x="579" y="187"/>
                  </a:lnTo>
                  <a:lnTo>
                    <a:pt x="577" y="187"/>
                  </a:lnTo>
                  <a:close/>
                  <a:moveTo>
                    <a:pt x="374" y="191"/>
                  </a:moveTo>
                  <a:lnTo>
                    <a:pt x="376" y="191"/>
                  </a:lnTo>
                  <a:lnTo>
                    <a:pt x="376" y="193"/>
                  </a:lnTo>
                  <a:lnTo>
                    <a:pt x="374" y="193"/>
                  </a:lnTo>
                  <a:lnTo>
                    <a:pt x="374" y="191"/>
                  </a:lnTo>
                  <a:close/>
                  <a:moveTo>
                    <a:pt x="134" y="72"/>
                  </a:moveTo>
                  <a:lnTo>
                    <a:pt x="134" y="73"/>
                  </a:lnTo>
                  <a:lnTo>
                    <a:pt x="134" y="72"/>
                  </a:lnTo>
                  <a:close/>
                  <a:moveTo>
                    <a:pt x="405" y="177"/>
                  </a:moveTo>
                  <a:lnTo>
                    <a:pt x="407" y="177"/>
                  </a:lnTo>
                  <a:lnTo>
                    <a:pt x="407" y="179"/>
                  </a:lnTo>
                  <a:lnTo>
                    <a:pt x="405" y="179"/>
                  </a:lnTo>
                  <a:lnTo>
                    <a:pt x="405" y="177"/>
                  </a:lnTo>
                  <a:close/>
                  <a:moveTo>
                    <a:pt x="476" y="62"/>
                  </a:moveTo>
                  <a:lnTo>
                    <a:pt x="476" y="64"/>
                  </a:lnTo>
                  <a:lnTo>
                    <a:pt x="476" y="62"/>
                  </a:lnTo>
                  <a:close/>
                  <a:moveTo>
                    <a:pt x="374" y="72"/>
                  </a:moveTo>
                  <a:lnTo>
                    <a:pt x="376" y="72"/>
                  </a:lnTo>
                  <a:lnTo>
                    <a:pt x="376" y="73"/>
                  </a:lnTo>
                  <a:lnTo>
                    <a:pt x="374" y="73"/>
                  </a:lnTo>
                  <a:lnTo>
                    <a:pt x="374" y="72"/>
                  </a:lnTo>
                  <a:close/>
                  <a:moveTo>
                    <a:pt x="280" y="191"/>
                  </a:moveTo>
                  <a:lnTo>
                    <a:pt x="282" y="191"/>
                  </a:lnTo>
                  <a:lnTo>
                    <a:pt x="280" y="191"/>
                  </a:lnTo>
                  <a:close/>
                  <a:moveTo>
                    <a:pt x="386" y="114"/>
                  </a:moveTo>
                  <a:lnTo>
                    <a:pt x="387" y="114"/>
                  </a:lnTo>
                  <a:lnTo>
                    <a:pt x="387" y="116"/>
                  </a:lnTo>
                  <a:lnTo>
                    <a:pt x="386" y="116"/>
                  </a:lnTo>
                  <a:lnTo>
                    <a:pt x="386" y="114"/>
                  </a:lnTo>
                  <a:close/>
                  <a:moveTo>
                    <a:pt x="602" y="106"/>
                  </a:moveTo>
                  <a:lnTo>
                    <a:pt x="604" y="106"/>
                  </a:lnTo>
                  <a:lnTo>
                    <a:pt x="602" y="106"/>
                  </a:lnTo>
                  <a:close/>
                  <a:moveTo>
                    <a:pt x="395" y="168"/>
                  </a:moveTo>
                  <a:lnTo>
                    <a:pt x="397" y="168"/>
                  </a:lnTo>
                  <a:lnTo>
                    <a:pt x="395" y="168"/>
                  </a:lnTo>
                  <a:close/>
                  <a:moveTo>
                    <a:pt x="549" y="173"/>
                  </a:moveTo>
                  <a:lnTo>
                    <a:pt x="549" y="175"/>
                  </a:lnTo>
                  <a:lnTo>
                    <a:pt x="549" y="173"/>
                  </a:lnTo>
                  <a:close/>
                  <a:moveTo>
                    <a:pt x="75" y="48"/>
                  </a:moveTo>
                  <a:lnTo>
                    <a:pt x="75" y="50"/>
                  </a:lnTo>
                  <a:lnTo>
                    <a:pt x="75" y="48"/>
                  </a:lnTo>
                  <a:close/>
                  <a:moveTo>
                    <a:pt x="480" y="133"/>
                  </a:moveTo>
                  <a:lnTo>
                    <a:pt x="481" y="133"/>
                  </a:lnTo>
                  <a:lnTo>
                    <a:pt x="481" y="135"/>
                  </a:lnTo>
                  <a:lnTo>
                    <a:pt x="480" y="135"/>
                  </a:lnTo>
                  <a:lnTo>
                    <a:pt x="480" y="133"/>
                  </a:lnTo>
                  <a:close/>
                  <a:moveTo>
                    <a:pt x="123" y="70"/>
                  </a:moveTo>
                  <a:lnTo>
                    <a:pt x="123" y="72"/>
                  </a:lnTo>
                  <a:lnTo>
                    <a:pt x="123" y="70"/>
                  </a:lnTo>
                  <a:close/>
                  <a:moveTo>
                    <a:pt x="151" y="177"/>
                  </a:moveTo>
                  <a:lnTo>
                    <a:pt x="153" y="177"/>
                  </a:lnTo>
                  <a:lnTo>
                    <a:pt x="151" y="177"/>
                  </a:lnTo>
                  <a:close/>
                  <a:moveTo>
                    <a:pt x="284" y="168"/>
                  </a:moveTo>
                  <a:lnTo>
                    <a:pt x="286" y="168"/>
                  </a:lnTo>
                  <a:lnTo>
                    <a:pt x="284" y="168"/>
                  </a:lnTo>
                  <a:close/>
                  <a:moveTo>
                    <a:pt x="528" y="206"/>
                  </a:moveTo>
                  <a:lnTo>
                    <a:pt x="529" y="206"/>
                  </a:lnTo>
                  <a:lnTo>
                    <a:pt x="528" y="206"/>
                  </a:lnTo>
                  <a:close/>
                  <a:moveTo>
                    <a:pt x="123" y="73"/>
                  </a:moveTo>
                  <a:lnTo>
                    <a:pt x="124" y="73"/>
                  </a:lnTo>
                  <a:lnTo>
                    <a:pt x="123" y="73"/>
                  </a:lnTo>
                  <a:close/>
                  <a:moveTo>
                    <a:pt x="124" y="75"/>
                  </a:moveTo>
                  <a:lnTo>
                    <a:pt x="126" y="75"/>
                  </a:lnTo>
                  <a:lnTo>
                    <a:pt x="126" y="77"/>
                  </a:lnTo>
                  <a:lnTo>
                    <a:pt x="124" y="77"/>
                  </a:lnTo>
                  <a:lnTo>
                    <a:pt x="124" y="75"/>
                  </a:lnTo>
                  <a:close/>
                  <a:moveTo>
                    <a:pt x="583" y="144"/>
                  </a:moveTo>
                  <a:lnTo>
                    <a:pt x="583" y="146"/>
                  </a:lnTo>
                  <a:lnTo>
                    <a:pt x="583" y="144"/>
                  </a:lnTo>
                  <a:close/>
                  <a:moveTo>
                    <a:pt x="549" y="173"/>
                  </a:moveTo>
                  <a:lnTo>
                    <a:pt x="551" y="173"/>
                  </a:lnTo>
                  <a:lnTo>
                    <a:pt x="549" y="173"/>
                  </a:lnTo>
                  <a:close/>
                  <a:moveTo>
                    <a:pt x="528" y="200"/>
                  </a:moveTo>
                  <a:lnTo>
                    <a:pt x="528" y="202"/>
                  </a:lnTo>
                  <a:lnTo>
                    <a:pt x="528" y="200"/>
                  </a:lnTo>
                  <a:close/>
                  <a:moveTo>
                    <a:pt x="514" y="93"/>
                  </a:moveTo>
                  <a:lnTo>
                    <a:pt x="516" y="93"/>
                  </a:lnTo>
                  <a:lnTo>
                    <a:pt x="514" y="93"/>
                  </a:lnTo>
                  <a:close/>
                  <a:moveTo>
                    <a:pt x="409" y="73"/>
                  </a:moveTo>
                  <a:lnTo>
                    <a:pt x="409" y="75"/>
                  </a:lnTo>
                  <a:lnTo>
                    <a:pt x="409" y="73"/>
                  </a:lnTo>
                  <a:close/>
                  <a:moveTo>
                    <a:pt x="409" y="248"/>
                  </a:moveTo>
                  <a:lnTo>
                    <a:pt x="410" y="248"/>
                  </a:lnTo>
                  <a:lnTo>
                    <a:pt x="409" y="248"/>
                  </a:lnTo>
                  <a:close/>
                  <a:moveTo>
                    <a:pt x="531" y="193"/>
                  </a:moveTo>
                  <a:lnTo>
                    <a:pt x="533" y="193"/>
                  </a:lnTo>
                  <a:lnTo>
                    <a:pt x="533" y="194"/>
                  </a:lnTo>
                  <a:lnTo>
                    <a:pt x="531" y="194"/>
                  </a:lnTo>
                  <a:lnTo>
                    <a:pt x="531" y="193"/>
                  </a:lnTo>
                  <a:close/>
                  <a:moveTo>
                    <a:pt x="13" y="50"/>
                  </a:moveTo>
                  <a:lnTo>
                    <a:pt x="15" y="50"/>
                  </a:lnTo>
                  <a:lnTo>
                    <a:pt x="13" y="50"/>
                  </a:lnTo>
                  <a:close/>
                  <a:moveTo>
                    <a:pt x="155" y="43"/>
                  </a:moveTo>
                  <a:lnTo>
                    <a:pt x="157" y="43"/>
                  </a:lnTo>
                  <a:lnTo>
                    <a:pt x="155" y="43"/>
                  </a:lnTo>
                  <a:close/>
                  <a:moveTo>
                    <a:pt x="535" y="125"/>
                  </a:moveTo>
                  <a:lnTo>
                    <a:pt x="537" y="125"/>
                  </a:lnTo>
                  <a:lnTo>
                    <a:pt x="537" y="127"/>
                  </a:lnTo>
                  <a:lnTo>
                    <a:pt x="535" y="127"/>
                  </a:lnTo>
                  <a:lnTo>
                    <a:pt x="535" y="125"/>
                  </a:lnTo>
                  <a:close/>
                  <a:moveTo>
                    <a:pt x="126" y="77"/>
                  </a:moveTo>
                  <a:lnTo>
                    <a:pt x="128" y="77"/>
                  </a:lnTo>
                  <a:lnTo>
                    <a:pt x="128" y="79"/>
                  </a:lnTo>
                  <a:lnTo>
                    <a:pt x="126" y="79"/>
                  </a:lnTo>
                  <a:lnTo>
                    <a:pt x="126" y="77"/>
                  </a:lnTo>
                  <a:close/>
                  <a:moveTo>
                    <a:pt x="472" y="95"/>
                  </a:moveTo>
                  <a:lnTo>
                    <a:pt x="474" y="95"/>
                  </a:lnTo>
                  <a:lnTo>
                    <a:pt x="472" y="95"/>
                  </a:lnTo>
                  <a:close/>
                  <a:moveTo>
                    <a:pt x="130" y="72"/>
                  </a:moveTo>
                  <a:lnTo>
                    <a:pt x="130" y="73"/>
                  </a:lnTo>
                  <a:lnTo>
                    <a:pt x="130" y="72"/>
                  </a:lnTo>
                  <a:close/>
                  <a:moveTo>
                    <a:pt x="364" y="210"/>
                  </a:moveTo>
                  <a:lnTo>
                    <a:pt x="364" y="212"/>
                  </a:lnTo>
                  <a:lnTo>
                    <a:pt x="364" y="210"/>
                  </a:lnTo>
                  <a:close/>
                  <a:moveTo>
                    <a:pt x="518" y="120"/>
                  </a:moveTo>
                  <a:lnTo>
                    <a:pt x="520" y="120"/>
                  </a:lnTo>
                  <a:lnTo>
                    <a:pt x="518" y="120"/>
                  </a:lnTo>
                  <a:close/>
                  <a:moveTo>
                    <a:pt x="78" y="104"/>
                  </a:moveTo>
                  <a:lnTo>
                    <a:pt x="80" y="104"/>
                  </a:lnTo>
                  <a:lnTo>
                    <a:pt x="80" y="106"/>
                  </a:lnTo>
                  <a:lnTo>
                    <a:pt x="78" y="106"/>
                  </a:lnTo>
                  <a:lnTo>
                    <a:pt x="78" y="104"/>
                  </a:lnTo>
                  <a:close/>
                  <a:moveTo>
                    <a:pt x="641" y="208"/>
                  </a:moveTo>
                  <a:lnTo>
                    <a:pt x="643" y="208"/>
                  </a:lnTo>
                  <a:lnTo>
                    <a:pt x="643" y="210"/>
                  </a:lnTo>
                  <a:lnTo>
                    <a:pt x="641" y="210"/>
                  </a:lnTo>
                  <a:lnTo>
                    <a:pt x="641" y="208"/>
                  </a:lnTo>
                  <a:close/>
                  <a:moveTo>
                    <a:pt x="190" y="29"/>
                  </a:moveTo>
                  <a:lnTo>
                    <a:pt x="190" y="31"/>
                  </a:lnTo>
                  <a:lnTo>
                    <a:pt x="190" y="29"/>
                  </a:lnTo>
                  <a:close/>
                  <a:moveTo>
                    <a:pt x="487" y="75"/>
                  </a:moveTo>
                  <a:lnTo>
                    <a:pt x="489" y="75"/>
                  </a:lnTo>
                  <a:lnTo>
                    <a:pt x="487" y="75"/>
                  </a:lnTo>
                  <a:close/>
                  <a:moveTo>
                    <a:pt x="134" y="72"/>
                  </a:moveTo>
                  <a:lnTo>
                    <a:pt x="134" y="73"/>
                  </a:lnTo>
                  <a:lnTo>
                    <a:pt x="134" y="72"/>
                  </a:lnTo>
                  <a:close/>
                  <a:moveTo>
                    <a:pt x="577" y="189"/>
                  </a:moveTo>
                  <a:lnTo>
                    <a:pt x="579" y="189"/>
                  </a:lnTo>
                  <a:lnTo>
                    <a:pt x="577" y="189"/>
                  </a:lnTo>
                  <a:close/>
                  <a:moveTo>
                    <a:pt x="144" y="89"/>
                  </a:moveTo>
                  <a:lnTo>
                    <a:pt x="146" y="89"/>
                  </a:lnTo>
                  <a:lnTo>
                    <a:pt x="144" y="89"/>
                  </a:lnTo>
                  <a:close/>
                  <a:moveTo>
                    <a:pt x="608" y="104"/>
                  </a:moveTo>
                  <a:lnTo>
                    <a:pt x="610" y="104"/>
                  </a:lnTo>
                  <a:lnTo>
                    <a:pt x="608" y="104"/>
                  </a:lnTo>
                  <a:close/>
                  <a:moveTo>
                    <a:pt x="207" y="89"/>
                  </a:moveTo>
                  <a:lnTo>
                    <a:pt x="207" y="91"/>
                  </a:lnTo>
                  <a:lnTo>
                    <a:pt x="207" y="89"/>
                  </a:lnTo>
                  <a:close/>
                  <a:moveTo>
                    <a:pt x="581" y="181"/>
                  </a:moveTo>
                  <a:lnTo>
                    <a:pt x="583" y="181"/>
                  </a:lnTo>
                  <a:lnTo>
                    <a:pt x="581" y="181"/>
                  </a:lnTo>
                  <a:close/>
                  <a:moveTo>
                    <a:pt x="399" y="210"/>
                  </a:moveTo>
                  <a:lnTo>
                    <a:pt x="401" y="210"/>
                  </a:lnTo>
                  <a:lnTo>
                    <a:pt x="399" y="210"/>
                  </a:lnTo>
                  <a:close/>
                  <a:moveTo>
                    <a:pt x="82" y="139"/>
                  </a:moveTo>
                  <a:lnTo>
                    <a:pt x="84" y="139"/>
                  </a:lnTo>
                  <a:lnTo>
                    <a:pt x="82" y="139"/>
                  </a:lnTo>
                  <a:close/>
                  <a:moveTo>
                    <a:pt x="581" y="173"/>
                  </a:moveTo>
                  <a:lnTo>
                    <a:pt x="583" y="173"/>
                  </a:lnTo>
                  <a:lnTo>
                    <a:pt x="581" y="173"/>
                  </a:lnTo>
                  <a:close/>
                  <a:moveTo>
                    <a:pt x="564" y="137"/>
                  </a:moveTo>
                  <a:lnTo>
                    <a:pt x="566" y="137"/>
                  </a:lnTo>
                  <a:lnTo>
                    <a:pt x="566" y="139"/>
                  </a:lnTo>
                  <a:lnTo>
                    <a:pt x="564" y="139"/>
                  </a:lnTo>
                  <a:lnTo>
                    <a:pt x="564" y="137"/>
                  </a:lnTo>
                  <a:close/>
                  <a:moveTo>
                    <a:pt x="518" y="118"/>
                  </a:moveTo>
                  <a:lnTo>
                    <a:pt x="520" y="118"/>
                  </a:lnTo>
                  <a:lnTo>
                    <a:pt x="518" y="118"/>
                  </a:lnTo>
                  <a:close/>
                  <a:moveTo>
                    <a:pt x="474" y="73"/>
                  </a:moveTo>
                  <a:lnTo>
                    <a:pt x="474" y="75"/>
                  </a:lnTo>
                  <a:lnTo>
                    <a:pt x="474" y="73"/>
                  </a:lnTo>
                  <a:close/>
                  <a:moveTo>
                    <a:pt x="303" y="156"/>
                  </a:moveTo>
                  <a:lnTo>
                    <a:pt x="305" y="156"/>
                  </a:lnTo>
                  <a:lnTo>
                    <a:pt x="303" y="156"/>
                  </a:lnTo>
                  <a:close/>
                  <a:moveTo>
                    <a:pt x="391" y="79"/>
                  </a:moveTo>
                  <a:lnTo>
                    <a:pt x="391" y="81"/>
                  </a:lnTo>
                  <a:lnTo>
                    <a:pt x="391" y="79"/>
                  </a:lnTo>
                  <a:close/>
                  <a:moveTo>
                    <a:pt x="581" y="173"/>
                  </a:moveTo>
                  <a:lnTo>
                    <a:pt x="583" y="173"/>
                  </a:lnTo>
                  <a:lnTo>
                    <a:pt x="581" y="173"/>
                  </a:lnTo>
                  <a:close/>
                  <a:moveTo>
                    <a:pt x="616" y="114"/>
                  </a:moveTo>
                  <a:lnTo>
                    <a:pt x="616" y="116"/>
                  </a:lnTo>
                  <a:lnTo>
                    <a:pt x="616" y="114"/>
                  </a:lnTo>
                  <a:close/>
                  <a:moveTo>
                    <a:pt x="326" y="198"/>
                  </a:moveTo>
                  <a:lnTo>
                    <a:pt x="328" y="198"/>
                  </a:lnTo>
                  <a:lnTo>
                    <a:pt x="326" y="198"/>
                  </a:lnTo>
                  <a:close/>
                  <a:moveTo>
                    <a:pt x="330" y="41"/>
                  </a:moveTo>
                  <a:lnTo>
                    <a:pt x="332" y="41"/>
                  </a:lnTo>
                  <a:lnTo>
                    <a:pt x="332" y="43"/>
                  </a:lnTo>
                  <a:lnTo>
                    <a:pt x="330" y="43"/>
                  </a:lnTo>
                  <a:lnTo>
                    <a:pt x="330" y="41"/>
                  </a:lnTo>
                  <a:close/>
                  <a:moveTo>
                    <a:pt x="309" y="137"/>
                  </a:moveTo>
                  <a:lnTo>
                    <a:pt x="309" y="139"/>
                  </a:lnTo>
                  <a:lnTo>
                    <a:pt x="309" y="137"/>
                  </a:lnTo>
                  <a:close/>
                  <a:moveTo>
                    <a:pt x="167" y="41"/>
                  </a:moveTo>
                  <a:lnTo>
                    <a:pt x="169" y="41"/>
                  </a:lnTo>
                  <a:lnTo>
                    <a:pt x="167" y="41"/>
                  </a:lnTo>
                  <a:close/>
                  <a:moveTo>
                    <a:pt x="568" y="120"/>
                  </a:moveTo>
                  <a:lnTo>
                    <a:pt x="570" y="120"/>
                  </a:lnTo>
                  <a:lnTo>
                    <a:pt x="568" y="120"/>
                  </a:lnTo>
                  <a:close/>
                  <a:moveTo>
                    <a:pt x="512" y="179"/>
                  </a:moveTo>
                  <a:lnTo>
                    <a:pt x="512" y="181"/>
                  </a:lnTo>
                  <a:lnTo>
                    <a:pt x="512" y="179"/>
                  </a:lnTo>
                  <a:close/>
                  <a:moveTo>
                    <a:pt x="349" y="125"/>
                  </a:moveTo>
                  <a:lnTo>
                    <a:pt x="349" y="127"/>
                  </a:lnTo>
                  <a:lnTo>
                    <a:pt x="349" y="125"/>
                  </a:lnTo>
                  <a:close/>
                  <a:moveTo>
                    <a:pt x="142" y="89"/>
                  </a:moveTo>
                  <a:lnTo>
                    <a:pt x="144" y="89"/>
                  </a:lnTo>
                  <a:lnTo>
                    <a:pt x="142" y="89"/>
                  </a:lnTo>
                  <a:close/>
                  <a:moveTo>
                    <a:pt x="368" y="239"/>
                  </a:moveTo>
                  <a:lnTo>
                    <a:pt x="370" y="239"/>
                  </a:lnTo>
                  <a:lnTo>
                    <a:pt x="368" y="239"/>
                  </a:lnTo>
                  <a:close/>
                  <a:moveTo>
                    <a:pt x="399" y="156"/>
                  </a:moveTo>
                  <a:lnTo>
                    <a:pt x="401" y="156"/>
                  </a:lnTo>
                  <a:lnTo>
                    <a:pt x="399" y="156"/>
                  </a:lnTo>
                  <a:close/>
                  <a:moveTo>
                    <a:pt x="119" y="77"/>
                  </a:moveTo>
                  <a:lnTo>
                    <a:pt x="119" y="79"/>
                  </a:lnTo>
                  <a:lnTo>
                    <a:pt x="119" y="77"/>
                  </a:lnTo>
                  <a:close/>
                  <a:moveTo>
                    <a:pt x="447" y="31"/>
                  </a:moveTo>
                  <a:lnTo>
                    <a:pt x="449" y="31"/>
                  </a:lnTo>
                  <a:lnTo>
                    <a:pt x="449" y="33"/>
                  </a:lnTo>
                  <a:lnTo>
                    <a:pt x="447" y="33"/>
                  </a:lnTo>
                  <a:lnTo>
                    <a:pt x="447" y="31"/>
                  </a:lnTo>
                  <a:close/>
                  <a:moveTo>
                    <a:pt x="529" y="104"/>
                  </a:moveTo>
                  <a:lnTo>
                    <a:pt x="529" y="106"/>
                  </a:lnTo>
                  <a:lnTo>
                    <a:pt x="529" y="104"/>
                  </a:lnTo>
                  <a:close/>
                  <a:moveTo>
                    <a:pt x="157" y="189"/>
                  </a:moveTo>
                  <a:lnTo>
                    <a:pt x="159" y="189"/>
                  </a:lnTo>
                  <a:lnTo>
                    <a:pt x="159" y="191"/>
                  </a:lnTo>
                  <a:lnTo>
                    <a:pt x="157" y="191"/>
                  </a:lnTo>
                  <a:lnTo>
                    <a:pt x="157" y="189"/>
                  </a:lnTo>
                  <a:close/>
                  <a:moveTo>
                    <a:pt x="203" y="79"/>
                  </a:moveTo>
                  <a:lnTo>
                    <a:pt x="203" y="81"/>
                  </a:lnTo>
                  <a:lnTo>
                    <a:pt x="203" y="79"/>
                  </a:lnTo>
                  <a:close/>
                  <a:moveTo>
                    <a:pt x="163" y="41"/>
                  </a:moveTo>
                  <a:lnTo>
                    <a:pt x="163" y="43"/>
                  </a:lnTo>
                  <a:lnTo>
                    <a:pt x="163" y="41"/>
                  </a:lnTo>
                  <a:close/>
                  <a:moveTo>
                    <a:pt x="528" y="81"/>
                  </a:moveTo>
                  <a:lnTo>
                    <a:pt x="528" y="83"/>
                  </a:lnTo>
                  <a:lnTo>
                    <a:pt x="528" y="81"/>
                  </a:lnTo>
                  <a:close/>
                  <a:moveTo>
                    <a:pt x="660" y="204"/>
                  </a:moveTo>
                  <a:lnTo>
                    <a:pt x="660" y="206"/>
                  </a:lnTo>
                  <a:lnTo>
                    <a:pt x="660" y="204"/>
                  </a:lnTo>
                  <a:close/>
                  <a:moveTo>
                    <a:pt x="203" y="47"/>
                  </a:moveTo>
                  <a:lnTo>
                    <a:pt x="205" y="47"/>
                  </a:lnTo>
                  <a:lnTo>
                    <a:pt x="205" y="48"/>
                  </a:lnTo>
                  <a:lnTo>
                    <a:pt x="203" y="48"/>
                  </a:lnTo>
                  <a:lnTo>
                    <a:pt x="203" y="47"/>
                  </a:lnTo>
                  <a:close/>
                  <a:moveTo>
                    <a:pt x="608" y="106"/>
                  </a:moveTo>
                  <a:lnTo>
                    <a:pt x="610" y="106"/>
                  </a:lnTo>
                  <a:lnTo>
                    <a:pt x="608" y="106"/>
                  </a:lnTo>
                  <a:close/>
                  <a:moveTo>
                    <a:pt x="520" y="116"/>
                  </a:moveTo>
                  <a:lnTo>
                    <a:pt x="522" y="116"/>
                  </a:lnTo>
                  <a:lnTo>
                    <a:pt x="522" y="118"/>
                  </a:lnTo>
                  <a:lnTo>
                    <a:pt x="520" y="118"/>
                  </a:lnTo>
                  <a:lnTo>
                    <a:pt x="520" y="116"/>
                  </a:lnTo>
                  <a:close/>
                  <a:moveTo>
                    <a:pt x="405" y="164"/>
                  </a:moveTo>
                  <a:lnTo>
                    <a:pt x="407" y="164"/>
                  </a:lnTo>
                  <a:lnTo>
                    <a:pt x="407" y="166"/>
                  </a:lnTo>
                  <a:lnTo>
                    <a:pt x="405" y="166"/>
                  </a:lnTo>
                  <a:lnTo>
                    <a:pt x="405" y="164"/>
                  </a:lnTo>
                  <a:close/>
                  <a:moveTo>
                    <a:pt x="581" y="183"/>
                  </a:moveTo>
                  <a:lnTo>
                    <a:pt x="581" y="185"/>
                  </a:lnTo>
                  <a:lnTo>
                    <a:pt x="581" y="183"/>
                  </a:lnTo>
                  <a:close/>
                  <a:moveTo>
                    <a:pt x="643" y="210"/>
                  </a:moveTo>
                  <a:lnTo>
                    <a:pt x="645" y="210"/>
                  </a:lnTo>
                  <a:lnTo>
                    <a:pt x="643" y="210"/>
                  </a:lnTo>
                  <a:close/>
                  <a:moveTo>
                    <a:pt x="138" y="85"/>
                  </a:moveTo>
                  <a:lnTo>
                    <a:pt x="140" y="85"/>
                  </a:lnTo>
                  <a:lnTo>
                    <a:pt x="140" y="87"/>
                  </a:lnTo>
                  <a:lnTo>
                    <a:pt x="138" y="87"/>
                  </a:lnTo>
                  <a:lnTo>
                    <a:pt x="138" y="85"/>
                  </a:lnTo>
                  <a:close/>
                  <a:moveTo>
                    <a:pt x="136" y="77"/>
                  </a:moveTo>
                  <a:lnTo>
                    <a:pt x="138" y="77"/>
                  </a:lnTo>
                  <a:lnTo>
                    <a:pt x="136" y="77"/>
                  </a:lnTo>
                  <a:close/>
                  <a:moveTo>
                    <a:pt x="445" y="39"/>
                  </a:moveTo>
                  <a:lnTo>
                    <a:pt x="447" y="39"/>
                  </a:lnTo>
                  <a:lnTo>
                    <a:pt x="447" y="41"/>
                  </a:lnTo>
                  <a:lnTo>
                    <a:pt x="445" y="41"/>
                  </a:lnTo>
                  <a:lnTo>
                    <a:pt x="445" y="39"/>
                  </a:lnTo>
                  <a:close/>
                  <a:moveTo>
                    <a:pt x="336" y="164"/>
                  </a:moveTo>
                  <a:lnTo>
                    <a:pt x="336" y="166"/>
                  </a:lnTo>
                  <a:lnTo>
                    <a:pt x="336" y="164"/>
                  </a:lnTo>
                  <a:close/>
                  <a:moveTo>
                    <a:pt x="67" y="116"/>
                  </a:moveTo>
                  <a:lnTo>
                    <a:pt x="67" y="118"/>
                  </a:lnTo>
                  <a:lnTo>
                    <a:pt x="67" y="116"/>
                  </a:lnTo>
                  <a:close/>
                  <a:moveTo>
                    <a:pt x="566" y="120"/>
                  </a:moveTo>
                  <a:lnTo>
                    <a:pt x="568" y="120"/>
                  </a:lnTo>
                  <a:lnTo>
                    <a:pt x="568" y="121"/>
                  </a:lnTo>
                  <a:lnTo>
                    <a:pt x="566" y="121"/>
                  </a:lnTo>
                  <a:lnTo>
                    <a:pt x="566" y="120"/>
                  </a:lnTo>
                  <a:close/>
                  <a:moveTo>
                    <a:pt x="126" y="77"/>
                  </a:moveTo>
                  <a:lnTo>
                    <a:pt x="128" y="77"/>
                  </a:lnTo>
                  <a:lnTo>
                    <a:pt x="126" y="77"/>
                  </a:lnTo>
                  <a:close/>
                  <a:moveTo>
                    <a:pt x="399" y="156"/>
                  </a:moveTo>
                  <a:lnTo>
                    <a:pt x="401" y="156"/>
                  </a:lnTo>
                  <a:lnTo>
                    <a:pt x="399" y="156"/>
                  </a:lnTo>
                  <a:close/>
                  <a:moveTo>
                    <a:pt x="483" y="100"/>
                  </a:moveTo>
                  <a:lnTo>
                    <a:pt x="485" y="100"/>
                  </a:lnTo>
                  <a:lnTo>
                    <a:pt x="483" y="100"/>
                  </a:lnTo>
                  <a:close/>
                  <a:moveTo>
                    <a:pt x="518" y="116"/>
                  </a:moveTo>
                  <a:lnTo>
                    <a:pt x="520" y="116"/>
                  </a:lnTo>
                  <a:lnTo>
                    <a:pt x="518" y="116"/>
                  </a:lnTo>
                  <a:close/>
                  <a:moveTo>
                    <a:pt x="326" y="35"/>
                  </a:moveTo>
                  <a:lnTo>
                    <a:pt x="328" y="35"/>
                  </a:lnTo>
                  <a:lnTo>
                    <a:pt x="326" y="35"/>
                  </a:lnTo>
                  <a:close/>
                  <a:moveTo>
                    <a:pt x="393" y="162"/>
                  </a:moveTo>
                  <a:lnTo>
                    <a:pt x="393" y="164"/>
                  </a:lnTo>
                  <a:lnTo>
                    <a:pt x="393" y="162"/>
                  </a:lnTo>
                  <a:close/>
                  <a:moveTo>
                    <a:pt x="146" y="121"/>
                  </a:moveTo>
                  <a:lnTo>
                    <a:pt x="146" y="123"/>
                  </a:lnTo>
                  <a:lnTo>
                    <a:pt x="146" y="121"/>
                  </a:lnTo>
                  <a:close/>
                  <a:moveTo>
                    <a:pt x="134" y="77"/>
                  </a:moveTo>
                  <a:lnTo>
                    <a:pt x="134" y="79"/>
                  </a:lnTo>
                  <a:lnTo>
                    <a:pt x="134" y="77"/>
                  </a:lnTo>
                  <a:close/>
                  <a:moveTo>
                    <a:pt x="222" y="171"/>
                  </a:moveTo>
                  <a:lnTo>
                    <a:pt x="224" y="171"/>
                  </a:lnTo>
                  <a:lnTo>
                    <a:pt x="222" y="171"/>
                  </a:lnTo>
                  <a:close/>
                  <a:moveTo>
                    <a:pt x="529" y="102"/>
                  </a:moveTo>
                  <a:lnTo>
                    <a:pt x="529" y="104"/>
                  </a:lnTo>
                  <a:lnTo>
                    <a:pt x="529" y="102"/>
                  </a:lnTo>
                  <a:close/>
                  <a:moveTo>
                    <a:pt x="149" y="187"/>
                  </a:moveTo>
                  <a:lnTo>
                    <a:pt x="151" y="187"/>
                  </a:lnTo>
                  <a:lnTo>
                    <a:pt x="149" y="187"/>
                  </a:lnTo>
                  <a:close/>
                  <a:moveTo>
                    <a:pt x="606" y="104"/>
                  </a:moveTo>
                  <a:lnTo>
                    <a:pt x="606" y="106"/>
                  </a:lnTo>
                  <a:lnTo>
                    <a:pt x="606" y="104"/>
                  </a:lnTo>
                  <a:close/>
                  <a:moveTo>
                    <a:pt x="520" y="120"/>
                  </a:moveTo>
                  <a:lnTo>
                    <a:pt x="522" y="120"/>
                  </a:lnTo>
                  <a:lnTo>
                    <a:pt x="522" y="121"/>
                  </a:lnTo>
                  <a:lnTo>
                    <a:pt x="520" y="121"/>
                  </a:lnTo>
                  <a:lnTo>
                    <a:pt x="520" y="120"/>
                  </a:lnTo>
                  <a:close/>
                  <a:moveTo>
                    <a:pt x="401" y="212"/>
                  </a:moveTo>
                  <a:lnTo>
                    <a:pt x="403" y="212"/>
                  </a:lnTo>
                  <a:lnTo>
                    <a:pt x="401" y="212"/>
                  </a:lnTo>
                  <a:close/>
                  <a:moveTo>
                    <a:pt x="410" y="139"/>
                  </a:moveTo>
                  <a:lnTo>
                    <a:pt x="412" y="139"/>
                  </a:lnTo>
                  <a:lnTo>
                    <a:pt x="410" y="139"/>
                  </a:lnTo>
                  <a:close/>
                  <a:moveTo>
                    <a:pt x="529" y="102"/>
                  </a:moveTo>
                  <a:lnTo>
                    <a:pt x="529" y="104"/>
                  </a:lnTo>
                  <a:lnTo>
                    <a:pt x="529" y="102"/>
                  </a:lnTo>
                  <a:close/>
                  <a:moveTo>
                    <a:pt x="577" y="185"/>
                  </a:moveTo>
                  <a:lnTo>
                    <a:pt x="577" y="187"/>
                  </a:lnTo>
                  <a:lnTo>
                    <a:pt x="577" y="185"/>
                  </a:lnTo>
                  <a:close/>
                  <a:moveTo>
                    <a:pt x="579" y="166"/>
                  </a:moveTo>
                  <a:lnTo>
                    <a:pt x="579" y="168"/>
                  </a:lnTo>
                  <a:lnTo>
                    <a:pt x="579" y="166"/>
                  </a:lnTo>
                  <a:close/>
                  <a:moveTo>
                    <a:pt x="313" y="143"/>
                  </a:moveTo>
                  <a:lnTo>
                    <a:pt x="313" y="144"/>
                  </a:lnTo>
                  <a:lnTo>
                    <a:pt x="313" y="143"/>
                  </a:lnTo>
                  <a:close/>
                  <a:moveTo>
                    <a:pt x="445" y="48"/>
                  </a:moveTo>
                  <a:lnTo>
                    <a:pt x="447" y="48"/>
                  </a:lnTo>
                  <a:lnTo>
                    <a:pt x="445" y="48"/>
                  </a:lnTo>
                  <a:close/>
                  <a:moveTo>
                    <a:pt x="472" y="198"/>
                  </a:moveTo>
                  <a:lnTo>
                    <a:pt x="474" y="198"/>
                  </a:lnTo>
                  <a:lnTo>
                    <a:pt x="472" y="198"/>
                  </a:lnTo>
                  <a:close/>
                  <a:moveTo>
                    <a:pt x="372" y="169"/>
                  </a:moveTo>
                  <a:lnTo>
                    <a:pt x="372" y="171"/>
                  </a:lnTo>
                  <a:lnTo>
                    <a:pt x="372" y="169"/>
                  </a:lnTo>
                  <a:close/>
                  <a:moveTo>
                    <a:pt x="535" y="187"/>
                  </a:moveTo>
                  <a:lnTo>
                    <a:pt x="535" y="189"/>
                  </a:lnTo>
                  <a:lnTo>
                    <a:pt x="535" y="187"/>
                  </a:lnTo>
                  <a:close/>
                  <a:moveTo>
                    <a:pt x="476" y="93"/>
                  </a:moveTo>
                  <a:lnTo>
                    <a:pt x="478" y="93"/>
                  </a:lnTo>
                  <a:lnTo>
                    <a:pt x="476" y="93"/>
                  </a:lnTo>
                  <a:close/>
                  <a:moveTo>
                    <a:pt x="372" y="185"/>
                  </a:moveTo>
                  <a:lnTo>
                    <a:pt x="372" y="187"/>
                  </a:lnTo>
                  <a:lnTo>
                    <a:pt x="372" y="185"/>
                  </a:lnTo>
                  <a:close/>
                  <a:moveTo>
                    <a:pt x="130" y="73"/>
                  </a:moveTo>
                  <a:lnTo>
                    <a:pt x="132" y="73"/>
                  </a:lnTo>
                  <a:lnTo>
                    <a:pt x="130" y="73"/>
                  </a:lnTo>
                  <a:close/>
                  <a:moveTo>
                    <a:pt x="138" y="83"/>
                  </a:moveTo>
                  <a:lnTo>
                    <a:pt x="140" y="83"/>
                  </a:lnTo>
                  <a:lnTo>
                    <a:pt x="138" y="83"/>
                  </a:lnTo>
                  <a:close/>
                  <a:moveTo>
                    <a:pt x="307" y="189"/>
                  </a:moveTo>
                  <a:lnTo>
                    <a:pt x="307" y="191"/>
                  </a:lnTo>
                  <a:lnTo>
                    <a:pt x="307" y="189"/>
                  </a:lnTo>
                  <a:close/>
                  <a:moveTo>
                    <a:pt x="428" y="212"/>
                  </a:moveTo>
                  <a:lnTo>
                    <a:pt x="430" y="212"/>
                  </a:lnTo>
                  <a:lnTo>
                    <a:pt x="428" y="212"/>
                  </a:lnTo>
                  <a:close/>
                  <a:moveTo>
                    <a:pt x="487" y="102"/>
                  </a:moveTo>
                  <a:lnTo>
                    <a:pt x="489" y="102"/>
                  </a:lnTo>
                  <a:lnTo>
                    <a:pt x="487" y="102"/>
                  </a:lnTo>
                  <a:close/>
                  <a:moveTo>
                    <a:pt x="524" y="196"/>
                  </a:moveTo>
                  <a:lnTo>
                    <a:pt x="524" y="198"/>
                  </a:lnTo>
                  <a:lnTo>
                    <a:pt x="524" y="196"/>
                  </a:lnTo>
                  <a:close/>
                  <a:moveTo>
                    <a:pt x="387" y="148"/>
                  </a:moveTo>
                  <a:lnTo>
                    <a:pt x="387" y="150"/>
                  </a:lnTo>
                  <a:lnTo>
                    <a:pt x="387" y="148"/>
                  </a:lnTo>
                  <a:close/>
                  <a:moveTo>
                    <a:pt x="564" y="125"/>
                  </a:moveTo>
                  <a:lnTo>
                    <a:pt x="566" y="125"/>
                  </a:lnTo>
                  <a:lnTo>
                    <a:pt x="564" y="125"/>
                  </a:lnTo>
                  <a:close/>
                  <a:moveTo>
                    <a:pt x="172" y="129"/>
                  </a:moveTo>
                  <a:lnTo>
                    <a:pt x="174" y="129"/>
                  </a:lnTo>
                  <a:lnTo>
                    <a:pt x="172" y="129"/>
                  </a:lnTo>
                  <a:close/>
                  <a:moveTo>
                    <a:pt x="128" y="72"/>
                  </a:moveTo>
                  <a:lnTo>
                    <a:pt x="130" y="72"/>
                  </a:lnTo>
                  <a:lnTo>
                    <a:pt x="128" y="72"/>
                  </a:lnTo>
                  <a:close/>
                  <a:moveTo>
                    <a:pt x="549" y="125"/>
                  </a:moveTo>
                  <a:lnTo>
                    <a:pt x="551" y="125"/>
                  </a:lnTo>
                  <a:lnTo>
                    <a:pt x="551" y="127"/>
                  </a:lnTo>
                  <a:lnTo>
                    <a:pt x="549" y="127"/>
                  </a:lnTo>
                  <a:lnTo>
                    <a:pt x="549" y="125"/>
                  </a:lnTo>
                  <a:close/>
                  <a:moveTo>
                    <a:pt x="579" y="173"/>
                  </a:moveTo>
                  <a:lnTo>
                    <a:pt x="579" y="175"/>
                  </a:lnTo>
                  <a:lnTo>
                    <a:pt x="579" y="173"/>
                  </a:lnTo>
                  <a:close/>
                  <a:moveTo>
                    <a:pt x="487" y="96"/>
                  </a:moveTo>
                  <a:lnTo>
                    <a:pt x="489" y="96"/>
                  </a:lnTo>
                  <a:lnTo>
                    <a:pt x="487" y="96"/>
                  </a:lnTo>
                  <a:close/>
                  <a:moveTo>
                    <a:pt x="184" y="131"/>
                  </a:moveTo>
                  <a:lnTo>
                    <a:pt x="184" y="133"/>
                  </a:lnTo>
                  <a:lnTo>
                    <a:pt x="184" y="131"/>
                  </a:lnTo>
                  <a:close/>
                  <a:moveTo>
                    <a:pt x="520" y="118"/>
                  </a:moveTo>
                  <a:lnTo>
                    <a:pt x="520" y="120"/>
                  </a:lnTo>
                  <a:lnTo>
                    <a:pt x="520" y="118"/>
                  </a:lnTo>
                  <a:close/>
                  <a:moveTo>
                    <a:pt x="576" y="179"/>
                  </a:moveTo>
                  <a:lnTo>
                    <a:pt x="576" y="181"/>
                  </a:lnTo>
                  <a:lnTo>
                    <a:pt x="576" y="179"/>
                  </a:lnTo>
                  <a:close/>
                  <a:moveTo>
                    <a:pt x="533" y="191"/>
                  </a:moveTo>
                  <a:lnTo>
                    <a:pt x="533" y="193"/>
                  </a:lnTo>
                  <a:lnTo>
                    <a:pt x="533" y="191"/>
                  </a:lnTo>
                  <a:close/>
                  <a:moveTo>
                    <a:pt x="401" y="131"/>
                  </a:moveTo>
                  <a:lnTo>
                    <a:pt x="401" y="133"/>
                  </a:lnTo>
                  <a:lnTo>
                    <a:pt x="401" y="131"/>
                  </a:lnTo>
                  <a:close/>
                  <a:moveTo>
                    <a:pt x="528" y="104"/>
                  </a:moveTo>
                  <a:lnTo>
                    <a:pt x="528" y="106"/>
                  </a:lnTo>
                  <a:lnTo>
                    <a:pt x="528" y="104"/>
                  </a:lnTo>
                  <a:close/>
                  <a:moveTo>
                    <a:pt x="126" y="75"/>
                  </a:moveTo>
                  <a:lnTo>
                    <a:pt x="128" y="75"/>
                  </a:lnTo>
                  <a:lnTo>
                    <a:pt x="126" y="75"/>
                  </a:lnTo>
                  <a:close/>
                  <a:moveTo>
                    <a:pt x="182" y="129"/>
                  </a:moveTo>
                  <a:lnTo>
                    <a:pt x="184" y="129"/>
                  </a:lnTo>
                  <a:lnTo>
                    <a:pt x="182" y="129"/>
                  </a:lnTo>
                  <a:close/>
                  <a:moveTo>
                    <a:pt x="136" y="79"/>
                  </a:moveTo>
                  <a:lnTo>
                    <a:pt x="136" y="81"/>
                  </a:lnTo>
                  <a:lnTo>
                    <a:pt x="136" y="79"/>
                  </a:lnTo>
                  <a:close/>
                  <a:moveTo>
                    <a:pt x="130" y="70"/>
                  </a:moveTo>
                  <a:lnTo>
                    <a:pt x="130" y="72"/>
                  </a:lnTo>
                  <a:lnTo>
                    <a:pt x="130" y="70"/>
                  </a:lnTo>
                  <a:close/>
                  <a:moveTo>
                    <a:pt x="151" y="171"/>
                  </a:moveTo>
                  <a:lnTo>
                    <a:pt x="151" y="173"/>
                  </a:lnTo>
                  <a:lnTo>
                    <a:pt x="151" y="171"/>
                  </a:lnTo>
                  <a:close/>
                  <a:moveTo>
                    <a:pt x="132" y="73"/>
                  </a:moveTo>
                  <a:lnTo>
                    <a:pt x="132" y="75"/>
                  </a:lnTo>
                  <a:lnTo>
                    <a:pt x="132" y="73"/>
                  </a:lnTo>
                  <a:close/>
                  <a:moveTo>
                    <a:pt x="138" y="83"/>
                  </a:moveTo>
                  <a:lnTo>
                    <a:pt x="140" y="83"/>
                  </a:lnTo>
                  <a:lnTo>
                    <a:pt x="140" y="85"/>
                  </a:lnTo>
                  <a:lnTo>
                    <a:pt x="138" y="85"/>
                  </a:lnTo>
                  <a:lnTo>
                    <a:pt x="138" y="83"/>
                  </a:lnTo>
                  <a:close/>
                  <a:moveTo>
                    <a:pt x="182" y="129"/>
                  </a:moveTo>
                  <a:lnTo>
                    <a:pt x="184" y="129"/>
                  </a:lnTo>
                  <a:lnTo>
                    <a:pt x="182" y="129"/>
                  </a:lnTo>
                  <a:close/>
                  <a:moveTo>
                    <a:pt x="529" y="104"/>
                  </a:moveTo>
                  <a:lnTo>
                    <a:pt x="529" y="106"/>
                  </a:lnTo>
                  <a:lnTo>
                    <a:pt x="529" y="104"/>
                  </a:lnTo>
                  <a:close/>
                  <a:moveTo>
                    <a:pt x="541" y="164"/>
                  </a:moveTo>
                  <a:lnTo>
                    <a:pt x="543" y="164"/>
                  </a:lnTo>
                  <a:lnTo>
                    <a:pt x="541" y="164"/>
                  </a:lnTo>
                  <a:close/>
                  <a:moveTo>
                    <a:pt x="163" y="47"/>
                  </a:moveTo>
                  <a:lnTo>
                    <a:pt x="165" y="47"/>
                  </a:lnTo>
                  <a:lnTo>
                    <a:pt x="163" y="47"/>
                  </a:lnTo>
                  <a:close/>
                  <a:moveTo>
                    <a:pt x="305" y="189"/>
                  </a:moveTo>
                  <a:lnTo>
                    <a:pt x="305" y="191"/>
                  </a:lnTo>
                  <a:lnTo>
                    <a:pt x="305" y="189"/>
                  </a:lnTo>
                  <a:close/>
                  <a:moveTo>
                    <a:pt x="528" y="200"/>
                  </a:moveTo>
                  <a:lnTo>
                    <a:pt x="528" y="202"/>
                  </a:lnTo>
                  <a:lnTo>
                    <a:pt x="528" y="200"/>
                  </a:lnTo>
                  <a:close/>
                  <a:moveTo>
                    <a:pt x="564" y="120"/>
                  </a:moveTo>
                  <a:lnTo>
                    <a:pt x="566" y="120"/>
                  </a:lnTo>
                  <a:lnTo>
                    <a:pt x="564" y="120"/>
                  </a:lnTo>
                  <a:close/>
                  <a:moveTo>
                    <a:pt x="593" y="100"/>
                  </a:moveTo>
                  <a:lnTo>
                    <a:pt x="593" y="102"/>
                  </a:lnTo>
                  <a:lnTo>
                    <a:pt x="593" y="100"/>
                  </a:lnTo>
                  <a:close/>
                  <a:moveTo>
                    <a:pt x="581" y="166"/>
                  </a:moveTo>
                  <a:lnTo>
                    <a:pt x="581" y="168"/>
                  </a:lnTo>
                  <a:lnTo>
                    <a:pt x="581" y="166"/>
                  </a:lnTo>
                  <a:close/>
                  <a:moveTo>
                    <a:pt x="134" y="73"/>
                  </a:moveTo>
                  <a:lnTo>
                    <a:pt x="136" y="73"/>
                  </a:lnTo>
                  <a:lnTo>
                    <a:pt x="134" y="73"/>
                  </a:lnTo>
                  <a:close/>
                  <a:moveTo>
                    <a:pt x="579" y="179"/>
                  </a:moveTo>
                  <a:lnTo>
                    <a:pt x="579" y="181"/>
                  </a:lnTo>
                  <a:lnTo>
                    <a:pt x="579" y="179"/>
                  </a:lnTo>
                  <a:close/>
                  <a:moveTo>
                    <a:pt x="399" y="154"/>
                  </a:moveTo>
                  <a:lnTo>
                    <a:pt x="401" y="154"/>
                  </a:lnTo>
                  <a:lnTo>
                    <a:pt x="401" y="156"/>
                  </a:lnTo>
                  <a:lnTo>
                    <a:pt x="399" y="156"/>
                  </a:lnTo>
                  <a:lnTo>
                    <a:pt x="399" y="154"/>
                  </a:lnTo>
                  <a:close/>
                  <a:moveTo>
                    <a:pt x="157" y="173"/>
                  </a:moveTo>
                  <a:lnTo>
                    <a:pt x="159" y="173"/>
                  </a:lnTo>
                  <a:lnTo>
                    <a:pt x="157" y="173"/>
                  </a:lnTo>
                  <a:close/>
                  <a:moveTo>
                    <a:pt x="128" y="73"/>
                  </a:moveTo>
                  <a:lnTo>
                    <a:pt x="128" y="75"/>
                  </a:lnTo>
                  <a:lnTo>
                    <a:pt x="128" y="73"/>
                  </a:lnTo>
                  <a:close/>
                  <a:moveTo>
                    <a:pt x="171" y="131"/>
                  </a:moveTo>
                  <a:lnTo>
                    <a:pt x="172" y="131"/>
                  </a:lnTo>
                  <a:lnTo>
                    <a:pt x="171" y="131"/>
                  </a:lnTo>
                  <a:close/>
                  <a:moveTo>
                    <a:pt x="32" y="54"/>
                  </a:moveTo>
                  <a:lnTo>
                    <a:pt x="34" y="54"/>
                  </a:lnTo>
                  <a:lnTo>
                    <a:pt x="32" y="54"/>
                  </a:lnTo>
                  <a:close/>
                  <a:moveTo>
                    <a:pt x="516" y="95"/>
                  </a:moveTo>
                  <a:lnTo>
                    <a:pt x="516" y="96"/>
                  </a:lnTo>
                  <a:lnTo>
                    <a:pt x="516" y="95"/>
                  </a:lnTo>
                  <a:close/>
                  <a:moveTo>
                    <a:pt x="441" y="47"/>
                  </a:moveTo>
                  <a:lnTo>
                    <a:pt x="441" y="48"/>
                  </a:lnTo>
                  <a:lnTo>
                    <a:pt x="441" y="47"/>
                  </a:lnTo>
                  <a:close/>
                  <a:moveTo>
                    <a:pt x="207" y="56"/>
                  </a:moveTo>
                  <a:lnTo>
                    <a:pt x="207" y="58"/>
                  </a:lnTo>
                  <a:lnTo>
                    <a:pt x="207" y="56"/>
                  </a:lnTo>
                  <a:close/>
                  <a:moveTo>
                    <a:pt x="641" y="187"/>
                  </a:moveTo>
                  <a:lnTo>
                    <a:pt x="641" y="189"/>
                  </a:lnTo>
                  <a:lnTo>
                    <a:pt x="641" y="187"/>
                  </a:lnTo>
                  <a:close/>
                  <a:moveTo>
                    <a:pt x="165" y="39"/>
                  </a:moveTo>
                  <a:lnTo>
                    <a:pt x="167" y="39"/>
                  </a:lnTo>
                  <a:lnTo>
                    <a:pt x="167" y="41"/>
                  </a:lnTo>
                  <a:lnTo>
                    <a:pt x="165" y="41"/>
                  </a:lnTo>
                  <a:lnTo>
                    <a:pt x="165" y="39"/>
                  </a:lnTo>
                  <a:close/>
                  <a:moveTo>
                    <a:pt x="163" y="41"/>
                  </a:moveTo>
                  <a:lnTo>
                    <a:pt x="163" y="43"/>
                  </a:lnTo>
                  <a:lnTo>
                    <a:pt x="163" y="41"/>
                  </a:lnTo>
                  <a:close/>
                  <a:moveTo>
                    <a:pt x="134" y="102"/>
                  </a:moveTo>
                  <a:lnTo>
                    <a:pt x="136" y="102"/>
                  </a:lnTo>
                  <a:lnTo>
                    <a:pt x="134" y="102"/>
                  </a:lnTo>
                  <a:close/>
                  <a:moveTo>
                    <a:pt x="522" y="100"/>
                  </a:moveTo>
                  <a:lnTo>
                    <a:pt x="522" y="102"/>
                  </a:lnTo>
                  <a:lnTo>
                    <a:pt x="522" y="100"/>
                  </a:lnTo>
                  <a:close/>
                  <a:moveTo>
                    <a:pt x="414" y="116"/>
                  </a:moveTo>
                  <a:lnTo>
                    <a:pt x="416" y="116"/>
                  </a:lnTo>
                  <a:lnTo>
                    <a:pt x="414" y="116"/>
                  </a:lnTo>
                  <a:close/>
                  <a:moveTo>
                    <a:pt x="305" y="189"/>
                  </a:moveTo>
                  <a:lnTo>
                    <a:pt x="307" y="189"/>
                  </a:lnTo>
                  <a:lnTo>
                    <a:pt x="307" y="191"/>
                  </a:lnTo>
                  <a:lnTo>
                    <a:pt x="305" y="191"/>
                  </a:lnTo>
                  <a:lnTo>
                    <a:pt x="305" y="189"/>
                  </a:lnTo>
                  <a:close/>
                  <a:moveTo>
                    <a:pt x="163" y="43"/>
                  </a:moveTo>
                  <a:lnTo>
                    <a:pt x="163" y="45"/>
                  </a:lnTo>
                  <a:lnTo>
                    <a:pt x="163" y="43"/>
                  </a:lnTo>
                  <a:close/>
                  <a:moveTo>
                    <a:pt x="165" y="37"/>
                  </a:moveTo>
                  <a:lnTo>
                    <a:pt x="165" y="39"/>
                  </a:lnTo>
                  <a:lnTo>
                    <a:pt x="165" y="37"/>
                  </a:lnTo>
                  <a:close/>
                  <a:moveTo>
                    <a:pt x="512" y="89"/>
                  </a:moveTo>
                  <a:lnTo>
                    <a:pt x="514" y="89"/>
                  </a:lnTo>
                  <a:lnTo>
                    <a:pt x="512" y="89"/>
                  </a:lnTo>
                  <a:close/>
                  <a:moveTo>
                    <a:pt x="136" y="83"/>
                  </a:moveTo>
                  <a:lnTo>
                    <a:pt x="138" y="83"/>
                  </a:lnTo>
                  <a:lnTo>
                    <a:pt x="136" y="83"/>
                  </a:lnTo>
                  <a:close/>
                  <a:moveTo>
                    <a:pt x="568" y="120"/>
                  </a:moveTo>
                  <a:lnTo>
                    <a:pt x="570" y="120"/>
                  </a:lnTo>
                  <a:lnTo>
                    <a:pt x="568" y="120"/>
                  </a:lnTo>
                  <a:close/>
                  <a:moveTo>
                    <a:pt x="581" y="171"/>
                  </a:moveTo>
                  <a:lnTo>
                    <a:pt x="581" y="173"/>
                  </a:lnTo>
                  <a:lnTo>
                    <a:pt x="581" y="171"/>
                  </a:lnTo>
                  <a:close/>
                  <a:moveTo>
                    <a:pt x="341" y="193"/>
                  </a:moveTo>
                  <a:lnTo>
                    <a:pt x="343" y="193"/>
                  </a:lnTo>
                  <a:lnTo>
                    <a:pt x="341" y="193"/>
                  </a:lnTo>
                  <a:close/>
                  <a:moveTo>
                    <a:pt x="516" y="85"/>
                  </a:moveTo>
                  <a:lnTo>
                    <a:pt x="516" y="87"/>
                  </a:lnTo>
                  <a:lnTo>
                    <a:pt x="516" y="85"/>
                  </a:lnTo>
                  <a:close/>
                  <a:moveTo>
                    <a:pt x="372" y="171"/>
                  </a:moveTo>
                  <a:lnTo>
                    <a:pt x="374" y="171"/>
                  </a:lnTo>
                  <a:lnTo>
                    <a:pt x="372" y="171"/>
                  </a:lnTo>
                  <a:close/>
                  <a:moveTo>
                    <a:pt x="75" y="129"/>
                  </a:moveTo>
                  <a:lnTo>
                    <a:pt x="77" y="129"/>
                  </a:lnTo>
                  <a:lnTo>
                    <a:pt x="75" y="129"/>
                  </a:lnTo>
                  <a:close/>
                  <a:moveTo>
                    <a:pt x="303" y="191"/>
                  </a:moveTo>
                  <a:lnTo>
                    <a:pt x="305" y="191"/>
                  </a:lnTo>
                  <a:lnTo>
                    <a:pt x="305" y="193"/>
                  </a:lnTo>
                  <a:lnTo>
                    <a:pt x="303" y="193"/>
                  </a:lnTo>
                  <a:lnTo>
                    <a:pt x="303" y="191"/>
                  </a:lnTo>
                  <a:close/>
                  <a:moveTo>
                    <a:pt x="472" y="95"/>
                  </a:moveTo>
                  <a:lnTo>
                    <a:pt x="472" y="96"/>
                  </a:lnTo>
                  <a:lnTo>
                    <a:pt x="472" y="95"/>
                  </a:lnTo>
                  <a:close/>
                  <a:moveTo>
                    <a:pt x="526" y="200"/>
                  </a:moveTo>
                  <a:lnTo>
                    <a:pt x="526" y="202"/>
                  </a:lnTo>
                  <a:lnTo>
                    <a:pt x="526" y="200"/>
                  </a:lnTo>
                  <a:close/>
                  <a:moveTo>
                    <a:pt x="622" y="160"/>
                  </a:moveTo>
                  <a:lnTo>
                    <a:pt x="624" y="160"/>
                  </a:lnTo>
                  <a:lnTo>
                    <a:pt x="624" y="162"/>
                  </a:lnTo>
                  <a:lnTo>
                    <a:pt x="622" y="162"/>
                  </a:lnTo>
                  <a:lnTo>
                    <a:pt x="622" y="160"/>
                  </a:lnTo>
                  <a:close/>
                  <a:moveTo>
                    <a:pt x="355" y="187"/>
                  </a:moveTo>
                  <a:lnTo>
                    <a:pt x="355" y="189"/>
                  </a:lnTo>
                  <a:lnTo>
                    <a:pt x="355" y="187"/>
                  </a:lnTo>
                  <a:close/>
                  <a:moveTo>
                    <a:pt x="167" y="41"/>
                  </a:moveTo>
                  <a:lnTo>
                    <a:pt x="169" y="41"/>
                  </a:lnTo>
                  <a:lnTo>
                    <a:pt x="167" y="41"/>
                  </a:lnTo>
                  <a:close/>
                  <a:moveTo>
                    <a:pt x="176" y="77"/>
                  </a:moveTo>
                  <a:lnTo>
                    <a:pt x="176" y="79"/>
                  </a:lnTo>
                  <a:lnTo>
                    <a:pt x="176" y="77"/>
                  </a:lnTo>
                  <a:close/>
                  <a:moveTo>
                    <a:pt x="577" y="121"/>
                  </a:moveTo>
                  <a:lnTo>
                    <a:pt x="579" y="121"/>
                  </a:lnTo>
                  <a:lnTo>
                    <a:pt x="577" y="121"/>
                  </a:lnTo>
                  <a:close/>
                  <a:moveTo>
                    <a:pt x="418" y="118"/>
                  </a:moveTo>
                  <a:lnTo>
                    <a:pt x="418" y="120"/>
                  </a:lnTo>
                  <a:lnTo>
                    <a:pt x="418" y="118"/>
                  </a:lnTo>
                  <a:close/>
                  <a:moveTo>
                    <a:pt x="330" y="93"/>
                  </a:moveTo>
                  <a:lnTo>
                    <a:pt x="330" y="95"/>
                  </a:lnTo>
                  <a:lnTo>
                    <a:pt x="330" y="93"/>
                  </a:lnTo>
                  <a:close/>
                  <a:moveTo>
                    <a:pt x="136" y="77"/>
                  </a:moveTo>
                  <a:lnTo>
                    <a:pt x="138" y="77"/>
                  </a:lnTo>
                  <a:lnTo>
                    <a:pt x="136" y="77"/>
                  </a:lnTo>
                  <a:close/>
                  <a:moveTo>
                    <a:pt x="483" y="68"/>
                  </a:moveTo>
                  <a:lnTo>
                    <a:pt x="483" y="70"/>
                  </a:lnTo>
                  <a:lnTo>
                    <a:pt x="483" y="68"/>
                  </a:lnTo>
                  <a:close/>
                  <a:moveTo>
                    <a:pt x="324" y="198"/>
                  </a:moveTo>
                  <a:lnTo>
                    <a:pt x="326" y="198"/>
                  </a:lnTo>
                  <a:lnTo>
                    <a:pt x="324" y="198"/>
                  </a:lnTo>
                  <a:close/>
                  <a:moveTo>
                    <a:pt x="136" y="83"/>
                  </a:moveTo>
                  <a:lnTo>
                    <a:pt x="138" y="83"/>
                  </a:lnTo>
                  <a:lnTo>
                    <a:pt x="136" y="83"/>
                  </a:lnTo>
                  <a:close/>
                  <a:moveTo>
                    <a:pt x="201" y="75"/>
                  </a:moveTo>
                  <a:lnTo>
                    <a:pt x="201" y="77"/>
                  </a:lnTo>
                  <a:lnTo>
                    <a:pt x="201" y="75"/>
                  </a:lnTo>
                  <a:close/>
                  <a:moveTo>
                    <a:pt x="472" y="93"/>
                  </a:moveTo>
                  <a:lnTo>
                    <a:pt x="474" y="93"/>
                  </a:lnTo>
                  <a:lnTo>
                    <a:pt x="472" y="93"/>
                  </a:lnTo>
                  <a:close/>
                  <a:moveTo>
                    <a:pt x="197" y="123"/>
                  </a:moveTo>
                  <a:lnTo>
                    <a:pt x="199" y="123"/>
                  </a:lnTo>
                  <a:lnTo>
                    <a:pt x="197" y="123"/>
                  </a:lnTo>
                  <a:close/>
                  <a:moveTo>
                    <a:pt x="531" y="100"/>
                  </a:moveTo>
                  <a:lnTo>
                    <a:pt x="531" y="102"/>
                  </a:lnTo>
                  <a:lnTo>
                    <a:pt x="531" y="100"/>
                  </a:lnTo>
                  <a:close/>
                  <a:moveTo>
                    <a:pt x="138" y="85"/>
                  </a:moveTo>
                  <a:lnTo>
                    <a:pt x="140" y="85"/>
                  </a:lnTo>
                  <a:lnTo>
                    <a:pt x="138" y="85"/>
                  </a:lnTo>
                  <a:close/>
                  <a:moveTo>
                    <a:pt x="581" y="171"/>
                  </a:moveTo>
                  <a:lnTo>
                    <a:pt x="583" y="171"/>
                  </a:lnTo>
                  <a:lnTo>
                    <a:pt x="583" y="173"/>
                  </a:lnTo>
                  <a:lnTo>
                    <a:pt x="581" y="173"/>
                  </a:lnTo>
                  <a:lnTo>
                    <a:pt x="581" y="171"/>
                  </a:lnTo>
                  <a:close/>
                  <a:moveTo>
                    <a:pt x="416" y="116"/>
                  </a:moveTo>
                  <a:lnTo>
                    <a:pt x="416" y="118"/>
                  </a:lnTo>
                  <a:lnTo>
                    <a:pt x="416" y="116"/>
                  </a:lnTo>
                  <a:close/>
                  <a:moveTo>
                    <a:pt x="422" y="212"/>
                  </a:moveTo>
                  <a:lnTo>
                    <a:pt x="424" y="212"/>
                  </a:lnTo>
                  <a:lnTo>
                    <a:pt x="422" y="212"/>
                  </a:lnTo>
                  <a:close/>
                  <a:moveTo>
                    <a:pt x="136" y="81"/>
                  </a:moveTo>
                  <a:lnTo>
                    <a:pt x="136" y="83"/>
                  </a:lnTo>
                  <a:lnTo>
                    <a:pt x="136" y="81"/>
                  </a:lnTo>
                  <a:close/>
                  <a:moveTo>
                    <a:pt x="516" y="91"/>
                  </a:moveTo>
                  <a:lnTo>
                    <a:pt x="518" y="91"/>
                  </a:lnTo>
                  <a:lnTo>
                    <a:pt x="516" y="91"/>
                  </a:lnTo>
                  <a:close/>
                  <a:moveTo>
                    <a:pt x="529" y="102"/>
                  </a:moveTo>
                  <a:lnTo>
                    <a:pt x="531" y="102"/>
                  </a:lnTo>
                  <a:lnTo>
                    <a:pt x="531" y="104"/>
                  </a:lnTo>
                  <a:lnTo>
                    <a:pt x="529" y="104"/>
                  </a:lnTo>
                  <a:lnTo>
                    <a:pt x="529" y="102"/>
                  </a:lnTo>
                  <a:close/>
                  <a:moveTo>
                    <a:pt x="412" y="156"/>
                  </a:moveTo>
                  <a:lnTo>
                    <a:pt x="412" y="158"/>
                  </a:lnTo>
                  <a:lnTo>
                    <a:pt x="412" y="156"/>
                  </a:lnTo>
                  <a:close/>
                  <a:moveTo>
                    <a:pt x="343" y="166"/>
                  </a:moveTo>
                  <a:lnTo>
                    <a:pt x="343" y="168"/>
                  </a:lnTo>
                  <a:lnTo>
                    <a:pt x="343" y="166"/>
                  </a:lnTo>
                  <a:close/>
                  <a:moveTo>
                    <a:pt x="483" y="110"/>
                  </a:moveTo>
                  <a:lnTo>
                    <a:pt x="485" y="110"/>
                  </a:lnTo>
                  <a:lnTo>
                    <a:pt x="483" y="110"/>
                  </a:lnTo>
                  <a:close/>
                  <a:moveTo>
                    <a:pt x="506" y="106"/>
                  </a:moveTo>
                  <a:lnTo>
                    <a:pt x="508" y="106"/>
                  </a:lnTo>
                  <a:lnTo>
                    <a:pt x="506" y="106"/>
                  </a:lnTo>
                  <a:close/>
                  <a:moveTo>
                    <a:pt x="470" y="87"/>
                  </a:moveTo>
                  <a:lnTo>
                    <a:pt x="472" y="87"/>
                  </a:lnTo>
                  <a:lnTo>
                    <a:pt x="472" y="89"/>
                  </a:lnTo>
                  <a:lnTo>
                    <a:pt x="470" y="89"/>
                  </a:lnTo>
                  <a:lnTo>
                    <a:pt x="470" y="87"/>
                  </a:lnTo>
                  <a:close/>
                  <a:moveTo>
                    <a:pt x="34" y="75"/>
                  </a:moveTo>
                  <a:lnTo>
                    <a:pt x="36" y="75"/>
                  </a:lnTo>
                  <a:lnTo>
                    <a:pt x="34" y="75"/>
                  </a:lnTo>
                  <a:close/>
                  <a:moveTo>
                    <a:pt x="184" y="73"/>
                  </a:moveTo>
                  <a:lnTo>
                    <a:pt x="184" y="75"/>
                  </a:lnTo>
                  <a:lnTo>
                    <a:pt x="184" y="73"/>
                  </a:lnTo>
                  <a:close/>
                  <a:moveTo>
                    <a:pt x="470" y="18"/>
                  </a:moveTo>
                  <a:lnTo>
                    <a:pt x="470" y="20"/>
                  </a:lnTo>
                  <a:lnTo>
                    <a:pt x="470" y="18"/>
                  </a:lnTo>
                  <a:close/>
                  <a:moveTo>
                    <a:pt x="476" y="135"/>
                  </a:moveTo>
                  <a:lnTo>
                    <a:pt x="478" y="135"/>
                  </a:lnTo>
                  <a:lnTo>
                    <a:pt x="476" y="135"/>
                  </a:lnTo>
                  <a:close/>
                  <a:moveTo>
                    <a:pt x="349" y="183"/>
                  </a:moveTo>
                  <a:lnTo>
                    <a:pt x="349" y="185"/>
                  </a:lnTo>
                  <a:lnTo>
                    <a:pt x="349" y="183"/>
                  </a:lnTo>
                  <a:close/>
                  <a:moveTo>
                    <a:pt x="518" y="95"/>
                  </a:moveTo>
                  <a:lnTo>
                    <a:pt x="520" y="95"/>
                  </a:lnTo>
                  <a:lnTo>
                    <a:pt x="518" y="95"/>
                  </a:lnTo>
                  <a:close/>
                  <a:moveTo>
                    <a:pt x="470" y="91"/>
                  </a:moveTo>
                  <a:lnTo>
                    <a:pt x="470" y="93"/>
                  </a:lnTo>
                  <a:lnTo>
                    <a:pt x="470" y="91"/>
                  </a:lnTo>
                  <a:close/>
                  <a:moveTo>
                    <a:pt x="420" y="116"/>
                  </a:moveTo>
                  <a:lnTo>
                    <a:pt x="422" y="116"/>
                  </a:lnTo>
                  <a:lnTo>
                    <a:pt x="420" y="116"/>
                  </a:lnTo>
                  <a:close/>
                  <a:moveTo>
                    <a:pt x="508" y="106"/>
                  </a:moveTo>
                  <a:lnTo>
                    <a:pt x="510" y="106"/>
                  </a:lnTo>
                  <a:lnTo>
                    <a:pt x="508" y="106"/>
                  </a:lnTo>
                  <a:close/>
                  <a:moveTo>
                    <a:pt x="412" y="156"/>
                  </a:moveTo>
                  <a:lnTo>
                    <a:pt x="412" y="158"/>
                  </a:lnTo>
                  <a:lnTo>
                    <a:pt x="412" y="156"/>
                  </a:lnTo>
                  <a:close/>
                  <a:moveTo>
                    <a:pt x="330" y="196"/>
                  </a:moveTo>
                  <a:lnTo>
                    <a:pt x="330" y="198"/>
                  </a:lnTo>
                  <a:lnTo>
                    <a:pt x="330" y="196"/>
                  </a:lnTo>
                  <a:close/>
                  <a:moveTo>
                    <a:pt x="529" y="72"/>
                  </a:moveTo>
                  <a:lnTo>
                    <a:pt x="531" y="72"/>
                  </a:lnTo>
                  <a:lnTo>
                    <a:pt x="531" y="73"/>
                  </a:lnTo>
                  <a:lnTo>
                    <a:pt x="529" y="73"/>
                  </a:lnTo>
                  <a:lnTo>
                    <a:pt x="529" y="72"/>
                  </a:lnTo>
                  <a:close/>
                  <a:moveTo>
                    <a:pt x="78" y="104"/>
                  </a:moveTo>
                  <a:lnTo>
                    <a:pt x="78" y="106"/>
                  </a:lnTo>
                  <a:lnTo>
                    <a:pt x="78" y="104"/>
                  </a:lnTo>
                  <a:close/>
                  <a:moveTo>
                    <a:pt x="165" y="41"/>
                  </a:moveTo>
                  <a:lnTo>
                    <a:pt x="167" y="41"/>
                  </a:lnTo>
                  <a:lnTo>
                    <a:pt x="165" y="41"/>
                  </a:lnTo>
                  <a:close/>
                  <a:moveTo>
                    <a:pt x="2" y="6"/>
                  </a:moveTo>
                  <a:lnTo>
                    <a:pt x="4" y="6"/>
                  </a:lnTo>
                  <a:lnTo>
                    <a:pt x="2" y="6"/>
                  </a:lnTo>
                  <a:close/>
                  <a:moveTo>
                    <a:pt x="491" y="141"/>
                  </a:moveTo>
                  <a:lnTo>
                    <a:pt x="493" y="141"/>
                  </a:lnTo>
                  <a:lnTo>
                    <a:pt x="491" y="141"/>
                  </a:lnTo>
                  <a:close/>
                  <a:moveTo>
                    <a:pt x="472" y="91"/>
                  </a:moveTo>
                  <a:lnTo>
                    <a:pt x="474" y="91"/>
                  </a:lnTo>
                  <a:lnTo>
                    <a:pt x="472" y="91"/>
                  </a:lnTo>
                  <a:close/>
                  <a:moveTo>
                    <a:pt x="405" y="154"/>
                  </a:moveTo>
                  <a:lnTo>
                    <a:pt x="407" y="154"/>
                  </a:lnTo>
                  <a:lnTo>
                    <a:pt x="405" y="154"/>
                  </a:lnTo>
                  <a:close/>
                  <a:moveTo>
                    <a:pt x="518" y="120"/>
                  </a:moveTo>
                  <a:lnTo>
                    <a:pt x="520" y="120"/>
                  </a:lnTo>
                  <a:lnTo>
                    <a:pt x="518" y="120"/>
                  </a:lnTo>
                  <a:close/>
                  <a:moveTo>
                    <a:pt x="386" y="146"/>
                  </a:moveTo>
                  <a:lnTo>
                    <a:pt x="386" y="148"/>
                  </a:lnTo>
                  <a:lnTo>
                    <a:pt x="386" y="146"/>
                  </a:lnTo>
                  <a:close/>
                  <a:moveTo>
                    <a:pt x="514" y="120"/>
                  </a:moveTo>
                  <a:lnTo>
                    <a:pt x="516" y="120"/>
                  </a:lnTo>
                  <a:lnTo>
                    <a:pt x="514" y="120"/>
                  </a:lnTo>
                  <a:close/>
                  <a:moveTo>
                    <a:pt x="480" y="54"/>
                  </a:moveTo>
                  <a:lnTo>
                    <a:pt x="480" y="56"/>
                  </a:lnTo>
                  <a:lnTo>
                    <a:pt x="480" y="54"/>
                  </a:lnTo>
                  <a:close/>
                  <a:moveTo>
                    <a:pt x="326" y="35"/>
                  </a:moveTo>
                  <a:lnTo>
                    <a:pt x="328" y="35"/>
                  </a:lnTo>
                  <a:lnTo>
                    <a:pt x="326" y="35"/>
                  </a:lnTo>
                  <a:close/>
                  <a:moveTo>
                    <a:pt x="339" y="162"/>
                  </a:moveTo>
                  <a:lnTo>
                    <a:pt x="339" y="164"/>
                  </a:lnTo>
                  <a:lnTo>
                    <a:pt x="339" y="162"/>
                  </a:lnTo>
                  <a:close/>
                  <a:moveTo>
                    <a:pt x="123" y="73"/>
                  </a:moveTo>
                  <a:lnTo>
                    <a:pt x="123" y="75"/>
                  </a:lnTo>
                  <a:lnTo>
                    <a:pt x="123" y="73"/>
                  </a:lnTo>
                  <a:close/>
                  <a:moveTo>
                    <a:pt x="476" y="62"/>
                  </a:moveTo>
                  <a:lnTo>
                    <a:pt x="476" y="64"/>
                  </a:lnTo>
                  <a:lnTo>
                    <a:pt x="476" y="62"/>
                  </a:lnTo>
                  <a:close/>
                  <a:moveTo>
                    <a:pt x="167" y="37"/>
                  </a:moveTo>
                  <a:lnTo>
                    <a:pt x="169" y="37"/>
                  </a:lnTo>
                  <a:lnTo>
                    <a:pt x="169" y="39"/>
                  </a:lnTo>
                  <a:lnTo>
                    <a:pt x="167" y="39"/>
                  </a:lnTo>
                  <a:lnTo>
                    <a:pt x="167" y="37"/>
                  </a:lnTo>
                  <a:close/>
                  <a:moveTo>
                    <a:pt x="359" y="212"/>
                  </a:moveTo>
                  <a:lnTo>
                    <a:pt x="361" y="212"/>
                  </a:lnTo>
                  <a:lnTo>
                    <a:pt x="359" y="212"/>
                  </a:lnTo>
                  <a:close/>
                  <a:moveTo>
                    <a:pt x="529" y="102"/>
                  </a:moveTo>
                  <a:lnTo>
                    <a:pt x="529" y="104"/>
                  </a:lnTo>
                  <a:lnTo>
                    <a:pt x="529" y="102"/>
                  </a:lnTo>
                  <a:close/>
                  <a:moveTo>
                    <a:pt x="491" y="77"/>
                  </a:moveTo>
                  <a:lnTo>
                    <a:pt x="491" y="79"/>
                  </a:lnTo>
                  <a:lnTo>
                    <a:pt x="491" y="77"/>
                  </a:lnTo>
                  <a:close/>
                  <a:moveTo>
                    <a:pt x="480" y="93"/>
                  </a:moveTo>
                  <a:lnTo>
                    <a:pt x="480" y="95"/>
                  </a:lnTo>
                  <a:lnTo>
                    <a:pt x="480" y="93"/>
                  </a:lnTo>
                  <a:close/>
                  <a:moveTo>
                    <a:pt x="138" y="81"/>
                  </a:moveTo>
                  <a:lnTo>
                    <a:pt x="140" y="81"/>
                  </a:lnTo>
                  <a:lnTo>
                    <a:pt x="140" y="83"/>
                  </a:lnTo>
                  <a:lnTo>
                    <a:pt x="138" y="83"/>
                  </a:lnTo>
                  <a:lnTo>
                    <a:pt x="138" y="81"/>
                  </a:lnTo>
                  <a:close/>
                  <a:moveTo>
                    <a:pt x="537" y="154"/>
                  </a:moveTo>
                  <a:lnTo>
                    <a:pt x="537" y="156"/>
                  </a:lnTo>
                  <a:lnTo>
                    <a:pt x="537" y="154"/>
                  </a:lnTo>
                  <a:close/>
                  <a:moveTo>
                    <a:pt x="63" y="112"/>
                  </a:moveTo>
                  <a:lnTo>
                    <a:pt x="63" y="114"/>
                  </a:lnTo>
                  <a:lnTo>
                    <a:pt x="63" y="112"/>
                  </a:lnTo>
                  <a:close/>
                  <a:moveTo>
                    <a:pt x="332" y="43"/>
                  </a:moveTo>
                  <a:lnTo>
                    <a:pt x="332" y="45"/>
                  </a:lnTo>
                  <a:lnTo>
                    <a:pt x="332" y="43"/>
                  </a:lnTo>
                  <a:close/>
                  <a:moveTo>
                    <a:pt x="432" y="110"/>
                  </a:moveTo>
                  <a:lnTo>
                    <a:pt x="432" y="112"/>
                  </a:lnTo>
                  <a:lnTo>
                    <a:pt x="432" y="110"/>
                  </a:lnTo>
                  <a:close/>
                  <a:moveTo>
                    <a:pt x="339" y="214"/>
                  </a:moveTo>
                  <a:lnTo>
                    <a:pt x="339" y="216"/>
                  </a:lnTo>
                  <a:lnTo>
                    <a:pt x="339" y="214"/>
                  </a:lnTo>
                  <a:close/>
                  <a:moveTo>
                    <a:pt x="67" y="116"/>
                  </a:moveTo>
                  <a:lnTo>
                    <a:pt x="67" y="118"/>
                  </a:lnTo>
                  <a:lnTo>
                    <a:pt x="67" y="116"/>
                  </a:lnTo>
                  <a:close/>
                  <a:moveTo>
                    <a:pt x="583" y="131"/>
                  </a:moveTo>
                  <a:lnTo>
                    <a:pt x="583" y="133"/>
                  </a:lnTo>
                  <a:lnTo>
                    <a:pt x="583" y="131"/>
                  </a:lnTo>
                  <a:close/>
                  <a:moveTo>
                    <a:pt x="520" y="104"/>
                  </a:moveTo>
                  <a:lnTo>
                    <a:pt x="522" y="104"/>
                  </a:lnTo>
                  <a:lnTo>
                    <a:pt x="520" y="104"/>
                  </a:lnTo>
                  <a:close/>
                  <a:moveTo>
                    <a:pt x="311" y="146"/>
                  </a:moveTo>
                  <a:lnTo>
                    <a:pt x="311" y="148"/>
                  </a:lnTo>
                  <a:lnTo>
                    <a:pt x="311" y="146"/>
                  </a:lnTo>
                  <a:close/>
                  <a:moveTo>
                    <a:pt x="445" y="48"/>
                  </a:moveTo>
                  <a:lnTo>
                    <a:pt x="447" y="48"/>
                  </a:lnTo>
                  <a:lnTo>
                    <a:pt x="445" y="48"/>
                  </a:lnTo>
                  <a:close/>
                  <a:moveTo>
                    <a:pt x="516" y="85"/>
                  </a:moveTo>
                  <a:lnTo>
                    <a:pt x="516" y="87"/>
                  </a:lnTo>
                  <a:lnTo>
                    <a:pt x="516" y="85"/>
                  </a:lnTo>
                  <a:close/>
                  <a:moveTo>
                    <a:pt x="182" y="73"/>
                  </a:moveTo>
                  <a:lnTo>
                    <a:pt x="184" y="73"/>
                  </a:lnTo>
                  <a:lnTo>
                    <a:pt x="182" y="73"/>
                  </a:lnTo>
                  <a:close/>
                  <a:moveTo>
                    <a:pt x="128" y="72"/>
                  </a:moveTo>
                  <a:lnTo>
                    <a:pt x="130" y="72"/>
                  </a:lnTo>
                  <a:lnTo>
                    <a:pt x="128" y="72"/>
                  </a:lnTo>
                  <a:close/>
                  <a:moveTo>
                    <a:pt x="330" y="98"/>
                  </a:moveTo>
                  <a:lnTo>
                    <a:pt x="330" y="100"/>
                  </a:lnTo>
                  <a:lnTo>
                    <a:pt x="330" y="98"/>
                  </a:lnTo>
                  <a:close/>
                  <a:moveTo>
                    <a:pt x="470" y="98"/>
                  </a:moveTo>
                  <a:lnTo>
                    <a:pt x="472" y="98"/>
                  </a:lnTo>
                  <a:lnTo>
                    <a:pt x="470" y="98"/>
                  </a:lnTo>
                  <a:close/>
                  <a:moveTo>
                    <a:pt x="522" y="208"/>
                  </a:moveTo>
                  <a:lnTo>
                    <a:pt x="524" y="208"/>
                  </a:lnTo>
                  <a:lnTo>
                    <a:pt x="524" y="210"/>
                  </a:lnTo>
                  <a:lnTo>
                    <a:pt x="522" y="210"/>
                  </a:lnTo>
                  <a:lnTo>
                    <a:pt x="522" y="208"/>
                  </a:lnTo>
                  <a:close/>
                  <a:moveTo>
                    <a:pt x="4" y="12"/>
                  </a:moveTo>
                  <a:lnTo>
                    <a:pt x="5" y="12"/>
                  </a:lnTo>
                  <a:lnTo>
                    <a:pt x="4" y="12"/>
                  </a:lnTo>
                  <a:close/>
                  <a:moveTo>
                    <a:pt x="357" y="216"/>
                  </a:moveTo>
                  <a:lnTo>
                    <a:pt x="359" y="216"/>
                  </a:lnTo>
                  <a:lnTo>
                    <a:pt x="357" y="216"/>
                  </a:lnTo>
                  <a:close/>
                  <a:moveTo>
                    <a:pt x="299" y="189"/>
                  </a:moveTo>
                  <a:lnTo>
                    <a:pt x="299" y="191"/>
                  </a:lnTo>
                  <a:lnTo>
                    <a:pt x="299" y="189"/>
                  </a:lnTo>
                  <a:close/>
                  <a:moveTo>
                    <a:pt x="182" y="131"/>
                  </a:moveTo>
                  <a:lnTo>
                    <a:pt x="184" y="131"/>
                  </a:lnTo>
                  <a:lnTo>
                    <a:pt x="182" y="131"/>
                  </a:lnTo>
                  <a:close/>
                  <a:moveTo>
                    <a:pt x="190" y="18"/>
                  </a:moveTo>
                  <a:lnTo>
                    <a:pt x="192" y="18"/>
                  </a:lnTo>
                  <a:lnTo>
                    <a:pt x="190" y="18"/>
                  </a:lnTo>
                  <a:close/>
                  <a:moveTo>
                    <a:pt x="136" y="85"/>
                  </a:moveTo>
                  <a:lnTo>
                    <a:pt x="138" y="85"/>
                  </a:lnTo>
                  <a:lnTo>
                    <a:pt x="136" y="85"/>
                  </a:lnTo>
                  <a:close/>
                  <a:moveTo>
                    <a:pt x="165" y="41"/>
                  </a:moveTo>
                  <a:lnTo>
                    <a:pt x="167" y="41"/>
                  </a:lnTo>
                  <a:lnTo>
                    <a:pt x="165" y="41"/>
                  </a:lnTo>
                  <a:close/>
                  <a:moveTo>
                    <a:pt x="368" y="239"/>
                  </a:moveTo>
                  <a:lnTo>
                    <a:pt x="368" y="241"/>
                  </a:lnTo>
                  <a:lnTo>
                    <a:pt x="368" y="239"/>
                  </a:lnTo>
                  <a:close/>
                  <a:moveTo>
                    <a:pt x="420" y="118"/>
                  </a:moveTo>
                  <a:lnTo>
                    <a:pt x="422" y="118"/>
                  </a:lnTo>
                  <a:lnTo>
                    <a:pt x="420" y="118"/>
                  </a:lnTo>
                  <a:close/>
                  <a:moveTo>
                    <a:pt x="526" y="87"/>
                  </a:moveTo>
                  <a:lnTo>
                    <a:pt x="526" y="89"/>
                  </a:lnTo>
                  <a:lnTo>
                    <a:pt x="526" y="87"/>
                  </a:lnTo>
                  <a:close/>
                  <a:moveTo>
                    <a:pt x="485" y="54"/>
                  </a:moveTo>
                  <a:lnTo>
                    <a:pt x="485" y="56"/>
                  </a:lnTo>
                  <a:lnTo>
                    <a:pt x="485" y="54"/>
                  </a:lnTo>
                  <a:close/>
                  <a:moveTo>
                    <a:pt x="562" y="146"/>
                  </a:moveTo>
                  <a:lnTo>
                    <a:pt x="564" y="146"/>
                  </a:lnTo>
                  <a:lnTo>
                    <a:pt x="562" y="146"/>
                  </a:lnTo>
                  <a:close/>
                  <a:moveTo>
                    <a:pt x="138" y="85"/>
                  </a:moveTo>
                  <a:lnTo>
                    <a:pt x="140" y="85"/>
                  </a:lnTo>
                  <a:lnTo>
                    <a:pt x="138" y="85"/>
                  </a:lnTo>
                  <a:close/>
                  <a:moveTo>
                    <a:pt x="196" y="135"/>
                  </a:moveTo>
                  <a:lnTo>
                    <a:pt x="196" y="137"/>
                  </a:lnTo>
                  <a:lnTo>
                    <a:pt x="196" y="135"/>
                  </a:lnTo>
                  <a:close/>
                  <a:moveTo>
                    <a:pt x="577" y="187"/>
                  </a:moveTo>
                  <a:lnTo>
                    <a:pt x="579" y="187"/>
                  </a:lnTo>
                  <a:lnTo>
                    <a:pt x="577" y="187"/>
                  </a:lnTo>
                  <a:close/>
                  <a:moveTo>
                    <a:pt x="506" y="104"/>
                  </a:moveTo>
                  <a:lnTo>
                    <a:pt x="506" y="106"/>
                  </a:lnTo>
                  <a:lnTo>
                    <a:pt x="506" y="104"/>
                  </a:lnTo>
                  <a:close/>
                  <a:moveTo>
                    <a:pt x="579" y="166"/>
                  </a:moveTo>
                  <a:lnTo>
                    <a:pt x="579" y="168"/>
                  </a:lnTo>
                  <a:lnTo>
                    <a:pt x="579" y="166"/>
                  </a:lnTo>
                  <a:close/>
                  <a:moveTo>
                    <a:pt x="577" y="168"/>
                  </a:moveTo>
                  <a:lnTo>
                    <a:pt x="577" y="169"/>
                  </a:lnTo>
                  <a:lnTo>
                    <a:pt x="577" y="168"/>
                  </a:lnTo>
                  <a:close/>
                  <a:moveTo>
                    <a:pt x="338" y="73"/>
                  </a:moveTo>
                  <a:lnTo>
                    <a:pt x="338" y="75"/>
                  </a:lnTo>
                  <a:lnTo>
                    <a:pt x="338" y="73"/>
                  </a:lnTo>
                  <a:close/>
                  <a:moveTo>
                    <a:pt x="577" y="121"/>
                  </a:moveTo>
                  <a:lnTo>
                    <a:pt x="579" y="121"/>
                  </a:lnTo>
                  <a:lnTo>
                    <a:pt x="577" y="121"/>
                  </a:lnTo>
                  <a:close/>
                  <a:moveTo>
                    <a:pt x="391" y="164"/>
                  </a:moveTo>
                  <a:lnTo>
                    <a:pt x="391" y="166"/>
                  </a:lnTo>
                  <a:lnTo>
                    <a:pt x="391" y="164"/>
                  </a:lnTo>
                  <a:close/>
                  <a:moveTo>
                    <a:pt x="165" y="41"/>
                  </a:moveTo>
                  <a:lnTo>
                    <a:pt x="167" y="41"/>
                  </a:lnTo>
                  <a:lnTo>
                    <a:pt x="165" y="41"/>
                  </a:lnTo>
                  <a:close/>
                  <a:moveTo>
                    <a:pt x="309" y="146"/>
                  </a:moveTo>
                  <a:lnTo>
                    <a:pt x="309" y="148"/>
                  </a:lnTo>
                  <a:lnTo>
                    <a:pt x="309" y="146"/>
                  </a:lnTo>
                  <a:close/>
                  <a:moveTo>
                    <a:pt x="132" y="75"/>
                  </a:moveTo>
                  <a:lnTo>
                    <a:pt x="132" y="77"/>
                  </a:lnTo>
                  <a:lnTo>
                    <a:pt x="132" y="75"/>
                  </a:lnTo>
                  <a:close/>
                  <a:moveTo>
                    <a:pt x="506" y="114"/>
                  </a:moveTo>
                  <a:lnTo>
                    <a:pt x="508" y="114"/>
                  </a:lnTo>
                  <a:lnTo>
                    <a:pt x="506" y="114"/>
                  </a:lnTo>
                  <a:close/>
                  <a:moveTo>
                    <a:pt x="443" y="25"/>
                  </a:moveTo>
                  <a:lnTo>
                    <a:pt x="445" y="25"/>
                  </a:lnTo>
                  <a:lnTo>
                    <a:pt x="443" y="25"/>
                  </a:lnTo>
                  <a:close/>
                  <a:moveTo>
                    <a:pt x="138" y="81"/>
                  </a:moveTo>
                  <a:lnTo>
                    <a:pt x="138" y="83"/>
                  </a:lnTo>
                  <a:lnTo>
                    <a:pt x="138" y="81"/>
                  </a:lnTo>
                  <a:close/>
                  <a:moveTo>
                    <a:pt x="430" y="112"/>
                  </a:moveTo>
                  <a:lnTo>
                    <a:pt x="430" y="114"/>
                  </a:lnTo>
                  <a:lnTo>
                    <a:pt x="430" y="112"/>
                  </a:lnTo>
                  <a:close/>
                  <a:moveTo>
                    <a:pt x="528" y="200"/>
                  </a:moveTo>
                  <a:lnTo>
                    <a:pt x="529" y="200"/>
                  </a:lnTo>
                  <a:lnTo>
                    <a:pt x="528" y="200"/>
                  </a:lnTo>
                  <a:close/>
                  <a:moveTo>
                    <a:pt x="493" y="77"/>
                  </a:moveTo>
                  <a:lnTo>
                    <a:pt x="493" y="79"/>
                  </a:lnTo>
                  <a:lnTo>
                    <a:pt x="493" y="77"/>
                  </a:lnTo>
                  <a:close/>
                  <a:moveTo>
                    <a:pt x="17" y="52"/>
                  </a:moveTo>
                  <a:lnTo>
                    <a:pt x="19" y="52"/>
                  </a:lnTo>
                  <a:lnTo>
                    <a:pt x="17" y="52"/>
                  </a:lnTo>
                  <a:close/>
                  <a:moveTo>
                    <a:pt x="151" y="104"/>
                  </a:moveTo>
                  <a:lnTo>
                    <a:pt x="151" y="106"/>
                  </a:lnTo>
                  <a:lnTo>
                    <a:pt x="151" y="104"/>
                  </a:lnTo>
                  <a:close/>
                  <a:moveTo>
                    <a:pt x="577" y="166"/>
                  </a:moveTo>
                  <a:lnTo>
                    <a:pt x="579" y="166"/>
                  </a:lnTo>
                  <a:lnTo>
                    <a:pt x="577" y="166"/>
                  </a:lnTo>
                  <a:close/>
                  <a:moveTo>
                    <a:pt x="339" y="191"/>
                  </a:moveTo>
                  <a:lnTo>
                    <a:pt x="339" y="193"/>
                  </a:lnTo>
                  <a:lnTo>
                    <a:pt x="339" y="191"/>
                  </a:lnTo>
                  <a:close/>
                  <a:moveTo>
                    <a:pt x="514" y="89"/>
                  </a:moveTo>
                  <a:lnTo>
                    <a:pt x="516" y="89"/>
                  </a:lnTo>
                  <a:lnTo>
                    <a:pt x="514" y="89"/>
                  </a:lnTo>
                  <a:close/>
                  <a:moveTo>
                    <a:pt x="61" y="81"/>
                  </a:moveTo>
                  <a:lnTo>
                    <a:pt x="61" y="83"/>
                  </a:lnTo>
                  <a:lnTo>
                    <a:pt x="61" y="81"/>
                  </a:lnTo>
                  <a:close/>
                  <a:moveTo>
                    <a:pt x="305" y="216"/>
                  </a:moveTo>
                  <a:lnTo>
                    <a:pt x="307" y="216"/>
                  </a:lnTo>
                  <a:lnTo>
                    <a:pt x="305" y="216"/>
                  </a:lnTo>
                  <a:close/>
                  <a:moveTo>
                    <a:pt x="136" y="79"/>
                  </a:moveTo>
                  <a:lnTo>
                    <a:pt x="136" y="81"/>
                  </a:lnTo>
                  <a:lnTo>
                    <a:pt x="136" y="79"/>
                  </a:lnTo>
                  <a:close/>
                  <a:moveTo>
                    <a:pt x="362" y="212"/>
                  </a:moveTo>
                  <a:lnTo>
                    <a:pt x="362" y="214"/>
                  </a:lnTo>
                  <a:lnTo>
                    <a:pt x="362" y="212"/>
                  </a:lnTo>
                  <a:close/>
                  <a:moveTo>
                    <a:pt x="380" y="183"/>
                  </a:moveTo>
                  <a:lnTo>
                    <a:pt x="382" y="183"/>
                  </a:lnTo>
                  <a:lnTo>
                    <a:pt x="380" y="183"/>
                  </a:lnTo>
                  <a:close/>
                  <a:moveTo>
                    <a:pt x="518" y="118"/>
                  </a:moveTo>
                  <a:lnTo>
                    <a:pt x="518" y="120"/>
                  </a:lnTo>
                  <a:lnTo>
                    <a:pt x="518" y="118"/>
                  </a:lnTo>
                  <a:close/>
                  <a:moveTo>
                    <a:pt x="576" y="179"/>
                  </a:moveTo>
                  <a:lnTo>
                    <a:pt x="576" y="181"/>
                  </a:lnTo>
                  <a:lnTo>
                    <a:pt x="576" y="179"/>
                  </a:lnTo>
                  <a:close/>
                  <a:moveTo>
                    <a:pt x="32" y="66"/>
                  </a:moveTo>
                  <a:lnTo>
                    <a:pt x="34" y="66"/>
                  </a:lnTo>
                  <a:lnTo>
                    <a:pt x="32" y="66"/>
                  </a:lnTo>
                  <a:close/>
                  <a:moveTo>
                    <a:pt x="508" y="98"/>
                  </a:moveTo>
                  <a:lnTo>
                    <a:pt x="510" y="98"/>
                  </a:lnTo>
                  <a:lnTo>
                    <a:pt x="508" y="98"/>
                  </a:lnTo>
                  <a:close/>
                  <a:moveTo>
                    <a:pt x="647" y="118"/>
                  </a:moveTo>
                  <a:lnTo>
                    <a:pt x="648" y="118"/>
                  </a:lnTo>
                  <a:lnTo>
                    <a:pt x="647" y="118"/>
                  </a:lnTo>
                  <a:close/>
                  <a:moveTo>
                    <a:pt x="59" y="114"/>
                  </a:moveTo>
                  <a:lnTo>
                    <a:pt x="61" y="114"/>
                  </a:lnTo>
                  <a:lnTo>
                    <a:pt x="61" y="116"/>
                  </a:lnTo>
                  <a:lnTo>
                    <a:pt x="59" y="116"/>
                  </a:lnTo>
                  <a:lnTo>
                    <a:pt x="59" y="114"/>
                  </a:lnTo>
                  <a:close/>
                  <a:moveTo>
                    <a:pt x="416" y="118"/>
                  </a:moveTo>
                  <a:lnTo>
                    <a:pt x="416" y="120"/>
                  </a:lnTo>
                  <a:lnTo>
                    <a:pt x="416" y="118"/>
                  </a:lnTo>
                  <a:close/>
                  <a:moveTo>
                    <a:pt x="552" y="135"/>
                  </a:moveTo>
                  <a:lnTo>
                    <a:pt x="552" y="137"/>
                  </a:lnTo>
                  <a:lnTo>
                    <a:pt x="552" y="135"/>
                  </a:lnTo>
                  <a:close/>
                  <a:moveTo>
                    <a:pt x="581" y="171"/>
                  </a:moveTo>
                  <a:lnTo>
                    <a:pt x="583" y="171"/>
                  </a:lnTo>
                  <a:lnTo>
                    <a:pt x="583" y="173"/>
                  </a:lnTo>
                  <a:lnTo>
                    <a:pt x="581" y="173"/>
                  </a:lnTo>
                  <a:lnTo>
                    <a:pt x="581" y="171"/>
                  </a:lnTo>
                  <a:close/>
                  <a:moveTo>
                    <a:pt x="119" y="81"/>
                  </a:moveTo>
                  <a:lnTo>
                    <a:pt x="121" y="81"/>
                  </a:lnTo>
                  <a:lnTo>
                    <a:pt x="119" y="81"/>
                  </a:lnTo>
                  <a:close/>
                  <a:moveTo>
                    <a:pt x="123" y="75"/>
                  </a:moveTo>
                  <a:lnTo>
                    <a:pt x="124" y="75"/>
                  </a:lnTo>
                  <a:lnTo>
                    <a:pt x="123" y="75"/>
                  </a:lnTo>
                  <a:close/>
                  <a:moveTo>
                    <a:pt x="176" y="79"/>
                  </a:moveTo>
                  <a:lnTo>
                    <a:pt x="178" y="79"/>
                  </a:lnTo>
                  <a:lnTo>
                    <a:pt x="176" y="79"/>
                  </a:lnTo>
                  <a:close/>
                  <a:moveTo>
                    <a:pt x="433" y="75"/>
                  </a:moveTo>
                  <a:lnTo>
                    <a:pt x="435" y="75"/>
                  </a:lnTo>
                  <a:lnTo>
                    <a:pt x="433" y="75"/>
                  </a:lnTo>
                  <a:close/>
                  <a:moveTo>
                    <a:pt x="55" y="70"/>
                  </a:moveTo>
                  <a:lnTo>
                    <a:pt x="57" y="70"/>
                  </a:lnTo>
                  <a:lnTo>
                    <a:pt x="55" y="70"/>
                  </a:lnTo>
                  <a:close/>
                  <a:moveTo>
                    <a:pt x="516" y="108"/>
                  </a:moveTo>
                  <a:lnTo>
                    <a:pt x="518" y="108"/>
                  </a:lnTo>
                  <a:lnTo>
                    <a:pt x="516" y="108"/>
                  </a:lnTo>
                  <a:close/>
                  <a:moveTo>
                    <a:pt x="489" y="96"/>
                  </a:moveTo>
                  <a:lnTo>
                    <a:pt x="491" y="96"/>
                  </a:lnTo>
                  <a:lnTo>
                    <a:pt x="489" y="96"/>
                  </a:lnTo>
                  <a:close/>
                  <a:moveTo>
                    <a:pt x="194" y="133"/>
                  </a:moveTo>
                  <a:lnTo>
                    <a:pt x="194" y="135"/>
                  </a:lnTo>
                  <a:lnTo>
                    <a:pt x="194" y="133"/>
                  </a:lnTo>
                  <a:close/>
                  <a:moveTo>
                    <a:pt x="142" y="87"/>
                  </a:moveTo>
                  <a:lnTo>
                    <a:pt x="142" y="89"/>
                  </a:lnTo>
                  <a:lnTo>
                    <a:pt x="142" y="87"/>
                  </a:lnTo>
                  <a:close/>
                  <a:moveTo>
                    <a:pt x="182" y="72"/>
                  </a:moveTo>
                  <a:lnTo>
                    <a:pt x="184" y="72"/>
                  </a:lnTo>
                  <a:lnTo>
                    <a:pt x="182" y="72"/>
                  </a:lnTo>
                  <a:close/>
                  <a:moveTo>
                    <a:pt x="165" y="39"/>
                  </a:moveTo>
                  <a:lnTo>
                    <a:pt x="167" y="39"/>
                  </a:lnTo>
                  <a:lnTo>
                    <a:pt x="165" y="39"/>
                  </a:lnTo>
                  <a:close/>
                  <a:moveTo>
                    <a:pt x="165" y="43"/>
                  </a:moveTo>
                  <a:lnTo>
                    <a:pt x="165" y="45"/>
                  </a:lnTo>
                  <a:lnTo>
                    <a:pt x="165" y="43"/>
                  </a:lnTo>
                  <a:close/>
                  <a:moveTo>
                    <a:pt x="522" y="98"/>
                  </a:moveTo>
                  <a:lnTo>
                    <a:pt x="524" y="98"/>
                  </a:lnTo>
                  <a:lnTo>
                    <a:pt x="522" y="98"/>
                  </a:lnTo>
                  <a:close/>
                  <a:moveTo>
                    <a:pt x="508" y="104"/>
                  </a:moveTo>
                  <a:lnTo>
                    <a:pt x="508" y="106"/>
                  </a:lnTo>
                  <a:lnTo>
                    <a:pt x="508" y="104"/>
                  </a:lnTo>
                  <a:close/>
                  <a:moveTo>
                    <a:pt x="161" y="50"/>
                  </a:moveTo>
                  <a:lnTo>
                    <a:pt x="163" y="50"/>
                  </a:lnTo>
                  <a:lnTo>
                    <a:pt x="161" y="50"/>
                  </a:lnTo>
                  <a:close/>
                  <a:moveTo>
                    <a:pt x="474" y="93"/>
                  </a:moveTo>
                  <a:lnTo>
                    <a:pt x="476" y="93"/>
                  </a:lnTo>
                  <a:lnTo>
                    <a:pt x="474" y="93"/>
                  </a:lnTo>
                  <a:close/>
                  <a:moveTo>
                    <a:pt x="138" y="98"/>
                  </a:moveTo>
                  <a:lnTo>
                    <a:pt x="140" y="98"/>
                  </a:lnTo>
                  <a:lnTo>
                    <a:pt x="138" y="98"/>
                  </a:lnTo>
                  <a:close/>
                  <a:moveTo>
                    <a:pt x="393" y="93"/>
                  </a:moveTo>
                  <a:lnTo>
                    <a:pt x="393" y="95"/>
                  </a:lnTo>
                  <a:lnTo>
                    <a:pt x="393" y="93"/>
                  </a:lnTo>
                  <a:close/>
                  <a:moveTo>
                    <a:pt x="161" y="39"/>
                  </a:moveTo>
                  <a:lnTo>
                    <a:pt x="163" y="39"/>
                  </a:lnTo>
                  <a:lnTo>
                    <a:pt x="161" y="39"/>
                  </a:lnTo>
                  <a:close/>
                  <a:moveTo>
                    <a:pt x="516" y="118"/>
                  </a:moveTo>
                  <a:lnTo>
                    <a:pt x="516" y="120"/>
                  </a:lnTo>
                  <a:lnTo>
                    <a:pt x="516" y="118"/>
                  </a:lnTo>
                  <a:close/>
                  <a:moveTo>
                    <a:pt x="77" y="129"/>
                  </a:moveTo>
                  <a:lnTo>
                    <a:pt x="78" y="129"/>
                  </a:lnTo>
                  <a:lnTo>
                    <a:pt x="77" y="129"/>
                  </a:lnTo>
                  <a:close/>
                  <a:moveTo>
                    <a:pt x="516" y="96"/>
                  </a:moveTo>
                  <a:lnTo>
                    <a:pt x="516" y="98"/>
                  </a:lnTo>
                  <a:lnTo>
                    <a:pt x="516" y="96"/>
                  </a:lnTo>
                  <a:close/>
                  <a:moveTo>
                    <a:pt x="165" y="39"/>
                  </a:moveTo>
                  <a:lnTo>
                    <a:pt x="167" y="39"/>
                  </a:lnTo>
                  <a:lnTo>
                    <a:pt x="165" y="39"/>
                  </a:lnTo>
                  <a:close/>
                  <a:moveTo>
                    <a:pt x="146" y="93"/>
                  </a:moveTo>
                  <a:lnTo>
                    <a:pt x="148" y="93"/>
                  </a:lnTo>
                  <a:lnTo>
                    <a:pt x="146" y="93"/>
                  </a:lnTo>
                  <a:close/>
                  <a:moveTo>
                    <a:pt x="132" y="73"/>
                  </a:moveTo>
                  <a:lnTo>
                    <a:pt x="132" y="75"/>
                  </a:lnTo>
                  <a:lnTo>
                    <a:pt x="132" y="73"/>
                  </a:lnTo>
                  <a:close/>
                  <a:moveTo>
                    <a:pt x="401" y="79"/>
                  </a:moveTo>
                  <a:lnTo>
                    <a:pt x="403" y="79"/>
                  </a:lnTo>
                  <a:lnTo>
                    <a:pt x="403" y="81"/>
                  </a:lnTo>
                  <a:lnTo>
                    <a:pt x="401" y="81"/>
                  </a:lnTo>
                  <a:lnTo>
                    <a:pt x="401" y="79"/>
                  </a:lnTo>
                  <a:close/>
                  <a:moveTo>
                    <a:pt x="303" y="191"/>
                  </a:moveTo>
                  <a:lnTo>
                    <a:pt x="305" y="191"/>
                  </a:lnTo>
                  <a:lnTo>
                    <a:pt x="303" y="191"/>
                  </a:lnTo>
                  <a:close/>
                  <a:moveTo>
                    <a:pt x="126" y="75"/>
                  </a:moveTo>
                  <a:lnTo>
                    <a:pt x="128" y="75"/>
                  </a:lnTo>
                  <a:lnTo>
                    <a:pt x="128" y="77"/>
                  </a:lnTo>
                  <a:lnTo>
                    <a:pt x="126" y="77"/>
                  </a:lnTo>
                  <a:lnTo>
                    <a:pt x="126" y="75"/>
                  </a:lnTo>
                  <a:close/>
                  <a:moveTo>
                    <a:pt x="514" y="91"/>
                  </a:moveTo>
                  <a:lnTo>
                    <a:pt x="516" y="91"/>
                  </a:lnTo>
                  <a:lnTo>
                    <a:pt x="516" y="93"/>
                  </a:lnTo>
                  <a:lnTo>
                    <a:pt x="514" y="93"/>
                  </a:lnTo>
                  <a:lnTo>
                    <a:pt x="514" y="91"/>
                  </a:lnTo>
                  <a:close/>
                  <a:moveTo>
                    <a:pt x="474" y="200"/>
                  </a:moveTo>
                  <a:lnTo>
                    <a:pt x="476" y="200"/>
                  </a:lnTo>
                  <a:lnTo>
                    <a:pt x="474" y="200"/>
                  </a:lnTo>
                  <a:close/>
                  <a:moveTo>
                    <a:pt x="579" y="168"/>
                  </a:moveTo>
                  <a:lnTo>
                    <a:pt x="581" y="168"/>
                  </a:lnTo>
                  <a:lnTo>
                    <a:pt x="579" y="168"/>
                  </a:lnTo>
                  <a:close/>
                  <a:moveTo>
                    <a:pt x="34" y="54"/>
                  </a:moveTo>
                  <a:lnTo>
                    <a:pt x="34" y="56"/>
                  </a:lnTo>
                  <a:lnTo>
                    <a:pt x="34" y="54"/>
                  </a:lnTo>
                  <a:close/>
                  <a:moveTo>
                    <a:pt x="574" y="173"/>
                  </a:moveTo>
                  <a:lnTo>
                    <a:pt x="574" y="175"/>
                  </a:lnTo>
                  <a:lnTo>
                    <a:pt x="574" y="173"/>
                  </a:lnTo>
                  <a:close/>
                  <a:moveTo>
                    <a:pt x="529" y="79"/>
                  </a:moveTo>
                  <a:lnTo>
                    <a:pt x="529" y="81"/>
                  </a:lnTo>
                  <a:lnTo>
                    <a:pt x="529" y="79"/>
                  </a:lnTo>
                  <a:close/>
                  <a:moveTo>
                    <a:pt x="361" y="214"/>
                  </a:moveTo>
                  <a:lnTo>
                    <a:pt x="362" y="214"/>
                  </a:lnTo>
                  <a:lnTo>
                    <a:pt x="361" y="214"/>
                  </a:lnTo>
                  <a:close/>
                  <a:moveTo>
                    <a:pt x="157" y="173"/>
                  </a:moveTo>
                  <a:lnTo>
                    <a:pt x="159" y="173"/>
                  </a:lnTo>
                  <a:lnTo>
                    <a:pt x="157" y="173"/>
                  </a:lnTo>
                  <a:close/>
                  <a:moveTo>
                    <a:pt x="136" y="77"/>
                  </a:moveTo>
                  <a:lnTo>
                    <a:pt x="138" y="77"/>
                  </a:lnTo>
                  <a:lnTo>
                    <a:pt x="136" y="77"/>
                  </a:lnTo>
                  <a:close/>
                  <a:moveTo>
                    <a:pt x="418" y="166"/>
                  </a:moveTo>
                  <a:lnTo>
                    <a:pt x="418" y="168"/>
                  </a:lnTo>
                  <a:lnTo>
                    <a:pt x="418" y="166"/>
                  </a:lnTo>
                  <a:close/>
                  <a:moveTo>
                    <a:pt x="395" y="91"/>
                  </a:moveTo>
                  <a:lnTo>
                    <a:pt x="395" y="93"/>
                  </a:lnTo>
                  <a:lnTo>
                    <a:pt x="395" y="91"/>
                  </a:lnTo>
                  <a:close/>
                  <a:moveTo>
                    <a:pt x="483" y="110"/>
                  </a:moveTo>
                  <a:lnTo>
                    <a:pt x="485" y="110"/>
                  </a:lnTo>
                  <a:lnTo>
                    <a:pt x="483" y="110"/>
                  </a:lnTo>
                  <a:close/>
                  <a:moveTo>
                    <a:pt x="361" y="150"/>
                  </a:moveTo>
                  <a:lnTo>
                    <a:pt x="361" y="152"/>
                  </a:lnTo>
                  <a:lnTo>
                    <a:pt x="361" y="150"/>
                  </a:lnTo>
                  <a:close/>
                  <a:moveTo>
                    <a:pt x="407" y="110"/>
                  </a:moveTo>
                  <a:lnTo>
                    <a:pt x="409" y="110"/>
                  </a:lnTo>
                  <a:lnTo>
                    <a:pt x="409" y="112"/>
                  </a:lnTo>
                  <a:lnTo>
                    <a:pt x="407" y="112"/>
                  </a:lnTo>
                  <a:lnTo>
                    <a:pt x="407" y="110"/>
                  </a:lnTo>
                  <a:close/>
                  <a:moveTo>
                    <a:pt x="295" y="191"/>
                  </a:moveTo>
                  <a:lnTo>
                    <a:pt x="295" y="193"/>
                  </a:lnTo>
                  <a:lnTo>
                    <a:pt x="295" y="191"/>
                  </a:lnTo>
                  <a:close/>
                  <a:moveTo>
                    <a:pt x="165" y="39"/>
                  </a:moveTo>
                  <a:lnTo>
                    <a:pt x="167" y="39"/>
                  </a:lnTo>
                  <a:lnTo>
                    <a:pt x="165" y="39"/>
                  </a:lnTo>
                  <a:close/>
                  <a:moveTo>
                    <a:pt x="395" y="160"/>
                  </a:moveTo>
                  <a:lnTo>
                    <a:pt x="397" y="160"/>
                  </a:lnTo>
                  <a:lnTo>
                    <a:pt x="395" y="160"/>
                  </a:lnTo>
                  <a:close/>
                  <a:moveTo>
                    <a:pt x="380" y="183"/>
                  </a:moveTo>
                  <a:lnTo>
                    <a:pt x="382" y="183"/>
                  </a:lnTo>
                  <a:lnTo>
                    <a:pt x="380" y="183"/>
                  </a:lnTo>
                  <a:close/>
                  <a:moveTo>
                    <a:pt x="267" y="200"/>
                  </a:moveTo>
                  <a:lnTo>
                    <a:pt x="268" y="200"/>
                  </a:lnTo>
                  <a:lnTo>
                    <a:pt x="267" y="200"/>
                  </a:lnTo>
                  <a:close/>
                  <a:moveTo>
                    <a:pt x="126" y="77"/>
                  </a:moveTo>
                  <a:lnTo>
                    <a:pt x="126" y="79"/>
                  </a:lnTo>
                  <a:lnTo>
                    <a:pt x="126" y="77"/>
                  </a:lnTo>
                  <a:close/>
                  <a:moveTo>
                    <a:pt x="184" y="131"/>
                  </a:moveTo>
                  <a:lnTo>
                    <a:pt x="184" y="133"/>
                  </a:lnTo>
                  <a:lnTo>
                    <a:pt x="184" y="131"/>
                  </a:lnTo>
                  <a:close/>
                  <a:moveTo>
                    <a:pt x="121" y="72"/>
                  </a:moveTo>
                  <a:lnTo>
                    <a:pt x="123" y="72"/>
                  </a:lnTo>
                  <a:lnTo>
                    <a:pt x="121" y="72"/>
                  </a:lnTo>
                  <a:close/>
                  <a:moveTo>
                    <a:pt x="528" y="106"/>
                  </a:moveTo>
                  <a:lnTo>
                    <a:pt x="529" y="106"/>
                  </a:lnTo>
                  <a:lnTo>
                    <a:pt x="528" y="106"/>
                  </a:lnTo>
                  <a:close/>
                  <a:moveTo>
                    <a:pt x="194" y="133"/>
                  </a:moveTo>
                  <a:lnTo>
                    <a:pt x="194" y="135"/>
                  </a:lnTo>
                  <a:lnTo>
                    <a:pt x="194" y="133"/>
                  </a:lnTo>
                  <a:close/>
                  <a:moveTo>
                    <a:pt x="518" y="95"/>
                  </a:moveTo>
                  <a:lnTo>
                    <a:pt x="520" y="95"/>
                  </a:lnTo>
                  <a:lnTo>
                    <a:pt x="518" y="95"/>
                  </a:lnTo>
                  <a:close/>
                  <a:moveTo>
                    <a:pt x="349" y="189"/>
                  </a:moveTo>
                  <a:lnTo>
                    <a:pt x="351" y="189"/>
                  </a:lnTo>
                  <a:lnTo>
                    <a:pt x="349" y="189"/>
                  </a:lnTo>
                  <a:close/>
                  <a:moveTo>
                    <a:pt x="34" y="56"/>
                  </a:moveTo>
                  <a:lnTo>
                    <a:pt x="34" y="58"/>
                  </a:lnTo>
                  <a:lnTo>
                    <a:pt x="34" y="56"/>
                  </a:lnTo>
                  <a:close/>
                  <a:moveTo>
                    <a:pt x="583" y="144"/>
                  </a:moveTo>
                  <a:lnTo>
                    <a:pt x="583" y="146"/>
                  </a:lnTo>
                  <a:lnTo>
                    <a:pt x="583" y="144"/>
                  </a:lnTo>
                  <a:close/>
                  <a:moveTo>
                    <a:pt x="522" y="93"/>
                  </a:moveTo>
                  <a:lnTo>
                    <a:pt x="522" y="95"/>
                  </a:lnTo>
                  <a:lnTo>
                    <a:pt x="522" y="93"/>
                  </a:lnTo>
                  <a:close/>
                  <a:moveTo>
                    <a:pt x="126" y="79"/>
                  </a:moveTo>
                  <a:lnTo>
                    <a:pt x="126" y="81"/>
                  </a:lnTo>
                  <a:lnTo>
                    <a:pt x="126" y="79"/>
                  </a:lnTo>
                  <a:close/>
                  <a:moveTo>
                    <a:pt x="577" y="179"/>
                  </a:moveTo>
                  <a:lnTo>
                    <a:pt x="579" y="179"/>
                  </a:lnTo>
                  <a:lnTo>
                    <a:pt x="579" y="181"/>
                  </a:lnTo>
                  <a:lnTo>
                    <a:pt x="577" y="181"/>
                  </a:lnTo>
                  <a:lnTo>
                    <a:pt x="577" y="179"/>
                  </a:lnTo>
                  <a:close/>
                  <a:moveTo>
                    <a:pt x="130" y="70"/>
                  </a:moveTo>
                  <a:lnTo>
                    <a:pt x="130" y="72"/>
                  </a:lnTo>
                  <a:lnTo>
                    <a:pt x="130" y="70"/>
                  </a:lnTo>
                  <a:close/>
                  <a:moveTo>
                    <a:pt x="522" y="108"/>
                  </a:moveTo>
                  <a:lnTo>
                    <a:pt x="524" y="108"/>
                  </a:lnTo>
                  <a:lnTo>
                    <a:pt x="522" y="108"/>
                  </a:lnTo>
                  <a:close/>
                  <a:moveTo>
                    <a:pt x="138" y="79"/>
                  </a:moveTo>
                  <a:lnTo>
                    <a:pt x="138" y="81"/>
                  </a:lnTo>
                  <a:lnTo>
                    <a:pt x="138" y="79"/>
                  </a:lnTo>
                  <a:close/>
                  <a:moveTo>
                    <a:pt x="138" y="81"/>
                  </a:moveTo>
                  <a:lnTo>
                    <a:pt x="140" y="81"/>
                  </a:lnTo>
                  <a:lnTo>
                    <a:pt x="140" y="83"/>
                  </a:lnTo>
                  <a:lnTo>
                    <a:pt x="138" y="83"/>
                  </a:lnTo>
                  <a:lnTo>
                    <a:pt x="138" y="81"/>
                  </a:lnTo>
                  <a:close/>
                  <a:moveTo>
                    <a:pt x="138" y="85"/>
                  </a:moveTo>
                  <a:lnTo>
                    <a:pt x="140" y="85"/>
                  </a:lnTo>
                  <a:lnTo>
                    <a:pt x="138" y="85"/>
                  </a:lnTo>
                  <a:close/>
                  <a:moveTo>
                    <a:pt x="576" y="177"/>
                  </a:moveTo>
                  <a:lnTo>
                    <a:pt x="576" y="179"/>
                  </a:lnTo>
                  <a:lnTo>
                    <a:pt x="576" y="177"/>
                  </a:lnTo>
                  <a:close/>
                  <a:moveTo>
                    <a:pt x="520" y="120"/>
                  </a:moveTo>
                  <a:lnTo>
                    <a:pt x="522" y="120"/>
                  </a:lnTo>
                  <a:lnTo>
                    <a:pt x="520" y="120"/>
                  </a:lnTo>
                  <a:close/>
                  <a:moveTo>
                    <a:pt x="326" y="98"/>
                  </a:moveTo>
                  <a:lnTo>
                    <a:pt x="328" y="98"/>
                  </a:lnTo>
                  <a:lnTo>
                    <a:pt x="326" y="98"/>
                  </a:lnTo>
                  <a:close/>
                  <a:moveTo>
                    <a:pt x="361" y="214"/>
                  </a:moveTo>
                  <a:lnTo>
                    <a:pt x="362" y="214"/>
                  </a:lnTo>
                  <a:lnTo>
                    <a:pt x="361" y="214"/>
                  </a:lnTo>
                  <a:close/>
                  <a:moveTo>
                    <a:pt x="32" y="54"/>
                  </a:moveTo>
                  <a:lnTo>
                    <a:pt x="34" y="54"/>
                  </a:lnTo>
                  <a:lnTo>
                    <a:pt x="32" y="54"/>
                  </a:lnTo>
                  <a:close/>
                  <a:moveTo>
                    <a:pt x="169" y="41"/>
                  </a:moveTo>
                  <a:lnTo>
                    <a:pt x="169" y="43"/>
                  </a:lnTo>
                  <a:lnTo>
                    <a:pt x="169" y="41"/>
                  </a:lnTo>
                  <a:close/>
                  <a:moveTo>
                    <a:pt x="579" y="166"/>
                  </a:moveTo>
                  <a:lnTo>
                    <a:pt x="579" y="168"/>
                  </a:lnTo>
                  <a:lnTo>
                    <a:pt x="579" y="166"/>
                  </a:lnTo>
                  <a:close/>
                  <a:moveTo>
                    <a:pt x="138" y="85"/>
                  </a:moveTo>
                  <a:lnTo>
                    <a:pt x="140" y="85"/>
                  </a:lnTo>
                  <a:lnTo>
                    <a:pt x="138" y="85"/>
                  </a:lnTo>
                  <a:close/>
                  <a:moveTo>
                    <a:pt x="339" y="191"/>
                  </a:moveTo>
                  <a:lnTo>
                    <a:pt x="339" y="193"/>
                  </a:lnTo>
                  <a:lnTo>
                    <a:pt x="339" y="191"/>
                  </a:lnTo>
                  <a:close/>
                  <a:moveTo>
                    <a:pt x="650" y="118"/>
                  </a:moveTo>
                  <a:lnTo>
                    <a:pt x="650" y="120"/>
                  </a:lnTo>
                  <a:lnTo>
                    <a:pt x="650" y="118"/>
                  </a:lnTo>
                  <a:close/>
                  <a:moveTo>
                    <a:pt x="529" y="100"/>
                  </a:moveTo>
                  <a:lnTo>
                    <a:pt x="531" y="100"/>
                  </a:lnTo>
                  <a:lnTo>
                    <a:pt x="529" y="100"/>
                  </a:lnTo>
                  <a:close/>
                  <a:moveTo>
                    <a:pt x="551" y="171"/>
                  </a:moveTo>
                  <a:lnTo>
                    <a:pt x="551" y="173"/>
                  </a:lnTo>
                  <a:lnTo>
                    <a:pt x="551" y="171"/>
                  </a:lnTo>
                  <a:close/>
                  <a:moveTo>
                    <a:pt x="528" y="104"/>
                  </a:moveTo>
                  <a:lnTo>
                    <a:pt x="528" y="106"/>
                  </a:lnTo>
                  <a:lnTo>
                    <a:pt x="528" y="104"/>
                  </a:lnTo>
                  <a:close/>
                  <a:moveTo>
                    <a:pt x="564" y="125"/>
                  </a:moveTo>
                  <a:lnTo>
                    <a:pt x="566" y="125"/>
                  </a:lnTo>
                  <a:lnTo>
                    <a:pt x="564" y="125"/>
                  </a:lnTo>
                  <a:close/>
                  <a:moveTo>
                    <a:pt x="134" y="72"/>
                  </a:moveTo>
                  <a:lnTo>
                    <a:pt x="134" y="73"/>
                  </a:lnTo>
                  <a:lnTo>
                    <a:pt x="134" y="72"/>
                  </a:lnTo>
                  <a:close/>
                  <a:moveTo>
                    <a:pt x="485" y="135"/>
                  </a:moveTo>
                  <a:lnTo>
                    <a:pt x="485" y="137"/>
                  </a:lnTo>
                  <a:lnTo>
                    <a:pt x="485" y="135"/>
                  </a:lnTo>
                  <a:close/>
                  <a:moveTo>
                    <a:pt x="136" y="81"/>
                  </a:moveTo>
                  <a:lnTo>
                    <a:pt x="136" y="83"/>
                  </a:lnTo>
                  <a:lnTo>
                    <a:pt x="136" y="81"/>
                  </a:lnTo>
                  <a:close/>
                  <a:moveTo>
                    <a:pt x="115" y="75"/>
                  </a:moveTo>
                  <a:lnTo>
                    <a:pt x="117" y="75"/>
                  </a:lnTo>
                  <a:lnTo>
                    <a:pt x="115" y="75"/>
                  </a:lnTo>
                  <a:close/>
                  <a:moveTo>
                    <a:pt x="391" y="93"/>
                  </a:moveTo>
                  <a:lnTo>
                    <a:pt x="393" y="93"/>
                  </a:lnTo>
                  <a:lnTo>
                    <a:pt x="391" y="93"/>
                  </a:lnTo>
                  <a:close/>
                  <a:moveTo>
                    <a:pt x="330" y="98"/>
                  </a:moveTo>
                  <a:lnTo>
                    <a:pt x="330" y="100"/>
                  </a:lnTo>
                  <a:lnTo>
                    <a:pt x="330" y="98"/>
                  </a:lnTo>
                  <a:close/>
                  <a:moveTo>
                    <a:pt x="34" y="58"/>
                  </a:moveTo>
                  <a:lnTo>
                    <a:pt x="36" y="58"/>
                  </a:lnTo>
                  <a:lnTo>
                    <a:pt x="34" y="58"/>
                  </a:lnTo>
                  <a:close/>
                  <a:moveTo>
                    <a:pt x="134" y="72"/>
                  </a:moveTo>
                  <a:lnTo>
                    <a:pt x="134" y="73"/>
                  </a:lnTo>
                  <a:lnTo>
                    <a:pt x="134" y="72"/>
                  </a:lnTo>
                  <a:close/>
                  <a:moveTo>
                    <a:pt x="201" y="81"/>
                  </a:moveTo>
                  <a:lnTo>
                    <a:pt x="201" y="83"/>
                  </a:lnTo>
                  <a:lnTo>
                    <a:pt x="201" y="81"/>
                  </a:lnTo>
                  <a:close/>
                  <a:moveTo>
                    <a:pt x="178" y="131"/>
                  </a:moveTo>
                  <a:lnTo>
                    <a:pt x="178" y="133"/>
                  </a:lnTo>
                  <a:lnTo>
                    <a:pt x="178" y="131"/>
                  </a:lnTo>
                  <a:close/>
                  <a:moveTo>
                    <a:pt x="207" y="110"/>
                  </a:moveTo>
                  <a:lnTo>
                    <a:pt x="207" y="112"/>
                  </a:lnTo>
                  <a:lnTo>
                    <a:pt x="207" y="110"/>
                  </a:lnTo>
                  <a:close/>
                  <a:moveTo>
                    <a:pt x="132" y="73"/>
                  </a:moveTo>
                  <a:lnTo>
                    <a:pt x="134" y="73"/>
                  </a:lnTo>
                  <a:lnTo>
                    <a:pt x="132" y="73"/>
                  </a:lnTo>
                  <a:close/>
                  <a:moveTo>
                    <a:pt x="399" y="158"/>
                  </a:moveTo>
                  <a:lnTo>
                    <a:pt x="399" y="160"/>
                  </a:lnTo>
                  <a:lnTo>
                    <a:pt x="399" y="158"/>
                  </a:lnTo>
                  <a:close/>
                  <a:moveTo>
                    <a:pt x="130" y="70"/>
                  </a:moveTo>
                  <a:lnTo>
                    <a:pt x="130" y="72"/>
                  </a:lnTo>
                  <a:lnTo>
                    <a:pt x="130" y="70"/>
                  </a:lnTo>
                  <a:close/>
                  <a:moveTo>
                    <a:pt x="140" y="85"/>
                  </a:moveTo>
                  <a:lnTo>
                    <a:pt x="140" y="87"/>
                  </a:lnTo>
                  <a:lnTo>
                    <a:pt x="140" y="85"/>
                  </a:lnTo>
                  <a:close/>
                  <a:moveTo>
                    <a:pt x="209" y="104"/>
                  </a:moveTo>
                  <a:lnTo>
                    <a:pt x="209" y="106"/>
                  </a:lnTo>
                  <a:lnTo>
                    <a:pt x="209" y="104"/>
                  </a:lnTo>
                  <a:close/>
                  <a:moveTo>
                    <a:pt x="201" y="110"/>
                  </a:moveTo>
                  <a:lnTo>
                    <a:pt x="203" y="110"/>
                  </a:lnTo>
                  <a:lnTo>
                    <a:pt x="201" y="110"/>
                  </a:lnTo>
                  <a:close/>
                  <a:moveTo>
                    <a:pt x="138" y="89"/>
                  </a:moveTo>
                  <a:lnTo>
                    <a:pt x="138" y="91"/>
                  </a:lnTo>
                  <a:lnTo>
                    <a:pt x="138" y="89"/>
                  </a:lnTo>
                  <a:close/>
                  <a:moveTo>
                    <a:pt x="422" y="118"/>
                  </a:moveTo>
                  <a:lnTo>
                    <a:pt x="424" y="118"/>
                  </a:lnTo>
                  <a:lnTo>
                    <a:pt x="422" y="118"/>
                  </a:lnTo>
                  <a:close/>
                  <a:moveTo>
                    <a:pt x="597" y="110"/>
                  </a:moveTo>
                  <a:lnTo>
                    <a:pt x="599" y="110"/>
                  </a:lnTo>
                  <a:lnTo>
                    <a:pt x="597" y="110"/>
                  </a:lnTo>
                  <a:close/>
                  <a:moveTo>
                    <a:pt x="144" y="89"/>
                  </a:moveTo>
                  <a:lnTo>
                    <a:pt x="144" y="91"/>
                  </a:lnTo>
                  <a:lnTo>
                    <a:pt x="144" y="89"/>
                  </a:lnTo>
                  <a:close/>
                  <a:moveTo>
                    <a:pt x="449" y="22"/>
                  </a:moveTo>
                  <a:lnTo>
                    <a:pt x="449" y="23"/>
                  </a:lnTo>
                  <a:lnTo>
                    <a:pt x="449" y="22"/>
                  </a:lnTo>
                  <a:close/>
                  <a:moveTo>
                    <a:pt x="138" y="91"/>
                  </a:moveTo>
                  <a:lnTo>
                    <a:pt x="138" y="93"/>
                  </a:lnTo>
                  <a:lnTo>
                    <a:pt x="138" y="91"/>
                  </a:lnTo>
                  <a:close/>
                  <a:moveTo>
                    <a:pt x="528" y="104"/>
                  </a:moveTo>
                  <a:lnTo>
                    <a:pt x="528" y="106"/>
                  </a:lnTo>
                  <a:lnTo>
                    <a:pt x="528" y="104"/>
                  </a:lnTo>
                  <a:close/>
                  <a:moveTo>
                    <a:pt x="57" y="102"/>
                  </a:moveTo>
                  <a:lnTo>
                    <a:pt x="59" y="102"/>
                  </a:lnTo>
                  <a:lnTo>
                    <a:pt x="57" y="102"/>
                  </a:lnTo>
                  <a:close/>
                  <a:moveTo>
                    <a:pt x="445" y="29"/>
                  </a:moveTo>
                  <a:lnTo>
                    <a:pt x="445" y="31"/>
                  </a:lnTo>
                  <a:lnTo>
                    <a:pt x="445" y="29"/>
                  </a:lnTo>
                  <a:close/>
                  <a:moveTo>
                    <a:pt x="197" y="135"/>
                  </a:moveTo>
                  <a:lnTo>
                    <a:pt x="197" y="137"/>
                  </a:lnTo>
                  <a:lnTo>
                    <a:pt x="197" y="135"/>
                  </a:lnTo>
                  <a:close/>
                  <a:moveTo>
                    <a:pt x="178" y="131"/>
                  </a:moveTo>
                  <a:lnTo>
                    <a:pt x="180" y="131"/>
                  </a:lnTo>
                  <a:lnTo>
                    <a:pt x="178" y="131"/>
                  </a:lnTo>
                  <a:close/>
                  <a:moveTo>
                    <a:pt x="604" y="116"/>
                  </a:moveTo>
                  <a:lnTo>
                    <a:pt x="606" y="116"/>
                  </a:lnTo>
                  <a:lnTo>
                    <a:pt x="604" y="116"/>
                  </a:lnTo>
                  <a:close/>
                  <a:moveTo>
                    <a:pt x="551" y="169"/>
                  </a:moveTo>
                  <a:lnTo>
                    <a:pt x="552" y="169"/>
                  </a:lnTo>
                  <a:lnTo>
                    <a:pt x="551" y="169"/>
                  </a:lnTo>
                  <a:close/>
                  <a:moveTo>
                    <a:pt x="165" y="41"/>
                  </a:moveTo>
                  <a:lnTo>
                    <a:pt x="167" y="41"/>
                  </a:lnTo>
                  <a:lnTo>
                    <a:pt x="165" y="41"/>
                  </a:lnTo>
                  <a:close/>
                  <a:moveTo>
                    <a:pt x="334" y="35"/>
                  </a:moveTo>
                  <a:lnTo>
                    <a:pt x="336" y="35"/>
                  </a:lnTo>
                  <a:lnTo>
                    <a:pt x="334" y="35"/>
                  </a:lnTo>
                  <a:close/>
                  <a:moveTo>
                    <a:pt x="410" y="95"/>
                  </a:moveTo>
                  <a:lnTo>
                    <a:pt x="412" y="95"/>
                  </a:lnTo>
                  <a:lnTo>
                    <a:pt x="410" y="95"/>
                  </a:lnTo>
                  <a:close/>
                  <a:moveTo>
                    <a:pt x="528" y="104"/>
                  </a:moveTo>
                  <a:lnTo>
                    <a:pt x="529" y="104"/>
                  </a:lnTo>
                  <a:lnTo>
                    <a:pt x="528" y="104"/>
                  </a:lnTo>
                  <a:close/>
                  <a:moveTo>
                    <a:pt x="128" y="73"/>
                  </a:moveTo>
                  <a:lnTo>
                    <a:pt x="130" y="73"/>
                  </a:lnTo>
                  <a:lnTo>
                    <a:pt x="128" y="73"/>
                  </a:lnTo>
                  <a:close/>
                  <a:moveTo>
                    <a:pt x="474" y="85"/>
                  </a:moveTo>
                  <a:lnTo>
                    <a:pt x="476" y="85"/>
                  </a:lnTo>
                  <a:lnTo>
                    <a:pt x="474" y="85"/>
                  </a:lnTo>
                  <a:close/>
                  <a:moveTo>
                    <a:pt x="34" y="75"/>
                  </a:moveTo>
                  <a:lnTo>
                    <a:pt x="36" y="75"/>
                  </a:lnTo>
                  <a:lnTo>
                    <a:pt x="34" y="75"/>
                  </a:lnTo>
                  <a:close/>
                  <a:moveTo>
                    <a:pt x="138" y="93"/>
                  </a:moveTo>
                  <a:lnTo>
                    <a:pt x="140" y="93"/>
                  </a:lnTo>
                  <a:lnTo>
                    <a:pt x="138" y="93"/>
                  </a:lnTo>
                  <a:close/>
                  <a:moveTo>
                    <a:pt x="528" y="100"/>
                  </a:moveTo>
                  <a:lnTo>
                    <a:pt x="529" y="100"/>
                  </a:lnTo>
                  <a:lnTo>
                    <a:pt x="529" y="102"/>
                  </a:lnTo>
                  <a:lnTo>
                    <a:pt x="528" y="102"/>
                  </a:lnTo>
                  <a:lnTo>
                    <a:pt x="528" y="100"/>
                  </a:lnTo>
                  <a:close/>
                  <a:moveTo>
                    <a:pt x="581" y="185"/>
                  </a:moveTo>
                  <a:lnTo>
                    <a:pt x="583" y="185"/>
                  </a:lnTo>
                  <a:lnTo>
                    <a:pt x="581" y="185"/>
                  </a:lnTo>
                  <a:close/>
                  <a:moveTo>
                    <a:pt x="533" y="193"/>
                  </a:moveTo>
                  <a:lnTo>
                    <a:pt x="535" y="193"/>
                  </a:lnTo>
                  <a:lnTo>
                    <a:pt x="533" y="193"/>
                  </a:lnTo>
                  <a:close/>
                  <a:moveTo>
                    <a:pt x="418" y="108"/>
                  </a:moveTo>
                  <a:lnTo>
                    <a:pt x="418" y="110"/>
                  </a:lnTo>
                  <a:lnTo>
                    <a:pt x="418" y="108"/>
                  </a:lnTo>
                  <a:close/>
                  <a:moveTo>
                    <a:pt x="128" y="75"/>
                  </a:moveTo>
                  <a:lnTo>
                    <a:pt x="128" y="77"/>
                  </a:lnTo>
                  <a:lnTo>
                    <a:pt x="128" y="75"/>
                  </a:lnTo>
                  <a:close/>
                  <a:moveTo>
                    <a:pt x="537" y="191"/>
                  </a:moveTo>
                  <a:lnTo>
                    <a:pt x="537" y="193"/>
                  </a:lnTo>
                  <a:lnTo>
                    <a:pt x="537" y="191"/>
                  </a:lnTo>
                  <a:close/>
                  <a:moveTo>
                    <a:pt x="339" y="54"/>
                  </a:moveTo>
                  <a:lnTo>
                    <a:pt x="341" y="54"/>
                  </a:lnTo>
                  <a:lnTo>
                    <a:pt x="339" y="54"/>
                  </a:lnTo>
                  <a:close/>
                  <a:moveTo>
                    <a:pt x="535" y="127"/>
                  </a:moveTo>
                  <a:lnTo>
                    <a:pt x="537" y="127"/>
                  </a:lnTo>
                  <a:lnTo>
                    <a:pt x="535" y="127"/>
                  </a:lnTo>
                  <a:close/>
                  <a:moveTo>
                    <a:pt x="330" y="196"/>
                  </a:moveTo>
                  <a:lnTo>
                    <a:pt x="332" y="196"/>
                  </a:lnTo>
                  <a:lnTo>
                    <a:pt x="330" y="196"/>
                  </a:lnTo>
                  <a:close/>
                  <a:moveTo>
                    <a:pt x="478" y="198"/>
                  </a:moveTo>
                  <a:lnTo>
                    <a:pt x="478" y="200"/>
                  </a:lnTo>
                  <a:lnTo>
                    <a:pt x="478" y="198"/>
                  </a:lnTo>
                  <a:close/>
                  <a:moveTo>
                    <a:pt x="124" y="77"/>
                  </a:moveTo>
                  <a:lnTo>
                    <a:pt x="126" y="77"/>
                  </a:lnTo>
                  <a:lnTo>
                    <a:pt x="124" y="77"/>
                  </a:lnTo>
                  <a:close/>
                  <a:moveTo>
                    <a:pt x="48" y="87"/>
                  </a:moveTo>
                  <a:lnTo>
                    <a:pt x="50" y="87"/>
                  </a:lnTo>
                  <a:lnTo>
                    <a:pt x="48" y="87"/>
                  </a:lnTo>
                  <a:close/>
                  <a:moveTo>
                    <a:pt x="574" y="179"/>
                  </a:moveTo>
                  <a:lnTo>
                    <a:pt x="576" y="179"/>
                  </a:lnTo>
                  <a:lnTo>
                    <a:pt x="574" y="179"/>
                  </a:lnTo>
                  <a:close/>
                  <a:moveTo>
                    <a:pt x="526" y="106"/>
                  </a:moveTo>
                  <a:lnTo>
                    <a:pt x="526" y="108"/>
                  </a:lnTo>
                  <a:lnTo>
                    <a:pt x="526" y="106"/>
                  </a:lnTo>
                  <a:close/>
                  <a:moveTo>
                    <a:pt x="483" y="108"/>
                  </a:moveTo>
                  <a:lnTo>
                    <a:pt x="483" y="110"/>
                  </a:lnTo>
                  <a:lnTo>
                    <a:pt x="483" y="108"/>
                  </a:lnTo>
                  <a:close/>
                  <a:moveTo>
                    <a:pt x="378" y="189"/>
                  </a:moveTo>
                  <a:lnTo>
                    <a:pt x="378" y="191"/>
                  </a:lnTo>
                  <a:lnTo>
                    <a:pt x="378" y="189"/>
                  </a:lnTo>
                  <a:close/>
                  <a:moveTo>
                    <a:pt x="341" y="185"/>
                  </a:moveTo>
                  <a:lnTo>
                    <a:pt x="341" y="187"/>
                  </a:lnTo>
                  <a:lnTo>
                    <a:pt x="341" y="185"/>
                  </a:lnTo>
                  <a:close/>
                  <a:moveTo>
                    <a:pt x="184" y="127"/>
                  </a:moveTo>
                  <a:lnTo>
                    <a:pt x="184" y="129"/>
                  </a:lnTo>
                  <a:lnTo>
                    <a:pt x="184" y="127"/>
                  </a:lnTo>
                  <a:close/>
                  <a:moveTo>
                    <a:pt x="134" y="85"/>
                  </a:moveTo>
                  <a:lnTo>
                    <a:pt x="136" y="85"/>
                  </a:lnTo>
                  <a:lnTo>
                    <a:pt x="134" y="85"/>
                  </a:lnTo>
                  <a:close/>
                  <a:moveTo>
                    <a:pt x="209" y="100"/>
                  </a:moveTo>
                  <a:lnTo>
                    <a:pt x="209" y="102"/>
                  </a:lnTo>
                  <a:lnTo>
                    <a:pt x="209" y="100"/>
                  </a:lnTo>
                  <a:close/>
                  <a:moveTo>
                    <a:pt x="169" y="39"/>
                  </a:moveTo>
                  <a:lnTo>
                    <a:pt x="169" y="41"/>
                  </a:lnTo>
                  <a:lnTo>
                    <a:pt x="169" y="39"/>
                  </a:lnTo>
                  <a:close/>
                  <a:moveTo>
                    <a:pt x="167" y="43"/>
                  </a:moveTo>
                  <a:lnTo>
                    <a:pt x="167" y="45"/>
                  </a:lnTo>
                  <a:lnTo>
                    <a:pt x="167" y="43"/>
                  </a:lnTo>
                  <a:close/>
                  <a:moveTo>
                    <a:pt x="508" y="104"/>
                  </a:moveTo>
                  <a:lnTo>
                    <a:pt x="510" y="104"/>
                  </a:lnTo>
                  <a:lnTo>
                    <a:pt x="508" y="104"/>
                  </a:lnTo>
                  <a:close/>
                  <a:moveTo>
                    <a:pt x="403" y="133"/>
                  </a:moveTo>
                  <a:lnTo>
                    <a:pt x="405" y="133"/>
                  </a:lnTo>
                  <a:lnTo>
                    <a:pt x="403" y="133"/>
                  </a:lnTo>
                  <a:close/>
                  <a:moveTo>
                    <a:pt x="474" y="96"/>
                  </a:moveTo>
                  <a:lnTo>
                    <a:pt x="476" y="96"/>
                  </a:lnTo>
                  <a:lnTo>
                    <a:pt x="474" y="96"/>
                  </a:lnTo>
                  <a:close/>
                  <a:moveTo>
                    <a:pt x="382" y="183"/>
                  </a:moveTo>
                  <a:lnTo>
                    <a:pt x="382" y="185"/>
                  </a:lnTo>
                  <a:lnTo>
                    <a:pt x="382" y="183"/>
                  </a:lnTo>
                  <a:close/>
                  <a:moveTo>
                    <a:pt x="508" y="106"/>
                  </a:moveTo>
                  <a:lnTo>
                    <a:pt x="510" y="106"/>
                  </a:lnTo>
                  <a:lnTo>
                    <a:pt x="508" y="106"/>
                  </a:lnTo>
                  <a:close/>
                  <a:moveTo>
                    <a:pt x="499" y="77"/>
                  </a:moveTo>
                  <a:lnTo>
                    <a:pt x="501" y="77"/>
                  </a:lnTo>
                  <a:lnTo>
                    <a:pt x="499" y="77"/>
                  </a:lnTo>
                  <a:close/>
                  <a:moveTo>
                    <a:pt x="128" y="72"/>
                  </a:moveTo>
                  <a:lnTo>
                    <a:pt x="128" y="73"/>
                  </a:lnTo>
                  <a:lnTo>
                    <a:pt x="128" y="72"/>
                  </a:lnTo>
                  <a:close/>
                  <a:moveTo>
                    <a:pt x="355" y="166"/>
                  </a:moveTo>
                  <a:lnTo>
                    <a:pt x="355" y="168"/>
                  </a:lnTo>
                  <a:lnTo>
                    <a:pt x="355" y="166"/>
                  </a:lnTo>
                  <a:close/>
                  <a:moveTo>
                    <a:pt x="167" y="41"/>
                  </a:moveTo>
                  <a:lnTo>
                    <a:pt x="169" y="41"/>
                  </a:lnTo>
                  <a:lnTo>
                    <a:pt x="167" y="41"/>
                  </a:lnTo>
                  <a:close/>
                  <a:moveTo>
                    <a:pt x="583" y="179"/>
                  </a:moveTo>
                  <a:lnTo>
                    <a:pt x="583" y="181"/>
                  </a:lnTo>
                  <a:lnTo>
                    <a:pt x="583" y="179"/>
                  </a:lnTo>
                  <a:close/>
                  <a:moveTo>
                    <a:pt x="401" y="212"/>
                  </a:moveTo>
                  <a:lnTo>
                    <a:pt x="403" y="212"/>
                  </a:lnTo>
                  <a:lnTo>
                    <a:pt x="401" y="212"/>
                  </a:lnTo>
                  <a:close/>
                  <a:moveTo>
                    <a:pt x="42" y="72"/>
                  </a:moveTo>
                  <a:lnTo>
                    <a:pt x="44" y="72"/>
                  </a:lnTo>
                  <a:lnTo>
                    <a:pt x="42" y="72"/>
                  </a:lnTo>
                  <a:close/>
                  <a:moveTo>
                    <a:pt x="372" y="171"/>
                  </a:moveTo>
                  <a:lnTo>
                    <a:pt x="374" y="171"/>
                  </a:lnTo>
                  <a:lnTo>
                    <a:pt x="372" y="171"/>
                  </a:lnTo>
                  <a:close/>
                  <a:moveTo>
                    <a:pt x="134" y="93"/>
                  </a:moveTo>
                  <a:lnTo>
                    <a:pt x="136" y="93"/>
                  </a:lnTo>
                  <a:lnTo>
                    <a:pt x="134" y="93"/>
                  </a:lnTo>
                  <a:close/>
                  <a:moveTo>
                    <a:pt x="278" y="214"/>
                  </a:moveTo>
                  <a:lnTo>
                    <a:pt x="278" y="216"/>
                  </a:lnTo>
                  <a:lnTo>
                    <a:pt x="278" y="214"/>
                  </a:lnTo>
                  <a:close/>
                  <a:moveTo>
                    <a:pt x="508" y="112"/>
                  </a:moveTo>
                  <a:lnTo>
                    <a:pt x="510" y="112"/>
                  </a:lnTo>
                  <a:lnTo>
                    <a:pt x="508" y="112"/>
                  </a:lnTo>
                  <a:close/>
                  <a:moveTo>
                    <a:pt x="163" y="43"/>
                  </a:moveTo>
                  <a:lnTo>
                    <a:pt x="163" y="45"/>
                  </a:lnTo>
                  <a:lnTo>
                    <a:pt x="163" y="43"/>
                  </a:lnTo>
                  <a:close/>
                  <a:moveTo>
                    <a:pt x="610" y="106"/>
                  </a:moveTo>
                  <a:lnTo>
                    <a:pt x="610" y="108"/>
                  </a:lnTo>
                  <a:lnTo>
                    <a:pt x="610" y="106"/>
                  </a:lnTo>
                  <a:close/>
                  <a:moveTo>
                    <a:pt x="138" y="85"/>
                  </a:moveTo>
                  <a:lnTo>
                    <a:pt x="140" y="85"/>
                  </a:lnTo>
                  <a:lnTo>
                    <a:pt x="138" y="85"/>
                  </a:lnTo>
                  <a:close/>
                  <a:moveTo>
                    <a:pt x="165" y="48"/>
                  </a:moveTo>
                  <a:lnTo>
                    <a:pt x="167" y="48"/>
                  </a:lnTo>
                  <a:lnTo>
                    <a:pt x="165" y="48"/>
                  </a:lnTo>
                  <a:close/>
                  <a:moveTo>
                    <a:pt x="518" y="118"/>
                  </a:moveTo>
                  <a:lnTo>
                    <a:pt x="518" y="120"/>
                  </a:lnTo>
                  <a:lnTo>
                    <a:pt x="518" y="118"/>
                  </a:lnTo>
                  <a:close/>
                  <a:moveTo>
                    <a:pt x="163" y="41"/>
                  </a:moveTo>
                  <a:lnTo>
                    <a:pt x="163" y="43"/>
                  </a:lnTo>
                  <a:lnTo>
                    <a:pt x="163" y="41"/>
                  </a:lnTo>
                  <a:close/>
                  <a:moveTo>
                    <a:pt x="526" y="208"/>
                  </a:moveTo>
                  <a:lnTo>
                    <a:pt x="526" y="210"/>
                  </a:lnTo>
                  <a:lnTo>
                    <a:pt x="526" y="208"/>
                  </a:lnTo>
                  <a:close/>
                  <a:moveTo>
                    <a:pt x="382" y="183"/>
                  </a:moveTo>
                  <a:lnTo>
                    <a:pt x="384" y="183"/>
                  </a:lnTo>
                  <a:lnTo>
                    <a:pt x="382" y="183"/>
                  </a:lnTo>
                  <a:close/>
                  <a:moveTo>
                    <a:pt x="577" y="185"/>
                  </a:moveTo>
                  <a:lnTo>
                    <a:pt x="577" y="187"/>
                  </a:lnTo>
                  <a:lnTo>
                    <a:pt x="577" y="185"/>
                  </a:lnTo>
                  <a:close/>
                  <a:moveTo>
                    <a:pt x="528" y="106"/>
                  </a:moveTo>
                  <a:lnTo>
                    <a:pt x="529" y="106"/>
                  </a:lnTo>
                  <a:lnTo>
                    <a:pt x="528" y="106"/>
                  </a:lnTo>
                  <a:close/>
                  <a:moveTo>
                    <a:pt x="130" y="75"/>
                  </a:moveTo>
                  <a:lnTo>
                    <a:pt x="130" y="77"/>
                  </a:lnTo>
                  <a:lnTo>
                    <a:pt x="130" y="75"/>
                  </a:lnTo>
                  <a:close/>
                  <a:moveTo>
                    <a:pt x="416" y="116"/>
                  </a:moveTo>
                  <a:lnTo>
                    <a:pt x="418" y="116"/>
                  </a:lnTo>
                  <a:lnTo>
                    <a:pt x="416" y="116"/>
                  </a:lnTo>
                  <a:close/>
                  <a:moveTo>
                    <a:pt x="529" y="200"/>
                  </a:moveTo>
                  <a:lnTo>
                    <a:pt x="529" y="202"/>
                  </a:lnTo>
                  <a:lnTo>
                    <a:pt x="529" y="200"/>
                  </a:lnTo>
                  <a:close/>
                  <a:moveTo>
                    <a:pt x="483" y="62"/>
                  </a:moveTo>
                  <a:lnTo>
                    <a:pt x="483" y="64"/>
                  </a:lnTo>
                  <a:lnTo>
                    <a:pt x="483" y="62"/>
                  </a:lnTo>
                  <a:close/>
                  <a:moveTo>
                    <a:pt x="516" y="93"/>
                  </a:moveTo>
                  <a:lnTo>
                    <a:pt x="518" y="93"/>
                  </a:lnTo>
                  <a:lnTo>
                    <a:pt x="516" y="93"/>
                  </a:lnTo>
                  <a:close/>
                  <a:moveTo>
                    <a:pt x="522" y="98"/>
                  </a:moveTo>
                  <a:lnTo>
                    <a:pt x="524" y="98"/>
                  </a:lnTo>
                  <a:lnTo>
                    <a:pt x="522" y="98"/>
                  </a:lnTo>
                  <a:close/>
                  <a:moveTo>
                    <a:pt x="132" y="73"/>
                  </a:moveTo>
                  <a:lnTo>
                    <a:pt x="134" y="73"/>
                  </a:lnTo>
                  <a:lnTo>
                    <a:pt x="132" y="73"/>
                  </a:lnTo>
                  <a:close/>
                  <a:moveTo>
                    <a:pt x="165" y="47"/>
                  </a:moveTo>
                  <a:lnTo>
                    <a:pt x="165" y="48"/>
                  </a:lnTo>
                  <a:lnTo>
                    <a:pt x="165" y="47"/>
                  </a:lnTo>
                  <a:close/>
                  <a:moveTo>
                    <a:pt x="132" y="72"/>
                  </a:moveTo>
                  <a:lnTo>
                    <a:pt x="134" y="72"/>
                  </a:lnTo>
                  <a:lnTo>
                    <a:pt x="132" y="72"/>
                  </a:lnTo>
                  <a:close/>
                  <a:moveTo>
                    <a:pt x="169" y="168"/>
                  </a:moveTo>
                  <a:lnTo>
                    <a:pt x="171" y="168"/>
                  </a:lnTo>
                  <a:lnTo>
                    <a:pt x="169" y="168"/>
                  </a:lnTo>
                  <a:close/>
                  <a:moveTo>
                    <a:pt x="136" y="83"/>
                  </a:moveTo>
                  <a:lnTo>
                    <a:pt x="138" y="83"/>
                  </a:lnTo>
                  <a:lnTo>
                    <a:pt x="136" y="83"/>
                  </a:lnTo>
                  <a:close/>
                  <a:moveTo>
                    <a:pt x="389" y="79"/>
                  </a:moveTo>
                  <a:lnTo>
                    <a:pt x="389" y="81"/>
                  </a:lnTo>
                  <a:lnTo>
                    <a:pt x="389" y="79"/>
                  </a:lnTo>
                  <a:close/>
                  <a:moveTo>
                    <a:pt x="205" y="50"/>
                  </a:moveTo>
                  <a:lnTo>
                    <a:pt x="205" y="52"/>
                  </a:lnTo>
                  <a:lnTo>
                    <a:pt x="205" y="50"/>
                  </a:lnTo>
                  <a:close/>
                  <a:moveTo>
                    <a:pt x="207" y="106"/>
                  </a:moveTo>
                  <a:lnTo>
                    <a:pt x="209" y="106"/>
                  </a:lnTo>
                  <a:lnTo>
                    <a:pt x="207" y="106"/>
                  </a:lnTo>
                  <a:close/>
                  <a:moveTo>
                    <a:pt x="570" y="98"/>
                  </a:moveTo>
                  <a:lnTo>
                    <a:pt x="572" y="98"/>
                  </a:lnTo>
                  <a:lnTo>
                    <a:pt x="570" y="98"/>
                  </a:lnTo>
                  <a:close/>
                  <a:moveTo>
                    <a:pt x="516" y="118"/>
                  </a:moveTo>
                  <a:lnTo>
                    <a:pt x="516" y="120"/>
                  </a:lnTo>
                  <a:lnTo>
                    <a:pt x="516" y="118"/>
                  </a:lnTo>
                  <a:close/>
                  <a:moveTo>
                    <a:pt x="176" y="129"/>
                  </a:moveTo>
                  <a:lnTo>
                    <a:pt x="178" y="129"/>
                  </a:lnTo>
                  <a:lnTo>
                    <a:pt x="176" y="129"/>
                  </a:lnTo>
                  <a:close/>
                  <a:moveTo>
                    <a:pt x="336" y="198"/>
                  </a:moveTo>
                  <a:lnTo>
                    <a:pt x="338" y="198"/>
                  </a:lnTo>
                  <a:lnTo>
                    <a:pt x="336" y="198"/>
                  </a:lnTo>
                  <a:close/>
                  <a:moveTo>
                    <a:pt x="382" y="183"/>
                  </a:moveTo>
                  <a:lnTo>
                    <a:pt x="382" y="185"/>
                  </a:lnTo>
                  <a:lnTo>
                    <a:pt x="382" y="183"/>
                  </a:lnTo>
                  <a:close/>
                  <a:moveTo>
                    <a:pt x="351" y="214"/>
                  </a:moveTo>
                  <a:lnTo>
                    <a:pt x="353" y="214"/>
                  </a:lnTo>
                  <a:lnTo>
                    <a:pt x="351" y="214"/>
                  </a:lnTo>
                  <a:close/>
                  <a:moveTo>
                    <a:pt x="286" y="191"/>
                  </a:moveTo>
                  <a:lnTo>
                    <a:pt x="288" y="191"/>
                  </a:lnTo>
                  <a:lnTo>
                    <a:pt x="286" y="191"/>
                  </a:lnTo>
                  <a:close/>
                  <a:moveTo>
                    <a:pt x="169" y="169"/>
                  </a:moveTo>
                  <a:lnTo>
                    <a:pt x="171" y="169"/>
                  </a:lnTo>
                  <a:lnTo>
                    <a:pt x="169" y="169"/>
                  </a:lnTo>
                  <a:close/>
                  <a:moveTo>
                    <a:pt x="328" y="198"/>
                  </a:moveTo>
                  <a:lnTo>
                    <a:pt x="330" y="198"/>
                  </a:lnTo>
                  <a:lnTo>
                    <a:pt x="328" y="198"/>
                  </a:lnTo>
                  <a:close/>
                  <a:moveTo>
                    <a:pt x="353" y="187"/>
                  </a:moveTo>
                  <a:lnTo>
                    <a:pt x="355" y="187"/>
                  </a:lnTo>
                  <a:lnTo>
                    <a:pt x="353" y="187"/>
                  </a:lnTo>
                  <a:close/>
                  <a:moveTo>
                    <a:pt x="336" y="198"/>
                  </a:moveTo>
                  <a:lnTo>
                    <a:pt x="338" y="198"/>
                  </a:lnTo>
                  <a:lnTo>
                    <a:pt x="336" y="198"/>
                  </a:lnTo>
                  <a:close/>
                  <a:moveTo>
                    <a:pt x="326" y="35"/>
                  </a:moveTo>
                  <a:lnTo>
                    <a:pt x="328" y="35"/>
                  </a:lnTo>
                  <a:lnTo>
                    <a:pt x="326" y="35"/>
                  </a:lnTo>
                  <a:close/>
                  <a:moveTo>
                    <a:pt x="138" y="85"/>
                  </a:moveTo>
                  <a:lnTo>
                    <a:pt x="140" y="85"/>
                  </a:lnTo>
                  <a:lnTo>
                    <a:pt x="138" y="85"/>
                  </a:lnTo>
                  <a:close/>
                  <a:moveTo>
                    <a:pt x="382" y="183"/>
                  </a:moveTo>
                  <a:lnTo>
                    <a:pt x="384" y="183"/>
                  </a:lnTo>
                  <a:lnTo>
                    <a:pt x="382" y="183"/>
                  </a:lnTo>
                  <a:close/>
                  <a:moveTo>
                    <a:pt x="96" y="56"/>
                  </a:moveTo>
                  <a:lnTo>
                    <a:pt x="96" y="58"/>
                  </a:lnTo>
                  <a:lnTo>
                    <a:pt x="96" y="56"/>
                  </a:lnTo>
                  <a:close/>
                  <a:moveTo>
                    <a:pt x="489" y="193"/>
                  </a:moveTo>
                  <a:lnTo>
                    <a:pt x="489" y="194"/>
                  </a:lnTo>
                  <a:lnTo>
                    <a:pt x="489" y="193"/>
                  </a:lnTo>
                  <a:close/>
                  <a:moveTo>
                    <a:pt x="134" y="73"/>
                  </a:moveTo>
                  <a:lnTo>
                    <a:pt x="136" y="73"/>
                  </a:lnTo>
                  <a:lnTo>
                    <a:pt x="134" y="73"/>
                  </a:lnTo>
                  <a:close/>
                  <a:moveTo>
                    <a:pt x="52" y="91"/>
                  </a:moveTo>
                  <a:lnTo>
                    <a:pt x="52" y="93"/>
                  </a:lnTo>
                  <a:lnTo>
                    <a:pt x="52" y="91"/>
                  </a:lnTo>
                  <a:close/>
                  <a:moveTo>
                    <a:pt x="132" y="75"/>
                  </a:moveTo>
                  <a:lnTo>
                    <a:pt x="132" y="77"/>
                  </a:lnTo>
                  <a:lnTo>
                    <a:pt x="132" y="75"/>
                  </a:lnTo>
                  <a:close/>
                  <a:moveTo>
                    <a:pt x="126" y="79"/>
                  </a:moveTo>
                  <a:lnTo>
                    <a:pt x="128" y="79"/>
                  </a:lnTo>
                  <a:lnTo>
                    <a:pt x="126" y="79"/>
                  </a:lnTo>
                  <a:close/>
                  <a:moveTo>
                    <a:pt x="136" y="77"/>
                  </a:moveTo>
                  <a:lnTo>
                    <a:pt x="136" y="79"/>
                  </a:lnTo>
                  <a:lnTo>
                    <a:pt x="136" y="77"/>
                  </a:lnTo>
                  <a:close/>
                  <a:moveTo>
                    <a:pt x="326" y="121"/>
                  </a:moveTo>
                  <a:lnTo>
                    <a:pt x="328" y="121"/>
                  </a:lnTo>
                  <a:lnTo>
                    <a:pt x="326" y="121"/>
                  </a:lnTo>
                  <a:close/>
                  <a:moveTo>
                    <a:pt x="382" y="210"/>
                  </a:moveTo>
                  <a:lnTo>
                    <a:pt x="382" y="212"/>
                  </a:lnTo>
                  <a:lnTo>
                    <a:pt x="382" y="210"/>
                  </a:lnTo>
                  <a:close/>
                  <a:moveTo>
                    <a:pt x="130" y="73"/>
                  </a:moveTo>
                  <a:lnTo>
                    <a:pt x="132" y="73"/>
                  </a:lnTo>
                  <a:lnTo>
                    <a:pt x="130" y="73"/>
                  </a:lnTo>
                  <a:close/>
                  <a:moveTo>
                    <a:pt x="470" y="98"/>
                  </a:moveTo>
                  <a:lnTo>
                    <a:pt x="472" y="98"/>
                  </a:lnTo>
                  <a:lnTo>
                    <a:pt x="470" y="98"/>
                  </a:lnTo>
                  <a:close/>
                  <a:moveTo>
                    <a:pt x="138" y="85"/>
                  </a:moveTo>
                  <a:lnTo>
                    <a:pt x="138" y="87"/>
                  </a:lnTo>
                  <a:lnTo>
                    <a:pt x="138" y="85"/>
                  </a:lnTo>
                  <a:close/>
                  <a:moveTo>
                    <a:pt x="531" y="100"/>
                  </a:moveTo>
                  <a:lnTo>
                    <a:pt x="531" y="102"/>
                  </a:lnTo>
                  <a:lnTo>
                    <a:pt x="531" y="100"/>
                  </a:lnTo>
                  <a:close/>
                  <a:moveTo>
                    <a:pt x="140" y="85"/>
                  </a:moveTo>
                  <a:lnTo>
                    <a:pt x="140" y="87"/>
                  </a:lnTo>
                  <a:lnTo>
                    <a:pt x="140" y="85"/>
                  </a:lnTo>
                  <a:close/>
                  <a:moveTo>
                    <a:pt x="512" y="112"/>
                  </a:moveTo>
                  <a:lnTo>
                    <a:pt x="514" y="112"/>
                  </a:lnTo>
                  <a:lnTo>
                    <a:pt x="512" y="112"/>
                  </a:lnTo>
                  <a:close/>
                  <a:moveTo>
                    <a:pt x="132" y="73"/>
                  </a:moveTo>
                  <a:lnTo>
                    <a:pt x="134" y="73"/>
                  </a:lnTo>
                  <a:lnTo>
                    <a:pt x="132" y="73"/>
                  </a:lnTo>
                  <a:close/>
                  <a:moveTo>
                    <a:pt x="483" y="64"/>
                  </a:moveTo>
                  <a:lnTo>
                    <a:pt x="483" y="66"/>
                  </a:lnTo>
                  <a:lnTo>
                    <a:pt x="483" y="64"/>
                  </a:lnTo>
                  <a:close/>
                  <a:moveTo>
                    <a:pt x="470" y="85"/>
                  </a:moveTo>
                  <a:lnTo>
                    <a:pt x="470" y="87"/>
                  </a:lnTo>
                  <a:lnTo>
                    <a:pt x="470" y="85"/>
                  </a:lnTo>
                  <a:close/>
                  <a:moveTo>
                    <a:pt x="77" y="127"/>
                  </a:moveTo>
                  <a:lnTo>
                    <a:pt x="77" y="129"/>
                  </a:lnTo>
                  <a:lnTo>
                    <a:pt x="77" y="127"/>
                  </a:lnTo>
                  <a:close/>
                  <a:moveTo>
                    <a:pt x="140" y="85"/>
                  </a:moveTo>
                  <a:lnTo>
                    <a:pt x="140" y="87"/>
                  </a:lnTo>
                  <a:lnTo>
                    <a:pt x="140" y="85"/>
                  </a:lnTo>
                  <a:close/>
                  <a:moveTo>
                    <a:pt x="128" y="72"/>
                  </a:moveTo>
                  <a:lnTo>
                    <a:pt x="130" y="72"/>
                  </a:lnTo>
                  <a:lnTo>
                    <a:pt x="128" y="72"/>
                  </a:lnTo>
                  <a:close/>
                  <a:moveTo>
                    <a:pt x="169" y="169"/>
                  </a:moveTo>
                  <a:lnTo>
                    <a:pt x="171" y="169"/>
                  </a:lnTo>
                  <a:lnTo>
                    <a:pt x="169" y="169"/>
                  </a:lnTo>
                  <a:close/>
                  <a:moveTo>
                    <a:pt x="577" y="187"/>
                  </a:moveTo>
                  <a:lnTo>
                    <a:pt x="577" y="189"/>
                  </a:lnTo>
                  <a:lnTo>
                    <a:pt x="577" y="187"/>
                  </a:lnTo>
                  <a:close/>
                  <a:moveTo>
                    <a:pt x="165" y="41"/>
                  </a:moveTo>
                  <a:lnTo>
                    <a:pt x="167" y="41"/>
                  </a:lnTo>
                  <a:lnTo>
                    <a:pt x="165" y="41"/>
                  </a:lnTo>
                  <a:close/>
                  <a:moveTo>
                    <a:pt x="528" y="104"/>
                  </a:moveTo>
                  <a:lnTo>
                    <a:pt x="529" y="104"/>
                  </a:lnTo>
                  <a:lnTo>
                    <a:pt x="528" y="104"/>
                  </a:lnTo>
                  <a:close/>
                  <a:moveTo>
                    <a:pt x="307" y="216"/>
                  </a:moveTo>
                  <a:lnTo>
                    <a:pt x="309" y="216"/>
                  </a:lnTo>
                  <a:lnTo>
                    <a:pt x="307" y="216"/>
                  </a:lnTo>
                  <a:close/>
                  <a:moveTo>
                    <a:pt x="163" y="39"/>
                  </a:moveTo>
                  <a:lnTo>
                    <a:pt x="165" y="39"/>
                  </a:lnTo>
                  <a:lnTo>
                    <a:pt x="163" y="39"/>
                  </a:lnTo>
                  <a:close/>
                  <a:moveTo>
                    <a:pt x="318" y="102"/>
                  </a:moveTo>
                  <a:lnTo>
                    <a:pt x="318" y="104"/>
                  </a:lnTo>
                  <a:lnTo>
                    <a:pt x="318" y="102"/>
                  </a:lnTo>
                  <a:close/>
                  <a:moveTo>
                    <a:pt x="130" y="70"/>
                  </a:moveTo>
                  <a:lnTo>
                    <a:pt x="130" y="72"/>
                  </a:lnTo>
                  <a:lnTo>
                    <a:pt x="130" y="70"/>
                  </a:lnTo>
                  <a:close/>
                  <a:moveTo>
                    <a:pt x="32" y="66"/>
                  </a:moveTo>
                  <a:lnTo>
                    <a:pt x="32" y="68"/>
                  </a:lnTo>
                  <a:lnTo>
                    <a:pt x="32" y="66"/>
                  </a:lnTo>
                  <a:close/>
                  <a:moveTo>
                    <a:pt x="399" y="91"/>
                  </a:moveTo>
                  <a:lnTo>
                    <a:pt x="399" y="93"/>
                  </a:lnTo>
                  <a:lnTo>
                    <a:pt x="399" y="91"/>
                  </a:lnTo>
                  <a:close/>
                  <a:moveTo>
                    <a:pt x="514" y="89"/>
                  </a:moveTo>
                  <a:lnTo>
                    <a:pt x="516" y="89"/>
                  </a:lnTo>
                  <a:lnTo>
                    <a:pt x="514" y="89"/>
                  </a:lnTo>
                  <a:close/>
                  <a:moveTo>
                    <a:pt x="128" y="73"/>
                  </a:moveTo>
                  <a:lnTo>
                    <a:pt x="130" y="73"/>
                  </a:lnTo>
                  <a:lnTo>
                    <a:pt x="128" y="73"/>
                  </a:lnTo>
                  <a:close/>
                  <a:moveTo>
                    <a:pt x="126" y="77"/>
                  </a:moveTo>
                  <a:lnTo>
                    <a:pt x="126" y="79"/>
                  </a:lnTo>
                  <a:lnTo>
                    <a:pt x="126" y="77"/>
                  </a:lnTo>
                  <a:close/>
                  <a:moveTo>
                    <a:pt x="184" y="72"/>
                  </a:moveTo>
                  <a:lnTo>
                    <a:pt x="184" y="73"/>
                  </a:lnTo>
                  <a:lnTo>
                    <a:pt x="184" y="72"/>
                  </a:lnTo>
                  <a:close/>
                  <a:moveTo>
                    <a:pt x="278" y="193"/>
                  </a:moveTo>
                  <a:lnTo>
                    <a:pt x="280" y="193"/>
                  </a:lnTo>
                  <a:lnTo>
                    <a:pt x="278" y="193"/>
                  </a:lnTo>
                  <a:close/>
                  <a:moveTo>
                    <a:pt x="516" y="118"/>
                  </a:moveTo>
                  <a:lnTo>
                    <a:pt x="518" y="118"/>
                  </a:lnTo>
                  <a:lnTo>
                    <a:pt x="516" y="118"/>
                  </a:lnTo>
                  <a:close/>
                  <a:moveTo>
                    <a:pt x="2" y="4"/>
                  </a:moveTo>
                  <a:lnTo>
                    <a:pt x="2" y="6"/>
                  </a:lnTo>
                  <a:lnTo>
                    <a:pt x="2" y="4"/>
                  </a:lnTo>
                  <a:close/>
                  <a:moveTo>
                    <a:pt x="126" y="75"/>
                  </a:moveTo>
                  <a:lnTo>
                    <a:pt x="126" y="77"/>
                  </a:lnTo>
                  <a:lnTo>
                    <a:pt x="126" y="75"/>
                  </a:lnTo>
                  <a:close/>
                  <a:moveTo>
                    <a:pt x="587" y="108"/>
                  </a:moveTo>
                  <a:lnTo>
                    <a:pt x="587" y="110"/>
                  </a:lnTo>
                  <a:lnTo>
                    <a:pt x="587" y="108"/>
                  </a:lnTo>
                  <a:close/>
                  <a:moveTo>
                    <a:pt x="207" y="110"/>
                  </a:moveTo>
                  <a:lnTo>
                    <a:pt x="209" y="110"/>
                  </a:lnTo>
                  <a:lnTo>
                    <a:pt x="207" y="110"/>
                  </a:lnTo>
                  <a:close/>
                  <a:moveTo>
                    <a:pt x="134" y="75"/>
                  </a:moveTo>
                  <a:lnTo>
                    <a:pt x="136" y="75"/>
                  </a:lnTo>
                  <a:lnTo>
                    <a:pt x="134" y="75"/>
                  </a:lnTo>
                  <a:close/>
                  <a:moveTo>
                    <a:pt x="44" y="72"/>
                  </a:moveTo>
                  <a:lnTo>
                    <a:pt x="44" y="73"/>
                  </a:lnTo>
                  <a:lnTo>
                    <a:pt x="44" y="72"/>
                  </a:lnTo>
                  <a:close/>
                  <a:moveTo>
                    <a:pt x="362" y="212"/>
                  </a:moveTo>
                  <a:lnTo>
                    <a:pt x="362" y="214"/>
                  </a:lnTo>
                  <a:lnTo>
                    <a:pt x="362" y="212"/>
                  </a:lnTo>
                  <a:close/>
                  <a:moveTo>
                    <a:pt x="209" y="100"/>
                  </a:moveTo>
                  <a:lnTo>
                    <a:pt x="209" y="102"/>
                  </a:lnTo>
                  <a:lnTo>
                    <a:pt x="209" y="100"/>
                  </a:lnTo>
                  <a:close/>
                  <a:moveTo>
                    <a:pt x="647" y="118"/>
                  </a:moveTo>
                  <a:lnTo>
                    <a:pt x="648" y="118"/>
                  </a:lnTo>
                  <a:lnTo>
                    <a:pt x="647" y="118"/>
                  </a:lnTo>
                  <a:close/>
                  <a:moveTo>
                    <a:pt x="470" y="96"/>
                  </a:moveTo>
                  <a:lnTo>
                    <a:pt x="472" y="96"/>
                  </a:lnTo>
                  <a:lnTo>
                    <a:pt x="470" y="96"/>
                  </a:lnTo>
                  <a:close/>
                  <a:moveTo>
                    <a:pt x="96" y="56"/>
                  </a:moveTo>
                  <a:lnTo>
                    <a:pt x="96" y="58"/>
                  </a:lnTo>
                  <a:lnTo>
                    <a:pt x="96" y="56"/>
                  </a:lnTo>
                  <a:close/>
                  <a:moveTo>
                    <a:pt x="326" y="123"/>
                  </a:moveTo>
                  <a:lnTo>
                    <a:pt x="328" y="123"/>
                  </a:lnTo>
                  <a:lnTo>
                    <a:pt x="326" y="123"/>
                  </a:lnTo>
                  <a:close/>
                  <a:moveTo>
                    <a:pt x="549" y="125"/>
                  </a:moveTo>
                  <a:lnTo>
                    <a:pt x="549" y="127"/>
                  </a:lnTo>
                  <a:lnTo>
                    <a:pt x="549" y="125"/>
                  </a:lnTo>
                  <a:close/>
                  <a:moveTo>
                    <a:pt x="67" y="118"/>
                  </a:moveTo>
                  <a:lnTo>
                    <a:pt x="67" y="120"/>
                  </a:lnTo>
                  <a:lnTo>
                    <a:pt x="67" y="118"/>
                  </a:lnTo>
                  <a:close/>
                  <a:moveTo>
                    <a:pt x="516" y="112"/>
                  </a:moveTo>
                  <a:lnTo>
                    <a:pt x="518" y="112"/>
                  </a:lnTo>
                  <a:lnTo>
                    <a:pt x="516" y="112"/>
                  </a:lnTo>
                  <a:close/>
                  <a:moveTo>
                    <a:pt x="522" y="104"/>
                  </a:moveTo>
                  <a:lnTo>
                    <a:pt x="524" y="104"/>
                  </a:lnTo>
                  <a:lnTo>
                    <a:pt x="522" y="104"/>
                  </a:lnTo>
                  <a:close/>
                  <a:moveTo>
                    <a:pt x="132" y="77"/>
                  </a:moveTo>
                  <a:lnTo>
                    <a:pt x="132" y="79"/>
                  </a:lnTo>
                  <a:lnTo>
                    <a:pt x="132" y="77"/>
                  </a:lnTo>
                  <a:close/>
                  <a:moveTo>
                    <a:pt x="516" y="120"/>
                  </a:moveTo>
                  <a:lnTo>
                    <a:pt x="518" y="120"/>
                  </a:lnTo>
                  <a:lnTo>
                    <a:pt x="516" y="120"/>
                  </a:lnTo>
                  <a:close/>
                  <a:moveTo>
                    <a:pt x="487" y="54"/>
                  </a:moveTo>
                  <a:lnTo>
                    <a:pt x="487" y="56"/>
                  </a:lnTo>
                  <a:lnTo>
                    <a:pt x="487" y="54"/>
                  </a:lnTo>
                  <a:close/>
                  <a:moveTo>
                    <a:pt x="485" y="56"/>
                  </a:moveTo>
                  <a:lnTo>
                    <a:pt x="487" y="56"/>
                  </a:lnTo>
                  <a:lnTo>
                    <a:pt x="485" y="56"/>
                  </a:lnTo>
                  <a:close/>
                  <a:moveTo>
                    <a:pt x="157" y="41"/>
                  </a:moveTo>
                  <a:lnTo>
                    <a:pt x="157" y="43"/>
                  </a:lnTo>
                  <a:lnTo>
                    <a:pt x="157" y="41"/>
                  </a:lnTo>
                  <a:close/>
                  <a:moveTo>
                    <a:pt x="338" y="193"/>
                  </a:moveTo>
                  <a:lnTo>
                    <a:pt x="338" y="194"/>
                  </a:lnTo>
                  <a:lnTo>
                    <a:pt x="338" y="193"/>
                  </a:lnTo>
                  <a:close/>
                  <a:moveTo>
                    <a:pt x="520" y="118"/>
                  </a:moveTo>
                  <a:lnTo>
                    <a:pt x="520" y="120"/>
                  </a:lnTo>
                  <a:lnTo>
                    <a:pt x="520" y="118"/>
                  </a:lnTo>
                  <a:close/>
                  <a:moveTo>
                    <a:pt x="140" y="85"/>
                  </a:moveTo>
                  <a:lnTo>
                    <a:pt x="140" y="87"/>
                  </a:lnTo>
                  <a:lnTo>
                    <a:pt x="140" y="85"/>
                  </a:lnTo>
                  <a:close/>
                  <a:moveTo>
                    <a:pt x="608" y="106"/>
                  </a:moveTo>
                  <a:lnTo>
                    <a:pt x="610" y="106"/>
                  </a:lnTo>
                  <a:lnTo>
                    <a:pt x="608" y="106"/>
                  </a:lnTo>
                  <a:close/>
                  <a:moveTo>
                    <a:pt x="297" y="189"/>
                  </a:moveTo>
                  <a:lnTo>
                    <a:pt x="297" y="191"/>
                  </a:lnTo>
                  <a:lnTo>
                    <a:pt x="297" y="189"/>
                  </a:lnTo>
                  <a:close/>
                  <a:moveTo>
                    <a:pt x="528" y="202"/>
                  </a:moveTo>
                  <a:lnTo>
                    <a:pt x="529" y="202"/>
                  </a:lnTo>
                  <a:lnTo>
                    <a:pt x="528" y="202"/>
                  </a:lnTo>
                  <a:close/>
                  <a:moveTo>
                    <a:pt x="474" y="89"/>
                  </a:moveTo>
                  <a:lnTo>
                    <a:pt x="476" y="89"/>
                  </a:lnTo>
                  <a:lnTo>
                    <a:pt x="474" y="89"/>
                  </a:lnTo>
                  <a:close/>
                  <a:moveTo>
                    <a:pt x="196" y="129"/>
                  </a:moveTo>
                  <a:lnTo>
                    <a:pt x="197" y="129"/>
                  </a:lnTo>
                  <a:lnTo>
                    <a:pt x="196" y="129"/>
                  </a:lnTo>
                  <a:close/>
                  <a:moveTo>
                    <a:pt x="13" y="45"/>
                  </a:moveTo>
                  <a:lnTo>
                    <a:pt x="13" y="47"/>
                  </a:lnTo>
                  <a:lnTo>
                    <a:pt x="13" y="45"/>
                  </a:lnTo>
                  <a:close/>
                  <a:moveTo>
                    <a:pt x="564" y="141"/>
                  </a:moveTo>
                  <a:lnTo>
                    <a:pt x="566" y="141"/>
                  </a:lnTo>
                  <a:lnTo>
                    <a:pt x="564" y="141"/>
                  </a:lnTo>
                  <a:close/>
                  <a:moveTo>
                    <a:pt x="169" y="171"/>
                  </a:moveTo>
                  <a:lnTo>
                    <a:pt x="171" y="171"/>
                  </a:lnTo>
                  <a:lnTo>
                    <a:pt x="169" y="171"/>
                  </a:lnTo>
                  <a:close/>
                  <a:moveTo>
                    <a:pt x="614" y="158"/>
                  </a:moveTo>
                  <a:lnTo>
                    <a:pt x="614" y="160"/>
                  </a:lnTo>
                  <a:lnTo>
                    <a:pt x="614" y="158"/>
                  </a:lnTo>
                  <a:close/>
                  <a:moveTo>
                    <a:pt x="487" y="56"/>
                  </a:moveTo>
                  <a:lnTo>
                    <a:pt x="487" y="58"/>
                  </a:lnTo>
                  <a:lnTo>
                    <a:pt x="487" y="56"/>
                  </a:lnTo>
                  <a:close/>
                  <a:moveTo>
                    <a:pt x="128" y="73"/>
                  </a:moveTo>
                  <a:lnTo>
                    <a:pt x="130" y="73"/>
                  </a:lnTo>
                  <a:lnTo>
                    <a:pt x="128" y="73"/>
                  </a:lnTo>
                  <a:close/>
                  <a:moveTo>
                    <a:pt x="165" y="37"/>
                  </a:moveTo>
                  <a:lnTo>
                    <a:pt x="165" y="39"/>
                  </a:lnTo>
                  <a:lnTo>
                    <a:pt x="165" y="37"/>
                  </a:lnTo>
                  <a:close/>
                  <a:moveTo>
                    <a:pt x="549" y="127"/>
                  </a:moveTo>
                  <a:lnTo>
                    <a:pt x="551" y="127"/>
                  </a:lnTo>
                  <a:lnTo>
                    <a:pt x="549" y="127"/>
                  </a:lnTo>
                  <a:close/>
                  <a:moveTo>
                    <a:pt x="157" y="41"/>
                  </a:moveTo>
                  <a:lnTo>
                    <a:pt x="157" y="43"/>
                  </a:lnTo>
                  <a:lnTo>
                    <a:pt x="157" y="41"/>
                  </a:lnTo>
                  <a:close/>
                  <a:moveTo>
                    <a:pt x="362" y="210"/>
                  </a:moveTo>
                  <a:lnTo>
                    <a:pt x="362" y="212"/>
                  </a:lnTo>
                  <a:lnTo>
                    <a:pt x="362" y="210"/>
                  </a:lnTo>
                  <a:close/>
                  <a:moveTo>
                    <a:pt x="132" y="73"/>
                  </a:moveTo>
                  <a:lnTo>
                    <a:pt x="132" y="75"/>
                  </a:lnTo>
                  <a:lnTo>
                    <a:pt x="132" y="73"/>
                  </a:lnTo>
                  <a:close/>
                  <a:moveTo>
                    <a:pt x="577" y="168"/>
                  </a:moveTo>
                  <a:lnTo>
                    <a:pt x="579" y="168"/>
                  </a:lnTo>
                  <a:lnTo>
                    <a:pt x="577" y="168"/>
                  </a:lnTo>
                  <a:close/>
                  <a:moveTo>
                    <a:pt x="313" y="217"/>
                  </a:moveTo>
                  <a:lnTo>
                    <a:pt x="313" y="219"/>
                  </a:lnTo>
                  <a:lnTo>
                    <a:pt x="313" y="217"/>
                  </a:lnTo>
                  <a:close/>
                  <a:moveTo>
                    <a:pt x="581" y="173"/>
                  </a:moveTo>
                  <a:lnTo>
                    <a:pt x="583" y="173"/>
                  </a:lnTo>
                  <a:lnTo>
                    <a:pt x="581" y="173"/>
                  </a:lnTo>
                  <a:close/>
                  <a:moveTo>
                    <a:pt x="167" y="41"/>
                  </a:moveTo>
                  <a:lnTo>
                    <a:pt x="167" y="43"/>
                  </a:lnTo>
                  <a:lnTo>
                    <a:pt x="167" y="41"/>
                  </a:lnTo>
                  <a:close/>
                  <a:moveTo>
                    <a:pt x="520" y="116"/>
                  </a:moveTo>
                  <a:lnTo>
                    <a:pt x="520" y="118"/>
                  </a:lnTo>
                  <a:lnTo>
                    <a:pt x="520" y="116"/>
                  </a:lnTo>
                  <a:close/>
                  <a:moveTo>
                    <a:pt x="472" y="96"/>
                  </a:moveTo>
                  <a:lnTo>
                    <a:pt x="474" y="96"/>
                  </a:lnTo>
                  <a:lnTo>
                    <a:pt x="472" y="96"/>
                  </a:lnTo>
                  <a:close/>
                  <a:moveTo>
                    <a:pt x="324" y="198"/>
                  </a:moveTo>
                  <a:lnTo>
                    <a:pt x="326" y="198"/>
                  </a:lnTo>
                  <a:lnTo>
                    <a:pt x="324" y="198"/>
                  </a:lnTo>
                  <a:close/>
                  <a:moveTo>
                    <a:pt x="552" y="144"/>
                  </a:moveTo>
                  <a:lnTo>
                    <a:pt x="554" y="144"/>
                  </a:lnTo>
                  <a:lnTo>
                    <a:pt x="552" y="144"/>
                  </a:lnTo>
                  <a:close/>
                  <a:moveTo>
                    <a:pt x="476" y="135"/>
                  </a:moveTo>
                  <a:lnTo>
                    <a:pt x="476" y="137"/>
                  </a:lnTo>
                  <a:lnTo>
                    <a:pt x="476" y="135"/>
                  </a:lnTo>
                  <a:close/>
                  <a:moveTo>
                    <a:pt x="518" y="118"/>
                  </a:moveTo>
                  <a:lnTo>
                    <a:pt x="518" y="120"/>
                  </a:lnTo>
                  <a:lnTo>
                    <a:pt x="518" y="118"/>
                  </a:lnTo>
                  <a:close/>
                  <a:moveTo>
                    <a:pt x="169" y="169"/>
                  </a:moveTo>
                  <a:lnTo>
                    <a:pt x="171" y="169"/>
                  </a:lnTo>
                  <a:lnTo>
                    <a:pt x="169" y="169"/>
                  </a:lnTo>
                  <a:close/>
                  <a:moveTo>
                    <a:pt x="581" y="116"/>
                  </a:moveTo>
                  <a:lnTo>
                    <a:pt x="581" y="118"/>
                  </a:lnTo>
                  <a:lnTo>
                    <a:pt x="581" y="116"/>
                  </a:lnTo>
                  <a:close/>
                  <a:moveTo>
                    <a:pt x="228" y="171"/>
                  </a:moveTo>
                  <a:lnTo>
                    <a:pt x="228" y="173"/>
                  </a:lnTo>
                  <a:lnTo>
                    <a:pt x="228" y="171"/>
                  </a:lnTo>
                  <a:close/>
                  <a:moveTo>
                    <a:pt x="130" y="75"/>
                  </a:moveTo>
                  <a:lnTo>
                    <a:pt x="130" y="77"/>
                  </a:lnTo>
                  <a:lnTo>
                    <a:pt x="130" y="75"/>
                  </a:lnTo>
                  <a:close/>
                  <a:moveTo>
                    <a:pt x="123" y="73"/>
                  </a:moveTo>
                  <a:lnTo>
                    <a:pt x="123" y="75"/>
                  </a:lnTo>
                  <a:lnTo>
                    <a:pt x="123" y="73"/>
                  </a:lnTo>
                  <a:close/>
                  <a:moveTo>
                    <a:pt x="328" y="139"/>
                  </a:moveTo>
                  <a:lnTo>
                    <a:pt x="330" y="139"/>
                  </a:lnTo>
                  <a:lnTo>
                    <a:pt x="328" y="139"/>
                  </a:lnTo>
                  <a:close/>
                  <a:moveTo>
                    <a:pt x="443" y="56"/>
                  </a:moveTo>
                  <a:lnTo>
                    <a:pt x="445" y="56"/>
                  </a:lnTo>
                  <a:lnTo>
                    <a:pt x="443" y="56"/>
                  </a:lnTo>
                  <a:close/>
                  <a:moveTo>
                    <a:pt x="410" y="244"/>
                  </a:moveTo>
                  <a:lnTo>
                    <a:pt x="412" y="244"/>
                  </a:lnTo>
                  <a:lnTo>
                    <a:pt x="410" y="244"/>
                  </a:lnTo>
                  <a:close/>
                  <a:moveTo>
                    <a:pt x="209" y="112"/>
                  </a:moveTo>
                  <a:lnTo>
                    <a:pt x="209" y="114"/>
                  </a:lnTo>
                  <a:lnTo>
                    <a:pt x="209" y="112"/>
                  </a:lnTo>
                  <a:close/>
                  <a:moveTo>
                    <a:pt x="165" y="41"/>
                  </a:moveTo>
                  <a:lnTo>
                    <a:pt x="167" y="41"/>
                  </a:lnTo>
                  <a:lnTo>
                    <a:pt x="165" y="41"/>
                  </a:lnTo>
                  <a:close/>
                  <a:moveTo>
                    <a:pt x="259" y="212"/>
                  </a:moveTo>
                  <a:lnTo>
                    <a:pt x="261" y="212"/>
                  </a:lnTo>
                  <a:lnTo>
                    <a:pt x="259" y="212"/>
                  </a:lnTo>
                  <a:close/>
                  <a:moveTo>
                    <a:pt x="203" y="45"/>
                  </a:moveTo>
                  <a:lnTo>
                    <a:pt x="203" y="47"/>
                  </a:lnTo>
                  <a:lnTo>
                    <a:pt x="203" y="45"/>
                  </a:lnTo>
                  <a:close/>
                  <a:moveTo>
                    <a:pt x="577" y="181"/>
                  </a:moveTo>
                  <a:lnTo>
                    <a:pt x="577" y="183"/>
                  </a:lnTo>
                  <a:lnTo>
                    <a:pt x="577" y="181"/>
                  </a:lnTo>
                  <a:close/>
                  <a:moveTo>
                    <a:pt x="604" y="116"/>
                  </a:moveTo>
                  <a:lnTo>
                    <a:pt x="606" y="116"/>
                  </a:lnTo>
                  <a:lnTo>
                    <a:pt x="604" y="116"/>
                  </a:lnTo>
                  <a:close/>
                  <a:moveTo>
                    <a:pt x="389" y="79"/>
                  </a:moveTo>
                  <a:lnTo>
                    <a:pt x="391" y="79"/>
                  </a:lnTo>
                  <a:lnTo>
                    <a:pt x="391" y="81"/>
                  </a:lnTo>
                  <a:lnTo>
                    <a:pt x="389" y="81"/>
                  </a:lnTo>
                  <a:lnTo>
                    <a:pt x="389" y="79"/>
                  </a:lnTo>
                  <a:close/>
                  <a:moveTo>
                    <a:pt x="332" y="43"/>
                  </a:moveTo>
                  <a:lnTo>
                    <a:pt x="332" y="45"/>
                  </a:lnTo>
                  <a:lnTo>
                    <a:pt x="332" y="43"/>
                  </a:lnTo>
                  <a:close/>
                  <a:moveTo>
                    <a:pt x="549" y="127"/>
                  </a:moveTo>
                  <a:lnTo>
                    <a:pt x="551" y="127"/>
                  </a:lnTo>
                  <a:lnTo>
                    <a:pt x="549" y="127"/>
                  </a:lnTo>
                  <a:close/>
                  <a:moveTo>
                    <a:pt x="78" y="133"/>
                  </a:moveTo>
                  <a:lnTo>
                    <a:pt x="80" y="133"/>
                  </a:lnTo>
                  <a:lnTo>
                    <a:pt x="78" y="133"/>
                  </a:lnTo>
                  <a:close/>
                  <a:moveTo>
                    <a:pt x="552" y="137"/>
                  </a:moveTo>
                  <a:lnTo>
                    <a:pt x="554" y="137"/>
                  </a:lnTo>
                  <a:lnTo>
                    <a:pt x="552" y="137"/>
                  </a:lnTo>
                  <a:close/>
                  <a:moveTo>
                    <a:pt x="410" y="95"/>
                  </a:moveTo>
                  <a:lnTo>
                    <a:pt x="410" y="96"/>
                  </a:lnTo>
                  <a:lnTo>
                    <a:pt x="410" y="95"/>
                  </a:lnTo>
                  <a:close/>
                  <a:moveTo>
                    <a:pt x="222" y="131"/>
                  </a:moveTo>
                  <a:lnTo>
                    <a:pt x="222" y="133"/>
                  </a:lnTo>
                  <a:lnTo>
                    <a:pt x="222" y="131"/>
                  </a:lnTo>
                  <a:close/>
                  <a:moveTo>
                    <a:pt x="149" y="106"/>
                  </a:moveTo>
                  <a:lnTo>
                    <a:pt x="151" y="106"/>
                  </a:lnTo>
                  <a:lnTo>
                    <a:pt x="149" y="106"/>
                  </a:lnTo>
                  <a:close/>
                  <a:moveTo>
                    <a:pt x="520" y="116"/>
                  </a:moveTo>
                  <a:lnTo>
                    <a:pt x="520" y="118"/>
                  </a:lnTo>
                  <a:lnTo>
                    <a:pt x="520" y="116"/>
                  </a:lnTo>
                  <a:close/>
                  <a:moveTo>
                    <a:pt x="529" y="200"/>
                  </a:moveTo>
                  <a:lnTo>
                    <a:pt x="529" y="202"/>
                  </a:lnTo>
                  <a:lnTo>
                    <a:pt x="529" y="200"/>
                  </a:lnTo>
                  <a:close/>
                  <a:moveTo>
                    <a:pt x="345" y="54"/>
                  </a:moveTo>
                  <a:lnTo>
                    <a:pt x="347" y="54"/>
                  </a:lnTo>
                  <a:lnTo>
                    <a:pt x="345" y="54"/>
                  </a:lnTo>
                  <a:close/>
                  <a:moveTo>
                    <a:pt x="526" y="118"/>
                  </a:moveTo>
                  <a:lnTo>
                    <a:pt x="526" y="120"/>
                  </a:lnTo>
                  <a:lnTo>
                    <a:pt x="526" y="118"/>
                  </a:lnTo>
                  <a:close/>
                  <a:moveTo>
                    <a:pt x="518" y="118"/>
                  </a:moveTo>
                  <a:lnTo>
                    <a:pt x="518" y="120"/>
                  </a:lnTo>
                  <a:lnTo>
                    <a:pt x="518" y="118"/>
                  </a:lnTo>
                  <a:close/>
                  <a:moveTo>
                    <a:pt x="572" y="114"/>
                  </a:moveTo>
                  <a:lnTo>
                    <a:pt x="574" y="114"/>
                  </a:lnTo>
                  <a:lnTo>
                    <a:pt x="574" y="116"/>
                  </a:lnTo>
                  <a:lnTo>
                    <a:pt x="572" y="116"/>
                  </a:lnTo>
                  <a:lnTo>
                    <a:pt x="572" y="114"/>
                  </a:lnTo>
                  <a:close/>
                  <a:moveTo>
                    <a:pt x="134" y="72"/>
                  </a:moveTo>
                  <a:lnTo>
                    <a:pt x="134" y="73"/>
                  </a:lnTo>
                  <a:lnTo>
                    <a:pt x="134" y="72"/>
                  </a:lnTo>
                  <a:close/>
                  <a:moveTo>
                    <a:pt x="401" y="79"/>
                  </a:moveTo>
                  <a:lnTo>
                    <a:pt x="401" y="81"/>
                  </a:lnTo>
                  <a:lnTo>
                    <a:pt x="401" y="79"/>
                  </a:lnTo>
                  <a:close/>
                  <a:moveTo>
                    <a:pt x="416" y="116"/>
                  </a:moveTo>
                  <a:lnTo>
                    <a:pt x="418" y="116"/>
                  </a:lnTo>
                  <a:lnTo>
                    <a:pt x="416" y="116"/>
                  </a:lnTo>
                  <a:close/>
                  <a:moveTo>
                    <a:pt x="297" y="189"/>
                  </a:moveTo>
                  <a:lnTo>
                    <a:pt x="299" y="189"/>
                  </a:lnTo>
                  <a:lnTo>
                    <a:pt x="297" y="189"/>
                  </a:lnTo>
                  <a:close/>
                  <a:moveTo>
                    <a:pt x="201" y="77"/>
                  </a:moveTo>
                  <a:lnTo>
                    <a:pt x="203" y="77"/>
                  </a:lnTo>
                  <a:lnTo>
                    <a:pt x="201" y="77"/>
                  </a:lnTo>
                  <a:close/>
                  <a:moveTo>
                    <a:pt x="138" y="91"/>
                  </a:moveTo>
                  <a:lnTo>
                    <a:pt x="138" y="93"/>
                  </a:lnTo>
                  <a:lnTo>
                    <a:pt x="138" y="91"/>
                  </a:lnTo>
                  <a:close/>
                  <a:moveTo>
                    <a:pt x="362" y="216"/>
                  </a:moveTo>
                  <a:lnTo>
                    <a:pt x="362" y="217"/>
                  </a:lnTo>
                  <a:lnTo>
                    <a:pt x="362" y="216"/>
                  </a:lnTo>
                  <a:close/>
                  <a:moveTo>
                    <a:pt x="531" y="100"/>
                  </a:moveTo>
                  <a:lnTo>
                    <a:pt x="531" y="102"/>
                  </a:lnTo>
                  <a:lnTo>
                    <a:pt x="531" y="100"/>
                  </a:lnTo>
                  <a:close/>
                  <a:moveTo>
                    <a:pt x="568" y="139"/>
                  </a:moveTo>
                  <a:lnTo>
                    <a:pt x="568" y="141"/>
                  </a:lnTo>
                  <a:lnTo>
                    <a:pt x="568" y="139"/>
                  </a:lnTo>
                  <a:close/>
                  <a:moveTo>
                    <a:pt x="311" y="146"/>
                  </a:moveTo>
                  <a:lnTo>
                    <a:pt x="311" y="148"/>
                  </a:lnTo>
                  <a:lnTo>
                    <a:pt x="311" y="146"/>
                  </a:lnTo>
                  <a:close/>
                  <a:moveTo>
                    <a:pt x="410" y="158"/>
                  </a:moveTo>
                  <a:lnTo>
                    <a:pt x="412" y="158"/>
                  </a:lnTo>
                  <a:lnTo>
                    <a:pt x="410" y="158"/>
                  </a:lnTo>
                  <a:close/>
                  <a:moveTo>
                    <a:pt x="136" y="81"/>
                  </a:moveTo>
                  <a:lnTo>
                    <a:pt x="136" y="83"/>
                  </a:lnTo>
                  <a:lnTo>
                    <a:pt x="136" y="81"/>
                  </a:lnTo>
                  <a:close/>
                  <a:moveTo>
                    <a:pt x="604" y="106"/>
                  </a:moveTo>
                  <a:lnTo>
                    <a:pt x="606" y="106"/>
                  </a:lnTo>
                  <a:lnTo>
                    <a:pt x="604" y="106"/>
                  </a:lnTo>
                  <a:close/>
                  <a:moveTo>
                    <a:pt x="399" y="91"/>
                  </a:moveTo>
                  <a:lnTo>
                    <a:pt x="401" y="91"/>
                  </a:lnTo>
                  <a:lnTo>
                    <a:pt x="399" y="91"/>
                  </a:lnTo>
                  <a:close/>
                  <a:moveTo>
                    <a:pt x="153" y="169"/>
                  </a:moveTo>
                  <a:lnTo>
                    <a:pt x="153" y="171"/>
                  </a:lnTo>
                  <a:lnTo>
                    <a:pt x="153" y="169"/>
                  </a:lnTo>
                  <a:close/>
                  <a:moveTo>
                    <a:pt x="138" y="83"/>
                  </a:moveTo>
                  <a:lnTo>
                    <a:pt x="138" y="85"/>
                  </a:lnTo>
                  <a:lnTo>
                    <a:pt x="138" y="83"/>
                  </a:lnTo>
                  <a:close/>
                  <a:moveTo>
                    <a:pt x="430" y="112"/>
                  </a:moveTo>
                  <a:lnTo>
                    <a:pt x="430" y="114"/>
                  </a:lnTo>
                  <a:lnTo>
                    <a:pt x="430" y="112"/>
                  </a:lnTo>
                  <a:close/>
                  <a:moveTo>
                    <a:pt x="549" y="125"/>
                  </a:moveTo>
                  <a:lnTo>
                    <a:pt x="549" y="127"/>
                  </a:lnTo>
                  <a:lnTo>
                    <a:pt x="549" y="125"/>
                  </a:lnTo>
                  <a:close/>
                  <a:moveTo>
                    <a:pt x="393" y="93"/>
                  </a:moveTo>
                  <a:lnTo>
                    <a:pt x="393" y="95"/>
                  </a:lnTo>
                  <a:lnTo>
                    <a:pt x="393" y="93"/>
                  </a:lnTo>
                  <a:close/>
                  <a:moveTo>
                    <a:pt x="577" y="183"/>
                  </a:moveTo>
                  <a:lnTo>
                    <a:pt x="577" y="185"/>
                  </a:lnTo>
                  <a:lnTo>
                    <a:pt x="577" y="183"/>
                  </a:lnTo>
                  <a:close/>
                  <a:moveTo>
                    <a:pt x="144" y="87"/>
                  </a:moveTo>
                  <a:lnTo>
                    <a:pt x="144" y="89"/>
                  </a:lnTo>
                  <a:lnTo>
                    <a:pt x="144" y="87"/>
                  </a:lnTo>
                  <a:close/>
                  <a:moveTo>
                    <a:pt x="376" y="81"/>
                  </a:moveTo>
                  <a:lnTo>
                    <a:pt x="376" y="83"/>
                  </a:lnTo>
                  <a:lnTo>
                    <a:pt x="376" y="81"/>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1" name="Rectangle 440">
              <a:extLst>
                <a:ext uri="{FF2B5EF4-FFF2-40B4-BE49-F238E27FC236}">
                  <a16:creationId xmlns:a16="http://schemas.microsoft.com/office/drawing/2014/main" id="{56A92B3D-98D5-4E7A-9898-F00D931C4B89}"/>
                </a:ext>
              </a:extLst>
            </p:cNvPr>
            <p:cNvSpPr>
              <a:spLocks noChangeArrowheads="1"/>
            </p:cNvSpPr>
            <p:nvPr/>
          </p:nvSpPr>
          <p:spPr bwMode="gray">
            <a:xfrm>
              <a:off x="5103015" y="4555402"/>
              <a:ext cx="2453" cy="1227"/>
            </a:xfrm>
            <a:prstGeom prst="rect">
              <a:avLst/>
            </a:prstGeom>
            <a:solidFill>
              <a:srgbClr val="D0D0D0"/>
            </a:solidFill>
            <a:ln w="6350">
              <a:solidFill>
                <a:schemeClr val="tx1">
                  <a:alpha val="38000"/>
                </a:schemeClr>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2" name="Freeform 441">
              <a:extLst>
                <a:ext uri="{FF2B5EF4-FFF2-40B4-BE49-F238E27FC236}">
                  <a16:creationId xmlns:a16="http://schemas.microsoft.com/office/drawing/2014/main" id="{EB1C6982-4EEF-46F6-921C-E01F0806A8AF}"/>
                </a:ext>
              </a:extLst>
            </p:cNvPr>
            <p:cNvSpPr>
              <a:spLocks noEditPoints="1"/>
            </p:cNvSpPr>
            <p:nvPr/>
          </p:nvSpPr>
          <p:spPr bwMode="gray">
            <a:xfrm>
              <a:off x="4488599" y="4460971"/>
              <a:ext cx="22075" cy="39244"/>
            </a:xfrm>
            <a:custGeom>
              <a:avLst/>
              <a:gdLst>
                <a:gd name="T0" fmla="*/ 16 w 18"/>
                <a:gd name="T1" fmla="*/ 30 h 32"/>
                <a:gd name="T2" fmla="*/ 18 w 18"/>
                <a:gd name="T3" fmla="*/ 30 h 32"/>
                <a:gd name="T4" fmla="*/ 18 w 18"/>
                <a:gd name="T5" fmla="*/ 32 h 32"/>
                <a:gd name="T6" fmla="*/ 16 w 18"/>
                <a:gd name="T7" fmla="*/ 32 h 32"/>
                <a:gd name="T8" fmla="*/ 16 w 18"/>
                <a:gd name="T9" fmla="*/ 30 h 32"/>
                <a:gd name="T10" fmla="*/ 0 w 18"/>
                <a:gd name="T11" fmla="*/ 13 h 32"/>
                <a:gd name="T12" fmla="*/ 0 w 18"/>
                <a:gd name="T13" fmla="*/ 15 h 32"/>
                <a:gd name="T14" fmla="*/ 0 w 18"/>
                <a:gd name="T15" fmla="*/ 13 h 32"/>
                <a:gd name="T16" fmla="*/ 6 w 18"/>
                <a:gd name="T17" fmla="*/ 2 h 32"/>
                <a:gd name="T18" fmla="*/ 6 w 18"/>
                <a:gd name="T19" fmla="*/ 4 h 32"/>
                <a:gd name="T20" fmla="*/ 6 w 18"/>
                <a:gd name="T21" fmla="*/ 2 h 32"/>
                <a:gd name="T22" fmla="*/ 8 w 18"/>
                <a:gd name="T23" fmla="*/ 0 h 32"/>
                <a:gd name="T24" fmla="*/ 10 w 18"/>
                <a:gd name="T25" fmla="*/ 0 h 32"/>
                <a:gd name="T26" fmla="*/ 8 w 18"/>
                <a:gd name="T27" fmla="*/ 0 h 32"/>
                <a:gd name="T28" fmla="*/ 14 w 18"/>
                <a:gd name="T29" fmla="*/ 7 h 32"/>
                <a:gd name="T30" fmla="*/ 16 w 18"/>
                <a:gd name="T31" fmla="*/ 7 h 32"/>
                <a:gd name="T32" fmla="*/ 14 w 18"/>
                <a:gd name="T33" fmla="*/ 7 h 32"/>
                <a:gd name="T34" fmla="*/ 6 w 18"/>
                <a:gd name="T35" fmla="*/ 0 h 32"/>
                <a:gd name="T36" fmla="*/ 6 w 18"/>
                <a:gd name="T37" fmla="*/ 2 h 32"/>
                <a:gd name="T38" fmla="*/ 6 w 18"/>
                <a:gd name="T39" fmla="*/ 0 h 32"/>
                <a:gd name="T40" fmla="*/ 6 w 18"/>
                <a:gd name="T41" fmla="*/ 4 h 32"/>
                <a:gd name="T42" fmla="*/ 8 w 18"/>
                <a:gd name="T43" fmla="*/ 4 h 32"/>
                <a:gd name="T44" fmla="*/ 6 w 18"/>
                <a:gd name="T45" fmla="*/ 4 h 32"/>
                <a:gd name="T46" fmla="*/ 8 w 18"/>
                <a:gd name="T47" fmla="*/ 0 h 32"/>
                <a:gd name="T48" fmla="*/ 8 w 18"/>
                <a:gd name="T49" fmla="*/ 2 h 32"/>
                <a:gd name="T50" fmla="*/ 8 w 18"/>
                <a:gd name="T5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 h="32">
                  <a:moveTo>
                    <a:pt x="16" y="30"/>
                  </a:moveTo>
                  <a:lnTo>
                    <a:pt x="18" y="30"/>
                  </a:lnTo>
                  <a:lnTo>
                    <a:pt x="18" y="32"/>
                  </a:lnTo>
                  <a:lnTo>
                    <a:pt x="16" y="32"/>
                  </a:lnTo>
                  <a:lnTo>
                    <a:pt x="16" y="30"/>
                  </a:lnTo>
                  <a:close/>
                  <a:moveTo>
                    <a:pt x="0" y="13"/>
                  </a:moveTo>
                  <a:lnTo>
                    <a:pt x="0" y="15"/>
                  </a:lnTo>
                  <a:lnTo>
                    <a:pt x="0" y="13"/>
                  </a:lnTo>
                  <a:close/>
                  <a:moveTo>
                    <a:pt x="6" y="2"/>
                  </a:moveTo>
                  <a:lnTo>
                    <a:pt x="6" y="4"/>
                  </a:lnTo>
                  <a:lnTo>
                    <a:pt x="6" y="2"/>
                  </a:lnTo>
                  <a:close/>
                  <a:moveTo>
                    <a:pt x="8" y="0"/>
                  </a:moveTo>
                  <a:lnTo>
                    <a:pt x="10" y="0"/>
                  </a:lnTo>
                  <a:lnTo>
                    <a:pt x="8" y="0"/>
                  </a:lnTo>
                  <a:close/>
                  <a:moveTo>
                    <a:pt x="14" y="7"/>
                  </a:moveTo>
                  <a:lnTo>
                    <a:pt x="16" y="7"/>
                  </a:lnTo>
                  <a:lnTo>
                    <a:pt x="14" y="7"/>
                  </a:lnTo>
                  <a:close/>
                  <a:moveTo>
                    <a:pt x="6" y="0"/>
                  </a:moveTo>
                  <a:lnTo>
                    <a:pt x="6" y="2"/>
                  </a:lnTo>
                  <a:lnTo>
                    <a:pt x="6" y="0"/>
                  </a:lnTo>
                  <a:close/>
                  <a:moveTo>
                    <a:pt x="6" y="4"/>
                  </a:moveTo>
                  <a:lnTo>
                    <a:pt x="8" y="4"/>
                  </a:lnTo>
                  <a:lnTo>
                    <a:pt x="6" y="4"/>
                  </a:lnTo>
                  <a:close/>
                  <a:moveTo>
                    <a:pt x="8" y="0"/>
                  </a:moveTo>
                  <a:lnTo>
                    <a:pt x="8" y="2"/>
                  </a:lnTo>
                  <a:lnTo>
                    <a:pt x="8"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3" name="Freeform 442">
              <a:extLst>
                <a:ext uri="{FF2B5EF4-FFF2-40B4-BE49-F238E27FC236}">
                  <a16:creationId xmlns:a16="http://schemas.microsoft.com/office/drawing/2014/main" id="{6DE5F068-D943-4C3E-89EA-06EE0584E8F3}"/>
                </a:ext>
              </a:extLst>
            </p:cNvPr>
            <p:cNvSpPr>
              <a:spLocks noEditPoints="1"/>
            </p:cNvSpPr>
            <p:nvPr/>
          </p:nvSpPr>
          <p:spPr bwMode="gray">
            <a:xfrm>
              <a:off x="4224929" y="4555402"/>
              <a:ext cx="122638" cy="187636"/>
            </a:xfrm>
            <a:custGeom>
              <a:avLst/>
              <a:gdLst>
                <a:gd name="T0" fmla="*/ 14 w 100"/>
                <a:gd name="T1" fmla="*/ 146 h 153"/>
                <a:gd name="T2" fmla="*/ 16 w 100"/>
                <a:gd name="T3" fmla="*/ 146 h 153"/>
                <a:gd name="T4" fmla="*/ 16 w 100"/>
                <a:gd name="T5" fmla="*/ 147 h 153"/>
                <a:gd name="T6" fmla="*/ 18 w 100"/>
                <a:gd name="T7" fmla="*/ 147 h 153"/>
                <a:gd name="T8" fmla="*/ 16 w 100"/>
                <a:gd name="T9" fmla="*/ 147 h 153"/>
                <a:gd name="T10" fmla="*/ 18 w 100"/>
                <a:gd name="T11" fmla="*/ 147 h 153"/>
                <a:gd name="T12" fmla="*/ 18 w 100"/>
                <a:gd name="T13" fmla="*/ 149 h 153"/>
                <a:gd name="T14" fmla="*/ 18 w 100"/>
                <a:gd name="T15" fmla="*/ 151 h 153"/>
                <a:gd name="T16" fmla="*/ 16 w 100"/>
                <a:gd name="T17" fmla="*/ 151 h 153"/>
                <a:gd name="T18" fmla="*/ 16 w 100"/>
                <a:gd name="T19" fmla="*/ 153 h 153"/>
                <a:gd name="T20" fmla="*/ 14 w 100"/>
                <a:gd name="T21" fmla="*/ 153 h 153"/>
                <a:gd name="T22" fmla="*/ 12 w 100"/>
                <a:gd name="T23" fmla="*/ 153 h 153"/>
                <a:gd name="T24" fmla="*/ 10 w 100"/>
                <a:gd name="T25" fmla="*/ 153 h 153"/>
                <a:gd name="T26" fmla="*/ 10 w 100"/>
                <a:gd name="T27" fmla="*/ 151 h 153"/>
                <a:gd name="T28" fmla="*/ 10 w 100"/>
                <a:gd name="T29" fmla="*/ 153 h 153"/>
                <a:gd name="T30" fmla="*/ 10 w 100"/>
                <a:gd name="T31" fmla="*/ 151 h 153"/>
                <a:gd name="T32" fmla="*/ 12 w 100"/>
                <a:gd name="T33" fmla="*/ 151 h 153"/>
                <a:gd name="T34" fmla="*/ 12 w 100"/>
                <a:gd name="T35" fmla="*/ 149 h 153"/>
                <a:gd name="T36" fmla="*/ 12 w 100"/>
                <a:gd name="T37" fmla="*/ 147 h 153"/>
                <a:gd name="T38" fmla="*/ 14 w 100"/>
                <a:gd name="T39" fmla="*/ 147 h 153"/>
                <a:gd name="T40" fmla="*/ 12 w 100"/>
                <a:gd name="T41" fmla="*/ 147 h 153"/>
                <a:gd name="T42" fmla="*/ 14 w 100"/>
                <a:gd name="T43" fmla="*/ 147 h 153"/>
                <a:gd name="T44" fmla="*/ 14 w 100"/>
                <a:gd name="T45" fmla="*/ 146 h 153"/>
                <a:gd name="T46" fmla="*/ 98 w 100"/>
                <a:gd name="T47" fmla="*/ 140 h 153"/>
                <a:gd name="T48" fmla="*/ 100 w 100"/>
                <a:gd name="T49" fmla="*/ 140 h 153"/>
                <a:gd name="T50" fmla="*/ 100 w 100"/>
                <a:gd name="T51" fmla="*/ 142 h 153"/>
                <a:gd name="T52" fmla="*/ 98 w 100"/>
                <a:gd name="T53" fmla="*/ 142 h 153"/>
                <a:gd name="T54" fmla="*/ 98 w 100"/>
                <a:gd name="T55" fmla="*/ 140 h 153"/>
                <a:gd name="T56" fmla="*/ 0 w 100"/>
                <a:gd name="T57" fmla="*/ 0 h 153"/>
                <a:gd name="T58" fmla="*/ 2 w 100"/>
                <a:gd name="T59" fmla="*/ 0 h 153"/>
                <a:gd name="T60" fmla="*/ 2 w 100"/>
                <a:gd name="T61" fmla="*/ 1 h 153"/>
                <a:gd name="T62" fmla="*/ 0 w 100"/>
                <a:gd name="T63" fmla="*/ 1 h 153"/>
                <a:gd name="T64" fmla="*/ 0 w 100"/>
                <a:gd name="T65" fmla="*/ 0 h 153"/>
                <a:gd name="T66" fmla="*/ 14 w 100"/>
                <a:gd name="T67" fmla="*/ 144 h 153"/>
                <a:gd name="T68" fmla="*/ 16 w 100"/>
                <a:gd name="T69" fmla="*/ 144 h 153"/>
                <a:gd name="T70" fmla="*/ 16 w 100"/>
                <a:gd name="T71" fmla="*/ 146 h 153"/>
                <a:gd name="T72" fmla="*/ 14 w 100"/>
                <a:gd name="T73" fmla="*/ 146 h 153"/>
                <a:gd name="T74" fmla="*/ 14 w 100"/>
                <a:gd name="T75" fmla="*/ 144 h 153"/>
                <a:gd name="T76" fmla="*/ 43 w 100"/>
                <a:gd name="T77" fmla="*/ 88 h 153"/>
                <a:gd name="T78" fmla="*/ 44 w 100"/>
                <a:gd name="T79" fmla="*/ 88 h 153"/>
                <a:gd name="T80" fmla="*/ 43 w 100"/>
                <a:gd name="T81" fmla="*/ 88 h 153"/>
                <a:gd name="T82" fmla="*/ 98 w 100"/>
                <a:gd name="T83" fmla="*/ 140 h 153"/>
                <a:gd name="T84" fmla="*/ 98 w 100"/>
                <a:gd name="T85" fmla="*/ 142 h 153"/>
                <a:gd name="T86" fmla="*/ 98 w 100"/>
                <a:gd name="T87" fmla="*/ 14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0" h="153">
                  <a:moveTo>
                    <a:pt x="14" y="146"/>
                  </a:moveTo>
                  <a:lnTo>
                    <a:pt x="16" y="146"/>
                  </a:lnTo>
                  <a:lnTo>
                    <a:pt x="16" y="147"/>
                  </a:lnTo>
                  <a:lnTo>
                    <a:pt x="18" y="147"/>
                  </a:lnTo>
                  <a:lnTo>
                    <a:pt x="16" y="147"/>
                  </a:lnTo>
                  <a:lnTo>
                    <a:pt x="18" y="147"/>
                  </a:lnTo>
                  <a:lnTo>
                    <a:pt x="18" y="149"/>
                  </a:lnTo>
                  <a:lnTo>
                    <a:pt x="18" y="151"/>
                  </a:lnTo>
                  <a:lnTo>
                    <a:pt x="16" y="151"/>
                  </a:lnTo>
                  <a:lnTo>
                    <a:pt x="16" y="153"/>
                  </a:lnTo>
                  <a:lnTo>
                    <a:pt x="14" y="153"/>
                  </a:lnTo>
                  <a:lnTo>
                    <a:pt x="12" y="153"/>
                  </a:lnTo>
                  <a:lnTo>
                    <a:pt x="10" y="153"/>
                  </a:lnTo>
                  <a:lnTo>
                    <a:pt x="10" y="151"/>
                  </a:lnTo>
                  <a:lnTo>
                    <a:pt x="10" y="153"/>
                  </a:lnTo>
                  <a:lnTo>
                    <a:pt x="10" y="151"/>
                  </a:lnTo>
                  <a:lnTo>
                    <a:pt x="12" y="151"/>
                  </a:lnTo>
                  <a:lnTo>
                    <a:pt x="12" y="149"/>
                  </a:lnTo>
                  <a:lnTo>
                    <a:pt x="12" y="147"/>
                  </a:lnTo>
                  <a:lnTo>
                    <a:pt x="14" y="147"/>
                  </a:lnTo>
                  <a:lnTo>
                    <a:pt x="12" y="147"/>
                  </a:lnTo>
                  <a:lnTo>
                    <a:pt x="14" y="147"/>
                  </a:lnTo>
                  <a:lnTo>
                    <a:pt x="14" y="146"/>
                  </a:lnTo>
                  <a:close/>
                  <a:moveTo>
                    <a:pt x="98" y="140"/>
                  </a:moveTo>
                  <a:lnTo>
                    <a:pt x="100" y="140"/>
                  </a:lnTo>
                  <a:lnTo>
                    <a:pt x="100" y="142"/>
                  </a:lnTo>
                  <a:lnTo>
                    <a:pt x="98" y="142"/>
                  </a:lnTo>
                  <a:lnTo>
                    <a:pt x="98" y="140"/>
                  </a:lnTo>
                  <a:close/>
                  <a:moveTo>
                    <a:pt x="0" y="0"/>
                  </a:moveTo>
                  <a:lnTo>
                    <a:pt x="2" y="0"/>
                  </a:lnTo>
                  <a:lnTo>
                    <a:pt x="2" y="1"/>
                  </a:lnTo>
                  <a:lnTo>
                    <a:pt x="0" y="1"/>
                  </a:lnTo>
                  <a:lnTo>
                    <a:pt x="0" y="0"/>
                  </a:lnTo>
                  <a:close/>
                  <a:moveTo>
                    <a:pt x="14" y="144"/>
                  </a:moveTo>
                  <a:lnTo>
                    <a:pt x="16" y="144"/>
                  </a:lnTo>
                  <a:lnTo>
                    <a:pt x="16" y="146"/>
                  </a:lnTo>
                  <a:lnTo>
                    <a:pt x="14" y="146"/>
                  </a:lnTo>
                  <a:lnTo>
                    <a:pt x="14" y="144"/>
                  </a:lnTo>
                  <a:close/>
                  <a:moveTo>
                    <a:pt x="43" y="88"/>
                  </a:moveTo>
                  <a:lnTo>
                    <a:pt x="44" y="88"/>
                  </a:lnTo>
                  <a:lnTo>
                    <a:pt x="43" y="88"/>
                  </a:lnTo>
                  <a:close/>
                  <a:moveTo>
                    <a:pt x="98" y="140"/>
                  </a:moveTo>
                  <a:lnTo>
                    <a:pt x="98" y="142"/>
                  </a:lnTo>
                  <a:lnTo>
                    <a:pt x="98" y="14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4" name="Freeform 443">
              <a:extLst>
                <a:ext uri="{FF2B5EF4-FFF2-40B4-BE49-F238E27FC236}">
                  <a16:creationId xmlns:a16="http://schemas.microsoft.com/office/drawing/2014/main" id="{2AB6DCEC-F82C-491E-AABB-A6DC30C6A7F7}"/>
                </a:ext>
              </a:extLst>
            </p:cNvPr>
            <p:cNvSpPr>
              <a:spLocks/>
            </p:cNvSpPr>
            <p:nvPr/>
          </p:nvSpPr>
          <p:spPr bwMode="gray">
            <a:xfrm>
              <a:off x="4199174" y="4750396"/>
              <a:ext cx="12264" cy="9811"/>
            </a:xfrm>
            <a:custGeom>
              <a:avLst/>
              <a:gdLst>
                <a:gd name="T0" fmla="*/ 4 w 10"/>
                <a:gd name="T1" fmla="*/ 0 h 8"/>
                <a:gd name="T2" fmla="*/ 6 w 10"/>
                <a:gd name="T3" fmla="*/ 0 h 8"/>
                <a:gd name="T4" fmla="*/ 8 w 10"/>
                <a:gd name="T5" fmla="*/ 0 h 8"/>
                <a:gd name="T6" fmla="*/ 8 w 10"/>
                <a:gd name="T7" fmla="*/ 2 h 8"/>
                <a:gd name="T8" fmla="*/ 8 w 10"/>
                <a:gd name="T9" fmla="*/ 4 h 8"/>
                <a:gd name="T10" fmla="*/ 10 w 10"/>
                <a:gd name="T11" fmla="*/ 4 h 8"/>
                <a:gd name="T12" fmla="*/ 10 w 10"/>
                <a:gd name="T13" fmla="*/ 6 h 8"/>
                <a:gd name="T14" fmla="*/ 10 w 10"/>
                <a:gd name="T15" fmla="*/ 8 h 8"/>
                <a:gd name="T16" fmla="*/ 8 w 10"/>
                <a:gd name="T17" fmla="*/ 8 h 8"/>
                <a:gd name="T18" fmla="*/ 6 w 10"/>
                <a:gd name="T19" fmla="*/ 8 h 8"/>
                <a:gd name="T20" fmla="*/ 4 w 10"/>
                <a:gd name="T21" fmla="*/ 8 h 8"/>
                <a:gd name="T22" fmla="*/ 4 w 10"/>
                <a:gd name="T23" fmla="*/ 6 h 8"/>
                <a:gd name="T24" fmla="*/ 2 w 10"/>
                <a:gd name="T25" fmla="*/ 6 h 8"/>
                <a:gd name="T26" fmla="*/ 2 w 10"/>
                <a:gd name="T27" fmla="*/ 4 h 8"/>
                <a:gd name="T28" fmla="*/ 0 w 10"/>
                <a:gd name="T29" fmla="*/ 4 h 8"/>
                <a:gd name="T30" fmla="*/ 0 w 10"/>
                <a:gd name="T31" fmla="*/ 2 h 8"/>
                <a:gd name="T32" fmla="*/ 2 w 10"/>
                <a:gd name="T33" fmla="*/ 2 h 8"/>
                <a:gd name="T34" fmla="*/ 2 w 10"/>
                <a:gd name="T35" fmla="*/ 0 h 8"/>
                <a:gd name="T36" fmla="*/ 2 w 10"/>
                <a:gd name="T37" fmla="*/ 2 h 8"/>
                <a:gd name="T38" fmla="*/ 2 w 10"/>
                <a:gd name="T39" fmla="*/ 0 h 8"/>
                <a:gd name="T40" fmla="*/ 4 w 10"/>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8">
                  <a:moveTo>
                    <a:pt x="4" y="0"/>
                  </a:moveTo>
                  <a:lnTo>
                    <a:pt x="6" y="0"/>
                  </a:lnTo>
                  <a:lnTo>
                    <a:pt x="8" y="0"/>
                  </a:lnTo>
                  <a:lnTo>
                    <a:pt x="8" y="2"/>
                  </a:lnTo>
                  <a:lnTo>
                    <a:pt x="8" y="4"/>
                  </a:lnTo>
                  <a:lnTo>
                    <a:pt x="10" y="4"/>
                  </a:lnTo>
                  <a:lnTo>
                    <a:pt x="10" y="6"/>
                  </a:lnTo>
                  <a:lnTo>
                    <a:pt x="10" y="8"/>
                  </a:lnTo>
                  <a:lnTo>
                    <a:pt x="8" y="8"/>
                  </a:lnTo>
                  <a:lnTo>
                    <a:pt x="6" y="8"/>
                  </a:lnTo>
                  <a:lnTo>
                    <a:pt x="4" y="8"/>
                  </a:lnTo>
                  <a:lnTo>
                    <a:pt x="4" y="6"/>
                  </a:lnTo>
                  <a:lnTo>
                    <a:pt x="2" y="6"/>
                  </a:lnTo>
                  <a:lnTo>
                    <a:pt x="2" y="4"/>
                  </a:lnTo>
                  <a:lnTo>
                    <a:pt x="0" y="4"/>
                  </a:lnTo>
                  <a:lnTo>
                    <a:pt x="0" y="2"/>
                  </a:lnTo>
                  <a:lnTo>
                    <a:pt x="2" y="2"/>
                  </a:lnTo>
                  <a:lnTo>
                    <a:pt x="2" y="0"/>
                  </a:lnTo>
                  <a:lnTo>
                    <a:pt x="2" y="2"/>
                  </a:lnTo>
                  <a:lnTo>
                    <a:pt x="2" y="0"/>
                  </a:lnTo>
                  <a:lnTo>
                    <a:pt x="4"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5" name="Freeform 444">
              <a:extLst>
                <a:ext uri="{FF2B5EF4-FFF2-40B4-BE49-F238E27FC236}">
                  <a16:creationId xmlns:a16="http://schemas.microsoft.com/office/drawing/2014/main" id="{CBEF0E1C-81FF-49E1-8282-CBC88EA22322}"/>
                </a:ext>
              </a:extLst>
            </p:cNvPr>
            <p:cNvSpPr>
              <a:spLocks noEditPoints="1"/>
            </p:cNvSpPr>
            <p:nvPr/>
          </p:nvSpPr>
          <p:spPr bwMode="gray">
            <a:xfrm>
              <a:off x="3985785" y="4583609"/>
              <a:ext cx="128770" cy="258766"/>
            </a:xfrm>
            <a:custGeom>
              <a:avLst/>
              <a:gdLst>
                <a:gd name="T0" fmla="*/ 88 w 105"/>
                <a:gd name="T1" fmla="*/ 3 h 211"/>
                <a:gd name="T2" fmla="*/ 92 w 105"/>
                <a:gd name="T3" fmla="*/ 5 h 211"/>
                <a:gd name="T4" fmla="*/ 94 w 105"/>
                <a:gd name="T5" fmla="*/ 13 h 211"/>
                <a:gd name="T6" fmla="*/ 99 w 105"/>
                <a:gd name="T7" fmla="*/ 25 h 211"/>
                <a:gd name="T8" fmla="*/ 101 w 105"/>
                <a:gd name="T9" fmla="*/ 32 h 211"/>
                <a:gd name="T10" fmla="*/ 105 w 105"/>
                <a:gd name="T11" fmla="*/ 53 h 211"/>
                <a:gd name="T12" fmla="*/ 99 w 105"/>
                <a:gd name="T13" fmla="*/ 57 h 211"/>
                <a:gd name="T14" fmla="*/ 94 w 105"/>
                <a:gd name="T15" fmla="*/ 57 h 211"/>
                <a:gd name="T16" fmla="*/ 94 w 105"/>
                <a:gd name="T17" fmla="*/ 71 h 211"/>
                <a:gd name="T18" fmla="*/ 92 w 105"/>
                <a:gd name="T19" fmla="*/ 86 h 211"/>
                <a:gd name="T20" fmla="*/ 86 w 105"/>
                <a:gd name="T21" fmla="*/ 105 h 211"/>
                <a:gd name="T22" fmla="*/ 80 w 105"/>
                <a:gd name="T23" fmla="*/ 124 h 211"/>
                <a:gd name="T24" fmla="*/ 74 w 105"/>
                <a:gd name="T25" fmla="*/ 140 h 211"/>
                <a:gd name="T26" fmla="*/ 69 w 105"/>
                <a:gd name="T27" fmla="*/ 159 h 211"/>
                <a:gd name="T28" fmla="*/ 63 w 105"/>
                <a:gd name="T29" fmla="*/ 178 h 211"/>
                <a:gd name="T30" fmla="*/ 61 w 105"/>
                <a:gd name="T31" fmla="*/ 190 h 211"/>
                <a:gd name="T32" fmla="*/ 55 w 105"/>
                <a:gd name="T33" fmla="*/ 201 h 211"/>
                <a:gd name="T34" fmla="*/ 51 w 105"/>
                <a:gd name="T35" fmla="*/ 205 h 211"/>
                <a:gd name="T36" fmla="*/ 38 w 105"/>
                <a:gd name="T37" fmla="*/ 207 h 211"/>
                <a:gd name="T38" fmla="*/ 19 w 105"/>
                <a:gd name="T39" fmla="*/ 207 h 211"/>
                <a:gd name="T40" fmla="*/ 9 w 105"/>
                <a:gd name="T41" fmla="*/ 196 h 211"/>
                <a:gd name="T42" fmla="*/ 7 w 105"/>
                <a:gd name="T43" fmla="*/ 176 h 211"/>
                <a:gd name="T44" fmla="*/ 1 w 105"/>
                <a:gd name="T45" fmla="*/ 165 h 211"/>
                <a:gd name="T46" fmla="*/ 1 w 105"/>
                <a:gd name="T47" fmla="*/ 151 h 211"/>
                <a:gd name="T48" fmla="*/ 7 w 105"/>
                <a:gd name="T49" fmla="*/ 140 h 211"/>
                <a:gd name="T50" fmla="*/ 17 w 105"/>
                <a:gd name="T51" fmla="*/ 124 h 211"/>
                <a:gd name="T52" fmla="*/ 17 w 105"/>
                <a:gd name="T53" fmla="*/ 111 h 211"/>
                <a:gd name="T54" fmla="*/ 13 w 105"/>
                <a:gd name="T55" fmla="*/ 99 h 211"/>
                <a:gd name="T56" fmla="*/ 9 w 105"/>
                <a:gd name="T57" fmla="*/ 86 h 211"/>
                <a:gd name="T58" fmla="*/ 15 w 105"/>
                <a:gd name="T59" fmla="*/ 75 h 211"/>
                <a:gd name="T60" fmla="*/ 21 w 105"/>
                <a:gd name="T61" fmla="*/ 63 h 211"/>
                <a:gd name="T62" fmla="*/ 26 w 105"/>
                <a:gd name="T63" fmla="*/ 63 h 211"/>
                <a:gd name="T64" fmla="*/ 34 w 105"/>
                <a:gd name="T65" fmla="*/ 61 h 211"/>
                <a:gd name="T66" fmla="*/ 42 w 105"/>
                <a:gd name="T67" fmla="*/ 59 h 211"/>
                <a:gd name="T68" fmla="*/ 46 w 105"/>
                <a:gd name="T69" fmla="*/ 61 h 211"/>
                <a:gd name="T70" fmla="*/ 44 w 105"/>
                <a:gd name="T71" fmla="*/ 57 h 211"/>
                <a:gd name="T72" fmla="*/ 53 w 105"/>
                <a:gd name="T73" fmla="*/ 55 h 211"/>
                <a:gd name="T74" fmla="*/ 57 w 105"/>
                <a:gd name="T75" fmla="*/ 46 h 211"/>
                <a:gd name="T76" fmla="*/ 63 w 105"/>
                <a:gd name="T77" fmla="*/ 46 h 211"/>
                <a:gd name="T78" fmla="*/ 67 w 105"/>
                <a:gd name="T79" fmla="*/ 40 h 211"/>
                <a:gd name="T80" fmla="*/ 69 w 105"/>
                <a:gd name="T81" fmla="*/ 32 h 211"/>
                <a:gd name="T82" fmla="*/ 67 w 105"/>
                <a:gd name="T83" fmla="*/ 28 h 211"/>
                <a:gd name="T84" fmla="*/ 71 w 105"/>
                <a:gd name="T85" fmla="*/ 23 h 211"/>
                <a:gd name="T86" fmla="*/ 76 w 105"/>
                <a:gd name="T87" fmla="*/ 23 h 211"/>
                <a:gd name="T88" fmla="*/ 82 w 105"/>
                <a:gd name="T89" fmla="*/ 19 h 211"/>
                <a:gd name="T90" fmla="*/ 84 w 105"/>
                <a:gd name="T91" fmla="*/ 7 h 211"/>
                <a:gd name="T92" fmla="*/ 86 w 105"/>
                <a:gd name="T93" fmla="*/ 3 h 211"/>
                <a:gd name="T94" fmla="*/ 71 w 105"/>
                <a:gd name="T95" fmla="*/ 23 h 211"/>
                <a:gd name="T96" fmla="*/ 97 w 105"/>
                <a:gd name="T97" fmla="*/ 71 h 211"/>
                <a:gd name="T98" fmla="*/ 44 w 105"/>
                <a:gd name="T99" fmla="*/ 59 h 211"/>
                <a:gd name="T100" fmla="*/ 46 w 105"/>
                <a:gd name="T101" fmla="*/ 61 h 211"/>
                <a:gd name="T102" fmla="*/ 46 w 105"/>
                <a:gd name="T103" fmla="*/ 61 h 211"/>
                <a:gd name="T104" fmla="*/ 38 w 105"/>
                <a:gd name="T105" fmla="*/ 59 h 211"/>
                <a:gd name="T106" fmla="*/ 46 w 105"/>
                <a:gd name="T107" fmla="*/ 61 h 211"/>
                <a:gd name="T108" fmla="*/ 80 w 105"/>
                <a:gd name="T109" fmla="*/ 5 h 211"/>
                <a:gd name="T110" fmla="*/ 90 w 105"/>
                <a:gd name="T111" fmla="*/ 2 h 211"/>
                <a:gd name="T112" fmla="*/ 9 w 105"/>
                <a:gd name="T113" fmla="*/ 101 h 211"/>
                <a:gd name="T114" fmla="*/ 0 w 105"/>
                <a:gd name="T115" fmla="*/ 153 h 211"/>
                <a:gd name="T116" fmla="*/ 1 w 105"/>
                <a:gd name="T117" fmla="*/ 151 h 211"/>
                <a:gd name="T118" fmla="*/ 97 w 105"/>
                <a:gd name="T119" fmla="*/ 67 h 211"/>
                <a:gd name="T120" fmla="*/ 15 w 105"/>
                <a:gd name="T121" fmla="*/ 205 h 211"/>
                <a:gd name="T122" fmla="*/ 92 w 105"/>
                <a:gd name="T123" fmla="*/ 11 h 211"/>
                <a:gd name="T124" fmla="*/ 90 w 105"/>
                <a:gd name="T125" fmla="*/ 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211">
                  <a:moveTo>
                    <a:pt x="88" y="0"/>
                  </a:moveTo>
                  <a:lnTo>
                    <a:pt x="88" y="2"/>
                  </a:lnTo>
                  <a:lnTo>
                    <a:pt x="90" y="2"/>
                  </a:lnTo>
                  <a:lnTo>
                    <a:pt x="88" y="2"/>
                  </a:lnTo>
                  <a:lnTo>
                    <a:pt x="88" y="3"/>
                  </a:lnTo>
                  <a:lnTo>
                    <a:pt x="90" y="3"/>
                  </a:lnTo>
                  <a:lnTo>
                    <a:pt x="88" y="3"/>
                  </a:lnTo>
                  <a:lnTo>
                    <a:pt x="86" y="3"/>
                  </a:lnTo>
                  <a:lnTo>
                    <a:pt x="88" y="3"/>
                  </a:lnTo>
                  <a:lnTo>
                    <a:pt x="86" y="3"/>
                  </a:lnTo>
                  <a:lnTo>
                    <a:pt x="88" y="3"/>
                  </a:lnTo>
                  <a:lnTo>
                    <a:pt x="88" y="5"/>
                  </a:lnTo>
                  <a:lnTo>
                    <a:pt x="88" y="3"/>
                  </a:lnTo>
                  <a:lnTo>
                    <a:pt x="86" y="3"/>
                  </a:lnTo>
                  <a:lnTo>
                    <a:pt x="86" y="5"/>
                  </a:lnTo>
                  <a:lnTo>
                    <a:pt x="86" y="3"/>
                  </a:lnTo>
                  <a:lnTo>
                    <a:pt x="86" y="5"/>
                  </a:lnTo>
                  <a:lnTo>
                    <a:pt x="88" y="5"/>
                  </a:lnTo>
                  <a:lnTo>
                    <a:pt x="86" y="5"/>
                  </a:lnTo>
                  <a:lnTo>
                    <a:pt x="88" y="5"/>
                  </a:lnTo>
                  <a:lnTo>
                    <a:pt x="90" y="5"/>
                  </a:lnTo>
                  <a:lnTo>
                    <a:pt x="88" y="5"/>
                  </a:lnTo>
                  <a:lnTo>
                    <a:pt x="88" y="3"/>
                  </a:lnTo>
                  <a:lnTo>
                    <a:pt x="90" y="3"/>
                  </a:lnTo>
                  <a:lnTo>
                    <a:pt x="90" y="5"/>
                  </a:lnTo>
                  <a:lnTo>
                    <a:pt x="92" y="5"/>
                  </a:lnTo>
                  <a:lnTo>
                    <a:pt x="92" y="7"/>
                  </a:lnTo>
                  <a:lnTo>
                    <a:pt x="90" y="7"/>
                  </a:lnTo>
                  <a:lnTo>
                    <a:pt x="92" y="7"/>
                  </a:lnTo>
                  <a:lnTo>
                    <a:pt x="92" y="9"/>
                  </a:lnTo>
                  <a:lnTo>
                    <a:pt x="92" y="7"/>
                  </a:lnTo>
                  <a:lnTo>
                    <a:pt x="92" y="9"/>
                  </a:lnTo>
                  <a:lnTo>
                    <a:pt x="92" y="11"/>
                  </a:lnTo>
                  <a:lnTo>
                    <a:pt x="92" y="9"/>
                  </a:lnTo>
                  <a:lnTo>
                    <a:pt x="92" y="11"/>
                  </a:lnTo>
                  <a:lnTo>
                    <a:pt x="94" y="11"/>
                  </a:lnTo>
                  <a:lnTo>
                    <a:pt x="94" y="13"/>
                  </a:lnTo>
                  <a:lnTo>
                    <a:pt x="94" y="11"/>
                  </a:lnTo>
                  <a:lnTo>
                    <a:pt x="94" y="13"/>
                  </a:lnTo>
                  <a:lnTo>
                    <a:pt x="94" y="11"/>
                  </a:lnTo>
                  <a:lnTo>
                    <a:pt x="95" y="11"/>
                  </a:lnTo>
                  <a:lnTo>
                    <a:pt x="95" y="13"/>
                  </a:lnTo>
                  <a:lnTo>
                    <a:pt x="95" y="15"/>
                  </a:lnTo>
                  <a:lnTo>
                    <a:pt x="97" y="15"/>
                  </a:lnTo>
                  <a:lnTo>
                    <a:pt x="97" y="17"/>
                  </a:lnTo>
                  <a:lnTo>
                    <a:pt x="97" y="19"/>
                  </a:lnTo>
                  <a:lnTo>
                    <a:pt x="97" y="21"/>
                  </a:lnTo>
                  <a:lnTo>
                    <a:pt x="99" y="21"/>
                  </a:lnTo>
                  <a:lnTo>
                    <a:pt x="99" y="23"/>
                  </a:lnTo>
                  <a:lnTo>
                    <a:pt x="97" y="23"/>
                  </a:lnTo>
                  <a:lnTo>
                    <a:pt x="99" y="23"/>
                  </a:lnTo>
                  <a:lnTo>
                    <a:pt x="99" y="25"/>
                  </a:lnTo>
                  <a:lnTo>
                    <a:pt x="99" y="26"/>
                  </a:lnTo>
                  <a:lnTo>
                    <a:pt x="99" y="25"/>
                  </a:lnTo>
                  <a:lnTo>
                    <a:pt x="99" y="26"/>
                  </a:lnTo>
                  <a:lnTo>
                    <a:pt x="99" y="28"/>
                  </a:lnTo>
                  <a:lnTo>
                    <a:pt x="101" y="28"/>
                  </a:lnTo>
                  <a:lnTo>
                    <a:pt x="99" y="28"/>
                  </a:lnTo>
                  <a:lnTo>
                    <a:pt x="101" y="28"/>
                  </a:lnTo>
                  <a:lnTo>
                    <a:pt x="99" y="28"/>
                  </a:lnTo>
                  <a:lnTo>
                    <a:pt x="101" y="28"/>
                  </a:lnTo>
                  <a:lnTo>
                    <a:pt x="99" y="28"/>
                  </a:lnTo>
                  <a:lnTo>
                    <a:pt x="99" y="30"/>
                  </a:lnTo>
                  <a:lnTo>
                    <a:pt x="101" y="30"/>
                  </a:lnTo>
                  <a:lnTo>
                    <a:pt x="101" y="32"/>
                  </a:lnTo>
                  <a:lnTo>
                    <a:pt x="101" y="34"/>
                  </a:lnTo>
                  <a:lnTo>
                    <a:pt x="101" y="36"/>
                  </a:lnTo>
                  <a:lnTo>
                    <a:pt x="101" y="38"/>
                  </a:lnTo>
                  <a:lnTo>
                    <a:pt x="101" y="40"/>
                  </a:lnTo>
                  <a:lnTo>
                    <a:pt x="101" y="42"/>
                  </a:lnTo>
                  <a:lnTo>
                    <a:pt x="101" y="44"/>
                  </a:lnTo>
                  <a:lnTo>
                    <a:pt x="103" y="44"/>
                  </a:lnTo>
                  <a:lnTo>
                    <a:pt x="103" y="46"/>
                  </a:lnTo>
                  <a:lnTo>
                    <a:pt x="103" y="48"/>
                  </a:lnTo>
                  <a:lnTo>
                    <a:pt x="105" y="48"/>
                  </a:lnTo>
                  <a:lnTo>
                    <a:pt x="105" y="50"/>
                  </a:lnTo>
                  <a:lnTo>
                    <a:pt x="105" y="51"/>
                  </a:lnTo>
                  <a:lnTo>
                    <a:pt x="105" y="53"/>
                  </a:lnTo>
                  <a:lnTo>
                    <a:pt x="105" y="55"/>
                  </a:lnTo>
                  <a:lnTo>
                    <a:pt x="103" y="55"/>
                  </a:lnTo>
                  <a:lnTo>
                    <a:pt x="103" y="57"/>
                  </a:lnTo>
                  <a:lnTo>
                    <a:pt x="103" y="59"/>
                  </a:lnTo>
                  <a:lnTo>
                    <a:pt x="103" y="57"/>
                  </a:lnTo>
                  <a:lnTo>
                    <a:pt x="103" y="59"/>
                  </a:lnTo>
                  <a:lnTo>
                    <a:pt x="101" y="59"/>
                  </a:lnTo>
                  <a:lnTo>
                    <a:pt x="101" y="61"/>
                  </a:lnTo>
                  <a:lnTo>
                    <a:pt x="101" y="59"/>
                  </a:lnTo>
                  <a:lnTo>
                    <a:pt x="99" y="59"/>
                  </a:lnTo>
                  <a:lnTo>
                    <a:pt x="99" y="57"/>
                  </a:lnTo>
                  <a:lnTo>
                    <a:pt x="97" y="57"/>
                  </a:lnTo>
                  <a:lnTo>
                    <a:pt x="99" y="57"/>
                  </a:lnTo>
                  <a:lnTo>
                    <a:pt x="97" y="57"/>
                  </a:lnTo>
                  <a:lnTo>
                    <a:pt x="97" y="55"/>
                  </a:lnTo>
                  <a:lnTo>
                    <a:pt x="97" y="53"/>
                  </a:lnTo>
                  <a:lnTo>
                    <a:pt x="97" y="51"/>
                  </a:lnTo>
                  <a:lnTo>
                    <a:pt x="95" y="51"/>
                  </a:lnTo>
                  <a:lnTo>
                    <a:pt x="95" y="53"/>
                  </a:lnTo>
                  <a:lnTo>
                    <a:pt x="94" y="53"/>
                  </a:lnTo>
                  <a:lnTo>
                    <a:pt x="94" y="51"/>
                  </a:lnTo>
                  <a:lnTo>
                    <a:pt x="94" y="53"/>
                  </a:lnTo>
                  <a:lnTo>
                    <a:pt x="92" y="53"/>
                  </a:lnTo>
                  <a:lnTo>
                    <a:pt x="94" y="53"/>
                  </a:lnTo>
                  <a:lnTo>
                    <a:pt x="94" y="55"/>
                  </a:lnTo>
                  <a:lnTo>
                    <a:pt x="94" y="57"/>
                  </a:lnTo>
                  <a:lnTo>
                    <a:pt x="94" y="59"/>
                  </a:lnTo>
                  <a:lnTo>
                    <a:pt x="94" y="61"/>
                  </a:lnTo>
                  <a:lnTo>
                    <a:pt x="94" y="63"/>
                  </a:lnTo>
                  <a:lnTo>
                    <a:pt x="95" y="63"/>
                  </a:lnTo>
                  <a:lnTo>
                    <a:pt x="95" y="65"/>
                  </a:lnTo>
                  <a:lnTo>
                    <a:pt x="95" y="63"/>
                  </a:lnTo>
                  <a:lnTo>
                    <a:pt x="95" y="65"/>
                  </a:lnTo>
                  <a:lnTo>
                    <a:pt x="95" y="67"/>
                  </a:lnTo>
                  <a:lnTo>
                    <a:pt x="95" y="69"/>
                  </a:lnTo>
                  <a:lnTo>
                    <a:pt x="95" y="71"/>
                  </a:lnTo>
                  <a:lnTo>
                    <a:pt x="94" y="71"/>
                  </a:lnTo>
                  <a:lnTo>
                    <a:pt x="95" y="71"/>
                  </a:lnTo>
                  <a:lnTo>
                    <a:pt x="94" y="71"/>
                  </a:lnTo>
                  <a:lnTo>
                    <a:pt x="94" y="73"/>
                  </a:lnTo>
                  <a:lnTo>
                    <a:pt x="95" y="73"/>
                  </a:lnTo>
                  <a:lnTo>
                    <a:pt x="95" y="75"/>
                  </a:lnTo>
                  <a:lnTo>
                    <a:pt x="94" y="75"/>
                  </a:lnTo>
                  <a:lnTo>
                    <a:pt x="92" y="75"/>
                  </a:lnTo>
                  <a:lnTo>
                    <a:pt x="92" y="76"/>
                  </a:lnTo>
                  <a:lnTo>
                    <a:pt x="92" y="78"/>
                  </a:lnTo>
                  <a:lnTo>
                    <a:pt x="90" y="78"/>
                  </a:lnTo>
                  <a:lnTo>
                    <a:pt x="90" y="80"/>
                  </a:lnTo>
                  <a:lnTo>
                    <a:pt x="90" y="82"/>
                  </a:lnTo>
                  <a:lnTo>
                    <a:pt x="90" y="84"/>
                  </a:lnTo>
                  <a:lnTo>
                    <a:pt x="90" y="86"/>
                  </a:lnTo>
                  <a:lnTo>
                    <a:pt x="92" y="86"/>
                  </a:lnTo>
                  <a:lnTo>
                    <a:pt x="92" y="88"/>
                  </a:lnTo>
                  <a:lnTo>
                    <a:pt x="90" y="88"/>
                  </a:lnTo>
                  <a:lnTo>
                    <a:pt x="90" y="90"/>
                  </a:lnTo>
                  <a:lnTo>
                    <a:pt x="90" y="92"/>
                  </a:lnTo>
                  <a:lnTo>
                    <a:pt x="90" y="94"/>
                  </a:lnTo>
                  <a:lnTo>
                    <a:pt x="90" y="96"/>
                  </a:lnTo>
                  <a:lnTo>
                    <a:pt x="88" y="96"/>
                  </a:lnTo>
                  <a:lnTo>
                    <a:pt x="88" y="98"/>
                  </a:lnTo>
                  <a:lnTo>
                    <a:pt x="88" y="99"/>
                  </a:lnTo>
                  <a:lnTo>
                    <a:pt x="88" y="101"/>
                  </a:lnTo>
                  <a:lnTo>
                    <a:pt x="86" y="101"/>
                  </a:lnTo>
                  <a:lnTo>
                    <a:pt x="86" y="103"/>
                  </a:lnTo>
                  <a:lnTo>
                    <a:pt x="86" y="105"/>
                  </a:lnTo>
                  <a:lnTo>
                    <a:pt x="86" y="107"/>
                  </a:lnTo>
                  <a:lnTo>
                    <a:pt x="84" y="107"/>
                  </a:lnTo>
                  <a:lnTo>
                    <a:pt x="84" y="109"/>
                  </a:lnTo>
                  <a:lnTo>
                    <a:pt x="84" y="111"/>
                  </a:lnTo>
                  <a:lnTo>
                    <a:pt x="84" y="113"/>
                  </a:lnTo>
                  <a:lnTo>
                    <a:pt x="82" y="113"/>
                  </a:lnTo>
                  <a:lnTo>
                    <a:pt x="82" y="115"/>
                  </a:lnTo>
                  <a:lnTo>
                    <a:pt x="82" y="117"/>
                  </a:lnTo>
                  <a:lnTo>
                    <a:pt x="82" y="119"/>
                  </a:lnTo>
                  <a:lnTo>
                    <a:pt x="80" y="119"/>
                  </a:lnTo>
                  <a:lnTo>
                    <a:pt x="80" y="121"/>
                  </a:lnTo>
                  <a:lnTo>
                    <a:pt x="80" y="123"/>
                  </a:lnTo>
                  <a:lnTo>
                    <a:pt x="80" y="124"/>
                  </a:lnTo>
                  <a:lnTo>
                    <a:pt x="78" y="124"/>
                  </a:lnTo>
                  <a:lnTo>
                    <a:pt x="78" y="126"/>
                  </a:lnTo>
                  <a:lnTo>
                    <a:pt x="78" y="128"/>
                  </a:lnTo>
                  <a:lnTo>
                    <a:pt x="78" y="130"/>
                  </a:lnTo>
                  <a:lnTo>
                    <a:pt x="76" y="130"/>
                  </a:lnTo>
                  <a:lnTo>
                    <a:pt x="76" y="132"/>
                  </a:lnTo>
                  <a:lnTo>
                    <a:pt x="76" y="134"/>
                  </a:lnTo>
                  <a:lnTo>
                    <a:pt x="76" y="136"/>
                  </a:lnTo>
                  <a:lnTo>
                    <a:pt x="76" y="138"/>
                  </a:lnTo>
                  <a:lnTo>
                    <a:pt x="74" y="138"/>
                  </a:lnTo>
                  <a:lnTo>
                    <a:pt x="76" y="138"/>
                  </a:lnTo>
                  <a:lnTo>
                    <a:pt x="74" y="138"/>
                  </a:lnTo>
                  <a:lnTo>
                    <a:pt x="74" y="140"/>
                  </a:lnTo>
                  <a:lnTo>
                    <a:pt x="74" y="142"/>
                  </a:lnTo>
                  <a:lnTo>
                    <a:pt x="74" y="144"/>
                  </a:lnTo>
                  <a:lnTo>
                    <a:pt x="72" y="146"/>
                  </a:lnTo>
                  <a:lnTo>
                    <a:pt x="72" y="147"/>
                  </a:lnTo>
                  <a:lnTo>
                    <a:pt x="72" y="146"/>
                  </a:lnTo>
                  <a:lnTo>
                    <a:pt x="72" y="147"/>
                  </a:lnTo>
                  <a:lnTo>
                    <a:pt x="72" y="149"/>
                  </a:lnTo>
                  <a:lnTo>
                    <a:pt x="71" y="151"/>
                  </a:lnTo>
                  <a:lnTo>
                    <a:pt x="71" y="153"/>
                  </a:lnTo>
                  <a:lnTo>
                    <a:pt x="71" y="155"/>
                  </a:lnTo>
                  <a:lnTo>
                    <a:pt x="69" y="155"/>
                  </a:lnTo>
                  <a:lnTo>
                    <a:pt x="69" y="157"/>
                  </a:lnTo>
                  <a:lnTo>
                    <a:pt x="69" y="159"/>
                  </a:lnTo>
                  <a:lnTo>
                    <a:pt x="69" y="161"/>
                  </a:lnTo>
                  <a:lnTo>
                    <a:pt x="67" y="161"/>
                  </a:lnTo>
                  <a:lnTo>
                    <a:pt x="67" y="163"/>
                  </a:lnTo>
                  <a:lnTo>
                    <a:pt x="67" y="165"/>
                  </a:lnTo>
                  <a:lnTo>
                    <a:pt x="67" y="167"/>
                  </a:lnTo>
                  <a:lnTo>
                    <a:pt x="67" y="169"/>
                  </a:lnTo>
                  <a:lnTo>
                    <a:pt x="67" y="171"/>
                  </a:lnTo>
                  <a:lnTo>
                    <a:pt x="65" y="171"/>
                  </a:lnTo>
                  <a:lnTo>
                    <a:pt x="65" y="172"/>
                  </a:lnTo>
                  <a:lnTo>
                    <a:pt x="65" y="174"/>
                  </a:lnTo>
                  <a:lnTo>
                    <a:pt x="65" y="176"/>
                  </a:lnTo>
                  <a:lnTo>
                    <a:pt x="63" y="176"/>
                  </a:lnTo>
                  <a:lnTo>
                    <a:pt x="63" y="178"/>
                  </a:lnTo>
                  <a:lnTo>
                    <a:pt x="63" y="180"/>
                  </a:lnTo>
                  <a:lnTo>
                    <a:pt x="63" y="178"/>
                  </a:lnTo>
                  <a:lnTo>
                    <a:pt x="63" y="180"/>
                  </a:lnTo>
                  <a:lnTo>
                    <a:pt x="63" y="178"/>
                  </a:lnTo>
                  <a:lnTo>
                    <a:pt x="63" y="180"/>
                  </a:lnTo>
                  <a:lnTo>
                    <a:pt x="63" y="178"/>
                  </a:lnTo>
                  <a:lnTo>
                    <a:pt x="63" y="180"/>
                  </a:lnTo>
                  <a:lnTo>
                    <a:pt x="63" y="182"/>
                  </a:lnTo>
                  <a:lnTo>
                    <a:pt x="63" y="184"/>
                  </a:lnTo>
                  <a:lnTo>
                    <a:pt x="61" y="184"/>
                  </a:lnTo>
                  <a:lnTo>
                    <a:pt x="61" y="186"/>
                  </a:lnTo>
                  <a:lnTo>
                    <a:pt x="61" y="188"/>
                  </a:lnTo>
                  <a:lnTo>
                    <a:pt x="61" y="190"/>
                  </a:lnTo>
                  <a:lnTo>
                    <a:pt x="59" y="190"/>
                  </a:lnTo>
                  <a:lnTo>
                    <a:pt x="59" y="192"/>
                  </a:lnTo>
                  <a:lnTo>
                    <a:pt x="59" y="194"/>
                  </a:lnTo>
                  <a:lnTo>
                    <a:pt x="59" y="196"/>
                  </a:lnTo>
                  <a:lnTo>
                    <a:pt x="57" y="196"/>
                  </a:lnTo>
                  <a:lnTo>
                    <a:pt x="57" y="197"/>
                  </a:lnTo>
                  <a:lnTo>
                    <a:pt x="57" y="199"/>
                  </a:lnTo>
                  <a:lnTo>
                    <a:pt x="55" y="199"/>
                  </a:lnTo>
                  <a:lnTo>
                    <a:pt x="57" y="199"/>
                  </a:lnTo>
                  <a:lnTo>
                    <a:pt x="57" y="201"/>
                  </a:lnTo>
                  <a:lnTo>
                    <a:pt x="55" y="201"/>
                  </a:lnTo>
                  <a:lnTo>
                    <a:pt x="55" y="199"/>
                  </a:lnTo>
                  <a:lnTo>
                    <a:pt x="55" y="201"/>
                  </a:lnTo>
                  <a:lnTo>
                    <a:pt x="53" y="201"/>
                  </a:lnTo>
                  <a:lnTo>
                    <a:pt x="55" y="201"/>
                  </a:lnTo>
                  <a:lnTo>
                    <a:pt x="55" y="203"/>
                  </a:lnTo>
                  <a:lnTo>
                    <a:pt x="53" y="203"/>
                  </a:lnTo>
                  <a:lnTo>
                    <a:pt x="55" y="201"/>
                  </a:lnTo>
                  <a:lnTo>
                    <a:pt x="53" y="201"/>
                  </a:lnTo>
                  <a:lnTo>
                    <a:pt x="53" y="203"/>
                  </a:lnTo>
                  <a:lnTo>
                    <a:pt x="53" y="201"/>
                  </a:lnTo>
                  <a:lnTo>
                    <a:pt x="53" y="203"/>
                  </a:lnTo>
                  <a:lnTo>
                    <a:pt x="53" y="201"/>
                  </a:lnTo>
                  <a:lnTo>
                    <a:pt x="53" y="203"/>
                  </a:lnTo>
                  <a:lnTo>
                    <a:pt x="51" y="203"/>
                  </a:lnTo>
                  <a:lnTo>
                    <a:pt x="51" y="205"/>
                  </a:lnTo>
                  <a:lnTo>
                    <a:pt x="51" y="203"/>
                  </a:lnTo>
                  <a:lnTo>
                    <a:pt x="49" y="203"/>
                  </a:lnTo>
                  <a:lnTo>
                    <a:pt x="51" y="203"/>
                  </a:lnTo>
                  <a:lnTo>
                    <a:pt x="49" y="203"/>
                  </a:lnTo>
                  <a:lnTo>
                    <a:pt x="51" y="203"/>
                  </a:lnTo>
                  <a:lnTo>
                    <a:pt x="51" y="205"/>
                  </a:lnTo>
                  <a:lnTo>
                    <a:pt x="49" y="205"/>
                  </a:lnTo>
                  <a:lnTo>
                    <a:pt x="48" y="205"/>
                  </a:lnTo>
                  <a:lnTo>
                    <a:pt x="46" y="205"/>
                  </a:lnTo>
                  <a:lnTo>
                    <a:pt x="44" y="205"/>
                  </a:lnTo>
                  <a:lnTo>
                    <a:pt x="42" y="205"/>
                  </a:lnTo>
                  <a:lnTo>
                    <a:pt x="40" y="207"/>
                  </a:lnTo>
                  <a:lnTo>
                    <a:pt x="38" y="207"/>
                  </a:lnTo>
                  <a:lnTo>
                    <a:pt x="38" y="209"/>
                  </a:lnTo>
                  <a:lnTo>
                    <a:pt x="36" y="209"/>
                  </a:lnTo>
                  <a:lnTo>
                    <a:pt x="34" y="209"/>
                  </a:lnTo>
                  <a:lnTo>
                    <a:pt x="34" y="211"/>
                  </a:lnTo>
                  <a:lnTo>
                    <a:pt x="32" y="211"/>
                  </a:lnTo>
                  <a:lnTo>
                    <a:pt x="30" y="211"/>
                  </a:lnTo>
                  <a:lnTo>
                    <a:pt x="28" y="211"/>
                  </a:lnTo>
                  <a:lnTo>
                    <a:pt x="26" y="211"/>
                  </a:lnTo>
                  <a:lnTo>
                    <a:pt x="26" y="209"/>
                  </a:lnTo>
                  <a:lnTo>
                    <a:pt x="24" y="209"/>
                  </a:lnTo>
                  <a:lnTo>
                    <a:pt x="23" y="207"/>
                  </a:lnTo>
                  <a:lnTo>
                    <a:pt x="21" y="207"/>
                  </a:lnTo>
                  <a:lnTo>
                    <a:pt x="19" y="207"/>
                  </a:lnTo>
                  <a:lnTo>
                    <a:pt x="17" y="207"/>
                  </a:lnTo>
                  <a:lnTo>
                    <a:pt x="17" y="205"/>
                  </a:lnTo>
                  <a:lnTo>
                    <a:pt x="15" y="205"/>
                  </a:lnTo>
                  <a:lnTo>
                    <a:pt x="17" y="205"/>
                  </a:lnTo>
                  <a:lnTo>
                    <a:pt x="15" y="205"/>
                  </a:lnTo>
                  <a:lnTo>
                    <a:pt x="15" y="203"/>
                  </a:lnTo>
                  <a:lnTo>
                    <a:pt x="13" y="203"/>
                  </a:lnTo>
                  <a:lnTo>
                    <a:pt x="11" y="203"/>
                  </a:lnTo>
                  <a:lnTo>
                    <a:pt x="11" y="201"/>
                  </a:lnTo>
                  <a:lnTo>
                    <a:pt x="11" y="199"/>
                  </a:lnTo>
                  <a:lnTo>
                    <a:pt x="9" y="199"/>
                  </a:lnTo>
                  <a:lnTo>
                    <a:pt x="9" y="197"/>
                  </a:lnTo>
                  <a:lnTo>
                    <a:pt x="9" y="196"/>
                  </a:lnTo>
                  <a:lnTo>
                    <a:pt x="9" y="194"/>
                  </a:lnTo>
                  <a:lnTo>
                    <a:pt x="7" y="194"/>
                  </a:lnTo>
                  <a:lnTo>
                    <a:pt x="7" y="192"/>
                  </a:lnTo>
                  <a:lnTo>
                    <a:pt x="5" y="192"/>
                  </a:lnTo>
                  <a:lnTo>
                    <a:pt x="5" y="190"/>
                  </a:lnTo>
                  <a:lnTo>
                    <a:pt x="5" y="188"/>
                  </a:lnTo>
                  <a:lnTo>
                    <a:pt x="5" y="186"/>
                  </a:lnTo>
                  <a:lnTo>
                    <a:pt x="5" y="184"/>
                  </a:lnTo>
                  <a:lnTo>
                    <a:pt x="5" y="182"/>
                  </a:lnTo>
                  <a:lnTo>
                    <a:pt x="5" y="180"/>
                  </a:lnTo>
                  <a:lnTo>
                    <a:pt x="5" y="178"/>
                  </a:lnTo>
                  <a:lnTo>
                    <a:pt x="7" y="178"/>
                  </a:lnTo>
                  <a:lnTo>
                    <a:pt x="7" y="176"/>
                  </a:lnTo>
                  <a:lnTo>
                    <a:pt x="5" y="176"/>
                  </a:lnTo>
                  <a:lnTo>
                    <a:pt x="5" y="174"/>
                  </a:lnTo>
                  <a:lnTo>
                    <a:pt x="5" y="176"/>
                  </a:lnTo>
                  <a:lnTo>
                    <a:pt x="5" y="174"/>
                  </a:lnTo>
                  <a:lnTo>
                    <a:pt x="5" y="172"/>
                  </a:lnTo>
                  <a:lnTo>
                    <a:pt x="5" y="171"/>
                  </a:lnTo>
                  <a:lnTo>
                    <a:pt x="3" y="171"/>
                  </a:lnTo>
                  <a:lnTo>
                    <a:pt x="3" y="169"/>
                  </a:lnTo>
                  <a:lnTo>
                    <a:pt x="1" y="169"/>
                  </a:lnTo>
                  <a:lnTo>
                    <a:pt x="3" y="169"/>
                  </a:lnTo>
                  <a:lnTo>
                    <a:pt x="1" y="169"/>
                  </a:lnTo>
                  <a:lnTo>
                    <a:pt x="1" y="167"/>
                  </a:lnTo>
                  <a:lnTo>
                    <a:pt x="1" y="165"/>
                  </a:lnTo>
                  <a:lnTo>
                    <a:pt x="0" y="165"/>
                  </a:lnTo>
                  <a:lnTo>
                    <a:pt x="0" y="163"/>
                  </a:lnTo>
                  <a:lnTo>
                    <a:pt x="0" y="161"/>
                  </a:lnTo>
                  <a:lnTo>
                    <a:pt x="0" y="159"/>
                  </a:lnTo>
                  <a:lnTo>
                    <a:pt x="0" y="157"/>
                  </a:lnTo>
                  <a:lnTo>
                    <a:pt x="0" y="155"/>
                  </a:lnTo>
                  <a:lnTo>
                    <a:pt x="0" y="153"/>
                  </a:lnTo>
                  <a:lnTo>
                    <a:pt x="0" y="151"/>
                  </a:lnTo>
                  <a:lnTo>
                    <a:pt x="0" y="153"/>
                  </a:lnTo>
                  <a:lnTo>
                    <a:pt x="1" y="153"/>
                  </a:lnTo>
                  <a:lnTo>
                    <a:pt x="0" y="153"/>
                  </a:lnTo>
                  <a:lnTo>
                    <a:pt x="1" y="153"/>
                  </a:lnTo>
                  <a:lnTo>
                    <a:pt x="1" y="151"/>
                  </a:lnTo>
                  <a:lnTo>
                    <a:pt x="1" y="153"/>
                  </a:lnTo>
                  <a:lnTo>
                    <a:pt x="1" y="151"/>
                  </a:lnTo>
                  <a:lnTo>
                    <a:pt x="1" y="149"/>
                  </a:lnTo>
                  <a:lnTo>
                    <a:pt x="1" y="147"/>
                  </a:lnTo>
                  <a:lnTo>
                    <a:pt x="3" y="147"/>
                  </a:lnTo>
                  <a:lnTo>
                    <a:pt x="3" y="146"/>
                  </a:lnTo>
                  <a:lnTo>
                    <a:pt x="1" y="146"/>
                  </a:lnTo>
                  <a:lnTo>
                    <a:pt x="3" y="146"/>
                  </a:lnTo>
                  <a:lnTo>
                    <a:pt x="3" y="144"/>
                  </a:lnTo>
                  <a:lnTo>
                    <a:pt x="3" y="142"/>
                  </a:lnTo>
                  <a:lnTo>
                    <a:pt x="5" y="142"/>
                  </a:lnTo>
                  <a:lnTo>
                    <a:pt x="7" y="142"/>
                  </a:lnTo>
                  <a:lnTo>
                    <a:pt x="7" y="140"/>
                  </a:lnTo>
                  <a:lnTo>
                    <a:pt x="9" y="140"/>
                  </a:lnTo>
                  <a:lnTo>
                    <a:pt x="9" y="138"/>
                  </a:lnTo>
                  <a:lnTo>
                    <a:pt x="9" y="136"/>
                  </a:lnTo>
                  <a:lnTo>
                    <a:pt x="9" y="134"/>
                  </a:lnTo>
                  <a:lnTo>
                    <a:pt x="11" y="134"/>
                  </a:lnTo>
                  <a:lnTo>
                    <a:pt x="11" y="132"/>
                  </a:lnTo>
                  <a:lnTo>
                    <a:pt x="11" y="130"/>
                  </a:lnTo>
                  <a:lnTo>
                    <a:pt x="13" y="130"/>
                  </a:lnTo>
                  <a:lnTo>
                    <a:pt x="13" y="128"/>
                  </a:lnTo>
                  <a:lnTo>
                    <a:pt x="15" y="128"/>
                  </a:lnTo>
                  <a:lnTo>
                    <a:pt x="15" y="126"/>
                  </a:lnTo>
                  <a:lnTo>
                    <a:pt x="15" y="124"/>
                  </a:lnTo>
                  <a:lnTo>
                    <a:pt x="17" y="124"/>
                  </a:lnTo>
                  <a:lnTo>
                    <a:pt x="17" y="123"/>
                  </a:lnTo>
                  <a:lnTo>
                    <a:pt x="19" y="123"/>
                  </a:lnTo>
                  <a:lnTo>
                    <a:pt x="17" y="123"/>
                  </a:lnTo>
                  <a:lnTo>
                    <a:pt x="17" y="121"/>
                  </a:lnTo>
                  <a:lnTo>
                    <a:pt x="17" y="123"/>
                  </a:lnTo>
                  <a:lnTo>
                    <a:pt x="17" y="121"/>
                  </a:lnTo>
                  <a:lnTo>
                    <a:pt x="17" y="119"/>
                  </a:lnTo>
                  <a:lnTo>
                    <a:pt x="17" y="117"/>
                  </a:lnTo>
                  <a:lnTo>
                    <a:pt x="17" y="119"/>
                  </a:lnTo>
                  <a:lnTo>
                    <a:pt x="17" y="117"/>
                  </a:lnTo>
                  <a:lnTo>
                    <a:pt x="17" y="115"/>
                  </a:lnTo>
                  <a:lnTo>
                    <a:pt x="17" y="113"/>
                  </a:lnTo>
                  <a:lnTo>
                    <a:pt x="17" y="111"/>
                  </a:lnTo>
                  <a:lnTo>
                    <a:pt x="15" y="111"/>
                  </a:lnTo>
                  <a:lnTo>
                    <a:pt x="15" y="109"/>
                  </a:lnTo>
                  <a:lnTo>
                    <a:pt x="15" y="107"/>
                  </a:lnTo>
                  <a:lnTo>
                    <a:pt x="13" y="107"/>
                  </a:lnTo>
                  <a:lnTo>
                    <a:pt x="13" y="105"/>
                  </a:lnTo>
                  <a:lnTo>
                    <a:pt x="15" y="107"/>
                  </a:lnTo>
                  <a:lnTo>
                    <a:pt x="13" y="107"/>
                  </a:lnTo>
                  <a:lnTo>
                    <a:pt x="15" y="107"/>
                  </a:lnTo>
                  <a:lnTo>
                    <a:pt x="15" y="105"/>
                  </a:lnTo>
                  <a:lnTo>
                    <a:pt x="15" y="103"/>
                  </a:lnTo>
                  <a:lnTo>
                    <a:pt x="13" y="103"/>
                  </a:lnTo>
                  <a:lnTo>
                    <a:pt x="13" y="101"/>
                  </a:lnTo>
                  <a:lnTo>
                    <a:pt x="13" y="99"/>
                  </a:lnTo>
                  <a:lnTo>
                    <a:pt x="11" y="99"/>
                  </a:lnTo>
                  <a:lnTo>
                    <a:pt x="11" y="98"/>
                  </a:lnTo>
                  <a:lnTo>
                    <a:pt x="11" y="96"/>
                  </a:lnTo>
                  <a:lnTo>
                    <a:pt x="11" y="94"/>
                  </a:lnTo>
                  <a:lnTo>
                    <a:pt x="11" y="92"/>
                  </a:lnTo>
                  <a:lnTo>
                    <a:pt x="11" y="90"/>
                  </a:lnTo>
                  <a:lnTo>
                    <a:pt x="11" y="88"/>
                  </a:lnTo>
                  <a:lnTo>
                    <a:pt x="9" y="88"/>
                  </a:lnTo>
                  <a:lnTo>
                    <a:pt x="9" y="86"/>
                  </a:lnTo>
                  <a:lnTo>
                    <a:pt x="11" y="86"/>
                  </a:lnTo>
                  <a:lnTo>
                    <a:pt x="9" y="86"/>
                  </a:lnTo>
                  <a:lnTo>
                    <a:pt x="11" y="86"/>
                  </a:lnTo>
                  <a:lnTo>
                    <a:pt x="9" y="86"/>
                  </a:lnTo>
                  <a:lnTo>
                    <a:pt x="9" y="84"/>
                  </a:lnTo>
                  <a:lnTo>
                    <a:pt x="9" y="82"/>
                  </a:lnTo>
                  <a:lnTo>
                    <a:pt x="11" y="82"/>
                  </a:lnTo>
                  <a:lnTo>
                    <a:pt x="11" y="80"/>
                  </a:lnTo>
                  <a:lnTo>
                    <a:pt x="11" y="78"/>
                  </a:lnTo>
                  <a:lnTo>
                    <a:pt x="13" y="78"/>
                  </a:lnTo>
                  <a:lnTo>
                    <a:pt x="11" y="78"/>
                  </a:lnTo>
                  <a:lnTo>
                    <a:pt x="13" y="78"/>
                  </a:lnTo>
                  <a:lnTo>
                    <a:pt x="13" y="76"/>
                  </a:lnTo>
                  <a:lnTo>
                    <a:pt x="15" y="76"/>
                  </a:lnTo>
                  <a:lnTo>
                    <a:pt x="15" y="75"/>
                  </a:lnTo>
                  <a:lnTo>
                    <a:pt x="15" y="76"/>
                  </a:lnTo>
                  <a:lnTo>
                    <a:pt x="15" y="75"/>
                  </a:lnTo>
                  <a:lnTo>
                    <a:pt x="15" y="73"/>
                  </a:lnTo>
                  <a:lnTo>
                    <a:pt x="15" y="75"/>
                  </a:lnTo>
                  <a:lnTo>
                    <a:pt x="15" y="73"/>
                  </a:lnTo>
                  <a:lnTo>
                    <a:pt x="17" y="73"/>
                  </a:lnTo>
                  <a:lnTo>
                    <a:pt x="17" y="71"/>
                  </a:lnTo>
                  <a:lnTo>
                    <a:pt x="17" y="69"/>
                  </a:lnTo>
                  <a:lnTo>
                    <a:pt x="17" y="67"/>
                  </a:lnTo>
                  <a:lnTo>
                    <a:pt x="17" y="65"/>
                  </a:lnTo>
                  <a:lnTo>
                    <a:pt x="17" y="63"/>
                  </a:lnTo>
                  <a:lnTo>
                    <a:pt x="19" y="63"/>
                  </a:lnTo>
                  <a:lnTo>
                    <a:pt x="19" y="65"/>
                  </a:lnTo>
                  <a:lnTo>
                    <a:pt x="19" y="63"/>
                  </a:lnTo>
                  <a:lnTo>
                    <a:pt x="21" y="63"/>
                  </a:lnTo>
                  <a:lnTo>
                    <a:pt x="21" y="65"/>
                  </a:lnTo>
                  <a:lnTo>
                    <a:pt x="21" y="63"/>
                  </a:lnTo>
                  <a:lnTo>
                    <a:pt x="23" y="63"/>
                  </a:lnTo>
                  <a:lnTo>
                    <a:pt x="23" y="65"/>
                  </a:lnTo>
                  <a:lnTo>
                    <a:pt x="21" y="65"/>
                  </a:lnTo>
                  <a:lnTo>
                    <a:pt x="21" y="63"/>
                  </a:lnTo>
                  <a:lnTo>
                    <a:pt x="21" y="65"/>
                  </a:lnTo>
                  <a:lnTo>
                    <a:pt x="23" y="65"/>
                  </a:lnTo>
                  <a:lnTo>
                    <a:pt x="23" y="63"/>
                  </a:lnTo>
                  <a:lnTo>
                    <a:pt x="24" y="63"/>
                  </a:lnTo>
                  <a:lnTo>
                    <a:pt x="24" y="65"/>
                  </a:lnTo>
                  <a:lnTo>
                    <a:pt x="24" y="63"/>
                  </a:lnTo>
                  <a:lnTo>
                    <a:pt x="26" y="63"/>
                  </a:lnTo>
                  <a:lnTo>
                    <a:pt x="26" y="61"/>
                  </a:lnTo>
                  <a:lnTo>
                    <a:pt x="28" y="61"/>
                  </a:lnTo>
                  <a:lnTo>
                    <a:pt x="28" y="59"/>
                  </a:lnTo>
                  <a:lnTo>
                    <a:pt x="28" y="61"/>
                  </a:lnTo>
                  <a:lnTo>
                    <a:pt x="30" y="61"/>
                  </a:lnTo>
                  <a:lnTo>
                    <a:pt x="28" y="61"/>
                  </a:lnTo>
                  <a:lnTo>
                    <a:pt x="28" y="63"/>
                  </a:lnTo>
                  <a:lnTo>
                    <a:pt x="30" y="63"/>
                  </a:lnTo>
                  <a:lnTo>
                    <a:pt x="30" y="61"/>
                  </a:lnTo>
                  <a:lnTo>
                    <a:pt x="32" y="61"/>
                  </a:lnTo>
                  <a:lnTo>
                    <a:pt x="32" y="59"/>
                  </a:lnTo>
                  <a:lnTo>
                    <a:pt x="32" y="61"/>
                  </a:lnTo>
                  <a:lnTo>
                    <a:pt x="34" y="61"/>
                  </a:lnTo>
                  <a:lnTo>
                    <a:pt x="32" y="61"/>
                  </a:lnTo>
                  <a:lnTo>
                    <a:pt x="34" y="61"/>
                  </a:lnTo>
                  <a:lnTo>
                    <a:pt x="32" y="61"/>
                  </a:lnTo>
                  <a:lnTo>
                    <a:pt x="34" y="61"/>
                  </a:lnTo>
                  <a:lnTo>
                    <a:pt x="34" y="59"/>
                  </a:lnTo>
                  <a:lnTo>
                    <a:pt x="34" y="57"/>
                  </a:lnTo>
                  <a:lnTo>
                    <a:pt x="36" y="57"/>
                  </a:lnTo>
                  <a:lnTo>
                    <a:pt x="36" y="59"/>
                  </a:lnTo>
                  <a:lnTo>
                    <a:pt x="38" y="59"/>
                  </a:lnTo>
                  <a:lnTo>
                    <a:pt x="38" y="57"/>
                  </a:lnTo>
                  <a:lnTo>
                    <a:pt x="40" y="57"/>
                  </a:lnTo>
                  <a:lnTo>
                    <a:pt x="40" y="59"/>
                  </a:lnTo>
                  <a:lnTo>
                    <a:pt x="42" y="59"/>
                  </a:lnTo>
                  <a:lnTo>
                    <a:pt x="40" y="59"/>
                  </a:lnTo>
                  <a:lnTo>
                    <a:pt x="40" y="57"/>
                  </a:lnTo>
                  <a:lnTo>
                    <a:pt x="42" y="57"/>
                  </a:lnTo>
                  <a:lnTo>
                    <a:pt x="40" y="57"/>
                  </a:lnTo>
                  <a:lnTo>
                    <a:pt x="42" y="57"/>
                  </a:lnTo>
                  <a:lnTo>
                    <a:pt x="40" y="57"/>
                  </a:lnTo>
                  <a:lnTo>
                    <a:pt x="42" y="57"/>
                  </a:lnTo>
                  <a:lnTo>
                    <a:pt x="44" y="57"/>
                  </a:lnTo>
                  <a:lnTo>
                    <a:pt x="44" y="59"/>
                  </a:lnTo>
                  <a:lnTo>
                    <a:pt x="44" y="57"/>
                  </a:lnTo>
                  <a:lnTo>
                    <a:pt x="44" y="59"/>
                  </a:lnTo>
                  <a:lnTo>
                    <a:pt x="44" y="61"/>
                  </a:lnTo>
                  <a:lnTo>
                    <a:pt x="46" y="61"/>
                  </a:lnTo>
                  <a:lnTo>
                    <a:pt x="48" y="61"/>
                  </a:lnTo>
                  <a:lnTo>
                    <a:pt x="48" y="63"/>
                  </a:lnTo>
                  <a:lnTo>
                    <a:pt x="49" y="63"/>
                  </a:lnTo>
                  <a:lnTo>
                    <a:pt x="49" y="61"/>
                  </a:lnTo>
                  <a:lnTo>
                    <a:pt x="48" y="61"/>
                  </a:lnTo>
                  <a:lnTo>
                    <a:pt x="48" y="59"/>
                  </a:lnTo>
                  <a:lnTo>
                    <a:pt x="46" y="59"/>
                  </a:lnTo>
                  <a:lnTo>
                    <a:pt x="44" y="59"/>
                  </a:lnTo>
                  <a:lnTo>
                    <a:pt x="44" y="57"/>
                  </a:lnTo>
                  <a:lnTo>
                    <a:pt x="46" y="57"/>
                  </a:lnTo>
                  <a:lnTo>
                    <a:pt x="44" y="57"/>
                  </a:lnTo>
                  <a:lnTo>
                    <a:pt x="46" y="57"/>
                  </a:lnTo>
                  <a:lnTo>
                    <a:pt x="44" y="57"/>
                  </a:lnTo>
                  <a:lnTo>
                    <a:pt x="44" y="55"/>
                  </a:lnTo>
                  <a:lnTo>
                    <a:pt x="46" y="55"/>
                  </a:lnTo>
                  <a:lnTo>
                    <a:pt x="46" y="53"/>
                  </a:lnTo>
                  <a:lnTo>
                    <a:pt x="48" y="53"/>
                  </a:lnTo>
                  <a:lnTo>
                    <a:pt x="49" y="51"/>
                  </a:lnTo>
                  <a:lnTo>
                    <a:pt x="51" y="51"/>
                  </a:lnTo>
                  <a:lnTo>
                    <a:pt x="51" y="50"/>
                  </a:lnTo>
                  <a:lnTo>
                    <a:pt x="53" y="50"/>
                  </a:lnTo>
                  <a:lnTo>
                    <a:pt x="55" y="50"/>
                  </a:lnTo>
                  <a:lnTo>
                    <a:pt x="55" y="51"/>
                  </a:lnTo>
                  <a:lnTo>
                    <a:pt x="53" y="51"/>
                  </a:lnTo>
                  <a:lnTo>
                    <a:pt x="53" y="53"/>
                  </a:lnTo>
                  <a:lnTo>
                    <a:pt x="53" y="55"/>
                  </a:lnTo>
                  <a:lnTo>
                    <a:pt x="53" y="53"/>
                  </a:lnTo>
                  <a:lnTo>
                    <a:pt x="55" y="53"/>
                  </a:lnTo>
                  <a:lnTo>
                    <a:pt x="53" y="53"/>
                  </a:lnTo>
                  <a:lnTo>
                    <a:pt x="55" y="53"/>
                  </a:lnTo>
                  <a:lnTo>
                    <a:pt x="57" y="53"/>
                  </a:lnTo>
                  <a:lnTo>
                    <a:pt x="57" y="51"/>
                  </a:lnTo>
                  <a:lnTo>
                    <a:pt x="57" y="50"/>
                  </a:lnTo>
                  <a:lnTo>
                    <a:pt x="55" y="50"/>
                  </a:lnTo>
                  <a:lnTo>
                    <a:pt x="55" y="48"/>
                  </a:lnTo>
                  <a:lnTo>
                    <a:pt x="57" y="48"/>
                  </a:lnTo>
                  <a:lnTo>
                    <a:pt x="57" y="46"/>
                  </a:lnTo>
                  <a:lnTo>
                    <a:pt x="59" y="46"/>
                  </a:lnTo>
                  <a:lnTo>
                    <a:pt x="57" y="46"/>
                  </a:lnTo>
                  <a:lnTo>
                    <a:pt x="59" y="46"/>
                  </a:lnTo>
                  <a:lnTo>
                    <a:pt x="59" y="44"/>
                  </a:lnTo>
                  <a:lnTo>
                    <a:pt x="59" y="42"/>
                  </a:lnTo>
                  <a:lnTo>
                    <a:pt x="61" y="42"/>
                  </a:lnTo>
                  <a:lnTo>
                    <a:pt x="61" y="40"/>
                  </a:lnTo>
                  <a:lnTo>
                    <a:pt x="61" y="42"/>
                  </a:lnTo>
                  <a:lnTo>
                    <a:pt x="61" y="44"/>
                  </a:lnTo>
                  <a:lnTo>
                    <a:pt x="61" y="42"/>
                  </a:lnTo>
                  <a:lnTo>
                    <a:pt x="61" y="44"/>
                  </a:lnTo>
                  <a:lnTo>
                    <a:pt x="61" y="46"/>
                  </a:lnTo>
                  <a:lnTo>
                    <a:pt x="61" y="48"/>
                  </a:lnTo>
                  <a:lnTo>
                    <a:pt x="61" y="46"/>
                  </a:lnTo>
                  <a:lnTo>
                    <a:pt x="63" y="46"/>
                  </a:lnTo>
                  <a:lnTo>
                    <a:pt x="63" y="44"/>
                  </a:lnTo>
                  <a:lnTo>
                    <a:pt x="63" y="42"/>
                  </a:lnTo>
                  <a:lnTo>
                    <a:pt x="65" y="42"/>
                  </a:lnTo>
                  <a:lnTo>
                    <a:pt x="65" y="40"/>
                  </a:lnTo>
                  <a:lnTo>
                    <a:pt x="67" y="40"/>
                  </a:lnTo>
                  <a:lnTo>
                    <a:pt x="69" y="40"/>
                  </a:lnTo>
                  <a:lnTo>
                    <a:pt x="69" y="42"/>
                  </a:lnTo>
                  <a:lnTo>
                    <a:pt x="69" y="40"/>
                  </a:lnTo>
                  <a:lnTo>
                    <a:pt x="67" y="40"/>
                  </a:lnTo>
                  <a:lnTo>
                    <a:pt x="69" y="40"/>
                  </a:lnTo>
                  <a:lnTo>
                    <a:pt x="67" y="40"/>
                  </a:lnTo>
                  <a:lnTo>
                    <a:pt x="67" y="38"/>
                  </a:lnTo>
                  <a:lnTo>
                    <a:pt x="67" y="40"/>
                  </a:lnTo>
                  <a:lnTo>
                    <a:pt x="65" y="40"/>
                  </a:lnTo>
                  <a:lnTo>
                    <a:pt x="65" y="38"/>
                  </a:lnTo>
                  <a:lnTo>
                    <a:pt x="65" y="36"/>
                  </a:lnTo>
                  <a:lnTo>
                    <a:pt x="65" y="34"/>
                  </a:lnTo>
                  <a:lnTo>
                    <a:pt x="67" y="34"/>
                  </a:lnTo>
                  <a:lnTo>
                    <a:pt x="69" y="34"/>
                  </a:lnTo>
                  <a:lnTo>
                    <a:pt x="69" y="32"/>
                  </a:lnTo>
                  <a:lnTo>
                    <a:pt x="67" y="32"/>
                  </a:lnTo>
                  <a:lnTo>
                    <a:pt x="69" y="32"/>
                  </a:lnTo>
                  <a:lnTo>
                    <a:pt x="69" y="34"/>
                  </a:lnTo>
                  <a:lnTo>
                    <a:pt x="69" y="36"/>
                  </a:lnTo>
                  <a:lnTo>
                    <a:pt x="69" y="34"/>
                  </a:lnTo>
                  <a:lnTo>
                    <a:pt x="69" y="32"/>
                  </a:lnTo>
                  <a:lnTo>
                    <a:pt x="69" y="34"/>
                  </a:lnTo>
                  <a:lnTo>
                    <a:pt x="71" y="34"/>
                  </a:lnTo>
                  <a:lnTo>
                    <a:pt x="71" y="32"/>
                  </a:lnTo>
                  <a:lnTo>
                    <a:pt x="69" y="32"/>
                  </a:lnTo>
                  <a:lnTo>
                    <a:pt x="71" y="32"/>
                  </a:lnTo>
                  <a:lnTo>
                    <a:pt x="69" y="32"/>
                  </a:lnTo>
                  <a:lnTo>
                    <a:pt x="69" y="30"/>
                  </a:lnTo>
                  <a:lnTo>
                    <a:pt x="69" y="32"/>
                  </a:lnTo>
                  <a:lnTo>
                    <a:pt x="69" y="30"/>
                  </a:lnTo>
                  <a:lnTo>
                    <a:pt x="69" y="28"/>
                  </a:lnTo>
                  <a:lnTo>
                    <a:pt x="69" y="30"/>
                  </a:lnTo>
                  <a:lnTo>
                    <a:pt x="69" y="28"/>
                  </a:lnTo>
                  <a:lnTo>
                    <a:pt x="67" y="28"/>
                  </a:lnTo>
                  <a:lnTo>
                    <a:pt x="67" y="26"/>
                  </a:lnTo>
                  <a:lnTo>
                    <a:pt x="69" y="26"/>
                  </a:lnTo>
                  <a:lnTo>
                    <a:pt x="67" y="26"/>
                  </a:lnTo>
                  <a:lnTo>
                    <a:pt x="67" y="25"/>
                  </a:lnTo>
                  <a:lnTo>
                    <a:pt x="69" y="25"/>
                  </a:lnTo>
                  <a:lnTo>
                    <a:pt x="69" y="23"/>
                  </a:lnTo>
                  <a:lnTo>
                    <a:pt x="69" y="25"/>
                  </a:lnTo>
                  <a:lnTo>
                    <a:pt x="71" y="25"/>
                  </a:lnTo>
                  <a:lnTo>
                    <a:pt x="69" y="25"/>
                  </a:lnTo>
                  <a:lnTo>
                    <a:pt x="71" y="25"/>
                  </a:lnTo>
                  <a:lnTo>
                    <a:pt x="69" y="25"/>
                  </a:lnTo>
                  <a:lnTo>
                    <a:pt x="69" y="23"/>
                  </a:lnTo>
                  <a:lnTo>
                    <a:pt x="71" y="23"/>
                  </a:lnTo>
                  <a:lnTo>
                    <a:pt x="71" y="25"/>
                  </a:lnTo>
                  <a:lnTo>
                    <a:pt x="71" y="26"/>
                  </a:lnTo>
                  <a:lnTo>
                    <a:pt x="72" y="26"/>
                  </a:lnTo>
                  <a:lnTo>
                    <a:pt x="71" y="26"/>
                  </a:lnTo>
                  <a:lnTo>
                    <a:pt x="72" y="26"/>
                  </a:lnTo>
                  <a:lnTo>
                    <a:pt x="72" y="28"/>
                  </a:lnTo>
                  <a:lnTo>
                    <a:pt x="72" y="26"/>
                  </a:lnTo>
                  <a:lnTo>
                    <a:pt x="74" y="26"/>
                  </a:lnTo>
                  <a:lnTo>
                    <a:pt x="74" y="25"/>
                  </a:lnTo>
                  <a:lnTo>
                    <a:pt x="74" y="23"/>
                  </a:lnTo>
                  <a:lnTo>
                    <a:pt x="74" y="25"/>
                  </a:lnTo>
                  <a:lnTo>
                    <a:pt x="74" y="23"/>
                  </a:lnTo>
                  <a:lnTo>
                    <a:pt x="76" y="23"/>
                  </a:lnTo>
                  <a:lnTo>
                    <a:pt x="76" y="25"/>
                  </a:lnTo>
                  <a:lnTo>
                    <a:pt x="76" y="23"/>
                  </a:lnTo>
                  <a:lnTo>
                    <a:pt x="76" y="25"/>
                  </a:lnTo>
                  <a:lnTo>
                    <a:pt x="76" y="23"/>
                  </a:lnTo>
                  <a:lnTo>
                    <a:pt x="76" y="25"/>
                  </a:lnTo>
                  <a:lnTo>
                    <a:pt x="76" y="23"/>
                  </a:lnTo>
                  <a:lnTo>
                    <a:pt x="76" y="21"/>
                  </a:lnTo>
                  <a:lnTo>
                    <a:pt x="76" y="23"/>
                  </a:lnTo>
                  <a:lnTo>
                    <a:pt x="78" y="23"/>
                  </a:lnTo>
                  <a:lnTo>
                    <a:pt x="80" y="23"/>
                  </a:lnTo>
                  <a:lnTo>
                    <a:pt x="80" y="21"/>
                  </a:lnTo>
                  <a:lnTo>
                    <a:pt x="80" y="19"/>
                  </a:lnTo>
                  <a:lnTo>
                    <a:pt x="82" y="19"/>
                  </a:lnTo>
                  <a:lnTo>
                    <a:pt x="80" y="19"/>
                  </a:lnTo>
                  <a:lnTo>
                    <a:pt x="80" y="17"/>
                  </a:lnTo>
                  <a:lnTo>
                    <a:pt x="82" y="17"/>
                  </a:lnTo>
                  <a:lnTo>
                    <a:pt x="80" y="17"/>
                  </a:lnTo>
                  <a:lnTo>
                    <a:pt x="82" y="17"/>
                  </a:lnTo>
                  <a:lnTo>
                    <a:pt x="82" y="15"/>
                  </a:lnTo>
                  <a:lnTo>
                    <a:pt x="82" y="13"/>
                  </a:lnTo>
                  <a:lnTo>
                    <a:pt x="82" y="11"/>
                  </a:lnTo>
                  <a:lnTo>
                    <a:pt x="82" y="9"/>
                  </a:lnTo>
                  <a:lnTo>
                    <a:pt x="80" y="9"/>
                  </a:lnTo>
                  <a:lnTo>
                    <a:pt x="80" y="7"/>
                  </a:lnTo>
                  <a:lnTo>
                    <a:pt x="82" y="7"/>
                  </a:lnTo>
                  <a:lnTo>
                    <a:pt x="84" y="7"/>
                  </a:lnTo>
                  <a:lnTo>
                    <a:pt x="84" y="5"/>
                  </a:lnTo>
                  <a:lnTo>
                    <a:pt x="82" y="5"/>
                  </a:lnTo>
                  <a:lnTo>
                    <a:pt x="84" y="5"/>
                  </a:lnTo>
                  <a:lnTo>
                    <a:pt x="86" y="5"/>
                  </a:lnTo>
                  <a:lnTo>
                    <a:pt x="84" y="5"/>
                  </a:lnTo>
                  <a:lnTo>
                    <a:pt x="84" y="3"/>
                  </a:lnTo>
                  <a:lnTo>
                    <a:pt x="86" y="3"/>
                  </a:lnTo>
                  <a:lnTo>
                    <a:pt x="86" y="5"/>
                  </a:lnTo>
                  <a:lnTo>
                    <a:pt x="86" y="3"/>
                  </a:lnTo>
                  <a:lnTo>
                    <a:pt x="86" y="5"/>
                  </a:lnTo>
                  <a:lnTo>
                    <a:pt x="86" y="3"/>
                  </a:lnTo>
                  <a:lnTo>
                    <a:pt x="86" y="2"/>
                  </a:lnTo>
                  <a:lnTo>
                    <a:pt x="86" y="3"/>
                  </a:lnTo>
                  <a:lnTo>
                    <a:pt x="86" y="2"/>
                  </a:lnTo>
                  <a:lnTo>
                    <a:pt x="84" y="2"/>
                  </a:lnTo>
                  <a:lnTo>
                    <a:pt x="86" y="2"/>
                  </a:lnTo>
                  <a:lnTo>
                    <a:pt x="86" y="0"/>
                  </a:lnTo>
                  <a:lnTo>
                    <a:pt x="86" y="2"/>
                  </a:lnTo>
                  <a:lnTo>
                    <a:pt x="88" y="2"/>
                  </a:lnTo>
                  <a:lnTo>
                    <a:pt x="88" y="0"/>
                  </a:lnTo>
                  <a:lnTo>
                    <a:pt x="86" y="0"/>
                  </a:lnTo>
                  <a:lnTo>
                    <a:pt x="88" y="0"/>
                  </a:lnTo>
                  <a:close/>
                  <a:moveTo>
                    <a:pt x="71" y="19"/>
                  </a:moveTo>
                  <a:lnTo>
                    <a:pt x="74" y="19"/>
                  </a:lnTo>
                  <a:lnTo>
                    <a:pt x="74" y="23"/>
                  </a:lnTo>
                  <a:lnTo>
                    <a:pt x="71" y="23"/>
                  </a:lnTo>
                  <a:lnTo>
                    <a:pt x="71" y="19"/>
                  </a:lnTo>
                  <a:close/>
                  <a:moveTo>
                    <a:pt x="99" y="71"/>
                  </a:moveTo>
                  <a:lnTo>
                    <a:pt x="99" y="73"/>
                  </a:lnTo>
                  <a:lnTo>
                    <a:pt x="97" y="73"/>
                  </a:lnTo>
                  <a:lnTo>
                    <a:pt x="97" y="75"/>
                  </a:lnTo>
                  <a:lnTo>
                    <a:pt x="97" y="76"/>
                  </a:lnTo>
                  <a:lnTo>
                    <a:pt x="95" y="76"/>
                  </a:lnTo>
                  <a:lnTo>
                    <a:pt x="95" y="78"/>
                  </a:lnTo>
                  <a:lnTo>
                    <a:pt x="95" y="76"/>
                  </a:lnTo>
                  <a:lnTo>
                    <a:pt x="95" y="75"/>
                  </a:lnTo>
                  <a:lnTo>
                    <a:pt x="97" y="75"/>
                  </a:lnTo>
                  <a:lnTo>
                    <a:pt x="97" y="73"/>
                  </a:lnTo>
                  <a:lnTo>
                    <a:pt x="97" y="71"/>
                  </a:lnTo>
                  <a:lnTo>
                    <a:pt x="99" y="71"/>
                  </a:lnTo>
                  <a:close/>
                  <a:moveTo>
                    <a:pt x="46" y="59"/>
                  </a:moveTo>
                  <a:lnTo>
                    <a:pt x="49" y="59"/>
                  </a:lnTo>
                  <a:lnTo>
                    <a:pt x="49" y="63"/>
                  </a:lnTo>
                  <a:lnTo>
                    <a:pt x="46" y="63"/>
                  </a:lnTo>
                  <a:lnTo>
                    <a:pt x="46" y="59"/>
                  </a:lnTo>
                  <a:close/>
                  <a:moveTo>
                    <a:pt x="46" y="61"/>
                  </a:moveTo>
                  <a:lnTo>
                    <a:pt x="46" y="59"/>
                  </a:lnTo>
                  <a:lnTo>
                    <a:pt x="46" y="61"/>
                  </a:lnTo>
                  <a:lnTo>
                    <a:pt x="48" y="61"/>
                  </a:lnTo>
                  <a:lnTo>
                    <a:pt x="46" y="61"/>
                  </a:lnTo>
                  <a:lnTo>
                    <a:pt x="44" y="61"/>
                  </a:lnTo>
                  <a:lnTo>
                    <a:pt x="44" y="59"/>
                  </a:lnTo>
                  <a:lnTo>
                    <a:pt x="46" y="59"/>
                  </a:lnTo>
                  <a:lnTo>
                    <a:pt x="46" y="61"/>
                  </a:lnTo>
                  <a:close/>
                  <a:moveTo>
                    <a:pt x="63" y="38"/>
                  </a:moveTo>
                  <a:lnTo>
                    <a:pt x="63" y="40"/>
                  </a:lnTo>
                  <a:lnTo>
                    <a:pt x="63" y="38"/>
                  </a:lnTo>
                  <a:close/>
                  <a:moveTo>
                    <a:pt x="76" y="13"/>
                  </a:moveTo>
                  <a:lnTo>
                    <a:pt x="78" y="13"/>
                  </a:lnTo>
                  <a:lnTo>
                    <a:pt x="78" y="15"/>
                  </a:lnTo>
                  <a:lnTo>
                    <a:pt x="76" y="15"/>
                  </a:lnTo>
                  <a:lnTo>
                    <a:pt x="76" y="13"/>
                  </a:lnTo>
                  <a:close/>
                  <a:moveTo>
                    <a:pt x="46" y="61"/>
                  </a:moveTo>
                  <a:lnTo>
                    <a:pt x="48" y="61"/>
                  </a:lnTo>
                  <a:lnTo>
                    <a:pt x="46" y="61"/>
                  </a:lnTo>
                  <a:close/>
                  <a:moveTo>
                    <a:pt x="44" y="61"/>
                  </a:moveTo>
                  <a:lnTo>
                    <a:pt x="46" y="61"/>
                  </a:lnTo>
                  <a:lnTo>
                    <a:pt x="44" y="61"/>
                  </a:lnTo>
                  <a:close/>
                  <a:moveTo>
                    <a:pt x="65" y="30"/>
                  </a:moveTo>
                  <a:lnTo>
                    <a:pt x="67" y="30"/>
                  </a:lnTo>
                  <a:lnTo>
                    <a:pt x="67" y="32"/>
                  </a:lnTo>
                  <a:lnTo>
                    <a:pt x="65" y="32"/>
                  </a:lnTo>
                  <a:lnTo>
                    <a:pt x="65" y="30"/>
                  </a:lnTo>
                  <a:close/>
                  <a:moveTo>
                    <a:pt x="36" y="57"/>
                  </a:moveTo>
                  <a:lnTo>
                    <a:pt x="36" y="59"/>
                  </a:lnTo>
                  <a:lnTo>
                    <a:pt x="36" y="57"/>
                  </a:lnTo>
                  <a:close/>
                  <a:moveTo>
                    <a:pt x="46" y="59"/>
                  </a:moveTo>
                  <a:lnTo>
                    <a:pt x="46" y="61"/>
                  </a:lnTo>
                  <a:lnTo>
                    <a:pt x="46" y="59"/>
                  </a:lnTo>
                  <a:close/>
                  <a:moveTo>
                    <a:pt x="67" y="40"/>
                  </a:moveTo>
                  <a:lnTo>
                    <a:pt x="69" y="40"/>
                  </a:lnTo>
                  <a:lnTo>
                    <a:pt x="67" y="40"/>
                  </a:lnTo>
                  <a:close/>
                  <a:moveTo>
                    <a:pt x="67" y="32"/>
                  </a:moveTo>
                  <a:lnTo>
                    <a:pt x="67" y="34"/>
                  </a:lnTo>
                  <a:lnTo>
                    <a:pt x="67" y="32"/>
                  </a:lnTo>
                  <a:close/>
                  <a:moveTo>
                    <a:pt x="57" y="51"/>
                  </a:moveTo>
                  <a:lnTo>
                    <a:pt x="57" y="53"/>
                  </a:lnTo>
                  <a:lnTo>
                    <a:pt x="57" y="51"/>
                  </a:lnTo>
                  <a:close/>
                  <a:moveTo>
                    <a:pt x="36" y="57"/>
                  </a:moveTo>
                  <a:lnTo>
                    <a:pt x="38" y="57"/>
                  </a:lnTo>
                  <a:lnTo>
                    <a:pt x="38" y="59"/>
                  </a:lnTo>
                  <a:lnTo>
                    <a:pt x="36" y="59"/>
                  </a:lnTo>
                  <a:lnTo>
                    <a:pt x="36" y="57"/>
                  </a:lnTo>
                  <a:close/>
                  <a:moveTo>
                    <a:pt x="71" y="21"/>
                  </a:moveTo>
                  <a:lnTo>
                    <a:pt x="72" y="21"/>
                  </a:lnTo>
                  <a:lnTo>
                    <a:pt x="71" y="21"/>
                  </a:lnTo>
                  <a:close/>
                  <a:moveTo>
                    <a:pt x="53" y="53"/>
                  </a:moveTo>
                  <a:lnTo>
                    <a:pt x="53" y="55"/>
                  </a:lnTo>
                  <a:lnTo>
                    <a:pt x="53" y="53"/>
                  </a:lnTo>
                  <a:close/>
                  <a:moveTo>
                    <a:pt x="46" y="59"/>
                  </a:moveTo>
                  <a:lnTo>
                    <a:pt x="46" y="61"/>
                  </a:lnTo>
                  <a:lnTo>
                    <a:pt x="46" y="59"/>
                  </a:lnTo>
                  <a:close/>
                  <a:moveTo>
                    <a:pt x="46" y="59"/>
                  </a:moveTo>
                  <a:lnTo>
                    <a:pt x="46" y="61"/>
                  </a:lnTo>
                  <a:lnTo>
                    <a:pt x="46" y="59"/>
                  </a:lnTo>
                  <a:close/>
                  <a:moveTo>
                    <a:pt x="44" y="59"/>
                  </a:moveTo>
                  <a:lnTo>
                    <a:pt x="46" y="59"/>
                  </a:lnTo>
                  <a:lnTo>
                    <a:pt x="44" y="59"/>
                  </a:lnTo>
                  <a:close/>
                  <a:moveTo>
                    <a:pt x="95" y="11"/>
                  </a:moveTo>
                  <a:lnTo>
                    <a:pt x="95" y="13"/>
                  </a:lnTo>
                  <a:lnTo>
                    <a:pt x="95" y="11"/>
                  </a:lnTo>
                  <a:close/>
                  <a:moveTo>
                    <a:pt x="44" y="59"/>
                  </a:moveTo>
                  <a:lnTo>
                    <a:pt x="46" y="59"/>
                  </a:lnTo>
                  <a:lnTo>
                    <a:pt x="44" y="59"/>
                  </a:lnTo>
                  <a:close/>
                  <a:moveTo>
                    <a:pt x="80" y="5"/>
                  </a:moveTo>
                  <a:lnTo>
                    <a:pt x="80" y="7"/>
                  </a:lnTo>
                  <a:lnTo>
                    <a:pt x="80" y="5"/>
                  </a:lnTo>
                  <a:close/>
                  <a:moveTo>
                    <a:pt x="40" y="59"/>
                  </a:moveTo>
                  <a:lnTo>
                    <a:pt x="42" y="59"/>
                  </a:lnTo>
                  <a:lnTo>
                    <a:pt x="40" y="59"/>
                  </a:lnTo>
                  <a:close/>
                  <a:moveTo>
                    <a:pt x="13" y="105"/>
                  </a:moveTo>
                  <a:lnTo>
                    <a:pt x="15" y="105"/>
                  </a:lnTo>
                  <a:lnTo>
                    <a:pt x="13" y="105"/>
                  </a:lnTo>
                  <a:close/>
                  <a:moveTo>
                    <a:pt x="9" y="82"/>
                  </a:moveTo>
                  <a:lnTo>
                    <a:pt x="9" y="84"/>
                  </a:lnTo>
                  <a:lnTo>
                    <a:pt x="9" y="82"/>
                  </a:lnTo>
                  <a:close/>
                  <a:moveTo>
                    <a:pt x="63" y="36"/>
                  </a:moveTo>
                  <a:lnTo>
                    <a:pt x="65" y="36"/>
                  </a:lnTo>
                  <a:lnTo>
                    <a:pt x="63" y="36"/>
                  </a:lnTo>
                  <a:close/>
                  <a:moveTo>
                    <a:pt x="90" y="2"/>
                  </a:moveTo>
                  <a:lnTo>
                    <a:pt x="90" y="3"/>
                  </a:lnTo>
                  <a:lnTo>
                    <a:pt x="90" y="2"/>
                  </a:lnTo>
                  <a:close/>
                  <a:moveTo>
                    <a:pt x="95" y="69"/>
                  </a:moveTo>
                  <a:lnTo>
                    <a:pt x="95" y="71"/>
                  </a:lnTo>
                  <a:lnTo>
                    <a:pt x="95" y="69"/>
                  </a:lnTo>
                  <a:close/>
                  <a:moveTo>
                    <a:pt x="44" y="57"/>
                  </a:moveTo>
                  <a:lnTo>
                    <a:pt x="46" y="57"/>
                  </a:lnTo>
                  <a:lnTo>
                    <a:pt x="44" y="57"/>
                  </a:lnTo>
                  <a:close/>
                  <a:moveTo>
                    <a:pt x="95" y="65"/>
                  </a:moveTo>
                  <a:lnTo>
                    <a:pt x="95" y="67"/>
                  </a:lnTo>
                  <a:lnTo>
                    <a:pt x="95" y="65"/>
                  </a:lnTo>
                  <a:close/>
                  <a:moveTo>
                    <a:pt x="9" y="99"/>
                  </a:moveTo>
                  <a:lnTo>
                    <a:pt x="9" y="101"/>
                  </a:lnTo>
                  <a:lnTo>
                    <a:pt x="9" y="99"/>
                  </a:lnTo>
                  <a:close/>
                  <a:moveTo>
                    <a:pt x="17" y="115"/>
                  </a:moveTo>
                  <a:lnTo>
                    <a:pt x="17" y="117"/>
                  </a:lnTo>
                  <a:lnTo>
                    <a:pt x="17" y="115"/>
                  </a:lnTo>
                  <a:close/>
                  <a:moveTo>
                    <a:pt x="74" y="23"/>
                  </a:moveTo>
                  <a:lnTo>
                    <a:pt x="76" y="23"/>
                  </a:lnTo>
                  <a:lnTo>
                    <a:pt x="74" y="23"/>
                  </a:lnTo>
                  <a:close/>
                  <a:moveTo>
                    <a:pt x="5" y="180"/>
                  </a:moveTo>
                  <a:lnTo>
                    <a:pt x="5" y="182"/>
                  </a:lnTo>
                  <a:lnTo>
                    <a:pt x="5" y="180"/>
                  </a:lnTo>
                  <a:close/>
                  <a:moveTo>
                    <a:pt x="0" y="153"/>
                  </a:moveTo>
                  <a:lnTo>
                    <a:pt x="0" y="155"/>
                  </a:lnTo>
                  <a:lnTo>
                    <a:pt x="0" y="153"/>
                  </a:lnTo>
                  <a:close/>
                  <a:moveTo>
                    <a:pt x="24" y="63"/>
                  </a:moveTo>
                  <a:lnTo>
                    <a:pt x="24" y="65"/>
                  </a:lnTo>
                  <a:lnTo>
                    <a:pt x="24" y="63"/>
                  </a:lnTo>
                  <a:close/>
                  <a:moveTo>
                    <a:pt x="74" y="138"/>
                  </a:moveTo>
                  <a:lnTo>
                    <a:pt x="76" y="138"/>
                  </a:lnTo>
                  <a:lnTo>
                    <a:pt x="74" y="138"/>
                  </a:lnTo>
                  <a:close/>
                  <a:moveTo>
                    <a:pt x="55" y="201"/>
                  </a:moveTo>
                  <a:lnTo>
                    <a:pt x="57" y="201"/>
                  </a:lnTo>
                  <a:lnTo>
                    <a:pt x="55" y="201"/>
                  </a:lnTo>
                  <a:close/>
                  <a:moveTo>
                    <a:pt x="84" y="3"/>
                  </a:moveTo>
                  <a:lnTo>
                    <a:pt x="84" y="5"/>
                  </a:lnTo>
                  <a:lnTo>
                    <a:pt x="84" y="3"/>
                  </a:lnTo>
                  <a:close/>
                  <a:moveTo>
                    <a:pt x="1" y="151"/>
                  </a:moveTo>
                  <a:lnTo>
                    <a:pt x="1" y="153"/>
                  </a:lnTo>
                  <a:lnTo>
                    <a:pt x="1" y="151"/>
                  </a:lnTo>
                  <a:close/>
                  <a:moveTo>
                    <a:pt x="80" y="19"/>
                  </a:moveTo>
                  <a:lnTo>
                    <a:pt x="82" y="19"/>
                  </a:lnTo>
                  <a:lnTo>
                    <a:pt x="80" y="19"/>
                  </a:lnTo>
                  <a:close/>
                  <a:moveTo>
                    <a:pt x="95" y="67"/>
                  </a:moveTo>
                  <a:lnTo>
                    <a:pt x="97" y="67"/>
                  </a:lnTo>
                  <a:lnTo>
                    <a:pt x="95" y="67"/>
                  </a:lnTo>
                  <a:close/>
                  <a:moveTo>
                    <a:pt x="15" y="105"/>
                  </a:moveTo>
                  <a:lnTo>
                    <a:pt x="15" y="107"/>
                  </a:lnTo>
                  <a:lnTo>
                    <a:pt x="15" y="105"/>
                  </a:lnTo>
                  <a:close/>
                  <a:moveTo>
                    <a:pt x="95" y="67"/>
                  </a:moveTo>
                  <a:lnTo>
                    <a:pt x="97" y="67"/>
                  </a:lnTo>
                  <a:lnTo>
                    <a:pt x="97" y="69"/>
                  </a:lnTo>
                  <a:lnTo>
                    <a:pt x="95" y="69"/>
                  </a:lnTo>
                  <a:lnTo>
                    <a:pt x="95" y="67"/>
                  </a:lnTo>
                  <a:close/>
                  <a:moveTo>
                    <a:pt x="69" y="32"/>
                  </a:moveTo>
                  <a:lnTo>
                    <a:pt x="69" y="34"/>
                  </a:lnTo>
                  <a:lnTo>
                    <a:pt x="69" y="32"/>
                  </a:lnTo>
                  <a:close/>
                  <a:moveTo>
                    <a:pt x="78" y="3"/>
                  </a:moveTo>
                  <a:lnTo>
                    <a:pt x="78" y="5"/>
                  </a:lnTo>
                  <a:lnTo>
                    <a:pt x="78" y="3"/>
                  </a:lnTo>
                  <a:close/>
                  <a:moveTo>
                    <a:pt x="15" y="124"/>
                  </a:moveTo>
                  <a:lnTo>
                    <a:pt x="17" y="124"/>
                  </a:lnTo>
                  <a:lnTo>
                    <a:pt x="15" y="124"/>
                  </a:lnTo>
                  <a:close/>
                  <a:moveTo>
                    <a:pt x="15" y="205"/>
                  </a:moveTo>
                  <a:lnTo>
                    <a:pt x="17" y="205"/>
                  </a:lnTo>
                  <a:lnTo>
                    <a:pt x="15" y="205"/>
                  </a:lnTo>
                  <a:close/>
                  <a:moveTo>
                    <a:pt x="46" y="61"/>
                  </a:moveTo>
                  <a:lnTo>
                    <a:pt x="48" y="61"/>
                  </a:lnTo>
                  <a:lnTo>
                    <a:pt x="46" y="61"/>
                  </a:lnTo>
                  <a:close/>
                  <a:moveTo>
                    <a:pt x="40" y="57"/>
                  </a:moveTo>
                  <a:lnTo>
                    <a:pt x="42" y="57"/>
                  </a:lnTo>
                  <a:lnTo>
                    <a:pt x="40" y="57"/>
                  </a:lnTo>
                  <a:close/>
                  <a:moveTo>
                    <a:pt x="17" y="67"/>
                  </a:moveTo>
                  <a:lnTo>
                    <a:pt x="17" y="69"/>
                  </a:lnTo>
                  <a:lnTo>
                    <a:pt x="17" y="67"/>
                  </a:lnTo>
                  <a:close/>
                  <a:moveTo>
                    <a:pt x="92" y="9"/>
                  </a:moveTo>
                  <a:lnTo>
                    <a:pt x="92" y="11"/>
                  </a:lnTo>
                  <a:lnTo>
                    <a:pt x="92" y="9"/>
                  </a:lnTo>
                  <a:close/>
                  <a:moveTo>
                    <a:pt x="32" y="59"/>
                  </a:moveTo>
                  <a:lnTo>
                    <a:pt x="32" y="61"/>
                  </a:lnTo>
                  <a:lnTo>
                    <a:pt x="32" y="59"/>
                  </a:lnTo>
                  <a:close/>
                  <a:moveTo>
                    <a:pt x="82" y="3"/>
                  </a:moveTo>
                  <a:lnTo>
                    <a:pt x="84" y="3"/>
                  </a:lnTo>
                  <a:lnTo>
                    <a:pt x="84" y="5"/>
                  </a:lnTo>
                  <a:lnTo>
                    <a:pt x="82" y="5"/>
                  </a:lnTo>
                  <a:lnTo>
                    <a:pt x="82" y="3"/>
                  </a:lnTo>
                  <a:close/>
                  <a:moveTo>
                    <a:pt x="17" y="123"/>
                  </a:moveTo>
                  <a:lnTo>
                    <a:pt x="17" y="124"/>
                  </a:lnTo>
                  <a:lnTo>
                    <a:pt x="17" y="123"/>
                  </a:lnTo>
                  <a:close/>
                  <a:moveTo>
                    <a:pt x="90" y="3"/>
                  </a:moveTo>
                  <a:lnTo>
                    <a:pt x="90" y="5"/>
                  </a:lnTo>
                  <a:lnTo>
                    <a:pt x="90" y="3"/>
                  </a:lnTo>
                  <a:close/>
                  <a:moveTo>
                    <a:pt x="74" y="23"/>
                  </a:moveTo>
                  <a:lnTo>
                    <a:pt x="74" y="25"/>
                  </a:lnTo>
                  <a:lnTo>
                    <a:pt x="74" y="23"/>
                  </a:lnTo>
                  <a:close/>
                  <a:moveTo>
                    <a:pt x="3" y="142"/>
                  </a:moveTo>
                  <a:lnTo>
                    <a:pt x="3" y="144"/>
                  </a:lnTo>
                  <a:lnTo>
                    <a:pt x="3" y="142"/>
                  </a:lnTo>
                  <a:close/>
                  <a:moveTo>
                    <a:pt x="86" y="0"/>
                  </a:moveTo>
                  <a:lnTo>
                    <a:pt x="86" y="2"/>
                  </a:lnTo>
                  <a:lnTo>
                    <a:pt x="86"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6" name="Freeform 445">
              <a:extLst>
                <a:ext uri="{FF2B5EF4-FFF2-40B4-BE49-F238E27FC236}">
                  <a16:creationId xmlns:a16="http://schemas.microsoft.com/office/drawing/2014/main" id="{618E7C50-5FBD-4BAA-8A7C-8610093DA47B}"/>
                </a:ext>
              </a:extLst>
            </p:cNvPr>
            <p:cNvSpPr>
              <a:spLocks noEditPoints="1"/>
            </p:cNvSpPr>
            <p:nvPr/>
          </p:nvSpPr>
          <p:spPr bwMode="gray">
            <a:xfrm>
              <a:off x="4015218" y="4594646"/>
              <a:ext cx="7358" cy="7358"/>
            </a:xfrm>
            <a:custGeom>
              <a:avLst/>
              <a:gdLst>
                <a:gd name="T0" fmla="*/ 2 w 6"/>
                <a:gd name="T1" fmla="*/ 2 h 6"/>
                <a:gd name="T2" fmla="*/ 4 w 6"/>
                <a:gd name="T3" fmla="*/ 2 h 6"/>
                <a:gd name="T4" fmla="*/ 4 w 6"/>
                <a:gd name="T5" fmla="*/ 4 h 6"/>
                <a:gd name="T6" fmla="*/ 4 w 6"/>
                <a:gd name="T7" fmla="*/ 6 h 6"/>
                <a:gd name="T8" fmla="*/ 2 w 6"/>
                <a:gd name="T9" fmla="*/ 6 h 6"/>
                <a:gd name="T10" fmla="*/ 2 w 6"/>
                <a:gd name="T11" fmla="*/ 4 h 6"/>
                <a:gd name="T12" fmla="*/ 2 w 6"/>
                <a:gd name="T13" fmla="*/ 6 h 6"/>
                <a:gd name="T14" fmla="*/ 2 w 6"/>
                <a:gd name="T15" fmla="*/ 4 h 6"/>
                <a:gd name="T16" fmla="*/ 2 w 6"/>
                <a:gd name="T17" fmla="*/ 2 h 6"/>
                <a:gd name="T18" fmla="*/ 4 w 6"/>
                <a:gd name="T19" fmla="*/ 2 h 6"/>
                <a:gd name="T20" fmla="*/ 6 w 6"/>
                <a:gd name="T21" fmla="*/ 2 h 6"/>
                <a:gd name="T22" fmla="*/ 6 w 6"/>
                <a:gd name="T23" fmla="*/ 4 h 6"/>
                <a:gd name="T24" fmla="*/ 4 w 6"/>
                <a:gd name="T25" fmla="*/ 4 h 6"/>
                <a:gd name="T26" fmla="*/ 4 w 6"/>
                <a:gd name="T27" fmla="*/ 2 h 6"/>
                <a:gd name="T28" fmla="*/ 0 w 6"/>
                <a:gd name="T29" fmla="*/ 0 h 6"/>
                <a:gd name="T30" fmla="*/ 2 w 6"/>
                <a:gd name="T31" fmla="*/ 0 h 6"/>
                <a:gd name="T32" fmla="*/ 2 w 6"/>
                <a:gd name="T33" fmla="*/ 2 h 6"/>
                <a:gd name="T34" fmla="*/ 0 w 6"/>
                <a:gd name="T35" fmla="*/ 2 h 6"/>
                <a:gd name="T36" fmla="*/ 0 w 6"/>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6">
                  <a:moveTo>
                    <a:pt x="2" y="2"/>
                  </a:moveTo>
                  <a:lnTo>
                    <a:pt x="4" y="2"/>
                  </a:lnTo>
                  <a:lnTo>
                    <a:pt x="4" y="4"/>
                  </a:lnTo>
                  <a:lnTo>
                    <a:pt x="4" y="6"/>
                  </a:lnTo>
                  <a:lnTo>
                    <a:pt x="2" y="6"/>
                  </a:lnTo>
                  <a:lnTo>
                    <a:pt x="2" y="4"/>
                  </a:lnTo>
                  <a:lnTo>
                    <a:pt x="2" y="6"/>
                  </a:lnTo>
                  <a:lnTo>
                    <a:pt x="2" y="4"/>
                  </a:lnTo>
                  <a:lnTo>
                    <a:pt x="2" y="2"/>
                  </a:lnTo>
                  <a:close/>
                  <a:moveTo>
                    <a:pt x="4" y="2"/>
                  </a:moveTo>
                  <a:lnTo>
                    <a:pt x="6" y="2"/>
                  </a:lnTo>
                  <a:lnTo>
                    <a:pt x="6" y="4"/>
                  </a:lnTo>
                  <a:lnTo>
                    <a:pt x="4" y="4"/>
                  </a:lnTo>
                  <a:lnTo>
                    <a:pt x="4" y="2"/>
                  </a:lnTo>
                  <a:close/>
                  <a:moveTo>
                    <a:pt x="0" y="0"/>
                  </a:moveTo>
                  <a:lnTo>
                    <a:pt x="2" y="0"/>
                  </a:lnTo>
                  <a:lnTo>
                    <a:pt x="2" y="2"/>
                  </a:lnTo>
                  <a:lnTo>
                    <a:pt x="0" y="2"/>
                  </a:lnTo>
                  <a:lnTo>
                    <a:pt x="0"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7" name="Freeform 446">
              <a:extLst>
                <a:ext uri="{FF2B5EF4-FFF2-40B4-BE49-F238E27FC236}">
                  <a16:creationId xmlns:a16="http://schemas.microsoft.com/office/drawing/2014/main" id="{CF5B59DC-6CDA-4339-9BED-FB89C2CB7BBA}"/>
                </a:ext>
              </a:extLst>
            </p:cNvPr>
            <p:cNvSpPr>
              <a:spLocks noEditPoints="1"/>
            </p:cNvSpPr>
            <p:nvPr/>
          </p:nvSpPr>
          <p:spPr bwMode="gray">
            <a:xfrm>
              <a:off x="4037293" y="4443802"/>
              <a:ext cx="176598" cy="109148"/>
            </a:xfrm>
            <a:custGeom>
              <a:avLst/>
              <a:gdLst>
                <a:gd name="T0" fmla="*/ 138 w 144"/>
                <a:gd name="T1" fmla="*/ 4 h 89"/>
                <a:gd name="T2" fmla="*/ 134 w 144"/>
                <a:gd name="T3" fmla="*/ 8 h 89"/>
                <a:gd name="T4" fmla="*/ 6 w 144"/>
                <a:gd name="T5" fmla="*/ 75 h 89"/>
                <a:gd name="T6" fmla="*/ 4 w 144"/>
                <a:gd name="T7" fmla="*/ 77 h 89"/>
                <a:gd name="T8" fmla="*/ 2 w 144"/>
                <a:gd name="T9" fmla="*/ 75 h 89"/>
                <a:gd name="T10" fmla="*/ 4 w 144"/>
                <a:gd name="T11" fmla="*/ 77 h 89"/>
                <a:gd name="T12" fmla="*/ 6 w 144"/>
                <a:gd name="T13" fmla="*/ 75 h 89"/>
                <a:gd name="T14" fmla="*/ 6 w 144"/>
                <a:gd name="T15" fmla="*/ 75 h 89"/>
                <a:gd name="T16" fmla="*/ 6 w 144"/>
                <a:gd name="T17" fmla="*/ 75 h 89"/>
                <a:gd name="T18" fmla="*/ 6 w 144"/>
                <a:gd name="T19" fmla="*/ 75 h 89"/>
                <a:gd name="T20" fmla="*/ 142 w 144"/>
                <a:gd name="T21" fmla="*/ 0 h 89"/>
                <a:gd name="T22" fmla="*/ 140 w 144"/>
                <a:gd name="T23" fmla="*/ 2 h 89"/>
                <a:gd name="T24" fmla="*/ 2 w 144"/>
                <a:gd name="T25" fmla="*/ 75 h 89"/>
                <a:gd name="T26" fmla="*/ 2 w 144"/>
                <a:gd name="T27" fmla="*/ 75 h 89"/>
                <a:gd name="T28" fmla="*/ 132 w 144"/>
                <a:gd name="T29" fmla="*/ 4 h 89"/>
                <a:gd name="T30" fmla="*/ 23 w 144"/>
                <a:gd name="T31" fmla="*/ 85 h 89"/>
                <a:gd name="T32" fmla="*/ 23 w 144"/>
                <a:gd name="T33" fmla="*/ 85 h 89"/>
                <a:gd name="T34" fmla="*/ 2 w 144"/>
                <a:gd name="T35" fmla="*/ 75 h 89"/>
                <a:gd name="T36" fmla="*/ 142 w 144"/>
                <a:gd name="T37" fmla="*/ 0 h 89"/>
                <a:gd name="T38" fmla="*/ 142 w 144"/>
                <a:gd name="T39" fmla="*/ 0 h 89"/>
                <a:gd name="T40" fmla="*/ 73 w 144"/>
                <a:gd name="T41" fmla="*/ 89 h 89"/>
                <a:gd name="T42" fmla="*/ 109 w 144"/>
                <a:gd name="T43" fmla="*/ 21 h 89"/>
                <a:gd name="T44" fmla="*/ 109 w 144"/>
                <a:gd name="T45" fmla="*/ 21 h 89"/>
                <a:gd name="T46" fmla="*/ 21 w 144"/>
                <a:gd name="T47" fmla="*/ 81 h 89"/>
                <a:gd name="T48" fmla="*/ 136 w 144"/>
                <a:gd name="T49" fmla="*/ 4 h 89"/>
                <a:gd name="T50" fmla="*/ 136 w 144"/>
                <a:gd name="T51" fmla="*/ 4 h 89"/>
                <a:gd name="T52" fmla="*/ 105 w 144"/>
                <a:gd name="T53" fmla="*/ 18 h 89"/>
                <a:gd name="T54" fmla="*/ 21 w 144"/>
                <a:gd name="T55" fmla="*/ 81 h 89"/>
                <a:gd name="T56" fmla="*/ 21 w 144"/>
                <a:gd name="T57" fmla="*/ 81 h 89"/>
                <a:gd name="T58" fmla="*/ 136 w 144"/>
                <a:gd name="T59" fmla="*/ 6 h 89"/>
                <a:gd name="T60" fmla="*/ 144 w 144"/>
                <a:gd name="T61" fmla="*/ 0 h 89"/>
                <a:gd name="T62" fmla="*/ 144 w 144"/>
                <a:gd name="T63" fmla="*/ 0 h 89"/>
                <a:gd name="T64" fmla="*/ 101 w 144"/>
                <a:gd name="T65" fmla="*/ 29 h 89"/>
                <a:gd name="T66" fmla="*/ 2 w 144"/>
                <a:gd name="T67" fmla="*/ 75 h 89"/>
                <a:gd name="T68" fmla="*/ 2 w 144"/>
                <a:gd name="T69" fmla="*/ 75 h 89"/>
                <a:gd name="T70" fmla="*/ 138 w 144"/>
                <a:gd name="T71" fmla="*/ 2 h 89"/>
                <a:gd name="T72" fmla="*/ 100 w 144"/>
                <a:gd name="T73" fmla="*/ 23 h 89"/>
                <a:gd name="T74" fmla="*/ 100 w 144"/>
                <a:gd name="T75" fmla="*/ 2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 h="89">
                  <a:moveTo>
                    <a:pt x="134" y="4"/>
                  </a:moveTo>
                  <a:lnTo>
                    <a:pt x="138" y="4"/>
                  </a:lnTo>
                  <a:lnTo>
                    <a:pt x="138" y="8"/>
                  </a:lnTo>
                  <a:lnTo>
                    <a:pt x="134" y="8"/>
                  </a:lnTo>
                  <a:lnTo>
                    <a:pt x="134" y="4"/>
                  </a:lnTo>
                  <a:close/>
                  <a:moveTo>
                    <a:pt x="6" y="75"/>
                  </a:moveTo>
                  <a:lnTo>
                    <a:pt x="6" y="77"/>
                  </a:lnTo>
                  <a:lnTo>
                    <a:pt x="4" y="77"/>
                  </a:lnTo>
                  <a:lnTo>
                    <a:pt x="2" y="77"/>
                  </a:lnTo>
                  <a:lnTo>
                    <a:pt x="2" y="75"/>
                  </a:lnTo>
                  <a:lnTo>
                    <a:pt x="2" y="77"/>
                  </a:lnTo>
                  <a:lnTo>
                    <a:pt x="4" y="77"/>
                  </a:lnTo>
                  <a:lnTo>
                    <a:pt x="4" y="75"/>
                  </a:lnTo>
                  <a:lnTo>
                    <a:pt x="6" y="75"/>
                  </a:lnTo>
                  <a:lnTo>
                    <a:pt x="4" y="75"/>
                  </a:lnTo>
                  <a:lnTo>
                    <a:pt x="6" y="75"/>
                  </a:lnTo>
                  <a:lnTo>
                    <a:pt x="4" y="75"/>
                  </a:lnTo>
                  <a:lnTo>
                    <a:pt x="6" y="75"/>
                  </a:lnTo>
                  <a:lnTo>
                    <a:pt x="4" y="75"/>
                  </a:lnTo>
                  <a:lnTo>
                    <a:pt x="6" y="75"/>
                  </a:lnTo>
                  <a:close/>
                  <a:moveTo>
                    <a:pt x="140" y="0"/>
                  </a:moveTo>
                  <a:lnTo>
                    <a:pt x="142" y="0"/>
                  </a:lnTo>
                  <a:lnTo>
                    <a:pt x="142" y="2"/>
                  </a:lnTo>
                  <a:lnTo>
                    <a:pt x="140" y="2"/>
                  </a:lnTo>
                  <a:lnTo>
                    <a:pt x="140" y="0"/>
                  </a:lnTo>
                  <a:close/>
                  <a:moveTo>
                    <a:pt x="2" y="75"/>
                  </a:moveTo>
                  <a:lnTo>
                    <a:pt x="4" y="75"/>
                  </a:lnTo>
                  <a:lnTo>
                    <a:pt x="2" y="75"/>
                  </a:lnTo>
                  <a:close/>
                  <a:moveTo>
                    <a:pt x="132" y="2"/>
                  </a:moveTo>
                  <a:lnTo>
                    <a:pt x="132" y="4"/>
                  </a:lnTo>
                  <a:lnTo>
                    <a:pt x="132" y="2"/>
                  </a:lnTo>
                  <a:close/>
                  <a:moveTo>
                    <a:pt x="23" y="85"/>
                  </a:moveTo>
                  <a:lnTo>
                    <a:pt x="23" y="87"/>
                  </a:lnTo>
                  <a:lnTo>
                    <a:pt x="23" y="85"/>
                  </a:lnTo>
                  <a:close/>
                  <a:moveTo>
                    <a:pt x="0" y="75"/>
                  </a:moveTo>
                  <a:lnTo>
                    <a:pt x="2" y="75"/>
                  </a:lnTo>
                  <a:lnTo>
                    <a:pt x="0" y="75"/>
                  </a:lnTo>
                  <a:close/>
                  <a:moveTo>
                    <a:pt x="142" y="0"/>
                  </a:moveTo>
                  <a:lnTo>
                    <a:pt x="142" y="2"/>
                  </a:lnTo>
                  <a:lnTo>
                    <a:pt x="142" y="0"/>
                  </a:lnTo>
                  <a:close/>
                  <a:moveTo>
                    <a:pt x="73" y="87"/>
                  </a:moveTo>
                  <a:lnTo>
                    <a:pt x="73" y="89"/>
                  </a:lnTo>
                  <a:lnTo>
                    <a:pt x="73" y="87"/>
                  </a:lnTo>
                  <a:close/>
                  <a:moveTo>
                    <a:pt x="109" y="21"/>
                  </a:moveTo>
                  <a:lnTo>
                    <a:pt x="111" y="21"/>
                  </a:lnTo>
                  <a:lnTo>
                    <a:pt x="109" y="21"/>
                  </a:lnTo>
                  <a:close/>
                  <a:moveTo>
                    <a:pt x="19" y="81"/>
                  </a:moveTo>
                  <a:lnTo>
                    <a:pt x="21" y="81"/>
                  </a:lnTo>
                  <a:lnTo>
                    <a:pt x="19" y="81"/>
                  </a:lnTo>
                  <a:close/>
                  <a:moveTo>
                    <a:pt x="136" y="4"/>
                  </a:moveTo>
                  <a:lnTo>
                    <a:pt x="136" y="6"/>
                  </a:lnTo>
                  <a:lnTo>
                    <a:pt x="136" y="4"/>
                  </a:lnTo>
                  <a:close/>
                  <a:moveTo>
                    <a:pt x="103" y="18"/>
                  </a:moveTo>
                  <a:lnTo>
                    <a:pt x="105" y="18"/>
                  </a:lnTo>
                  <a:lnTo>
                    <a:pt x="103" y="18"/>
                  </a:lnTo>
                  <a:close/>
                  <a:moveTo>
                    <a:pt x="21" y="81"/>
                  </a:moveTo>
                  <a:lnTo>
                    <a:pt x="23" y="81"/>
                  </a:lnTo>
                  <a:lnTo>
                    <a:pt x="21" y="81"/>
                  </a:lnTo>
                  <a:close/>
                  <a:moveTo>
                    <a:pt x="136" y="4"/>
                  </a:moveTo>
                  <a:lnTo>
                    <a:pt x="136" y="6"/>
                  </a:lnTo>
                  <a:lnTo>
                    <a:pt x="136" y="4"/>
                  </a:lnTo>
                  <a:close/>
                  <a:moveTo>
                    <a:pt x="144" y="0"/>
                  </a:moveTo>
                  <a:lnTo>
                    <a:pt x="144" y="2"/>
                  </a:lnTo>
                  <a:lnTo>
                    <a:pt x="144" y="0"/>
                  </a:lnTo>
                  <a:close/>
                  <a:moveTo>
                    <a:pt x="101" y="27"/>
                  </a:moveTo>
                  <a:lnTo>
                    <a:pt x="101" y="29"/>
                  </a:lnTo>
                  <a:lnTo>
                    <a:pt x="101" y="27"/>
                  </a:lnTo>
                  <a:close/>
                  <a:moveTo>
                    <a:pt x="2" y="75"/>
                  </a:moveTo>
                  <a:lnTo>
                    <a:pt x="2" y="77"/>
                  </a:lnTo>
                  <a:lnTo>
                    <a:pt x="2" y="75"/>
                  </a:lnTo>
                  <a:close/>
                  <a:moveTo>
                    <a:pt x="138" y="0"/>
                  </a:moveTo>
                  <a:lnTo>
                    <a:pt x="138" y="2"/>
                  </a:lnTo>
                  <a:lnTo>
                    <a:pt x="138" y="0"/>
                  </a:lnTo>
                  <a:close/>
                  <a:moveTo>
                    <a:pt x="100" y="23"/>
                  </a:moveTo>
                  <a:lnTo>
                    <a:pt x="101" y="23"/>
                  </a:lnTo>
                  <a:lnTo>
                    <a:pt x="100" y="2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8" name="Freeform 447">
              <a:extLst>
                <a:ext uri="{FF2B5EF4-FFF2-40B4-BE49-F238E27FC236}">
                  <a16:creationId xmlns:a16="http://schemas.microsoft.com/office/drawing/2014/main" id="{87441F0E-10FA-4ABC-9EC5-32D8584EC0D6}"/>
                </a:ext>
              </a:extLst>
            </p:cNvPr>
            <p:cNvSpPr>
              <a:spLocks noEditPoints="1"/>
            </p:cNvSpPr>
            <p:nvPr/>
          </p:nvSpPr>
          <p:spPr bwMode="gray">
            <a:xfrm>
              <a:off x="3735604" y="4384936"/>
              <a:ext cx="199900" cy="196220"/>
            </a:xfrm>
            <a:custGeom>
              <a:avLst/>
              <a:gdLst>
                <a:gd name="T0" fmla="*/ 83 w 163"/>
                <a:gd name="T1" fmla="*/ 8 h 160"/>
                <a:gd name="T2" fmla="*/ 123 w 163"/>
                <a:gd name="T3" fmla="*/ 31 h 160"/>
                <a:gd name="T4" fmla="*/ 133 w 163"/>
                <a:gd name="T5" fmla="*/ 46 h 160"/>
                <a:gd name="T6" fmla="*/ 144 w 163"/>
                <a:gd name="T7" fmla="*/ 56 h 160"/>
                <a:gd name="T8" fmla="*/ 142 w 163"/>
                <a:gd name="T9" fmla="*/ 66 h 160"/>
                <a:gd name="T10" fmla="*/ 138 w 163"/>
                <a:gd name="T11" fmla="*/ 73 h 160"/>
                <a:gd name="T12" fmla="*/ 142 w 163"/>
                <a:gd name="T13" fmla="*/ 81 h 160"/>
                <a:gd name="T14" fmla="*/ 146 w 163"/>
                <a:gd name="T15" fmla="*/ 85 h 160"/>
                <a:gd name="T16" fmla="*/ 146 w 163"/>
                <a:gd name="T17" fmla="*/ 92 h 160"/>
                <a:gd name="T18" fmla="*/ 148 w 163"/>
                <a:gd name="T19" fmla="*/ 102 h 160"/>
                <a:gd name="T20" fmla="*/ 148 w 163"/>
                <a:gd name="T21" fmla="*/ 114 h 160"/>
                <a:gd name="T22" fmla="*/ 148 w 163"/>
                <a:gd name="T23" fmla="*/ 117 h 160"/>
                <a:gd name="T24" fmla="*/ 152 w 163"/>
                <a:gd name="T25" fmla="*/ 121 h 160"/>
                <a:gd name="T26" fmla="*/ 152 w 163"/>
                <a:gd name="T27" fmla="*/ 129 h 160"/>
                <a:gd name="T28" fmla="*/ 156 w 163"/>
                <a:gd name="T29" fmla="*/ 133 h 160"/>
                <a:gd name="T30" fmla="*/ 163 w 163"/>
                <a:gd name="T31" fmla="*/ 139 h 160"/>
                <a:gd name="T32" fmla="*/ 157 w 163"/>
                <a:gd name="T33" fmla="*/ 144 h 160"/>
                <a:gd name="T34" fmla="*/ 146 w 163"/>
                <a:gd name="T35" fmla="*/ 148 h 160"/>
                <a:gd name="T36" fmla="*/ 134 w 163"/>
                <a:gd name="T37" fmla="*/ 152 h 160"/>
                <a:gd name="T38" fmla="*/ 125 w 163"/>
                <a:gd name="T39" fmla="*/ 154 h 160"/>
                <a:gd name="T40" fmla="*/ 117 w 163"/>
                <a:gd name="T41" fmla="*/ 158 h 160"/>
                <a:gd name="T42" fmla="*/ 106 w 163"/>
                <a:gd name="T43" fmla="*/ 158 h 160"/>
                <a:gd name="T44" fmla="*/ 98 w 163"/>
                <a:gd name="T45" fmla="*/ 154 h 160"/>
                <a:gd name="T46" fmla="*/ 88 w 163"/>
                <a:gd name="T47" fmla="*/ 156 h 160"/>
                <a:gd name="T48" fmla="*/ 81 w 163"/>
                <a:gd name="T49" fmla="*/ 152 h 160"/>
                <a:gd name="T50" fmla="*/ 77 w 163"/>
                <a:gd name="T51" fmla="*/ 142 h 160"/>
                <a:gd name="T52" fmla="*/ 77 w 163"/>
                <a:gd name="T53" fmla="*/ 135 h 160"/>
                <a:gd name="T54" fmla="*/ 71 w 163"/>
                <a:gd name="T55" fmla="*/ 129 h 160"/>
                <a:gd name="T56" fmla="*/ 65 w 163"/>
                <a:gd name="T57" fmla="*/ 127 h 160"/>
                <a:gd name="T58" fmla="*/ 54 w 163"/>
                <a:gd name="T59" fmla="*/ 123 h 160"/>
                <a:gd name="T60" fmla="*/ 42 w 163"/>
                <a:gd name="T61" fmla="*/ 119 h 160"/>
                <a:gd name="T62" fmla="*/ 33 w 163"/>
                <a:gd name="T63" fmla="*/ 115 h 160"/>
                <a:gd name="T64" fmla="*/ 23 w 163"/>
                <a:gd name="T65" fmla="*/ 108 h 160"/>
                <a:gd name="T66" fmla="*/ 12 w 163"/>
                <a:gd name="T67" fmla="*/ 87 h 160"/>
                <a:gd name="T68" fmla="*/ 4 w 163"/>
                <a:gd name="T69" fmla="*/ 73 h 160"/>
                <a:gd name="T70" fmla="*/ 0 w 163"/>
                <a:gd name="T71" fmla="*/ 56 h 160"/>
                <a:gd name="T72" fmla="*/ 8 w 163"/>
                <a:gd name="T73" fmla="*/ 48 h 160"/>
                <a:gd name="T74" fmla="*/ 15 w 163"/>
                <a:gd name="T75" fmla="*/ 41 h 160"/>
                <a:gd name="T76" fmla="*/ 21 w 163"/>
                <a:gd name="T77" fmla="*/ 31 h 160"/>
                <a:gd name="T78" fmla="*/ 15 w 163"/>
                <a:gd name="T79" fmla="*/ 25 h 160"/>
                <a:gd name="T80" fmla="*/ 21 w 163"/>
                <a:gd name="T81" fmla="*/ 19 h 160"/>
                <a:gd name="T82" fmla="*/ 21 w 163"/>
                <a:gd name="T83" fmla="*/ 19 h 160"/>
                <a:gd name="T84" fmla="*/ 21 w 163"/>
                <a:gd name="T85" fmla="*/ 8 h 160"/>
                <a:gd name="T86" fmla="*/ 17 w 163"/>
                <a:gd name="T87" fmla="*/ 0 h 160"/>
                <a:gd name="T88" fmla="*/ 38 w 163"/>
                <a:gd name="T89" fmla="*/ 0 h 160"/>
                <a:gd name="T90" fmla="*/ 146 w 163"/>
                <a:gd name="T91" fmla="*/ 73 h 160"/>
                <a:gd name="T92" fmla="*/ 150 w 163"/>
                <a:gd name="T93" fmla="*/ 77 h 160"/>
                <a:gd name="T94" fmla="*/ 146 w 163"/>
                <a:gd name="T95" fmla="*/ 77 h 160"/>
                <a:gd name="T96" fmla="*/ 144 w 163"/>
                <a:gd name="T97" fmla="*/ 71 h 160"/>
                <a:gd name="T98" fmla="*/ 152 w 163"/>
                <a:gd name="T99" fmla="*/ 58 h 160"/>
                <a:gd name="T100" fmla="*/ 152 w 163"/>
                <a:gd name="T101" fmla="*/ 66 h 160"/>
                <a:gd name="T102" fmla="*/ 152 w 163"/>
                <a:gd name="T103" fmla="*/ 62 h 160"/>
                <a:gd name="T104" fmla="*/ 154 w 163"/>
                <a:gd name="T105" fmla="*/ 98 h 160"/>
                <a:gd name="T106" fmla="*/ 152 w 163"/>
                <a:gd name="T107" fmla="*/ 100 h 160"/>
                <a:gd name="T108" fmla="*/ 154 w 163"/>
                <a:gd name="T109" fmla="*/ 104 h 160"/>
                <a:gd name="T110" fmla="*/ 144 w 163"/>
                <a:gd name="T111" fmla="*/ 69 h 160"/>
                <a:gd name="T112" fmla="*/ 150 w 163"/>
                <a:gd name="T113" fmla="*/ 110 h 160"/>
                <a:gd name="T114" fmla="*/ 152 w 163"/>
                <a:gd name="T115" fmla="*/ 60 h 160"/>
                <a:gd name="T116" fmla="*/ 150 w 163"/>
                <a:gd name="T117" fmla="*/ 62 h 160"/>
                <a:gd name="T118" fmla="*/ 148 w 163"/>
                <a:gd name="T119" fmla="*/ 102 h 160"/>
                <a:gd name="T120" fmla="*/ 152 w 163"/>
                <a:gd name="T121" fmla="*/ 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3" h="160">
                  <a:moveTo>
                    <a:pt x="67" y="0"/>
                  </a:moveTo>
                  <a:lnTo>
                    <a:pt x="69" y="0"/>
                  </a:lnTo>
                  <a:lnTo>
                    <a:pt x="71" y="0"/>
                  </a:lnTo>
                  <a:lnTo>
                    <a:pt x="71" y="2"/>
                  </a:lnTo>
                  <a:lnTo>
                    <a:pt x="73" y="2"/>
                  </a:lnTo>
                  <a:lnTo>
                    <a:pt x="75" y="4"/>
                  </a:lnTo>
                  <a:lnTo>
                    <a:pt x="79" y="6"/>
                  </a:lnTo>
                  <a:lnTo>
                    <a:pt x="83" y="8"/>
                  </a:lnTo>
                  <a:lnTo>
                    <a:pt x="86" y="10"/>
                  </a:lnTo>
                  <a:lnTo>
                    <a:pt x="98" y="16"/>
                  </a:lnTo>
                  <a:lnTo>
                    <a:pt x="98" y="18"/>
                  </a:lnTo>
                  <a:lnTo>
                    <a:pt x="100" y="18"/>
                  </a:lnTo>
                  <a:lnTo>
                    <a:pt x="109" y="23"/>
                  </a:lnTo>
                  <a:lnTo>
                    <a:pt x="117" y="27"/>
                  </a:lnTo>
                  <a:lnTo>
                    <a:pt x="119" y="27"/>
                  </a:lnTo>
                  <a:lnTo>
                    <a:pt x="123" y="31"/>
                  </a:lnTo>
                  <a:lnTo>
                    <a:pt x="123" y="33"/>
                  </a:lnTo>
                  <a:lnTo>
                    <a:pt x="123" y="35"/>
                  </a:lnTo>
                  <a:lnTo>
                    <a:pt x="121" y="35"/>
                  </a:lnTo>
                  <a:lnTo>
                    <a:pt x="121" y="37"/>
                  </a:lnTo>
                  <a:lnTo>
                    <a:pt x="123" y="37"/>
                  </a:lnTo>
                  <a:lnTo>
                    <a:pt x="123" y="39"/>
                  </a:lnTo>
                  <a:lnTo>
                    <a:pt x="127" y="41"/>
                  </a:lnTo>
                  <a:lnTo>
                    <a:pt x="133" y="46"/>
                  </a:lnTo>
                  <a:lnTo>
                    <a:pt x="134" y="46"/>
                  </a:lnTo>
                  <a:lnTo>
                    <a:pt x="136" y="48"/>
                  </a:lnTo>
                  <a:lnTo>
                    <a:pt x="138" y="48"/>
                  </a:lnTo>
                  <a:lnTo>
                    <a:pt x="144" y="52"/>
                  </a:lnTo>
                  <a:lnTo>
                    <a:pt x="144" y="54"/>
                  </a:lnTo>
                  <a:lnTo>
                    <a:pt x="144" y="56"/>
                  </a:lnTo>
                  <a:lnTo>
                    <a:pt x="144" y="58"/>
                  </a:lnTo>
                  <a:lnTo>
                    <a:pt x="144" y="56"/>
                  </a:lnTo>
                  <a:lnTo>
                    <a:pt x="144" y="58"/>
                  </a:lnTo>
                  <a:lnTo>
                    <a:pt x="144" y="60"/>
                  </a:lnTo>
                  <a:lnTo>
                    <a:pt x="142" y="60"/>
                  </a:lnTo>
                  <a:lnTo>
                    <a:pt x="144" y="60"/>
                  </a:lnTo>
                  <a:lnTo>
                    <a:pt x="142" y="60"/>
                  </a:lnTo>
                  <a:lnTo>
                    <a:pt x="142" y="62"/>
                  </a:lnTo>
                  <a:lnTo>
                    <a:pt x="142" y="64"/>
                  </a:lnTo>
                  <a:lnTo>
                    <a:pt x="142" y="66"/>
                  </a:lnTo>
                  <a:lnTo>
                    <a:pt x="140" y="66"/>
                  </a:lnTo>
                  <a:lnTo>
                    <a:pt x="142" y="66"/>
                  </a:lnTo>
                  <a:lnTo>
                    <a:pt x="140" y="66"/>
                  </a:lnTo>
                  <a:lnTo>
                    <a:pt x="140" y="67"/>
                  </a:lnTo>
                  <a:lnTo>
                    <a:pt x="140" y="69"/>
                  </a:lnTo>
                  <a:lnTo>
                    <a:pt x="138" y="69"/>
                  </a:lnTo>
                  <a:lnTo>
                    <a:pt x="138" y="71"/>
                  </a:lnTo>
                  <a:lnTo>
                    <a:pt x="138" y="73"/>
                  </a:lnTo>
                  <a:lnTo>
                    <a:pt x="138" y="75"/>
                  </a:lnTo>
                  <a:lnTo>
                    <a:pt x="140" y="75"/>
                  </a:lnTo>
                  <a:lnTo>
                    <a:pt x="140" y="77"/>
                  </a:lnTo>
                  <a:lnTo>
                    <a:pt x="138" y="77"/>
                  </a:lnTo>
                  <a:lnTo>
                    <a:pt x="138" y="79"/>
                  </a:lnTo>
                  <a:lnTo>
                    <a:pt x="140" y="79"/>
                  </a:lnTo>
                  <a:lnTo>
                    <a:pt x="140" y="81"/>
                  </a:lnTo>
                  <a:lnTo>
                    <a:pt x="142" y="81"/>
                  </a:lnTo>
                  <a:lnTo>
                    <a:pt x="140" y="81"/>
                  </a:lnTo>
                  <a:lnTo>
                    <a:pt x="142" y="81"/>
                  </a:lnTo>
                  <a:lnTo>
                    <a:pt x="144" y="81"/>
                  </a:lnTo>
                  <a:lnTo>
                    <a:pt x="144" y="83"/>
                  </a:lnTo>
                  <a:lnTo>
                    <a:pt x="144" y="85"/>
                  </a:lnTo>
                  <a:lnTo>
                    <a:pt x="146" y="85"/>
                  </a:lnTo>
                  <a:lnTo>
                    <a:pt x="146" y="87"/>
                  </a:lnTo>
                  <a:lnTo>
                    <a:pt x="146" y="85"/>
                  </a:lnTo>
                  <a:lnTo>
                    <a:pt x="146" y="87"/>
                  </a:lnTo>
                  <a:lnTo>
                    <a:pt x="148" y="87"/>
                  </a:lnTo>
                  <a:lnTo>
                    <a:pt x="150" y="87"/>
                  </a:lnTo>
                  <a:lnTo>
                    <a:pt x="150" y="89"/>
                  </a:lnTo>
                  <a:lnTo>
                    <a:pt x="150" y="91"/>
                  </a:lnTo>
                  <a:lnTo>
                    <a:pt x="148" y="91"/>
                  </a:lnTo>
                  <a:lnTo>
                    <a:pt x="148" y="92"/>
                  </a:lnTo>
                  <a:lnTo>
                    <a:pt x="146" y="92"/>
                  </a:lnTo>
                  <a:lnTo>
                    <a:pt x="146" y="94"/>
                  </a:lnTo>
                  <a:lnTo>
                    <a:pt x="146" y="96"/>
                  </a:lnTo>
                  <a:lnTo>
                    <a:pt x="146" y="98"/>
                  </a:lnTo>
                  <a:lnTo>
                    <a:pt x="146" y="100"/>
                  </a:lnTo>
                  <a:lnTo>
                    <a:pt x="146" y="98"/>
                  </a:lnTo>
                  <a:lnTo>
                    <a:pt x="146" y="100"/>
                  </a:lnTo>
                  <a:lnTo>
                    <a:pt x="148" y="100"/>
                  </a:lnTo>
                  <a:lnTo>
                    <a:pt x="148" y="102"/>
                  </a:lnTo>
                  <a:lnTo>
                    <a:pt x="148" y="104"/>
                  </a:lnTo>
                  <a:lnTo>
                    <a:pt x="148" y="106"/>
                  </a:lnTo>
                  <a:lnTo>
                    <a:pt x="146" y="106"/>
                  </a:lnTo>
                  <a:lnTo>
                    <a:pt x="146" y="108"/>
                  </a:lnTo>
                  <a:lnTo>
                    <a:pt x="146" y="110"/>
                  </a:lnTo>
                  <a:lnTo>
                    <a:pt x="146" y="112"/>
                  </a:lnTo>
                  <a:lnTo>
                    <a:pt x="146" y="114"/>
                  </a:lnTo>
                  <a:lnTo>
                    <a:pt x="148" y="114"/>
                  </a:lnTo>
                  <a:lnTo>
                    <a:pt x="148" y="115"/>
                  </a:lnTo>
                  <a:lnTo>
                    <a:pt x="150" y="115"/>
                  </a:lnTo>
                  <a:lnTo>
                    <a:pt x="150" y="117"/>
                  </a:lnTo>
                  <a:lnTo>
                    <a:pt x="148" y="117"/>
                  </a:lnTo>
                  <a:lnTo>
                    <a:pt x="148" y="115"/>
                  </a:lnTo>
                  <a:lnTo>
                    <a:pt x="148" y="117"/>
                  </a:lnTo>
                  <a:lnTo>
                    <a:pt x="148" y="115"/>
                  </a:lnTo>
                  <a:lnTo>
                    <a:pt x="148" y="117"/>
                  </a:lnTo>
                  <a:lnTo>
                    <a:pt x="148" y="119"/>
                  </a:lnTo>
                  <a:lnTo>
                    <a:pt x="150" y="119"/>
                  </a:lnTo>
                  <a:lnTo>
                    <a:pt x="148" y="119"/>
                  </a:lnTo>
                  <a:lnTo>
                    <a:pt x="150" y="119"/>
                  </a:lnTo>
                  <a:lnTo>
                    <a:pt x="150" y="117"/>
                  </a:lnTo>
                  <a:lnTo>
                    <a:pt x="150" y="119"/>
                  </a:lnTo>
                  <a:lnTo>
                    <a:pt x="150" y="121"/>
                  </a:lnTo>
                  <a:lnTo>
                    <a:pt x="152" y="121"/>
                  </a:lnTo>
                  <a:lnTo>
                    <a:pt x="152" y="123"/>
                  </a:lnTo>
                  <a:lnTo>
                    <a:pt x="150" y="123"/>
                  </a:lnTo>
                  <a:lnTo>
                    <a:pt x="150" y="125"/>
                  </a:lnTo>
                  <a:lnTo>
                    <a:pt x="150" y="123"/>
                  </a:lnTo>
                  <a:lnTo>
                    <a:pt x="150" y="125"/>
                  </a:lnTo>
                  <a:lnTo>
                    <a:pt x="152" y="125"/>
                  </a:lnTo>
                  <a:lnTo>
                    <a:pt x="152" y="127"/>
                  </a:lnTo>
                  <a:lnTo>
                    <a:pt x="152" y="129"/>
                  </a:lnTo>
                  <a:lnTo>
                    <a:pt x="154" y="129"/>
                  </a:lnTo>
                  <a:lnTo>
                    <a:pt x="154" y="131"/>
                  </a:lnTo>
                  <a:lnTo>
                    <a:pt x="152" y="131"/>
                  </a:lnTo>
                  <a:lnTo>
                    <a:pt x="154" y="131"/>
                  </a:lnTo>
                  <a:lnTo>
                    <a:pt x="152" y="131"/>
                  </a:lnTo>
                  <a:lnTo>
                    <a:pt x="152" y="133"/>
                  </a:lnTo>
                  <a:lnTo>
                    <a:pt x="154" y="133"/>
                  </a:lnTo>
                  <a:lnTo>
                    <a:pt x="156" y="133"/>
                  </a:lnTo>
                  <a:lnTo>
                    <a:pt x="156" y="135"/>
                  </a:lnTo>
                  <a:lnTo>
                    <a:pt x="157" y="135"/>
                  </a:lnTo>
                  <a:lnTo>
                    <a:pt x="157" y="137"/>
                  </a:lnTo>
                  <a:lnTo>
                    <a:pt x="159" y="137"/>
                  </a:lnTo>
                  <a:lnTo>
                    <a:pt x="161" y="137"/>
                  </a:lnTo>
                  <a:lnTo>
                    <a:pt x="161" y="139"/>
                  </a:lnTo>
                  <a:lnTo>
                    <a:pt x="161" y="137"/>
                  </a:lnTo>
                  <a:lnTo>
                    <a:pt x="163" y="139"/>
                  </a:lnTo>
                  <a:lnTo>
                    <a:pt x="161" y="139"/>
                  </a:lnTo>
                  <a:lnTo>
                    <a:pt x="161" y="140"/>
                  </a:lnTo>
                  <a:lnTo>
                    <a:pt x="163" y="140"/>
                  </a:lnTo>
                  <a:lnTo>
                    <a:pt x="161" y="140"/>
                  </a:lnTo>
                  <a:lnTo>
                    <a:pt x="159" y="140"/>
                  </a:lnTo>
                  <a:lnTo>
                    <a:pt x="159" y="142"/>
                  </a:lnTo>
                  <a:lnTo>
                    <a:pt x="157" y="142"/>
                  </a:lnTo>
                  <a:lnTo>
                    <a:pt x="157" y="144"/>
                  </a:lnTo>
                  <a:lnTo>
                    <a:pt x="156" y="144"/>
                  </a:lnTo>
                  <a:lnTo>
                    <a:pt x="154" y="144"/>
                  </a:lnTo>
                  <a:lnTo>
                    <a:pt x="154" y="146"/>
                  </a:lnTo>
                  <a:lnTo>
                    <a:pt x="152" y="146"/>
                  </a:lnTo>
                  <a:lnTo>
                    <a:pt x="150" y="146"/>
                  </a:lnTo>
                  <a:lnTo>
                    <a:pt x="150" y="148"/>
                  </a:lnTo>
                  <a:lnTo>
                    <a:pt x="148" y="148"/>
                  </a:lnTo>
                  <a:lnTo>
                    <a:pt x="146" y="148"/>
                  </a:lnTo>
                  <a:lnTo>
                    <a:pt x="146" y="150"/>
                  </a:lnTo>
                  <a:lnTo>
                    <a:pt x="144" y="150"/>
                  </a:lnTo>
                  <a:lnTo>
                    <a:pt x="142" y="150"/>
                  </a:lnTo>
                  <a:lnTo>
                    <a:pt x="140" y="150"/>
                  </a:lnTo>
                  <a:lnTo>
                    <a:pt x="138" y="150"/>
                  </a:lnTo>
                  <a:lnTo>
                    <a:pt x="138" y="152"/>
                  </a:lnTo>
                  <a:lnTo>
                    <a:pt x="136" y="152"/>
                  </a:lnTo>
                  <a:lnTo>
                    <a:pt x="134" y="152"/>
                  </a:lnTo>
                  <a:lnTo>
                    <a:pt x="134" y="154"/>
                  </a:lnTo>
                  <a:lnTo>
                    <a:pt x="133" y="154"/>
                  </a:lnTo>
                  <a:lnTo>
                    <a:pt x="133" y="152"/>
                  </a:lnTo>
                  <a:lnTo>
                    <a:pt x="131" y="152"/>
                  </a:lnTo>
                  <a:lnTo>
                    <a:pt x="129" y="152"/>
                  </a:lnTo>
                  <a:lnTo>
                    <a:pt x="127" y="152"/>
                  </a:lnTo>
                  <a:lnTo>
                    <a:pt x="125" y="152"/>
                  </a:lnTo>
                  <a:lnTo>
                    <a:pt x="125" y="154"/>
                  </a:lnTo>
                  <a:lnTo>
                    <a:pt x="123" y="154"/>
                  </a:lnTo>
                  <a:lnTo>
                    <a:pt x="123" y="156"/>
                  </a:lnTo>
                  <a:lnTo>
                    <a:pt x="121" y="156"/>
                  </a:lnTo>
                  <a:lnTo>
                    <a:pt x="121" y="158"/>
                  </a:lnTo>
                  <a:lnTo>
                    <a:pt x="121" y="156"/>
                  </a:lnTo>
                  <a:lnTo>
                    <a:pt x="119" y="156"/>
                  </a:lnTo>
                  <a:lnTo>
                    <a:pt x="119" y="158"/>
                  </a:lnTo>
                  <a:lnTo>
                    <a:pt x="117" y="158"/>
                  </a:lnTo>
                  <a:lnTo>
                    <a:pt x="115" y="158"/>
                  </a:lnTo>
                  <a:lnTo>
                    <a:pt x="113" y="158"/>
                  </a:lnTo>
                  <a:lnTo>
                    <a:pt x="113" y="156"/>
                  </a:lnTo>
                  <a:lnTo>
                    <a:pt x="111" y="156"/>
                  </a:lnTo>
                  <a:lnTo>
                    <a:pt x="109" y="156"/>
                  </a:lnTo>
                  <a:lnTo>
                    <a:pt x="109" y="158"/>
                  </a:lnTo>
                  <a:lnTo>
                    <a:pt x="108" y="158"/>
                  </a:lnTo>
                  <a:lnTo>
                    <a:pt x="106" y="158"/>
                  </a:lnTo>
                  <a:lnTo>
                    <a:pt x="106" y="160"/>
                  </a:lnTo>
                  <a:lnTo>
                    <a:pt x="106" y="158"/>
                  </a:lnTo>
                  <a:lnTo>
                    <a:pt x="104" y="158"/>
                  </a:lnTo>
                  <a:lnTo>
                    <a:pt x="102" y="158"/>
                  </a:lnTo>
                  <a:lnTo>
                    <a:pt x="100" y="158"/>
                  </a:lnTo>
                  <a:lnTo>
                    <a:pt x="100" y="156"/>
                  </a:lnTo>
                  <a:lnTo>
                    <a:pt x="98" y="156"/>
                  </a:lnTo>
                  <a:lnTo>
                    <a:pt x="98" y="154"/>
                  </a:lnTo>
                  <a:lnTo>
                    <a:pt x="96" y="154"/>
                  </a:lnTo>
                  <a:lnTo>
                    <a:pt x="94" y="154"/>
                  </a:lnTo>
                  <a:lnTo>
                    <a:pt x="92" y="154"/>
                  </a:lnTo>
                  <a:lnTo>
                    <a:pt x="92" y="156"/>
                  </a:lnTo>
                  <a:lnTo>
                    <a:pt x="94" y="156"/>
                  </a:lnTo>
                  <a:lnTo>
                    <a:pt x="92" y="156"/>
                  </a:lnTo>
                  <a:lnTo>
                    <a:pt x="90" y="156"/>
                  </a:lnTo>
                  <a:lnTo>
                    <a:pt x="88" y="156"/>
                  </a:lnTo>
                  <a:lnTo>
                    <a:pt x="83" y="156"/>
                  </a:lnTo>
                  <a:lnTo>
                    <a:pt x="83" y="154"/>
                  </a:lnTo>
                  <a:lnTo>
                    <a:pt x="81" y="154"/>
                  </a:lnTo>
                  <a:lnTo>
                    <a:pt x="81" y="152"/>
                  </a:lnTo>
                  <a:lnTo>
                    <a:pt x="79" y="152"/>
                  </a:lnTo>
                  <a:lnTo>
                    <a:pt x="81" y="152"/>
                  </a:lnTo>
                  <a:lnTo>
                    <a:pt x="79" y="152"/>
                  </a:lnTo>
                  <a:lnTo>
                    <a:pt x="81" y="152"/>
                  </a:lnTo>
                  <a:lnTo>
                    <a:pt x="79" y="152"/>
                  </a:lnTo>
                  <a:lnTo>
                    <a:pt x="79" y="150"/>
                  </a:lnTo>
                  <a:lnTo>
                    <a:pt x="77" y="150"/>
                  </a:lnTo>
                  <a:lnTo>
                    <a:pt x="77" y="148"/>
                  </a:lnTo>
                  <a:lnTo>
                    <a:pt x="77" y="146"/>
                  </a:lnTo>
                  <a:lnTo>
                    <a:pt x="79" y="146"/>
                  </a:lnTo>
                  <a:lnTo>
                    <a:pt x="79" y="144"/>
                  </a:lnTo>
                  <a:lnTo>
                    <a:pt x="77" y="142"/>
                  </a:lnTo>
                  <a:lnTo>
                    <a:pt x="79" y="142"/>
                  </a:lnTo>
                  <a:lnTo>
                    <a:pt x="77" y="142"/>
                  </a:lnTo>
                  <a:lnTo>
                    <a:pt x="77" y="140"/>
                  </a:lnTo>
                  <a:lnTo>
                    <a:pt x="77" y="139"/>
                  </a:lnTo>
                  <a:lnTo>
                    <a:pt x="77" y="137"/>
                  </a:lnTo>
                  <a:lnTo>
                    <a:pt x="77" y="135"/>
                  </a:lnTo>
                  <a:lnTo>
                    <a:pt x="77" y="137"/>
                  </a:lnTo>
                  <a:lnTo>
                    <a:pt x="77" y="135"/>
                  </a:lnTo>
                  <a:lnTo>
                    <a:pt x="75" y="135"/>
                  </a:lnTo>
                  <a:lnTo>
                    <a:pt x="77" y="135"/>
                  </a:lnTo>
                  <a:lnTo>
                    <a:pt x="77" y="133"/>
                  </a:lnTo>
                  <a:lnTo>
                    <a:pt x="75" y="133"/>
                  </a:lnTo>
                  <a:lnTo>
                    <a:pt x="75" y="131"/>
                  </a:lnTo>
                  <a:lnTo>
                    <a:pt x="73" y="131"/>
                  </a:lnTo>
                  <a:lnTo>
                    <a:pt x="73" y="129"/>
                  </a:lnTo>
                  <a:lnTo>
                    <a:pt x="71" y="129"/>
                  </a:lnTo>
                  <a:lnTo>
                    <a:pt x="71" y="127"/>
                  </a:lnTo>
                  <a:lnTo>
                    <a:pt x="69" y="127"/>
                  </a:lnTo>
                  <a:lnTo>
                    <a:pt x="69" y="125"/>
                  </a:lnTo>
                  <a:lnTo>
                    <a:pt x="67" y="125"/>
                  </a:lnTo>
                  <a:lnTo>
                    <a:pt x="67" y="127"/>
                  </a:lnTo>
                  <a:lnTo>
                    <a:pt x="67" y="129"/>
                  </a:lnTo>
                  <a:lnTo>
                    <a:pt x="67" y="127"/>
                  </a:lnTo>
                  <a:lnTo>
                    <a:pt x="65" y="127"/>
                  </a:lnTo>
                  <a:lnTo>
                    <a:pt x="63" y="127"/>
                  </a:lnTo>
                  <a:lnTo>
                    <a:pt x="62" y="127"/>
                  </a:lnTo>
                  <a:lnTo>
                    <a:pt x="60" y="127"/>
                  </a:lnTo>
                  <a:lnTo>
                    <a:pt x="60" y="125"/>
                  </a:lnTo>
                  <a:lnTo>
                    <a:pt x="58" y="125"/>
                  </a:lnTo>
                  <a:lnTo>
                    <a:pt x="56" y="125"/>
                  </a:lnTo>
                  <a:lnTo>
                    <a:pt x="54" y="125"/>
                  </a:lnTo>
                  <a:lnTo>
                    <a:pt x="54" y="123"/>
                  </a:lnTo>
                  <a:lnTo>
                    <a:pt x="52" y="123"/>
                  </a:lnTo>
                  <a:lnTo>
                    <a:pt x="50" y="123"/>
                  </a:lnTo>
                  <a:lnTo>
                    <a:pt x="50" y="121"/>
                  </a:lnTo>
                  <a:lnTo>
                    <a:pt x="48" y="121"/>
                  </a:lnTo>
                  <a:lnTo>
                    <a:pt x="46" y="121"/>
                  </a:lnTo>
                  <a:lnTo>
                    <a:pt x="46" y="119"/>
                  </a:lnTo>
                  <a:lnTo>
                    <a:pt x="44" y="119"/>
                  </a:lnTo>
                  <a:lnTo>
                    <a:pt x="42" y="119"/>
                  </a:lnTo>
                  <a:lnTo>
                    <a:pt x="40" y="119"/>
                  </a:lnTo>
                  <a:lnTo>
                    <a:pt x="38" y="119"/>
                  </a:lnTo>
                  <a:lnTo>
                    <a:pt x="38" y="117"/>
                  </a:lnTo>
                  <a:lnTo>
                    <a:pt x="37" y="115"/>
                  </a:lnTo>
                  <a:lnTo>
                    <a:pt x="35" y="115"/>
                  </a:lnTo>
                  <a:lnTo>
                    <a:pt x="35" y="117"/>
                  </a:lnTo>
                  <a:lnTo>
                    <a:pt x="35" y="115"/>
                  </a:lnTo>
                  <a:lnTo>
                    <a:pt x="33" y="115"/>
                  </a:lnTo>
                  <a:lnTo>
                    <a:pt x="33" y="114"/>
                  </a:lnTo>
                  <a:lnTo>
                    <a:pt x="31" y="114"/>
                  </a:lnTo>
                  <a:lnTo>
                    <a:pt x="31" y="112"/>
                  </a:lnTo>
                  <a:lnTo>
                    <a:pt x="29" y="112"/>
                  </a:lnTo>
                  <a:lnTo>
                    <a:pt x="27" y="112"/>
                  </a:lnTo>
                  <a:lnTo>
                    <a:pt x="25" y="112"/>
                  </a:lnTo>
                  <a:lnTo>
                    <a:pt x="23" y="110"/>
                  </a:lnTo>
                  <a:lnTo>
                    <a:pt x="23" y="108"/>
                  </a:lnTo>
                  <a:lnTo>
                    <a:pt x="21" y="106"/>
                  </a:lnTo>
                  <a:lnTo>
                    <a:pt x="19" y="102"/>
                  </a:lnTo>
                  <a:lnTo>
                    <a:pt x="17" y="98"/>
                  </a:lnTo>
                  <a:lnTo>
                    <a:pt x="15" y="96"/>
                  </a:lnTo>
                  <a:lnTo>
                    <a:pt x="15" y="94"/>
                  </a:lnTo>
                  <a:lnTo>
                    <a:pt x="15" y="91"/>
                  </a:lnTo>
                  <a:lnTo>
                    <a:pt x="14" y="89"/>
                  </a:lnTo>
                  <a:lnTo>
                    <a:pt x="12" y="87"/>
                  </a:lnTo>
                  <a:lnTo>
                    <a:pt x="10" y="85"/>
                  </a:lnTo>
                  <a:lnTo>
                    <a:pt x="8" y="83"/>
                  </a:lnTo>
                  <a:lnTo>
                    <a:pt x="6" y="81"/>
                  </a:lnTo>
                  <a:lnTo>
                    <a:pt x="4" y="81"/>
                  </a:lnTo>
                  <a:lnTo>
                    <a:pt x="4" y="79"/>
                  </a:lnTo>
                  <a:lnTo>
                    <a:pt x="2" y="77"/>
                  </a:lnTo>
                  <a:lnTo>
                    <a:pt x="2" y="75"/>
                  </a:lnTo>
                  <a:lnTo>
                    <a:pt x="4" y="73"/>
                  </a:lnTo>
                  <a:lnTo>
                    <a:pt x="4" y="71"/>
                  </a:lnTo>
                  <a:lnTo>
                    <a:pt x="6" y="69"/>
                  </a:lnTo>
                  <a:lnTo>
                    <a:pt x="6" y="67"/>
                  </a:lnTo>
                  <a:lnTo>
                    <a:pt x="4" y="66"/>
                  </a:lnTo>
                  <a:lnTo>
                    <a:pt x="2" y="64"/>
                  </a:lnTo>
                  <a:lnTo>
                    <a:pt x="2" y="62"/>
                  </a:lnTo>
                  <a:lnTo>
                    <a:pt x="0" y="58"/>
                  </a:lnTo>
                  <a:lnTo>
                    <a:pt x="0" y="56"/>
                  </a:lnTo>
                  <a:lnTo>
                    <a:pt x="0" y="52"/>
                  </a:lnTo>
                  <a:lnTo>
                    <a:pt x="0" y="50"/>
                  </a:lnTo>
                  <a:lnTo>
                    <a:pt x="4" y="50"/>
                  </a:lnTo>
                  <a:lnTo>
                    <a:pt x="6" y="50"/>
                  </a:lnTo>
                  <a:lnTo>
                    <a:pt x="8" y="50"/>
                  </a:lnTo>
                  <a:lnTo>
                    <a:pt x="8" y="48"/>
                  </a:lnTo>
                  <a:lnTo>
                    <a:pt x="8" y="50"/>
                  </a:lnTo>
                  <a:lnTo>
                    <a:pt x="8" y="48"/>
                  </a:lnTo>
                  <a:lnTo>
                    <a:pt x="10" y="48"/>
                  </a:lnTo>
                  <a:lnTo>
                    <a:pt x="10" y="46"/>
                  </a:lnTo>
                  <a:lnTo>
                    <a:pt x="12" y="46"/>
                  </a:lnTo>
                  <a:lnTo>
                    <a:pt x="12" y="44"/>
                  </a:lnTo>
                  <a:lnTo>
                    <a:pt x="14" y="44"/>
                  </a:lnTo>
                  <a:lnTo>
                    <a:pt x="14" y="42"/>
                  </a:lnTo>
                  <a:lnTo>
                    <a:pt x="14" y="41"/>
                  </a:lnTo>
                  <a:lnTo>
                    <a:pt x="15" y="41"/>
                  </a:lnTo>
                  <a:lnTo>
                    <a:pt x="15" y="39"/>
                  </a:lnTo>
                  <a:lnTo>
                    <a:pt x="15" y="37"/>
                  </a:lnTo>
                  <a:lnTo>
                    <a:pt x="17" y="37"/>
                  </a:lnTo>
                  <a:lnTo>
                    <a:pt x="19" y="37"/>
                  </a:lnTo>
                  <a:lnTo>
                    <a:pt x="19" y="35"/>
                  </a:lnTo>
                  <a:lnTo>
                    <a:pt x="19" y="33"/>
                  </a:lnTo>
                  <a:lnTo>
                    <a:pt x="21" y="33"/>
                  </a:lnTo>
                  <a:lnTo>
                    <a:pt x="21" y="31"/>
                  </a:lnTo>
                  <a:lnTo>
                    <a:pt x="21" y="29"/>
                  </a:lnTo>
                  <a:lnTo>
                    <a:pt x="19" y="29"/>
                  </a:lnTo>
                  <a:lnTo>
                    <a:pt x="17" y="29"/>
                  </a:lnTo>
                  <a:lnTo>
                    <a:pt x="17" y="27"/>
                  </a:lnTo>
                  <a:lnTo>
                    <a:pt x="17" y="29"/>
                  </a:lnTo>
                  <a:lnTo>
                    <a:pt x="15" y="29"/>
                  </a:lnTo>
                  <a:lnTo>
                    <a:pt x="15" y="27"/>
                  </a:lnTo>
                  <a:lnTo>
                    <a:pt x="15" y="25"/>
                  </a:lnTo>
                  <a:lnTo>
                    <a:pt x="17" y="25"/>
                  </a:lnTo>
                  <a:lnTo>
                    <a:pt x="15" y="25"/>
                  </a:lnTo>
                  <a:lnTo>
                    <a:pt x="15" y="23"/>
                  </a:lnTo>
                  <a:lnTo>
                    <a:pt x="17" y="23"/>
                  </a:lnTo>
                  <a:lnTo>
                    <a:pt x="17" y="21"/>
                  </a:lnTo>
                  <a:lnTo>
                    <a:pt x="19" y="21"/>
                  </a:lnTo>
                  <a:lnTo>
                    <a:pt x="19" y="19"/>
                  </a:lnTo>
                  <a:lnTo>
                    <a:pt x="21" y="19"/>
                  </a:lnTo>
                  <a:lnTo>
                    <a:pt x="21" y="21"/>
                  </a:lnTo>
                  <a:lnTo>
                    <a:pt x="21" y="19"/>
                  </a:lnTo>
                  <a:lnTo>
                    <a:pt x="23" y="19"/>
                  </a:lnTo>
                  <a:lnTo>
                    <a:pt x="21" y="19"/>
                  </a:lnTo>
                  <a:lnTo>
                    <a:pt x="23" y="19"/>
                  </a:lnTo>
                  <a:lnTo>
                    <a:pt x="21" y="19"/>
                  </a:lnTo>
                  <a:lnTo>
                    <a:pt x="23" y="19"/>
                  </a:lnTo>
                  <a:lnTo>
                    <a:pt x="21" y="19"/>
                  </a:lnTo>
                  <a:lnTo>
                    <a:pt x="21" y="18"/>
                  </a:lnTo>
                  <a:lnTo>
                    <a:pt x="23" y="18"/>
                  </a:lnTo>
                  <a:lnTo>
                    <a:pt x="23" y="16"/>
                  </a:lnTo>
                  <a:lnTo>
                    <a:pt x="21" y="16"/>
                  </a:lnTo>
                  <a:lnTo>
                    <a:pt x="21" y="14"/>
                  </a:lnTo>
                  <a:lnTo>
                    <a:pt x="21" y="12"/>
                  </a:lnTo>
                  <a:lnTo>
                    <a:pt x="21" y="10"/>
                  </a:lnTo>
                  <a:lnTo>
                    <a:pt x="21" y="8"/>
                  </a:lnTo>
                  <a:lnTo>
                    <a:pt x="21" y="6"/>
                  </a:lnTo>
                  <a:lnTo>
                    <a:pt x="19" y="6"/>
                  </a:lnTo>
                  <a:lnTo>
                    <a:pt x="17" y="6"/>
                  </a:lnTo>
                  <a:lnTo>
                    <a:pt x="17" y="4"/>
                  </a:lnTo>
                  <a:lnTo>
                    <a:pt x="17" y="2"/>
                  </a:lnTo>
                  <a:lnTo>
                    <a:pt x="15" y="2"/>
                  </a:lnTo>
                  <a:lnTo>
                    <a:pt x="17" y="2"/>
                  </a:lnTo>
                  <a:lnTo>
                    <a:pt x="17" y="0"/>
                  </a:lnTo>
                  <a:lnTo>
                    <a:pt x="17" y="2"/>
                  </a:lnTo>
                  <a:lnTo>
                    <a:pt x="17" y="0"/>
                  </a:lnTo>
                  <a:lnTo>
                    <a:pt x="19" y="0"/>
                  </a:lnTo>
                  <a:lnTo>
                    <a:pt x="21" y="0"/>
                  </a:lnTo>
                  <a:lnTo>
                    <a:pt x="29" y="0"/>
                  </a:lnTo>
                  <a:lnTo>
                    <a:pt x="35" y="0"/>
                  </a:lnTo>
                  <a:lnTo>
                    <a:pt x="37" y="0"/>
                  </a:lnTo>
                  <a:lnTo>
                    <a:pt x="38" y="0"/>
                  </a:lnTo>
                  <a:lnTo>
                    <a:pt x="50" y="0"/>
                  </a:lnTo>
                  <a:lnTo>
                    <a:pt x="52" y="0"/>
                  </a:lnTo>
                  <a:lnTo>
                    <a:pt x="62" y="0"/>
                  </a:lnTo>
                  <a:lnTo>
                    <a:pt x="63" y="0"/>
                  </a:lnTo>
                  <a:lnTo>
                    <a:pt x="67" y="0"/>
                  </a:lnTo>
                  <a:close/>
                  <a:moveTo>
                    <a:pt x="146" y="69"/>
                  </a:moveTo>
                  <a:lnTo>
                    <a:pt x="146" y="71"/>
                  </a:lnTo>
                  <a:lnTo>
                    <a:pt x="146" y="73"/>
                  </a:lnTo>
                  <a:lnTo>
                    <a:pt x="148" y="73"/>
                  </a:lnTo>
                  <a:lnTo>
                    <a:pt x="148" y="75"/>
                  </a:lnTo>
                  <a:lnTo>
                    <a:pt x="148" y="77"/>
                  </a:lnTo>
                  <a:lnTo>
                    <a:pt x="148" y="75"/>
                  </a:lnTo>
                  <a:lnTo>
                    <a:pt x="148" y="77"/>
                  </a:lnTo>
                  <a:lnTo>
                    <a:pt x="148" y="75"/>
                  </a:lnTo>
                  <a:lnTo>
                    <a:pt x="150" y="75"/>
                  </a:lnTo>
                  <a:lnTo>
                    <a:pt x="150" y="77"/>
                  </a:lnTo>
                  <a:lnTo>
                    <a:pt x="150" y="79"/>
                  </a:lnTo>
                  <a:lnTo>
                    <a:pt x="150" y="81"/>
                  </a:lnTo>
                  <a:lnTo>
                    <a:pt x="148" y="81"/>
                  </a:lnTo>
                  <a:lnTo>
                    <a:pt x="148" y="79"/>
                  </a:lnTo>
                  <a:lnTo>
                    <a:pt x="148" y="77"/>
                  </a:lnTo>
                  <a:lnTo>
                    <a:pt x="148" y="79"/>
                  </a:lnTo>
                  <a:lnTo>
                    <a:pt x="146" y="79"/>
                  </a:lnTo>
                  <a:lnTo>
                    <a:pt x="146" y="77"/>
                  </a:lnTo>
                  <a:lnTo>
                    <a:pt x="146" y="79"/>
                  </a:lnTo>
                  <a:lnTo>
                    <a:pt x="146" y="77"/>
                  </a:lnTo>
                  <a:lnTo>
                    <a:pt x="146" y="79"/>
                  </a:lnTo>
                  <a:lnTo>
                    <a:pt x="146" y="77"/>
                  </a:lnTo>
                  <a:lnTo>
                    <a:pt x="144" y="77"/>
                  </a:lnTo>
                  <a:lnTo>
                    <a:pt x="144" y="75"/>
                  </a:lnTo>
                  <a:lnTo>
                    <a:pt x="144" y="73"/>
                  </a:lnTo>
                  <a:lnTo>
                    <a:pt x="144" y="71"/>
                  </a:lnTo>
                  <a:lnTo>
                    <a:pt x="144" y="73"/>
                  </a:lnTo>
                  <a:lnTo>
                    <a:pt x="144" y="71"/>
                  </a:lnTo>
                  <a:lnTo>
                    <a:pt x="144" y="73"/>
                  </a:lnTo>
                  <a:lnTo>
                    <a:pt x="144" y="71"/>
                  </a:lnTo>
                  <a:lnTo>
                    <a:pt x="146" y="71"/>
                  </a:lnTo>
                  <a:lnTo>
                    <a:pt x="146" y="69"/>
                  </a:lnTo>
                  <a:close/>
                  <a:moveTo>
                    <a:pt x="152" y="56"/>
                  </a:moveTo>
                  <a:lnTo>
                    <a:pt x="152" y="58"/>
                  </a:lnTo>
                  <a:lnTo>
                    <a:pt x="154" y="58"/>
                  </a:lnTo>
                  <a:lnTo>
                    <a:pt x="154" y="60"/>
                  </a:lnTo>
                  <a:lnTo>
                    <a:pt x="154" y="62"/>
                  </a:lnTo>
                  <a:lnTo>
                    <a:pt x="154" y="60"/>
                  </a:lnTo>
                  <a:lnTo>
                    <a:pt x="154" y="62"/>
                  </a:lnTo>
                  <a:lnTo>
                    <a:pt x="154" y="64"/>
                  </a:lnTo>
                  <a:lnTo>
                    <a:pt x="154" y="66"/>
                  </a:lnTo>
                  <a:lnTo>
                    <a:pt x="152" y="66"/>
                  </a:lnTo>
                  <a:lnTo>
                    <a:pt x="150" y="66"/>
                  </a:lnTo>
                  <a:lnTo>
                    <a:pt x="150" y="64"/>
                  </a:lnTo>
                  <a:lnTo>
                    <a:pt x="152" y="64"/>
                  </a:lnTo>
                  <a:lnTo>
                    <a:pt x="150" y="64"/>
                  </a:lnTo>
                  <a:lnTo>
                    <a:pt x="152" y="64"/>
                  </a:lnTo>
                  <a:lnTo>
                    <a:pt x="152" y="62"/>
                  </a:lnTo>
                  <a:lnTo>
                    <a:pt x="150" y="62"/>
                  </a:lnTo>
                  <a:lnTo>
                    <a:pt x="152" y="62"/>
                  </a:lnTo>
                  <a:lnTo>
                    <a:pt x="152" y="60"/>
                  </a:lnTo>
                  <a:lnTo>
                    <a:pt x="152" y="58"/>
                  </a:lnTo>
                  <a:lnTo>
                    <a:pt x="152" y="56"/>
                  </a:lnTo>
                  <a:close/>
                  <a:moveTo>
                    <a:pt x="154" y="98"/>
                  </a:moveTo>
                  <a:lnTo>
                    <a:pt x="156" y="98"/>
                  </a:lnTo>
                  <a:lnTo>
                    <a:pt x="154" y="98"/>
                  </a:lnTo>
                  <a:lnTo>
                    <a:pt x="156" y="98"/>
                  </a:lnTo>
                  <a:lnTo>
                    <a:pt x="154" y="98"/>
                  </a:lnTo>
                  <a:lnTo>
                    <a:pt x="154" y="100"/>
                  </a:lnTo>
                  <a:lnTo>
                    <a:pt x="154" y="102"/>
                  </a:lnTo>
                  <a:lnTo>
                    <a:pt x="152" y="102"/>
                  </a:lnTo>
                  <a:lnTo>
                    <a:pt x="150" y="102"/>
                  </a:lnTo>
                  <a:lnTo>
                    <a:pt x="152" y="102"/>
                  </a:lnTo>
                  <a:lnTo>
                    <a:pt x="152" y="100"/>
                  </a:lnTo>
                  <a:lnTo>
                    <a:pt x="154" y="100"/>
                  </a:lnTo>
                  <a:lnTo>
                    <a:pt x="152" y="100"/>
                  </a:lnTo>
                  <a:lnTo>
                    <a:pt x="154" y="100"/>
                  </a:lnTo>
                  <a:lnTo>
                    <a:pt x="154" y="98"/>
                  </a:lnTo>
                  <a:close/>
                  <a:moveTo>
                    <a:pt x="150" y="66"/>
                  </a:moveTo>
                  <a:lnTo>
                    <a:pt x="152" y="66"/>
                  </a:lnTo>
                  <a:lnTo>
                    <a:pt x="150" y="66"/>
                  </a:lnTo>
                  <a:close/>
                  <a:moveTo>
                    <a:pt x="152" y="102"/>
                  </a:moveTo>
                  <a:lnTo>
                    <a:pt x="154" y="102"/>
                  </a:lnTo>
                  <a:lnTo>
                    <a:pt x="154" y="104"/>
                  </a:lnTo>
                  <a:lnTo>
                    <a:pt x="152" y="104"/>
                  </a:lnTo>
                  <a:lnTo>
                    <a:pt x="152" y="102"/>
                  </a:lnTo>
                  <a:close/>
                  <a:moveTo>
                    <a:pt x="148" y="117"/>
                  </a:moveTo>
                  <a:lnTo>
                    <a:pt x="150" y="117"/>
                  </a:lnTo>
                  <a:lnTo>
                    <a:pt x="148" y="117"/>
                  </a:lnTo>
                  <a:close/>
                  <a:moveTo>
                    <a:pt x="144" y="69"/>
                  </a:moveTo>
                  <a:lnTo>
                    <a:pt x="144" y="71"/>
                  </a:lnTo>
                  <a:lnTo>
                    <a:pt x="144" y="69"/>
                  </a:lnTo>
                  <a:close/>
                  <a:moveTo>
                    <a:pt x="150" y="60"/>
                  </a:moveTo>
                  <a:lnTo>
                    <a:pt x="152" y="60"/>
                  </a:lnTo>
                  <a:lnTo>
                    <a:pt x="150" y="60"/>
                  </a:lnTo>
                  <a:close/>
                  <a:moveTo>
                    <a:pt x="148" y="115"/>
                  </a:moveTo>
                  <a:lnTo>
                    <a:pt x="148" y="117"/>
                  </a:lnTo>
                  <a:lnTo>
                    <a:pt x="148" y="115"/>
                  </a:lnTo>
                  <a:close/>
                  <a:moveTo>
                    <a:pt x="148" y="110"/>
                  </a:moveTo>
                  <a:lnTo>
                    <a:pt x="150" y="110"/>
                  </a:lnTo>
                  <a:lnTo>
                    <a:pt x="150" y="112"/>
                  </a:lnTo>
                  <a:lnTo>
                    <a:pt x="148" y="112"/>
                  </a:lnTo>
                  <a:lnTo>
                    <a:pt x="148" y="110"/>
                  </a:lnTo>
                  <a:close/>
                  <a:moveTo>
                    <a:pt x="152" y="58"/>
                  </a:moveTo>
                  <a:lnTo>
                    <a:pt x="152" y="60"/>
                  </a:lnTo>
                  <a:lnTo>
                    <a:pt x="152" y="58"/>
                  </a:lnTo>
                  <a:close/>
                  <a:moveTo>
                    <a:pt x="150" y="60"/>
                  </a:moveTo>
                  <a:lnTo>
                    <a:pt x="152" y="60"/>
                  </a:lnTo>
                  <a:lnTo>
                    <a:pt x="150" y="60"/>
                  </a:lnTo>
                  <a:close/>
                  <a:moveTo>
                    <a:pt x="152" y="60"/>
                  </a:moveTo>
                  <a:lnTo>
                    <a:pt x="152" y="62"/>
                  </a:lnTo>
                  <a:lnTo>
                    <a:pt x="152" y="60"/>
                  </a:lnTo>
                  <a:close/>
                  <a:moveTo>
                    <a:pt x="150" y="60"/>
                  </a:moveTo>
                  <a:lnTo>
                    <a:pt x="152" y="60"/>
                  </a:lnTo>
                  <a:lnTo>
                    <a:pt x="152" y="62"/>
                  </a:lnTo>
                  <a:lnTo>
                    <a:pt x="150" y="62"/>
                  </a:lnTo>
                  <a:lnTo>
                    <a:pt x="150" y="60"/>
                  </a:lnTo>
                  <a:close/>
                  <a:moveTo>
                    <a:pt x="144" y="71"/>
                  </a:moveTo>
                  <a:lnTo>
                    <a:pt x="146" y="71"/>
                  </a:lnTo>
                  <a:lnTo>
                    <a:pt x="144" y="71"/>
                  </a:lnTo>
                  <a:close/>
                  <a:moveTo>
                    <a:pt x="146" y="83"/>
                  </a:moveTo>
                  <a:lnTo>
                    <a:pt x="146" y="85"/>
                  </a:lnTo>
                  <a:lnTo>
                    <a:pt x="146" y="83"/>
                  </a:lnTo>
                  <a:close/>
                  <a:moveTo>
                    <a:pt x="148" y="102"/>
                  </a:moveTo>
                  <a:lnTo>
                    <a:pt x="150" y="102"/>
                  </a:lnTo>
                  <a:lnTo>
                    <a:pt x="148" y="102"/>
                  </a:lnTo>
                  <a:close/>
                  <a:moveTo>
                    <a:pt x="144" y="83"/>
                  </a:moveTo>
                  <a:lnTo>
                    <a:pt x="146" y="83"/>
                  </a:lnTo>
                  <a:lnTo>
                    <a:pt x="144" y="83"/>
                  </a:lnTo>
                  <a:close/>
                  <a:moveTo>
                    <a:pt x="152" y="60"/>
                  </a:moveTo>
                  <a:lnTo>
                    <a:pt x="152" y="62"/>
                  </a:lnTo>
                  <a:lnTo>
                    <a:pt x="152" y="60"/>
                  </a:lnTo>
                  <a:close/>
                  <a:moveTo>
                    <a:pt x="148" y="119"/>
                  </a:moveTo>
                  <a:lnTo>
                    <a:pt x="150" y="119"/>
                  </a:lnTo>
                  <a:lnTo>
                    <a:pt x="148" y="11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9" name="Freeform 448">
              <a:extLst>
                <a:ext uri="{FF2B5EF4-FFF2-40B4-BE49-F238E27FC236}">
                  <a16:creationId xmlns:a16="http://schemas.microsoft.com/office/drawing/2014/main" id="{F6B382D2-9420-4D57-8954-B241D6129D35}"/>
                </a:ext>
              </a:extLst>
            </p:cNvPr>
            <p:cNvSpPr>
              <a:spLocks/>
            </p:cNvSpPr>
            <p:nvPr/>
          </p:nvSpPr>
          <p:spPr bwMode="gray">
            <a:xfrm>
              <a:off x="3728246" y="4408237"/>
              <a:ext cx="33113" cy="38018"/>
            </a:xfrm>
            <a:custGeom>
              <a:avLst/>
              <a:gdLst>
                <a:gd name="T0" fmla="*/ 23 w 27"/>
                <a:gd name="T1" fmla="*/ 4 h 31"/>
                <a:gd name="T2" fmla="*/ 21 w 27"/>
                <a:gd name="T3" fmla="*/ 6 h 31"/>
                <a:gd name="T4" fmla="*/ 21 w 27"/>
                <a:gd name="T5" fmla="*/ 6 h 31"/>
                <a:gd name="T6" fmla="*/ 21 w 27"/>
                <a:gd name="T7" fmla="*/ 10 h 31"/>
                <a:gd name="T8" fmla="*/ 23 w 27"/>
                <a:gd name="T9" fmla="*/ 8 h 31"/>
                <a:gd name="T10" fmla="*/ 25 w 27"/>
                <a:gd name="T11" fmla="*/ 10 h 31"/>
                <a:gd name="T12" fmla="*/ 27 w 27"/>
                <a:gd name="T13" fmla="*/ 12 h 31"/>
                <a:gd name="T14" fmla="*/ 25 w 27"/>
                <a:gd name="T15" fmla="*/ 14 h 31"/>
                <a:gd name="T16" fmla="*/ 25 w 27"/>
                <a:gd name="T17" fmla="*/ 18 h 31"/>
                <a:gd name="T18" fmla="*/ 21 w 27"/>
                <a:gd name="T19" fmla="*/ 18 h 31"/>
                <a:gd name="T20" fmla="*/ 21 w 27"/>
                <a:gd name="T21" fmla="*/ 22 h 31"/>
                <a:gd name="T22" fmla="*/ 20 w 27"/>
                <a:gd name="T23" fmla="*/ 23 h 31"/>
                <a:gd name="T24" fmla="*/ 18 w 27"/>
                <a:gd name="T25" fmla="*/ 25 h 31"/>
                <a:gd name="T26" fmla="*/ 16 w 27"/>
                <a:gd name="T27" fmla="*/ 27 h 31"/>
                <a:gd name="T28" fmla="*/ 14 w 27"/>
                <a:gd name="T29" fmla="*/ 29 h 31"/>
                <a:gd name="T30" fmla="*/ 14 w 27"/>
                <a:gd name="T31" fmla="*/ 29 h 31"/>
                <a:gd name="T32" fmla="*/ 12 w 27"/>
                <a:gd name="T33" fmla="*/ 31 h 31"/>
                <a:gd name="T34" fmla="*/ 6 w 27"/>
                <a:gd name="T35" fmla="*/ 31 h 31"/>
                <a:gd name="T36" fmla="*/ 6 w 27"/>
                <a:gd name="T37" fmla="*/ 27 h 31"/>
                <a:gd name="T38" fmla="*/ 6 w 27"/>
                <a:gd name="T39" fmla="*/ 23 h 31"/>
                <a:gd name="T40" fmla="*/ 4 w 27"/>
                <a:gd name="T41" fmla="*/ 20 h 31"/>
                <a:gd name="T42" fmla="*/ 4 w 27"/>
                <a:gd name="T43" fmla="*/ 16 h 31"/>
                <a:gd name="T44" fmla="*/ 4 w 27"/>
                <a:gd name="T45" fmla="*/ 16 h 31"/>
                <a:gd name="T46" fmla="*/ 4 w 27"/>
                <a:gd name="T47" fmla="*/ 12 h 31"/>
                <a:gd name="T48" fmla="*/ 2 w 27"/>
                <a:gd name="T49" fmla="*/ 10 h 31"/>
                <a:gd name="T50" fmla="*/ 0 w 27"/>
                <a:gd name="T51" fmla="*/ 8 h 31"/>
                <a:gd name="T52" fmla="*/ 2 w 27"/>
                <a:gd name="T53" fmla="*/ 6 h 31"/>
                <a:gd name="T54" fmla="*/ 4 w 27"/>
                <a:gd name="T55" fmla="*/ 4 h 31"/>
                <a:gd name="T56" fmla="*/ 6 w 27"/>
                <a:gd name="T57" fmla="*/ 6 h 31"/>
                <a:gd name="T58" fmla="*/ 8 w 27"/>
                <a:gd name="T59" fmla="*/ 8 h 31"/>
                <a:gd name="T60" fmla="*/ 12 w 27"/>
                <a:gd name="T61" fmla="*/ 8 h 31"/>
                <a:gd name="T62" fmla="*/ 14 w 27"/>
                <a:gd name="T63" fmla="*/ 6 h 31"/>
                <a:gd name="T64" fmla="*/ 14 w 27"/>
                <a:gd name="T65" fmla="*/ 6 h 31"/>
                <a:gd name="T66" fmla="*/ 14 w 27"/>
                <a:gd name="T67" fmla="*/ 4 h 31"/>
                <a:gd name="T68" fmla="*/ 16 w 27"/>
                <a:gd name="T69" fmla="*/ 2 h 31"/>
                <a:gd name="T70" fmla="*/ 16 w 27"/>
                <a:gd name="T71" fmla="*/ 2 h 31"/>
                <a:gd name="T72" fmla="*/ 20 w 27"/>
                <a:gd name="T73" fmla="*/ 2 h 31"/>
                <a:gd name="T74" fmla="*/ 21 w 27"/>
                <a:gd name="T75" fmla="*/ 0 h 31"/>
                <a:gd name="T76" fmla="*/ 23 w 27"/>
                <a:gd name="T77"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 h="31">
                  <a:moveTo>
                    <a:pt x="23" y="2"/>
                  </a:moveTo>
                  <a:lnTo>
                    <a:pt x="23" y="4"/>
                  </a:lnTo>
                  <a:lnTo>
                    <a:pt x="21" y="4"/>
                  </a:lnTo>
                  <a:lnTo>
                    <a:pt x="21" y="6"/>
                  </a:lnTo>
                  <a:lnTo>
                    <a:pt x="23" y="6"/>
                  </a:lnTo>
                  <a:lnTo>
                    <a:pt x="21" y="6"/>
                  </a:lnTo>
                  <a:lnTo>
                    <a:pt x="21" y="8"/>
                  </a:lnTo>
                  <a:lnTo>
                    <a:pt x="21" y="10"/>
                  </a:lnTo>
                  <a:lnTo>
                    <a:pt x="23" y="10"/>
                  </a:lnTo>
                  <a:lnTo>
                    <a:pt x="23" y="8"/>
                  </a:lnTo>
                  <a:lnTo>
                    <a:pt x="23" y="10"/>
                  </a:lnTo>
                  <a:lnTo>
                    <a:pt x="25" y="10"/>
                  </a:lnTo>
                  <a:lnTo>
                    <a:pt x="27" y="10"/>
                  </a:lnTo>
                  <a:lnTo>
                    <a:pt x="27" y="12"/>
                  </a:lnTo>
                  <a:lnTo>
                    <a:pt x="27" y="14"/>
                  </a:lnTo>
                  <a:lnTo>
                    <a:pt x="25" y="14"/>
                  </a:lnTo>
                  <a:lnTo>
                    <a:pt x="25" y="16"/>
                  </a:lnTo>
                  <a:lnTo>
                    <a:pt x="25" y="18"/>
                  </a:lnTo>
                  <a:lnTo>
                    <a:pt x="23" y="18"/>
                  </a:lnTo>
                  <a:lnTo>
                    <a:pt x="21" y="18"/>
                  </a:lnTo>
                  <a:lnTo>
                    <a:pt x="21" y="20"/>
                  </a:lnTo>
                  <a:lnTo>
                    <a:pt x="21" y="22"/>
                  </a:lnTo>
                  <a:lnTo>
                    <a:pt x="20" y="22"/>
                  </a:lnTo>
                  <a:lnTo>
                    <a:pt x="20" y="23"/>
                  </a:lnTo>
                  <a:lnTo>
                    <a:pt x="20" y="25"/>
                  </a:lnTo>
                  <a:lnTo>
                    <a:pt x="18" y="25"/>
                  </a:lnTo>
                  <a:lnTo>
                    <a:pt x="18" y="27"/>
                  </a:lnTo>
                  <a:lnTo>
                    <a:pt x="16" y="27"/>
                  </a:lnTo>
                  <a:lnTo>
                    <a:pt x="16" y="29"/>
                  </a:lnTo>
                  <a:lnTo>
                    <a:pt x="14" y="29"/>
                  </a:lnTo>
                  <a:lnTo>
                    <a:pt x="14" y="31"/>
                  </a:lnTo>
                  <a:lnTo>
                    <a:pt x="14" y="29"/>
                  </a:lnTo>
                  <a:lnTo>
                    <a:pt x="14" y="31"/>
                  </a:lnTo>
                  <a:lnTo>
                    <a:pt x="12" y="31"/>
                  </a:lnTo>
                  <a:lnTo>
                    <a:pt x="10" y="31"/>
                  </a:lnTo>
                  <a:lnTo>
                    <a:pt x="6" y="31"/>
                  </a:lnTo>
                  <a:lnTo>
                    <a:pt x="6" y="29"/>
                  </a:lnTo>
                  <a:lnTo>
                    <a:pt x="6" y="27"/>
                  </a:lnTo>
                  <a:lnTo>
                    <a:pt x="6" y="25"/>
                  </a:lnTo>
                  <a:lnTo>
                    <a:pt x="6" y="23"/>
                  </a:lnTo>
                  <a:lnTo>
                    <a:pt x="4" y="22"/>
                  </a:lnTo>
                  <a:lnTo>
                    <a:pt x="4" y="20"/>
                  </a:lnTo>
                  <a:lnTo>
                    <a:pt x="4" y="18"/>
                  </a:lnTo>
                  <a:lnTo>
                    <a:pt x="4" y="16"/>
                  </a:lnTo>
                  <a:lnTo>
                    <a:pt x="6" y="16"/>
                  </a:lnTo>
                  <a:lnTo>
                    <a:pt x="4" y="16"/>
                  </a:lnTo>
                  <a:lnTo>
                    <a:pt x="4" y="14"/>
                  </a:lnTo>
                  <a:lnTo>
                    <a:pt x="4" y="12"/>
                  </a:lnTo>
                  <a:lnTo>
                    <a:pt x="4" y="10"/>
                  </a:lnTo>
                  <a:lnTo>
                    <a:pt x="2" y="10"/>
                  </a:lnTo>
                  <a:lnTo>
                    <a:pt x="2" y="8"/>
                  </a:lnTo>
                  <a:lnTo>
                    <a:pt x="0" y="8"/>
                  </a:lnTo>
                  <a:lnTo>
                    <a:pt x="0" y="6"/>
                  </a:lnTo>
                  <a:lnTo>
                    <a:pt x="2" y="6"/>
                  </a:lnTo>
                  <a:lnTo>
                    <a:pt x="2" y="4"/>
                  </a:lnTo>
                  <a:lnTo>
                    <a:pt x="4" y="4"/>
                  </a:lnTo>
                  <a:lnTo>
                    <a:pt x="6" y="4"/>
                  </a:lnTo>
                  <a:lnTo>
                    <a:pt x="6" y="6"/>
                  </a:lnTo>
                  <a:lnTo>
                    <a:pt x="6" y="8"/>
                  </a:lnTo>
                  <a:lnTo>
                    <a:pt x="8" y="8"/>
                  </a:lnTo>
                  <a:lnTo>
                    <a:pt x="10" y="8"/>
                  </a:lnTo>
                  <a:lnTo>
                    <a:pt x="12" y="8"/>
                  </a:lnTo>
                  <a:lnTo>
                    <a:pt x="12" y="6"/>
                  </a:lnTo>
                  <a:lnTo>
                    <a:pt x="14" y="6"/>
                  </a:lnTo>
                  <a:lnTo>
                    <a:pt x="14" y="8"/>
                  </a:lnTo>
                  <a:lnTo>
                    <a:pt x="14" y="6"/>
                  </a:lnTo>
                  <a:lnTo>
                    <a:pt x="16" y="4"/>
                  </a:lnTo>
                  <a:lnTo>
                    <a:pt x="14" y="4"/>
                  </a:lnTo>
                  <a:lnTo>
                    <a:pt x="16" y="4"/>
                  </a:lnTo>
                  <a:lnTo>
                    <a:pt x="16" y="2"/>
                  </a:lnTo>
                  <a:lnTo>
                    <a:pt x="16" y="0"/>
                  </a:lnTo>
                  <a:lnTo>
                    <a:pt x="16" y="2"/>
                  </a:lnTo>
                  <a:lnTo>
                    <a:pt x="18" y="2"/>
                  </a:lnTo>
                  <a:lnTo>
                    <a:pt x="20" y="2"/>
                  </a:lnTo>
                  <a:lnTo>
                    <a:pt x="20" y="0"/>
                  </a:lnTo>
                  <a:lnTo>
                    <a:pt x="21" y="0"/>
                  </a:lnTo>
                  <a:lnTo>
                    <a:pt x="23" y="0"/>
                  </a:lnTo>
                  <a:lnTo>
                    <a:pt x="23" y="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0" name="Freeform 449">
              <a:extLst>
                <a:ext uri="{FF2B5EF4-FFF2-40B4-BE49-F238E27FC236}">
                  <a16:creationId xmlns:a16="http://schemas.microsoft.com/office/drawing/2014/main" id="{DE725275-A16A-4021-8B7E-1B5AEC9E4D8D}"/>
                </a:ext>
              </a:extLst>
            </p:cNvPr>
            <p:cNvSpPr>
              <a:spLocks/>
            </p:cNvSpPr>
            <p:nvPr/>
          </p:nvSpPr>
          <p:spPr bwMode="gray">
            <a:xfrm>
              <a:off x="3725793" y="4384936"/>
              <a:ext cx="38018" cy="33113"/>
            </a:xfrm>
            <a:custGeom>
              <a:avLst/>
              <a:gdLst>
                <a:gd name="T0" fmla="*/ 25 w 31"/>
                <a:gd name="T1" fmla="*/ 19 h 27"/>
                <a:gd name="T2" fmla="*/ 22 w 31"/>
                <a:gd name="T3" fmla="*/ 19 h 27"/>
                <a:gd name="T4" fmla="*/ 20 w 31"/>
                <a:gd name="T5" fmla="*/ 21 h 27"/>
                <a:gd name="T6" fmla="*/ 18 w 31"/>
                <a:gd name="T7" fmla="*/ 19 h 27"/>
                <a:gd name="T8" fmla="*/ 18 w 31"/>
                <a:gd name="T9" fmla="*/ 23 h 27"/>
                <a:gd name="T10" fmla="*/ 18 w 31"/>
                <a:gd name="T11" fmla="*/ 23 h 27"/>
                <a:gd name="T12" fmla="*/ 16 w 31"/>
                <a:gd name="T13" fmla="*/ 27 h 27"/>
                <a:gd name="T14" fmla="*/ 14 w 31"/>
                <a:gd name="T15" fmla="*/ 25 h 27"/>
                <a:gd name="T16" fmla="*/ 12 w 31"/>
                <a:gd name="T17" fmla="*/ 27 h 27"/>
                <a:gd name="T18" fmla="*/ 8 w 31"/>
                <a:gd name="T19" fmla="*/ 27 h 27"/>
                <a:gd name="T20" fmla="*/ 8 w 31"/>
                <a:gd name="T21" fmla="*/ 23 h 27"/>
                <a:gd name="T22" fmla="*/ 4 w 31"/>
                <a:gd name="T23" fmla="*/ 23 h 27"/>
                <a:gd name="T24" fmla="*/ 2 w 31"/>
                <a:gd name="T25" fmla="*/ 25 h 27"/>
                <a:gd name="T26" fmla="*/ 0 w 31"/>
                <a:gd name="T27" fmla="*/ 23 h 27"/>
                <a:gd name="T28" fmla="*/ 2 w 31"/>
                <a:gd name="T29" fmla="*/ 21 h 27"/>
                <a:gd name="T30" fmla="*/ 0 w 31"/>
                <a:gd name="T31" fmla="*/ 19 h 27"/>
                <a:gd name="T32" fmla="*/ 4 w 31"/>
                <a:gd name="T33" fmla="*/ 19 h 27"/>
                <a:gd name="T34" fmla="*/ 6 w 31"/>
                <a:gd name="T35" fmla="*/ 18 h 27"/>
                <a:gd name="T36" fmla="*/ 6 w 31"/>
                <a:gd name="T37" fmla="*/ 14 h 27"/>
                <a:gd name="T38" fmla="*/ 6 w 31"/>
                <a:gd name="T39" fmla="*/ 10 h 27"/>
                <a:gd name="T40" fmla="*/ 8 w 31"/>
                <a:gd name="T41" fmla="*/ 8 h 27"/>
                <a:gd name="T42" fmla="*/ 10 w 31"/>
                <a:gd name="T43" fmla="*/ 6 h 27"/>
                <a:gd name="T44" fmla="*/ 14 w 31"/>
                <a:gd name="T45" fmla="*/ 6 h 27"/>
                <a:gd name="T46" fmla="*/ 16 w 31"/>
                <a:gd name="T47" fmla="*/ 4 h 27"/>
                <a:gd name="T48" fmla="*/ 16 w 31"/>
                <a:gd name="T49" fmla="*/ 8 h 27"/>
                <a:gd name="T50" fmla="*/ 18 w 31"/>
                <a:gd name="T51" fmla="*/ 6 h 27"/>
                <a:gd name="T52" fmla="*/ 20 w 31"/>
                <a:gd name="T53" fmla="*/ 4 h 27"/>
                <a:gd name="T54" fmla="*/ 22 w 31"/>
                <a:gd name="T55" fmla="*/ 2 h 27"/>
                <a:gd name="T56" fmla="*/ 23 w 31"/>
                <a:gd name="T57" fmla="*/ 0 h 27"/>
                <a:gd name="T58" fmla="*/ 25 w 31"/>
                <a:gd name="T59" fmla="*/ 2 h 27"/>
                <a:gd name="T60" fmla="*/ 25 w 31"/>
                <a:gd name="T61" fmla="*/ 2 h 27"/>
                <a:gd name="T62" fmla="*/ 25 w 31"/>
                <a:gd name="T63" fmla="*/ 6 h 27"/>
                <a:gd name="T64" fmla="*/ 29 w 31"/>
                <a:gd name="T65" fmla="*/ 6 h 27"/>
                <a:gd name="T66" fmla="*/ 29 w 31"/>
                <a:gd name="T67" fmla="*/ 10 h 27"/>
                <a:gd name="T68" fmla="*/ 29 w 31"/>
                <a:gd name="T69" fmla="*/ 14 h 27"/>
                <a:gd name="T70" fmla="*/ 31 w 31"/>
                <a:gd name="T71" fmla="*/ 16 h 27"/>
                <a:gd name="T72" fmla="*/ 29 w 31"/>
                <a:gd name="T73" fmla="*/ 18 h 27"/>
                <a:gd name="T74" fmla="*/ 31 w 31"/>
                <a:gd name="T75" fmla="*/ 19 h 27"/>
                <a:gd name="T76" fmla="*/ 31 w 31"/>
                <a:gd name="T77" fmla="*/ 19 h 27"/>
                <a:gd name="T78" fmla="*/ 31 w 31"/>
                <a:gd name="T79" fmla="*/ 19 h 27"/>
                <a:gd name="T80" fmla="*/ 29 w 31"/>
                <a:gd name="T81" fmla="*/ 21 h 27"/>
                <a:gd name="T82" fmla="*/ 27 w 31"/>
                <a:gd name="T83" fmla="*/ 19 h 27"/>
                <a:gd name="T84" fmla="*/ 25 w 31"/>
                <a:gd name="T8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 h="27">
                  <a:moveTo>
                    <a:pt x="25" y="21"/>
                  </a:moveTo>
                  <a:lnTo>
                    <a:pt x="25" y="19"/>
                  </a:lnTo>
                  <a:lnTo>
                    <a:pt x="23" y="19"/>
                  </a:lnTo>
                  <a:lnTo>
                    <a:pt x="22" y="19"/>
                  </a:lnTo>
                  <a:lnTo>
                    <a:pt x="22" y="21"/>
                  </a:lnTo>
                  <a:lnTo>
                    <a:pt x="20" y="21"/>
                  </a:lnTo>
                  <a:lnTo>
                    <a:pt x="18" y="21"/>
                  </a:lnTo>
                  <a:lnTo>
                    <a:pt x="18" y="19"/>
                  </a:lnTo>
                  <a:lnTo>
                    <a:pt x="18" y="21"/>
                  </a:lnTo>
                  <a:lnTo>
                    <a:pt x="18" y="23"/>
                  </a:lnTo>
                  <a:lnTo>
                    <a:pt x="16" y="23"/>
                  </a:lnTo>
                  <a:lnTo>
                    <a:pt x="18" y="23"/>
                  </a:lnTo>
                  <a:lnTo>
                    <a:pt x="16" y="25"/>
                  </a:lnTo>
                  <a:lnTo>
                    <a:pt x="16" y="27"/>
                  </a:lnTo>
                  <a:lnTo>
                    <a:pt x="16" y="25"/>
                  </a:lnTo>
                  <a:lnTo>
                    <a:pt x="14" y="25"/>
                  </a:lnTo>
                  <a:lnTo>
                    <a:pt x="14" y="27"/>
                  </a:lnTo>
                  <a:lnTo>
                    <a:pt x="12" y="27"/>
                  </a:lnTo>
                  <a:lnTo>
                    <a:pt x="10" y="27"/>
                  </a:lnTo>
                  <a:lnTo>
                    <a:pt x="8" y="27"/>
                  </a:lnTo>
                  <a:lnTo>
                    <a:pt x="8" y="25"/>
                  </a:lnTo>
                  <a:lnTo>
                    <a:pt x="8" y="23"/>
                  </a:lnTo>
                  <a:lnTo>
                    <a:pt x="6" y="23"/>
                  </a:lnTo>
                  <a:lnTo>
                    <a:pt x="4" y="23"/>
                  </a:lnTo>
                  <a:lnTo>
                    <a:pt x="4" y="25"/>
                  </a:lnTo>
                  <a:lnTo>
                    <a:pt x="2" y="25"/>
                  </a:lnTo>
                  <a:lnTo>
                    <a:pt x="2" y="23"/>
                  </a:lnTo>
                  <a:lnTo>
                    <a:pt x="0" y="23"/>
                  </a:lnTo>
                  <a:lnTo>
                    <a:pt x="0" y="21"/>
                  </a:lnTo>
                  <a:lnTo>
                    <a:pt x="2" y="21"/>
                  </a:lnTo>
                  <a:lnTo>
                    <a:pt x="0" y="21"/>
                  </a:lnTo>
                  <a:lnTo>
                    <a:pt x="0" y="19"/>
                  </a:lnTo>
                  <a:lnTo>
                    <a:pt x="2" y="19"/>
                  </a:lnTo>
                  <a:lnTo>
                    <a:pt x="4" y="19"/>
                  </a:lnTo>
                  <a:lnTo>
                    <a:pt x="4" y="18"/>
                  </a:lnTo>
                  <a:lnTo>
                    <a:pt x="6" y="18"/>
                  </a:lnTo>
                  <a:lnTo>
                    <a:pt x="6" y="16"/>
                  </a:lnTo>
                  <a:lnTo>
                    <a:pt x="6" y="14"/>
                  </a:lnTo>
                  <a:lnTo>
                    <a:pt x="6" y="12"/>
                  </a:lnTo>
                  <a:lnTo>
                    <a:pt x="6" y="10"/>
                  </a:lnTo>
                  <a:lnTo>
                    <a:pt x="8" y="10"/>
                  </a:lnTo>
                  <a:lnTo>
                    <a:pt x="8" y="8"/>
                  </a:lnTo>
                  <a:lnTo>
                    <a:pt x="10" y="8"/>
                  </a:lnTo>
                  <a:lnTo>
                    <a:pt x="10" y="6"/>
                  </a:lnTo>
                  <a:lnTo>
                    <a:pt x="12" y="6"/>
                  </a:lnTo>
                  <a:lnTo>
                    <a:pt x="14" y="6"/>
                  </a:lnTo>
                  <a:lnTo>
                    <a:pt x="16" y="6"/>
                  </a:lnTo>
                  <a:lnTo>
                    <a:pt x="16" y="4"/>
                  </a:lnTo>
                  <a:lnTo>
                    <a:pt x="16" y="6"/>
                  </a:lnTo>
                  <a:lnTo>
                    <a:pt x="16" y="8"/>
                  </a:lnTo>
                  <a:lnTo>
                    <a:pt x="18" y="8"/>
                  </a:lnTo>
                  <a:lnTo>
                    <a:pt x="18" y="6"/>
                  </a:lnTo>
                  <a:lnTo>
                    <a:pt x="20" y="6"/>
                  </a:lnTo>
                  <a:lnTo>
                    <a:pt x="20" y="4"/>
                  </a:lnTo>
                  <a:lnTo>
                    <a:pt x="22" y="4"/>
                  </a:lnTo>
                  <a:lnTo>
                    <a:pt x="22" y="2"/>
                  </a:lnTo>
                  <a:lnTo>
                    <a:pt x="23" y="2"/>
                  </a:lnTo>
                  <a:lnTo>
                    <a:pt x="23" y="0"/>
                  </a:lnTo>
                  <a:lnTo>
                    <a:pt x="25" y="0"/>
                  </a:lnTo>
                  <a:lnTo>
                    <a:pt x="25" y="2"/>
                  </a:lnTo>
                  <a:lnTo>
                    <a:pt x="23" y="2"/>
                  </a:lnTo>
                  <a:lnTo>
                    <a:pt x="25" y="2"/>
                  </a:lnTo>
                  <a:lnTo>
                    <a:pt x="25" y="4"/>
                  </a:lnTo>
                  <a:lnTo>
                    <a:pt x="25" y="6"/>
                  </a:lnTo>
                  <a:lnTo>
                    <a:pt x="27" y="6"/>
                  </a:lnTo>
                  <a:lnTo>
                    <a:pt x="29" y="6"/>
                  </a:lnTo>
                  <a:lnTo>
                    <a:pt x="29" y="8"/>
                  </a:lnTo>
                  <a:lnTo>
                    <a:pt x="29" y="10"/>
                  </a:lnTo>
                  <a:lnTo>
                    <a:pt x="29" y="12"/>
                  </a:lnTo>
                  <a:lnTo>
                    <a:pt x="29" y="14"/>
                  </a:lnTo>
                  <a:lnTo>
                    <a:pt x="29" y="16"/>
                  </a:lnTo>
                  <a:lnTo>
                    <a:pt x="31" y="16"/>
                  </a:lnTo>
                  <a:lnTo>
                    <a:pt x="31" y="18"/>
                  </a:lnTo>
                  <a:lnTo>
                    <a:pt x="29" y="18"/>
                  </a:lnTo>
                  <a:lnTo>
                    <a:pt x="29" y="19"/>
                  </a:lnTo>
                  <a:lnTo>
                    <a:pt x="31" y="19"/>
                  </a:lnTo>
                  <a:lnTo>
                    <a:pt x="29" y="19"/>
                  </a:lnTo>
                  <a:lnTo>
                    <a:pt x="31" y="19"/>
                  </a:lnTo>
                  <a:lnTo>
                    <a:pt x="29" y="19"/>
                  </a:lnTo>
                  <a:lnTo>
                    <a:pt x="31" y="19"/>
                  </a:lnTo>
                  <a:lnTo>
                    <a:pt x="29" y="19"/>
                  </a:lnTo>
                  <a:lnTo>
                    <a:pt x="29" y="21"/>
                  </a:lnTo>
                  <a:lnTo>
                    <a:pt x="29" y="19"/>
                  </a:lnTo>
                  <a:lnTo>
                    <a:pt x="27" y="19"/>
                  </a:lnTo>
                  <a:lnTo>
                    <a:pt x="27" y="21"/>
                  </a:lnTo>
                  <a:lnTo>
                    <a:pt x="25" y="21"/>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1" name="Freeform 450">
              <a:extLst>
                <a:ext uri="{FF2B5EF4-FFF2-40B4-BE49-F238E27FC236}">
                  <a16:creationId xmlns:a16="http://schemas.microsoft.com/office/drawing/2014/main" id="{65985D9C-0794-4293-B38E-514F6D82A7D0}"/>
                </a:ext>
              </a:extLst>
            </p:cNvPr>
            <p:cNvSpPr>
              <a:spLocks noEditPoints="1"/>
            </p:cNvSpPr>
            <p:nvPr/>
          </p:nvSpPr>
          <p:spPr bwMode="gray">
            <a:xfrm>
              <a:off x="3427784" y="4269657"/>
              <a:ext cx="343386" cy="342159"/>
            </a:xfrm>
            <a:custGeom>
              <a:avLst/>
              <a:gdLst>
                <a:gd name="T0" fmla="*/ 238 w 280"/>
                <a:gd name="T1" fmla="*/ 15 h 279"/>
                <a:gd name="T2" fmla="*/ 253 w 280"/>
                <a:gd name="T3" fmla="*/ 14 h 279"/>
                <a:gd name="T4" fmla="*/ 266 w 280"/>
                <a:gd name="T5" fmla="*/ 23 h 279"/>
                <a:gd name="T6" fmla="*/ 274 w 280"/>
                <a:gd name="T7" fmla="*/ 29 h 279"/>
                <a:gd name="T8" fmla="*/ 276 w 280"/>
                <a:gd name="T9" fmla="*/ 46 h 279"/>
                <a:gd name="T10" fmla="*/ 265 w 280"/>
                <a:gd name="T11" fmla="*/ 64 h 279"/>
                <a:gd name="T12" fmla="*/ 257 w 280"/>
                <a:gd name="T13" fmla="*/ 79 h 279"/>
                <a:gd name="T14" fmla="*/ 253 w 280"/>
                <a:gd name="T15" fmla="*/ 102 h 279"/>
                <a:gd name="T16" fmla="*/ 243 w 280"/>
                <a:gd name="T17" fmla="*/ 115 h 279"/>
                <a:gd name="T18" fmla="*/ 249 w 280"/>
                <a:gd name="T19" fmla="*/ 129 h 279"/>
                <a:gd name="T20" fmla="*/ 255 w 280"/>
                <a:gd name="T21" fmla="*/ 160 h 279"/>
                <a:gd name="T22" fmla="*/ 266 w 280"/>
                <a:gd name="T23" fmla="*/ 185 h 279"/>
                <a:gd name="T24" fmla="*/ 249 w 280"/>
                <a:gd name="T25" fmla="*/ 204 h 279"/>
                <a:gd name="T26" fmla="*/ 240 w 280"/>
                <a:gd name="T27" fmla="*/ 229 h 279"/>
                <a:gd name="T28" fmla="*/ 238 w 280"/>
                <a:gd name="T29" fmla="*/ 242 h 279"/>
                <a:gd name="T30" fmla="*/ 243 w 280"/>
                <a:gd name="T31" fmla="*/ 259 h 279"/>
                <a:gd name="T32" fmla="*/ 255 w 280"/>
                <a:gd name="T33" fmla="*/ 259 h 279"/>
                <a:gd name="T34" fmla="*/ 253 w 280"/>
                <a:gd name="T35" fmla="*/ 277 h 279"/>
                <a:gd name="T36" fmla="*/ 240 w 280"/>
                <a:gd name="T37" fmla="*/ 269 h 279"/>
                <a:gd name="T38" fmla="*/ 230 w 280"/>
                <a:gd name="T39" fmla="*/ 259 h 279"/>
                <a:gd name="T40" fmla="*/ 217 w 280"/>
                <a:gd name="T41" fmla="*/ 250 h 279"/>
                <a:gd name="T42" fmla="*/ 201 w 280"/>
                <a:gd name="T43" fmla="*/ 254 h 279"/>
                <a:gd name="T44" fmla="*/ 192 w 280"/>
                <a:gd name="T45" fmla="*/ 244 h 279"/>
                <a:gd name="T46" fmla="*/ 178 w 280"/>
                <a:gd name="T47" fmla="*/ 242 h 279"/>
                <a:gd name="T48" fmla="*/ 159 w 280"/>
                <a:gd name="T49" fmla="*/ 244 h 279"/>
                <a:gd name="T50" fmla="*/ 146 w 280"/>
                <a:gd name="T51" fmla="*/ 240 h 279"/>
                <a:gd name="T52" fmla="*/ 147 w 280"/>
                <a:gd name="T53" fmla="*/ 229 h 279"/>
                <a:gd name="T54" fmla="*/ 142 w 280"/>
                <a:gd name="T55" fmla="*/ 209 h 279"/>
                <a:gd name="T56" fmla="*/ 142 w 280"/>
                <a:gd name="T57" fmla="*/ 198 h 279"/>
                <a:gd name="T58" fmla="*/ 122 w 280"/>
                <a:gd name="T59" fmla="*/ 186 h 279"/>
                <a:gd name="T60" fmla="*/ 107 w 280"/>
                <a:gd name="T61" fmla="*/ 190 h 279"/>
                <a:gd name="T62" fmla="*/ 90 w 280"/>
                <a:gd name="T63" fmla="*/ 198 h 279"/>
                <a:gd name="T64" fmla="*/ 75 w 280"/>
                <a:gd name="T65" fmla="*/ 190 h 279"/>
                <a:gd name="T66" fmla="*/ 67 w 280"/>
                <a:gd name="T67" fmla="*/ 179 h 279"/>
                <a:gd name="T68" fmla="*/ 65 w 280"/>
                <a:gd name="T69" fmla="*/ 165 h 279"/>
                <a:gd name="T70" fmla="*/ 38 w 280"/>
                <a:gd name="T71" fmla="*/ 165 h 279"/>
                <a:gd name="T72" fmla="*/ 11 w 280"/>
                <a:gd name="T73" fmla="*/ 165 h 279"/>
                <a:gd name="T74" fmla="*/ 2 w 280"/>
                <a:gd name="T75" fmla="*/ 163 h 279"/>
                <a:gd name="T76" fmla="*/ 9 w 280"/>
                <a:gd name="T77" fmla="*/ 152 h 279"/>
                <a:gd name="T78" fmla="*/ 13 w 280"/>
                <a:gd name="T79" fmla="*/ 148 h 279"/>
                <a:gd name="T80" fmla="*/ 23 w 280"/>
                <a:gd name="T81" fmla="*/ 146 h 279"/>
                <a:gd name="T82" fmla="*/ 32 w 280"/>
                <a:gd name="T83" fmla="*/ 144 h 279"/>
                <a:gd name="T84" fmla="*/ 44 w 280"/>
                <a:gd name="T85" fmla="*/ 144 h 279"/>
                <a:gd name="T86" fmla="*/ 57 w 280"/>
                <a:gd name="T87" fmla="*/ 131 h 279"/>
                <a:gd name="T88" fmla="*/ 63 w 280"/>
                <a:gd name="T89" fmla="*/ 108 h 279"/>
                <a:gd name="T90" fmla="*/ 75 w 280"/>
                <a:gd name="T91" fmla="*/ 94 h 279"/>
                <a:gd name="T92" fmla="*/ 84 w 280"/>
                <a:gd name="T93" fmla="*/ 75 h 279"/>
                <a:gd name="T94" fmla="*/ 86 w 280"/>
                <a:gd name="T95" fmla="*/ 54 h 279"/>
                <a:gd name="T96" fmla="*/ 94 w 280"/>
                <a:gd name="T97" fmla="*/ 35 h 279"/>
                <a:gd name="T98" fmla="*/ 98 w 280"/>
                <a:gd name="T99" fmla="*/ 15 h 279"/>
                <a:gd name="T100" fmla="*/ 113 w 280"/>
                <a:gd name="T101" fmla="*/ 6 h 279"/>
                <a:gd name="T102" fmla="*/ 128 w 280"/>
                <a:gd name="T103" fmla="*/ 14 h 279"/>
                <a:gd name="T104" fmla="*/ 140 w 280"/>
                <a:gd name="T105" fmla="*/ 17 h 279"/>
                <a:gd name="T106" fmla="*/ 153 w 280"/>
                <a:gd name="T107" fmla="*/ 15 h 279"/>
                <a:gd name="T108" fmla="*/ 167 w 280"/>
                <a:gd name="T109" fmla="*/ 10 h 279"/>
                <a:gd name="T110" fmla="*/ 176 w 280"/>
                <a:gd name="T111" fmla="*/ 8 h 279"/>
                <a:gd name="T112" fmla="*/ 188 w 280"/>
                <a:gd name="T113" fmla="*/ 8 h 279"/>
                <a:gd name="T114" fmla="*/ 195 w 280"/>
                <a:gd name="T115" fmla="*/ 2 h 279"/>
                <a:gd name="T116" fmla="*/ 203 w 280"/>
                <a:gd name="T117" fmla="*/ 2 h 279"/>
                <a:gd name="T118" fmla="*/ 211 w 280"/>
                <a:gd name="T119" fmla="*/ 6 h 279"/>
                <a:gd name="T120" fmla="*/ 215 w 280"/>
                <a:gd name="T121" fmla="*/ 6 h 279"/>
                <a:gd name="T122" fmla="*/ 11 w 280"/>
                <a:gd name="T123" fmla="*/ 165 h 279"/>
                <a:gd name="T124" fmla="*/ 9 w 280"/>
                <a:gd name="T125" fmla="*/ 16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 h="279">
                  <a:moveTo>
                    <a:pt x="224" y="6"/>
                  </a:moveTo>
                  <a:lnTo>
                    <a:pt x="224" y="8"/>
                  </a:lnTo>
                  <a:lnTo>
                    <a:pt x="226" y="8"/>
                  </a:lnTo>
                  <a:lnTo>
                    <a:pt x="226" y="10"/>
                  </a:lnTo>
                  <a:lnTo>
                    <a:pt x="228" y="10"/>
                  </a:lnTo>
                  <a:lnTo>
                    <a:pt x="228" y="12"/>
                  </a:lnTo>
                  <a:lnTo>
                    <a:pt x="230" y="12"/>
                  </a:lnTo>
                  <a:lnTo>
                    <a:pt x="230" y="14"/>
                  </a:lnTo>
                  <a:lnTo>
                    <a:pt x="232" y="14"/>
                  </a:lnTo>
                  <a:lnTo>
                    <a:pt x="232" y="15"/>
                  </a:lnTo>
                  <a:lnTo>
                    <a:pt x="234" y="14"/>
                  </a:lnTo>
                  <a:lnTo>
                    <a:pt x="234" y="15"/>
                  </a:lnTo>
                  <a:lnTo>
                    <a:pt x="236" y="15"/>
                  </a:lnTo>
                  <a:lnTo>
                    <a:pt x="238" y="15"/>
                  </a:lnTo>
                  <a:lnTo>
                    <a:pt x="238" y="17"/>
                  </a:lnTo>
                  <a:lnTo>
                    <a:pt x="240" y="15"/>
                  </a:lnTo>
                  <a:lnTo>
                    <a:pt x="241" y="15"/>
                  </a:lnTo>
                  <a:lnTo>
                    <a:pt x="241" y="14"/>
                  </a:lnTo>
                  <a:lnTo>
                    <a:pt x="243" y="14"/>
                  </a:lnTo>
                  <a:lnTo>
                    <a:pt x="243" y="12"/>
                  </a:lnTo>
                  <a:lnTo>
                    <a:pt x="243" y="14"/>
                  </a:lnTo>
                  <a:lnTo>
                    <a:pt x="245" y="14"/>
                  </a:lnTo>
                  <a:lnTo>
                    <a:pt x="247" y="14"/>
                  </a:lnTo>
                  <a:lnTo>
                    <a:pt x="247" y="15"/>
                  </a:lnTo>
                  <a:lnTo>
                    <a:pt x="249" y="15"/>
                  </a:lnTo>
                  <a:lnTo>
                    <a:pt x="251" y="15"/>
                  </a:lnTo>
                  <a:lnTo>
                    <a:pt x="251" y="14"/>
                  </a:lnTo>
                  <a:lnTo>
                    <a:pt x="253" y="14"/>
                  </a:lnTo>
                  <a:lnTo>
                    <a:pt x="253" y="12"/>
                  </a:lnTo>
                  <a:lnTo>
                    <a:pt x="255" y="12"/>
                  </a:lnTo>
                  <a:lnTo>
                    <a:pt x="257" y="12"/>
                  </a:lnTo>
                  <a:lnTo>
                    <a:pt x="259" y="12"/>
                  </a:lnTo>
                  <a:lnTo>
                    <a:pt x="259" y="14"/>
                  </a:lnTo>
                  <a:lnTo>
                    <a:pt x="259" y="15"/>
                  </a:lnTo>
                  <a:lnTo>
                    <a:pt x="261" y="15"/>
                  </a:lnTo>
                  <a:lnTo>
                    <a:pt x="261" y="17"/>
                  </a:lnTo>
                  <a:lnTo>
                    <a:pt x="261" y="19"/>
                  </a:lnTo>
                  <a:lnTo>
                    <a:pt x="263" y="19"/>
                  </a:lnTo>
                  <a:lnTo>
                    <a:pt x="263" y="21"/>
                  </a:lnTo>
                  <a:lnTo>
                    <a:pt x="265" y="21"/>
                  </a:lnTo>
                  <a:lnTo>
                    <a:pt x="266" y="21"/>
                  </a:lnTo>
                  <a:lnTo>
                    <a:pt x="266" y="23"/>
                  </a:lnTo>
                  <a:lnTo>
                    <a:pt x="268" y="23"/>
                  </a:lnTo>
                  <a:lnTo>
                    <a:pt x="268" y="25"/>
                  </a:lnTo>
                  <a:lnTo>
                    <a:pt x="268" y="27"/>
                  </a:lnTo>
                  <a:lnTo>
                    <a:pt x="270" y="27"/>
                  </a:lnTo>
                  <a:lnTo>
                    <a:pt x="270" y="25"/>
                  </a:lnTo>
                  <a:lnTo>
                    <a:pt x="270" y="27"/>
                  </a:lnTo>
                  <a:lnTo>
                    <a:pt x="272" y="27"/>
                  </a:lnTo>
                  <a:lnTo>
                    <a:pt x="272" y="25"/>
                  </a:lnTo>
                  <a:lnTo>
                    <a:pt x="272" y="27"/>
                  </a:lnTo>
                  <a:lnTo>
                    <a:pt x="274" y="27"/>
                  </a:lnTo>
                  <a:lnTo>
                    <a:pt x="272" y="29"/>
                  </a:lnTo>
                  <a:lnTo>
                    <a:pt x="274" y="29"/>
                  </a:lnTo>
                  <a:lnTo>
                    <a:pt x="274" y="27"/>
                  </a:lnTo>
                  <a:lnTo>
                    <a:pt x="274" y="29"/>
                  </a:lnTo>
                  <a:lnTo>
                    <a:pt x="274" y="31"/>
                  </a:lnTo>
                  <a:lnTo>
                    <a:pt x="272" y="31"/>
                  </a:lnTo>
                  <a:lnTo>
                    <a:pt x="272" y="33"/>
                  </a:lnTo>
                  <a:lnTo>
                    <a:pt x="272" y="35"/>
                  </a:lnTo>
                  <a:lnTo>
                    <a:pt x="272" y="37"/>
                  </a:lnTo>
                  <a:lnTo>
                    <a:pt x="274" y="37"/>
                  </a:lnTo>
                  <a:lnTo>
                    <a:pt x="274" y="39"/>
                  </a:lnTo>
                  <a:lnTo>
                    <a:pt x="272" y="39"/>
                  </a:lnTo>
                  <a:lnTo>
                    <a:pt x="272" y="40"/>
                  </a:lnTo>
                  <a:lnTo>
                    <a:pt x="272" y="42"/>
                  </a:lnTo>
                  <a:lnTo>
                    <a:pt x="272" y="44"/>
                  </a:lnTo>
                  <a:lnTo>
                    <a:pt x="274" y="44"/>
                  </a:lnTo>
                  <a:lnTo>
                    <a:pt x="276" y="44"/>
                  </a:lnTo>
                  <a:lnTo>
                    <a:pt x="276" y="46"/>
                  </a:lnTo>
                  <a:lnTo>
                    <a:pt x="278" y="46"/>
                  </a:lnTo>
                  <a:lnTo>
                    <a:pt x="280" y="46"/>
                  </a:lnTo>
                  <a:lnTo>
                    <a:pt x="280" y="48"/>
                  </a:lnTo>
                  <a:lnTo>
                    <a:pt x="278" y="50"/>
                  </a:lnTo>
                  <a:lnTo>
                    <a:pt x="278" y="52"/>
                  </a:lnTo>
                  <a:lnTo>
                    <a:pt x="276" y="54"/>
                  </a:lnTo>
                  <a:lnTo>
                    <a:pt x="272" y="58"/>
                  </a:lnTo>
                  <a:lnTo>
                    <a:pt x="270" y="60"/>
                  </a:lnTo>
                  <a:lnTo>
                    <a:pt x="268" y="60"/>
                  </a:lnTo>
                  <a:lnTo>
                    <a:pt x="266" y="62"/>
                  </a:lnTo>
                  <a:lnTo>
                    <a:pt x="266" y="64"/>
                  </a:lnTo>
                  <a:lnTo>
                    <a:pt x="265" y="64"/>
                  </a:lnTo>
                  <a:lnTo>
                    <a:pt x="265" y="62"/>
                  </a:lnTo>
                  <a:lnTo>
                    <a:pt x="265" y="64"/>
                  </a:lnTo>
                  <a:lnTo>
                    <a:pt x="265" y="65"/>
                  </a:lnTo>
                  <a:lnTo>
                    <a:pt x="263" y="65"/>
                  </a:lnTo>
                  <a:lnTo>
                    <a:pt x="263" y="67"/>
                  </a:lnTo>
                  <a:lnTo>
                    <a:pt x="263" y="65"/>
                  </a:lnTo>
                  <a:lnTo>
                    <a:pt x="263" y="67"/>
                  </a:lnTo>
                  <a:lnTo>
                    <a:pt x="261" y="67"/>
                  </a:lnTo>
                  <a:lnTo>
                    <a:pt x="259" y="69"/>
                  </a:lnTo>
                  <a:lnTo>
                    <a:pt x="259" y="71"/>
                  </a:lnTo>
                  <a:lnTo>
                    <a:pt x="261" y="71"/>
                  </a:lnTo>
                  <a:lnTo>
                    <a:pt x="261" y="73"/>
                  </a:lnTo>
                  <a:lnTo>
                    <a:pt x="259" y="75"/>
                  </a:lnTo>
                  <a:lnTo>
                    <a:pt x="259" y="77"/>
                  </a:lnTo>
                  <a:lnTo>
                    <a:pt x="257" y="77"/>
                  </a:lnTo>
                  <a:lnTo>
                    <a:pt x="257" y="79"/>
                  </a:lnTo>
                  <a:lnTo>
                    <a:pt x="257" y="81"/>
                  </a:lnTo>
                  <a:lnTo>
                    <a:pt x="257" y="83"/>
                  </a:lnTo>
                  <a:lnTo>
                    <a:pt x="255" y="85"/>
                  </a:lnTo>
                  <a:lnTo>
                    <a:pt x="257" y="87"/>
                  </a:lnTo>
                  <a:lnTo>
                    <a:pt x="255" y="87"/>
                  </a:lnTo>
                  <a:lnTo>
                    <a:pt x="255" y="88"/>
                  </a:lnTo>
                  <a:lnTo>
                    <a:pt x="255" y="90"/>
                  </a:lnTo>
                  <a:lnTo>
                    <a:pt x="255" y="92"/>
                  </a:lnTo>
                  <a:lnTo>
                    <a:pt x="255" y="94"/>
                  </a:lnTo>
                  <a:lnTo>
                    <a:pt x="255" y="96"/>
                  </a:lnTo>
                  <a:lnTo>
                    <a:pt x="255" y="98"/>
                  </a:lnTo>
                  <a:lnTo>
                    <a:pt x="255" y="100"/>
                  </a:lnTo>
                  <a:lnTo>
                    <a:pt x="253" y="100"/>
                  </a:lnTo>
                  <a:lnTo>
                    <a:pt x="253" y="102"/>
                  </a:lnTo>
                  <a:lnTo>
                    <a:pt x="251" y="102"/>
                  </a:lnTo>
                  <a:lnTo>
                    <a:pt x="251" y="104"/>
                  </a:lnTo>
                  <a:lnTo>
                    <a:pt x="249" y="104"/>
                  </a:lnTo>
                  <a:lnTo>
                    <a:pt x="249" y="106"/>
                  </a:lnTo>
                  <a:lnTo>
                    <a:pt x="249" y="108"/>
                  </a:lnTo>
                  <a:lnTo>
                    <a:pt x="249" y="110"/>
                  </a:lnTo>
                  <a:lnTo>
                    <a:pt x="249" y="112"/>
                  </a:lnTo>
                  <a:lnTo>
                    <a:pt x="247" y="112"/>
                  </a:lnTo>
                  <a:lnTo>
                    <a:pt x="247" y="113"/>
                  </a:lnTo>
                  <a:lnTo>
                    <a:pt x="245" y="113"/>
                  </a:lnTo>
                  <a:lnTo>
                    <a:pt x="243" y="113"/>
                  </a:lnTo>
                  <a:lnTo>
                    <a:pt x="243" y="115"/>
                  </a:lnTo>
                  <a:lnTo>
                    <a:pt x="245" y="115"/>
                  </a:lnTo>
                  <a:lnTo>
                    <a:pt x="243" y="115"/>
                  </a:lnTo>
                  <a:lnTo>
                    <a:pt x="243" y="117"/>
                  </a:lnTo>
                  <a:lnTo>
                    <a:pt x="245" y="117"/>
                  </a:lnTo>
                  <a:lnTo>
                    <a:pt x="245" y="119"/>
                  </a:lnTo>
                  <a:lnTo>
                    <a:pt x="247" y="119"/>
                  </a:lnTo>
                  <a:lnTo>
                    <a:pt x="245" y="119"/>
                  </a:lnTo>
                  <a:lnTo>
                    <a:pt x="245" y="121"/>
                  </a:lnTo>
                  <a:lnTo>
                    <a:pt x="247" y="121"/>
                  </a:lnTo>
                  <a:lnTo>
                    <a:pt x="247" y="123"/>
                  </a:lnTo>
                  <a:lnTo>
                    <a:pt x="249" y="123"/>
                  </a:lnTo>
                  <a:lnTo>
                    <a:pt x="249" y="125"/>
                  </a:lnTo>
                  <a:lnTo>
                    <a:pt x="249" y="127"/>
                  </a:lnTo>
                  <a:lnTo>
                    <a:pt x="249" y="129"/>
                  </a:lnTo>
                  <a:lnTo>
                    <a:pt x="251" y="129"/>
                  </a:lnTo>
                  <a:lnTo>
                    <a:pt x="249" y="129"/>
                  </a:lnTo>
                  <a:lnTo>
                    <a:pt x="249" y="131"/>
                  </a:lnTo>
                  <a:lnTo>
                    <a:pt x="249" y="133"/>
                  </a:lnTo>
                  <a:lnTo>
                    <a:pt x="249" y="135"/>
                  </a:lnTo>
                  <a:lnTo>
                    <a:pt x="251" y="136"/>
                  </a:lnTo>
                  <a:lnTo>
                    <a:pt x="251" y="138"/>
                  </a:lnTo>
                  <a:lnTo>
                    <a:pt x="251" y="140"/>
                  </a:lnTo>
                  <a:lnTo>
                    <a:pt x="251" y="142"/>
                  </a:lnTo>
                  <a:lnTo>
                    <a:pt x="251" y="144"/>
                  </a:lnTo>
                  <a:lnTo>
                    <a:pt x="251" y="146"/>
                  </a:lnTo>
                  <a:lnTo>
                    <a:pt x="251" y="150"/>
                  </a:lnTo>
                  <a:lnTo>
                    <a:pt x="251" y="152"/>
                  </a:lnTo>
                  <a:lnTo>
                    <a:pt x="253" y="156"/>
                  </a:lnTo>
                  <a:lnTo>
                    <a:pt x="253" y="158"/>
                  </a:lnTo>
                  <a:lnTo>
                    <a:pt x="255" y="160"/>
                  </a:lnTo>
                  <a:lnTo>
                    <a:pt x="257" y="161"/>
                  </a:lnTo>
                  <a:lnTo>
                    <a:pt x="257" y="163"/>
                  </a:lnTo>
                  <a:lnTo>
                    <a:pt x="255" y="165"/>
                  </a:lnTo>
                  <a:lnTo>
                    <a:pt x="255" y="167"/>
                  </a:lnTo>
                  <a:lnTo>
                    <a:pt x="253" y="169"/>
                  </a:lnTo>
                  <a:lnTo>
                    <a:pt x="253" y="171"/>
                  </a:lnTo>
                  <a:lnTo>
                    <a:pt x="255" y="173"/>
                  </a:lnTo>
                  <a:lnTo>
                    <a:pt x="255" y="175"/>
                  </a:lnTo>
                  <a:lnTo>
                    <a:pt x="257" y="175"/>
                  </a:lnTo>
                  <a:lnTo>
                    <a:pt x="259" y="177"/>
                  </a:lnTo>
                  <a:lnTo>
                    <a:pt x="261" y="179"/>
                  </a:lnTo>
                  <a:lnTo>
                    <a:pt x="263" y="181"/>
                  </a:lnTo>
                  <a:lnTo>
                    <a:pt x="265" y="183"/>
                  </a:lnTo>
                  <a:lnTo>
                    <a:pt x="266" y="185"/>
                  </a:lnTo>
                  <a:lnTo>
                    <a:pt x="266" y="188"/>
                  </a:lnTo>
                  <a:lnTo>
                    <a:pt x="266" y="190"/>
                  </a:lnTo>
                  <a:lnTo>
                    <a:pt x="268" y="192"/>
                  </a:lnTo>
                  <a:lnTo>
                    <a:pt x="270" y="196"/>
                  </a:lnTo>
                  <a:lnTo>
                    <a:pt x="272" y="200"/>
                  </a:lnTo>
                  <a:lnTo>
                    <a:pt x="268" y="200"/>
                  </a:lnTo>
                  <a:lnTo>
                    <a:pt x="265" y="202"/>
                  </a:lnTo>
                  <a:lnTo>
                    <a:pt x="261" y="202"/>
                  </a:lnTo>
                  <a:lnTo>
                    <a:pt x="259" y="202"/>
                  </a:lnTo>
                  <a:lnTo>
                    <a:pt x="257" y="202"/>
                  </a:lnTo>
                  <a:lnTo>
                    <a:pt x="255" y="202"/>
                  </a:lnTo>
                  <a:lnTo>
                    <a:pt x="253" y="202"/>
                  </a:lnTo>
                  <a:lnTo>
                    <a:pt x="251" y="204"/>
                  </a:lnTo>
                  <a:lnTo>
                    <a:pt x="249" y="204"/>
                  </a:lnTo>
                  <a:lnTo>
                    <a:pt x="247" y="204"/>
                  </a:lnTo>
                  <a:lnTo>
                    <a:pt x="245" y="204"/>
                  </a:lnTo>
                  <a:lnTo>
                    <a:pt x="245" y="208"/>
                  </a:lnTo>
                  <a:lnTo>
                    <a:pt x="241" y="213"/>
                  </a:lnTo>
                  <a:lnTo>
                    <a:pt x="240" y="215"/>
                  </a:lnTo>
                  <a:lnTo>
                    <a:pt x="240" y="217"/>
                  </a:lnTo>
                  <a:lnTo>
                    <a:pt x="240" y="219"/>
                  </a:lnTo>
                  <a:lnTo>
                    <a:pt x="241" y="219"/>
                  </a:lnTo>
                  <a:lnTo>
                    <a:pt x="241" y="221"/>
                  </a:lnTo>
                  <a:lnTo>
                    <a:pt x="241" y="223"/>
                  </a:lnTo>
                  <a:lnTo>
                    <a:pt x="241" y="225"/>
                  </a:lnTo>
                  <a:lnTo>
                    <a:pt x="241" y="227"/>
                  </a:lnTo>
                  <a:lnTo>
                    <a:pt x="241" y="229"/>
                  </a:lnTo>
                  <a:lnTo>
                    <a:pt x="240" y="229"/>
                  </a:lnTo>
                  <a:lnTo>
                    <a:pt x="240" y="231"/>
                  </a:lnTo>
                  <a:lnTo>
                    <a:pt x="241" y="231"/>
                  </a:lnTo>
                  <a:lnTo>
                    <a:pt x="241" y="233"/>
                  </a:lnTo>
                  <a:lnTo>
                    <a:pt x="240" y="233"/>
                  </a:lnTo>
                  <a:lnTo>
                    <a:pt x="241" y="233"/>
                  </a:lnTo>
                  <a:lnTo>
                    <a:pt x="241" y="234"/>
                  </a:lnTo>
                  <a:lnTo>
                    <a:pt x="241" y="236"/>
                  </a:lnTo>
                  <a:lnTo>
                    <a:pt x="241" y="238"/>
                  </a:lnTo>
                  <a:lnTo>
                    <a:pt x="241" y="236"/>
                  </a:lnTo>
                  <a:lnTo>
                    <a:pt x="240" y="236"/>
                  </a:lnTo>
                  <a:lnTo>
                    <a:pt x="240" y="238"/>
                  </a:lnTo>
                  <a:lnTo>
                    <a:pt x="240" y="240"/>
                  </a:lnTo>
                  <a:lnTo>
                    <a:pt x="240" y="242"/>
                  </a:lnTo>
                  <a:lnTo>
                    <a:pt x="238" y="242"/>
                  </a:lnTo>
                  <a:lnTo>
                    <a:pt x="238" y="244"/>
                  </a:lnTo>
                  <a:lnTo>
                    <a:pt x="240" y="244"/>
                  </a:lnTo>
                  <a:lnTo>
                    <a:pt x="238" y="244"/>
                  </a:lnTo>
                  <a:lnTo>
                    <a:pt x="238" y="246"/>
                  </a:lnTo>
                  <a:lnTo>
                    <a:pt x="238" y="248"/>
                  </a:lnTo>
                  <a:lnTo>
                    <a:pt x="238" y="250"/>
                  </a:lnTo>
                  <a:lnTo>
                    <a:pt x="238" y="252"/>
                  </a:lnTo>
                  <a:lnTo>
                    <a:pt x="238" y="254"/>
                  </a:lnTo>
                  <a:lnTo>
                    <a:pt x="240" y="254"/>
                  </a:lnTo>
                  <a:lnTo>
                    <a:pt x="240" y="256"/>
                  </a:lnTo>
                  <a:lnTo>
                    <a:pt x="241" y="256"/>
                  </a:lnTo>
                  <a:lnTo>
                    <a:pt x="243" y="256"/>
                  </a:lnTo>
                  <a:lnTo>
                    <a:pt x="243" y="258"/>
                  </a:lnTo>
                  <a:lnTo>
                    <a:pt x="243" y="259"/>
                  </a:lnTo>
                  <a:lnTo>
                    <a:pt x="245" y="259"/>
                  </a:lnTo>
                  <a:lnTo>
                    <a:pt x="245" y="261"/>
                  </a:lnTo>
                  <a:lnTo>
                    <a:pt x="247" y="261"/>
                  </a:lnTo>
                  <a:lnTo>
                    <a:pt x="247" y="263"/>
                  </a:lnTo>
                  <a:lnTo>
                    <a:pt x="247" y="261"/>
                  </a:lnTo>
                  <a:lnTo>
                    <a:pt x="249" y="261"/>
                  </a:lnTo>
                  <a:lnTo>
                    <a:pt x="251" y="261"/>
                  </a:lnTo>
                  <a:lnTo>
                    <a:pt x="251" y="263"/>
                  </a:lnTo>
                  <a:lnTo>
                    <a:pt x="253" y="263"/>
                  </a:lnTo>
                  <a:lnTo>
                    <a:pt x="253" y="261"/>
                  </a:lnTo>
                  <a:lnTo>
                    <a:pt x="253" y="263"/>
                  </a:lnTo>
                  <a:lnTo>
                    <a:pt x="253" y="261"/>
                  </a:lnTo>
                  <a:lnTo>
                    <a:pt x="253" y="259"/>
                  </a:lnTo>
                  <a:lnTo>
                    <a:pt x="255" y="259"/>
                  </a:lnTo>
                  <a:lnTo>
                    <a:pt x="257" y="259"/>
                  </a:lnTo>
                  <a:lnTo>
                    <a:pt x="259" y="259"/>
                  </a:lnTo>
                  <a:lnTo>
                    <a:pt x="259" y="261"/>
                  </a:lnTo>
                  <a:lnTo>
                    <a:pt x="259" y="269"/>
                  </a:lnTo>
                  <a:lnTo>
                    <a:pt x="259" y="273"/>
                  </a:lnTo>
                  <a:lnTo>
                    <a:pt x="259" y="279"/>
                  </a:lnTo>
                  <a:lnTo>
                    <a:pt x="257" y="279"/>
                  </a:lnTo>
                  <a:lnTo>
                    <a:pt x="255" y="279"/>
                  </a:lnTo>
                  <a:lnTo>
                    <a:pt x="255" y="277"/>
                  </a:lnTo>
                  <a:lnTo>
                    <a:pt x="255" y="275"/>
                  </a:lnTo>
                  <a:lnTo>
                    <a:pt x="257" y="275"/>
                  </a:lnTo>
                  <a:lnTo>
                    <a:pt x="255" y="275"/>
                  </a:lnTo>
                  <a:lnTo>
                    <a:pt x="253" y="275"/>
                  </a:lnTo>
                  <a:lnTo>
                    <a:pt x="253" y="277"/>
                  </a:lnTo>
                  <a:lnTo>
                    <a:pt x="251" y="277"/>
                  </a:lnTo>
                  <a:lnTo>
                    <a:pt x="249" y="277"/>
                  </a:lnTo>
                  <a:lnTo>
                    <a:pt x="249" y="279"/>
                  </a:lnTo>
                  <a:lnTo>
                    <a:pt x="249" y="277"/>
                  </a:lnTo>
                  <a:lnTo>
                    <a:pt x="247" y="277"/>
                  </a:lnTo>
                  <a:lnTo>
                    <a:pt x="245" y="279"/>
                  </a:lnTo>
                  <a:lnTo>
                    <a:pt x="245" y="277"/>
                  </a:lnTo>
                  <a:lnTo>
                    <a:pt x="245" y="275"/>
                  </a:lnTo>
                  <a:lnTo>
                    <a:pt x="245" y="273"/>
                  </a:lnTo>
                  <a:lnTo>
                    <a:pt x="243" y="273"/>
                  </a:lnTo>
                  <a:lnTo>
                    <a:pt x="243" y="271"/>
                  </a:lnTo>
                  <a:lnTo>
                    <a:pt x="241" y="271"/>
                  </a:lnTo>
                  <a:lnTo>
                    <a:pt x="241" y="269"/>
                  </a:lnTo>
                  <a:lnTo>
                    <a:pt x="240" y="269"/>
                  </a:lnTo>
                  <a:lnTo>
                    <a:pt x="240" y="267"/>
                  </a:lnTo>
                  <a:lnTo>
                    <a:pt x="238" y="267"/>
                  </a:lnTo>
                  <a:lnTo>
                    <a:pt x="240" y="267"/>
                  </a:lnTo>
                  <a:lnTo>
                    <a:pt x="240" y="265"/>
                  </a:lnTo>
                  <a:lnTo>
                    <a:pt x="238" y="265"/>
                  </a:lnTo>
                  <a:lnTo>
                    <a:pt x="238" y="263"/>
                  </a:lnTo>
                  <a:lnTo>
                    <a:pt x="236" y="263"/>
                  </a:lnTo>
                  <a:lnTo>
                    <a:pt x="234" y="263"/>
                  </a:lnTo>
                  <a:lnTo>
                    <a:pt x="234" y="261"/>
                  </a:lnTo>
                  <a:lnTo>
                    <a:pt x="234" y="263"/>
                  </a:lnTo>
                  <a:lnTo>
                    <a:pt x="234" y="261"/>
                  </a:lnTo>
                  <a:lnTo>
                    <a:pt x="232" y="261"/>
                  </a:lnTo>
                  <a:lnTo>
                    <a:pt x="230" y="261"/>
                  </a:lnTo>
                  <a:lnTo>
                    <a:pt x="230" y="259"/>
                  </a:lnTo>
                  <a:lnTo>
                    <a:pt x="228" y="259"/>
                  </a:lnTo>
                  <a:lnTo>
                    <a:pt x="228" y="261"/>
                  </a:lnTo>
                  <a:lnTo>
                    <a:pt x="226" y="261"/>
                  </a:lnTo>
                  <a:lnTo>
                    <a:pt x="226" y="259"/>
                  </a:lnTo>
                  <a:lnTo>
                    <a:pt x="224" y="259"/>
                  </a:lnTo>
                  <a:lnTo>
                    <a:pt x="224" y="258"/>
                  </a:lnTo>
                  <a:lnTo>
                    <a:pt x="224" y="256"/>
                  </a:lnTo>
                  <a:lnTo>
                    <a:pt x="222" y="256"/>
                  </a:lnTo>
                  <a:lnTo>
                    <a:pt x="222" y="254"/>
                  </a:lnTo>
                  <a:lnTo>
                    <a:pt x="220" y="254"/>
                  </a:lnTo>
                  <a:lnTo>
                    <a:pt x="220" y="252"/>
                  </a:lnTo>
                  <a:lnTo>
                    <a:pt x="220" y="250"/>
                  </a:lnTo>
                  <a:lnTo>
                    <a:pt x="218" y="250"/>
                  </a:lnTo>
                  <a:lnTo>
                    <a:pt x="217" y="250"/>
                  </a:lnTo>
                  <a:lnTo>
                    <a:pt x="217" y="252"/>
                  </a:lnTo>
                  <a:lnTo>
                    <a:pt x="217" y="254"/>
                  </a:lnTo>
                  <a:lnTo>
                    <a:pt x="217" y="256"/>
                  </a:lnTo>
                  <a:lnTo>
                    <a:pt x="215" y="256"/>
                  </a:lnTo>
                  <a:lnTo>
                    <a:pt x="213" y="256"/>
                  </a:lnTo>
                  <a:lnTo>
                    <a:pt x="211" y="256"/>
                  </a:lnTo>
                  <a:lnTo>
                    <a:pt x="209" y="256"/>
                  </a:lnTo>
                  <a:lnTo>
                    <a:pt x="207" y="256"/>
                  </a:lnTo>
                  <a:lnTo>
                    <a:pt x="205" y="256"/>
                  </a:lnTo>
                  <a:lnTo>
                    <a:pt x="203" y="256"/>
                  </a:lnTo>
                  <a:lnTo>
                    <a:pt x="201" y="256"/>
                  </a:lnTo>
                  <a:lnTo>
                    <a:pt x="201" y="254"/>
                  </a:lnTo>
                  <a:lnTo>
                    <a:pt x="201" y="256"/>
                  </a:lnTo>
                  <a:lnTo>
                    <a:pt x="201" y="254"/>
                  </a:lnTo>
                  <a:lnTo>
                    <a:pt x="199" y="254"/>
                  </a:lnTo>
                  <a:lnTo>
                    <a:pt x="197" y="254"/>
                  </a:lnTo>
                  <a:lnTo>
                    <a:pt x="197" y="252"/>
                  </a:lnTo>
                  <a:lnTo>
                    <a:pt x="195" y="252"/>
                  </a:lnTo>
                  <a:lnTo>
                    <a:pt x="195" y="254"/>
                  </a:lnTo>
                  <a:lnTo>
                    <a:pt x="195" y="252"/>
                  </a:lnTo>
                  <a:lnTo>
                    <a:pt x="194" y="252"/>
                  </a:lnTo>
                  <a:lnTo>
                    <a:pt x="192" y="252"/>
                  </a:lnTo>
                  <a:lnTo>
                    <a:pt x="192" y="250"/>
                  </a:lnTo>
                  <a:lnTo>
                    <a:pt x="192" y="248"/>
                  </a:lnTo>
                  <a:lnTo>
                    <a:pt x="192" y="246"/>
                  </a:lnTo>
                  <a:lnTo>
                    <a:pt x="192" y="244"/>
                  </a:lnTo>
                  <a:lnTo>
                    <a:pt x="194" y="244"/>
                  </a:lnTo>
                  <a:lnTo>
                    <a:pt x="192" y="244"/>
                  </a:lnTo>
                  <a:lnTo>
                    <a:pt x="190" y="244"/>
                  </a:lnTo>
                  <a:lnTo>
                    <a:pt x="190" y="246"/>
                  </a:lnTo>
                  <a:lnTo>
                    <a:pt x="188" y="246"/>
                  </a:lnTo>
                  <a:lnTo>
                    <a:pt x="186" y="246"/>
                  </a:lnTo>
                  <a:lnTo>
                    <a:pt x="184" y="246"/>
                  </a:lnTo>
                  <a:lnTo>
                    <a:pt x="182" y="246"/>
                  </a:lnTo>
                  <a:lnTo>
                    <a:pt x="182" y="248"/>
                  </a:lnTo>
                  <a:lnTo>
                    <a:pt x="180" y="248"/>
                  </a:lnTo>
                  <a:lnTo>
                    <a:pt x="178" y="248"/>
                  </a:lnTo>
                  <a:lnTo>
                    <a:pt x="176" y="248"/>
                  </a:lnTo>
                  <a:lnTo>
                    <a:pt x="178" y="248"/>
                  </a:lnTo>
                  <a:lnTo>
                    <a:pt x="178" y="246"/>
                  </a:lnTo>
                  <a:lnTo>
                    <a:pt x="178" y="244"/>
                  </a:lnTo>
                  <a:lnTo>
                    <a:pt x="178" y="242"/>
                  </a:lnTo>
                  <a:lnTo>
                    <a:pt x="176" y="242"/>
                  </a:lnTo>
                  <a:lnTo>
                    <a:pt x="174" y="242"/>
                  </a:lnTo>
                  <a:lnTo>
                    <a:pt x="174" y="240"/>
                  </a:lnTo>
                  <a:lnTo>
                    <a:pt x="172" y="240"/>
                  </a:lnTo>
                  <a:lnTo>
                    <a:pt x="170" y="240"/>
                  </a:lnTo>
                  <a:lnTo>
                    <a:pt x="170" y="242"/>
                  </a:lnTo>
                  <a:lnTo>
                    <a:pt x="169" y="242"/>
                  </a:lnTo>
                  <a:lnTo>
                    <a:pt x="167" y="242"/>
                  </a:lnTo>
                  <a:lnTo>
                    <a:pt x="167" y="240"/>
                  </a:lnTo>
                  <a:lnTo>
                    <a:pt x="165" y="240"/>
                  </a:lnTo>
                  <a:lnTo>
                    <a:pt x="163" y="242"/>
                  </a:lnTo>
                  <a:lnTo>
                    <a:pt x="161" y="242"/>
                  </a:lnTo>
                  <a:lnTo>
                    <a:pt x="159" y="242"/>
                  </a:lnTo>
                  <a:lnTo>
                    <a:pt x="159" y="244"/>
                  </a:lnTo>
                  <a:lnTo>
                    <a:pt x="159" y="242"/>
                  </a:lnTo>
                  <a:lnTo>
                    <a:pt x="157" y="242"/>
                  </a:lnTo>
                  <a:lnTo>
                    <a:pt x="155" y="242"/>
                  </a:lnTo>
                  <a:lnTo>
                    <a:pt x="155" y="244"/>
                  </a:lnTo>
                  <a:lnTo>
                    <a:pt x="153" y="244"/>
                  </a:lnTo>
                  <a:lnTo>
                    <a:pt x="153" y="242"/>
                  </a:lnTo>
                  <a:lnTo>
                    <a:pt x="151" y="242"/>
                  </a:lnTo>
                  <a:lnTo>
                    <a:pt x="151" y="244"/>
                  </a:lnTo>
                  <a:lnTo>
                    <a:pt x="149" y="244"/>
                  </a:lnTo>
                  <a:lnTo>
                    <a:pt x="147" y="246"/>
                  </a:lnTo>
                  <a:lnTo>
                    <a:pt x="147" y="244"/>
                  </a:lnTo>
                  <a:lnTo>
                    <a:pt x="147" y="242"/>
                  </a:lnTo>
                  <a:lnTo>
                    <a:pt x="147" y="240"/>
                  </a:lnTo>
                  <a:lnTo>
                    <a:pt x="146" y="240"/>
                  </a:lnTo>
                  <a:lnTo>
                    <a:pt x="146" y="238"/>
                  </a:lnTo>
                  <a:lnTo>
                    <a:pt x="147" y="238"/>
                  </a:lnTo>
                  <a:lnTo>
                    <a:pt x="149" y="238"/>
                  </a:lnTo>
                  <a:lnTo>
                    <a:pt x="147" y="238"/>
                  </a:lnTo>
                  <a:lnTo>
                    <a:pt x="149" y="236"/>
                  </a:lnTo>
                  <a:lnTo>
                    <a:pt x="147" y="236"/>
                  </a:lnTo>
                  <a:lnTo>
                    <a:pt x="147" y="234"/>
                  </a:lnTo>
                  <a:lnTo>
                    <a:pt x="147" y="233"/>
                  </a:lnTo>
                  <a:lnTo>
                    <a:pt x="149" y="233"/>
                  </a:lnTo>
                  <a:lnTo>
                    <a:pt x="147" y="233"/>
                  </a:lnTo>
                  <a:lnTo>
                    <a:pt x="149" y="233"/>
                  </a:lnTo>
                  <a:lnTo>
                    <a:pt x="147" y="233"/>
                  </a:lnTo>
                  <a:lnTo>
                    <a:pt x="147" y="231"/>
                  </a:lnTo>
                  <a:lnTo>
                    <a:pt x="147" y="229"/>
                  </a:lnTo>
                  <a:lnTo>
                    <a:pt x="147" y="227"/>
                  </a:lnTo>
                  <a:lnTo>
                    <a:pt x="146" y="225"/>
                  </a:lnTo>
                  <a:lnTo>
                    <a:pt x="144" y="225"/>
                  </a:lnTo>
                  <a:lnTo>
                    <a:pt x="144" y="223"/>
                  </a:lnTo>
                  <a:lnTo>
                    <a:pt x="144" y="221"/>
                  </a:lnTo>
                  <a:lnTo>
                    <a:pt x="142" y="221"/>
                  </a:lnTo>
                  <a:lnTo>
                    <a:pt x="142" y="219"/>
                  </a:lnTo>
                  <a:lnTo>
                    <a:pt x="142" y="217"/>
                  </a:lnTo>
                  <a:lnTo>
                    <a:pt x="140" y="217"/>
                  </a:lnTo>
                  <a:lnTo>
                    <a:pt x="142" y="217"/>
                  </a:lnTo>
                  <a:lnTo>
                    <a:pt x="142" y="215"/>
                  </a:lnTo>
                  <a:lnTo>
                    <a:pt x="142" y="213"/>
                  </a:lnTo>
                  <a:lnTo>
                    <a:pt x="142" y="211"/>
                  </a:lnTo>
                  <a:lnTo>
                    <a:pt x="142" y="209"/>
                  </a:lnTo>
                  <a:lnTo>
                    <a:pt x="142" y="208"/>
                  </a:lnTo>
                  <a:lnTo>
                    <a:pt x="142" y="206"/>
                  </a:lnTo>
                  <a:lnTo>
                    <a:pt x="144" y="206"/>
                  </a:lnTo>
                  <a:lnTo>
                    <a:pt x="142" y="206"/>
                  </a:lnTo>
                  <a:lnTo>
                    <a:pt x="144" y="206"/>
                  </a:lnTo>
                  <a:lnTo>
                    <a:pt x="142" y="206"/>
                  </a:lnTo>
                  <a:lnTo>
                    <a:pt x="144" y="206"/>
                  </a:lnTo>
                  <a:lnTo>
                    <a:pt x="144" y="204"/>
                  </a:lnTo>
                  <a:lnTo>
                    <a:pt x="142" y="204"/>
                  </a:lnTo>
                  <a:lnTo>
                    <a:pt x="142" y="202"/>
                  </a:lnTo>
                  <a:lnTo>
                    <a:pt x="144" y="202"/>
                  </a:lnTo>
                  <a:lnTo>
                    <a:pt x="142" y="202"/>
                  </a:lnTo>
                  <a:lnTo>
                    <a:pt x="142" y="200"/>
                  </a:lnTo>
                  <a:lnTo>
                    <a:pt x="142" y="198"/>
                  </a:lnTo>
                  <a:lnTo>
                    <a:pt x="140" y="198"/>
                  </a:lnTo>
                  <a:lnTo>
                    <a:pt x="140" y="196"/>
                  </a:lnTo>
                  <a:lnTo>
                    <a:pt x="140" y="194"/>
                  </a:lnTo>
                  <a:lnTo>
                    <a:pt x="140" y="192"/>
                  </a:lnTo>
                  <a:lnTo>
                    <a:pt x="142" y="192"/>
                  </a:lnTo>
                  <a:lnTo>
                    <a:pt x="142" y="190"/>
                  </a:lnTo>
                  <a:lnTo>
                    <a:pt x="142" y="188"/>
                  </a:lnTo>
                  <a:lnTo>
                    <a:pt x="142" y="186"/>
                  </a:lnTo>
                  <a:lnTo>
                    <a:pt x="140" y="186"/>
                  </a:lnTo>
                  <a:lnTo>
                    <a:pt x="134" y="186"/>
                  </a:lnTo>
                  <a:lnTo>
                    <a:pt x="132" y="186"/>
                  </a:lnTo>
                  <a:lnTo>
                    <a:pt x="128" y="186"/>
                  </a:lnTo>
                  <a:lnTo>
                    <a:pt x="126" y="186"/>
                  </a:lnTo>
                  <a:lnTo>
                    <a:pt x="122" y="186"/>
                  </a:lnTo>
                  <a:lnTo>
                    <a:pt x="122" y="185"/>
                  </a:lnTo>
                  <a:lnTo>
                    <a:pt x="122" y="183"/>
                  </a:lnTo>
                  <a:lnTo>
                    <a:pt x="124" y="183"/>
                  </a:lnTo>
                  <a:lnTo>
                    <a:pt x="124" y="181"/>
                  </a:lnTo>
                  <a:lnTo>
                    <a:pt x="122" y="181"/>
                  </a:lnTo>
                  <a:lnTo>
                    <a:pt x="121" y="181"/>
                  </a:lnTo>
                  <a:lnTo>
                    <a:pt x="119" y="181"/>
                  </a:lnTo>
                  <a:lnTo>
                    <a:pt x="119" y="183"/>
                  </a:lnTo>
                  <a:lnTo>
                    <a:pt x="115" y="183"/>
                  </a:lnTo>
                  <a:lnTo>
                    <a:pt x="107" y="183"/>
                  </a:lnTo>
                  <a:lnTo>
                    <a:pt x="107" y="185"/>
                  </a:lnTo>
                  <a:lnTo>
                    <a:pt x="107" y="186"/>
                  </a:lnTo>
                  <a:lnTo>
                    <a:pt x="107" y="188"/>
                  </a:lnTo>
                  <a:lnTo>
                    <a:pt x="107" y="190"/>
                  </a:lnTo>
                  <a:lnTo>
                    <a:pt x="105" y="190"/>
                  </a:lnTo>
                  <a:lnTo>
                    <a:pt x="105" y="192"/>
                  </a:lnTo>
                  <a:lnTo>
                    <a:pt x="105" y="194"/>
                  </a:lnTo>
                  <a:lnTo>
                    <a:pt x="105" y="196"/>
                  </a:lnTo>
                  <a:lnTo>
                    <a:pt x="98" y="196"/>
                  </a:lnTo>
                  <a:lnTo>
                    <a:pt x="96" y="196"/>
                  </a:lnTo>
                  <a:lnTo>
                    <a:pt x="98" y="196"/>
                  </a:lnTo>
                  <a:lnTo>
                    <a:pt x="96" y="196"/>
                  </a:lnTo>
                  <a:lnTo>
                    <a:pt x="98" y="196"/>
                  </a:lnTo>
                  <a:lnTo>
                    <a:pt x="96" y="196"/>
                  </a:lnTo>
                  <a:lnTo>
                    <a:pt x="94" y="196"/>
                  </a:lnTo>
                  <a:lnTo>
                    <a:pt x="92" y="196"/>
                  </a:lnTo>
                  <a:lnTo>
                    <a:pt x="92" y="198"/>
                  </a:lnTo>
                  <a:lnTo>
                    <a:pt x="90" y="198"/>
                  </a:lnTo>
                  <a:lnTo>
                    <a:pt x="90" y="196"/>
                  </a:lnTo>
                  <a:lnTo>
                    <a:pt x="88" y="196"/>
                  </a:lnTo>
                  <a:lnTo>
                    <a:pt x="88" y="198"/>
                  </a:lnTo>
                  <a:lnTo>
                    <a:pt x="86" y="198"/>
                  </a:lnTo>
                  <a:lnTo>
                    <a:pt x="84" y="198"/>
                  </a:lnTo>
                  <a:lnTo>
                    <a:pt x="82" y="198"/>
                  </a:lnTo>
                  <a:lnTo>
                    <a:pt x="80" y="198"/>
                  </a:lnTo>
                  <a:lnTo>
                    <a:pt x="78" y="198"/>
                  </a:lnTo>
                  <a:lnTo>
                    <a:pt x="78" y="196"/>
                  </a:lnTo>
                  <a:lnTo>
                    <a:pt x="76" y="196"/>
                  </a:lnTo>
                  <a:lnTo>
                    <a:pt x="76" y="194"/>
                  </a:lnTo>
                  <a:lnTo>
                    <a:pt x="75" y="194"/>
                  </a:lnTo>
                  <a:lnTo>
                    <a:pt x="75" y="192"/>
                  </a:lnTo>
                  <a:lnTo>
                    <a:pt x="75" y="190"/>
                  </a:lnTo>
                  <a:lnTo>
                    <a:pt x="73" y="190"/>
                  </a:lnTo>
                  <a:lnTo>
                    <a:pt x="73" y="188"/>
                  </a:lnTo>
                  <a:lnTo>
                    <a:pt x="73" y="186"/>
                  </a:lnTo>
                  <a:lnTo>
                    <a:pt x="71" y="186"/>
                  </a:lnTo>
                  <a:lnTo>
                    <a:pt x="69" y="186"/>
                  </a:lnTo>
                  <a:lnTo>
                    <a:pt x="71" y="186"/>
                  </a:lnTo>
                  <a:lnTo>
                    <a:pt x="71" y="185"/>
                  </a:lnTo>
                  <a:lnTo>
                    <a:pt x="69" y="185"/>
                  </a:lnTo>
                  <a:lnTo>
                    <a:pt x="71" y="185"/>
                  </a:lnTo>
                  <a:lnTo>
                    <a:pt x="71" y="183"/>
                  </a:lnTo>
                  <a:lnTo>
                    <a:pt x="69" y="183"/>
                  </a:lnTo>
                  <a:lnTo>
                    <a:pt x="69" y="181"/>
                  </a:lnTo>
                  <a:lnTo>
                    <a:pt x="69" y="179"/>
                  </a:lnTo>
                  <a:lnTo>
                    <a:pt x="67" y="179"/>
                  </a:lnTo>
                  <a:lnTo>
                    <a:pt x="67" y="177"/>
                  </a:lnTo>
                  <a:lnTo>
                    <a:pt x="67" y="175"/>
                  </a:lnTo>
                  <a:lnTo>
                    <a:pt x="67" y="173"/>
                  </a:lnTo>
                  <a:lnTo>
                    <a:pt x="65" y="173"/>
                  </a:lnTo>
                  <a:lnTo>
                    <a:pt x="67" y="173"/>
                  </a:lnTo>
                  <a:lnTo>
                    <a:pt x="65" y="173"/>
                  </a:lnTo>
                  <a:lnTo>
                    <a:pt x="67" y="173"/>
                  </a:lnTo>
                  <a:lnTo>
                    <a:pt x="67" y="171"/>
                  </a:lnTo>
                  <a:lnTo>
                    <a:pt x="67" y="169"/>
                  </a:lnTo>
                  <a:lnTo>
                    <a:pt x="65" y="169"/>
                  </a:lnTo>
                  <a:lnTo>
                    <a:pt x="65" y="167"/>
                  </a:lnTo>
                  <a:lnTo>
                    <a:pt x="65" y="169"/>
                  </a:lnTo>
                  <a:lnTo>
                    <a:pt x="65" y="167"/>
                  </a:lnTo>
                  <a:lnTo>
                    <a:pt x="65" y="165"/>
                  </a:lnTo>
                  <a:lnTo>
                    <a:pt x="63" y="165"/>
                  </a:lnTo>
                  <a:lnTo>
                    <a:pt x="61" y="165"/>
                  </a:lnTo>
                  <a:lnTo>
                    <a:pt x="59" y="165"/>
                  </a:lnTo>
                  <a:lnTo>
                    <a:pt x="57" y="165"/>
                  </a:lnTo>
                  <a:lnTo>
                    <a:pt x="55" y="165"/>
                  </a:lnTo>
                  <a:lnTo>
                    <a:pt x="53" y="165"/>
                  </a:lnTo>
                  <a:lnTo>
                    <a:pt x="51" y="165"/>
                  </a:lnTo>
                  <a:lnTo>
                    <a:pt x="50" y="165"/>
                  </a:lnTo>
                  <a:lnTo>
                    <a:pt x="48" y="165"/>
                  </a:lnTo>
                  <a:lnTo>
                    <a:pt x="46" y="165"/>
                  </a:lnTo>
                  <a:lnTo>
                    <a:pt x="44" y="165"/>
                  </a:lnTo>
                  <a:lnTo>
                    <a:pt x="42" y="165"/>
                  </a:lnTo>
                  <a:lnTo>
                    <a:pt x="40" y="165"/>
                  </a:lnTo>
                  <a:lnTo>
                    <a:pt x="38" y="165"/>
                  </a:lnTo>
                  <a:lnTo>
                    <a:pt x="36" y="165"/>
                  </a:lnTo>
                  <a:lnTo>
                    <a:pt x="34" y="165"/>
                  </a:lnTo>
                  <a:lnTo>
                    <a:pt x="32" y="165"/>
                  </a:lnTo>
                  <a:lnTo>
                    <a:pt x="30" y="165"/>
                  </a:lnTo>
                  <a:lnTo>
                    <a:pt x="28" y="165"/>
                  </a:lnTo>
                  <a:lnTo>
                    <a:pt x="27" y="165"/>
                  </a:lnTo>
                  <a:lnTo>
                    <a:pt x="25" y="165"/>
                  </a:lnTo>
                  <a:lnTo>
                    <a:pt x="23" y="165"/>
                  </a:lnTo>
                  <a:lnTo>
                    <a:pt x="21" y="165"/>
                  </a:lnTo>
                  <a:lnTo>
                    <a:pt x="19" y="165"/>
                  </a:lnTo>
                  <a:lnTo>
                    <a:pt x="17" y="165"/>
                  </a:lnTo>
                  <a:lnTo>
                    <a:pt x="15" y="165"/>
                  </a:lnTo>
                  <a:lnTo>
                    <a:pt x="13" y="165"/>
                  </a:lnTo>
                  <a:lnTo>
                    <a:pt x="11" y="165"/>
                  </a:lnTo>
                  <a:lnTo>
                    <a:pt x="9" y="165"/>
                  </a:lnTo>
                  <a:lnTo>
                    <a:pt x="9" y="167"/>
                  </a:lnTo>
                  <a:lnTo>
                    <a:pt x="7" y="167"/>
                  </a:lnTo>
                  <a:lnTo>
                    <a:pt x="5" y="167"/>
                  </a:lnTo>
                  <a:lnTo>
                    <a:pt x="5" y="169"/>
                  </a:lnTo>
                  <a:lnTo>
                    <a:pt x="3" y="169"/>
                  </a:lnTo>
                  <a:lnTo>
                    <a:pt x="3" y="167"/>
                  </a:lnTo>
                  <a:lnTo>
                    <a:pt x="5" y="167"/>
                  </a:lnTo>
                  <a:lnTo>
                    <a:pt x="3" y="167"/>
                  </a:lnTo>
                  <a:lnTo>
                    <a:pt x="2" y="167"/>
                  </a:lnTo>
                  <a:lnTo>
                    <a:pt x="2" y="165"/>
                  </a:lnTo>
                  <a:lnTo>
                    <a:pt x="0" y="165"/>
                  </a:lnTo>
                  <a:lnTo>
                    <a:pt x="0" y="163"/>
                  </a:lnTo>
                  <a:lnTo>
                    <a:pt x="2" y="163"/>
                  </a:lnTo>
                  <a:lnTo>
                    <a:pt x="3" y="163"/>
                  </a:lnTo>
                  <a:lnTo>
                    <a:pt x="5" y="163"/>
                  </a:lnTo>
                  <a:lnTo>
                    <a:pt x="5" y="161"/>
                  </a:lnTo>
                  <a:lnTo>
                    <a:pt x="5" y="156"/>
                  </a:lnTo>
                  <a:lnTo>
                    <a:pt x="5" y="154"/>
                  </a:lnTo>
                  <a:lnTo>
                    <a:pt x="5" y="156"/>
                  </a:lnTo>
                  <a:lnTo>
                    <a:pt x="5" y="154"/>
                  </a:lnTo>
                  <a:lnTo>
                    <a:pt x="3" y="154"/>
                  </a:lnTo>
                  <a:lnTo>
                    <a:pt x="5" y="154"/>
                  </a:lnTo>
                  <a:lnTo>
                    <a:pt x="7" y="154"/>
                  </a:lnTo>
                  <a:lnTo>
                    <a:pt x="7" y="152"/>
                  </a:lnTo>
                  <a:lnTo>
                    <a:pt x="9" y="152"/>
                  </a:lnTo>
                  <a:lnTo>
                    <a:pt x="9" y="150"/>
                  </a:lnTo>
                  <a:lnTo>
                    <a:pt x="9" y="152"/>
                  </a:lnTo>
                  <a:lnTo>
                    <a:pt x="9" y="150"/>
                  </a:lnTo>
                  <a:lnTo>
                    <a:pt x="9" y="152"/>
                  </a:lnTo>
                  <a:lnTo>
                    <a:pt x="9" y="150"/>
                  </a:lnTo>
                  <a:lnTo>
                    <a:pt x="9" y="152"/>
                  </a:lnTo>
                  <a:lnTo>
                    <a:pt x="9" y="150"/>
                  </a:lnTo>
                  <a:lnTo>
                    <a:pt x="11" y="150"/>
                  </a:lnTo>
                  <a:lnTo>
                    <a:pt x="9" y="150"/>
                  </a:lnTo>
                  <a:lnTo>
                    <a:pt x="11" y="150"/>
                  </a:lnTo>
                  <a:lnTo>
                    <a:pt x="9" y="150"/>
                  </a:lnTo>
                  <a:lnTo>
                    <a:pt x="11" y="150"/>
                  </a:lnTo>
                  <a:lnTo>
                    <a:pt x="11" y="148"/>
                  </a:lnTo>
                  <a:lnTo>
                    <a:pt x="11" y="150"/>
                  </a:lnTo>
                  <a:lnTo>
                    <a:pt x="11" y="148"/>
                  </a:lnTo>
                  <a:lnTo>
                    <a:pt x="13" y="148"/>
                  </a:lnTo>
                  <a:lnTo>
                    <a:pt x="13" y="146"/>
                  </a:lnTo>
                  <a:lnTo>
                    <a:pt x="15" y="146"/>
                  </a:lnTo>
                  <a:lnTo>
                    <a:pt x="15" y="148"/>
                  </a:lnTo>
                  <a:lnTo>
                    <a:pt x="15" y="150"/>
                  </a:lnTo>
                  <a:lnTo>
                    <a:pt x="17" y="150"/>
                  </a:lnTo>
                  <a:lnTo>
                    <a:pt x="17" y="152"/>
                  </a:lnTo>
                  <a:lnTo>
                    <a:pt x="19" y="152"/>
                  </a:lnTo>
                  <a:lnTo>
                    <a:pt x="19" y="150"/>
                  </a:lnTo>
                  <a:lnTo>
                    <a:pt x="21" y="150"/>
                  </a:lnTo>
                  <a:lnTo>
                    <a:pt x="21" y="148"/>
                  </a:lnTo>
                  <a:lnTo>
                    <a:pt x="21" y="150"/>
                  </a:lnTo>
                  <a:lnTo>
                    <a:pt x="23" y="150"/>
                  </a:lnTo>
                  <a:lnTo>
                    <a:pt x="23" y="148"/>
                  </a:lnTo>
                  <a:lnTo>
                    <a:pt x="23" y="146"/>
                  </a:lnTo>
                  <a:lnTo>
                    <a:pt x="23" y="144"/>
                  </a:lnTo>
                  <a:lnTo>
                    <a:pt x="25" y="144"/>
                  </a:lnTo>
                  <a:lnTo>
                    <a:pt x="25" y="146"/>
                  </a:lnTo>
                  <a:lnTo>
                    <a:pt x="27" y="146"/>
                  </a:lnTo>
                  <a:lnTo>
                    <a:pt x="27" y="144"/>
                  </a:lnTo>
                  <a:lnTo>
                    <a:pt x="28" y="144"/>
                  </a:lnTo>
                  <a:lnTo>
                    <a:pt x="30" y="144"/>
                  </a:lnTo>
                  <a:lnTo>
                    <a:pt x="30" y="142"/>
                  </a:lnTo>
                  <a:lnTo>
                    <a:pt x="32" y="142"/>
                  </a:lnTo>
                  <a:lnTo>
                    <a:pt x="32" y="144"/>
                  </a:lnTo>
                  <a:lnTo>
                    <a:pt x="34" y="144"/>
                  </a:lnTo>
                  <a:lnTo>
                    <a:pt x="32" y="144"/>
                  </a:lnTo>
                  <a:lnTo>
                    <a:pt x="32" y="146"/>
                  </a:lnTo>
                  <a:lnTo>
                    <a:pt x="32" y="144"/>
                  </a:lnTo>
                  <a:lnTo>
                    <a:pt x="32" y="146"/>
                  </a:lnTo>
                  <a:lnTo>
                    <a:pt x="32" y="148"/>
                  </a:lnTo>
                  <a:lnTo>
                    <a:pt x="32" y="150"/>
                  </a:lnTo>
                  <a:lnTo>
                    <a:pt x="32" y="152"/>
                  </a:lnTo>
                  <a:lnTo>
                    <a:pt x="34" y="150"/>
                  </a:lnTo>
                  <a:lnTo>
                    <a:pt x="34" y="152"/>
                  </a:lnTo>
                  <a:lnTo>
                    <a:pt x="36" y="152"/>
                  </a:lnTo>
                  <a:lnTo>
                    <a:pt x="38" y="152"/>
                  </a:lnTo>
                  <a:lnTo>
                    <a:pt x="38" y="150"/>
                  </a:lnTo>
                  <a:lnTo>
                    <a:pt x="40" y="150"/>
                  </a:lnTo>
                  <a:lnTo>
                    <a:pt x="40" y="148"/>
                  </a:lnTo>
                  <a:lnTo>
                    <a:pt x="42" y="148"/>
                  </a:lnTo>
                  <a:lnTo>
                    <a:pt x="42" y="146"/>
                  </a:lnTo>
                  <a:lnTo>
                    <a:pt x="44" y="144"/>
                  </a:lnTo>
                  <a:lnTo>
                    <a:pt x="44" y="142"/>
                  </a:lnTo>
                  <a:lnTo>
                    <a:pt x="46" y="142"/>
                  </a:lnTo>
                  <a:lnTo>
                    <a:pt x="48" y="142"/>
                  </a:lnTo>
                  <a:lnTo>
                    <a:pt x="48" y="140"/>
                  </a:lnTo>
                  <a:lnTo>
                    <a:pt x="50" y="140"/>
                  </a:lnTo>
                  <a:lnTo>
                    <a:pt x="50" y="138"/>
                  </a:lnTo>
                  <a:lnTo>
                    <a:pt x="51" y="138"/>
                  </a:lnTo>
                  <a:lnTo>
                    <a:pt x="53" y="138"/>
                  </a:lnTo>
                  <a:lnTo>
                    <a:pt x="53" y="136"/>
                  </a:lnTo>
                  <a:lnTo>
                    <a:pt x="55" y="136"/>
                  </a:lnTo>
                  <a:lnTo>
                    <a:pt x="55" y="135"/>
                  </a:lnTo>
                  <a:lnTo>
                    <a:pt x="55" y="133"/>
                  </a:lnTo>
                  <a:lnTo>
                    <a:pt x="57" y="133"/>
                  </a:lnTo>
                  <a:lnTo>
                    <a:pt x="57" y="131"/>
                  </a:lnTo>
                  <a:lnTo>
                    <a:pt x="59" y="129"/>
                  </a:lnTo>
                  <a:lnTo>
                    <a:pt x="59" y="127"/>
                  </a:lnTo>
                  <a:lnTo>
                    <a:pt x="59" y="125"/>
                  </a:lnTo>
                  <a:lnTo>
                    <a:pt x="59" y="123"/>
                  </a:lnTo>
                  <a:lnTo>
                    <a:pt x="59" y="121"/>
                  </a:lnTo>
                  <a:lnTo>
                    <a:pt x="59" y="119"/>
                  </a:lnTo>
                  <a:lnTo>
                    <a:pt x="59" y="117"/>
                  </a:lnTo>
                  <a:lnTo>
                    <a:pt x="59" y="115"/>
                  </a:lnTo>
                  <a:lnTo>
                    <a:pt x="59" y="113"/>
                  </a:lnTo>
                  <a:lnTo>
                    <a:pt x="59" y="112"/>
                  </a:lnTo>
                  <a:lnTo>
                    <a:pt x="59" y="110"/>
                  </a:lnTo>
                  <a:lnTo>
                    <a:pt x="61" y="110"/>
                  </a:lnTo>
                  <a:lnTo>
                    <a:pt x="61" y="108"/>
                  </a:lnTo>
                  <a:lnTo>
                    <a:pt x="63" y="108"/>
                  </a:lnTo>
                  <a:lnTo>
                    <a:pt x="65" y="106"/>
                  </a:lnTo>
                  <a:lnTo>
                    <a:pt x="65" y="104"/>
                  </a:lnTo>
                  <a:lnTo>
                    <a:pt x="65" y="102"/>
                  </a:lnTo>
                  <a:lnTo>
                    <a:pt x="67" y="102"/>
                  </a:lnTo>
                  <a:lnTo>
                    <a:pt x="65" y="102"/>
                  </a:lnTo>
                  <a:lnTo>
                    <a:pt x="67" y="102"/>
                  </a:lnTo>
                  <a:lnTo>
                    <a:pt x="67" y="100"/>
                  </a:lnTo>
                  <a:lnTo>
                    <a:pt x="67" y="98"/>
                  </a:lnTo>
                  <a:lnTo>
                    <a:pt x="69" y="98"/>
                  </a:lnTo>
                  <a:lnTo>
                    <a:pt x="69" y="96"/>
                  </a:lnTo>
                  <a:lnTo>
                    <a:pt x="71" y="96"/>
                  </a:lnTo>
                  <a:lnTo>
                    <a:pt x="71" y="94"/>
                  </a:lnTo>
                  <a:lnTo>
                    <a:pt x="73" y="94"/>
                  </a:lnTo>
                  <a:lnTo>
                    <a:pt x="75" y="94"/>
                  </a:lnTo>
                  <a:lnTo>
                    <a:pt x="76" y="94"/>
                  </a:lnTo>
                  <a:lnTo>
                    <a:pt x="76" y="92"/>
                  </a:lnTo>
                  <a:lnTo>
                    <a:pt x="78" y="90"/>
                  </a:lnTo>
                  <a:lnTo>
                    <a:pt x="80" y="90"/>
                  </a:lnTo>
                  <a:lnTo>
                    <a:pt x="80" y="88"/>
                  </a:lnTo>
                  <a:lnTo>
                    <a:pt x="80" y="87"/>
                  </a:lnTo>
                  <a:lnTo>
                    <a:pt x="80" y="85"/>
                  </a:lnTo>
                  <a:lnTo>
                    <a:pt x="80" y="83"/>
                  </a:lnTo>
                  <a:lnTo>
                    <a:pt x="80" y="81"/>
                  </a:lnTo>
                  <a:lnTo>
                    <a:pt x="82" y="81"/>
                  </a:lnTo>
                  <a:lnTo>
                    <a:pt x="82" y="79"/>
                  </a:lnTo>
                  <a:lnTo>
                    <a:pt x="82" y="77"/>
                  </a:lnTo>
                  <a:lnTo>
                    <a:pt x="82" y="75"/>
                  </a:lnTo>
                  <a:lnTo>
                    <a:pt x="84" y="75"/>
                  </a:lnTo>
                  <a:lnTo>
                    <a:pt x="84" y="73"/>
                  </a:lnTo>
                  <a:lnTo>
                    <a:pt x="84" y="71"/>
                  </a:lnTo>
                  <a:lnTo>
                    <a:pt x="84" y="69"/>
                  </a:lnTo>
                  <a:lnTo>
                    <a:pt x="84" y="67"/>
                  </a:lnTo>
                  <a:lnTo>
                    <a:pt x="82" y="67"/>
                  </a:lnTo>
                  <a:lnTo>
                    <a:pt x="82" y="65"/>
                  </a:lnTo>
                  <a:lnTo>
                    <a:pt x="82" y="64"/>
                  </a:lnTo>
                  <a:lnTo>
                    <a:pt x="84" y="64"/>
                  </a:lnTo>
                  <a:lnTo>
                    <a:pt x="84" y="62"/>
                  </a:lnTo>
                  <a:lnTo>
                    <a:pt x="84" y="60"/>
                  </a:lnTo>
                  <a:lnTo>
                    <a:pt x="86" y="60"/>
                  </a:lnTo>
                  <a:lnTo>
                    <a:pt x="86" y="58"/>
                  </a:lnTo>
                  <a:lnTo>
                    <a:pt x="86" y="56"/>
                  </a:lnTo>
                  <a:lnTo>
                    <a:pt x="86" y="54"/>
                  </a:lnTo>
                  <a:lnTo>
                    <a:pt x="86" y="52"/>
                  </a:lnTo>
                  <a:lnTo>
                    <a:pt x="86" y="50"/>
                  </a:lnTo>
                  <a:lnTo>
                    <a:pt x="86" y="48"/>
                  </a:lnTo>
                  <a:lnTo>
                    <a:pt x="86" y="46"/>
                  </a:lnTo>
                  <a:lnTo>
                    <a:pt x="88" y="46"/>
                  </a:lnTo>
                  <a:lnTo>
                    <a:pt x="88" y="44"/>
                  </a:lnTo>
                  <a:lnTo>
                    <a:pt x="88" y="42"/>
                  </a:lnTo>
                  <a:lnTo>
                    <a:pt x="90" y="42"/>
                  </a:lnTo>
                  <a:lnTo>
                    <a:pt x="90" y="40"/>
                  </a:lnTo>
                  <a:lnTo>
                    <a:pt x="92" y="40"/>
                  </a:lnTo>
                  <a:lnTo>
                    <a:pt x="92" y="39"/>
                  </a:lnTo>
                  <a:lnTo>
                    <a:pt x="92" y="37"/>
                  </a:lnTo>
                  <a:lnTo>
                    <a:pt x="92" y="35"/>
                  </a:lnTo>
                  <a:lnTo>
                    <a:pt x="94" y="35"/>
                  </a:lnTo>
                  <a:lnTo>
                    <a:pt x="94" y="33"/>
                  </a:lnTo>
                  <a:lnTo>
                    <a:pt x="94" y="31"/>
                  </a:lnTo>
                  <a:lnTo>
                    <a:pt x="94" y="29"/>
                  </a:lnTo>
                  <a:lnTo>
                    <a:pt x="94" y="27"/>
                  </a:lnTo>
                  <a:lnTo>
                    <a:pt x="94" y="25"/>
                  </a:lnTo>
                  <a:lnTo>
                    <a:pt x="94" y="23"/>
                  </a:lnTo>
                  <a:lnTo>
                    <a:pt x="94" y="21"/>
                  </a:lnTo>
                  <a:lnTo>
                    <a:pt x="96" y="21"/>
                  </a:lnTo>
                  <a:lnTo>
                    <a:pt x="96" y="19"/>
                  </a:lnTo>
                  <a:lnTo>
                    <a:pt x="94" y="19"/>
                  </a:lnTo>
                  <a:lnTo>
                    <a:pt x="94" y="17"/>
                  </a:lnTo>
                  <a:lnTo>
                    <a:pt x="94" y="15"/>
                  </a:lnTo>
                  <a:lnTo>
                    <a:pt x="96" y="15"/>
                  </a:lnTo>
                  <a:lnTo>
                    <a:pt x="98" y="15"/>
                  </a:lnTo>
                  <a:lnTo>
                    <a:pt x="98" y="14"/>
                  </a:lnTo>
                  <a:lnTo>
                    <a:pt x="98" y="12"/>
                  </a:lnTo>
                  <a:lnTo>
                    <a:pt x="99" y="12"/>
                  </a:lnTo>
                  <a:lnTo>
                    <a:pt x="99" y="10"/>
                  </a:lnTo>
                  <a:lnTo>
                    <a:pt x="101" y="8"/>
                  </a:lnTo>
                  <a:lnTo>
                    <a:pt x="103" y="8"/>
                  </a:lnTo>
                  <a:lnTo>
                    <a:pt x="103" y="6"/>
                  </a:lnTo>
                  <a:lnTo>
                    <a:pt x="105" y="6"/>
                  </a:lnTo>
                  <a:lnTo>
                    <a:pt x="105" y="4"/>
                  </a:lnTo>
                  <a:lnTo>
                    <a:pt x="107" y="4"/>
                  </a:lnTo>
                  <a:lnTo>
                    <a:pt x="109" y="4"/>
                  </a:lnTo>
                  <a:lnTo>
                    <a:pt x="111" y="4"/>
                  </a:lnTo>
                  <a:lnTo>
                    <a:pt x="113" y="4"/>
                  </a:lnTo>
                  <a:lnTo>
                    <a:pt x="113" y="6"/>
                  </a:lnTo>
                  <a:lnTo>
                    <a:pt x="115" y="6"/>
                  </a:lnTo>
                  <a:lnTo>
                    <a:pt x="115" y="8"/>
                  </a:lnTo>
                  <a:lnTo>
                    <a:pt x="117" y="8"/>
                  </a:lnTo>
                  <a:lnTo>
                    <a:pt x="117" y="10"/>
                  </a:lnTo>
                  <a:lnTo>
                    <a:pt x="119" y="10"/>
                  </a:lnTo>
                  <a:lnTo>
                    <a:pt x="121" y="10"/>
                  </a:lnTo>
                  <a:lnTo>
                    <a:pt x="121" y="12"/>
                  </a:lnTo>
                  <a:lnTo>
                    <a:pt x="121" y="14"/>
                  </a:lnTo>
                  <a:lnTo>
                    <a:pt x="122" y="14"/>
                  </a:lnTo>
                  <a:lnTo>
                    <a:pt x="122" y="15"/>
                  </a:lnTo>
                  <a:lnTo>
                    <a:pt x="124" y="15"/>
                  </a:lnTo>
                  <a:lnTo>
                    <a:pt x="126" y="15"/>
                  </a:lnTo>
                  <a:lnTo>
                    <a:pt x="126" y="14"/>
                  </a:lnTo>
                  <a:lnTo>
                    <a:pt x="128" y="14"/>
                  </a:lnTo>
                  <a:lnTo>
                    <a:pt x="128" y="15"/>
                  </a:lnTo>
                  <a:lnTo>
                    <a:pt x="130" y="15"/>
                  </a:lnTo>
                  <a:lnTo>
                    <a:pt x="132" y="15"/>
                  </a:lnTo>
                  <a:lnTo>
                    <a:pt x="132" y="17"/>
                  </a:lnTo>
                  <a:lnTo>
                    <a:pt x="132" y="15"/>
                  </a:lnTo>
                  <a:lnTo>
                    <a:pt x="134" y="15"/>
                  </a:lnTo>
                  <a:lnTo>
                    <a:pt x="134" y="17"/>
                  </a:lnTo>
                  <a:lnTo>
                    <a:pt x="136" y="17"/>
                  </a:lnTo>
                  <a:lnTo>
                    <a:pt x="138" y="17"/>
                  </a:lnTo>
                  <a:lnTo>
                    <a:pt x="138" y="15"/>
                  </a:lnTo>
                  <a:lnTo>
                    <a:pt x="140" y="15"/>
                  </a:lnTo>
                  <a:lnTo>
                    <a:pt x="140" y="17"/>
                  </a:lnTo>
                  <a:lnTo>
                    <a:pt x="140" y="15"/>
                  </a:lnTo>
                  <a:lnTo>
                    <a:pt x="140" y="17"/>
                  </a:lnTo>
                  <a:lnTo>
                    <a:pt x="140" y="15"/>
                  </a:lnTo>
                  <a:lnTo>
                    <a:pt x="140" y="17"/>
                  </a:lnTo>
                  <a:lnTo>
                    <a:pt x="142" y="17"/>
                  </a:lnTo>
                  <a:lnTo>
                    <a:pt x="144" y="17"/>
                  </a:lnTo>
                  <a:lnTo>
                    <a:pt x="146" y="17"/>
                  </a:lnTo>
                  <a:lnTo>
                    <a:pt x="146" y="19"/>
                  </a:lnTo>
                  <a:lnTo>
                    <a:pt x="147" y="19"/>
                  </a:lnTo>
                  <a:lnTo>
                    <a:pt x="149" y="19"/>
                  </a:lnTo>
                  <a:lnTo>
                    <a:pt x="151" y="19"/>
                  </a:lnTo>
                  <a:lnTo>
                    <a:pt x="151" y="17"/>
                  </a:lnTo>
                  <a:lnTo>
                    <a:pt x="151" y="15"/>
                  </a:lnTo>
                  <a:lnTo>
                    <a:pt x="153" y="15"/>
                  </a:lnTo>
                  <a:lnTo>
                    <a:pt x="151" y="15"/>
                  </a:lnTo>
                  <a:lnTo>
                    <a:pt x="153" y="15"/>
                  </a:lnTo>
                  <a:lnTo>
                    <a:pt x="153" y="14"/>
                  </a:lnTo>
                  <a:lnTo>
                    <a:pt x="155" y="14"/>
                  </a:lnTo>
                  <a:lnTo>
                    <a:pt x="155" y="12"/>
                  </a:lnTo>
                  <a:lnTo>
                    <a:pt x="155" y="10"/>
                  </a:lnTo>
                  <a:lnTo>
                    <a:pt x="157" y="10"/>
                  </a:lnTo>
                  <a:lnTo>
                    <a:pt x="157" y="8"/>
                  </a:lnTo>
                  <a:lnTo>
                    <a:pt x="159" y="8"/>
                  </a:lnTo>
                  <a:lnTo>
                    <a:pt x="159" y="10"/>
                  </a:lnTo>
                  <a:lnTo>
                    <a:pt x="161" y="10"/>
                  </a:lnTo>
                  <a:lnTo>
                    <a:pt x="161" y="12"/>
                  </a:lnTo>
                  <a:lnTo>
                    <a:pt x="163" y="12"/>
                  </a:lnTo>
                  <a:lnTo>
                    <a:pt x="165" y="12"/>
                  </a:lnTo>
                  <a:lnTo>
                    <a:pt x="167" y="12"/>
                  </a:lnTo>
                  <a:lnTo>
                    <a:pt x="167" y="10"/>
                  </a:lnTo>
                  <a:lnTo>
                    <a:pt x="169" y="10"/>
                  </a:lnTo>
                  <a:lnTo>
                    <a:pt x="170" y="10"/>
                  </a:lnTo>
                  <a:lnTo>
                    <a:pt x="170" y="8"/>
                  </a:lnTo>
                  <a:lnTo>
                    <a:pt x="170" y="10"/>
                  </a:lnTo>
                  <a:lnTo>
                    <a:pt x="170" y="8"/>
                  </a:lnTo>
                  <a:lnTo>
                    <a:pt x="172" y="8"/>
                  </a:lnTo>
                  <a:lnTo>
                    <a:pt x="172" y="10"/>
                  </a:lnTo>
                  <a:lnTo>
                    <a:pt x="172" y="8"/>
                  </a:lnTo>
                  <a:lnTo>
                    <a:pt x="174" y="8"/>
                  </a:lnTo>
                  <a:lnTo>
                    <a:pt x="176" y="8"/>
                  </a:lnTo>
                  <a:lnTo>
                    <a:pt x="176" y="6"/>
                  </a:lnTo>
                  <a:lnTo>
                    <a:pt x="176" y="8"/>
                  </a:lnTo>
                  <a:lnTo>
                    <a:pt x="176" y="6"/>
                  </a:lnTo>
                  <a:lnTo>
                    <a:pt x="176" y="8"/>
                  </a:lnTo>
                  <a:lnTo>
                    <a:pt x="176" y="6"/>
                  </a:lnTo>
                  <a:lnTo>
                    <a:pt x="178" y="6"/>
                  </a:lnTo>
                  <a:lnTo>
                    <a:pt x="178" y="4"/>
                  </a:lnTo>
                  <a:lnTo>
                    <a:pt x="178" y="6"/>
                  </a:lnTo>
                  <a:lnTo>
                    <a:pt x="180" y="6"/>
                  </a:lnTo>
                  <a:lnTo>
                    <a:pt x="180" y="4"/>
                  </a:lnTo>
                  <a:lnTo>
                    <a:pt x="180" y="6"/>
                  </a:lnTo>
                  <a:lnTo>
                    <a:pt x="182" y="6"/>
                  </a:lnTo>
                  <a:lnTo>
                    <a:pt x="182" y="8"/>
                  </a:lnTo>
                  <a:lnTo>
                    <a:pt x="184" y="8"/>
                  </a:lnTo>
                  <a:lnTo>
                    <a:pt x="186" y="8"/>
                  </a:lnTo>
                  <a:lnTo>
                    <a:pt x="186" y="6"/>
                  </a:lnTo>
                  <a:lnTo>
                    <a:pt x="188" y="6"/>
                  </a:lnTo>
                  <a:lnTo>
                    <a:pt x="188" y="8"/>
                  </a:lnTo>
                  <a:lnTo>
                    <a:pt x="188" y="6"/>
                  </a:lnTo>
                  <a:lnTo>
                    <a:pt x="190" y="6"/>
                  </a:lnTo>
                  <a:lnTo>
                    <a:pt x="192" y="6"/>
                  </a:lnTo>
                  <a:lnTo>
                    <a:pt x="192" y="4"/>
                  </a:lnTo>
                  <a:lnTo>
                    <a:pt x="194" y="4"/>
                  </a:lnTo>
                  <a:lnTo>
                    <a:pt x="192" y="4"/>
                  </a:lnTo>
                  <a:lnTo>
                    <a:pt x="192" y="2"/>
                  </a:lnTo>
                  <a:lnTo>
                    <a:pt x="194" y="2"/>
                  </a:lnTo>
                  <a:lnTo>
                    <a:pt x="195" y="0"/>
                  </a:lnTo>
                  <a:lnTo>
                    <a:pt x="194" y="0"/>
                  </a:lnTo>
                  <a:lnTo>
                    <a:pt x="195" y="0"/>
                  </a:lnTo>
                  <a:lnTo>
                    <a:pt x="195" y="2"/>
                  </a:lnTo>
                  <a:lnTo>
                    <a:pt x="195" y="0"/>
                  </a:lnTo>
                  <a:lnTo>
                    <a:pt x="195" y="2"/>
                  </a:lnTo>
                  <a:lnTo>
                    <a:pt x="195" y="0"/>
                  </a:lnTo>
                  <a:lnTo>
                    <a:pt x="197" y="0"/>
                  </a:lnTo>
                  <a:lnTo>
                    <a:pt x="197" y="2"/>
                  </a:lnTo>
                  <a:lnTo>
                    <a:pt x="195" y="2"/>
                  </a:lnTo>
                  <a:lnTo>
                    <a:pt x="197" y="2"/>
                  </a:lnTo>
                  <a:lnTo>
                    <a:pt x="199" y="2"/>
                  </a:lnTo>
                  <a:lnTo>
                    <a:pt x="199" y="4"/>
                  </a:lnTo>
                  <a:lnTo>
                    <a:pt x="199" y="2"/>
                  </a:lnTo>
                  <a:lnTo>
                    <a:pt x="201" y="2"/>
                  </a:lnTo>
                  <a:lnTo>
                    <a:pt x="201" y="4"/>
                  </a:lnTo>
                  <a:lnTo>
                    <a:pt x="201" y="2"/>
                  </a:lnTo>
                  <a:lnTo>
                    <a:pt x="203" y="2"/>
                  </a:lnTo>
                  <a:lnTo>
                    <a:pt x="203" y="4"/>
                  </a:lnTo>
                  <a:lnTo>
                    <a:pt x="203" y="2"/>
                  </a:lnTo>
                  <a:lnTo>
                    <a:pt x="203" y="4"/>
                  </a:lnTo>
                  <a:lnTo>
                    <a:pt x="203" y="2"/>
                  </a:lnTo>
                  <a:lnTo>
                    <a:pt x="203" y="4"/>
                  </a:lnTo>
                  <a:lnTo>
                    <a:pt x="203" y="2"/>
                  </a:lnTo>
                  <a:lnTo>
                    <a:pt x="205" y="2"/>
                  </a:lnTo>
                  <a:lnTo>
                    <a:pt x="205" y="4"/>
                  </a:lnTo>
                  <a:lnTo>
                    <a:pt x="207" y="4"/>
                  </a:lnTo>
                  <a:lnTo>
                    <a:pt x="209" y="4"/>
                  </a:lnTo>
                  <a:lnTo>
                    <a:pt x="207" y="4"/>
                  </a:lnTo>
                  <a:lnTo>
                    <a:pt x="209" y="4"/>
                  </a:lnTo>
                  <a:lnTo>
                    <a:pt x="207" y="4"/>
                  </a:lnTo>
                  <a:lnTo>
                    <a:pt x="209" y="4"/>
                  </a:lnTo>
                  <a:lnTo>
                    <a:pt x="209" y="6"/>
                  </a:lnTo>
                  <a:lnTo>
                    <a:pt x="211" y="6"/>
                  </a:lnTo>
                  <a:lnTo>
                    <a:pt x="209" y="6"/>
                  </a:lnTo>
                  <a:lnTo>
                    <a:pt x="211" y="6"/>
                  </a:lnTo>
                  <a:lnTo>
                    <a:pt x="211" y="4"/>
                  </a:lnTo>
                  <a:lnTo>
                    <a:pt x="211" y="6"/>
                  </a:lnTo>
                  <a:lnTo>
                    <a:pt x="211" y="4"/>
                  </a:lnTo>
                  <a:lnTo>
                    <a:pt x="211" y="6"/>
                  </a:lnTo>
                  <a:lnTo>
                    <a:pt x="211" y="4"/>
                  </a:lnTo>
                  <a:lnTo>
                    <a:pt x="211" y="6"/>
                  </a:lnTo>
                  <a:lnTo>
                    <a:pt x="213" y="6"/>
                  </a:lnTo>
                  <a:lnTo>
                    <a:pt x="211" y="6"/>
                  </a:lnTo>
                  <a:lnTo>
                    <a:pt x="213" y="6"/>
                  </a:lnTo>
                  <a:lnTo>
                    <a:pt x="213" y="4"/>
                  </a:lnTo>
                  <a:lnTo>
                    <a:pt x="213" y="6"/>
                  </a:lnTo>
                  <a:lnTo>
                    <a:pt x="215" y="6"/>
                  </a:lnTo>
                  <a:lnTo>
                    <a:pt x="215" y="4"/>
                  </a:lnTo>
                  <a:lnTo>
                    <a:pt x="217" y="4"/>
                  </a:lnTo>
                  <a:lnTo>
                    <a:pt x="218" y="4"/>
                  </a:lnTo>
                  <a:lnTo>
                    <a:pt x="220" y="4"/>
                  </a:lnTo>
                  <a:lnTo>
                    <a:pt x="222" y="4"/>
                  </a:lnTo>
                  <a:lnTo>
                    <a:pt x="222" y="6"/>
                  </a:lnTo>
                  <a:lnTo>
                    <a:pt x="224" y="6"/>
                  </a:lnTo>
                  <a:close/>
                  <a:moveTo>
                    <a:pt x="11" y="165"/>
                  </a:moveTo>
                  <a:lnTo>
                    <a:pt x="9" y="165"/>
                  </a:lnTo>
                  <a:lnTo>
                    <a:pt x="9" y="167"/>
                  </a:lnTo>
                  <a:lnTo>
                    <a:pt x="7" y="167"/>
                  </a:lnTo>
                  <a:lnTo>
                    <a:pt x="9" y="167"/>
                  </a:lnTo>
                  <a:lnTo>
                    <a:pt x="9" y="165"/>
                  </a:lnTo>
                  <a:lnTo>
                    <a:pt x="11" y="165"/>
                  </a:lnTo>
                  <a:close/>
                  <a:moveTo>
                    <a:pt x="3" y="167"/>
                  </a:moveTo>
                  <a:lnTo>
                    <a:pt x="5" y="167"/>
                  </a:lnTo>
                  <a:lnTo>
                    <a:pt x="3" y="167"/>
                  </a:lnTo>
                  <a:close/>
                  <a:moveTo>
                    <a:pt x="3" y="167"/>
                  </a:moveTo>
                  <a:lnTo>
                    <a:pt x="5" y="167"/>
                  </a:lnTo>
                  <a:lnTo>
                    <a:pt x="3" y="167"/>
                  </a:lnTo>
                  <a:close/>
                  <a:moveTo>
                    <a:pt x="5" y="167"/>
                  </a:moveTo>
                  <a:lnTo>
                    <a:pt x="7" y="167"/>
                  </a:lnTo>
                  <a:lnTo>
                    <a:pt x="5" y="167"/>
                  </a:lnTo>
                  <a:close/>
                  <a:moveTo>
                    <a:pt x="9" y="167"/>
                  </a:moveTo>
                  <a:lnTo>
                    <a:pt x="11" y="167"/>
                  </a:lnTo>
                  <a:lnTo>
                    <a:pt x="9" y="167"/>
                  </a:lnTo>
                  <a:close/>
                  <a:moveTo>
                    <a:pt x="7" y="167"/>
                  </a:moveTo>
                  <a:lnTo>
                    <a:pt x="9" y="167"/>
                  </a:lnTo>
                  <a:lnTo>
                    <a:pt x="7" y="167"/>
                  </a:lnTo>
                  <a:close/>
                  <a:moveTo>
                    <a:pt x="9" y="165"/>
                  </a:moveTo>
                  <a:lnTo>
                    <a:pt x="9" y="167"/>
                  </a:lnTo>
                  <a:lnTo>
                    <a:pt x="9" y="16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2" name="Freeform 451">
              <a:extLst>
                <a:ext uri="{FF2B5EF4-FFF2-40B4-BE49-F238E27FC236}">
                  <a16:creationId xmlns:a16="http://schemas.microsoft.com/office/drawing/2014/main" id="{6AF8ECEF-3C9C-4310-83E0-525F9E13A06F}"/>
                </a:ext>
              </a:extLst>
            </p:cNvPr>
            <p:cNvSpPr>
              <a:spLocks/>
            </p:cNvSpPr>
            <p:nvPr/>
          </p:nvSpPr>
          <p:spPr bwMode="gray">
            <a:xfrm>
              <a:off x="3408162" y="4300316"/>
              <a:ext cx="134901" cy="158203"/>
            </a:xfrm>
            <a:custGeom>
              <a:avLst/>
              <a:gdLst>
                <a:gd name="T0" fmla="*/ 108 w 110"/>
                <a:gd name="T1" fmla="*/ 14 h 129"/>
                <a:gd name="T2" fmla="*/ 102 w 110"/>
                <a:gd name="T3" fmla="*/ 21 h 129"/>
                <a:gd name="T4" fmla="*/ 102 w 110"/>
                <a:gd name="T5" fmla="*/ 35 h 129"/>
                <a:gd name="T6" fmla="*/ 100 w 110"/>
                <a:gd name="T7" fmla="*/ 42 h 129"/>
                <a:gd name="T8" fmla="*/ 98 w 110"/>
                <a:gd name="T9" fmla="*/ 54 h 129"/>
                <a:gd name="T10" fmla="*/ 96 w 110"/>
                <a:gd name="T11" fmla="*/ 65 h 129"/>
                <a:gd name="T12" fmla="*/ 87 w 110"/>
                <a:gd name="T13" fmla="*/ 71 h 129"/>
                <a:gd name="T14" fmla="*/ 83 w 110"/>
                <a:gd name="T15" fmla="*/ 77 h 129"/>
                <a:gd name="T16" fmla="*/ 75 w 110"/>
                <a:gd name="T17" fmla="*/ 85 h 129"/>
                <a:gd name="T18" fmla="*/ 75 w 110"/>
                <a:gd name="T19" fmla="*/ 98 h 129"/>
                <a:gd name="T20" fmla="*/ 71 w 110"/>
                <a:gd name="T21" fmla="*/ 110 h 129"/>
                <a:gd name="T22" fmla="*/ 64 w 110"/>
                <a:gd name="T23" fmla="*/ 115 h 129"/>
                <a:gd name="T24" fmla="*/ 56 w 110"/>
                <a:gd name="T25" fmla="*/ 123 h 129"/>
                <a:gd name="T26" fmla="*/ 48 w 110"/>
                <a:gd name="T27" fmla="*/ 127 h 129"/>
                <a:gd name="T28" fmla="*/ 50 w 110"/>
                <a:gd name="T29" fmla="*/ 119 h 129"/>
                <a:gd name="T30" fmla="*/ 43 w 110"/>
                <a:gd name="T31" fmla="*/ 121 h 129"/>
                <a:gd name="T32" fmla="*/ 37 w 110"/>
                <a:gd name="T33" fmla="*/ 125 h 129"/>
                <a:gd name="T34" fmla="*/ 31 w 110"/>
                <a:gd name="T35" fmla="*/ 125 h 129"/>
                <a:gd name="T36" fmla="*/ 27 w 110"/>
                <a:gd name="T37" fmla="*/ 119 h 129"/>
                <a:gd name="T38" fmla="*/ 23 w 110"/>
                <a:gd name="T39" fmla="*/ 121 h 129"/>
                <a:gd name="T40" fmla="*/ 18 w 110"/>
                <a:gd name="T41" fmla="*/ 125 h 129"/>
                <a:gd name="T42" fmla="*/ 12 w 110"/>
                <a:gd name="T43" fmla="*/ 125 h 129"/>
                <a:gd name="T44" fmla="*/ 10 w 110"/>
                <a:gd name="T45" fmla="*/ 121 h 129"/>
                <a:gd name="T46" fmla="*/ 2 w 110"/>
                <a:gd name="T47" fmla="*/ 113 h 129"/>
                <a:gd name="T48" fmla="*/ 6 w 110"/>
                <a:gd name="T49" fmla="*/ 108 h 129"/>
                <a:gd name="T50" fmla="*/ 10 w 110"/>
                <a:gd name="T51" fmla="*/ 110 h 129"/>
                <a:gd name="T52" fmla="*/ 12 w 110"/>
                <a:gd name="T53" fmla="*/ 102 h 129"/>
                <a:gd name="T54" fmla="*/ 8 w 110"/>
                <a:gd name="T55" fmla="*/ 94 h 129"/>
                <a:gd name="T56" fmla="*/ 12 w 110"/>
                <a:gd name="T57" fmla="*/ 88 h 129"/>
                <a:gd name="T58" fmla="*/ 19 w 110"/>
                <a:gd name="T59" fmla="*/ 88 h 129"/>
                <a:gd name="T60" fmla="*/ 19 w 110"/>
                <a:gd name="T61" fmla="*/ 83 h 129"/>
                <a:gd name="T62" fmla="*/ 27 w 110"/>
                <a:gd name="T63" fmla="*/ 85 h 129"/>
                <a:gd name="T64" fmla="*/ 29 w 110"/>
                <a:gd name="T65" fmla="*/ 88 h 129"/>
                <a:gd name="T66" fmla="*/ 39 w 110"/>
                <a:gd name="T67" fmla="*/ 87 h 129"/>
                <a:gd name="T68" fmla="*/ 41 w 110"/>
                <a:gd name="T69" fmla="*/ 90 h 129"/>
                <a:gd name="T70" fmla="*/ 46 w 110"/>
                <a:gd name="T71" fmla="*/ 87 h 129"/>
                <a:gd name="T72" fmla="*/ 48 w 110"/>
                <a:gd name="T73" fmla="*/ 79 h 129"/>
                <a:gd name="T74" fmla="*/ 48 w 110"/>
                <a:gd name="T75" fmla="*/ 69 h 129"/>
                <a:gd name="T76" fmla="*/ 46 w 110"/>
                <a:gd name="T77" fmla="*/ 62 h 129"/>
                <a:gd name="T78" fmla="*/ 43 w 110"/>
                <a:gd name="T79" fmla="*/ 56 h 129"/>
                <a:gd name="T80" fmla="*/ 44 w 110"/>
                <a:gd name="T81" fmla="*/ 48 h 129"/>
                <a:gd name="T82" fmla="*/ 50 w 110"/>
                <a:gd name="T83" fmla="*/ 40 h 129"/>
                <a:gd name="T84" fmla="*/ 43 w 110"/>
                <a:gd name="T85" fmla="*/ 35 h 129"/>
                <a:gd name="T86" fmla="*/ 41 w 110"/>
                <a:gd name="T87" fmla="*/ 35 h 129"/>
                <a:gd name="T88" fmla="*/ 37 w 110"/>
                <a:gd name="T89" fmla="*/ 37 h 129"/>
                <a:gd name="T90" fmla="*/ 33 w 110"/>
                <a:gd name="T91" fmla="*/ 35 h 129"/>
                <a:gd name="T92" fmla="*/ 31 w 110"/>
                <a:gd name="T93" fmla="*/ 35 h 129"/>
                <a:gd name="T94" fmla="*/ 31 w 110"/>
                <a:gd name="T95" fmla="*/ 29 h 129"/>
                <a:gd name="T96" fmla="*/ 33 w 110"/>
                <a:gd name="T97" fmla="*/ 25 h 129"/>
                <a:gd name="T98" fmla="*/ 44 w 110"/>
                <a:gd name="T99" fmla="*/ 23 h 129"/>
                <a:gd name="T100" fmla="*/ 52 w 110"/>
                <a:gd name="T101" fmla="*/ 21 h 129"/>
                <a:gd name="T102" fmla="*/ 56 w 110"/>
                <a:gd name="T103" fmla="*/ 23 h 129"/>
                <a:gd name="T104" fmla="*/ 64 w 110"/>
                <a:gd name="T105" fmla="*/ 25 h 129"/>
                <a:gd name="T106" fmla="*/ 73 w 110"/>
                <a:gd name="T107" fmla="*/ 29 h 129"/>
                <a:gd name="T108" fmla="*/ 73 w 110"/>
                <a:gd name="T109" fmla="*/ 27 h 129"/>
                <a:gd name="T110" fmla="*/ 79 w 110"/>
                <a:gd name="T111" fmla="*/ 15 h 129"/>
                <a:gd name="T112" fmla="*/ 81 w 110"/>
                <a:gd name="T113" fmla="*/ 2 h 129"/>
                <a:gd name="T114" fmla="*/ 92 w 110"/>
                <a:gd name="T115" fmla="*/ 0 h 129"/>
                <a:gd name="T116" fmla="*/ 104 w 110"/>
                <a:gd name="T117" fmla="*/ 2 h 129"/>
                <a:gd name="T118" fmla="*/ 110 w 110"/>
                <a:gd name="T119" fmla="*/ 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0" h="129">
                  <a:moveTo>
                    <a:pt x="110" y="4"/>
                  </a:moveTo>
                  <a:lnTo>
                    <a:pt x="110" y="6"/>
                  </a:lnTo>
                  <a:lnTo>
                    <a:pt x="110" y="8"/>
                  </a:lnTo>
                  <a:lnTo>
                    <a:pt x="110" y="10"/>
                  </a:lnTo>
                  <a:lnTo>
                    <a:pt x="108" y="10"/>
                  </a:lnTo>
                  <a:lnTo>
                    <a:pt x="108" y="12"/>
                  </a:lnTo>
                  <a:lnTo>
                    <a:pt x="108" y="14"/>
                  </a:lnTo>
                  <a:lnTo>
                    <a:pt x="108" y="15"/>
                  </a:lnTo>
                  <a:lnTo>
                    <a:pt x="106" y="15"/>
                  </a:lnTo>
                  <a:lnTo>
                    <a:pt x="106" y="17"/>
                  </a:lnTo>
                  <a:lnTo>
                    <a:pt x="104" y="17"/>
                  </a:lnTo>
                  <a:lnTo>
                    <a:pt x="104" y="19"/>
                  </a:lnTo>
                  <a:lnTo>
                    <a:pt x="104" y="21"/>
                  </a:lnTo>
                  <a:lnTo>
                    <a:pt x="102" y="21"/>
                  </a:lnTo>
                  <a:lnTo>
                    <a:pt x="102" y="23"/>
                  </a:lnTo>
                  <a:lnTo>
                    <a:pt x="102" y="25"/>
                  </a:lnTo>
                  <a:lnTo>
                    <a:pt x="102" y="27"/>
                  </a:lnTo>
                  <a:lnTo>
                    <a:pt x="102" y="29"/>
                  </a:lnTo>
                  <a:lnTo>
                    <a:pt x="102" y="31"/>
                  </a:lnTo>
                  <a:lnTo>
                    <a:pt x="102" y="33"/>
                  </a:lnTo>
                  <a:lnTo>
                    <a:pt x="102" y="35"/>
                  </a:lnTo>
                  <a:lnTo>
                    <a:pt x="100" y="35"/>
                  </a:lnTo>
                  <a:lnTo>
                    <a:pt x="100" y="37"/>
                  </a:lnTo>
                  <a:lnTo>
                    <a:pt x="100" y="39"/>
                  </a:lnTo>
                  <a:lnTo>
                    <a:pt x="98" y="39"/>
                  </a:lnTo>
                  <a:lnTo>
                    <a:pt x="98" y="40"/>
                  </a:lnTo>
                  <a:lnTo>
                    <a:pt x="98" y="42"/>
                  </a:lnTo>
                  <a:lnTo>
                    <a:pt x="100" y="42"/>
                  </a:lnTo>
                  <a:lnTo>
                    <a:pt x="100" y="44"/>
                  </a:lnTo>
                  <a:lnTo>
                    <a:pt x="100" y="46"/>
                  </a:lnTo>
                  <a:lnTo>
                    <a:pt x="100" y="48"/>
                  </a:lnTo>
                  <a:lnTo>
                    <a:pt x="100" y="50"/>
                  </a:lnTo>
                  <a:lnTo>
                    <a:pt x="98" y="50"/>
                  </a:lnTo>
                  <a:lnTo>
                    <a:pt x="98" y="52"/>
                  </a:lnTo>
                  <a:lnTo>
                    <a:pt x="98" y="54"/>
                  </a:lnTo>
                  <a:lnTo>
                    <a:pt x="98" y="56"/>
                  </a:lnTo>
                  <a:lnTo>
                    <a:pt x="96" y="56"/>
                  </a:lnTo>
                  <a:lnTo>
                    <a:pt x="96" y="58"/>
                  </a:lnTo>
                  <a:lnTo>
                    <a:pt x="96" y="60"/>
                  </a:lnTo>
                  <a:lnTo>
                    <a:pt x="96" y="62"/>
                  </a:lnTo>
                  <a:lnTo>
                    <a:pt x="96" y="63"/>
                  </a:lnTo>
                  <a:lnTo>
                    <a:pt x="96" y="65"/>
                  </a:lnTo>
                  <a:lnTo>
                    <a:pt x="94" y="65"/>
                  </a:lnTo>
                  <a:lnTo>
                    <a:pt x="92" y="67"/>
                  </a:lnTo>
                  <a:lnTo>
                    <a:pt x="92" y="69"/>
                  </a:lnTo>
                  <a:lnTo>
                    <a:pt x="91" y="69"/>
                  </a:lnTo>
                  <a:lnTo>
                    <a:pt x="89" y="69"/>
                  </a:lnTo>
                  <a:lnTo>
                    <a:pt x="87" y="69"/>
                  </a:lnTo>
                  <a:lnTo>
                    <a:pt x="87" y="71"/>
                  </a:lnTo>
                  <a:lnTo>
                    <a:pt x="85" y="71"/>
                  </a:lnTo>
                  <a:lnTo>
                    <a:pt x="85" y="73"/>
                  </a:lnTo>
                  <a:lnTo>
                    <a:pt x="83" y="73"/>
                  </a:lnTo>
                  <a:lnTo>
                    <a:pt x="83" y="75"/>
                  </a:lnTo>
                  <a:lnTo>
                    <a:pt x="83" y="77"/>
                  </a:lnTo>
                  <a:lnTo>
                    <a:pt x="81" y="77"/>
                  </a:lnTo>
                  <a:lnTo>
                    <a:pt x="83" y="77"/>
                  </a:lnTo>
                  <a:lnTo>
                    <a:pt x="81" y="77"/>
                  </a:lnTo>
                  <a:lnTo>
                    <a:pt x="81" y="79"/>
                  </a:lnTo>
                  <a:lnTo>
                    <a:pt x="81" y="81"/>
                  </a:lnTo>
                  <a:lnTo>
                    <a:pt x="79" y="83"/>
                  </a:lnTo>
                  <a:lnTo>
                    <a:pt x="77" y="83"/>
                  </a:lnTo>
                  <a:lnTo>
                    <a:pt x="77" y="85"/>
                  </a:lnTo>
                  <a:lnTo>
                    <a:pt x="75" y="85"/>
                  </a:lnTo>
                  <a:lnTo>
                    <a:pt x="75" y="87"/>
                  </a:lnTo>
                  <a:lnTo>
                    <a:pt x="75" y="88"/>
                  </a:lnTo>
                  <a:lnTo>
                    <a:pt x="75" y="90"/>
                  </a:lnTo>
                  <a:lnTo>
                    <a:pt x="75" y="92"/>
                  </a:lnTo>
                  <a:lnTo>
                    <a:pt x="75" y="94"/>
                  </a:lnTo>
                  <a:lnTo>
                    <a:pt x="75" y="96"/>
                  </a:lnTo>
                  <a:lnTo>
                    <a:pt x="75" y="98"/>
                  </a:lnTo>
                  <a:lnTo>
                    <a:pt x="75" y="100"/>
                  </a:lnTo>
                  <a:lnTo>
                    <a:pt x="75" y="102"/>
                  </a:lnTo>
                  <a:lnTo>
                    <a:pt x="75" y="104"/>
                  </a:lnTo>
                  <a:lnTo>
                    <a:pt x="73" y="106"/>
                  </a:lnTo>
                  <a:lnTo>
                    <a:pt x="73" y="108"/>
                  </a:lnTo>
                  <a:lnTo>
                    <a:pt x="71" y="108"/>
                  </a:lnTo>
                  <a:lnTo>
                    <a:pt x="71" y="110"/>
                  </a:lnTo>
                  <a:lnTo>
                    <a:pt x="71" y="111"/>
                  </a:lnTo>
                  <a:lnTo>
                    <a:pt x="69" y="111"/>
                  </a:lnTo>
                  <a:lnTo>
                    <a:pt x="69" y="113"/>
                  </a:lnTo>
                  <a:lnTo>
                    <a:pt x="67" y="113"/>
                  </a:lnTo>
                  <a:lnTo>
                    <a:pt x="66" y="113"/>
                  </a:lnTo>
                  <a:lnTo>
                    <a:pt x="66" y="115"/>
                  </a:lnTo>
                  <a:lnTo>
                    <a:pt x="64" y="115"/>
                  </a:lnTo>
                  <a:lnTo>
                    <a:pt x="64" y="117"/>
                  </a:lnTo>
                  <a:lnTo>
                    <a:pt x="62" y="117"/>
                  </a:lnTo>
                  <a:lnTo>
                    <a:pt x="60" y="117"/>
                  </a:lnTo>
                  <a:lnTo>
                    <a:pt x="60" y="119"/>
                  </a:lnTo>
                  <a:lnTo>
                    <a:pt x="58" y="121"/>
                  </a:lnTo>
                  <a:lnTo>
                    <a:pt x="58" y="123"/>
                  </a:lnTo>
                  <a:lnTo>
                    <a:pt x="56" y="123"/>
                  </a:lnTo>
                  <a:lnTo>
                    <a:pt x="56" y="125"/>
                  </a:lnTo>
                  <a:lnTo>
                    <a:pt x="54" y="125"/>
                  </a:lnTo>
                  <a:lnTo>
                    <a:pt x="54" y="127"/>
                  </a:lnTo>
                  <a:lnTo>
                    <a:pt x="52" y="127"/>
                  </a:lnTo>
                  <a:lnTo>
                    <a:pt x="50" y="127"/>
                  </a:lnTo>
                  <a:lnTo>
                    <a:pt x="50" y="125"/>
                  </a:lnTo>
                  <a:lnTo>
                    <a:pt x="48" y="127"/>
                  </a:lnTo>
                  <a:lnTo>
                    <a:pt x="48" y="125"/>
                  </a:lnTo>
                  <a:lnTo>
                    <a:pt x="48" y="123"/>
                  </a:lnTo>
                  <a:lnTo>
                    <a:pt x="48" y="121"/>
                  </a:lnTo>
                  <a:lnTo>
                    <a:pt x="48" y="119"/>
                  </a:lnTo>
                  <a:lnTo>
                    <a:pt x="48" y="121"/>
                  </a:lnTo>
                  <a:lnTo>
                    <a:pt x="48" y="119"/>
                  </a:lnTo>
                  <a:lnTo>
                    <a:pt x="50" y="119"/>
                  </a:lnTo>
                  <a:lnTo>
                    <a:pt x="48" y="119"/>
                  </a:lnTo>
                  <a:lnTo>
                    <a:pt x="48" y="117"/>
                  </a:lnTo>
                  <a:lnTo>
                    <a:pt x="46" y="117"/>
                  </a:lnTo>
                  <a:lnTo>
                    <a:pt x="46" y="119"/>
                  </a:lnTo>
                  <a:lnTo>
                    <a:pt x="44" y="119"/>
                  </a:lnTo>
                  <a:lnTo>
                    <a:pt x="43" y="119"/>
                  </a:lnTo>
                  <a:lnTo>
                    <a:pt x="43" y="121"/>
                  </a:lnTo>
                  <a:lnTo>
                    <a:pt x="41" y="121"/>
                  </a:lnTo>
                  <a:lnTo>
                    <a:pt x="41" y="119"/>
                  </a:lnTo>
                  <a:lnTo>
                    <a:pt x="39" y="119"/>
                  </a:lnTo>
                  <a:lnTo>
                    <a:pt x="39" y="121"/>
                  </a:lnTo>
                  <a:lnTo>
                    <a:pt x="39" y="123"/>
                  </a:lnTo>
                  <a:lnTo>
                    <a:pt x="39" y="125"/>
                  </a:lnTo>
                  <a:lnTo>
                    <a:pt x="37" y="125"/>
                  </a:lnTo>
                  <a:lnTo>
                    <a:pt x="37" y="123"/>
                  </a:lnTo>
                  <a:lnTo>
                    <a:pt x="37" y="125"/>
                  </a:lnTo>
                  <a:lnTo>
                    <a:pt x="35" y="125"/>
                  </a:lnTo>
                  <a:lnTo>
                    <a:pt x="35" y="127"/>
                  </a:lnTo>
                  <a:lnTo>
                    <a:pt x="33" y="127"/>
                  </a:lnTo>
                  <a:lnTo>
                    <a:pt x="33" y="125"/>
                  </a:lnTo>
                  <a:lnTo>
                    <a:pt x="31" y="125"/>
                  </a:lnTo>
                  <a:lnTo>
                    <a:pt x="31" y="123"/>
                  </a:lnTo>
                  <a:lnTo>
                    <a:pt x="31" y="121"/>
                  </a:lnTo>
                  <a:lnTo>
                    <a:pt x="29" y="121"/>
                  </a:lnTo>
                  <a:lnTo>
                    <a:pt x="29" y="123"/>
                  </a:lnTo>
                  <a:lnTo>
                    <a:pt x="29" y="121"/>
                  </a:lnTo>
                  <a:lnTo>
                    <a:pt x="27" y="121"/>
                  </a:lnTo>
                  <a:lnTo>
                    <a:pt x="27" y="119"/>
                  </a:lnTo>
                  <a:lnTo>
                    <a:pt x="25" y="119"/>
                  </a:lnTo>
                  <a:lnTo>
                    <a:pt x="23" y="119"/>
                  </a:lnTo>
                  <a:lnTo>
                    <a:pt x="25" y="119"/>
                  </a:lnTo>
                  <a:lnTo>
                    <a:pt x="25" y="121"/>
                  </a:lnTo>
                  <a:lnTo>
                    <a:pt x="23" y="121"/>
                  </a:lnTo>
                  <a:lnTo>
                    <a:pt x="23" y="119"/>
                  </a:lnTo>
                  <a:lnTo>
                    <a:pt x="23" y="121"/>
                  </a:lnTo>
                  <a:lnTo>
                    <a:pt x="23" y="119"/>
                  </a:lnTo>
                  <a:lnTo>
                    <a:pt x="23" y="121"/>
                  </a:lnTo>
                  <a:lnTo>
                    <a:pt x="21" y="121"/>
                  </a:lnTo>
                  <a:lnTo>
                    <a:pt x="19" y="121"/>
                  </a:lnTo>
                  <a:lnTo>
                    <a:pt x="19" y="123"/>
                  </a:lnTo>
                  <a:lnTo>
                    <a:pt x="19" y="125"/>
                  </a:lnTo>
                  <a:lnTo>
                    <a:pt x="18" y="125"/>
                  </a:lnTo>
                  <a:lnTo>
                    <a:pt x="16" y="125"/>
                  </a:lnTo>
                  <a:lnTo>
                    <a:pt x="16" y="127"/>
                  </a:lnTo>
                  <a:lnTo>
                    <a:pt x="14" y="127"/>
                  </a:lnTo>
                  <a:lnTo>
                    <a:pt x="14" y="129"/>
                  </a:lnTo>
                  <a:lnTo>
                    <a:pt x="14" y="127"/>
                  </a:lnTo>
                  <a:lnTo>
                    <a:pt x="12" y="127"/>
                  </a:lnTo>
                  <a:lnTo>
                    <a:pt x="12" y="125"/>
                  </a:lnTo>
                  <a:lnTo>
                    <a:pt x="10" y="125"/>
                  </a:lnTo>
                  <a:lnTo>
                    <a:pt x="12" y="125"/>
                  </a:lnTo>
                  <a:lnTo>
                    <a:pt x="12" y="123"/>
                  </a:lnTo>
                  <a:lnTo>
                    <a:pt x="10" y="123"/>
                  </a:lnTo>
                  <a:lnTo>
                    <a:pt x="12" y="123"/>
                  </a:lnTo>
                  <a:lnTo>
                    <a:pt x="12" y="121"/>
                  </a:lnTo>
                  <a:lnTo>
                    <a:pt x="10" y="121"/>
                  </a:lnTo>
                  <a:lnTo>
                    <a:pt x="10" y="119"/>
                  </a:lnTo>
                  <a:lnTo>
                    <a:pt x="8" y="119"/>
                  </a:lnTo>
                  <a:lnTo>
                    <a:pt x="6" y="117"/>
                  </a:lnTo>
                  <a:lnTo>
                    <a:pt x="4" y="117"/>
                  </a:lnTo>
                  <a:lnTo>
                    <a:pt x="4" y="115"/>
                  </a:lnTo>
                  <a:lnTo>
                    <a:pt x="4" y="113"/>
                  </a:lnTo>
                  <a:lnTo>
                    <a:pt x="2" y="113"/>
                  </a:lnTo>
                  <a:lnTo>
                    <a:pt x="0" y="113"/>
                  </a:lnTo>
                  <a:lnTo>
                    <a:pt x="0" y="111"/>
                  </a:lnTo>
                  <a:lnTo>
                    <a:pt x="2" y="111"/>
                  </a:lnTo>
                  <a:lnTo>
                    <a:pt x="2" y="110"/>
                  </a:lnTo>
                  <a:lnTo>
                    <a:pt x="2" y="108"/>
                  </a:lnTo>
                  <a:lnTo>
                    <a:pt x="4" y="108"/>
                  </a:lnTo>
                  <a:lnTo>
                    <a:pt x="6" y="108"/>
                  </a:lnTo>
                  <a:lnTo>
                    <a:pt x="6" y="106"/>
                  </a:lnTo>
                  <a:lnTo>
                    <a:pt x="6" y="104"/>
                  </a:lnTo>
                  <a:lnTo>
                    <a:pt x="8" y="104"/>
                  </a:lnTo>
                  <a:lnTo>
                    <a:pt x="8" y="106"/>
                  </a:lnTo>
                  <a:lnTo>
                    <a:pt x="8" y="108"/>
                  </a:lnTo>
                  <a:lnTo>
                    <a:pt x="10" y="108"/>
                  </a:lnTo>
                  <a:lnTo>
                    <a:pt x="10" y="110"/>
                  </a:lnTo>
                  <a:lnTo>
                    <a:pt x="12" y="110"/>
                  </a:lnTo>
                  <a:lnTo>
                    <a:pt x="12" y="108"/>
                  </a:lnTo>
                  <a:lnTo>
                    <a:pt x="12" y="106"/>
                  </a:lnTo>
                  <a:lnTo>
                    <a:pt x="14" y="106"/>
                  </a:lnTo>
                  <a:lnTo>
                    <a:pt x="14" y="104"/>
                  </a:lnTo>
                  <a:lnTo>
                    <a:pt x="14" y="102"/>
                  </a:lnTo>
                  <a:lnTo>
                    <a:pt x="12" y="102"/>
                  </a:lnTo>
                  <a:lnTo>
                    <a:pt x="10" y="100"/>
                  </a:lnTo>
                  <a:lnTo>
                    <a:pt x="10" y="98"/>
                  </a:lnTo>
                  <a:lnTo>
                    <a:pt x="10" y="96"/>
                  </a:lnTo>
                  <a:lnTo>
                    <a:pt x="8" y="96"/>
                  </a:lnTo>
                  <a:lnTo>
                    <a:pt x="6" y="96"/>
                  </a:lnTo>
                  <a:lnTo>
                    <a:pt x="8" y="96"/>
                  </a:lnTo>
                  <a:lnTo>
                    <a:pt x="8" y="94"/>
                  </a:lnTo>
                  <a:lnTo>
                    <a:pt x="8" y="92"/>
                  </a:lnTo>
                  <a:lnTo>
                    <a:pt x="8" y="90"/>
                  </a:lnTo>
                  <a:lnTo>
                    <a:pt x="8" y="88"/>
                  </a:lnTo>
                  <a:lnTo>
                    <a:pt x="8" y="90"/>
                  </a:lnTo>
                  <a:lnTo>
                    <a:pt x="10" y="90"/>
                  </a:lnTo>
                  <a:lnTo>
                    <a:pt x="10" y="88"/>
                  </a:lnTo>
                  <a:lnTo>
                    <a:pt x="12" y="88"/>
                  </a:lnTo>
                  <a:lnTo>
                    <a:pt x="14" y="88"/>
                  </a:lnTo>
                  <a:lnTo>
                    <a:pt x="14" y="90"/>
                  </a:lnTo>
                  <a:lnTo>
                    <a:pt x="16" y="90"/>
                  </a:lnTo>
                  <a:lnTo>
                    <a:pt x="18" y="90"/>
                  </a:lnTo>
                  <a:lnTo>
                    <a:pt x="21" y="90"/>
                  </a:lnTo>
                  <a:lnTo>
                    <a:pt x="21" y="88"/>
                  </a:lnTo>
                  <a:lnTo>
                    <a:pt x="19" y="88"/>
                  </a:lnTo>
                  <a:lnTo>
                    <a:pt x="21" y="88"/>
                  </a:lnTo>
                  <a:lnTo>
                    <a:pt x="21" y="87"/>
                  </a:lnTo>
                  <a:lnTo>
                    <a:pt x="19" y="87"/>
                  </a:lnTo>
                  <a:lnTo>
                    <a:pt x="21" y="87"/>
                  </a:lnTo>
                  <a:lnTo>
                    <a:pt x="21" y="85"/>
                  </a:lnTo>
                  <a:lnTo>
                    <a:pt x="19" y="85"/>
                  </a:lnTo>
                  <a:lnTo>
                    <a:pt x="19" y="83"/>
                  </a:lnTo>
                  <a:lnTo>
                    <a:pt x="21" y="83"/>
                  </a:lnTo>
                  <a:lnTo>
                    <a:pt x="21" y="81"/>
                  </a:lnTo>
                  <a:lnTo>
                    <a:pt x="23" y="81"/>
                  </a:lnTo>
                  <a:lnTo>
                    <a:pt x="23" y="83"/>
                  </a:lnTo>
                  <a:lnTo>
                    <a:pt x="25" y="83"/>
                  </a:lnTo>
                  <a:lnTo>
                    <a:pt x="25" y="85"/>
                  </a:lnTo>
                  <a:lnTo>
                    <a:pt x="27" y="85"/>
                  </a:lnTo>
                  <a:lnTo>
                    <a:pt x="27" y="87"/>
                  </a:lnTo>
                  <a:lnTo>
                    <a:pt x="29" y="87"/>
                  </a:lnTo>
                  <a:lnTo>
                    <a:pt x="29" y="88"/>
                  </a:lnTo>
                  <a:lnTo>
                    <a:pt x="27" y="88"/>
                  </a:lnTo>
                  <a:lnTo>
                    <a:pt x="29" y="88"/>
                  </a:lnTo>
                  <a:lnTo>
                    <a:pt x="27" y="88"/>
                  </a:lnTo>
                  <a:lnTo>
                    <a:pt x="29" y="88"/>
                  </a:lnTo>
                  <a:lnTo>
                    <a:pt x="31" y="88"/>
                  </a:lnTo>
                  <a:lnTo>
                    <a:pt x="33" y="88"/>
                  </a:lnTo>
                  <a:lnTo>
                    <a:pt x="33" y="90"/>
                  </a:lnTo>
                  <a:lnTo>
                    <a:pt x="35" y="90"/>
                  </a:lnTo>
                  <a:lnTo>
                    <a:pt x="37" y="90"/>
                  </a:lnTo>
                  <a:lnTo>
                    <a:pt x="37" y="88"/>
                  </a:lnTo>
                  <a:lnTo>
                    <a:pt x="39" y="87"/>
                  </a:lnTo>
                  <a:lnTo>
                    <a:pt x="39" y="85"/>
                  </a:lnTo>
                  <a:lnTo>
                    <a:pt x="39" y="87"/>
                  </a:lnTo>
                  <a:lnTo>
                    <a:pt x="41" y="87"/>
                  </a:lnTo>
                  <a:lnTo>
                    <a:pt x="41" y="88"/>
                  </a:lnTo>
                  <a:lnTo>
                    <a:pt x="43" y="88"/>
                  </a:lnTo>
                  <a:lnTo>
                    <a:pt x="41" y="88"/>
                  </a:lnTo>
                  <a:lnTo>
                    <a:pt x="41" y="90"/>
                  </a:lnTo>
                  <a:lnTo>
                    <a:pt x="43" y="90"/>
                  </a:lnTo>
                  <a:lnTo>
                    <a:pt x="44" y="90"/>
                  </a:lnTo>
                  <a:lnTo>
                    <a:pt x="44" y="88"/>
                  </a:lnTo>
                  <a:lnTo>
                    <a:pt x="46" y="88"/>
                  </a:lnTo>
                  <a:lnTo>
                    <a:pt x="46" y="87"/>
                  </a:lnTo>
                  <a:lnTo>
                    <a:pt x="44" y="87"/>
                  </a:lnTo>
                  <a:lnTo>
                    <a:pt x="46" y="87"/>
                  </a:lnTo>
                  <a:lnTo>
                    <a:pt x="46" y="85"/>
                  </a:lnTo>
                  <a:lnTo>
                    <a:pt x="46" y="83"/>
                  </a:lnTo>
                  <a:lnTo>
                    <a:pt x="48" y="83"/>
                  </a:lnTo>
                  <a:lnTo>
                    <a:pt x="48" y="81"/>
                  </a:lnTo>
                  <a:lnTo>
                    <a:pt x="48" y="79"/>
                  </a:lnTo>
                  <a:lnTo>
                    <a:pt x="50" y="79"/>
                  </a:lnTo>
                  <a:lnTo>
                    <a:pt x="48" y="79"/>
                  </a:lnTo>
                  <a:lnTo>
                    <a:pt x="48" y="77"/>
                  </a:lnTo>
                  <a:lnTo>
                    <a:pt x="50" y="77"/>
                  </a:lnTo>
                  <a:lnTo>
                    <a:pt x="50" y="75"/>
                  </a:lnTo>
                  <a:lnTo>
                    <a:pt x="50" y="73"/>
                  </a:lnTo>
                  <a:lnTo>
                    <a:pt x="50" y="71"/>
                  </a:lnTo>
                  <a:lnTo>
                    <a:pt x="48" y="71"/>
                  </a:lnTo>
                  <a:lnTo>
                    <a:pt x="48" y="69"/>
                  </a:lnTo>
                  <a:lnTo>
                    <a:pt x="48" y="67"/>
                  </a:lnTo>
                  <a:lnTo>
                    <a:pt x="50" y="67"/>
                  </a:lnTo>
                  <a:lnTo>
                    <a:pt x="50" y="65"/>
                  </a:lnTo>
                  <a:lnTo>
                    <a:pt x="50" y="63"/>
                  </a:lnTo>
                  <a:lnTo>
                    <a:pt x="50" y="62"/>
                  </a:lnTo>
                  <a:lnTo>
                    <a:pt x="48" y="62"/>
                  </a:lnTo>
                  <a:lnTo>
                    <a:pt x="46" y="62"/>
                  </a:lnTo>
                  <a:lnTo>
                    <a:pt x="44" y="62"/>
                  </a:lnTo>
                  <a:lnTo>
                    <a:pt x="44" y="60"/>
                  </a:lnTo>
                  <a:lnTo>
                    <a:pt x="44" y="58"/>
                  </a:lnTo>
                  <a:lnTo>
                    <a:pt x="43" y="58"/>
                  </a:lnTo>
                  <a:lnTo>
                    <a:pt x="41" y="58"/>
                  </a:lnTo>
                  <a:lnTo>
                    <a:pt x="41" y="56"/>
                  </a:lnTo>
                  <a:lnTo>
                    <a:pt x="43" y="56"/>
                  </a:lnTo>
                  <a:lnTo>
                    <a:pt x="43" y="54"/>
                  </a:lnTo>
                  <a:lnTo>
                    <a:pt x="41" y="54"/>
                  </a:lnTo>
                  <a:lnTo>
                    <a:pt x="41" y="52"/>
                  </a:lnTo>
                  <a:lnTo>
                    <a:pt x="41" y="50"/>
                  </a:lnTo>
                  <a:lnTo>
                    <a:pt x="43" y="50"/>
                  </a:lnTo>
                  <a:lnTo>
                    <a:pt x="43" y="48"/>
                  </a:lnTo>
                  <a:lnTo>
                    <a:pt x="44" y="48"/>
                  </a:lnTo>
                  <a:lnTo>
                    <a:pt x="44" y="46"/>
                  </a:lnTo>
                  <a:lnTo>
                    <a:pt x="46" y="46"/>
                  </a:lnTo>
                  <a:lnTo>
                    <a:pt x="48" y="46"/>
                  </a:lnTo>
                  <a:lnTo>
                    <a:pt x="48" y="44"/>
                  </a:lnTo>
                  <a:lnTo>
                    <a:pt x="48" y="42"/>
                  </a:lnTo>
                  <a:lnTo>
                    <a:pt x="50" y="42"/>
                  </a:lnTo>
                  <a:lnTo>
                    <a:pt x="50" y="40"/>
                  </a:lnTo>
                  <a:lnTo>
                    <a:pt x="48" y="40"/>
                  </a:lnTo>
                  <a:lnTo>
                    <a:pt x="48" y="39"/>
                  </a:lnTo>
                  <a:lnTo>
                    <a:pt x="48" y="37"/>
                  </a:lnTo>
                  <a:lnTo>
                    <a:pt x="46" y="37"/>
                  </a:lnTo>
                  <a:lnTo>
                    <a:pt x="46" y="35"/>
                  </a:lnTo>
                  <a:lnTo>
                    <a:pt x="44" y="35"/>
                  </a:lnTo>
                  <a:lnTo>
                    <a:pt x="43" y="35"/>
                  </a:lnTo>
                  <a:lnTo>
                    <a:pt x="43" y="33"/>
                  </a:lnTo>
                  <a:lnTo>
                    <a:pt x="43" y="35"/>
                  </a:lnTo>
                  <a:lnTo>
                    <a:pt x="43" y="33"/>
                  </a:lnTo>
                  <a:lnTo>
                    <a:pt x="43" y="35"/>
                  </a:lnTo>
                  <a:lnTo>
                    <a:pt x="43" y="33"/>
                  </a:lnTo>
                  <a:lnTo>
                    <a:pt x="43" y="35"/>
                  </a:lnTo>
                  <a:lnTo>
                    <a:pt x="41" y="35"/>
                  </a:lnTo>
                  <a:lnTo>
                    <a:pt x="41" y="33"/>
                  </a:lnTo>
                  <a:lnTo>
                    <a:pt x="41" y="35"/>
                  </a:lnTo>
                  <a:lnTo>
                    <a:pt x="41" y="33"/>
                  </a:lnTo>
                  <a:lnTo>
                    <a:pt x="41" y="35"/>
                  </a:lnTo>
                  <a:lnTo>
                    <a:pt x="39" y="35"/>
                  </a:lnTo>
                  <a:lnTo>
                    <a:pt x="37" y="35"/>
                  </a:lnTo>
                  <a:lnTo>
                    <a:pt x="37" y="37"/>
                  </a:lnTo>
                  <a:lnTo>
                    <a:pt x="35" y="37"/>
                  </a:lnTo>
                  <a:lnTo>
                    <a:pt x="35" y="35"/>
                  </a:lnTo>
                  <a:lnTo>
                    <a:pt x="35" y="37"/>
                  </a:lnTo>
                  <a:lnTo>
                    <a:pt x="35" y="35"/>
                  </a:lnTo>
                  <a:lnTo>
                    <a:pt x="35" y="37"/>
                  </a:lnTo>
                  <a:lnTo>
                    <a:pt x="33" y="37"/>
                  </a:lnTo>
                  <a:lnTo>
                    <a:pt x="33" y="35"/>
                  </a:lnTo>
                  <a:lnTo>
                    <a:pt x="33" y="37"/>
                  </a:lnTo>
                  <a:lnTo>
                    <a:pt x="31" y="37"/>
                  </a:lnTo>
                  <a:lnTo>
                    <a:pt x="31" y="35"/>
                  </a:lnTo>
                  <a:lnTo>
                    <a:pt x="31" y="37"/>
                  </a:lnTo>
                  <a:lnTo>
                    <a:pt x="31" y="35"/>
                  </a:lnTo>
                  <a:lnTo>
                    <a:pt x="31" y="37"/>
                  </a:lnTo>
                  <a:lnTo>
                    <a:pt x="31" y="35"/>
                  </a:lnTo>
                  <a:lnTo>
                    <a:pt x="31" y="33"/>
                  </a:lnTo>
                  <a:lnTo>
                    <a:pt x="31" y="31"/>
                  </a:lnTo>
                  <a:lnTo>
                    <a:pt x="29" y="31"/>
                  </a:lnTo>
                  <a:lnTo>
                    <a:pt x="31" y="31"/>
                  </a:lnTo>
                  <a:lnTo>
                    <a:pt x="29" y="31"/>
                  </a:lnTo>
                  <a:lnTo>
                    <a:pt x="31" y="31"/>
                  </a:lnTo>
                  <a:lnTo>
                    <a:pt x="31" y="29"/>
                  </a:lnTo>
                  <a:lnTo>
                    <a:pt x="29" y="29"/>
                  </a:lnTo>
                  <a:lnTo>
                    <a:pt x="31" y="29"/>
                  </a:lnTo>
                  <a:lnTo>
                    <a:pt x="29" y="29"/>
                  </a:lnTo>
                  <a:lnTo>
                    <a:pt x="31" y="29"/>
                  </a:lnTo>
                  <a:lnTo>
                    <a:pt x="31" y="27"/>
                  </a:lnTo>
                  <a:lnTo>
                    <a:pt x="31" y="25"/>
                  </a:lnTo>
                  <a:lnTo>
                    <a:pt x="33" y="25"/>
                  </a:lnTo>
                  <a:lnTo>
                    <a:pt x="33" y="23"/>
                  </a:lnTo>
                  <a:lnTo>
                    <a:pt x="35" y="23"/>
                  </a:lnTo>
                  <a:lnTo>
                    <a:pt x="37" y="23"/>
                  </a:lnTo>
                  <a:lnTo>
                    <a:pt x="39" y="23"/>
                  </a:lnTo>
                  <a:lnTo>
                    <a:pt x="41" y="23"/>
                  </a:lnTo>
                  <a:lnTo>
                    <a:pt x="43" y="23"/>
                  </a:lnTo>
                  <a:lnTo>
                    <a:pt x="44" y="23"/>
                  </a:lnTo>
                  <a:lnTo>
                    <a:pt x="46" y="23"/>
                  </a:lnTo>
                  <a:lnTo>
                    <a:pt x="48" y="23"/>
                  </a:lnTo>
                  <a:lnTo>
                    <a:pt x="50" y="23"/>
                  </a:lnTo>
                  <a:lnTo>
                    <a:pt x="50" y="21"/>
                  </a:lnTo>
                  <a:lnTo>
                    <a:pt x="52" y="21"/>
                  </a:lnTo>
                  <a:lnTo>
                    <a:pt x="52" y="23"/>
                  </a:lnTo>
                  <a:lnTo>
                    <a:pt x="52" y="21"/>
                  </a:lnTo>
                  <a:lnTo>
                    <a:pt x="52" y="23"/>
                  </a:lnTo>
                  <a:lnTo>
                    <a:pt x="54" y="23"/>
                  </a:lnTo>
                  <a:lnTo>
                    <a:pt x="54" y="25"/>
                  </a:lnTo>
                  <a:lnTo>
                    <a:pt x="54" y="23"/>
                  </a:lnTo>
                  <a:lnTo>
                    <a:pt x="54" y="25"/>
                  </a:lnTo>
                  <a:lnTo>
                    <a:pt x="54" y="23"/>
                  </a:lnTo>
                  <a:lnTo>
                    <a:pt x="56" y="23"/>
                  </a:lnTo>
                  <a:lnTo>
                    <a:pt x="56" y="25"/>
                  </a:lnTo>
                  <a:lnTo>
                    <a:pt x="58" y="25"/>
                  </a:lnTo>
                  <a:lnTo>
                    <a:pt x="60" y="25"/>
                  </a:lnTo>
                  <a:lnTo>
                    <a:pt x="62" y="25"/>
                  </a:lnTo>
                  <a:lnTo>
                    <a:pt x="62" y="27"/>
                  </a:lnTo>
                  <a:lnTo>
                    <a:pt x="64" y="27"/>
                  </a:lnTo>
                  <a:lnTo>
                    <a:pt x="64" y="25"/>
                  </a:lnTo>
                  <a:lnTo>
                    <a:pt x="66" y="25"/>
                  </a:lnTo>
                  <a:lnTo>
                    <a:pt x="66" y="27"/>
                  </a:lnTo>
                  <a:lnTo>
                    <a:pt x="67" y="27"/>
                  </a:lnTo>
                  <a:lnTo>
                    <a:pt x="69" y="27"/>
                  </a:lnTo>
                  <a:lnTo>
                    <a:pt x="69" y="29"/>
                  </a:lnTo>
                  <a:lnTo>
                    <a:pt x="71" y="29"/>
                  </a:lnTo>
                  <a:lnTo>
                    <a:pt x="73" y="29"/>
                  </a:lnTo>
                  <a:lnTo>
                    <a:pt x="71" y="29"/>
                  </a:lnTo>
                  <a:lnTo>
                    <a:pt x="73" y="29"/>
                  </a:lnTo>
                  <a:lnTo>
                    <a:pt x="71" y="29"/>
                  </a:lnTo>
                  <a:lnTo>
                    <a:pt x="71" y="31"/>
                  </a:lnTo>
                  <a:lnTo>
                    <a:pt x="73" y="31"/>
                  </a:lnTo>
                  <a:lnTo>
                    <a:pt x="73" y="29"/>
                  </a:lnTo>
                  <a:lnTo>
                    <a:pt x="73" y="27"/>
                  </a:lnTo>
                  <a:lnTo>
                    <a:pt x="73" y="25"/>
                  </a:lnTo>
                  <a:lnTo>
                    <a:pt x="73" y="23"/>
                  </a:lnTo>
                  <a:lnTo>
                    <a:pt x="75" y="23"/>
                  </a:lnTo>
                  <a:lnTo>
                    <a:pt x="75" y="21"/>
                  </a:lnTo>
                  <a:lnTo>
                    <a:pt x="77" y="17"/>
                  </a:lnTo>
                  <a:lnTo>
                    <a:pt x="77" y="15"/>
                  </a:lnTo>
                  <a:lnTo>
                    <a:pt x="79" y="15"/>
                  </a:lnTo>
                  <a:lnTo>
                    <a:pt x="79" y="14"/>
                  </a:lnTo>
                  <a:lnTo>
                    <a:pt x="79" y="12"/>
                  </a:lnTo>
                  <a:lnTo>
                    <a:pt x="79" y="10"/>
                  </a:lnTo>
                  <a:lnTo>
                    <a:pt x="79" y="8"/>
                  </a:lnTo>
                  <a:lnTo>
                    <a:pt x="81" y="6"/>
                  </a:lnTo>
                  <a:lnTo>
                    <a:pt x="81" y="4"/>
                  </a:lnTo>
                  <a:lnTo>
                    <a:pt x="81" y="2"/>
                  </a:lnTo>
                  <a:lnTo>
                    <a:pt x="83" y="2"/>
                  </a:lnTo>
                  <a:lnTo>
                    <a:pt x="85" y="2"/>
                  </a:lnTo>
                  <a:lnTo>
                    <a:pt x="87" y="2"/>
                  </a:lnTo>
                  <a:lnTo>
                    <a:pt x="89" y="2"/>
                  </a:lnTo>
                  <a:lnTo>
                    <a:pt x="91" y="2"/>
                  </a:lnTo>
                  <a:lnTo>
                    <a:pt x="92" y="2"/>
                  </a:lnTo>
                  <a:lnTo>
                    <a:pt x="92" y="0"/>
                  </a:lnTo>
                  <a:lnTo>
                    <a:pt x="94" y="0"/>
                  </a:lnTo>
                  <a:lnTo>
                    <a:pt x="96" y="0"/>
                  </a:lnTo>
                  <a:lnTo>
                    <a:pt x="96" y="2"/>
                  </a:lnTo>
                  <a:lnTo>
                    <a:pt x="98" y="2"/>
                  </a:lnTo>
                  <a:lnTo>
                    <a:pt x="100" y="2"/>
                  </a:lnTo>
                  <a:lnTo>
                    <a:pt x="102" y="2"/>
                  </a:lnTo>
                  <a:lnTo>
                    <a:pt x="104" y="2"/>
                  </a:lnTo>
                  <a:lnTo>
                    <a:pt x="104" y="4"/>
                  </a:lnTo>
                  <a:lnTo>
                    <a:pt x="104" y="2"/>
                  </a:lnTo>
                  <a:lnTo>
                    <a:pt x="106" y="2"/>
                  </a:lnTo>
                  <a:lnTo>
                    <a:pt x="108" y="2"/>
                  </a:lnTo>
                  <a:lnTo>
                    <a:pt x="108" y="0"/>
                  </a:lnTo>
                  <a:lnTo>
                    <a:pt x="108" y="2"/>
                  </a:lnTo>
                  <a:lnTo>
                    <a:pt x="110" y="2"/>
                  </a:lnTo>
                  <a:lnTo>
                    <a:pt x="110" y="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3" name="Freeform 452">
              <a:extLst>
                <a:ext uri="{FF2B5EF4-FFF2-40B4-BE49-F238E27FC236}">
                  <a16:creationId xmlns:a16="http://schemas.microsoft.com/office/drawing/2014/main" id="{FC10A1A4-3131-47F9-99F4-63ADD9DB05D0}"/>
                </a:ext>
              </a:extLst>
            </p:cNvPr>
            <p:cNvSpPr>
              <a:spLocks noEditPoints="1"/>
            </p:cNvSpPr>
            <p:nvPr/>
          </p:nvSpPr>
          <p:spPr bwMode="gray">
            <a:xfrm>
              <a:off x="3366465" y="4326070"/>
              <a:ext cx="103016" cy="110374"/>
            </a:xfrm>
            <a:custGeom>
              <a:avLst/>
              <a:gdLst>
                <a:gd name="T0" fmla="*/ 63 w 84"/>
                <a:gd name="T1" fmla="*/ 8 h 90"/>
                <a:gd name="T2" fmla="*/ 65 w 84"/>
                <a:gd name="T3" fmla="*/ 10 h 90"/>
                <a:gd name="T4" fmla="*/ 65 w 84"/>
                <a:gd name="T5" fmla="*/ 14 h 90"/>
                <a:gd name="T6" fmla="*/ 67 w 84"/>
                <a:gd name="T7" fmla="*/ 16 h 90"/>
                <a:gd name="T8" fmla="*/ 71 w 84"/>
                <a:gd name="T9" fmla="*/ 16 h 90"/>
                <a:gd name="T10" fmla="*/ 75 w 84"/>
                <a:gd name="T11" fmla="*/ 12 h 90"/>
                <a:gd name="T12" fmla="*/ 77 w 84"/>
                <a:gd name="T13" fmla="*/ 14 h 90"/>
                <a:gd name="T14" fmla="*/ 82 w 84"/>
                <a:gd name="T15" fmla="*/ 16 h 90"/>
                <a:gd name="T16" fmla="*/ 82 w 84"/>
                <a:gd name="T17" fmla="*/ 23 h 90"/>
                <a:gd name="T18" fmla="*/ 77 w 84"/>
                <a:gd name="T19" fmla="*/ 29 h 90"/>
                <a:gd name="T20" fmla="*/ 75 w 84"/>
                <a:gd name="T21" fmla="*/ 35 h 90"/>
                <a:gd name="T22" fmla="*/ 80 w 84"/>
                <a:gd name="T23" fmla="*/ 41 h 90"/>
                <a:gd name="T24" fmla="*/ 82 w 84"/>
                <a:gd name="T25" fmla="*/ 46 h 90"/>
                <a:gd name="T26" fmla="*/ 84 w 84"/>
                <a:gd name="T27" fmla="*/ 56 h 90"/>
                <a:gd name="T28" fmla="*/ 82 w 84"/>
                <a:gd name="T29" fmla="*/ 62 h 90"/>
                <a:gd name="T30" fmla="*/ 80 w 84"/>
                <a:gd name="T31" fmla="*/ 67 h 90"/>
                <a:gd name="T32" fmla="*/ 77 w 84"/>
                <a:gd name="T33" fmla="*/ 67 h 90"/>
                <a:gd name="T34" fmla="*/ 71 w 84"/>
                <a:gd name="T35" fmla="*/ 67 h 90"/>
                <a:gd name="T36" fmla="*/ 63 w 84"/>
                <a:gd name="T37" fmla="*/ 67 h 90"/>
                <a:gd name="T38" fmla="*/ 61 w 84"/>
                <a:gd name="T39" fmla="*/ 66 h 90"/>
                <a:gd name="T40" fmla="*/ 55 w 84"/>
                <a:gd name="T41" fmla="*/ 60 h 90"/>
                <a:gd name="T42" fmla="*/ 53 w 84"/>
                <a:gd name="T43" fmla="*/ 66 h 90"/>
                <a:gd name="T44" fmla="*/ 52 w 84"/>
                <a:gd name="T45" fmla="*/ 69 h 90"/>
                <a:gd name="T46" fmla="*/ 44 w 84"/>
                <a:gd name="T47" fmla="*/ 69 h 90"/>
                <a:gd name="T48" fmla="*/ 42 w 84"/>
                <a:gd name="T49" fmla="*/ 75 h 90"/>
                <a:gd name="T50" fmla="*/ 46 w 84"/>
                <a:gd name="T51" fmla="*/ 81 h 90"/>
                <a:gd name="T52" fmla="*/ 46 w 84"/>
                <a:gd name="T53" fmla="*/ 89 h 90"/>
                <a:gd name="T54" fmla="*/ 40 w 84"/>
                <a:gd name="T55" fmla="*/ 83 h 90"/>
                <a:gd name="T56" fmla="*/ 36 w 84"/>
                <a:gd name="T57" fmla="*/ 90 h 90"/>
                <a:gd name="T58" fmla="*/ 30 w 84"/>
                <a:gd name="T59" fmla="*/ 85 h 90"/>
                <a:gd name="T60" fmla="*/ 27 w 84"/>
                <a:gd name="T61" fmla="*/ 81 h 90"/>
                <a:gd name="T62" fmla="*/ 21 w 84"/>
                <a:gd name="T63" fmla="*/ 75 h 90"/>
                <a:gd name="T64" fmla="*/ 15 w 84"/>
                <a:gd name="T65" fmla="*/ 69 h 90"/>
                <a:gd name="T66" fmla="*/ 9 w 84"/>
                <a:gd name="T67" fmla="*/ 64 h 90"/>
                <a:gd name="T68" fmla="*/ 6 w 84"/>
                <a:gd name="T69" fmla="*/ 56 h 90"/>
                <a:gd name="T70" fmla="*/ 2 w 84"/>
                <a:gd name="T71" fmla="*/ 48 h 90"/>
                <a:gd name="T72" fmla="*/ 2 w 84"/>
                <a:gd name="T73" fmla="*/ 44 h 90"/>
                <a:gd name="T74" fmla="*/ 4 w 84"/>
                <a:gd name="T75" fmla="*/ 42 h 90"/>
                <a:gd name="T76" fmla="*/ 7 w 84"/>
                <a:gd name="T77" fmla="*/ 39 h 90"/>
                <a:gd name="T78" fmla="*/ 7 w 84"/>
                <a:gd name="T79" fmla="*/ 31 h 90"/>
                <a:gd name="T80" fmla="*/ 11 w 84"/>
                <a:gd name="T81" fmla="*/ 31 h 90"/>
                <a:gd name="T82" fmla="*/ 15 w 84"/>
                <a:gd name="T83" fmla="*/ 33 h 90"/>
                <a:gd name="T84" fmla="*/ 13 w 84"/>
                <a:gd name="T85" fmla="*/ 31 h 90"/>
                <a:gd name="T86" fmla="*/ 7 w 84"/>
                <a:gd name="T87" fmla="*/ 25 h 90"/>
                <a:gd name="T88" fmla="*/ 11 w 84"/>
                <a:gd name="T89" fmla="*/ 25 h 90"/>
                <a:gd name="T90" fmla="*/ 13 w 84"/>
                <a:gd name="T91" fmla="*/ 27 h 90"/>
                <a:gd name="T92" fmla="*/ 13 w 84"/>
                <a:gd name="T93" fmla="*/ 19 h 90"/>
                <a:gd name="T94" fmla="*/ 17 w 84"/>
                <a:gd name="T95" fmla="*/ 19 h 90"/>
                <a:gd name="T96" fmla="*/ 25 w 84"/>
                <a:gd name="T97" fmla="*/ 19 h 90"/>
                <a:gd name="T98" fmla="*/ 38 w 84"/>
                <a:gd name="T99" fmla="*/ 6 h 90"/>
                <a:gd name="T100" fmla="*/ 46 w 84"/>
                <a:gd name="T101" fmla="*/ 0 h 90"/>
                <a:gd name="T102" fmla="*/ 53 w 84"/>
                <a:gd name="T103" fmla="*/ 0 h 90"/>
                <a:gd name="T104" fmla="*/ 65 w 84"/>
                <a:gd name="T105" fmla="*/ 0 h 90"/>
                <a:gd name="T106" fmla="*/ 11 w 84"/>
                <a:gd name="T107" fmla="*/ 3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90">
                  <a:moveTo>
                    <a:pt x="67" y="2"/>
                  </a:moveTo>
                  <a:lnTo>
                    <a:pt x="67" y="4"/>
                  </a:lnTo>
                  <a:lnTo>
                    <a:pt x="65" y="4"/>
                  </a:lnTo>
                  <a:lnTo>
                    <a:pt x="65" y="6"/>
                  </a:lnTo>
                  <a:lnTo>
                    <a:pt x="65" y="8"/>
                  </a:lnTo>
                  <a:lnTo>
                    <a:pt x="63" y="8"/>
                  </a:lnTo>
                  <a:lnTo>
                    <a:pt x="65" y="8"/>
                  </a:lnTo>
                  <a:lnTo>
                    <a:pt x="63" y="8"/>
                  </a:lnTo>
                  <a:lnTo>
                    <a:pt x="65" y="8"/>
                  </a:lnTo>
                  <a:lnTo>
                    <a:pt x="65" y="10"/>
                  </a:lnTo>
                  <a:lnTo>
                    <a:pt x="63" y="10"/>
                  </a:lnTo>
                  <a:lnTo>
                    <a:pt x="65" y="10"/>
                  </a:lnTo>
                  <a:lnTo>
                    <a:pt x="63" y="10"/>
                  </a:lnTo>
                  <a:lnTo>
                    <a:pt x="65" y="10"/>
                  </a:lnTo>
                  <a:lnTo>
                    <a:pt x="65" y="12"/>
                  </a:lnTo>
                  <a:lnTo>
                    <a:pt x="65" y="14"/>
                  </a:lnTo>
                  <a:lnTo>
                    <a:pt x="65" y="16"/>
                  </a:lnTo>
                  <a:lnTo>
                    <a:pt x="65" y="14"/>
                  </a:lnTo>
                  <a:lnTo>
                    <a:pt x="65" y="16"/>
                  </a:lnTo>
                  <a:lnTo>
                    <a:pt x="65" y="14"/>
                  </a:lnTo>
                  <a:lnTo>
                    <a:pt x="65" y="16"/>
                  </a:lnTo>
                  <a:lnTo>
                    <a:pt x="67" y="16"/>
                  </a:lnTo>
                  <a:lnTo>
                    <a:pt x="67" y="14"/>
                  </a:lnTo>
                  <a:lnTo>
                    <a:pt x="67" y="16"/>
                  </a:lnTo>
                  <a:lnTo>
                    <a:pt x="69" y="16"/>
                  </a:lnTo>
                  <a:lnTo>
                    <a:pt x="69" y="14"/>
                  </a:lnTo>
                  <a:lnTo>
                    <a:pt x="69" y="16"/>
                  </a:lnTo>
                  <a:lnTo>
                    <a:pt x="69" y="14"/>
                  </a:lnTo>
                  <a:lnTo>
                    <a:pt x="69" y="16"/>
                  </a:lnTo>
                  <a:lnTo>
                    <a:pt x="71" y="16"/>
                  </a:lnTo>
                  <a:lnTo>
                    <a:pt x="71" y="14"/>
                  </a:lnTo>
                  <a:lnTo>
                    <a:pt x="73" y="14"/>
                  </a:lnTo>
                  <a:lnTo>
                    <a:pt x="75" y="14"/>
                  </a:lnTo>
                  <a:lnTo>
                    <a:pt x="75" y="12"/>
                  </a:lnTo>
                  <a:lnTo>
                    <a:pt x="75" y="14"/>
                  </a:lnTo>
                  <a:lnTo>
                    <a:pt x="75" y="12"/>
                  </a:lnTo>
                  <a:lnTo>
                    <a:pt x="75" y="14"/>
                  </a:lnTo>
                  <a:lnTo>
                    <a:pt x="77" y="14"/>
                  </a:lnTo>
                  <a:lnTo>
                    <a:pt x="77" y="12"/>
                  </a:lnTo>
                  <a:lnTo>
                    <a:pt x="77" y="14"/>
                  </a:lnTo>
                  <a:lnTo>
                    <a:pt x="77" y="12"/>
                  </a:lnTo>
                  <a:lnTo>
                    <a:pt x="77" y="14"/>
                  </a:lnTo>
                  <a:lnTo>
                    <a:pt x="77" y="12"/>
                  </a:lnTo>
                  <a:lnTo>
                    <a:pt x="77" y="14"/>
                  </a:lnTo>
                  <a:lnTo>
                    <a:pt x="78" y="14"/>
                  </a:lnTo>
                  <a:lnTo>
                    <a:pt x="80" y="14"/>
                  </a:lnTo>
                  <a:lnTo>
                    <a:pt x="80" y="16"/>
                  </a:lnTo>
                  <a:lnTo>
                    <a:pt x="82" y="16"/>
                  </a:lnTo>
                  <a:lnTo>
                    <a:pt x="82" y="18"/>
                  </a:lnTo>
                  <a:lnTo>
                    <a:pt x="82" y="19"/>
                  </a:lnTo>
                  <a:lnTo>
                    <a:pt x="84" y="19"/>
                  </a:lnTo>
                  <a:lnTo>
                    <a:pt x="84" y="21"/>
                  </a:lnTo>
                  <a:lnTo>
                    <a:pt x="82" y="21"/>
                  </a:lnTo>
                  <a:lnTo>
                    <a:pt x="82" y="23"/>
                  </a:lnTo>
                  <a:lnTo>
                    <a:pt x="82" y="25"/>
                  </a:lnTo>
                  <a:lnTo>
                    <a:pt x="80" y="25"/>
                  </a:lnTo>
                  <a:lnTo>
                    <a:pt x="78" y="25"/>
                  </a:lnTo>
                  <a:lnTo>
                    <a:pt x="78" y="27"/>
                  </a:lnTo>
                  <a:lnTo>
                    <a:pt x="77" y="27"/>
                  </a:lnTo>
                  <a:lnTo>
                    <a:pt x="77" y="29"/>
                  </a:lnTo>
                  <a:lnTo>
                    <a:pt x="75" y="29"/>
                  </a:lnTo>
                  <a:lnTo>
                    <a:pt x="75" y="31"/>
                  </a:lnTo>
                  <a:lnTo>
                    <a:pt x="75" y="33"/>
                  </a:lnTo>
                  <a:lnTo>
                    <a:pt x="77" y="33"/>
                  </a:lnTo>
                  <a:lnTo>
                    <a:pt x="77" y="35"/>
                  </a:lnTo>
                  <a:lnTo>
                    <a:pt x="75" y="35"/>
                  </a:lnTo>
                  <a:lnTo>
                    <a:pt x="75" y="37"/>
                  </a:lnTo>
                  <a:lnTo>
                    <a:pt x="77" y="37"/>
                  </a:lnTo>
                  <a:lnTo>
                    <a:pt x="78" y="37"/>
                  </a:lnTo>
                  <a:lnTo>
                    <a:pt x="78" y="39"/>
                  </a:lnTo>
                  <a:lnTo>
                    <a:pt x="78" y="41"/>
                  </a:lnTo>
                  <a:lnTo>
                    <a:pt x="80" y="41"/>
                  </a:lnTo>
                  <a:lnTo>
                    <a:pt x="82" y="41"/>
                  </a:lnTo>
                  <a:lnTo>
                    <a:pt x="84" y="41"/>
                  </a:lnTo>
                  <a:lnTo>
                    <a:pt x="84" y="42"/>
                  </a:lnTo>
                  <a:lnTo>
                    <a:pt x="84" y="44"/>
                  </a:lnTo>
                  <a:lnTo>
                    <a:pt x="84" y="46"/>
                  </a:lnTo>
                  <a:lnTo>
                    <a:pt x="82" y="46"/>
                  </a:lnTo>
                  <a:lnTo>
                    <a:pt x="82" y="48"/>
                  </a:lnTo>
                  <a:lnTo>
                    <a:pt x="82" y="50"/>
                  </a:lnTo>
                  <a:lnTo>
                    <a:pt x="84" y="50"/>
                  </a:lnTo>
                  <a:lnTo>
                    <a:pt x="84" y="52"/>
                  </a:lnTo>
                  <a:lnTo>
                    <a:pt x="84" y="54"/>
                  </a:lnTo>
                  <a:lnTo>
                    <a:pt x="84" y="56"/>
                  </a:lnTo>
                  <a:lnTo>
                    <a:pt x="82" y="56"/>
                  </a:lnTo>
                  <a:lnTo>
                    <a:pt x="82" y="58"/>
                  </a:lnTo>
                  <a:lnTo>
                    <a:pt x="84" y="58"/>
                  </a:lnTo>
                  <a:lnTo>
                    <a:pt x="82" y="58"/>
                  </a:lnTo>
                  <a:lnTo>
                    <a:pt x="82" y="60"/>
                  </a:lnTo>
                  <a:lnTo>
                    <a:pt x="82" y="62"/>
                  </a:lnTo>
                  <a:lnTo>
                    <a:pt x="80" y="62"/>
                  </a:lnTo>
                  <a:lnTo>
                    <a:pt x="80" y="64"/>
                  </a:lnTo>
                  <a:lnTo>
                    <a:pt x="80" y="66"/>
                  </a:lnTo>
                  <a:lnTo>
                    <a:pt x="78" y="66"/>
                  </a:lnTo>
                  <a:lnTo>
                    <a:pt x="80" y="66"/>
                  </a:lnTo>
                  <a:lnTo>
                    <a:pt x="80" y="67"/>
                  </a:lnTo>
                  <a:lnTo>
                    <a:pt x="78" y="67"/>
                  </a:lnTo>
                  <a:lnTo>
                    <a:pt x="78" y="69"/>
                  </a:lnTo>
                  <a:lnTo>
                    <a:pt x="77" y="69"/>
                  </a:lnTo>
                  <a:lnTo>
                    <a:pt x="75" y="69"/>
                  </a:lnTo>
                  <a:lnTo>
                    <a:pt x="75" y="67"/>
                  </a:lnTo>
                  <a:lnTo>
                    <a:pt x="77" y="67"/>
                  </a:lnTo>
                  <a:lnTo>
                    <a:pt x="75" y="67"/>
                  </a:lnTo>
                  <a:lnTo>
                    <a:pt x="75" y="66"/>
                  </a:lnTo>
                  <a:lnTo>
                    <a:pt x="73" y="66"/>
                  </a:lnTo>
                  <a:lnTo>
                    <a:pt x="73" y="64"/>
                  </a:lnTo>
                  <a:lnTo>
                    <a:pt x="73" y="66"/>
                  </a:lnTo>
                  <a:lnTo>
                    <a:pt x="71" y="67"/>
                  </a:lnTo>
                  <a:lnTo>
                    <a:pt x="71" y="69"/>
                  </a:lnTo>
                  <a:lnTo>
                    <a:pt x="69" y="69"/>
                  </a:lnTo>
                  <a:lnTo>
                    <a:pt x="67" y="69"/>
                  </a:lnTo>
                  <a:lnTo>
                    <a:pt x="67" y="67"/>
                  </a:lnTo>
                  <a:lnTo>
                    <a:pt x="65" y="67"/>
                  </a:lnTo>
                  <a:lnTo>
                    <a:pt x="63" y="67"/>
                  </a:lnTo>
                  <a:lnTo>
                    <a:pt x="61" y="67"/>
                  </a:lnTo>
                  <a:lnTo>
                    <a:pt x="63" y="67"/>
                  </a:lnTo>
                  <a:lnTo>
                    <a:pt x="61" y="67"/>
                  </a:lnTo>
                  <a:lnTo>
                    <a:pt x="63" y="67"/>
                  </a:lnTo>
                  <a:lnTo>
                    <a:pt x="63" y="66"/>
                  </a:lnTo>
                  <a:lnTo>
                    <a:pt x="61" y="66"/>
                  </a:lnTo>
                  <a:lnTo>
                    <a:pt x="61" y="64"/>
                  </a:lnTo>
                  <a:lnTo>
                    <a:pt x="59" y="64"/>
                  </a:lnTo>
                  <a:lnTo>
                    <a:pt x="59" y="62"/>
                  </a:lnTo>
                  <a:lnTo>
                    <a:pt x="57" y="62"/>
                  </a:lnTo>
                  <a:lnTo>
                    <a:pt x="57" y="60"/>
                  </a:lnTo>
                  <a:lnTo>
                    <a:pt x="55" y="60"/>
                  </a:lnTo>
                  <a:lnTo>
                    <a:pt x="55" y="62"/>
                  </a:lnTo>
                  <a:lnTo>
                    <a:pt x="53" y="62"/>
                  </a:lnTo>
                  <a:lnTo>
                    <a:pt x="53" y="64"/>
                  </a:lnTo>
                  <a:lnTo>
                    <a:pt x="55" y="64"/>
                  </a:lnTo>
                  <a:lnTo>
                    <a:pt x="55" y="66"/>
                  </a:lnTo>
                  <a:lnTo>
                    <a:pt x="53" y="66"/>
                  </a:lnTo>
                  <a:lnTo>
                    <a:pt x="55" y="66"/>
                  </a:lnTo>
                  <a:lnTo>
                    <a:pt x="55" y="67"/>
                  </a:lnTo>
                  <a:lnTo>
                    <a:pt x="53" y="67"/>
                  </a:lnTo>
                  <a:lnTo>
                    <a:pt x="55" y="67"/>
                  </a:lnTo>
                  <a:lnTo>
                    <a:pt x="55" y="69"/>
                  </a:lnTo>
                  <a:lnTo>
                    <a:pt x="52" y="69"/>
                  </a:lnTo>
                  <a:lnTo>
                    <a:pt x="50" y="69"/>
                  </a:lnTo>
                  <a:lnTo>
                    <a:pt x="48" y="69"/>
                  </a:lnTo>
                  <a:lnTo>
                    <a:pt x="48" y="67"/>
                  </a:lnTo>
                  <a:lnTo>
                    <a:pt x="46" y="67"/>
                  </a:lnTo>
                  <a:lnTo>
                    <a:pt x="44" y="67"/>
                  </a:lnTo>
                  <a:lnTo>
                    <a:pt x="44" y="69"/>
                  </a:lnTo>
                  <a:lnTo>
                    <a:pt x="42" y="69"/>
                  </a:lnTo>
                  <a:lnTo>
                    <a:pt x="42" y="67"/>
                  </a:lnTo>
                  <a:lnTo>
                    <a:pt x="42" y="69"/>
                  </a:lnTo>
                  <a:lnTo>
                    <a:pt x="42" y="71"/>
                  </a:lnTo>
                  <a:lnTo>
                    <a:pt x="42" y="73"/>
                  </a:lnTo>
                  <a:lnTo>
                    <a:pt x="42" y="75"/>
                  </a:lnTo>
                  <a:lnTo>
                    <a:pt x="40" y="75"/>
                  </a:lnTo>
                  <a:lnTo>
                    <a:pt x="42" y="75"/>
                  </a:lnTo>
                  <a:lnTo>
                    <a:pt x="44" y="75"/>
                  </a:lnTo>
                  <a:lnTo>
                    <a:pt x="44" y="77"/>
                  </a:lnTo>
                  <a:lnTo>
                    <a:pt x="44" y="79"/>
                  </a:lnTo>
                  <a:lnTo>
                    <a:pt x="46" y="81"/>
                  </a:lnTo>
                  <a:lnTo>
                    <a:pt x="48" y="81"/>
                  </a:lnTo>
                  <a:lnTo>
                    <a:pt x="48" y="83"/>
                  </a:lnTo>
                  <a:lnTo>
                    <a:pt x="48" y="85"/>
                  </a:lnTo>
                  <a:lnTo>
                    <a:pt x="46" y="85"/>
                  </a:lnTo>
                  <a:lnTo>
                    <a:pt x="46" y="87"/>
                  </a:lnTo>
                  <a:lnTo>
                    <a:pt x="46" y="89"/>
                  </a:lnTo>
                  <a:lnTo>
                    <a:pt x="44" y="89"/>
                  </a:lnTo>
                  <a:lnTo>
                    <a:pt x="44" y="87"/>
                  </a:lnTo>
                  <a:lnTo>
                    <a:pt x="42" y="87"/>
                  </a:lnTo>
                  <a:lnTo>
                    <a:pt x="42" y="85"/>
                  </a:lnTo>
                  <a:lnTo>
                    <a:pt x="42" y="83"/>
                  </a:lnTo>
                  <a:lnTo>
                    <a:pt x="40" y="83"/>
                  </a:lnTo>
                  <a:lnTo>
                    <a:pt x="40" y="85"/>
                  </a:lnTo>
                  <a:lnTo>
                    <a:pt x="40" y="87"/>
                  </a:lnTo>
                  <a:lnTo>
                    <a:pt x="38" y="87"/>
                  </a:lnTo>
                  <a:lnTo>
                    <a:pt x="36" y="87"/>
                  </a:lnTo>
                  <a:lnTo>
                    <a:pt x="36" y="89"/>
                  </a:lnTo>
                  <a:lnTo>
                    <a:pt x="36" y="90"/>
                  </a:lnTo>
                  <a:lnTo>
                    <a:pt x="34" y="90"/>
                  </a:lnTo>
                  <a:lnTo>
                    <a:pt x="32" y="90"/>
                  </a:lnTo>
                  <a:lnTo>
                    <a:pt x="32" y="89"/>
                  </a:lnTo>
                  <a:lnTo>
                    <a:pt x="32" y="87"/>
                  </a:lnTo>
                  <a:lnTo>
                    <a:pt x="30" y="87"/>
                  </a:lnTo>
                  <a:lnTo>
                    <a:pt x="30" y="85"/>
                  </a:lnTo>
                  <a:lnTo>
                    <a:pt x="29" y="85"/>
                  </a:lnTo>
                  <a:lnTo>
                    <a:pt x="27" y="85"/>
                  </a:lnTo>
                  <a:lnTo>
                    <a:pt x="27" y="83"/>
                  </a:lnTo>
                  <a:lnTo>
                    <a:pt x="29" y="83"/>
                  </a:lnTo>
                  <a:lnTo>
                    <a:pt x="27" y="83"/>
                  </a:lnTo>
                  <a:lnTo>
                    <a:pt x="27" y="81"/>
                  </a:lnTo>
                  <a:lnTo>
                    <a:pt x="25" y="81"/>
                  </a:lnTo>
                  <a:lnTo>
                    <a:pt x="25" y="79"/>
                  </a:lnTo>
                  <a:lnTo>
                    <a:pt x="23" y="79"/>
                  </a:lnTo>
                  <a:lnTo>
                    <a:pt x="23" y="77"/>
                  </a:lnTo>
                  <a:lnTo>
                    <a:pt x="21" y="77"/>
                  </a:lnTo>
                  <a:lnTo>
                    <a:pt x="21" y="75"/>
                  </a:lnTo>
                  <a:lnTo>
                    <a:pt x="19" y="75"/>
                  </a:lnTo>
                  <a:lnTo>
                    <a:pt x="19" y="73"/>
                  </a:lnTo>
                  <a:lnTo>
                    <a:pt x="17" y="73"/>
                  </a:lnTo>
                  <a:lnTo>
                    <a:pt x="17" y="71"/>
                  </a:lnTo>
                  <a:lnTo>
                    <a:pt x="15" y="71"/>
                  </a:lnTo>
                  <a:lnTo>
                    <a:pt x="15" y="69"/>
                  </a:lnTo>
                  <a:lnTo>
                    <a:pt x="13" y="69"/>
                  </a:lnTo>
                  <a:lnTo>
                    <a:pt x="13" y="67"/>
                  </a:lnTo>
                  <a:lnTo>
                    <a:pt x="11" y="67"/>
                  </a:lnTo>
                  <a:lnTo>
                    <a:pt x="11" y="66"/>
                  </a:lnTo>
                  <a:lnTo>
                    <a:pt x="11" y="64"/>
                  </a:lnTo>
                  <a:lnTo>
                    <a:pt x="9" y="64"/>
                  </a:lnTo>
                  <a:lnTo>
                    <a:pt x="9" y="62"/>
                  </a:lnTo>
                  <a:lnTo>
                    <a:pt x="7" y="62"/>
                  </a:lnTo>
                  <a:lnTo>
                    <a:pt x="7" y="60"/>
                  </a:lnTo>
                  <a:lnTo>
                    <a:pt x="7" y="58"/>
                  </a:lnTo>
                  <a:lnTo>
                    <a:pt x="7" y="56"/>
                  </a:lnTo>
                  <a:lnTo>
                    <a:pt x="6" y="56"/>
                  </a:lnTo>
                  <a:lnTo>
                    <a:pt x="6" y="54"/>
                  </a:lnTo>
                  <a:lnTo>
                    <a:pt x="4" y="54"/>
                  </a:lnTo>
                  <a:lnTo>
                    <a:pt x="4" y="52"/>
                  </a:lnTo>
                  <a:lnTo>
                    <a:pt x="4" y="50"/>
                  </a:lnTo>
                  <a:lnTo>
                    <a:pt x="2" y="50"/>
                  </a:lnTo>
                  <a:lnTo>
                    <a:pt x="2" y="48"/>
                  </a:lnTo>
                  <a:lnTo>
                    <a:pt x="2" y="46"/>
                  </a:lnTo>
                  <a:lnTo>
                    <a:pt x="0" y="46"/>
                  </a:lnTo>
                  <a:lnTo>
                    <a:pt x="0" y="44"/>
                  </a:lnTo>
                  <a:lnTo>
                    <a:pt x="0" y="42"/>
                  </a:lnTo>
                  <a:lnTo>
                    <a:pt x="0" y="44"/>
                  </a:lnTo>
                  <a:lnTo>
                    <a:pt x="2" y="44"/>
                  </a:lnTo>
                  <a:lnTo>
                    <a:pt x="2" y="46"/>
                  </a:lnTo>
                  <a:lnTo>
                    <a:pt x="2" y="44"/>
                  </a:lnTo>
                  <a:lnTo>
                    <a:pt x="4" y="44"/>
                  </a:lnTo>
                  <a:lnTo>
                    <a:pt x="4" y="42"/>
                  </a:lnTo>
                  <a:lnTo>
                    <a:pt x="4" y="44"/>
                  </a:lnTo>
                  <a:lnTo>
                    <a:pt x="4" y="42"/>
                  </a:lnTo>
                  <a:lnTo>
                    <a:pt x="4" y="44"/>
                  </a:lnTo>
                  <a:lnTo>
                    <a:pt x="6" y="44"/>
                  </a:lnTo>
                  <a:lnTo>
                    <a:pt x="6" y="42"/>
                  </a:lnTo>
                  <a:lnTo>
                    <a:pt x="6" y="41"/>
                  </a:lnTo>
                  <a:lnTo>
                    <a:pt x="7" y="41"/>
                  </a:lnTo>
                  <a:lnTo>
                    <a:pt x="7" y="39"/>
                  </a:lnTo>
                  <a:lnTo>
                    <a:pt x="7" y="37"/>
                  </a:lnTo>
                  <a:lnTo>
                    <a:pt x="7" y="35"/>
                  </a:lnTo>
                  <a:lnTo>
                    <a:pt x="9" y="35"/>
                  </a:lnTo>
                  <a:lnTo>
                    <a:pt x="9" y="33"/>
                  </a:lnTo>
                  <a:lnTo>
                    <a:pt x="9" y="31"/>
                  </a:lnTo>
                  <a:lnTo>
                    <a:pt x="7" y="31"/>
                  </a:lnTo>
                  <a:lnTo>
                    <a:pt x="7" y="29"/>
                  </a:lnTo>
                  <a:lnTo>
                    <a:pt x="9" y="29"/>
                  </a:lnTo>
                  <a:lnTo>
                    <a:pt x="9" y="31"/>
                  </a:lnTo>
                  <a:lnTo>
                    <a:pt x="11" y="31"/>
                  </a:lnTo>
                  <a:lnTo>
                    <a:pt x="11" y="33"/>
                  </a:lnTo>
                  <a:lnTo>
                    <a:pt x="11" y="31"/>
                  </a:lnTo>
                  <a:lnTo>
                    <a:pt x="11" y="33"/>
                  </a:lnTo>
                  <a:lnTo>
                    <a:pt x="13" y="33"/>
                  </a:lnTo>
                  <a:lnTo>
                    <a:pt x="11" y="31"/>
                  </a:lnTo>
                  <a:lnTo>
                    <a:pt x="13" y="31"/>
                  </a:lnTo>
                  <a:lnTo>
                    <a:pt x="15" y="31"/>
                  </a:lnTo>
                  <a:lnTo>
                    <a:pt x="15" y="33"/>
                  </a:lnTo>
                  <a:lnTo>
                    <a:pt x="15" y="31"/>
                  </a:lnTo>
                  <a:lnTo>
                    <a:pt x="17" y="31"/>
                  </a:lnTo>
                  <a:lnTo>
                    <a:pt x="19" y="31"/>
                  </a:lnTo>
                  <a:lnTo>
                    <a:pt x="17" y="31"/>
                  </a:lnTo>
                  <a:lnTo>
                    <a:pt x="15" y="31"/>
                  </a:lnTo>
                  <a:lnTo>
                    <a:pt x="13" y="31"/>
                  </a:lnTo>
                  <a:lnTo>
                    <a:pt x="13" y="29"/>
                  </a:lnTo>
                  <a:lnTo>
                    <a:pt x="11" y="29"/>
                  </a:lnTo>
                  <a:lnTo>
                    <a:pt x="9" y="29"/>
                  </a:lnTo>
                  <a:lnTo>
                    <a:pt x="9" y="27"/>
                  </a:lnTo>
                  <a:lnTo>
                    <a:pt x="9" y="25"/>
                  </a:lnTo>
                  <a:lnTo>
                    <a:pt x="7" y="25"/>
                  </a:lnTo>
                  <a:lnTo>
                    <a:pt x="9" y="25"/>
                  </a:lnTo>
                  <a:lnTo>
                    <a:pt x="9" y="23"/>
                  </a:lnTo>
                  <a:lnTo>
                    <a:pt x="11" y="23"/>
                  </a:lnTo>
                  <a:lnTo>
                    <a:pt x="11" y="25"/>
                  </a:lnTo>
                  <a:lnTo>
                    <a:pt x="9" y="25"/>
                  </a:lnTo>
                  <a:lnTo>
                    <a:pt x="11" y="25"/>
                  </a:lnTo>
                  <a:lnTo>
                    <a:pt x="11" y="27"/>
                  </a:lnTo>
                  <a:lnTo>
                    <a:pt x="13" y="27"/>
                  </a:lnTo>
                  <a:lnTo>
                    <a:pt x="11" y="27"/>
                  </a:lnTo>
                  <a:lnTo>
                    <a:pt x="11" y="25"/>
                  </a:lnTo>
                  <a:lnTo>
                    <a:pt x="13" y="25"/>
                  </a:lnTo>
                  <a:lnTo>
                    <a:pt x="13" y="27"/>
                  </a:lnTo>
                  <a:lnTo>
                    <a:pt x="13" y="25"/>
                  </a:lnTo>
                  <a:lnTo>
                    <a:pt x="13" y="23"/>
                  </a:lnTo>
                  <a:lnTo>
                    <a:pt x="13" y="21"/>
                  </a:lnTo>
                  <a:lnTo>
                    <a:pt x="11" y="21"/>
                  </a:lnTo>
                  <a:lnTo>
                    <a:pt x="11" y="19"/>
                  </a:lnTo>
                  <a:lnTo>
                    <a:pt x="13" y="19"/>
                  </a:lnTo>
                  <a:lnTo>
                    <a:pt x="13" y="18"/>
                  </a:lnTo>
                  <a:lnTo>
                    <a:pt x="15" y="18"/>
                  </a:lnTo>
                  <a:lnTo>
                    <a:pt x="15" y="19"/>
                  </a:lnTo>
                  <a:lnTo>
                    <a:pt x="17" y="19"/>
                  </a:lnTo>
                  <a:lnTo>
                    <a:pt x="19" y="19"/>
                  </a:lnTo>
                  <a:lnTo>
                    <a:pt x="17" y="19"/>
                  </a:lnTo>
                  <a:lnTo>
                    <a:pt x="19" y="19"/>
                  </a:lnTo>
                  <a:lnTo>
                    <a:pt x="17" y="19"/>
                  </a:lnTo>
                  <a:lnTo>
                    <a:pt x="19" y="19"/>
                  </a:lnTo>
                  <a:lnTo>
                    <a:pt x="17" y="19"/>
                  </a:lnTo>
                  <a:lnTo>
                    <a:pt x="19" y="19"/>
                  </a:lnTo>
                  <a:lnTo>
                    <a:pt x="25" y="19"/>
                  </a:lnTo>
                  <a:lnTo>
                    <a:pt x="29" y="19"/>
                  </a:lnTo>
                  <a:lnTo>
                    <a:pt x="32" y="19"/>
                  </a:lnTo>
                  <a:lnTo>
                    <a:pt x="38" y="19"/>
                  </a:lnTo>
                  <a:lnTo>
                    <a:pt x="38" y="12"/>
                  </a:lnTo>
                  <a:lnTo>
                    <a:pt x="38" y="8"/>
                  </a:lnTo>
                  <a:lnTo>
                    <a:pt x="38" y="6"/>
                  </a:lnTo>
                  <a:lnTo>
                    <a:pt x="38" y="2"/>
                  </a:lnTo>
                  <a:lnTo>
                    <a:pt x="38" y="0"/>
                  </a:lnTo>
                  <a:lnTo>
                    <a:pt x="40" y="0"/>
                  </a:lnTo>
                  <a:lnTo>
                    <a:pt x="42" y="0"/>
                  </a:lnTo>
                  <a:lnTo>
                    <a:pt x="44" y="0"/>
                  </a:lnTo>
                  <a:lnTo>
                    <a:pt x="46" y="0"/>
                  </a:lnTo>
                  <a:lnTo>
                    <a:pt x="44" y="0"/>
                  </a:lnTo>
                  <a:lnTo>
                    <a:pt x="46" y="0"/>
                  </a:lnTo>
                  <a:lnTo>
                    <a:pt x="48" y="0"/>
                  </a:lnTo>
                  <a:lnTo>
                    <a:pt x="50" y="0"/>
                  </a:lnTo>
                  <a:lnTo>
                    <a:pt x="52" y="0"/>
                  </a:lnTo>
                  <a:lnTo>
                    <a:pt x="53" y="0"/>
                  </a:lnTo>
                  <a:lnTo>
                    <a:pt x="55" y="0"/>
                  </a:lnTo>
                  <a:lnTo>
                    <a:pt x="57" y="0"/>
                  </a:lnTo>
                  <a:lnTo>
                    <a:pt x="59" y="0"/>
                  </a:lnTo>
                  <a:lnTo>
                    <a:pt x="61" y="0"/>
                  </a:lnTo>
                  <a:lnTo>
                    <a:pt x="63" y="0"/>
                  </a:lnTo>
                  <a:lnTo>
                    <a:pt x="65" y="0"/>
                  </a:lnTo>
                  <a:lnTo>
                    <a:pt x="67" y="0"/>
                  </a:lnTo>
                  <a:lnTo>
                    <a:pt x="67" y="2"/>
                  </a:lnTo>
                  <a:close/>
                  <a:moveTo>
                    <a:pt x="6" y="42"/>
                  </a:moveTo>
                  <a:lnTo>
                    <a:pt x="6" y="44"/>
                  </a:lnTo>
                  <a:lnTo>
                    <a:pt x="6" y="42"/>
                  </a:lnTo>
                  <a:close/>
                  <a:moveTo>
                    <a:pt x="11" y="31"/>
                  </a:moveTo>
                  <a:lnTo>
                    <a:pt x="11" y="33"/>
                  </a:lnTo>
                  <a:lnTo>
                    <a:pt x="11" y="31"/>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4" name="Freeform 453">
              <a:extLst>
                <a:ext uri="{FF2B5EF4-FFF2-40B4-BE49-F238E27FC236}">
                  <a16:creationId xmlns:a16="http://schemas.microsoft.com/office/drawing/2014/main" id="{069B0F45-0C57-4552-B862-89E62E4700E3}"/>
                </a:ext>
              </a:extLst>
            </p:cNvPr>
            <p:cNvSpPr>
              <a:spLocks noEditPoints="1"/>
            </p:cNvSpPr>
            <p:nvPr/>
          </p:nvSpPr>
          <p:spPr bwMode="gray">
            <a:xfrm>
              <a:off x="3417973" y="4446255"/>
              <a:ext cx="223201" cy="250181"/>
            </a:xfrm>
            <a:custGeom>
              <a:avLst/>
              <a:gdLst>
                <a:gd name="T0" fmla="*/ 180 w 182"/>
                <a:gd name="T1" fmla="*/ 106 h 204"/>
                <a:gd name="T2" fmla="*/ 180 w 182"/>
                <a:gd name="T3" fmla="*/ 121 h 204"/>
                <a:gd name="T4" fmla="*/ 163 w 182"/>
                <a:gd name="T5" fmla="*/ 127 h 204"/>
                <a:gd name="T6" fmla="*/ 152 w 182"/>
                <a:gd name="T7" fmla="*/ 158 h 204"/>
                <a:gd name="T8" fmla="*/ 159 w 182"/>
                <a:gd name="T9" fmla="*/ 185 h 204"/>
                <a:gd name="T10" fmla="*/ 169 w 182"/>
                <a:gd name="T11" fmla="*/ 194 h 204"/>
                <a:gd name="T12" fmla="*/ 163 w 182"/>
                <a:gd name="T13" fmla="*/ 200 h 204"/>
                <a:gd name="T14" fmla="*/ 148 w 182"/>
                <a:gd name="T15" fmla="*/ 204 h 204"/>
                <a:gd name="T16" fmla="*/ 136 w 182"/>
                <a:gd name="T17" fmla="*/ 204 h 204"/>
                <a:gd name="T18" fmla="*/ 123 w 182"/>
                <a:gd name="T19" fmla="*/ 202 h 204"/>
                <a:gd name="T20" fmla="*/ 109 w 182"/>
                <a:gd name="T21" fmla="*/ 200 h 204"/>
                <a:gd name="T22" fmla="*/ 96 w 182"/>
                <a:gd name="T23" fmla="*/ 194 h 204"/>
                <a:gd name="T24" fmla="*/ 75 w 182"/>
                <a:gd name="T25" fmla="*/ 194 h 204"/>
                <a:gd name="T26" fmla="*/ 48 w 182"/>
                <a:gd name="T27" fmla="*/ 194 h 204"/>
                <a:gd name="T28" fmla="*/ 31 w 182"/>
                <a:gd name="T29" fmla="*/ 192 h 204"/>
                <a:gd name="T30" fmla="*/ 17 w 182"/>
                <a:gd name="T31" fmla="*/ 190 h 204"/>
                <a:gd name="T32" fmla="*/ 11 w 182"/>
                <a:gd name="T33" fmla="*/ 192 h 204"/>
                <a:gd name="T34" fmla="*/ 2 w 182"/>
                <a:gd name="T35" fmla="*/ 187 h 204"/>
                <a:gd name="T36" fmla="*/ 2 w 182"/>
                <a:gd name="T37" fmla="*/ 175 h 204"/>
                <a:gd name="T38" fmla="*/ 6 w 182"/>
                <a:gd name="T39" fmla="*/ 163 h 204"/>
                <a:gd name="T40" fmla="*/ 10 w 182"/>
                <a:gd name="T41" fmla="*/ 156 h 204"/>
                <a:gd name="T42" fmla="*/ 11 w 182"/>
                <a:gd name="T43" fmla="*/ 142 h 204"/>
                <a:gd name="T44" fmla="*/ 17 w 182"/>
                <a:gd name="T45" fmla="*/ 129 h 204"/>
                <a:gd name="T46" fmla="*/ 25 w 182"/>
                <a:gd name="T47" fmla="*/ 121 h 204"/>
                <a:gd name="T48" fmla="*/ 33 w 182"/>
                <a:gd name="T49" fmla="*/ 110 h 204"/>
                <a:gd name="T50" fmla="*/ 31 w 182"/>
                <a:gd name="T51" fmla="*/ 96 h 204"/>
                <a:gd name="T52" fmla="*/ 27 w 182"/>
                <a:gd name="T53" fmla="*/ 85 h 204"/>
                <a:gd name="T54" fmla="*/ 21 w 182"/>
                <a:gd name="T55" fmla="*/ 71 h 204"/>
                <a:gd name="T56" fmla="*/ 19 w 182"/>
                <a:gd name="T57" fmla="*/ 69 h 204"/>
                <a:gd name="T58" fmla="*/ 23 w 182"/>
                <a:gd name="T59" fmla="*/ 65 h 204"/>
                <a:gd name="T60" fmla="*/ 23 w 182"/>
                <a:gd name="T61" fmla="*/ 54 h 204"/>
                <a:gd name="T62" fmla="*/ 17 w 182"/>
                <a:gd name="T63" fmla="*/ 41 h 204"/>
                <a:gd name="T64" fmla="*/ 11 w 182"/>
                <a:gd name="T65" fmla="*/ 27 h 204"/>
                <a:gd name="T66" fmla="*/ 19 w 182"/>
                <a:gd name="T67" fmla="*/ 21 h 204"/>
                <a:gd name="T68" fmla="*/ 38 w 182"/>
                <a:gd name="T69" fmla="*/ 21 h 204"/>
                <a:gd name="T70" fmla="*/ 58 w 182"/>
                <a:gd name="T71" fmla="*/ 21 h 204"/>
                <a:gd name="T72" fmla="*/ 73 w 182"/>
                <a:gd name="T73" fmla="*/ 25 h 204"/>
                <a:gd name="T74" fmla="*/ 75 w 182"/>
                <a:gd name="T75" fmla="*/ 31 h 204"/>
                <a:gd name="T76" fmla="*/ 79 w 182"/>
                <a:gd name="T77" fmla="*/ 42 h 204"/>
                <a:gd name="T78" fmla="*/ 84 w 182"/>
                <a:gd name="T79" fmla="*/ 52 h 204"/>
                <a:gd name="T80" fmla="*/ 98 w 182"/>
                <a:gd name="T81" fmla="*/ 54 h 204"/>
                <a:gd name="T82" fmla="*/ 113 w 182"/>
                <a:gd name="T83" fmla="*/ 52 h 204"/>
                <a:gd name="T84" fmla="*/ 127 w 182"/>
                <a:gd name="T85" fmla="*/ 39 h 204"/>
                <a:gd name="T86" fmla="*/ 136 w 182"/>
                <a:gd name="T87" fmla="*/ 42 h 204"/>
                <a:gd name="T88" fmla="*/ 148 w 182"/>
                <a:gd name="T89" fmla="*/ 52 h 204"/>
                <a:gd name="T90" fmla="*/ 150 w 182"/>
                <a:gd name="T91" fmla="*/ 62 h 204"/>
                <a:gd name="T92" fmla="*/ 150 w 182"/>
                <a:gd name="T93" fmla="*/ 73 h 204"/>
                <a:gd name="T94" fmla="*/ 155 w 182"/>
                <a:gd name="T95" fmla="*/ 85 h 204"/>
                <a:gd name="T96" fmla="*/ 155 w 182"/>
                <a:gd name="T97" fmla="*/ 94 h 204"/>
                <a:gd name="T98" fmla="*/ 159 w 182"/>
                <a:gd name="T99" fmla="*/ 100 h 204"/>
                <a:gd name="T100" fmla="*/ 169 w 182"/>
                <a:gd name="T101" fmla="*/ 98 h 204"/>
                <a:gd name="T102" fmla="*/ 19 w 182"/>
                <a:gd name="T103" fmla="*/ 4 h 204"/>
                <a:gd name="T104" fmla="*/ 17 w 182"/>
                <a:gd name="T105" fmla="*/ 6 h 204"/>
                <a:gd name="T106" fmla="*/ 13 w 182"/>
                <a:gd name="T107" fmla="*/ 10 h 204"/>
                <a:gd name="T108" fmla="*/ 10 w 182"/>
                <a:gd name="T109" fmla="*/ 17 h 204"/>
                <a:gd name="T110" fmla="*/ 10 w 182"/>
                <a:gd name="T111" fmla="*/ 6 h 204"/>
                <a:gd name="T112" fmla="*/ 17 w 182"/>
                <a:gd name="T113" fmla="*/ 2 h 204"/>
                <a:gd name="T114" fmla="*/ 2 w 182"/>
                <a:gd name="T115" fmla="*/ 185 h 204"/>
                <a:gd name="T116" fmla="*/ 13 w 182"/>
                <a:gd name="T117" fmla="*/ 23 h 204"/>
                <a:gd name="T118" fmla="*/ 15 w 182"/>
                <a:gd name="T119" fmla="*/ 23 h 204"/>
                <a:gd name="T120" fmla="*/ 17 w 182"/>
                <a:gd name="T121"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 h="204">
                  <a:moveTo>
                    <a:pt x="180" y="96"/>
                  </a:moveTo>
                  <a:lnTo>
                    <a:pt x="180" y="98"/>
                  </a:lnTo>
                  <a:lnTo>
                    <a:pt x="180" y="100"/>
                  </a:lnTo>
                  <a:lnTo>
                    <a:pt x="182" y="100"/>
                  </a:lnTo>
                  <a:lnTo>
                    <a:pt x="182" y="102"/>
                  </a:lnTo>
                  <a:lnTo>
                    <a:pt x="182" y="104"/>
                  </a:lnTo>
                  <a:lnTo>
                    <a:pt x="180" y="104"/>
                  </a:lnTo>
                  <a:lnTo>
                    <a:pt x="180" y="106"/>
                  </a:lnTo>
                  <a:lnTo>
                    <a:pt x="182" y="106"/>
                  </a:lnTo>
                  <a:lnTo>
                    <a:pt x="180" y="106"/>
                  </a:lnTo>
                  <a:lnTo>
                    <a:pt x="180" y="108"/>
                  </a:lnTo>
                  <a:lnTo>
                    <a:pt x="180" y="110"/>
                  </a:lnTo>
                  <a:lnTo>
                    <a:pt x="180" y="112"/>
                  </a:lnTo>
                  <a:lnTo>
                    <a:pt x="180" y="114"/>
                  </a:lnTo>
                  <a:lnTo>
                    <a:pt x="180" y="115"/>
                  </a:lnTo>
                  <a:lnTo>
                    <a:pt x="182" y="115"/>
                  </a:lnTo>
                  <a:lnTo>
                    <a:pt x="182" y="117"/>
                  </a:lnTo>
                  <a:lnTo>
                    <a:pt x="182" y="119"/>
                  </a:lnTo>
                  <a:lnTo>
                    <a:pt x="180" y="119"/>
                  </a:lnTo>
                  <a:lnTo>
                    <a:pt x="180" y="121"/>
                  </a:lnTo>
                  <a:lnTo>
                    <a:pt x="180" y="123"/>
                  </a:lnTo>
                  <a:lnTo>
                    <a:pt x="180" y="125"/>
                  </a:lnTo>
                  <a:lnTo>
                    <a:pt x="178" y="125"/>
                  </a:lnTo>
                  <a:lnTo>
                    <a:pt x="180" y="125"/>
                  </a:lnTo>
                  <a:lnTo>
                    <a:pt x="180" y="127"/>
                  </a:lnTo>
                  <a:lnTo>
                    <a:pt x="182" y="127"/>
                  </a:lnTo>
                  <a:lnTo>
                    <a:pt x="180" y="127"/>
                  </a:lnTo>
                  <a:lnTo>
                    <a:pt x="175" y="127"/>
                  </a:lnTo>
                  <a:lnTo>
                    <a:pt x="167" y="127"/>
                  </a:lnTo>
                  <a:lnTo>
                    <a:pt x="163" y="127"/>
                  </a:lnTo>
                  <a:lnTo>
                    <a:pt x="161" y="127"/>
                  </a:lnTo>
                  <a:lnTo>
                    <a:pt x="152" y="127"/>
                  </a:lnTo>
                  <a:lnTo>
                    <a:pt x="152" y="135"/>
                  </a:lnTo>
                  <a:lnTo>
                    <a:pt x="152" y="137"/>
                  </a:lnTo>
                  <a:lnTo>
                    <a:pt x="152" y="138"/>
                  </a:lnTo>
                  <a:lnTo>
                    <a:pt x="152" y="142"/>
                  </a:lnTo>
                  <a:lnTo>
                    <a:pt x="152" y="150"/>
                  </a:lnTo>
                  <a:lnTo>
                    <a:pt x="152" y="154"/>
                  </a:lnTo>
                  <a:lnTo>
                    <a:pt x="152" y="156"/>
                  </a:lnTo>
                  <a:lnTo>
                    <a:pt x="152" y="158"/>
                  </a:lnTo>
                  <a:lnTo>
                    <a:pt x="152" y="175"/>
                  </a:lnTo>
                  <a:lnTo>
                    <a:pt x="152" y="177"/>
                  </a:lnTo>
                  <a:lnTo>
                    <a:pt x="154" y="177"/>
                  </a:lnTo>
                  <a:lnTo>
                    <a:pt x="154" y="179"/>
                  </a:lnTo>
                  <a:lnTo>
                    <a:pt x="154" y="181"/>
                  </a:lnTo>
                  <a:lnTo>
                    <a:pt x="155" y="181"/>
                  </a:lnTo>
                  <a:lnTo>
                    <a:pt x="155" y="183"/>
                  </a:lnTo>
                  <a:lnTo>
                    <a:pt x="157" y="183"/>
                  </a:lnTo>
                  <a:lnTo>
                    <a:pt x="157" y="185"/>
                  </a:lnTo>
                  <a:lnTo>
                    <a:pt x="159" y="185"/>
                  </a:lnTo>
                  <a:lnTo>
                    <a:pt x="159" y="187"/>
                  </a:lnTo>
                  <a:lnTo>
                    <a:pt x="161" y="187"/>
                  </a:lnTo>
                  <a:lnTo>
                    <a:pt x="161" y="188"/>
                  </a:lnTo>
                  <a:lnTo>
                    <a:pt x="163" y="188"/>
                  </a:lnTo>
                  <a:lnTo>
                    <a:pt x="163" y="190"/>
                  </a:lnTo>
                  <a:lnTo>
                    <a:pt x="165" y="190"/>
                  </a:lnTo>
                  <a:lnTo>
                    <a:pt x="165" y="192"/>
                  </a:lnTo>
                  <a:lnTo>
                    <a:pt x="167" y="192"/>
                  </a:lnTo>
                  <a:lnTo>
                    <a:pt x="167" y="194"/>
                  </a:lnTo>
                  <a:lnTo>
                    <a:pt x="169" y="194"/>
                  </a:lnTo>
                  <a:lnTo>
                    <a:pt x="169" y="196"/>
                  </a:lnTo>
                  <a:lnTo>
                    <a:pt x="171" y="196"/>
                  </a:lnTo>
                  <a:lnTo>
                    <a:pt x="173" y="196"/>
                  </a:lnTo>
                  <a:lnTo>
                    <a:pt x="173" y="198"/>
                  </a:lnTo>
                  <a:lnTo>
                    <a:pt x="171" y="198"/>
                  </a:lnTo>
                  <a:lnTo>
                    <a:pt x="169" y="198"/>
                  </a:lnTo>
                  <a:lnTo>
                    <a:pt x="167" y="198"/>
                  </a:lnTo>
                  <a:lnTo>
                    <a:pt x="167" y="200"/>
                  </a:lnTo>
                  <a:lnTo>
                    <a:pt x="165" y="200"/>
                  </a:lnTo>
                  <a:lnTo>
                    <a:pt x="163" y="200"/>
                  </a:lnTo>
                  <a:lnTo>
                    <a:pt x="161" y="200"/>
                  </a:lnTo>
                  <a:lnTo>
                    <a:pt x="159" y="200"/>
                  </a:lnTo>
                  <a:lnTo>
                    <a:pt x="157" y="200"/>
                  </a:lnTo>
                  <a:lnTo>
                    <a:pt x="157" y="202"/>
                  </a:lnTo>
                  <a:lnTo>
                    <a:pt x="155" y="202"/>
                  </a:lnTo>
                  <a:lnTo>
                    <a:pt x="154" y="202"/>
                  </a:lnTo>
                  <a:lnTo>
                    <a:pt x="152" y="202"/>
                  </a:lnTo>
                  <a:lnTo>
                    <a:pt x="150" y="202"/>
                  </a:lnTo>
                  <a:lnTo>
                    <a:pt x="148" y="202"/>
                  </a:lnTo>
                  <a:lnTo>
                    <a:pt x="148" y="204"/>
                  </a:lnTo>
                  <a:lnTo>
                    <a:pt x="146" y="204"/>
                  </a:lnTo>
                  <a:lnTo>
                    <a:pt x="144" y="204"/>
                  </a:lnTo>
                  <a:lnTo>
                    <a:pt x="142" y="204"/>
                  </a:lnTo>
                  <a:lnTo>
                    <a:pt x="140" y="204"/>
                  </a:lnTo>
                  <a:lnTo>
                    <a:pt x="140" y="202"/>
                  </a:lnTo>
                  <a:lnTo>
                    <a:pt x="138" y="202"/>
                  </a:lnTo>
                  <a:lnTo>
                    <a:pt x="136" y="202"/>
                  </a:lnTo>
                  <a:lnTo>
                    <a:pt x="136" y="204"/>
                  </a:lnTo>
                  <a:lnTo>
                    <a:pt x="136" y="202"/>
                  </a:lnTo>
                  <a:lnTo>
                    <a:pt x="136" y="204"/>
                  </a:lnTo>
                  <a:lnTo>
                    <a:pt x="134" y="204"/>
                  </a:lnTo>
                  <a:lnTo>
                    <a:pt x="132" y="204"/>
                  </a:lnTo>
                  <a:lnTo>
                    <a:pt x="134" y="204"/>
                  </a:lnTo>
                  <a:lnTo>
                    <a:pt x="132" y="204"/>
                  </a:lnTo>
                  <a:lnTo>
                    <a:pt x="130" y="204"/>
                  </a:lnTo>
                  <a:lnTo>
                    <a:pt x="130" y="202"/>
                  </a:lnTo>
                  <a:lnTo>
                    <a:pt x="129" y="202"/>
                  </a:lnTo>
                  <a:lnTo>
                    <a:pt x="127" y="202"/>
                  </a:lnTo>
                  <a:lnTo>
                    <a:pt x="125" y="202"/>
                  </a:lnTo>
                  <a:lnTo>
                    <a:pt x="123" y="202"/>
                  </a:lnTo>
                  <a:lnTo>
                    <a:pt x="121" y="202"/>
                  </a:lnTo>
                  <a:lnTo>
                    <a:pt x="119" y="202"/>
                  </a:lnTo>
                  <a:lnTo>
                    <a:pt x="117" y="202"/>
                  </a:lnTo>
                  <a:lnTo>
                    <a:pt x="115" y="202"/>
                  </a:lnTo>
                  <a:lnTo>
                    <a:pt x="113" y="202"/>
                  </a:lnTo>
                  <a:lnTo>
                    <a:pt x="113" y="200"/>
                  </a:lnTo>
                  <a:lnTo>
                    <a:pt x="111" y="200"/>
                  </a:lnTo>
                  <a:lnTo>
                    <a:pt x="111" y="202"/>
                  </a:lnTo>
                  <a:lnTo>
                    <a:pt x="111" y="200"/>
                  </a:lnTo>
                  <a:lnTo>
                    <a:pt x="109" y="200"/>
                  </a:lnTo>
                  <a:lnTo>
                    <a:pt x="107" y="200"/>
                  </a:lnTo>
                  <a:lnTo>
                    <a:pt x="106" y="200"/>
                  </a:lnTo>
                  <a:lnTo>
                    <a:pt x="104" y="200"/>
                  </a:lnTo>
                  <a:lnTo>
                    <a:pt x="104" y="198"/>
                  </a:lnTo>
                  <a:lnTo>
                    <a:pt x="102" y="198"/>
                  </a:lnTo>
                  <a:lnTo>
                    <a:pt x="102" y="196"/>
                  </a:lnTo>
                  <a:lnTo>
                    <a:pt x="100" y="196"/>
                  </a:lnTo>
                  <a:lnTo>
                    <a:pt x="100" y="194"/>
                  </a:lnTo>
                  <a:lnTo>
                    <a:pt x="98" y="194"/>
                  </a:lnTo>
                  <a:lnTo>
                    <a:pt x="96" y="194"/>
                  </a:lnTo>
                  <a:lnTo>
                    <a:pt x="94" y="194"/>
                  </a:lnTo>
                  <a:lnTo>
                    <a:pt x="92" y="194"/>
                  </a:lnTo>
                  <a:lnTo>
                    <a:pt x="90" y="194"/>
                  </a:lnTo>
                  <a:lnTo>
                    <a:pt x="88" y="194"/>
                  </a:lnTo>
                  <a:lnTo>
                    <a:pt x="86" y="194"/>
                  </a:lnTo>
                  <a:lnTo>
                    <a:pt x="84" y="194"/>
                  </a:lnTo>
                  <a:lnTo>
                    <a:pt x="83" y="194"/>
                  </a:lnTo>
                  <a:lnTo>
                    <a:pt x="81" y="194"/>
                  </a:lnTo>
                  <a:lnTo>
                    <a:pt x="79" y="194"/>
                  </a:lnTo>
                  <a:lnTo>
                    <a:pt x="75" y="194"/>
                  </a:lnTo>
                  <a:lnTo>
                    <a:pt x="71" y="194"/>
                  </a:lnTo>
                  <a:lnTo>
                    <a:pt x="69" y="194"/>
                  </a:lnTo>
                  <a:lnTo>
                    <a:pt x="67" y="194"/>
                  </a:lnTo>
                  <a:lnTo>
                    <a:pt x="61" y="194"/>
                  </a:lnTo>
                  <a:lnTo>
                    <a:pt x="59" y="194"/>
                  </a:lnTo>
                  <a:lnTo>
                    <a:pt x="58" y="194"/>
                  </a:lnTo>
                  <a:lnTo>
                    <a:pt x="56" y="194"/>
                  </a:lnTo>
                  <a:lnTo>
                    <a:pt x="52" y="194"/>
                  </a:lnTo>
                  <a:lnTo>
                    <a:pt x="50" y="194"/>
                  </a:lnTo>
                  <a:lnTo>
                    <a:pt x="48" y="194"/>
                  </a:lnTo>
                  <a:lnTo>
                    <a:pt x="46" y="194"/>
                  </a:lnTo>
                  <a:lnTo>
                    <a:pt x="44" y="194"/>
                  </a:lnTo>
                  <a:lnTo>
                    <a:pt x="42" y="194"/>
                  </a:lnTo>
                  <a:lnTo>
                    <a:pt x="40" y="194"/>
                  </a:lnTo>
                  <a:lnTo>
                    <a:pt x="38" y="194"/>
                  </a:lnTo>
                  <a:lnTo>
                    <a:pt x="36" y="194"/>
                  </a:lnTo>
                  <a:lnTo>
                    <a:pt x="35" y="194"/>
                  </a:lnTo>
                  <a:lnTo>
                    <a:pt x="33" y="194"/>
                  </a:lnTo>
                  <a:lnTo>
                    <a:pt x="33" y="192"/>
                  </a:lnTo>
                  <a:lnTo>
                    <a:pt x="31" y="192"/>
                  </a:lnTo>
                  <a:lnTo>
                    <a:pt x="29" y="192"/>
                  </a:lnTo>
                  <a:lnTo>
                    <a:pt x="29" y="190"/>
                  </a:lnTo>
                  <a:lnTo>
                    <a:pt x="27" y="190"/>
                  </a:lnTo>
                  <a:lnTo>
                    <a:pt x="27" y="188"/>
                  </a:lnTo>
                  <a:lnTo>
                    <a:pt x="25" y="188"/>
                  </a:lnTo>
                  <a:lnTo>
                    <a:pt x="23" y="188"/>
                  </a:lnTo>
                  <a:lnTo>
                    <a:pt x="21" y="188"/>
                  </a:lnTo>
                  <a:lnTo>
                    <a:pt x="19" y="188"/>
                  </a:lnTo>
                  <a:lnTo>
                    <a:pt x="17" y="188"/>
                  </a:lnTo>
                  <a:lnTo>
                    <a:pt x="17" y="190"/>
                  </a:lnTo>
                  <a:lnTo>
                    <a:pt x="17" y="188"/>
                  </a:lnTo>
                  <a:lnTo>
                    <a:pt x="17" y="190"/>
                  </a:lnTo>
                  <a:lnTo>
                    <a:pt x="15" y="190"/>
                  </a:lnTo>
                  <a:lnTo>
                    <a:pt x="13" y="190"/>
                  </a:lnTo>
                  <a:lnTo>
                    <a:pt x="13" y="192"/>
                  </a:lnTo>
                  <a:lnTo>
                    <a:pt x="11" y="192"/>
                  </a:lnTo>
                  <a:lnTo>
                    <a:pt x="11" y="190"/>
                  </a:lnTo>
                  <a:lnTo>
                    <a:pt x="11" y="192"/>
                  </a:lnTo>
                  <a:lnTo>
                    <a:pt x="11" y="190"/>
                  </a:lnTo>
                  <a:lnTo>
                    <a:pt x="11" y="192"/>
                  </a:lnTo>
                  <a:lnTo>
                    <a:pt x="10" y="192"/>
                  </a:lnTo>
                  <a:lnTo>
                    <a:pt x="8" y="192"/>
                  </a:lnTo>
                  <a:lnTo>
                    <a:pt x="8" y="190"/>
                  </a:lnTo>
                  <a:lnTo>
                    <a:pt x="6" y="190"/>
                  </a:lnTo>
                  <a:lnTo>
                    <a:pt x="4" y="190"/>
                  </a:lnTo>
                  <a:lnTo>
                    <a:pt x="4" y="192"/>
                  </a:lnTo>
                  <a:lnTo>
                    <a:pt x="2" y="192"/>
                  </a:lnTo>
                  <a:lnTo>
                    <a:pt x="2" y="190"/>
                  </a:lnTo>
                  <a:lnTo>
                    <a:pt x="2" y="188"/>
                  </a:lnTo>
                  <a:lnTo>
                    <a:pt x="2" y="187"/>
                  </a:lnTo>
                  <a:lnTo>
                    <a:pt x="2" y="185"/>
                  </a:lnTo>
                  <a:lnTo>
                    <a:pt x="2" y="183"/>
                  </a:lnTo>
                  <a:lnTo>
                    <a:pt x="2" y="181"/>
                  </a:lnTo>
                  <a:lnTo>
                    <a:pt x="4" y="181"/>
                  </a:lnTo>
                  <a:lnTo>
                    <a:pt x="2" y="181"/>
                  </a:lnTo>
                  <a:lnTo>
                    <a:pt x="4" y="181"/>
                  </a:lnTo>
                  <a:lnTo>
                    <a:pt x="4" y="179"/>
                  </a:lnTo>
                  <a:lnTo>
                    <a:pt x="2" y="179"/>
                  </a:lnTo>
                  <a:lnTo>
                    <a:pt x="2" y="177"/>
                  </a:lnTo>
                  <a:lnTo>
                    <a:pt x="2" y="175"/>
                  </a:lnTo>
                  <a:lnTo>
                    <a:pt x="2" y="173"/>
                  </a:lnTo>
                  <a:lnTo>
                    <a:pt x="2" y="171"/>
                  </a:lnTo>
                  <a:lnTo>
                    <a:pt x="2" y="169"/>
                  </a:lnTo>
                  <a:lnTo>
                    <a:pt x="4" y="169"/>
                  </a:lnTo>
                  <a:lnTo>
                    <a:pt x="2" y="169"/>
                  </a:lnTo>
                  <a:lnTo>
                    <a:pt x="4" y="169"/>
                  </a:lnTo>
                  <a:lnTo>
                    <a:pt x="4" y="167"/>
                  </a:lnTo>
                  <a:lnTo>
                    <a:pt x="6" y="167"/>
                  </a:lnTo>
                  <a:lnTo>
                    <a:pt x="6" y="165"/>
                  </a:lnTo>
                  <a:lnTo>
                    <a:pt x="6" y="163"/>
                  </a:lnTo>
                  <a:lnTo>
                    <a:pt x="6" y="162"/>
                  </a:lnTo>
                  <a:lnTo>
                    <a:pt x="8" y="162"/>
                  </a:lnTo>
                  <a:lnTo>
                    <a:pt x="8" y="160"/>
                  </a:lnTo>
                  <a:lnTo>
                    <a:pt x="8" y="162"/>
                  </a:lnTo>
                  <a:lnTo>
                    <a:pt x="8" y="160"/>
                  </a:lnTo>
                  <a:lnTo>
                    <a:pt x="8" y="162"/>
                  </a:lnTo>
                  <a:lnTo>
                    <a:pt x="8" y="160"/>
                  </a:lnTo>
                  <a:lnTo>
                    <a:pt x="8" y="158"/>
                  </a:lnTo>
                  <a:lnTo>
                    <a:pt x="8" y="156"/>
                  </a:lnTo>
                  <a:lnTo>
                    <a:pt x="10" y="156"/>
                  </a:lnTo>
                  <a:lnTo>
                    <a:pt x="10" y="154"/>
                  </a:lnTo>
                  <a:lnTo>
                    <a:pt x="10" y="152"/>
                  </a:lnTo>
                  <a:lnTo>
                    <a:pt x="10" y="150"/>
                  </a:lnTo>
                  <a:lnTo>
                    <a:pt x="10" y="148"/>
                  </a:lnTo>
                  <a:lnTo>
                    <a:pt x="11" y="148"/>
                  </a:lnTo>
                  <a:lnTo>
                    <a:pt x="11" y="146"/>
                  </a:lnTo>
                  <a:lnTo>
                    <a:pt x="10" y="146"/>
                  </a:lnTo>
                  <a:lnTo>
                    <a:pt x="11" y="146"/>
                  </a:lnTo>
                  <a:lnTo>
                    <a:pt x="11" y="144"/>
                  </a:lnTo>
                  <a:lnTo>
                    <a:pt x="11" y="142"/>
                  </a:lnTo>
                  <a:lnTo>
                    <a:pt x="11" y="140"/>
                  </a:lnTo>
                  <a:lnTo>
                    <a:pt x="13" y="140"/>
                  </a:lnTo>
                  <a:lnTo>
                    <a:pt x="13" y="138"/>
                  </a:lnTo>
                  <a:lnTo>
                    <a:pt x="13" y="137"/>
                  </a:lnTo>
                  <a:lnTo>
                    <a:pt x="13" y="135"/>
                  </a:lnTo>
                  <a:lnTo>
                    <a:pt x="13" y="133"/>
                  </a:lnTo>
                  <a:lnTo>
                    <a:pt x="15" y="133"/>
                  </a:lnTo>
                  <a:lnTo>
                    <a:pt x="15" y="131"/>
                  </a:lnTo>
                  <a:lnTo>
                    <a:pt x="17" y="131"/>
                  </a:lnTo>
                  <a:lnTo>
                    <a:pt x="17" y="129"/>
                  </a:lnTo>
                  <a:lnTo>
                    <a:pt x="19" y="129"/>
                  </a:lnTo>
                  <a:lnTo>
                    <a:pt x="19" y="127"/>
                  </a:lnTo>
                  <a:lnTo>
                    <a:pt x="19" y="125"/>
                  </a:lnTo>
                  <a:lnTo>
                    <a:pt x="21" y="125"/>
                  </a:lnTo>
                  <a:lnTo>
                    <a:pt x="21" y="123"/>
                  </a:lnTo>
                  <a:lnTo>
                    <a:pt x="23" y="123"/>
                  </a:lnTo>
                  <a:lnTo>
                    <a:pt x="23" y="121"/>
                  </a:lnTo>
                  <a:lnTo>
                    <a:pt x="25" y="121"/>
                  </a:lnTo>
                  <a:lnTo>
                    <a:pt x="23" y="121"/>
                  </a:lnTo>
                  <a:lnTo>
                    <a:pt x="25" y="121"/>
                  </a:lnTo>
                  <a:lnTo>
                    <a:pt x="27" y="121"/>
                  </a:lnTo>
                  <a:lnTo>
                    <a:pt x="27" y="119"/>
                  </a:lnTo>
                  <a:lnTo>
                    <a:pt x="27" y="117"/>
                  </a:lnTo>
                  <a:lnTo>
                    <a:pt x="29" y="117"/>
                  </a:lnTo>
                  <a:lnTo>
                    <a:pt x="29" y="115"/>
                  </a:lnTo>
                  <a:lnTo>
                    <a:pt x="31" y="115"/>
                  </a:lnTo>
                  <a:lnTo>
                    <a:pt x="31" y="114"/>
                  </a:lnTo>
                  <a:lnTo>
                    <a:pt x="31" y="112"/>
                  </a:lnTo>
                  <a:lnTo>
                    <a:pt x="31" y="110"/>
                  </a:lnTo>
                  <a:lnTo>
                    <a:pt x="33" y="110"/>
                  </a:lnTo>
                  <a:lnTo>
                    <a:pt x="33" y="108"/>
                  </a:lnTo>
                  <a:lnTo>
                    <a:pt x="31" y="108"/>
                  </a:lnTo>
                  <a:lnTo>
                    <a:pt x="31" y="106"/>
                  </a:lnTo>
                  <a:lnTo>
                    <a:pt x="31" y="104"/>
                  </a:lnTo>
                  <a:lnTo>
                    <a:pt x="33" y="104"/>
                  </a:lnTo>
                  <a:lnTo>
                    <a:pt x="33" y="102"/>
                  </a:lnTo>
                  <a:lnTo>
                    <a:pt x="33" y="100"/>
                  </a:lnTo>
                  <a:lnTo>
                    <a:pt x="33" y="98"/>
                  </a:lnTo>
                  <a:lnTo>
                    <a:pt x="33" y="96"/>
                  </a:lnTo>
                  <a:lnTo>
                    <a:pt x="31" y="96"/>
                  </a:lnTo>
                  <a:lnTo>
                    <a:pt x="31" y="94"/>
                  </a:lnTo>
                  <a:lnTo>
                    <a:pt x="31" y="92"/>
                  </a:lnTo>
                  <a:lnTo>
                    <a:pt x="31" y="90"/>
                  </a:lnTo>
                  <a:lnTo>
                    <a:pt x="29" y="90"/>
                  </a:lnTo>
                  <a:lnTo>
                    <a:pt x="29" y="89"/>
                  </a:lnTo>
                  <a:lnTo>
                    <a:pt x="27" y="89"/>
                  </a:lnTo>
                  <a:lnTo>
                    <a:pt x="29" y="89"/>
                  </a:lnTo>
                  <a:lnTo>
                    <a:pt x="29" y="87"/>
                  </a:lnTo>
                  <a:lnTo>
                    <a:pt x="27" y="87"/>
                  </a:lnTo>
                  <a:lnTo>
                    <a:pt x="27" y="85"/>
                  </a:lnTo>
                  <a:lnTo>
                    <a:pt x="25" y="85"/>
                  </a:lnTo>
                  <a:lnTo>
                    <a:pt x="25" y="83"/>
                  </a:lnTo>
                  <a:lnTo>
                    <a:pt x="25" y="81"/>
                  </a:lnTo>
                  <a:lnTo>
                    <a:pt x="25" y="79"/>
                  </a:lnTo>
                  <a:lnTo>
                    <a:pt x="23" y="79"/>
                  </a:lnTo>
                  <a:lnTo>
                    <a:pt x="23" y="77"/>
                  </a:lnTo>
                  <a:lnTo>
                    <a:pt x="23" y="75"/>
                  </a:lnTo>
                  <a:lnTo>
                    <a:pt x="23" y="73"/>
                  </a:lnTo>
                  <a:lnTo>
                    <a:pt x="21" y="73"/>
                  </a:lnTo>
                  <a:lnTo>
                    <a:pt x="21" y="71"/>
                  </a:lnTo>
                  <a:lnTo>
                    <a:pt x="21" y="69"/>
                  </a:lnTo>
                  <a:lnTo>
                    <a:pt x="19" y="69"/>
                  </a:lnTo>
                  <a:lnTo>
                    <a:pt x="19" y="67"/>
                  </a:lnTo>
                  <a:lnTo>
                    <a:pt x="21" y="67"/>
                  </a:lnTo>
                  <a:lnTo>
                    <a:pt x="21" y="65"/>
                  </a:lnTo>
                  <a:lnTo>
                    <a:pt x="23" y="65"/>
                  </a:lnTo>
                  <a:lnTo>
                    <a:pt x="21" y="65"/>
                  </a:lnTo>
                  <a:lnTo>
                    <a:pt x="21" y="67"/>
                  </a:lnTo>
                  <a:lnTo>
                    <a:pt x="19" y="67"/>
                  </a:lnTo>
                  <a:lnTo>
                    <a:pt x="19" y="69"/>
                  </a:lnTo>
                  <a:lnTo>
                    <a:pt x="21" y="69"/>
                  </a:lnTo>
                  <a:lnTo>
                    <a:pt x="19" y="69"/>
                  </a:lnTo>
                  <a:lnTo>
                    <a:pt x="21" y="69"/>
                  </a:lnTo>
                  <a:lnTo>
                    <a:pt x="21" y="67"/>
                  </a:lnTo>
                  <a:lnTo>
                    <a:pt x="23" y="67"/>
                  </a:lnTo>
                  <a:lnTo>
                    <a:pt x="23" y="65"/>
                  </a:lnTo>
                  <a:lnTo>
                    <a:pt x="23" y="64"/>
                  </a:lnTo>
                  <a:lnTo>
                    <a:pt x="23" y="65"/>
                  </a:lnTo>
                  <a:lnTo>
                    <a:pt x="23" y="64"/>
                  </a:lnTo>
                  <a:lnTo>
                    <a:pt x="23" y="65"/>
                  </a:lnTo>
                  <a:lnTo>
                    <a:pt x="25" y="65"/>
                  </a:lnTo>
                  <a:lnTo>
                    <a:pt x="25" y="64"/>
                  </a:lnTo>
                  <a:lnTo>
                    <a:pt x="27" y="64"/>
                  </a:lnTo>
                  <a:lnTo>
                    <a:pt x="27" y="62"/>
                  </a:lnTo>
                  <a:lnTo>
                    <a:pt x="25" y="62"/>
                  </a:lnTo>
                  <a:lnTo>
                    <a:pt x="25" y="60"/>
                  </a:lnTo>
                  <a:lnTo>
                    <a:pt x="25" y="58"/>
                  </a:lnTo>
                  <a:lnTo>
                    <a:pt x="25" y="56"/>
                  </a:lnTo>
                  <a:lnTo>
                    <a:pt x="23" y="56"/>
                  </a:lnTo>
                  <a:lnTo>
                    <a:pt x="23" y="54"/>
                  </a:lnTo>
                  <a:lnTo>
                    <a:pt x="23" y="52"/>
                  </a:lnTo>
                  <a:lnTo>
                    <a:pt x="21" y="52"/>
                  </a:lnTo>
                  <a:lnTo>
                    <a:pt x="21" y="50"/>
                  </a:lnTo>
                  <a:lnTo>
                    <a:pt x="21" y="48"/>
                  </a:lnTo>
                  <a:lnTo>
                    <a:pt x="21" y="46"/>
                  </a:lnTo>
                  <a:lnTo>
                    <a:pt x="19" y="46"/>
                  </a:lnTo>
                  <a:lnTo>
                    <a:pt x="19" y="44"/>
                  </a:lnTo>
                  <a:lnTo>
                    <a:pt x="19" y="42"/>
                  </a:lnTo>
                  <a:lnTo>
                    <a:pt x="17" y="42"/>
                  </a:lnTo>
                  <a:lnTo>
                    <a:pt x="17" y="41"/>
                  </a:lnTo>
                  <a:lnTo>
                    <a:pt x="17" y="39"/>
                  </a:lnTo>
                  <a:lnTo>
                    <a:pt x="17" y="37"/>
                  </a:lnTo>
                  <a:lnTo>
                    <a:pt x="15" y="37"/>
                  </a:lnTo>
                  <a:lnTo>
                    <a:pt x="15" y="35"/>
                  </a:lnTo>
                  <a:lnTo>
                    <a:pt x="13" y="35"/>
                  </a:lnTo>
                  <a:lnTo>
                    <a:pt x="13" y="33"/>
                  </a:lnTo>
                  <a:lnTo>
                    <a:pt x="13" y="31"/>
                  </a:lnTo>
                  <a:lnTo>
                    <a:pt x="11" y="31"/>
                  </a:lnTo>
                  <a:lnTo>
                    <a:pt x="11" y="29"/>
                  </a:lnTo>
                  <a:lnTo>
                    <a:pt x="11" y="27"/>
                  </a:lnTo>
                  <a:lnTo>
                    <a:pt x="10" y="27"/>
                  </a:lnTo>
                  <a:lnTo>
                    <a:pt x="10" y="25"/>
                  </a:lnTo>
                  <a:lnTo>
                    <a:pt x="11" y="25"/>
                  </a:lnTo>
                  <a:lnTo>
                    <a:pt x="13" y="25"/>
                  </a:lnTo>
                  <a:lnTo>
                    <a:pt x="15" y="25"/>
                  </a:lnTo>
                  <a:lnTo>
                    <a:pt x="15" y="23"/>
                  </a:lnTo>
                  <a:lnTo>
                    <a:pt x="17" y="25"/>
                  </a:lnTo>
                  <a:lnTo>
                    <a:pt x="17" y="23"/>
                  </a:lnTo>
                  <a:lnTo>
                    <a:pt x="19" y="23"/>
                  </a:lnTo>
                  <a:lnTo>
                    <a:pt x="19" y="21"/>
                  </a:lnTo>
                  <a:lnTo>
                    <a:pt x="21" y="21"/>
                  </a:lnTo>
                  <a:lnTo>
                    <a:pt x="23" y="21"/>
                  </a:lnTo>
                  <a:lnTo>
                    <a:pt x="25" y="21"/>
                  </a:lnTo>
                  <a:lnTo>
                    <a:pt x="27" y="21"/>
                  </a:lnTo>
                  <a:lnTo>
                    <a:pt x="29" y="21"/>
                  </a:lnTo>
                  <a:lnTo>
                    <a:pt x="31" y="21"/>
                  </a:lnTo>
                  <a:lnTo>
                    <a:pt x="33" y="21"/>
                  </a:lnTo>
                  <a:lnTo>
                    <a:pt x="35" y="21"/>
                  </a:lnTo>
                  <a:lnTo>
                    <a:pt x="36" y="21"/>
                  </a:lnTo>
                  <a:lnTo>
                    <a:pt x="38" y="21"/>
                  </a:lnTo>
                  <a:lnTo>
                    <a:pt x="40" y="21"/>
                  </a:lnTo>
                  <a:lnTo>
                    <a:pt x="42" y="21"/>
                  </a:lnTo>
                  <a:lnTo>
                    <a:pt x="44" y="21"/>
                  </a:lnTo>
                  <a:lnTo>
                    <a:pt x="46" y="21"/>
                  </a:lnTo>
                  <a:lnTo>
                    <a:pt x="48" y="21"/>
                  </a:lnTo>
                  <a:lnTo>
                    <a:pt x="50" y="21"/>
                  </a:lnTo>
                  <a:lnTo>
                    <a:pt x="52" y="21"/>
                  </a:lnTo>
                  <a:lnTo>
                    <a:pt x="54" y="21"/>
                  </a:lnTo>
                  <a:lnTo>
                    <a:pt x="56" y="21"/>
                  </a:lnTo>
                  <a:lnTo>
                    <a:pt x="58" y="21"/>
                  </a:lnTo>
                  <a:lnTo>
                    <a:pt x="59" y="21"/>
                  </a:lnTo>
                  <a:lnTo>
                    <a:pt x="61" y="21"/>
                  </a:lnTo>
                  <a:lnTo>
                    <a:pt x="63" y="21"/>
                  </a:lnTo>
                  <a:lnTo>
                    <a:pt x="65" y="21"/>
                  </a:lnTo>
                  <a:lnTo>
                    <a:pt x="67" y="21"/>
                  </a:lnTo>
                  <a:lnTo>
                    <a:pt x="69" y="21"/>
                  </a:lnTo>
                  <a:lnTo>
                    <a:pt x="71" y="21"/>
                  </a:lnTo>
                  <a:lnTo>
                    <a:pt x="73" y="21"/>
                  </a:lnTo>
                  <a:lnTo>
                    <a:pt x="73" y="23"/>
                  </a:lnTo>
                  <a:lnTo>
                    <a:pt x="73" y="25"/>
                  </a:lnTo>
                  <a:lnTo>
                    <a:pt x="73" y="23"/>
                  </a:lnTo>
                  <a:lnTo>
                    <a:pt x="73" y="25"/>
                  </a:lnTo>
                  <a:lnTo>
                    <a:pt x="75" y="25"/>
                  </a:lnTo>
                  <a:lnTo>
                    <a:pt x="75" y="27"/>
                  </a:lnTo>
                  <a:lnTo>
                    <a:pt x="75" y="29"/>
                  </a:lnTo>
                  <a:lnTo>
                    <a:pt x="73" y="29"/>
                  </a:lnTo>
                  <a:lnTo>
                    <a:pt x="75" y="29"/>
                  </a:lnTo>
                  <a:lnTo>
                    <a:pt x="73" y="29"/>
                  </a:lnTo>
                  <a:lnTo>
                    <a:pt x="75" y="29"/>
                  </a:lnTo>
                  <a:lnTo>
                    <a:pt x="75" y="31"/>
                  </a:lnTo>
                  <a:lnTo>
                    <a:pt x="75" y="33"/>
                  </a:lnTo>
                  <a:lnTo>
                    <a:pt x="75" y="35"/>
                  </a:lnTo>
                  <a:lnTo>
                    <a:pt x="77" y="35"/>
                  </a:lnTo>
                  <a:lnTo>
                    <a:pt x="77" y="37"/>
                  </a:lnTo>
                  <a:lnTo>
                    <a:pt x="77" y="39"/>
                  </a:lnTo>
                  <a:lnTo>
                    <a:pt x="79" y="39"/>
                  </a:lnTo>
                  <a:lnTo>
                    <a:pt x="79" y="41"/>
                  </a:lnTo>
                  <a:lnTo>
                    <a:pt x="77" y="41"/>
                  </a:lnTo>
                  <a:lnTo>
                    <a:pt x="79" y="41"/>
                  </a:lnTo>
                  <a:lnTo>
                    <a:pt x="79" y="42"/>
                  </a:lnTo>
                  <a:lnTo>
                    <a:pt x="77" y="42"/>
                  </a:lnTo>
                  <a:lnTo>
                    <a:pt x="79" y="42"/>
                  </a:lnTo>
                  <a:lnTo>
                    <a:pt x="81" y="42"/>
                  </a:lnTo>
                  <a:lnTo>
                    <a:pt x="81" y="44"/>
                  </a:lnTo>
                  <a:lnTo>
                    <a:pt x="81" y="46"/>
                  </a:lnTo>
                  <a:lnTo>
                    <a:pt x="83" y="46"/>
                  </a:lnTo>
                  <a:lnTo>
                    <a:pt x="83" y="48"/>
                  </a:lnTo>
                  <a:lnTo>
                    <a:pt x="83" y="50"/>
                  </a:lnTo>
                  <a:lnTo>
                    <a:pt x="84" y="50"/>
                  </a:lnTo>
                  <a:lnTo>
                    <a:pt x="84" y="52"/>
                  </a:lnTo>
                  <a:lnTo>
                    <a:pt x="86" y="52"/>
                  </a:lnTo>
                  <a:lnTo>
                    <a:pt x="86" y="54"/>
                  </a:lnTo>
                  <a:lnTo>
                    <a:pt x="88" y="54"/>
                  </a:lnTo>
                  <a:lnTo>
                    <a:pt x="90" y="54"/>
                  </a:lnTo>
                  <a:lnTo>
                    <a:pt x="92" y="54"/>
                  </a:lnTo>
                  <a:lnTo>
                    <a:pt x="94" y="54"/>
                  </a:lnTo>
                  <a:lnTo>
                    <a:pt x="96" y="54"/>
                  </a:lnTo>
                  <a:lnTo>
                    <a:pt x="96" y="52"/>
                  </a:lnTo>
                  <a:lnTo>
                    <a:pt x="98" y="52"/>
                  </a:lnTo>
                  <a:lnTo>
                    <a:pt x="98" y="54"/>
                  </a:lnTo>
                  <a:lnTo>
                    <a:pt x="100" y="54"/>
                  </a:lnTo>
                  <a:lnTo>
                    <a:pt x="100" y="52"/>
                  </a:lnTo>
                  <a:lnTo>
                    <a:pt x="102" y="52"/>
                  </a:lnTo>
                  <a:lnTo>
                    <a:pt x="104" y="52"/>
                  </a:lnTo>
                  <a:lnTo>
                    <a:pt x="106" y="52"/>
                  </a:lnTo>
                  <a:lnTo>
                    <a:pt x="104" y="52"/>
                  </a:lnTo>
                  <a:lnTo>
                    <a:pt x="106" y="52"/>
                  </a:lnTo>
                  <a:lnTo>
                    <a:pt x="104" y="52"/>
                  </a:lnTo>
                  <a:lnTo>
                    <a:pt x="106" y="52"/>
                  </a:lnTo>
                  <a:lnTo>
                    <a:pt x="113" y="52"/>
                  </a:lnTo>
                  <a:lnTo>
                    <a:pt x="113" y="50"/>
                  </a:lnTo>
                  <a:lnTo>
                    <a:pt x="113" y="48"/>
                  </a:lnTo>
                  <a:lnTo>
                    <a:pt x="113" y="46"/>
                  </a:lnTo>
                  <a:lnTo>
                    <a:pt x="115" y="46"/>
                  </a:lnTo>
                  <a:lnTo>
                    <a:pt x="115" y="44"/>
                  </a:lnTo>
                  <a:lnTo>
                    <a:pt x="115" y="42"/>
                  </a:lnTo>
                  <a:lnTo>
                    <a:pt x="115" y="41"/>
                  </a:lnTo>
                  <a:lnTo>
                    <a:pt x="115" y="39"/>
                  </a:lnTo>
                  <a:lnTo>
                    <a:pt x="123" y="39"/>
                  </a:lnTo>
                  <a:lnTo>
                    <a:pt x="127" y="39"/>
                  </a:lnTo>
                  <a:lnTo>
                    <a:pt x="127" y="37"/>
                  </a:lnTo>
                  <a:lnTo>
                    <a:pt x="129" y="37"/>
                  </a:lnTo>
                  <a:lnTo>
                    <a:pt x="130" y="37"/>
                  </a:lnTo>
                  <a:lnTo>
                    <a:pt x="132" y="37"/>
                  </a:lnTo>
                  <a:lnTo>
                    <a:pt x="132" y="39"/>
                  </a:lnTo>
                  <a:lnTo>
                    <a:pt x="130" y="39"/>
                  </a:lnTo>
                  <a:lnTo>
                    <a:pt x="130" y="41"/>
                  </a:lnTo>
                  <a:lnTo>
                    <a:pt x="130" y="42"/>
                  </a:lnTo>
                  <a:lnTo>
                    <a:pt x="134" y="42"/>
                  </a:lnTo>
                  <a:lnTo>
                    <a:pt x="136" y="42"/>
                  </a:lnTo>
                  <a:lnTo>
                    <a:pt x="140" y="42"/>
                  </a:lnTo>
                  <a:lnTo>
                    <a:pt x="142" y="42"/>
                  </a:lnTo>
                  <a:lnTo>
                    <a:pt x="148" y="42"/>
                  </a:lnTo>
                  <a:lnTo>
                    <a:pt x="150" y="42"/>
                  </a:lnTo>
                  <a:lnTo>
                    <a:pt x="150" y="44"/>
                  </a:lnTo>
                  <a:lnTo>
                    <a:pt x="150" y="46"/>
                  </a:lnTo>
                  <a:lnTo>
                    <a:pt x="150" y="48"/>
                  </a:lnTo>
                  <a:lnTo>
                    <a:pt x="148" y="48"/>
                  </a:lnTo>
                  <a:lnTo>
                    <a:pt x="148" y="50"/>
                  </a:lnTo>
                  <a:lnTo>
                    <a:pt x="148" y="52"/>
                  </a:lnTo>
                  <a:lnTo>
                    <a:pt x="148" y="54"/>
                  </a:lnTo>
                  <a:lnTo>
                    <a:pt x="150" y="54"/>
                  </a:lnTo>
                  <a:lnTo>
                    <a:pt x="150" y="56"/>
                  </a:lnTo>
                  <a:lnTo>
                    <a:pt x="150" y="58"/>
                  </a:lnTo>
                  <a:lnTo>
                    <a:pt x="152" y="58"/>
                  </a:lnTo>
                  <a:lnTo>
                    <a:pt x="150" y="58"/>
                  </a:lnTo>
                  <a:lnTo>
                    <a:pt x="150" y="60"/>
                  </a:lnTo>
                  <a:lnTo>
                    <a:pt x="152" y="60"/>
                  </a:lnTo>
                  <a:lnTo>
                    <a:pt x="152" y="62"/>
                  </a:lnTo>
                  <a:lnTo>
                    <a:pt x="150" y="62"/>
                  </a:lnTo>
                  <a:lnTo>
                    <a:pt x="152" y="62"/>
                  </a:lnTo>
                  <a:lnTo>
                    <a:pt x="150" y="62"/>
                  </a:lnTo>
                  <a:lnTo>
                    <a:pt x="152" y="62"/>
                  </a:lnTo>
                  <a:lnTo>
                    <a:pt x="150" y="62"/>
                  </a:lnTo>
                  <a:lnTo>
                    <a:pt x="150" y="64"/>
                  </a:lnTo>
                  <a:lnTo>
                    <a:pt x="150" y="65"/>
                  </a:lnTo>
                  <a:lnTo>
                    <a:pt x="150" y="67"/>
                  </a:lnTo>
                  <a:lnTo>
                    <a:pt x="150" y="69"/>
                  </a:lnTo>
                  <a:lnTo>
                    <a:pt x="150" y="71"/>
                  </a:lnTo>
                  <a:lnTo>
                    <a:pt x="150" y="73"/>
                  </a:lnTo>
                  <a:lnTo>
                    <a:pt x="148" y="73"/>
                  </a:lnTo>
                  <a:lnTo>
                    <a:pt x="150" y="73"/>
                  </a:lnTo>
                  <a:lnTo>
                    <a:pt x="150" y="75"/>
                  </a:lnTo>
                  <a:lnTo>
                    <a:pt x="150" y="77"/>
                  </a:lnTo>
                  <a:lnTo>
                    <a:pt x="152" y="77"/>
                  </a:lnTo>
                  <a:lnTo>
                    <a:pt x="152" y="79"/>
                  </a:lnTo>
                  <a:lnTo>
                    <a:pt x="152" y="81"/>
                  </a:lnTo>
                  <a:lnTo>
                    <a:pt x="154" y="81"/>
                  </a:lnTo>
                  <a:lnTo>
                    <a:pt x="155" y="83"/>
                  </a:lnTo>
                  <a:lnTo>
                    <a:pt x="155" y="85"/>
                  </a:lnTo>
                  <a:lnTo>
                    <a:pt x="155" y="87"/>
                  </a:lnTo>
                  <a:lnTo>
                    <a:pt x="155" y="89"/>
                  </a:lnTo>
                  <a:lnTo>
                    <a:pt x="157" y="89"/>
                  </a:lnTo>
                  <a:lnTo>
                    <a:pt x="155" y="89"/>
                  </a:lnTo>
                  <a:lnTo>
                    <a:pt x="157" y="89"/>
                  </a:lnTo>
                  <a:lnTo>
                    <a:pt x="155" y="89"/>
                  </a:lnTo>
                  <a:lnTo>
                    <a:pt x="155" y="90"/>
                  </a:lnTo>
                  <a:lnTo>
                    <a:pt x="155" y="92"/>
                  </a:lnTo>
                  <a:lnTo>
                    <a:pt x="157" y="92"/>
                  </a:lnTo>
                  <a:lnTo>
                    <a:pt x="155" y="94"/>
                  </a:lnTo>
                  <a:lnTo>
                    <a:pt x="157" y="94"/>
                  </a:lnTo>
                  <a:lnTo>
                    <a:pt x="155" y="94"/>
                  </a:lnTo>
                  <a:lnTo>
                    <a:pt x="154" y="94"/>
                  </a:lnTo>
                  <a:lnTo>
                    <a:pt x="154" y="96"/>
                  </a:lnTo>
                  <a:lnTo>
                    <a:pt x="155" y="96"/>
                  </a:lnTo>
                  <a:lnTo>
                    <a:pt x="155" y="98"/>
                  </a:lnTo>
                  <a:lnTo>
                    <a:pt x="155" y="100"/>
                  </a:lnTo>
                  <a:lnTo>
                    <a:pt x="155" y="102"/>
                  </a:lnTo>
                  <a:lnTo>
                    <a:pt x="157" y="100"/>
                  </a:lnTo>
                  <a:lnTo>
                    <a:pt x="159" y="100"/>
                  </a:lnTo>
                  <a:lnTo>
                    <a:pt x="159" y="98"/>
                  </a:lnTo>
                  <a:lnTo>
                    <a:pt x="161" y="98"/>
                  </a:lnTo>
                  <a:lnTo>
                    <a:pt x="161" y="100"/>
                  </a:lnTo>
                  <a:lnTo>
                    <a:pt x="163" y="100"/>
                  </a:lnTo>
                  <a:lnTo>
                    <a:pt x="163" y="98"/>
                  </a:lnTo>
                  <a:lnTo>
                    <a:pt x="165" y="98"/>
                  </a:lnTo>
                  <a:lnTo>
                    <a:pt x="167" y="98"/>
                  </a:lnTo>
                  <a:lnTo>
                    <a:pt x="167" y="100"/>
                  </a:lnTo>
                  <a:lnTo>
                    <a:pt x="167" y="98"/>
                  </a:lnTo>
                  <a:lnTo>
                    <a:pt x="169" y="98"/>
                  </a:lnTo>
                  <a:lnTo>
                    <a:pt x="171" y="98"/>
                  </a:lnTo>
                  <a:lnTo>
                    <a:pt x="173" y="96"/>
                  </a:lnTo>
                  <a:lnTo>
                    <a:pt x="175" y="96"/>
                  </a:lnTo>
                  <a:lnTo>
                    <a:pt x="175" y="98"/>
                  </a:lnTo>
                  <a:lnTo>
                    <a:pt x="177" y="98"/>
                  </a:lnTo>
                  <a:lnTo>
                    <a:pt x="178" y="98"/>
                  </a:lnTo>
                  <a:lnTo>
                    <a:pt x="178" y="96"/>
                  </a:lnTo>
                  <a:lnTo>
                    <a:pt x="180" y="96"/>
                  </a:lnTo>
                  <a:close/>
                  <a:moveTo>
                    <a:pt x="21" y="4"/>
                  </a:moveTo>
                  <a:lnTo>
                    <a:pt x="19" y="4"/>
                  </a:lnTo>
                  <a:lnTo>
                    <a:pt x="19" y="6"/>
                  </a:lnTo>
                  <a:lnTo>
                    <a:pt x="19" y="4"/>
                  </a:lnTo>
                  <a:lnTo>
                    <a:pt x="19" y="6"/>
                  </a:lnTo>
                  <a:lnTo>
                    <a:pt x="17" y="6"/>
                  </a:lnTo>
                  <a:lnTo>
                    <a:pt x="19" y="6"/>
                  </a:lnTo>
                  <a:lnTo>
                    <a:pt x="17" y="6"/>
                  </a:lnTo>
                  <a:lnTo>
                    <a:pt x="19" y="6"/>
                  </a:lnTo>
                  <a:lnTo>
                    <a:pt x="17" y="6"/>
                  </a:lnTo>
                  <a:lnTo>
                    <a:pt x="17" y="8"/>
                  </a:lnTo>
                  <a:lnTo>
                    <a:pt x="17" y="6"/>
                  </a:lnTo>
                  <a:lnTo>
                    <a:pt x="17" y="8"/>
                  </a:lnTo>
                  <a:lnTo>
                    <a:pt x="17" y="6"/>
                  </a:lnTo>
                  <a:lnTo>
                    <a:pt x="17" y="8"/>
                  </a:lnTo>
                  <a:lnTo>
                    <a:pt x="17" y="6"/>
                  </a:lnTo>
                  <a:lnTo>
                    <a:pt x="17" y="8"/>
                  </a:lnTo>
                  <a:lnTo>
                    <a:pt x="15" y="8"/>
                  </a:lnTo>
                  <a:lnTo>
                    <a:pt x="15" y="10"/>
                  </a:lnTo>
                  <a:lnTo>
                    <a:pt x="13" y="10"/>
                  </a:lnTo>
                  <a:lnTo>
                    <a:pt x="11" y="10"/>
                  </a:lnTo>
                  <a:lnTo>
                    <a:pt x="13" y="10"/>
                  </a:lnTo>
                  <a:lnTo>
                    <a:pt x="13" y="12"/>
                  </a:lnTo>
                  <a:lnTo>
                    <a:pt x="13" y="10"/>
                  </a:lnTo>
                  <a:lnTo>
                    <a:pt x="13" y="12"/>
                  </a:lnTo>
                  <a:lnTo>
                    <a:pt x="13" y="17"/>
                  </a:lnTo>
                  <a:lnTo>
                    <a:pt x="13" y="19"/>
                  </a:lnTo>
                  <a:lnTo>
                    <a:pt x="11" y="19"/>
                  </a:lnTo>
                  <a:lnTo>
                    <a:pt x="10" y="19"/>
                  </a:lnTo>
                  <a:lnTo>
                    <a:pt x="8" y="19"/>
                  </a:lnTo>
                  <a:lnTo>
                    <a:pt x="8" y="17"/>
                  </a:lnTo>
                  <a:lnTo>
                    <a:pt x="10" y="17"/>
                  </a:lnTo>
                  <a:lnTo>
                    <a:pt x="10" y="16"/>
                  </a:lnTo>
                  <a:lnTo>
                    <a:pt x="8" y="16"/>
                  </a:lnTo>
                  <a:lnTo>
                    <a:pt x="8" y="14"/>
                  </a:lnTo>
                  <a:lnTo>
                    <a:pt x="8" y="12"/>
                  </a:lnTo>
                  <a:lnTo>
                    <a:pt x="6" y="12"/>
                  </a:lnTo>
                  <a:lnTo>
                    <a:pt x="6" y="10"/>
                  </a:lnTo>
                  <a:lnTo>
                    <a:pt x="6" y="8"/>
                  </a:lnTo>
                  <a:lnTo>
                    <a:pt x="8" y="8"/>
                  </a:lnTo>
                  <a:lnTo>
                    <a:pt x="8" y="6"/>
                  </a:lnTo>
                  <a:lnTo>
                    <a:pt x="10" y="6"/>
                  </a:lnTo>
                  <a:lnTo>
                    <a:pt x="11" y="6"/>
                  </a:lnTo>
                  <a:lnTo>
                    <a:pt x="11" y="4"/>
                  </a:lnTo>
                  <a:lnTo>
                    <a:pt x="11" y="2"/>
                  </a:lnTo>
                  <a:lnTo>
                    <a:pt x="13" y="2"/>
                  </a:lnTo>
                  <a:lnTo>
                    <a:pt x="15" y="2"/>
                  </a:lnTo>
                  <a:lnTo>
                    <a:pt x="15" y="0"/>
                  </a:lnTo>
                  <a:lnTo>
                    <a:pt x="15" y="2"/>
                  </a:lnTo>
                  <a:lnTo>
                    <a:pt x="15" y="0"/>
                  </a:lnTo>
                  <a:lnTo>
                    <a:pt x="15" y="2"/>
                  </a:lnTo>
                  <a:lnTo>
                    <a:pt x="17" y="2"/>
                  </a:lnTo>
                  <a:lnTo>
                    <a:pt x="17" y="0"/>
                  </a:lnTo>
                  <a:lnTo>
                    <a:pt x="15" y="0"/>
                  </a:lnTo>
                  <a:lnTo>
                    <a:pt x="17" y="0"/>
                  </a:lnTo>
                  <a:lnTo>
                    <a:pt x="19" y="0"/>
                  </a:lnTo>
                  <a:lnTo>
                    <a:pt x="19" y="2"/>
                  </a:lnTo>
                  <a:lnTo>
                    <a:pt x="21" y="2"/>
                  </a:lnTo>
                  <a:lnTo>
                    <a:pt x="21" y="4"/>
                  </a:lnTo>
                  <a:close/>
                  <a:moveTo>
                    <a:pt x="0" y="181"/>
                  </a:moveTo>
                  <a:lnTo>
                    <a:pt x="2" y="181"/>
                  </a:lnTo>
                  <a:lnTo>
                    <a:pt x="2" y="185"/>
                  </a:lnTo>
                  <a:lnTo>
                    <a:pt x="0" y="185"/>
                  </a:lnTo>
                  <a:lnTo>
                    <a:pt x="0" y="181"/>
                  </a:lnTo>
                  <a:close/>
                  <a:moveTo>
                    <a:pt x="15" y="23"/>
                  </a:moveTo>
                  <a:lnTo>
                    <a:pt x="17" y="23"/>
                  </a:lnTo>
                  <a:lnTo>
                    <a:pt x="15" y="23"/>
                  </a:lnTo>
                  <a:close/>
                  <a:moveTo>
                    <a:pt x="13" y="23"/>
                  </a:moveTo>
                  <a:lnTo>
                    <a:pt x="15" y="23"/>
                  </a:lnTo>
                  <a:lnTo>
                    <a:pt x="15" y="25"/>
                  </a:lnTo>
                  <a:lnTo>
                    <a:pt x="13" y="25"/>
                  </a:lnTo>
                  <a:lnTo>
                    <a:pt x="13" y="23"/>
                  </a:lnTo>
                  <a:close/>
                  <a:moveTo>
                    <a:pt x="17" y="23"/>
                  </a:moveTo>
                  <a:lnTo>
                    <a:pt x="19" y="23"/>
                  </a:lnTo>
                  <a:lnTo>
                    <a:pt x="17" y="23"/>
                  </a:lnTo>
                  <a:close/>
                  <a:moveTo>
                    <a:pt x="21" y="65"/>
                  </a:moveTo>
                  <a:lnTo>
                    <a:pt x="21" y="67"/>
                  </a:lnTo>
                  <a:lnTo>
                    <a:pt x="21" y="65"/>
                  </a:lnTo>
                  <a:close/>
                  <a:moveTo>
                    <a:pt x="15" y="23"/>
                  </a:moveTo>
                  <a:lnTo>
                    <a:pt x="17" y="23"/>
                  </a:lnTo>
                  <a:lnTo>
                    <a:pt x="15" y="23"/>
                  </a:lnTo>
                  <a:close/>
                  <a:moveTo>
                    <a:pt x="15" y="23"/>
                  </a:moveTo>
                  <a:lnTo>
                    <a:pt x="17" y="23"/>
                  </a:lnTo>
                  <a:lnTo>
                    <a:pt x="15" y="23"/>
                  </a:lnTo>
                  <a:close/>
                  <a:moveTo>
                    <a:pt x="17" y="23"/>
                  </a:moveTo>
                  <a:lnTo>
                    <a:pt x="19" y="23"/>
                  </a:lnTo>
                  <a:lnTo>
                    <a:pt x="17" y="23"/>
                  </a:lnTo>
                  <a:close/>
                  <a:moveTo>
                    <a:pt x="21" y="67"/>
                  </a:moveTo>
                  <a:lnTo>
                    <a:pt x="23" y="67"/>
                  </a:lnTo>
                  <a:lnTo>
                    <a:pt x="21" y="67"/>
                  </a:lnTo>
                  <a:close/>
                  <a:moveTo>
                    <a:pt x="15" y="23"/>
                  </a:moveTo>
                  <a:lnTo>
                    <a:pt x="17" y="23"/>
                  </a:lnTo>
                  <a:lnTo>
                    <a:pt x="15" y="23"/>
                  </a:lnTo>
                  <a:close/>
                  <a:moveTo>
                    <a:pt x="15" y="23"/>
                  </a:moveTo>
                  <a:lnTo>
                    <a:pt x="17" y="23"/>
                  </a:lnTo>
                  <a:lnTo>
                    <a:pt x="15" y="23"/>
                  </a:lnTo>
                  <a:close/>
                  <a:moveTo>
                    <a:pt x="15" y="23"/>
                  </a:moveTo>
                  <a:lnTo>
                    <a:pt x="17" y="23"/>
                  </a:lnTo>
                  <a:lnTo>
                    <a:pt x="15" y="2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5" name="Freeform 454">
              <a:extLst>
                <a:ext uri="{FF2B5EF4-FFF2-40B4-BE49-F238E27FC236}">
                  <a16:creationId xmlns:a16="http://schemas.microsoft.com/office/drawing/2014/main" id="{B647EFC8-D421-432C-A281-4D79F5C4CC40}"/>
                </a:ext>
              </a:extLst>
            </p:cNvPr>
            <p:cNvSpPr>
              <a:spLocks/>
            </p:cNvSpPr>
            <p:nvPr/>
          </p:nvSpPr>
          <p:spPr bwMode="gray">
            <a:xfrm>
              <a:off x="3568817" y="4691530"/>
              <a:ext cx="166787" cy="176598"/>
            </a:xfrm>
            <a:custGeom>
              <a:avLst/>
              <a:gdLst>
                <a:gd name="T0" fmla="*/ 80 w 136"/>
                <a:gd name="T1" fmla="*/ 8 h 144"/>
                <a:gd name="T2" fmla="*/ 84 w 136"/>
                <a:gd name="T3" fmla="*/ 15 h 144"/>
                <a:gd name="T4" fmla="*/ 88 w 136"/>
                <a:gd name="T5" fmla="*/ 23 h 144"/>
                <a:gd name="T6" fmla="*/ 92 w 136"/>
                <a:gd name="T7" fmla="*/ 27 h 144"/>
                <a:gd name="T8" fmla="*/ 98 w 136"/>
                <a:gd name="T9" fmla="*/ 33 h 144"/>
                <a:gd name="T10" fmla="*/ 105 w 136"/>
                <a:gd name="T11" fmla="*/ 36 h 144"/>
                <a:gd name="T12" fmla="*/ 111 w 136"/>
                <a:gd name="T13" fmla="*/ 42 h 144"/>
                <a:gd name="T14" fmla="*/ 111 w 136"/>
                <a:gd name="T15" fmla="*/ 50 h 144"/>
                <a:gd name="T16" fmla="*/ 111 w 136"/>
                <a:gd name="T17" fmla="*/ 50 h 144"/>
                <a:gd name="T18" fmla="*/ 115 w 136"/>
                <a:gd name="T19" fmla="*/ 54 h 144"/>
                <a:gd name="T20" fmla="*/ 117 w 136"/>
                <a:gd name="T21" fmla="*/ 59 h 144"/>
                <a:gd name="T22" fmla="*/ 125 w 136"/>
                <a:gd name="T23" fmla="*/ 59 h 144"/>
                <a:gd name="T24" fmla="*/ 132 w 136"/>
                <a:gd name="T25" fmla="*/ 63 h 144"/>
                <a:gd name="T26" fmla="*/ 134 w 136"/>
                <a:gd name="T27" fmla="*/ 69 h 144"/>
                <a:gd name="T28" fmla="*/ 126 w 136"/>
                <a:gd name="T29" fmla="*/ 73 h 144"/>
                <a:gd name="T30" fmla="*/ 119 w 136"/>
                <a:gd name="T31" fmla="*/ 77 h 144"/>
                <a:gd name="T32" fmla="*/ 113 w 136"/>
                <a:gd name="T33" fmla="*/ 83 h 144"/>
                <a:gd name="T34" fmla="*/ 107 w 136"/>
                <a:gd name="T35" fmla="*/ 88 h 144"/>
                <a:gd name="T36" fmla="*/ 103 w 136"/>
                <a:gd name="T37" fmla="*/ 92 h 144"/>
                <a:gd name="T38" fmla="*/ 100 w 136"/>
                <a:gd name="T39" fmla="*/ 100 h 144"/>
                <a:gd name="T40" fmla="*/ 94 w 136"/>
                <a:gd name="T41" fmla="*/ 106 h 144"/>
                <a:gd name="T42" fmla="*/ 86 w 136"/>
                <a:gd name="T43" fmla="*/ 109 h 144"/>
                <a:gd name="T44" fmla="*/ 84 w 136"/>
                <a:gd name="T45" fmla="*/ 115 h 144"/>
                <a:gd name="T46" fmla="*/ 80 w 136"/>
                <a:gd name="T47" fmla="*/ 125 h 144"/>
                <a:gd name="T48" fmla="*/ 75 w 136"/>
                <a:gd name="T49" fmla="*/ 127 h 144"/>
                <a:gd name="T50" fmla="*/ 71 w 136"/>
                <a:gd name="T51" fmla="*/ 127 h 144"/>
                <a:gd name="T52" fmla="*/ 63 w 136"/>
                <a:gd name="T53" fmla="*/ 127 h 144"/>
                <a:gd name="T54" fmla="*/ 61 w 136"/>
                <a:gd name="T55" fmla="*/ 125 h 144"/>
                <a:gd name="T56" fmla="*/ 59 w 136"/>
                <a:gd name="T57" fmla="*/ 123 h 144"/>
                <a:gd name="T58" fmla="*/ 57 w 136"/>
                <a:gd name="T59" fmla="*/ 125 h 144"/>
                <a:gd name="T60" fmla="*/ 55 w 136"/>
                <a:gd name="T61" fmla="*/ 123 h 144"/>
                <a:gd name="T62" fmla="*/ 52 w 136"/>
                <a:gd name="T63" fmla="*/ 119 h 144"/>
                <a:gd name="T64" fmla="*/ 48 w 136"/>
                <a:gd name="T65" fmla="*/ 119 h 144"/>
                <a:gd name="T66" fmla="*/ 42 w 136"/>
                <a:gd name="T67" fmla="*/ 121 h 144"/>
                <a:gd name="T68" fmla="*/ 40 w 136"/>
                <a:gd name="T69" fmla="*/ 123 h 144"/>
                <a:gd name="T70" fmla="*/ 40 w 136"/>
                <a:gd name="T71" fmla="*/ 131 h 144"/>
                <a:gd name="T72" fmla="*/ 36 w 136"/>
                <a:gd name="T73" fmla="*/ 134 h 144"/>
                <a:gd name="T74" fmla="*/ 31 w 136"/>
                <a:gd name="T75" fmla="*/ 136 h 144"/>
                <a:gd name="T76" fmla="*/ 25 w 136"/>
                <a:gd name="T77" fmla="*/ 142 h 144"/>
                <a:gd name="T78" fmla="*/ 15 w 136"/>
                <a:gd name="T79" fmla="*/ 144 h 144"/>
                <a:gd name="T80" fmla="*/ 11 w 136"/>
                <a:gd name="T81" fmla="*/ 144 h 144"/>
                <a:gd name="T82" fmla="*/ 9 w 136"/>
                <a:gd name="T83" fmla="*/ 138 h 144"/>
                <a:gd name="T84" fmla="*/ 11 w 136"/>
                <a:gd name="T85" fmla="*/ 132 h 144"/>
                <a:gd name="T86" fmla="*/ 9 w 136"/>
                <a:gd name="T87" fmla="*/ 127 h 144"/>
                <a:gd name="T88" fmla="*/ 7 w 136"/>
                <a:gd name="T89" fmla="*/ 121 h 144"/>
                <a:gd name="T90" fmla="*/ 7 w 136"/>
                <a:gd name="T91" fmla="*/ 117 h 144"/>
                <a:gd name="T92" fmla="*/ 6 w 136"/>
                <a:gd name="T93" fmla="*/ 115 h 144"/>
                <a:gd name="T94" fmla="*/ 2 w 136"/>
                <a:gd name="T95" fmla="*/ 111 h 144"/>
                <a:gd name="T96" fmla="*/ 0 w 136"/>
                <a:gd name="T97" fmla="*/ 90 h 144"/>
                <a:gd name="T98" fmla="*/ 0 w 136"/>
                <a:gd name="T99" fmla="*/ 71 h 144"/>
                <a:gd name="T100" fmla="*/ 7 w 136"/>
                <a:gd name="T101" fmla="*/ 65 h 144"/>
                <a:gd name="T102" fmla="*/ 13 w 136"/>
                <a:gd name="T103" fmla="*/ 48 h 144"/>
                <a:gd name="T104" fmla="*/ 13 w 136"/>
                <a:gd name="T105" fmla="*/ 21 h 144"/>
                <a:gd name="T106" fmla="*/ 21 w 136"/>
                <a:gd name="T107" fmla="*/ 8 h 144"/>
                <a:gd name="T108" fmla="*/ 40 w 136"/>
                <a:gd name="T109" fmla="*/ 4 h 144"/>
                <a:gd name="T110" fmla="*/ 48 w 136"/>
                <a:gd name="T111" fmla="*/ 4 h 144"/>
                <a:gd name="T112" fmla="*/ 52 w 136"/>
                <a:gd name="T113" fmla="*/ 8 h 144"/>
                <a:gd name="T114" fmla="*/ 54 w 136"/>
                <a:gd name="T115" fmla="*/ 10 h 144"/>
                <a:gd name="T116" fmla="*/ 59 w 136"/>
                <a:gd name="T117" fmla="*/ 4 h 144"/>
                <a:gd name="T118" fmla="*/ 67 w 136"/>
                <a:gd name="T119" fmla="*/ 4 h 144"/>
                <a:gd name="T120" fmla="*/ 73 w 136"/>
                <a:gd name="T121"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44">
                  <a:moveTo>
                    <a:pt x="77" y="0"/>
                  </a:moveTo>
                  <a:lnTo>
                    <a:pt x="77" y="2"/>
                  </a:lnTo>
                  <a:lnTo>
                    <a:pt x="77" y="4"/>
                  </a:lnTo>
                  <a:lnTo>
                    <a:pt x="79" y="6"/>
                  </a:lnTo>
                  <a:lnTo>
                    <a:pt x="79" y="8"/>
                  </a:lnTo>
                  <a:lnTo>
                    <a:pt x="80" y="8"/>
                  </a:lnTo>
                  <a:lnTo>
                    <a:pt x="80" y="10"/>
                  </a:lnTo>
                  <a:lnTo>
                    <a:pt x="80" y="11"/>
                  </a:lnTo>
                  <a:lnTo>
                    <a:pt x="82" y="11"/>
                  </a:lnTo>
                  <a:lnTo>
                    <a:pt x="82" y="13"/>
                  </a:lnTo>
                  <a:lnTo>
                    <a:pt x="84" y="13"/>
                  </a:lnTo>
                  <a:lnTo>
                    <a:pt x="84" y="15"/>
                  </a:lnTo>
                  <a:lnTo>
                    <a:pt x="84" y="17"/>
                  </a:lnTo>
                  <a:lnTo>
                    <a:pt x="86" y="17"/>
                  </a:lnTo>
                  <a:lnTo>
                    <a:pt x="86" y="19"/>
                  </a:lnTo>
                  <a:lnTo>
                    <a:pt x="86" y="21"/>
                  </a:lnTo>
                  <a:lnTo>
                    <a:pt x="88" y="21"/>
                  </a:lnTo>
                  <a:lnTo>
                    <a:pt x="88" y="23"/>
                  </a:lnTo>
                  <a:lnTo>
                    <a:pt x="88" y="25"/>
                  </a:lnTo>
                  <a:lnTo>
                    <a:pt x="90" y="25"/>
                  </a:lnTo>
                  <a:lnTo>
                    <a:pt x="90" y="27"/>
                  </a:lnTo>
                  <a:lnTo>
                    <a:pt x="90" y="29"/>
                  </a:lnTo>
                  <a:lnTo>
                    <a:pt x="92" y="29"/>
                  </a:lnTo>
                  <a:lnTo>
                    <a:pt x="92" y="27"/>
                  </a:lnTo>
                  <a:lnTo>
                    <a:pt x="92" y="29"/>
                  </a:lnTo>
                  <a:lnTo>
                    <a:pt x="94" y="29"/>
                  </a:lnTo>
                  <a:lnTo>
                    <a:pt x="94" y="31"/>
                  </a:lnTo>
                  <a:lnTo>
                    <a:pt x="96" y="31"/>
                  </a:lnTo>
                  <a:lnTo>
                    <a:pt x="96" y="33"/>
                  </a:lnTo>
                  <a:lnTo>
                    <a:pt x="98" y="33"/>
                  </a:lnTo>
                  <a:lnTo>
                    <a:pt x="98" y="35"/>
                  </a:lnTo>
                  <a:lnTo>
                    <a:pt x="100" y="35"/>
                  </a:lnTo>
                  <a:lnTo>
                    <a:pt x="102" y="35"/>
                  </a:lnTo>
                  <a:lnTo>
                    <a:pt x="103" y="35"/>
                  </a:lnTo>
                  <a:lnTo>
                    <a:pt x="103" y="36"/>
                  </a:lnTo>
                  <a:lnTo>
                    <a:pt x="105" y="36"/>
                  </a:lnTo>
                  <a:lnTo>
                    <a:pt x="105" y="38"/>
                  </a:lnTo>
                  <a:lnTo>
                    <a:pt x="105" y="40"/>
                  </a:lnTo>
                  <a:lnTo>
                    <a:pt x="105" y="42"/>
                  </a:lnTo>
                  <a:lnTo>
                    <a:pt x="107" y="42"/>
                  </a:lnTo>
                  <a:lnTo>
                    <a:pt x="109" y="42"/>
                  </a:lnTo>
                  <a:lnTo>
                    <a:pt x="111" y="42"/>
                  </a:lnTo>
                  <a:lnTo>
                    <a:pt x="113" y="42"/>
                  </a:lnTo>
                  <a:lnTo>
                    <a:pt x="113" y="44"/>
                  </a:lnTo>
                  <a:lnTo>
                    <a:pt x="113" y="46"/>
                  </a:lnTo>
                  <a:lnTo>
                    <a:pt x="113" y="48"/>
                  </a:lnTo>
                  <a:lnTo>
                    <a:pt x="111" y="48"/>
                  </a:lnTo>
                  <a:lnTo>
                    <a:pt x="111" y="50"/>
                  </a:lnTo>
                  <a:lnTo>
                    <a:pt x="113" y="50"/>
                  </a:lnTo>
                  <a:lnTo>
                    <a:pt x="111" y="50"/>
                  </a:lnTo>
                  <a:lnTo>
                    <a:pt x="113" y="50"/>
                  </a:lnTo>
                  <a:lnTo>
                    <a:pt x="111" y="50"/>
                  </a:lnTo>
                  <a:lnTo>
                    <a:pt x="113" y="50"/>
                  </a:lnTo>
                  <a:lnTo>
                    <a:pt x="111" y="50"/>
                  </a:lnTo>
                  <a:lnTo>
                    <a:pt x="111" y="52"/>
                  </a:lnTo>
                  <a:lnTo>
                    <a:pt x="113" y="52"/>
                  </a:lnTo>
                  <a:lnTo>
                    <a:pt x="113" y="54"/>
                  </a:lnTo>
                  <a:lnTo>
                    <a:pt x="113" y="52"/>
                  </a:lnTo>
                  <a:lnTo>
                    <a:pt x="113" y="54"/>
                  </a:lnTo>
                  <a:lnTo>
                    <a:pt x="115" y="54"/>
                  </a:lnTo>
                  <a:lnTo>
                    <a:pt x="115" y="56"/>
                  </a:lnTo>
                  <a:lnTo>
                    <a:pt x="115" y="58"/>
                  </a:lnTo>
                  <a:lnTo>
                    <a:pt x="117" y="58"/>
                  </a:lnTo>
                  <a:lnTo>
                    <a:pt x="115" y="58"/>
                  </a:lnTo>
                  <a:lnTo>
                    <a:pt x="117" y="58"/>
                  </a:lnTo>
                  <a:lnTo>
                    <a:pt x="117" y="59"/>
                  </a:lnTo>
                  <a:lnTo>
                    <a:pt x="119" y="59"/>
                  </a:lnTo>
                  <a:lnTo>
                    <a:pt x="121" y="59"/>
                  </a:lnTo>
                  <a:lnTo>
                    <a:pt x="123" y="59"/>
                  </a:lnTo>
                  <a:lnTo>
                    <a:pt x="125" y="59"/>
                  </a:lnTo>
                  <a:lnTo>
                    <a:pt x="125" y="61"/>
                  </a:lnTo>
                  <a:lnTo>
                    <a:pt x="125" y="59"/>
                  </a:lnTo>
                  <a:lnTo>
                    <a:pt x="126" y="59"/>
                  </a:lnTo>
                  <a:lnTo>
                    <a:pt x="126" y="61"/>
                  </a:lnTo>
                  <a:lnTo>
                    <a:pt x="128" y="61"/>
                  </a:lnTo>
                  <a:lnTo>
                    <a:pt x="130" y="61"/>
                  </a:lnTo>
                  <a:lnTo>
                    <a:pt x="130" y="63"/>
                  </a:lnTo>
                  <a:lnTo>
                    <a:pt x="132" y="63"/>
                  </a:lnTo>
                  <a:lnTo>
                    <a:pt x="132" y="65"/>
                  </a:lnTo>
                  <a:lnTo>
                    <a:pt x="132" y="67"/>
                  </a:lnTo>
                  <a:lnTo>
                    <a:pt x="134" y="67"/>
                  </a:lnTo>
                  <a:lnTo>
                    <a:pt x="136" y="67"/>
                  </a:lnTo>
                  <a:lnTo>
                    <a:pt x="136" y="69"/>
                  </a:lnTo>
                  <a:lnTo>
                    <a:pt x="134" y="69"/>
                  </a:lnTo>
                  <a:lnTo>
                    <a:pt x="132" y="69"/>
                  </a:lnTo>
                  <a:lnTo>
                    <a:pt x="130" y="69"/>
                  </a:lnTo>
                  <a:lnTo>
                    <a:pt x="130" y="71"/>
                  </a:lnTo>
                  <a:lnTo>
                    <a:pt x="130" y="73"/>
                  </a:lnTo>
                  <a:lnTo>
                    <a:pt x="128" y="73"/>
                  </a:lnTo>
                  <a:lnTo>
                    <a:pt x="126" y="73"/>
                  </a:lnTo>
                  <a:lnTo>
                    <a:pt x="126" y="75"/>
                  </a:lnTo>
                  <a:lnTo>
                    <a:pt x="125" y="75"/>
                  </a:lnTo>
                  <a:lnTo>
                    <a:pt x="123" y="75"/>
                  </a:lnTo>
                  <a:lnTo>
                    <a:pt x="121" y="75"/>
                  </a:lnTo>
                  <a:lnTo>
                    <a:pt x="121" y="77"/>
                  </a:lnTo>
                  <a:lnTo>
                    <a:pt x="119" y="77"/>
                  </a:lnTo>
                  <a:lnTo>
                    <a:pt x="119" y="79"/>
                  </a:lnTo>
                  <a:lnTo>
                    <a:pt x="117" y="79"/>
                  </a:lnTo>
                  <a:lnTo>
                    <a:pt x="117" y="81"/>
                  </a:lnTo>
                  <a:lnTo>
                    <a:pt x="115" y="81"/>
                  </a:lnTo>
                  <a:lnTo>
                    <a:pt x="115" y="83"/>
                  </a:lnTo>
                  <a:lnTo>
                    <a:pt x="113" y="83"/>
                  </a:lnTo>
                  <a:lnTo>
                    <a:pt x="113" y="84"/>
                  </a:lnTo>
                  <a:lnTo>
                    <a:pt x="111" y="84"/>
                  </a:lnTo>
                  <a:lnTo>
                    <a:pt x="111" y="86"/>
                  </a:lnTo>
                  <a:lnTo>
                    <a:pt x="109" y="86"/>
                  </a:lnTo>
                  <a:lnTo>
                    <a:pt x="109" y="88"/>
                  </a:lnTo>
                  <a:lnTo>
                    <a:pt x="107" y="88"/>
                  </a:lnTo>
                  <a:lnTo>
                    <a:pt x="105" y="88"/>
                  </a:lnTo>
                  <a:lnTo>
                    <a:pt x="105" y="90"/>
                  </a:lnTo>
                  <a:lnTo>
                    <a:pt x="103" y="90"/>
                  </a:lnTo>
                  <a:lnTo>
                    <a:pt x="103" y="92"/>
                  </a:lnTo>
                  <a:lnTo>
                    <a:pt x="103" y="90"/>
                  </a:lnTo>
                  <a:lnTo>
                    <a:pt x="103" y="92"/>
                  </a:lnTo>
                  <a:lnTo>
                    <a:pt x="102" y="92"/>
                  </a:lnTo>
                  <a:lnTo>
                    <a:pt x="102" y="94"/>
                  </a:lnTo>
                  <a:lnTo>
                    <a:pt x="102" y="96"/>
                  </a:lnTo>
                  <a:lnTo>
                    <a:pt x="102" y="98"/>
                  </a:lnTo>
                  <a:lnTo>
                    <a:pt x="100" y="98"/>
                  </a:lnTo>
                  <a:lnTo>
                    <a:pt x="100" y="100"/>
                  </a:lnTo>
                  <a:lnTo>
                    <a:pt x="100" y="102"/>
                  </a:lnTo>
                  <a:lnTo>
                    <a:pt x="98" y="102"/>
                  </a:lnTo>
                  <a:lnTo>
                    <a:pt x="98" y="104"/>
                  </a:lnTo>
                  <a:lnTo>
                    <a:pt x="96" y="104"/>
                  </a:lnTo>
                  <a:lnTo>
                    <a:pt x="96" y="106"/>
                  </a:lnTo>
                  <a:lnTo>
                    <a:pt x="94" y="106"/>
                  </a:lnTo>
                  <a:lnTo>
                    <a:pt x="94" y="108"/>
                  </a:lnTo>
                  <a:lnTo>
                    <a:pt x="92" y="108"/>
                  </a:lnTo>
                  <a:lnTo>
                    <a:pt x="90" y="108"/>
                  </a:lnTo>
                  <a:lnTo>
                    <a:pt x="90" y="109"/>
                  </a:lnTo>
                  <a:lnTo>
                    <a:pt x="88" y="109"/>
                  </a:lnTo>
                  <a:lnTo>
                    <a:pt x="86" y="109"/>
                  </a:lnTo>
                  <a:lnTo>
                    <a:pt x="84" y="109"/>
                  </a:lnTo>
                  <a:lnTo>
                    <a:pt x="84" y="111"/>
                  </a:lnTo>
                  <a:lnTo>
                    <a:pt x="86" y="111"/>
                  </a:lnTo>
                  <a:lnTo>
                    <a:pt x="86" y="113"/>
                  </a:lnTo>
                  <a:lnTo>
                    <a:pt x="84" y="113"/>
                  </a:lnTo>
                  <a:lnTo>
                    <a:pt x="84" y="115"/>
                  </a:lnTo>
                  <a:lnTo>
                    <a:pt x="84" y="117"/>
                  </a:lnTo>
                  <a:lnTo>
                    <a:pt x="82" y="117"/>
                  </a:lnTo>
                  <a:lnTo>
                    <a:pt x="82" y="119"/>
                  </a:lnTo>
                  <a:lnTo>
                    <a:pt x="82" y="121"/>
                  </a:lnTo>
                  <a:lnTo>
                    <a:pt x="82" y="123"/>
                  </a:lnTo>
                  <a:lnTo>
                    <a:pt x="80" y="125"/>
                  </a:lnTo>
                  <a:lnTo>
                    <a:pt x="79" y="125"/>
                  </a:lnTo>
                  <a:lnTo>
                    <a:pt x="79" y="127"/>
                  </a:lnTo>
                  <a:lnTo>
                    <a:pt x="77" y="127"/>
                  </a:lnTo>
                  <a:lnTo>
                    <a:pt x="75" y="127"/>
                  </a:lnTo>
                  <a:lnTo>
                    <a:pt x="75" y="125"/>
                  </a:lnTo>
                  <a:lnTo>
                    <a:pt x="75" y="127"/>
                  </a:lnTo>
                  <a:lnTo>
                    <a:pt x="75" y="125"/>
                  </a:lnTo>
                  <a:lnTo>
                    <a:pt x="73" y="125"/>
                  </a:lnTo>
                  <a:lnTo>
                    <a:pt x="73" y="127"/>
                  </a:lnTo>
                  <a:lnTo>
                    <a:pt x="71" y="127"/>
                  </a:lnTo>
                  <a:lnTo>
                    <a:pt x="69" y="127"/>
                  </a:lnTo>
                  <a:lnTo>
                    <a:pt x="71" y="127"/>
                  </a:lnTo>
                  <a:lnTo>
                    <a:pt x="69" y="127"/>
                  </a:lnTo>
                  <a:lnTo>
                    <a:pt x="67" y="127"/>
                  </a:lnTo>
                  <a:lnTo>
                    <a:pt x="65" y="127"/>
                  </a:lnTo>
                  <a:lnTo>
                    <a:pt x="65" y="125"/>
                  </a:lnTo>
                  <a:lnTo>
                    <a:pt x="65" y="127"/>
                  </a:lnTo>
                  <a:lnTo>
                    <a:pt x="63" y="127"/>
                  </a:lnTo>
                  <a:lnTo>
                    <a:pt x="63" y="125"/>
                  </a:lnTo>
                  <a:lnTo>
                    <a:pt x="63" y="127"/>
                  </a:lnTo>
                  <a:lnTo>
                    <a:pt x="63" y="125"/>
                  </a:lnTo>
                  <a:lnTo>
                    <a:pt x="61" y="125"/>
                  </a:lnTo>
                  <a:lnTo>
                    <a:pt x="63" y="125"/>
                  </a:lnTo>
                  <a:lnTo>
                    <a:pt x="61" y="125"/>
                  </a:lnTo>
                  <a:lnTo>
                    <a:pt x="61" y="123"/>
                  </a:lnTo>
                  <a:lnTo>
                    <a:pt x="61" y="125"/>
                  </a:lnTo>
                  <a:lnTo>
                    <a:pt x="61" y="123"/>
                  </a:lnTo>
                  <a:lnTo>
                    <a:pt x="59" y="123"/>
                  </a:lnTo>
                  <a:lnTo>
                    <a:pt x="61" y="123"/>
                  </a:lnTo>
                  <a:lnTo>
                    <a:pt x="59" y="123"/>
                  </a:lnTo>
                  <a:lnTo>
                    <a:pt x="59" y="125"/>
                  </a:lnTo>
                  <a:lnTo>
                    <a:pt x="59" y="123"/>
                  </a:lnTo>
                  <a:lnTo>
                    <a:pt x="59" y="125"/>
                  </a:lnTo>
                  <a:lnTo>
                    <a:pt x="59" y="123"/>
                  </a:lnTo>
                  <a:lnTo>
                    <a:pt x="59" y="125"/>
                  </a:lnTo>
                  <a:lnTo>
                    <a:pt x="57" y="125"/>
                  </a:lnTo>
                  <a:lnTo>
                    <a:pt x="57" y="123"/>
                  </a:lnTo>
                  <a:lnTo>
                    <a:pt x="57" y="125"/>
                  </a:lnTo>
                  <a:lnTo>
                    <a:pt x="57" y="123"/>
                  </a:lnTo>
                  <a:lnTo>
                    <a:pt x="55" y="123"/>
                  </a:lnTo>
                  <a:lnTo>
                    <a:pt x="55" y="121"/>
                  </a:lnTo>
                  <a:lnTo>
                    <a:pt x="55" y="123"/>
                  </a:lnTo>
                  <a:lnTo>
                    <a:pt x="55" y="121"/>
                  </a:lnTo>
                  <a:lnTo>
                    <a:pt x="54" y="121"/>
                  </a:lnTo>
                  <a:lnTo>
                    <a:pt x="52" y="121"/>
                  </a:lnTo>
                  <a:lnTo>
                    <a:pt x="52" y="119"/>
                  </a:lnTo>
                  <a:lnTo>
                    <a:pt x="52" y="121"/>
                  </a:lnTo>
                  <a:lnTo>
                    <a:pt x="52" y="119"/>
                  </a:lnTo>
                  <a:lnTo>
                    <a:pt x="50" y="119"/>
                  </a:lnTo>
                  <a:lnTo>
                    <a:pt x="50" y="117"/>
                  </a:lnTo>
                  <a:lnTo>
                    <a:pt x="50" y="119"/>
                  </a:lnTo>
                  <a:lnTo>
                    <a:pt x="48" y="119"/>
                  </a:lnTo>
                  <a:lnTo>
                    <a:pt x="48" y="117"/>
                  </a:lnTo>
                  <a:lnTo>
                    <a:pt x="48" y="119"/>
                  </a:lnTo>
                  <a:lnTo>
                    <a:pt x="46" y="119"/>
                  </a:lnTo>
                  <a:lnTo>
                    <a:pt x="46" y="117"/>
                  </a:lnTo>
                  <a:lnTo>
                    <a:pt x="46" y="119"/>
                  </a:lnTo>
                  <a:lnTo>
                    <a:pt x="44" y="119"/>
                  </a:lnTo>
                  <a:lnTo>
                    <a:pt x="42" y="119"/>
                  </a:lnTo>
                  <a:lnTo>
                    <a:pt x="42" y="121"/>
                  </a:lnTo>
                  <a:lnTo>
                    <a:pt x="40" y="121"/>
                  </a:lnTo>
                  <a:lnTo>
                    <a:pt x="42" y="121"/>
                  </a:lnTo>
                  <a:lnTo>
                    <a:pt x="42" y="123"/>
                  </a:lnTo>
                  <a:lnTo>
                    <a:pt x="40" y="123"/>
                  </a:lnTo>
                  <a:lnTo>
                    <a:pt x="42" y="123"/>
                  </a:lnTo>
                  <a:lnTo>
                    <a:pt x="40" y="123"/>
                  </a:lnTo>
                  <a:lnTo>
                    <a:pt x="40" y="125"/>
                  </a:lnTo>
                  <a:lnTo>
                    <a:pt x="40" y="127"/>
                  </a:lnTo>
                  <a:lnTo>
                    <a:pt x="40" y="129"/>
                  </a:lnTo>
                  <a:lnTo>
                    <a:pt x="38" y="129"/>
                  </a:lnTo>
                  <a:lnTo>
                    <a:pt x="40" y="129"/>
                  </a:lnTo>
                  <a:lnTo>
                    <a:pt x="40" y="131"/>
                  </a:lnTo>
                  <a:lnTo>
                    <a:pt x="38" y="131"/>
                  </a:lnTo>
                  <a:lnTo>
                    <a:pt x="38" y="132"/>
                  </a:lnTo>
                  <a:lnTo>
                    <a:pt x="36" y="132"/>
                  </a:lnTo>
                  <a:lnTo>
                    <a:pt x="36" y="134"/>
                  </a:lnTo>
                  <a:lnTo>
                    <a:pt x="36" y="132"/>
                  </a:lnTo>
                  <a:lnTo>
                    <a:pt x="36" y="134"/>
                  </a:lnTo>
                  <a:lnTo>
                    <a:pt x="34" y="134"/>
                  </a:lnTo>
                  <a:lnTo>
                    <a:pt x="32" y="134"/>
                  </a:lnTo>
                  <a:lnTo>
                    <a:pt x="32" y="136"/>
                  </a:lnTo>
                  <a:lnTo>
                    <a:pt x="31" y="136"/>
                  </a:lnTo>
                  <a:lnTo>
                    <a:pt x="32" y="136"/>
                  </a:lnTo>
                  <a:lnTo>
                    <a:pt x="31" y="136"/>
                  </a:lnTo>
                  <a:lnTo>
                    <a:pt x="31" y="138"/>
                  </a:lnTo>
                  <a:lnTo>
                    <a:pt x="31" y="140"/>
                  </a:lnTo>
                  <a:lnTo>
                    <a:pt x="29" y="140"/>
                  </a:lnTo>
                  <a:lnTo>
                    <a:pt x="27" y="140"/>
                  </a:lnTo>
                  <a:lnTo>
                    <a:pt x="25" y="140"/>
                  </a:lnTo>
                  <a:lnTo>
                    <a:pt x="25" y="142"/>
                  </a:lnTo>
                  <a:lnTo>
                    <a:pt x="25" y="144"/>
                  </a:lnTo>
                  <a:lnTo>
                    <a:pt x="23" y="144"/>
                  </a:lnTo>
                  <a:lnTo>
                    <a:pt x="21" y="144"/>
                  </a:lnTo>
                  <a:lnTo>
                    <a:pt x="19" y="144"/>
                  </a:lnTo>
                  <a:lnTo>
                    <a:pt x="17" y="144"/>
                  </a:lnTo>
                  <a:lnTo>
                    <a:pt x="15" y="144"/>
                  </a:lnTo>
                  <a:lnTo>
                    <a:pt x="13" y="144"/>
                  </a:lnTo>
                  <a:lnTo>
                    <a:pt x="13" y="142"/>
                  </a:lnTo>
                  <a:lnTo>
                    <a:pt x="13" y="144"/>
                  </a:lnTo>
                  <a:lnTo>
                    <a:pt x="13" y="142"/>
                  </a:lnTo>
                  <a:lnTo>
                    <a:pt x="11" y="142"/>
                  </a:lnTo>
                  <a:lnTo>
                    <a:pt x="11" y="144"/>
                  </a:lnTo>
                  <a:lnTo>
                    <a:pt x="9" y="144"/>
                  </a:lnTo>
                  <a:lnTo>
                    <a:pt x="9" y="142"/>
                  </a:lnTo>
                  <a:lnTo>
                    <a:pt x="7" y="142"/>
                  </a:lnTo>
                  <a:lnTo>
                    <a:pt x="7" y="140"/>
                  </a:lnTo>
                  <a:lnTo>
                    <a:pt x="9" y="140"/>
                  </a:lnTo>
                  <a:lnTo>
                    <a:pt x="9" y="138"/>
                  </a:lnTo>
                  <a:lnTo>
                    <a:pt x="7" y="138"/>
                  </a:lnTo>
                  <a:lnTo>
                    <a:pt x="9" y="138"/>
                  </a:lnTo>
                  <a:lnTo>
                    <a:pt x="9" y="136"/>
                  </a:lnTo>
                  <a:lnTo>
                    <a:pt x="9" y="134"/>
                  </a:lnTo>
                  <a:lnTo>
                    <a:pt x="11" y="134"/>
                  </a:lnTo>
                  <a:lnTo>
                    <a:pt x="11" y="132"/>
                  </a:lnTo>
                  <a:lnTo>
                    <a:pt x="11" y="131"/>
                  </a:lnTo>
                  <a:lnTo>
                    <a:pt x="11" y="129"/>
                  </a:lnTo>
                  <a:lnTo>
                    <a:pt x="11" y="127"/>
                  </a:lnTo>
                  <a:lnTo>
                    <a:pt x="9" y="127"/>
                  </a:lnTo>
                  <a:lnTo>
                    <a:pt x="11" y="127"/>
                  </a:lnTo>
                  <a:lnTo>
                    <a:pt x="9" y="127"/>
                  </a:lnTo>
                  <a:lnTo>
                    <a:pt x="9" y="125"/>
                  </a:lnTo>
                  <a:lnTo>
                    <a:pt x="9" y="123"/>
                  </a:lnTo>
                  <a:lnTo>
                    <a:pt x="9" y="125"/>
                  </a:lnTo>
                  <a:lnTo>
                    <a:pt x="9" y="123"/>
                  </a:lnTo>
                  <a:lnTo>
                    <a:pt x="9" y="121"/>
                  </a:lnTo>
                  <a:lnTo>
                    <a:pt x="7" y="121"/>
                  </a:lnTo>
                  <a:lnTo>
                    <a:pt x="9" y="121"/>
                  </a:lnTo>
                  <a:lnTo>
                    <a:pt x="7" y="121"/>
                  </a:lnTo>
                  <a:lnTo>
                    <a:pt x="7" y="119"/>
                  </a:lnTo>
                  <a:lnTo>
                    <a:pt x="7" y="121"/>
                  </a:lnTo>
                  <a:lnTo>
                    <a:pt x="7" y="119"/>
                  </a:lnTo>
                  <a:lnTo>
                    <a:pt x="7" y="117"/>
                  </a:lnTo>
                  <a:lnTo>
                    <a:pt x="7" y="119"/>
                  </a:lnTo>
                  <a:lnTo>
                    <a:pt x="7" y="117"/>
                  </a:lnTo>
                  <a:lnTo>
                    <a:pt x="6" y="117"/>
                  </a:lnTo>
                  <a:lnTo>
                    <a:pt x="6" y="115"/>
                  </a:lnTo>
                  <a:lnTo>
                    <a:pt x="6" y="117"/>
                  </a:lnTo>
                  <a:lnTo>
                    <a:pt x="6" y="115"/>
                  </a:lnTo>
                  <a:lnTo>
                    <a:pt x="6" y="113"/>
                  </a:lnTo>
                  <a:lnTo>
                    <a:pt x="4" y="113"/>
                  </a:lnTo>
                  <a:lnTo>
                    <a:pt x="4" y="111"/>
                  </a:lnTo>
                  <a:lnTo>
                    <a:pt x="4" y="113"/>
                  </a:lnTo>
                  <a:lnTo>
                    <a:pt x="2" y="113"/>
                  </a:lnTo>
                  <a:lnTo>
                    <a:pt x="2" y="111"/>
                  </a:lnTo>
                  <a:lnTo>
                    <a:pt x="0" y="111"/>
                  </a:lnTo>
                  <a:lnTo>
                    <a:pt x="0" y="109"/>
                  </a:lnTo>
                  <a:lnTo>
                    <a:pt x="0" y="108"/>
                  </a:lnTo>
                  <a:lnTo>
                    <a:pt x="0" y="100"/>
                  </a:lnTo>
                  <a:lnTo>
                    <a:pt x="0" y="96"/>
                  </a:lnTo>
                  <a:lnTo>
                    <a:pt x="0" y="90"/>
                  </a:lnTo>
                  <a:lnTo>
                    <a:pt x="0" y="86"/>
                  </a:lnTo>
                  <a:lnTo>
                    <a:pt x="0" y="84"/>
                  </a:lnTo>
                  <a:lnTo>
                    <a:pt x="0" y="81"/>
                  </a:lnTo>
                  <a:lnTo>
                    <a:pt x="0" y="79"/>
                  </a:lnTo>
                  <a:lnTo>
                    <a:pt x="0" y="75"/>
                  </a:lnTo>
                  <a:lnTo>
                    <a:pt x="0" y="71"/>
                  </a:lnTo>
                  <a:lnTo>
                    <a:pt x="0" y="69"/>
                  </a:lnTo>
                  <a:lnTo>
                    <a:pt x="0" y="65"/>
                  </a:lnTo>
                  <a:lnTo>
                    <a:pt x="2" y="65"/>
                  </a:lnTo>
                  <a:lnTo>
                    <a:pt x="4" y="65"/>
                  </a:lnTo>
                  <a:lnTo>
                    <a:pt x="6" y="65"/>
                  </a:lnTo>
                  <a:lnTo>
                    <a:pt x="7" y="65"/>
                  </a:lnTo>
                  <a:lnTo>
                    <a:pt x="9" y="65"/>
                  </a:lnTo>
                  <a:lnTo>
                    <a:pt x="11" y="65"/>
                  </a:lnTo>
                  <a:lnTo>
                    <a:pt x="13" y="65"/>
                  </a:lnTo>
                  <a:lnTo>
                    <a:pt x="13" y="59"/>
                  </a:lnTo>
                  <a:lnTo>
                    <a:pt x="13" y="50"/>
                  </a:lnTo>
                  <a:lnTo>
                    <a:pt x="13" y="48"/>
                  </a:lnTo>
                  <a:lnTo>
                    <a:pt x="13" y="40"/>
                  </a:lnTo>
                  <a:lnTo>
                    <a:pt x="13" y="36"/>
                  </a:lnTo>
                  <a:lnTo>
                    <a:pt x="13" y="35"/>
                  </a:lnTo>
                  <a:lnTo>
                    <a:pt x="13" y="29"/>
                  </a:lnTo>
                  <a:lnTo>
                    <a:pt x="13" y="23"/>
                  </a:lnTo>
                  <a:lnTo>
                    <a:pt x="13" y="21"/>
                  </a:lnTo>
                  <a:lnTo>
                    <a:pt x="13" y="15"/>
                  </a:lnTo>
                  <a:lnTo>
                    <a:pt x="13" y="11"/>
                  </a:lnTo>
                  <a:lnTo>
                    <a:pt x="13" y="8"/>
                  </a:lnTo>
                  <a:lnTo>
                    <a:pt x="15" y="8"/>
                  </a:lnTo>
                  <a:lnTo>
                    <a:pt x="17" y="8"/>
                  </a:lnTo>
                  <a:lnTo>
                    <a:pt x="21" y="8"/>
                  </a:lnTo>
                  <a:lnTo>
                    <a:pt x="23" y="8"/>
                  </a:lnTo>
                  <a:lnTo>
                    <a:pt x="25" y="8"/>
                  </a:lnTo>
                  <a:lnTo>
                    <a:pt x="29" y="8"/>
                  </a:lnTo>
                  <a:lnTo>
                    <a:pt x="32" y="6"/>
                  </a:lnTo>
                  <a:lnTo>
                    <a:pt x="36" y="6"/>
                  </a:lnTo>
                  <a:lnTo>
                    <a:pt x="40" y="4"/>
                  </a:lnTo>
                  <a:lnTo>
                    <a:pt x="42" y="4"/>
                  </a:lnTo>
                  <a:lnTo>
                    <a:pt x="44" y="4"/>
                  </a:lnTo>
                  <a:lnTo>
                    <a:pt x="46" y="4"/>
                  </a:lnTo>
                  <a:lnTo>
                    <a:pt x="48" y="4"/>
                  </a:lnTo>
                  <a:lnTo>
                    <a:pt x="48" y="6"/>
                  </a:lnTo>
                  <a:lnTo>
                    <a:pt x="48" y="4"/>
                  </a:lnTo>
                  <a:lnTo>
                    <a:pt x="48" y="6"/>
                  </a:lnTo>
                  <a:lnTo>
                    <a:pt x="50" y="6"/>
                  </a:lnTo>
                  <a:lnTo>
                    <a:pt x="50" y="8"/>
                  </a:lnTo>
                  <a:lnTo>
                    <a:pt x="50" y="6"/>
                  </a:lnTo>
                  <a:lnTo>
                    <a:pt x="50" y="8"/>
                  </a:lnTo>
                  <a:lnTo>
                    <a:pt x="52" y="8"/>
                  </a:lnTo>
                  <a:lnTo>
                    <a:pt x="50" y="8"/>
                  </a:lnTo>
                  <a:lnTo>
                    <a:pt x="52" y="8"/>
                  </a:lnTo>
                  <a:lnTo>
                    <a:pt x="52" y="10"/>
                  </a:lnTo>
                  <a:lnTo>
                    <a:pt x="52" y="11"/>
                  </a:lnTo>
                  <a:lnTo>
                    <a:pt x="54" y="11"/>
                  </a:lnTo>
                  <a:lnTo>
                    <a:pt x="54" y="10"/>
                  </a:lnTo>
                  <a:lnTo>
                    <a:pt x="55" y="10"/>
                  </a:lnTo>
                  <a:lnTo>
                    <a:pt x="55" y="8"/>
                  </a:lnTo>
                  <a:lnTo>
                    <a:pt x="57" y="8"/>
                  </a:lnTo>
                  <a:lnTo>
                    <a:pt x="57" y="6"/>
                  </a:lnTo>
                  <a:lnTo>
                    <a:pt x="59" y="6"/>
                  </a:lnTo>
                  <a:lnTo>
                    <a:pt x="59" y="4"/>
                  </a:lnTo>
                  <a:lnTo>
                    <a:pt x="61" y="4"/>
                  </a:lnTo>
                  <a:lnTo>
                    <a:pt x="63" y="4"/>
                  </a:lnTo>
                  <a:lnTo>
                    <a:pt x="63" y="2"/>
                  </a:lnTo>
                  <a:lnTo>
                    <a:pt x="65" y="2"/>
                  </a:lnTo>
                  <a:lnTo>
                    <a:pt x="65" y="4"/>
                  </a:lnTo>
                  <a:lnTo>
                    <a:pt x="67" y="4"/>
                  </a:lnTo>
                  <a:lnTo>
                    <a:pt x="67" y="2"/>
                  </a:lnTo>
                  <a:lnTo>
                    <a:pt x="69" y="2"/>
                  </a:lnTo>
                  <a:lnTo>
                    <a:pt x="71" y="2"/>
                  </a:lnTo>
                  <a:lnTo>
                    <a:pt x="71" y="0"/>
                  </a:lnTo>
                  <a:lnTo>
                    <a:pt x="73" y="0"/>
                  </a:lnTo>
                  <a:lnTo>
                    <a:pt x="73" y="2"/>
                  </a:lnTo>
                  <a:lnTo>
                    <a:pt x="73" y="0"/>
                  </a:lnTo>
                  <a:lnTo>
                    <a:pt x="73" y="2"/>
                  </a:lnTo>
                  <a:lnTo>
                    <a:pt x="75" y="2"/>
                  </a:lnTo>
                  <a:lnTo>
                    <a:pt x="75" y="0"/>
                  </a:lnTo>
                  <a:lnTo>
                    <a:pt x="77"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6" name="Freeform 455">
              <a:extLst>
                <a:ext uri="{FF2B5EF4-FFF2-40B4-BE49-F238E27FC236}">
                  <a16:creationId xmlns:a16="http://schemas.microsoft.com/office/drawing/2014/main" id="{D03B6880-6B24-44D8-8BCF-CF4CB6A82A40}"/>
                </a:ext>
              </a:extLst>
            </p:cNvPr>
            <p:cNvSpPr>
              <a:spLocks/>
            </p:cNvSpPr>
            <p:nvPr/>
          </p:nvSpPr>
          <p:spPr bwMode="gray">
            <a:xfrm>
              <a:off x="3663248" y="4651059"/>
              <a:ext cx="138581" cy="129996"/>
            </a:xfrm>
            <a:custGeom>
              <a:avLst/>
              <a:gdLst>
                <a:gd name="T0" fmla="*/ 84 w 113"/>
                <a:gd name="T1" fmla="*/ 6 h 106"/>
                <a:gd name="T2" fmla="*/ 92 w 113"/>
                <a:gd name="T3" fmla="*/ 8 h 106"/>
                <a:gd name="T4" fmla="*/ 97 w 113"/>
                <a:gd name="T5" fmla="*/ 12 h 106"/>
                <a:gd name="T6" fmla="*/ 105 w 113"/>
                <a:gd name="T7" fmla="*/ 14 h 106"/>
                <a:gd name="T8" fmla="*/ 111 w 113"/>
                <a:gd name="T9" fmla="*/ 16 h 106"/>
                <a:gd name="T10" fmla="*/ 111 w 113"/>
                <a:gd name="T11" fmla="*/ 18 h 106"/>
                <a:gd name="T12" fmla="*/ 113 w 113"/>
                <a:gd name="T13" fmla="*/ 27 h 106"/>
                <a:gd name="T14" fmla="*/ 111 w 113"/>
                <a:gd name="T15" fmla="*/ 35 h 106"/>
                <a:gd name="T16" fmla="*/ 113 w 113"/>
                <a:gd name="T17" fmla="*/ 35 h 106"/>
                <a:gd name="T18" fmla="*/ 111 w 113"/>
                <a:gd name="T19" fmla="*/ 37 h 106"/>
                <a:gd name="T20" fmla="*/ 113 w 113"/>
                <a:gd name="T21" fmla="*/ 44 h 106"/>
                <a:gd name="T22" fmla="*/ 109 w 113"/>
                <a:gd name="T23" fmla="*/ 50 h 106"/>
                <a:gd name="T24" fmla="*/ 109 w 113"/>
                <a:gd name="T25" fmla="*/ 56 h 106"/>
                <a:gd name="T26" fmla="*/ 113 w 113"/>
                <a:gd name="T27" fmla="*/ 62 h 106"/>
                <a:gd name="T28" fmla="*/ 111 w 113"/>
                <a:gd name="T29" fmla="*/ 69 h 106"/>
                <a:gd name="T30" fmla="*/ 107 w 113"/>
                <a:gd name="T31" fmla="*/ 77 h 106"/>
                <a:gd name="T32" fmla="*/ 103 w 113"/>
                <a:gd name="T33" fmla="*/ 85 h 106"/>
                <a:gd name="T34" fmla="*/ 97 w 113"/>
                <a:gd name="T35" fmla="*/ 94 h 106"/>
                <a:gd name="T36" fmla="*/ 92 w 113"/>
                <a:gd name="T37" fmla="*/ 100 h 106"/>
                <a:gd name="T38" fmla="*/ 88 w 113"/>
                <a:gd name="T39" fmla="*/ 104 h 106"/>
                <a:gd name="T40" fmla="*/ 78 w 113"/>
                <a:gd name="T41" fmla="*/ 104 h 106"/>
                <a:gd name="T42" fmla="*/ 71 w 113"/>
                <a:gd name="T43" fmla="*/ 102 h 106"/>
                <a:gd name="T44" fmla="*/ 63 w 113"/>
                <a:gd name="T45" fmla="*/ 100 h 106"/>
                <a:gd name="T46" fmla="*/ 59 w 113"/>
                <a:gd name="T47" fmla="*/ 102 h 106"/>
                <a:gd name="T48" fmla="*/ 55 w 113"/>
                <a:gd name="T49" fmla="*/ 96 h 106"/>
                <a:gd name="T50" fmla="*/ 49 w 113"/>
                <a:gd name="T51" fmla="*/ 92 h 106"/>
                <a:gd name="T52" fmla="*/ 44 w 113"/>
                <a:gd name="T53" fmla="*/ 92 h 106"/>
                <a:gd name="T54" fmla="*/ 40 w 113"/>
                <a:gd name="T55" fmla="*/ 91 h 106"/>
                <a:gd name="T56" fmla="*/ 36 w 113"/>
                <a:gd name="T57" fmla="*/ 85 h 106"/>
                <a:gd name="T58" fmla="*/ 36 w 113"/>
                <a:gd name="T59" fmla="*/ 83 h 106"/>
                <a:gd name="T60" fmla="*/ 34 w 113"/>
                <a:gd name="T61" fmla="*/ 83 h 106"/>
                <a:gd name="T62" fmla="*/ 36 w 113"/>
                <a:gd name="T63" fmla="*/ 75 h 106"/>
                <a:gd name="T64" fmla="*/ 28 w 113"/>
                <a:gd name="T65" fmla="*/ 73 h 106"/>
                <a:gd name="T66" fmla="*/ 25 w 113"/>
                <a:gd name="T67" fmla="*/ 68 h 106"/>
                <a:gd name="T68" fmla="*/ 19 w 113"/>
                <a:gd name="T69" fmla="*/ 64 h 106"/>
                <a:gd name="T70" fmla="*/ 15 w 113"/>
                <a:gd name="T71" fmla="*/ 62 h 106"/>
                <a:gd name="T72" fmla="*/ 11 w 113"/>
                <a:gd name="T73" fmla="*/ 56 h 106"/>
                <a:gd name="T74" fmla="*/ 7 w 113"/>
                <a:gd name="T75" fmla="*/ 50 h 106"/>
                <a:gd name="T76" fmla="*/ 3 w 113"/>
                <a:gd name="T77" fmla="*/ 44 h 106"/>
                <a:gd name="T78" fmla="*/ 0 w 113"/>
                <a:gd name="T79" fmla="*/ 37 h 106"/>
                <a:gd name="T80" fmla="*/ 2 w 113"/>
                <a:gd name="T81" fmla="*/ 33 h 106"/>
                <a:gd name="T82" fmla="*/ 5 w 113"/>
                <a:gd name="T83" fmla="*/ 35 h 106"/>
                <a:gd name="T84" fmla="*/ 11 w 113"/>
                <a:gd name="T85" fmla="*/ 35 h 106"/>
                <a:gd name="T86" fmla="*/ 19 w 113"/>
                <a:gd name="T87" fmla="*/ 37 h 106"/>
                <a:gd name="T88" fmla="*/ 26 w 113"/>
                <a:gd name="T89" fmla="*/ 35 h 106"/>
                <a:gd name="T90" fmla="*/ 32 w 113"/>
                <a:gd name="T91" fmla="*/ 27 h 106"/>
                <a:gd name="T92" fmla="*/ 38 w 113"/>
                <a:gd name="T93" fmla="*/ 20 h 106"/>
                <a:gd name="T94" fmla="*/ 51 w 113"/>
                <a:gd name="T95" fmla="*/ 14 h 106"/>
                <a:gd name="T96" fmla="*/ 53 w 113"/>
                <a:gd name="T97" fmla="*/ 6 h 106"/>
                <a:gd name="T98" fmla="*/ 59 w 113"/>
                <a:gd name="T99" fmla="*/ 2 h 106"/>
                <a:gd name="T100" fmla="*/ 69 w 113"/>
                <a:gd name="T10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3" h="106">
                  <a:moveTo>
                    <a:pt x="74" y="0"/>
                  </a:moveTo>
                  <a:lnTo>
                    <a:pt x="74" y="6"/>
                  </a:lnTo>
                  <a:lnTo>
                    <a:pt x="76" y="6"/>
                  </a:lnTo>
                  <a:lnTo>
                    <a:pt x="82" y="6"/>
                  </a:lnTo>
                  <a:lnTo>
                    <a:pt x="84" y="6"/>
                  </a:lnTo>
                  <a:lnTo>
                    <a:pt x="86" y="6"/>
                  </a:lnTo>
                  <a:lnTo>
                    <a:pt x="88" y="6"/>
                  </a:lnTo>
                  <a:lnTo>
                    <a:pt x="88" y="8"/>
                  </a:lnTo>
                  <a:lnTo>
                    <a:pt x="90" y="8"/>
                  </a:lnTo>
                  <a:lnTo>
                    <a:pt x="92" y="8"/>
                  </a:lnTo>
                  <a:lnTo>
                    <a:pt x="94" y="8"/>
                  </a:lnTo>
                  <a:lnTo>
                    <a:pt x="94" y="10"/>
                  </a:lnTo>
                  <a:lnTo>
                    <a:pt x="96" y="10"/>
                  </a:lnTo>
                  <a:lnTo>
                    <a:pt x="96" y="12"/>
                  </a:lnTo>
                  <a:lnTo>
                    <a:pt x="97" y="12"/>
                  </a:lnTo>
                  <a:lnTo>
                    <a:pt x="99" y="12"/>
                  </a:lnTo>
                  <a:lnTo>
                    <a:pt x="101" y="12"/>
                  </a:lnTo>
                  <a:lnTo>
                    <a:pt x="103" y="12"/>
                  </a:lnTo>
                  <a:lnTo>
                    <a:pt x="103" y="14"/>
                  </a:lnTo>
                  <a:lnTo>
                    <a:pt x="105" y="14"/>
                  </a:lnTo>
                  <a:lnTo>
                    <a:pt x="107" y="14"/>
                  </a:lnTo>
                  <a:lnTo>
                    <a:pt x="109" y="16"/>
                  </a:lnTo>
                  <a:lnTo>
                    <a:pt x="109" y="18"/>
                  </a:lnTo>
                  <a:lnTo>
                    <a:pt x="109" y="16"/>
                  </a:lnTo>
                  <a:lnTo>
                    <a:pt x="111" y="16"/>
                  </a:lnTo>
                  <a:lnTo>
                    <a:pt x="111" y="18"/>
                  </a:lnTo>
                  <a:lnTo>
                    <a:pt x="111" y="16"/>
                  </a:lnTo>
                  <a:lnTo>
                    <a:pt x="113" y="16"/>
                  </a:lnTo>
                  <a:lnTo>
                    <a:pt x="113" y="18"/>
                  </a:lnTo>
                  <a:lnTo>
                    <a:pt x="111" y="18"/>
                  </a:lnTo>
                  <a:lnTo>
                    <a:pt x="111" y="20"/>
                  </a:lnTo>
                  <a:lnTo>
                    <a:pt x="111" y="21"/>
                  </a:lnTo>
                  <a:lnTo>
                    <a:pt x="113" y="23"/>
                  </a:lnTo>
                  <a:lnTo>
                    <a:pt x="113" y="25"/>
                  </a:lnTo>
                  <a:lnTo>
                    <a:pt x="113" y="27"/>
                  </a:lnTo>
                  <a:lnTo>
                    <a:pt x="113" y="29"/>
                  </a:lnTo>
                  <a:lnTo>
                    <a:pt x="113" y="31"/>
                  </a:lnTo>
                  <a:lnTo>
                    <a:pt x="113" y="33"/>
                  </a:lnTo>
                  <a:lnTo>
                    <a:pt x="113" y="35"/>
                  </a:lnTo>
                  <a:lnTo>
                    <a:pt x="111" y="35"/>
                  </a:lnTo>
                  <a:lnTo>
                    <a:pt x="113" y="35"/>
                  </a:lnTo>
                  <a:lnTo>
                    <a:pt x="111" y="35"/>
                  </a:lnTo>
                  <a:lnTo>
                    <a:pt x="113" y="35"/>
                  </a:lnTo>
                  <a:lnTo>
                    <a:pt x="113" y="37"/>
                  </a:lnTo>
                  <a:lnTo>
                    <a:pt x="113" y="35"/>
                  </a:lnTo>
                  <a:lnTo>
                    <a:pt x="111" y="37"/>
                  </a:lnTo>
                  <a:lnTo>
                    <a:pt x="113" y="37"/>
                  </a:lnTo>
                  <a:lnTo>
                    <a:pt x="111" y="37"/>
                  </a:lnTo>
                  <a:lnTo>
                    <a:pt x="113" y="37"/>
                  </a:lnTo>
                  <a:lnTo>
                    <a:pt x="111" y="37"/>
                  </a:lnTo>
                  <a:lnTo>
                    <a:pt x="113" y="37"/>
                  </a:lnTo>
                  <a:lnTo>
                    <a:pt x="113" y="39"/>
                  </a:lnTo>
                  <a:lnTo>
                    <a:pt x="113" y="41"/>
                  </a:lnTo>
                  <a:lnTo>
                    <a:pt x="113" y="43"/>
                  </a:lnTo>
                  <a:lnTo>
                    <a:pt x="113" y="44"/>
                  </a:lnTo>
                  <a:lnTo>
                    <a:pt x="111" y="44"/>
                  </a:lnTo>
                  <a:lnTo>
                    <a:pt x="111" y="46"/>
                  </a:lnTo>
                  <a:lnTo>
                    <a:pt x="111" y="48"/>
                  </a:lnTo>
                  <a:lnTo>
                    <a:pt x="109" y="48"/>
                  </a:lnTo>
                  <a:lnTo>
                    <a:pt x="109" y="50"/>
                  </a:lnTo>
                  <a:lnTo>
                    <a:pt x="109" y="52"/>
                  </a:lnTo>
                  <a:lnTo>
                    <a:pt x="111" y="52"/>
                  </a:lnTo>
                  <a:lnTo>
                    <a:pt x="111" y="54"/>
                  </a:lnTo>
                  <a:lnTo>
                    <a:pt x="111" y="56"/>
                  </a:lnTo>
                  <a:lnTo>
                    <a:pt x="109" y="56"/>
                  </a:lnTo>
                  <a:lnTo>
                    <a:pt x="109" y="58"/>
                  </a:lnTo>
                  <a:lnTo>
                    <a:pt x="109" y="60"/>
                  </a:lnTo>
                  <a:lnTo>
                    <a:pt x="111" y="60"/>
                  </a:lnTo>
                  <a:lnTo>
                    <a:pt x="111" y="62"/>
                  </a:lnTo>
                  <a:lnTo>
                    <a:pt x="113" y="62"/>
                  </a:lnTo>
                  <a:lnTo>
                    <a:pt x="113" y="64"/>
                  </a:lnTo>
                  <a:lnTo>
                    <a:pt x="113" y="66"/>
                  </a:lnTo>
                  <a:lnTo>
                    <a:pt x="113" y="68"/>
                  </a:lnTo>
                  <a:lnTo>
                    <a:pt x="111" y="68"/>
                  </a:lnTo>
                  <a:lnTo>
                    <a:pt x="111" y="69"/>
                  </a:lnTo>
                  <a:lnTo>
                    <a:pt x="111" y="71"/>
                  </a:lnTo>
                  <a:lnTo>
                    <a:pt x="109" y="73"/>
                  </a:lnTo>
                  <a:lnTo>
                    <a:pt x="109" y="75"/>
                  </a:lnTo>
                  <a:lnTo>
                    <a:pt x="107" y="75"/>
                  </a:lnTo>
                  <a:lnTo>
                    <a:pt x="107" y="77"/>
                  </a:lnTo>
                  <a:lnTo>
                    <a:pt x="105" y="77"/>
                  </a:lnTo>
                  <a:lnTo>
                    <a:pt x="105" y="79"/>
                  </a:lnTo>
                  <a:lnTo>
                    <a:pt x="105" y="81"/>
                  </a:lnTo>
                  <a:lnTo>
                    <a:pt x="105" y="83"/>
                  </a:lnTo>
                  <a:lnTo>
                    <a:pt x="103" y="85"/>
                  </a:lnTo>
                  <a:lnTo>
                    <a:pt x="103" y="87"/>
                  </a:lnTo>
                  <a:lnTo>
                    <a:pt x="105" y="87"/>
                  </a:lnTo>
                  <a:lnTo>
                    <a:pt x="105" y="89"/>
                  </a:lnTo>
                  <a:lnTo>
                    <a:pt x="103" y="89"/>
                  </a:lnTo>
                  <a:lnTo>
                    <a:pt x="97" y="94"/>
                  </a:lnTo>
                  <a:lnTo>
                    <a:pt x="96" y="96"/>
                  </a:lnTo>
                  <a:lnTo>
                    <a:pt x="96" y="98"/>
                  </a:lnTo>
                  <a:lnTo>
                    <a:pt x="94" y="98"/>
                  </a:lnTo>
                  <a:lnTo>
                    <a:pt x="94" y="100"/>
                  </a:lnTo>
                  <a:lnTo>
                    <a:pt x="92" y="100"/>
                  </a:lnTo>
                  <a:lnTo>
                    <a:pt x="92" y="102"/>
                  </a:lnTo>
                  <a:lnTo>
                    <a:pt x="90" y="102"/>
                  </a:lnTo>
                  <a:lnTo>
                    <a:pt x="90" y="104"/>
                  </a:lnTo>
                  <a:lnTo>
                    <a:pt x="88" y="106"/>
                  </a:lnTo>
                  <a:lnTo>
                    <a:pt x="88" y="104"/>
                  </a:lnTo>
                  <a:lnTo>
                    <a:pt x="86" y="104"/>
                  </a:lnTo>
                  <a:lnTo>
                    <a:pt x="84" y="104"/>
                  </a:lnTo>
                  <a:lnTo>
                    <a:pt x="82" y="104"/>
                  </a:lnTo>
                  <a:lnTo>
                    <a:pt x="80" y="104"/>
                  </a:lnTo>
                  <a:lnTo>
                    <a:pt x="78" y="104"/>
                  </a:lnTo>
                  <a:lnTo>
                    <a:pt x="76" y="104"/>
                  </a:lnTo>
                  <a:lnTo>
                    <a:pt x="74" y="104"/>
                  </a:lnTo>
                  <a:lnTo>
                    <a:pt x="73" y="104"/>
                  </a:lnTo>
                  <a:lnTo>
                    <a:pt x="71" y="104"/>
                  </a:lnTo>
                  <a:lnTo>
                    <a:pt x="71" y="102"/>
                  </a:lnTo>
                  <a:lnTo>
                    <a:pt x="69" y="102"/>
                  </a:lnTo>
                  <a:lnTo>
                    <a:pt x="67" y="102"/>
                  </a:lnTo>
                  <a:lnTo>
                    <a:pt x="65" y="102"/>
                  </a:lnTo>
                  <a:lnTo>
                    <a:pt x="65" y="100"/>
                  </a:lnTo>
                  <a:lnTo>
                    <a:pt x="63" y="100"/>
                  </a:lnTo>
                  <a:lnTo>
                    <a:pt x="63" y="102"/>
                  </a:lnTo>
                  <a:lnTo>
                    <a:pt x="63" y="100"/>
                  </a:lnTo>
                  <a:lnTo>
                    <a:pt x="63" y="102"/>
                  </a:lnTo>
                  <a:lnTo>
                    <a:pt x="61" y="102"/>
                  </a:lnTo>
                  <a:lnTo>
                    <a:pt x="59" y="102"/>
                  </a:lnTo>
                  <a:lnTo>
                    <a:pt x="59" y="100"/>
                  </a:lnTo>
                  <a:lnTo>
                    <a:pt x="57" y="100"/>
                  </a:lnTo>
                  <a:lnTo>
                    <a:pt x="55" y="100"/>
                  </a:lnTo>
                  <a:lnTo>
                    <a:pt x="55" y="98"/>
                  </a:lnTo>
                  <a:lnTo>
                    <a:pt x="55" y="96"/>
                  </a:lnTo>
                  <a:lnTo>
                    <a:pt x="53" y="96"/>
                  </a:lnTo>
                  <a:lnTo>
                    <a:pt x="53" y="94"/>
                  </a:lnTo>
                  <a:lnTo>
                    <a:pt x="51" y="94"/>
                  </a:lnTo>
                  <a:lnTo>
                    <a:pt x="49" y="94"/>
                  </a:lnTo>
                  <a:lnTo>
                    <a:pt x="49" y="92"/>
                  </a:lnTo>
                  <a:lnTo>
                    <a:pt x="48" y="92"/>
                  </a:lnTo>
                  <a:lnTo>
                    <a:pt x="48" y="94"/>
                  </a:lnTo>
                  <a:lnTo>
                    <a:pt x="48" y="92"/>
                  </a:lnTo>
                  <a:lnTo>
                    <a:pt x="46" y="92"/>
                  </a:lnTo>
                  <a:lnTo>
                    <a:pt x="44" y="92"/>
                  </a:lnTo>
                  <a:lnTo>
                    <a:pt x="42" y="92"/>
                  </a:lnTo>
                  <a:lnTo>
                    <a:pt x="40" y="92"/>
                  </a:lnTo>
                  <a:lnTo>
                    <a:pt x="40" y="91"/>
                  </a:lnTo>
                  <a:lnTo>
                    <a:pt x="38" y="91"/>
                  </a:lnTo>
                  <a:lnTo>
                    <a:pt x="40" y="91"/>
                  </a:lnTo>
                  <a:lnTo>
                    <a:pt x="38" y="91"/>
                  </a:lnTo>
                  <a:lnTo>
                    <a:pt x="38" y="89"/>
                  </a:lnTo>
                  <a:lnTo>
                    <a:pt x="38" y="87"/>
                  </a:lnTo>
                  <a:lnTo>
                    <a:pt x="36" y="87"/>
                  </a:lnTo>
                  <a:lnTo>
                    <a:pt x="36" y="85"/>
                  </a:lnTo>
                  <a:lnTo>
                    <a:pt x="36" y="87"/>
                  </a:lnTo>
                  <a:lnTo>
                    <a:pt x="36" y="85"/>
                  </a:lnTo>
                  <a:lnTo>
                    <a:pt x="34" y="85"/>
                  </a:lnTo>
                  <a:lnTo>
                    <a:pt x="34" y="83"/>
                  </a:lnTo>
                  <a:lnTo>
                    <a:pt x="36" y="83"/>
                  </a:lnTo>
                  <a:lnTo>
                    <a:pt x="34" y="83"/>
                  </a:lnTo>
                  <a:lnTo>
                    <a:pt x="36" y="83"/>
                  </a:lnTo>
                  <a:lnTo>
                    <a:pt x="34" y="83"/>
                  </a:lnTo>
                  <a:lnTo>
                    <a:pt x="36" y="83"/>
                  </a:lnTo>
                  <a:lnTo>
                    <a:pt x="34" y="83"/>
                  </a:lnTo>
                  <a:lnTo>
                    <a:pt x="34" y="81"/>
                  </a:lnTo>
                  <a:lnTo>
                    <a:pt x="36" y="81"/>
                  </a:lnTo>
                  <a:lnTo>
                    <a:pt x="36" y="79"/>
                  </a:lnTo>
                  <a:lnTo>
                    <a:pt x="36" y="77"/>
                  </a:lnTo>
                  <a:lnTo>
                    <a:pt x="36" y="75"/>
                  </a:lnTo>
                  <a:lnTo>
                    <a:pt x="34" y="75"/>
                  </a:lnTo>
                  <a:lnTo>
                    <a:pt x="32" y="75"/>
                  </a:lnTo>
                  <a:lnTo>
                    <a:pt x="30" y="75"/>
                  </a:lnTo>
                  <a:lnTo>
                    <a:pt x="28" y="75"/>
                  </a:lnTo>
                  <a:lnTo>
                    <a:pt x="28" y="73"/>
                  </a:lnTo>
                  <a:lnTo>
                    <a:pt x="28" y="71"/>
                  </a:lnTo>
                  <a:lnTo>
                    <a:pt x="28" y="69"/>
                  </a:lnTo>
                  <a:lnTo>
                    <a:pt x="26" y="69"/>
                  </a:lnTo>
                  <a:lnTo>
                    <a:pt x="26" y="68"/>
                  </a:lnTo>
                  <a:lnTo>
                    <a:pt x="25" y="68"/>
                  </a:lnTo>
                  <a:lnTo>
                    <a:pt x="23" y="68"/>
                  </a:lnTo>
                  <a:lnTo>
                    <a:pt x="21" y="68"/>
                  </a:lnTo>
                  <a:lnTo>
                    <a:pt x="21" y="66"/>
                  </a:lnTo>
                  <a:lnTo>
                    <a:pt x="19" y="66"/>
                  </a:lnTo>
                  <a:lnTo>
                    <a:pt x="19" y="64"/>
                  </a:lnTo>
                  <a:lnTo>
                    <a:pt x="17" y="64"/>
                  </a:lnTo>
                  <a:lnTo>
                    <a:pt x="17" y="62"/>
                  </a:lnTo>
                  <a:lnTo>
                    <a:pt x="15" y="62"/>
                  </a:lnTo>
                  <a:lnTo>
                    <a:pt x="15" y="60"/>
                  </a:lnTo>
                  <a:lnTo>
                    <a:pt x="15" y="62"/>
                  </a:lnTo>
                  <a:lnTo>
                    <a:pt x="13" y="62"/>
                  </a:lnTo>
                  <a:lnTo>
                    <a:pt x="13" y="60"/>
                  </a:lnTo>
                  <a:lnTo>
                    <a:pt x="13" y="58"/>
                  </a:lnTo>
                  <a:lnTo>
                    <a:pt x="11" y="58"/>
                  </a:lnTo>
                  <a:lnTo>
                    <a:pt x="11" y="56"/>
                  </a:lnTo>
                  <a:lnTo>
                    <a:pt x="11" y="54"/>
                  </a:lnTo>
                  <a:lnTo>
                    <a:pt x="9" y="54"/>
                  </a:lnTo>
                  <a:lnTo>
                    <a:pt x="9" y="52"/>
                  </a:lnTo>
                  <a:lnTo>
                    <a:pt x="9" y="50"/>
                  </a:lnTo>
                  <a:lnTo>
                    <a:pt x="7" y="50"/>
                  </a:lnTo>
                  <a:lnTo>
                    <a:pt x="7" y="48"/>
                  </a:lnTo>
                  <a:lnTo>
                    <a:pt x="7" y="46"/>
                  </a:lnTo>
                  <a:lnTo>
                    <a:pt x="5" y="46"/>
                  </a:lnTo>
                  <a:lnTo>
                    <a:pt x="5" y="44"/>
                  </a:lnTo>
                  <a:lnTo>
                    <a:pt x="3" y="44"/>
                  </a:lnTo>
                  <a:lnTo>
                    <a:pt x="3" y="43"/>
                  </a:lnTo>
                  <a:lnTo>
                    <a:pt x="3" y="41"/>
                  </a:lnTo>
                  <a:lnTo>
                    <a:pt x="2" y="41"/>
                  </a:lnTo>
                  <a:lnTo>
                    <a:pt x="2" y="39"/>
                  </a:lnTo>
                  <a:lnTo>
                    <a:pt x="0" y="37"/>
                  </a:lnTo>
                  <a:lnTo>
                    <a:pt x="0" y="35"/>
                  </a:lnTo>
                  <a:lnTo>
                    <a:pt x="0" y="33"/>
                  </a:lnTo>
                  <a:lnTo>
                    <a:pt x="0" y="35"/>
                  </a:lnTo>
                  <a:lnTo>
                    <a:pt x="2" y="35"/>
                  </a:lnTo>
                  <a:lnTo>
                    <a:pt x="2" y="33"/>
                  </a:lnTo>
                  <a:lnTo>
                    <a:pt x="2" y="35"/>
                  </a:lnTo>
                  <a:lnTo>
                    <a:pt x="3" y="35"/>
                  </a:lnTo>
                  <a:lnTo>
                    <a:pt x="5" y="35"/>
                  </a:lnTo>
                  <a:lnTo>
                    <a:pt x="5" y="33"/>
                  </a:lnTo>
                  <a:lnTo>
                    <a:pt x="5" y="35"/>
                  </a:lnTo>
                  <a:lnTo>
                    <a:pt x="7" y="35"/>
                  </a:lnTo>
                  <a:lnTo>
                    <a:pt x="7" y="37"/>
                  </a:lnTo>
                  <a:lnTo>
                    <a:pt x="9" y="37"/>
                  </a:lnTo>
                  <a:lnTo>
                    <a:pt x="11" y="37"/>
                  </a:lnTo>
                  <a:lnTo>
                    <a:pt x="11" y="35"/>
                  </a:lnTo>
                  <a:lnTo>
                    <a:pt x="13" y="35"/>
                  </a:lnTo>
                  <a:lnTo>
                    <a:pt x="15" y="35"/>
                  </a:lnTo>
                  <a:lnTo>
                    <a:pt x="17" y="35"/>
                  </a:lnTo>
                  <a:lnTo>
                    <a:pt x="17" y="37"/>
                  </a:lnTo>
                  <a:lnTo>
                    <a:pt x="19" y="37"/>
                  </a:lnTo>
                  <a:lnTo>
                    <a:pt x="21" y="37"/>
                  </a:lnTo>
                  <a:lnTo>
                    <a:pt x="23" y="37"/>
                  </a:lnTo>
                  <a:lnTo>
                    <a:pt x="25" y="37"/>
                  </a:lnTo>
                  <a:lnTo>
                    <a:pt x="25" y="35"/>
                  </a:lnTo>
                  <a:lnTo>
                    <a:pt x="26" y="35"/>
                  </a:lnTo>
                  <a:lnTo>
                    <a:pt x="26" y="33"/>
                  </a:lnTo>
                  <a:lnTo>
                    <a:pt x="28" y="31"/>
                  </a:lnTo>
                  <a:lnTo>
                    <a:pt x="30" y="29"/>
                  </a:lnTo>
                  <a:lnTo>
                    <a:pt x="32" y="29"/>
                  </a:lnTo>
                  <a:lnTo>
                    <a:pt x="32" y="27"/>
                  </a:lnTo>
                  <a:lnTo>
                    <a:pt x="34" y="27"/>
                  </a:lnTo>
                  <a:lnTo>
                    <a:pt x="34" y="25"/>
                  </a:lnTo>
                  <a:lnTo>
                    <a:pt x="34" y="23"/>
                  </a:lnTo>
                  <a:lnTo>
                    <a:pt x="36" y="21"/>
                  </a:lnTo>
                  <a:lnTo>
                    <a:pt x="38" y="20"/>
                  </a:lnTo>
                  <a:lnTo>
                    <a:pt x="42" y="18"/>
                  </a:lnTo>
                  <a:lnTo>
                    <a:pt x="44" y="18"/>
                  </a:lnTo>
                  <a:lnTo>
                    <a:pt x="46" y="16"/>
                  </a:lnTo>
                  <a:lnTo>
                    <a:pt x="49" y="14"/>
                  </a:lnTo>
                  <a:lnTo>
                    <a:pt x="51" y="14"/>
                  </a:lnTo>
                  <a:lnTo>
                    <a:pt x="51" y="12"/>
                  </a:lnTo>
                  <a:lnTo>
                    <a:pt x="51" y="10"/>
                  </a:lnTo>
                  <a:lnTo>
                    <a:pt x="51" y="8"/>
                  </a:lnTo>
                  <a:lnTo>
                    <a:pt x="51" y="6"/>
                  </a:lnTo>
                  <a:lnTo>
                    <a:pt x="53" y="6"/>
                  </a:lnTo>
                  <a:lnTo>
                    <a:pt x="53" y="4"/>
                  </a:lnTo>
                  <a:lnTo>
                    <a:pt x="55" y="4"/>
                  </a:lnTo>
                  <a:lnTo>
                    <a:pt x="55" y="2"/>
                  </a:lnTo>
                  <a:lnTo>
                    <a:pt x="57" y="2"/>
                  </a:lnTo>
                  <a:lnTo>
                    <a:pt x="59" y="2"/>
                  </a:lnTo>
                  <a:lnTo>
                    <a:pt x="61" y="0"/>
                  </a:lnTo>
                  <a:lnTo>
                    <a:pt x="63" y="0"/>
                  </a:lnTo>
                  <a:lnTo>
                    <a:pt x="65" y="0"/>
                  </a:lnTo>
                  <a:lnTo>
                    <a:pt x="67" y="0"/>
                  </a:lnTo>
                  <a:lnTo>
                    <a:pt x="69" y="0"/>
                  </a:lnTo>
                  <a:lnTo>
                    <a:pt x="71" y="0"/>
                  </a:lnTo>
                  <a:lnTo>
                    <a:pt x="73" y="0"/>
                  </a:lnTo>
                  <a:lnTo>
                    <a:pt x="74"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7" name="Freeform 456">
              <a:extLst>
                <a:ext uri="{FF2B5EF4-FFF2-40B4-BE49-F238E27FC236}">
                  <a16:creationId xmlns:a16="http://schemas.microsoft.com/office/drawing/2014/main" id="{64AA3E3D-E6F2-4B59-9C6F-113B246D5BC0}"/>
                </a:ext>
              </a:extLst>
            </p:cNvPr>
            <p:cNvSpPr>
              <a:spLocks/>
            </p:cNvSpPr>
            <p:nvPr/>
          </p:nvSpPr>
          <p:spPr bwMode="gray">
            <a:xfrm>
              <a:off x="3604382" y="4514932"/>
              <a:ext cx="208484" cy="181504"/>
            </a:xfrm>
            <a:custGeom>
              <a:avLst/>
              <a:gdLst>
                <a:gd name="T0" fmla="*/ 165 w 170"/>
                <a:gd name="T1" fmla="*/ 21 h 148"/>
                <a:gd name="T2" fmla="*/ 167 w 170"/>
                <a:gd name="T3" fmla="*/ 29 h 148"/>
                <a:gd name="T4" fmla="*/ 169 w 170"/>
                <a:gd name="T5" fmla="*/ 36 h 148"/>
                <a:gd name="T6" fmla="*/ 167 w 170"/>
                <a:gd name="T7" fmla="*/ 44 h 148"/>
                <a:gd name="T8" fmla="*/ 165 w 170"/>
                <a:gd name="T9" fmla="*/ 56 h 148"/>
                <a:gd name="T10" fmla="*/ 167 w 170"/>
                <a:gd name="T11" fmla="*/ 63 h 148"/>
                <a:gd name="T12" fmla="*/ 161 w 170"/>
                <a:gd name="T13" fmla="*/ 67 h 148"/>
                <a:gd name="T14" fmla="*/ 161 w 170"/>
                <a:gd name="T15" fmla="*/ 73 h 148"/>
                <a:gd name="T16" fmla="*/ 155 w 170"/>
                <a:gd name="T17" fmla="*/ 81 h 148"/>
                <a:gd name="T18" fmla="*/ 159 w 170"/>
                <a:gd name="T19" fmla="*/ 82 h 148"/>
                <a:gd name="T20" fmla="*/ 163 w 170"/>
                <a:gd name="T21" fmla="*/ 84 h 148"/>
                <a:gd name="T22" fmla="*/ 153 w 170"/>
                <a:gd name="T23" fmla="*/ 90 h 148"/>
                <a:gd name="T24" fmla="*/ 142 w 170"/>
                <a:gd name="T25" fmla="*/ 94 h 148"/>
                <a:gd name="T26" fmla="*/ 132 w 170"/>
                <a:gd name="T27" fmla="*/ 98 h 148"/>
                <a:gd name="T28" fmla="*/ 121 w 170"/>
                <a:gd name="T29" fmla="*/ 102 h 148"/>
                <a:gd name="T30" fmla="*/ 121 w 170"/>
                <a:gd name="T31" fmla="*/ 111 h 148"/>
                <a:gd name="T32" fmla="*/ 107 w 170"/>
                <a:gd name="T33" fmla="*/ 113 h 148"/>
                <a:gd name="T34" fmla="*/ 99 w 170"/>
                <a:gd name="T35" fmla="*/ 119 h 148"/>
                <a:gd name="T36" fmla="*/ 90 w 170"/>
                <a:gd name="T37" fmla="*/ 129 h 148"/>
                <a:gd name="T38" fmla="*/ 80 w 170"/>
                <a:gd name="T39" fmla="*/ 140 h 148"/>
                <a:gd name="T40" fmla="*/ 71 w 170"/>
                <a:gd name="T41" fmla="*/ 148 h 148"/>
                <a:gd name="T42" fmla="*/ 59 w 170"/>
                <a:gd name="T43" fmla="*/ 146 h 148"/>
                <a:gd name="T44" fmla="*/ 53 w 170"/>
                <a:gd name="T45" fmla="*/ 146 h 148"/>
                <a:gd name="T46" fmla="*/ 46 w 170"/>
                <a:gd name="T47" fmla="*/ 144 h 148"/>
                <a:gd name="T48" fmla="*/ 40 w 170"/>
                <a:gd name="T49" fmla="*/ 140 h 148"/>
                <a:gd name="T50" fmla="*/ 26 w 170"/>
                <a:gd name="T51" fmla="*/ 140 h 148"/>
                <a:gd name="T52" fmla="*/ 17 w 170"/>
                <a:gd name="T53" fmla="*/ 138 h 148"/>
                <a:gd name="T54" fmla="*/ 9 w 170"/>
                <a:gd name="T55" fmla="*/ 132 h 148"/>
                <a:gd name="T56" fmla="*/ 3 w 170"/>
                <a:gd name="T57" fmla="*/ 125 h 148"/>
                <a:gd name="T58" fmla="*/ 0 w 170"/>
                <a:gd name="T59" fmla="*/ 100 h 148"/>
                <a:gd name="T60" fmla="*/ 0 w 170"/>
                <a:gd name="T61" fmla="*/ 71 h 148"/>
                <a:gd name="T62" fmla="*/ 28 w 170"/>
                <a:gd name="T63" fmla="*/ 71 h 148"/>
                <a:gd name="T64" fmla="*/ 30 w 170"/>
                <a:gd name="T65" fmla="*/ 63 h 148"/>
                <a:gd name="T66" fmla="*/ 28 w 170"/>
                <a:gd name="T67" fmla="*/ 52 h 148"/>
                <a:gd name="T68" fmla="*/ 30 w 170"/>
                <a:gd name="T69" fmla="*/ 44 h 148"/>
                <a:gd name="T70" fmla="*/ 34 w 170"/>
                <a:gd name="T71" fmla="*/ 42 h 148"/>
                <a:gd name="T72" fmla="*/ 38 w 170"/>
                <a:gd name="T73" fmla="*/ 48 h 148"/>
                <a:gd name="T74" fmla="*/ 48 w 170"/>
                <a:gd name="T75" fmla="*/ 44 h 148"/>
                <a:gd name="T76" fmla="*/ 50 w 170"/>
                <a:gd name="T77" fmla="*/ 52 h 148"/>
                <a:gd name="T78" fmla="*/ 57 w 170"/>
                <a:gd name="T79" fmla="*/ 54 h 148"/>
                <a:gd name="T80" fmla="*/ 65 w 170"/>
                <a:gd name="T81" fmla="*/ 56 h 148"/>
                <a:gd name="T82" fmla="*/ 73 w 170"/>
                <a:gd name="T83" fmla="*/ 50 h 148"/>
                <a:gd name="T84" fmla="*/ 80 w 170"/>
                <a:gd name="T85" fmla="*/ 56 h 148"/>
                <a:gd name="T86" fmla="*/ 86 w 170"/>
                <a:gd name="T87" fmla="*/ 59 h 148"/>
                <a:gd name="T88" fmla="*/ 92 w 170"/>
                <a:gd name="T89" fmla="*/ 63 h 148"/>
                <a:gd name="T90" fmla="*/ 96 w 170"/>
                <a:gd name="T91" fmla="*/ 69 h 148"/>
                <a:gd name="T92" fmla="*/ 101 w 170"/>
                <a:gd name="T93" fmla="*/ 77 h 148"/>
                <a:gd name="T94" fmla="*/ 109 w 170"/>
                <a:gd name="T95" fmla="*/ 77 h 148"/>
                <a:gd name="T96" fmla="*/ 113 w 170"/>
                <a:gd name="T97" fmla="*/ 79 h 148"/>
                <a:gd name="T98" fmla="*/ 111 w 170"/>
                <a:gd name="T99" fmla="*/ 59 h 148"/>
                <a:gd name="T100" fmla="*/ 107 w 170"/>
                <a:gd name="T101" fmla="*/ 61 h 148"/>
                <a:gd name="T102" fmla="*/ 99 w 170"/>
                <a:gd name="T103" fmla="*/ 59 h 148"/>
                <a:gd name="T104" fmla="*/ 94 w 170"/>
                <a:gd name="T105" fmla="*/ 52 h 148"/>
                <a:gd name="T106" fmla="*/ 94 w 170"/>
                <a:gd name="T107" fmla="*/ 42 h 148"/>
                <a:gd name="T108" fmla="*/ 97 w 170"/>
                <a:gd name="T109" fmla="*/ 36 h 148"/>
                <a:gd name="T110" fmla="*/ 96 w 170"/>
                <a:gd name="T111" fmla="*/ 29 h 148"/>
                <a:gd name="T112" fmla="*/ 96 w 170"/>
                <a:gd name="T113" fmla="*/ 19 h 148"/>
                <a:gd name="T114" fmla="*/ 105 w 170"/>
                <a:gd name="T115" fmla="*/ 4 h 148"/>
                <a:gd name="T116" fmla="*/ 121 w 170"/>
                <a:gd name="T117" fmla="*/ 2 h 148"/>
                <a:gd name="T118" fmla="*/ 136 w 170"/>
                <a:gd name="T119" fmla="*/ 6 h 148"/>
                <a:gd name="T120" fmla="*/ 142 w 170"/>
                <a:gd name="T121" fmla="*/ 9 h 148"/>
                <a:gd name="T122" fmla="*/ 153 w 170"/>
                <a:gd name="T123" fmla="*/ 1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 h="148">
                  <a:moveTo>
                    <a:pt x="161" y="17"/>
                  </a:moveTo>
                  <a:lnTo>
                    <a:pt x="159" y="17"/>
                  </a:lnTo>
                  <a:lnTo>
                    <a:pt x="159" y="19"/>
                  </a:lnTo>
                  <a:lnTo>
                    <a:pt x="161" y="19"/>
                  </a:lnTo>
                  <a:lnTo>
                    <a:pt x="161" y="21"/>
                  </a:lnTo>
                  <a:lnTo>
                    <a:pt x="163" y="21"/>
                  </a:lnTo>
                  <a:lnTo>
                    <a:pt x="165" y="21"/>
                  </a:lnTo>
                  <a:lnTo>
                    <a:pt x="165" y="23"/>
                  </a:lnTo>
                  <a:lnTo>
                    <a:pt x="165" y="25"/>
                  </a:lnTo>
                  <a:lnTo>
                    <a:pt x="167" y="25"/>
                  </a:lnTo>
                  <a:lnTo>
                    <a:pt x="167" y="27"/>
                  </a:lnTo>
                  <a:lnTo>
                    <a:pt x="165" y="27"/>
                  </a:lnTo>
                  <a:lnTo>
                    <a:pt x="165" y="29"/>
                  </a:lnTo>
                  <a:lnTo>
                    <a:pt x="167" y="29"/>
                  </a:lnTo>
                  <a:lnTo>
                    <a:pt x="169" y="29"/>
                  </a:lnTo>
                  <a:lnTo>
                    <a:pt x="169" y="31"/>
                  </a:lnTo>
                  <a:lnTo>
                    <a:pt x="169" y="33"/>
                  </a:lnTo>
                  <a:lnTo>
                    <a:pt x="170" y="33"/>
                  </a:lnTo>
                  <a:lnTo>
                    <a:pt x="170" y="34"/>
                  </a:lnTo>
                  <a:lnTo>
                    <a:pt x="170" y="36"/>
                  </a:lnTo>
                  <a:lnTo>
                    <a:pt x="169" y="36"/>
                  </a:lnTo>
                  <a:lnTo>
                    <a:pt x="169" y="38"/>
                  </a:lnTo>
                  <a:lnTo>
                    <a:pt x="167" y="38"/>
                  </a:lnTo>
                  <a:lnTo>
                    <a:pt x="165" y="38"/>
                  </a:lnTo>
                  <a:lnTo>
                    <a:pt x="165" y="40"/>
                  </a:lnTo>
                  <a:lnTo>
                    <a:pt x="165" y="42"/>
                  </a:lnTo>
                  <a:lnTo>
                    <a:pt x="167" y="42"/>
                  </a:lnTo>
                  <a:lnTo>
                    <a:pt x="167" y="44"/>
                  </a:lnTo>
                  <a:lnTo>
                    <a:pt x="167" y="46"/>
                  </a:lnTo>
                  <a:lnTo>
                    <a:pt x="165" y="46"/>
                  </a:lnTo>
                  <a:lnTo>
                    <a:pt x="165" y="48"/>
                  </a:lnTo>
                  <a:lnTo>
                    <a:pt x="165" y="50"/>
                  </a:lnTo>
                  <a:lnTo>
                    <a:pt x="165" y="52"/>
                  </a:lnTo>
                  <a:lnTo>
                    <a:pt x="165" y="54"/>
                  </a:lnTo>
                  <a:lnTo>
                    <a:pt x="165" y="56"/>
                  </a:lnTo>
                  <a:lnTo>
                    <a:pt x="165" y="58"/>
                  </a:lnTo>
                  <a:lnTo>
                    <a:pt x="165" y="59"/>
                  </a:lnTo>
                  <a:lnTo>
                    <a:pt x="165" y="61"/>
                  </a:lnTo>
                  <a:lnTo>
                    <a:pt x="167" y="61"/>
                  </a:lnTo>
                  <a:lnTo>
                    <a:pt x="169" y="61"/>
                  </a:lnTo>
                  <a:lnTo>
                    <a:pt x="169" y="63"/>
                  </a:lnTo>
                  <a:lnTo>
                    <a:pt x="167" y="63"/>
                  </a:lnTo>
                  <a:lnTo>
                    <a:pt x="169" y="63"/>
                  </a:lnTo>
                  <a:lnTo>
                    <a:pt x="167" y="63"/>
                  </a:lnTo>
                  <a:lnTo>
                    <a:pt x="167" y="65"/>
                  </a:lnTo>
                  <a:lnTo>
                    <a:pt x="165" y="65"/>
                  </a:lnTo>
                  <a:lnTo>
                    <a:pt x="163" y="65"/>
                  </a:lnTo>
                  <a:lnTo>
                    <a:pt x="161" y="65"/>
                  </a:lnTo>
                  <a:lnTo>
                    <a:pt x="161" y="67"/>
                  </a:lnTo>
                  <a:lnTo>
                    <a:pt x="159" y="67"/>
                  </a:lnTo>
                  <a:lnTo>
                    <a:pt x="159" y="69"/>
                  </a:lnTo>
                  <a:lnTo>
                    <a:pt x="161" y="69"/>
                  </a:lnTo>
                  <a:lnTo>
                    <a:pt x="159" y="69"/>
                  </a:lnTo>
                  <a:lnTo>
                    <a:pt x="161" y="69"/>
                  </a:lnTo>
                  <a:lnTo>
                    <a:pt x="161" y="71"/>
                  </a:lnTo>
                  <a:lnTo>
                    <a:pt x="161" y="73"/>
                  </a:lnTo>
                  <a:lnTo>
                    <a:pt x="161" y="75"/>
                  </a:lnTo>
                  <a:lnTo>
                    <a:pt x="159" y="75"/>
                  </a:lnTo>
                  <a:lnTo>
                    <a:pt x="159" y="77"/>
                  </a:lnTo>
                  <a:lnTo>
                    <a:pt x="159" y="79"/>
                  </a:lnTo>
                  <a:lnTo>
                    <a:pt x="157" y="79"/>
                  </a:lnTo>
                  <a:lnTo>
                    <a:pt x="157" y="81"/>
                  </a:lnTo>
                  <a:lnTo>
                    <a:pt x="155" y="81"/>
                  </a:lnTo>
                  <a:lnTo>
                    <a:pt x="157" y="81"/>
                  </a:lnTo>
                  <a:lnTo>
                    <a:pt x="157" y="82"/>
                  </a:lnTo>
                  <a:lnTo>
                    <a:pt x="159" y="82"/>
                  </a:lnTo>
                  <a:lnTo>
                    <a:pt x="157" y="82"/>
                  </a:lnTo>
                  <a:lnTo>
                    <a:pt x="157" y="84"/>
                  </a:lnTo>
                  <a:lnTo>
                    <a:pt x="157" y="82"/>
                  </a:lnTo>
                  <a:lnTo>
                    <a:pt x="159" y="82"/>
                  </a:lnTo>
                  <a:lnTo>
                    <a:pt x="159" y="84"/>
                  </a:lnTo>
                  <a:lnTo>
                    <a:pt x="159" y="86"/>
                  </a:lnTo>
                  <a:lnTo>
                    <a:pt x="161" y="86"/>
                  </a:lnTo>
                  <a:lnTo>
                    <a:pt x="161" y="88"/>
                  </a:lnTo>
                  <a:lnTo>
                    <a:pt x="161" y="86"/>
                  </a:lnTo>
                  <a:lnTo>
                    <a:pt x="163" y="86"/>
                  </a:lnTo>
                  <a:lnTo>
                    <a:pt x="163" y="84"/>
                  </a:lnTo>
                  <a:lnTo>
                    <a:pt x="163" y="86"/>
                  </a:lnTo>
                  <a:lnTo>
                    <a:pt x="165" y="86"/>
                  </a:lnTo>
                  <a:lnTo>
                    <a:pt x="161" y="88"/>
                  </a:lnTo>
                  <a:lnTo>
                    <a:pt x="159" y="88"/>
                  </a:lnTo>
                  <a:lnTo>
                    <a:pt x="157" y="88"/>
                  </a:lnTo>
                  <a:lnTo>
                    <a:pt x="155" y="90"/>
                  </a:lnTo>
                  <a:lnTo>
                    <a:pt x="153" y="90"/>
                  </a:lnTo>
                  <a:lnTo>
                    <a:pt x="151" y="90"/>
                  </a:lnTo>
                  <a:lnTo>
                    <a:pt x="151" y="92"/>
                  </a:lnTo>
                  <a:lnTo>
                    <a:pt x="149" y="92"/>
                  </a:lnTo>
                  <a:lnTo>
                    <a:pt x="147" y="92"/>
                  </a:lnTo>
                  <a:lnTo>
                    <a:pt x="145" y="92"/>
                  </a:lnTo>
                  <a:lnTo>
                    <a:pt x="144" y="94"/>
                  </a:lnTo>
                  <a:lnTo>
                    <a:pt x="142" y="94"/>
                  </a:lnTo>
                  <a:lnTo>
                    <a:pt x="140" y="94"/>
                  </a:lnTo>
                  <a:lnTo>
                    <a:pt x="140" y="96"/>
                  </a:lnTo>
                  <a:lnTo>
                    <a:pt x="138" y="96"/>
                  </a:lnTo>
                  <a:lnTo>
                    <a:pt x="136" y="96"/>
                  </a:lnTo>
                  <a:lnTo>
                    <a:pt x="134" y="96"/>
                  </a:lnTo>
                  <a:lnTo>
                    <a:pt x="134" y="98"/>
                  </a:lnTo>
                  <a:lnTo>
                    <a:pt x="132" y="98"/>
                  </a:lnTo>
                  <a:lnTo>
                    <a:pt x="130" y="98"/>
                  </a:lnTo>
                  <a:lnTo>
                    <a:pt x="128" y="98"/>
                  </a:lnTo>
                  <a:lnTo>
                    <a:pt x="126" y="100"/>
                  </a:lnTo>
                  <a:lnTo>
                    <a:pt x="124" y="100"/>
                  </a:lnTo>
                  <a:lnTo>
                    <a:pt x="122" y="100"/>
                  </a:lnTo>
                  <a:lnTo>
                    <a:pt x="122" y="102"/>
                  </a:lnTo>
                  <a:lnTo>
                    <a:pt x="121" y="102"/>
                  </a:lnTo>
                  <a:lnTo>
                    <a:pt x="121" y="104"/>
                  </a:lnTo>
                  <a:lnTo>
                    <a:pt x="121" y="106"/>
                  </a:lnTo>
                  <a:lnTo>
                    <a:pt x="122" y="106"/>
                  </a:lnTo>
                  <a:lnTo>
                    <a:pt x="122" y="107"/>
                  </a:lnTo>
                  <a:lnTo>
                    <a:pt x="122" y="109"/>
                  </a:lnTo>
                  <a:lnTo>
                    <a:pt x="122" y="111"/>
                  </a:lnTo>
                  <a:lnTo>
                    <a:pt x="121" y="111"/>
                  </a:lnTo>
                  <a:lnTo>
                    <a:pt x="119" y="111"/>
                  </a:lnTo>
                  <a:lnTo>
                    <a:pt x="117" y="111"/>
                  </a:lnTo>
                  <a:lnTo>
                    <a:pt x="115" y="111"/>
                  </a:lnTo>
                  <a:lnTo>
                    <a:pt x="113" y="111"/>
                  </a:lnTo>
                  <a:lnTo>
                    <a:pt x="111" y="111"/>
                  </a:lnTo>
                  <a:lnTo>
                    <a:pt x="109" y="111"/>
                  </a:lnTo>
                  <a:lnTo>
                    <a:pt x="107" y="113"/>
                  </a:lnTo>
                  <a:lnTo>
                    <a:pt x="105" y="113"/>
                  </a:lnTo>
                  <a:lnTo>
                    <a:pt x="103" y="113"/>
                  </a:lnTo>
                  <a:lnTo>
                    <a:pt x="103" y="115"/>
                  </a:lnTo>
                  <a:lnTo>
                    <a:pt x="101" y="115"/>
                  </a:lnTo>
                  <a:lnTo>
                    <a:pt x="101" y="117"/>
                  </a:lnTo>
                  <a:lnTo>
                    <a:pt x="99" y="117"/>
                  </a:lnTo>
                  <a:lnTo>
                    <a:pt x="99" y="119"/>
                  </a:lnTo>
                  <a:lnTo>
                    <a:pt x="99" y="121"/>
                  </a:lnTo>
                  <a:lnTo>
                    <a:pt x="99" y="123"/>
                  </a:lnTo>
                  <a:lnTo>
                    <a:pt x="99" y="125"/>
                  </a:lnTo>
                  <a:lnTo>
                    <a:pt x="97" y="125"/>
                  </a:lnTo>
                  <a:lnTo>
                    <a:pt x="94" y="127"/>
                  </a:lnTo>
                  <a:lnTo>
                    <a:pt x="92" y="129"/>
                  </a:lnTo>
                  <a:lnTo>
                    <a:pt x="90" y="129"/>
                  </a:lnTo>
                  <a:lnTo>
                    <a:pt x="86" y="131"/>
                  </a:lnTo>
                  <a:lnTo>
                    <a:pt x="84" y="132"/>
                  </a:lnTo>
                  <a:lnTo>
                    <a:pt x="82" y="134"/>
                  </a:lnTo>
                  <a:lnTo>
                    <a:pt x="82" y="136"/>
                  </a:lnTo>
                  <a:lnTo>
                    <a:pt x="82" y="138"/>
                  </a:lnTo>
                  <a:lnTo>
                    <a:pt x="80" y="138"/>
                  </a:lnTo>
                  <a:lnTo>
                    <a:pt x="80" y="140"/>
                  </a:lnTo>
                  <a:lnTo>
                    <a:pt x="78" y="140"/>
                  </a:lnTo>
                  <a:lnTo>
                    <a:pt x="76" y="142"/>
                  </a:lnTo>
                  <a:lnTo>
                    <a:pt x="74" y="144"/>
                  </a:lnTo>
                  <a:lnTo>
                    <a:pt x="74" y="146"/>
                  </a:lnTo>
                  <a:lnTo>
                    <a:pt x="73" y="146"/>
                  </a:lnTo>
                  <a:lnTo>
                    <a:pt x="73" y="148"/>
                  </a:lnTo>
                  <a:lnTo>
                    <a:pt x="71" y="148"/>
                  </a:lnTo>
                  <a:lnTo>
                    <a:pt x="69" y="148"/>
                  </a:lnTo>
                  <a:lnTo>
                    <a:pt x="67" y="148"/>
                  </a:lnTo>
                  <a:lnTo>
                    <a:pt x="65" y="148"/>
                  </a:lnTo>
                  <a:lnTo>
                    <a:pt x="65" y="146"/>
                  </a:lnTo>
                  <a:lnTo>
                    <a:pt x="63" y="146"/>
                  </a:lnTo>
                  <a:lnTo>
                    <a:pt x="61" y="146"/>
                  </a:lnTo>
                  <a:lnTo>
                    <a:pt x="59" y="146"/>
                  </a:lnTo>
                  <a:lnTo>
                    <a:pt x="59" y="148"/>
                  </a:lnTo>
                  <a:lnTo>
                    <a:pt x="57" y="148"/>
                  </a:lnTo>
                  <a:lnTo>
                    <a:pt x="55" y="148"/>
                  </a:lnTo>
                  <a:lnTo>
                    <a:pt x="55" y="146"/>
                  </a:lnTo>
                  <a:lnTo>
                    <a:pt x="53" y="146"/>
                  </a:lnTo>
                  <a:lnTo>
                    <a:pt x="53" y="144"/>
                  </a:lnTo>
                  <a:lnTo>
                    <a:pt x="53" y="146"/>
                  </a:lnTo>
                  <a:lnTo>
                    <a:pt x="51" y="146"/>
                  </a:lnTo>
                  <a:lnTo>
                    <a:pt x="50" y="146"/>
                  </a:lnTo>
                  <a:lnTo>
                    <a:pt x="50" y="144"/>
                  </a:lnTo>
                  <a:lnTo>
                    <a:pt x="50" y="146"/>
                  </a:lnTo>
                  <a:lnTo>
                    <a:pt x="48" y="146"/>
                  </a:lnTo>
                  <a:lnTo>
                    <a:pt x="48" y="144"/>
                  </a:lnTo>
                  <a:lnTo>
                    <a:pt x="46" y="144"/>
                  </a:lnTo>
                  <a:lnTo>
                    <a:pt x="46" y="142"/>
                  </a:lnTo>
                  <a:lnTo>
                    <a:pt x="44" y="142"/>
                  </a:lnTo>
                  <a:lnTo>
                    <a:pt x="44" y="140"/>
                  </a:lnTo>
                  <a:lnTo>
                    <a:pt x="44" y="142"/>
                  </a:lnTo>
                  <a:lnTo>
                    <a:pt x="44" y="140"/>
                  </a:lnTo>
                  <a:lnTo>
                    <a:pt x="42" y="140"/>
                  </a:lnTo>
                  <a:lnTo>
                    <a:pt x="40" y="140"/>
                  </a:lnTo>
                  <a:lnTo>
                    <a:pt x="38" y="140"/>
                  </a:lnTo>
                  <a:lnTo>
                    <a:pt x="36" y="140"/>
                  </a:lnTo>
                  <a:lnTo>
                    <a:pt x="34" y="140"/>
                  </a:lnTo>
                  <a:lnTo>
                    <a:pt x="32" y="140"/>
                  </a:lnTo>
                  <a:lnTo>
                    <a:pt x="30" y="140"/>
                  </a:lnTo>
                  <a:lnTo>
                    <a:pt x="28" y="140"/>
                  </a:lnTo>
                  <a:lnTo>
                    <a:pt x="26" y="140"/>
                  </a:lnTo>
                  <a:lnTo>
                    <a:pt x="25" y="140"/>
                  </a:lnTo>
                  <a:lnTo>
                    <a:pt x="23" y="142"/>
                  </a:lnTo>
                  <a:lnTo>
                    <a:pt x="21" y="142"/>
                  </a:lnTo>
                  <a:lnTo>
                    <a:pt x="21" y="140"/>
                  </a:lnTo>
                  <a:lnTo>
                    <a:pt x="19" y="140"/>
                  </a:lnTo>
                  <a:lnTo>
                    <a:pt x="17" y="140"/>
                  </a:lnTo>
                  <a:lnTo>
                    <a:pt x="17" y="138"/>
                  </a:lnTo>
                  <a:lnTo>
                    <a:pt x="15" y="138"/>
                  </a:lnTo>
                  <a:lnTo>
                    <a:pt x="15" y="136"/>
                  </a:lnTo>
                  <a:lnTo>
                    <a:pt x="13" y="136"/>
                  </a:lnTo>
                  <a:lnTo>
                    <a:pt x="13" y="134"/>
                  </a:lnTo>
                  <a:lnTo>
                    <a:pt x="11" y="134"/>
                  </a:lnTo>
                  <a:lnTo>
                    <a:pt x="11" y="132"/>
                  </a:lnTo>
                  <a:lnTo>
                    <a:pt x="9" y="132"/>
                  </a:lnTo>
                  <a:lnTo>
                    <a:pt x="9" y="131"/>
                  </a:lnTo>
                  <a:lnTo>
                    <a:pt x="7" y="131"/>
                  </a:lnTo>
                  <a:lnTo>
                    <a:pt x="7" y="129"/>
                  </a:lnTo>
                  <a:lnTo>
                    <a:pt x="5" y="129"/>
                  </a:lnTo>
                  <a:lnTo>
                    <a:pt x="5" y="127"/>
                  </a:lnTo>
                  <a:lnTo>
                    <a:pt x="3" y="127"/>
                  </a:lnTo>
                  <a:lnTo>
                    <a:pt x="3" y="125"/>
                  </a:lnTo>
                  <a:lnTo>
                    <a:pt x="2" y="125"/>
                  </a:lnTo>
                  <a:lnTo>
                    <a:pt x="2" y="123"/>
                  </a:lnTo>
                  <a:lnTo>
                    <a:pt x="2" y="121"/>
                  </a:lnTo>
                  <a:lnTo>
                    <a:pt x="0" y="121"/>
                  </a:lnTo>
                  <a:lnTo>
                    <a:pt x="0" y="119"/>
                  </a:lnTo>
                  <a:lnTo>
                    <a:pt x="0" y="102"/>
                  </a:lnTo>
                  <a:lnTo>
                    <a:pt x="0" y="100"/>
                  </a:lnTo>
                  <a:lnTo>
                    <a:pt x="0" y="98"/>
                  </a:lnTo>
                  <a:lnTo>
                    <a:pt x="0" y="94"/>
                  </a:lnTo>
                  <a:lnTo>
                    <a:pt x="0" y="86"/>
                  </a:lnTo>
                  <a:lnTo>
                    <a:pt x="0" y="82"/>
                  </a:lnTo>
                  <a:lnTo>
                    <a:pt x="0" y="81"/>
                  </a:lnTo>
                  <a:lnTo>
                    <a:pt x="0" y="79"/>
                  </a:lnTo>
                  <a:lnTo>
                    <a:pt x="0" y="71"/>
                  </a:lnTo>
                  <a:lnTo>
                    <a:pt x="9" y="71"/>
                  </a:lnTo>
                  <a:lnTo>
                    <a:pt x="11" y="71"/>
                  </a:lnTo>
                  <a:lnTo>
                    <a:pt x="15" y="71"/>
                  </a:lnTo>
                  <a:lnTo>
                    <a:pt x="23" y="71"/>
                  </a:lnTo>
                  <a:lnTo>
                    <a:pt x="28" y="71"/>
                  </a:lnTo>
                  <a:lnTo>
                    <a:pt x="30" y="71"/>
                  </a:lnTo>
                  <a:lnTo>
                    <a:pt x="28" y="71"/>
                  </a:lnTo>
                  <a:lnTo>
                    <a:pt x="28" y="69"/>
                  </a:lnTo>
                  <a:lnTo>
                    <a:pt x="26" y="69"/>
                  </a:lnTo>
                  <a:lnTo>
                    <a:pt x="28" y="69"/>
                  </a:lnTo>
                  <a:lnTo>
                    <a:pt x="28" y="67"/>
                  </a:lnTo>
                  <a:lnTo>
                    <a:pt x="28" y="65"/>
                  </a:lnTo>
                  <a:lnTo>
                    <a:pt x="28" y="63"/>
                  </a:lnTo>
                  <a:lnTo>
                    <a:pt x="30" y="63"/>
                  </a:lnTo>
                  <a:lnTo>
                    <a:pt x="30" y="61"/>
                  </a:lnTo>
                  <a:lnTo>
                    <a:pt x="30" y="59"/>
                  </a:lnTo>
                  <a:lnTo>
                    <a:pt x="28" y="59"/>
                  </a:lnTo>
                  <a:lnTo>
                    <a:pt x="28" y="58"/>
                  </a:lnTo>
                  <a:lnTo>
                    <a:pt x="28" y="56"/>
                  </a:lnTo>
                  <a:lnTo>
                    <a:pt x="28" y="54"/>
                  </a:lnTo>
                  <a:lnTo>
                    <a:pt x="28" y="52"/>
                  </a:lnTo>
                  <a:lnTo>
                    <a:pt x="28" y="50"/>
                  </a:lnTo>
                  <a:lnTo>
                    <a:pt x="30" y="50"/>
                  </a:lnTo>
                  <a:lnTo>
                    <a:pt x="28" y="50"/>
                  </a:lnTo>
                  <a:lnTo>
                    <a:pt x="28" y="48"/>
                  </a:lnTo>
                  <a:lnTo>
                    <a:pt x="30" y="48"/>
                  </a:lnTo>
                  <a:lnTo>
                    <a:pt x="30" y="46"/>
                  </a:lnTo>
                  <a:lnTo>
                    <a:pt x="30" y="44"/>
                  </a:lnTo>
                  <a:lnTo>
                    <a:pt x="28" y="44"/>
                  </a:lnTo>
                  <a:lnTo>
                    <a:pt x="28" y="42"/>
                  </a:lnTo>
                  <a:lnTo>
                    <a:pt x="28" y="40"/>
                  </a:lnTo>
                  <a:lnTo>
                    <a:pt x="30" y="40"/>
                  </a:lnTo>
                  <a:lnTo>
                    <a:pt x="30" y="42"/>
                  </a:lnTo>
                  <a:lnTo>
                    <a:pt x="32" y="42"/>
                  </a:lnTo>
                  <a:lnTo>
                    <a:pt x="34" y="42"/>
                  </a:lnTo>
                  <a:lnTo>
                    <a:pt x="34" y="44"/>
                  </a:lnTo>
                  <a:lnTo>
                    <a:pt x="34" y="46"/>
                  </a:lnTo>
                  <a:lnTo>
                    <a:pt x="34" y="48"/>
                  </a:lnTo>
                  <a:lnTo>
                    <a:pt x="32" y="48"/>
                  </a:lnTo>
                  <a:lnTo>
                    <a:pt x="34" y="48"/>
                  </a:lnTo>
                  <a:lnTo>
                    <a:pt x="36" y="48"/>
                  </a:lnTo>
                  <a:lnTo>
                    <a:pt x="38" y="48"/>
                  </a:lnTo>
                  <a:lnTo>
                    <a:pt x="38" y="46"/>
                  </a:lnTo>
                  <a:lnTo>
                    <a:pt x="40" y="46"/>
                  </a:lnTo>
                  <a:lnTo>
                    <a:pt x="42" y="46"/>
                  </a:lnTo>
                  <a:lnTo>
                    <a:pt x="44" y="46"/>
                  </a:lnTo>
                  <a:lnTo>
                    <a:pt x="46" y="46"/>
                  </a:lnTo>
                  <a:lnTo>
                    <a:pt x="46" y="44"/>
                  </a:lnTo>
                  <a:lnTo>
                    <a:pt x="48" y="44"/>
                  </a:lnTo>
                  <a:lnTo>
                    <a:pt x="50" y="44"/>
                  </a:lnTo>
                  <a:lnTo>
                    <a:pt x="48" y="44"/>
                  </a:lnTo>
                  <a:lnTo>
                    <a:pt x="48" y="46"/>
                  </a:lnTo>
                  <a:lnTo>
                    <a:pt x="48" y="48"/>
                  </a:lnTo>
                  <a:lnTo>
                    <a:pt x="48" y="50"/>
                  </a:lnTo>
                  <a:lnTo>
                    <a:pt x="48" y="52"/>
                  </a:lnTo>
                  <a:lnTo>
                    <a:pt x="50" y="52"/>
                  </a:lnTo>
                  <a:lnTo>
                    <a:pt x="51" y="52"/>
                  </a:lnTo>
                  <a:lnTo>
                    <a:pt x="51" y="54"/>
                  </a:lnTo>
                  <a:lnTo>
                    <a:pt x="51" y="52"/>
                  </a:lnTo>
                  <a:lnTo>
                    <a:pt x="53" y="52"/>
                  </a:lnTo>
                  <a:lnTo>
                    <a:pt x="53" y="54"/>
                  </a:lnTo>
                  <a:lnTo>
                    <a:pt x="55" y="54"/>
                  </a:lnTo>
                  <a:lnTo>
                    <a:pt x="57" y="54"/>
                  </a:lnTo>
                  <a:lnTo>
                    <a:pt x="57" y="56"/>
                  </a:lnTo>
                  <a:lnTo>
                    <a:pt x="57" y="54"/>
                  </a:lnTo>
                  <a:lnTo>
                    <a:pt x="57" y="56"/>
                  </a:lnTo>
                  <a:lnTo>
                    <a:pt x="59" y="56"/>
                  </a:lnTo>
                  <a:lnTo>
                    <a:pt x="61" y="56"/>
                  </a:lnTo>
                  <a:lnTo>
                    <a:pt x="63" y="56"/>
                  </a:lnTo>
                  <a:lnTo>
                    <a:pt x="65" y="56"/>
                  </a:lnTo>
                  <a:lnTo>
                    <a:pt x="67" y="56"/>
                  </a:lnTo>
                  <a:lnTo>
                    <a:pt x="69" y="56"/>
                  </a:lnTo>
                  <a:lnTo>
                    <a:pt x="71" y="56"/>
                  </a:lnTo>
                  <a:lnTo>
                    <a:pt x="73" y="56"/>
                  </a:lnTo>
                  <a:lnTo>
                    <a:pt x="73" y="54"/>
                  </a:lnTo>
                  <a:lnTo>
                    <a:pt x="73" y="52"/>
                  </a:lnTo>
                  <a:lnTo>
                    <a:pt x="73" y="50"/>
                  </a:lnTo>
                  <a:lnTo>
                    <a:pt x="74" y="50"/>
                  </a:lnTo>
                  <a:lnTo>
                    <a:pt x="76" y="50"/>
                  </a:lnTo>
                  <a:lnTo>
                    <a:pt x="76" y="52"/>
                  </a:lnTo>
                  <a:lnTo>
                    <a:pt x="76" y="54"/>
                  </a:lnTo>
                  <a:lnTo>
                    <a:pt x="78" y="54"/>
                  </a:lnTo>
                  <a:lnTo>
                    <a:pt x="78" y="56"/>
                  </a:lnTo>
                  <a:lnTo>
                    <a:pt x="80" y="56"/>
                  </a:lnTo>
                  <a:lnTo>
                    <a:pt x="80" y="58"/>
                  </a:lnTo>
                  <a:lnTo>
                    <a:pt x="80" y="59"/>
                  </a:lnTo>
                  <a:lnTo>
                    <a:pt x="82" y="59"/>
                  </a:lnTo>
                  <a:lnTo>
                    <a:pt x="82" y="61"/>
                  </a:lnTo>
                  <a:lnTo>
                    <a:pt x="84" y="61"/>
                  </a:lnTo>
                  <a:lnTo>
                    <a:pt x="84" y="59"/>
                  </a:lnTo>
                  <a:lnTo>
                    <a:pt x="86" y="59"/>
                  </a:lnTo>
                  <a:lnTo>
                    <a:pt x="86" y="61"/>
                  </a:lnTo>
                  <a:lnTo>
                    <a:pt x="88" y="61"/>
                  </a:lnTo>
                  <a:lnTo>
                    <a:pt x="90" y="61"/>
                  </a:lnTo>
                  <a:lnTo>
                    <a:pt x="90" y="63"/>
                  </a:lnTo>
                  <a:lnTo>
                    <a:pt x="90" y="61"/>
                  </a:lnTo>
                  <a:lnTo>
                    <a:pt x="90" y="63"/>
                  </a:lnTo>
                  <a:lnTo>
                    <a:pt x="92" y="63"/>
                  </a:lnTo>
                  <a:lnTo>
                    <a:pt x="94" y="63"/>
                  </a:lnTo>
                  <a:lnTo>
                    <a:pt x="94" y="65"/>
                  </a:lnTo>
                  <a:lnTo>
                    <a:pt x="96" y="65"/>
                  </a:lnTo>
                  <a:lnTo>
                    <a:pt x="96" y="67"/>
                  </a:lnTo>
                  <a:lnTo>
                    <a:pt x="94" y="67"/>
                  </a:lnTo>
                  <a:lnTo>
                    <a:pt x="96" y="67"/>
                  </a:lnTo>
                  <a:lnTo>
                    <a:pt x="96" y="69"/>
                  </a:lnTo>
                  <a:lnTo>
                    <a:pt x="97" y="69"/>
                  </a:lnTo>
                  <a:lnTo>
                    <a:pt x="97" y="71"/>
                  </a:lnTo>
                  <a:lnTo>
                    <a:pt x="99" y="71"/>
                  </a:lnTo>
                  <a:lnTo>
                    <a:pt x="99" y="73"/>
                  </a:lnTo>
                  <a:lnTo>
                    <a:pt x="101" y="73"/>
                  </a:lnTo>
                  <a:lnTo>
                    <a:pt x="101" y="75"/>
                  </a:lnTo>
                  <a:lnTo>
                    <a:pt x="101" y="77"/>
                  </a:lnTo>
                  <a:lnTo>
                    <a:pt x="101" y="79"/>
                  </a:lnTo>
                  <a:lnTo>
                    <a:pt x="103" y="77"/>
                  </a:lnTo>
                  <a:lnTo>
                    <a:pt x="105" y="77"/>
                  </a:lnTo>
                  <a:lnTo>
                    <a:pt x="105" y="79"/>
                  </a:lnTo>
                  <a:lnTo>
                    <a:pt x="105" y="77"/>
                  </a:lnTo>
                  <a:lnTo>
                    <a:pt x="107" y="77"/>
                  </a:lnTo>
                  <a:lnTo>
                    <a:pt x="109" y="77"/>
                  </a:lnTo>
                  <a:lnTo>
                    <a:pt x="109" y="75"/>
                  </a:lnTo>
                  <a:lnTo>
                    <a:pt x="111" y="75"/>
                  </a:lnTo>
                  <a:lnTo>
                    <a:pt x="113" y="75"/>
                  </a:lnTo>
                  <a:lnTo>
                    <a:pt x="111" y="75"/>
                  </a:lnTo>
                  <a:lnTo>
                    <a:pt x="111" y="77"/>
                  </a:lnTo>
                  <a:lnTo>
                    <a:pt x="111" y="79"/>
                  </a:lnTo>
                  <a:lnTo>
                    <a:pt x="113" y="79"/>
                  </a:lnTo>
                  <a:lnTo>
                    <a:pt x="115" y="79"/>
                  </a:lnTo>
                  <a:lnTo>
                    <a:pt x="115" y="73"/>
                  </a:lnTo>
                  <a:lnTo>
                    <a:pt x="115" y="69"/>
                  </a:lnTo>
                  <a:lnTo>
                    <a:pt x="115" y="61"/>
                  </a:lnTo>
                  <a:lnTo>
                    <a:pt x="115" y="59"/>
                  </a:lnTo>
                  <a:lnTo>
                    <a:pt x="113" y="59"/>
                  </a:lnTo>
                  <a:lnTo>
                    <a:pt x="111" y="59"/>
                  </a:lnTo>
                  <a:lnTo>
                    <a:pt x="109" y="59"/>
                  </a:lnTo>
                  <a:lnTo>
                    <a:pt x="109" y="61"/>
                  </a:lnTo>
                  <a:lnTo>
                    <a:pt x="109" y="63"/>
                  </a:lnTo>
                  <a:lnTo>
                    <a:pt x="109" y="61"/>
                  </a:lnTo>
                  <a:lnTo>
                    <a:pt x="109" y="63"/>
                  </a:lnTo>
                  <a:lnTo>
                    <a:pt x="107" y="63"/>
                  </a:lnTo>
                  <a:lnTo>
                    <a:pt x="107" y="61"/>
                  </a:lnTo>
                  <a:lnTo>
                    <a:pt x="105" y="61"/>
                  </a:lnTo>
                  <a:lnTo>
                    <a:pt x="103" y="61"/>
                  </a:lnTo>
                  <a:lnTo>
                    <a:pt x="103" y="63"/>
                  </a:lnTo>
                  <a:lnTo>
                    <a:pt x="103" y="61"/>
                  </a:lnTo>
                  <a:lnTo>
                    <a:pt x="101" y="61"/>
                  </a:lnTo>
                  <a:lnTo>
                    <a:pt x="101" y="59"/>
                  </a:lnTo>
                  <a:lnTo>
                    <a:pt x="99" y="59"/>
                  </a:lnTo>
                  <a:lnTo>
                    <a:pt x="99" y="58"/>
                  </a:lnTo>
                  <a:lnTo>
                    <a:pt x="99" y="56"/>
                  </a:lnTo>
                  <a:lnTo>
                    <a:pt x="97" y="56"/>
                  </a:lnTo>
                  <a:lnTo>
                    <a:pt x="96" y="56"/>
                  </a:lnTo>
                  <a:lnTo>
                    <a:pt x="96" y="54"/>
                  </a:lnTo>
                  <a:lnTo>
                    <a:pt x="94" y="54"/>
                  </a:lnTo>
                  <a:lnTo>
                    <a:pt x="94" y="52"/>
                  </a:lnTo>
                  <a:lnTo>
                    <a:pt x="94" y="50"/>
                  </a:lnTo>
                  <a:lnTo>
                    <a:pt x="94" y="48"/>
                  </a:lnTo>
                  <a:lnTo>
                    <a:pt x="94" y="46"/>
                  </a:lnTo>
                  <a:lnTo>
                    <a:pt x="94" y="44"/>
                  </a:lnTo>
                  <a:lnTo>
                    <a:pt x="96" y="44"/>
                  </a:lnTo>
                  <a:lnTo>
                    <a:pt x="94" y="44"/>
                  </a:lnTo>
                  <a:lnTo>
                    <a:pt x="94" y="42"/>
                  </a:lnTo>
                  <a:lnTo>
                    <a:pt x="96" y="42"/>
                  </a:lnTo>
                  <a:lnTo>
                    <a:pt x="96" y="40"/>
                  </a:lnTo>
                  <a:lnTo>
                    <a:pt x="96" y="38"/>
                  </a:lnTo>
                  <a:lnTo>
                    <a:pt x="96" y="36"/>
                  </a:lnTo>
                  <a:lnTo>
                    <a:pt x="97" y="36"/>
                  </a:lnTo>
                  <a:lnTo>
                    <a:pt x="97" y="38"/>
                  </a:lnTo>
                  <a:lnTo>
                    <a:pt x="97" y="36"/>
                  </a:lnTo>
                  <a:lnTo>
                    <a:pt x="97" y="34"/>
                  </a:lnTo>
                  <a:lnTo>
                    <a:pt x="97" y="33"/>
                  </a:lnTo>
                  <a:lnTo>
                    <a:pt x="96" y="33"/>
                  </a:lnTo>
                  <a:lnTo>
                    <a:pt x="97" y="33"/>
                  </a:lnTo>
                  <a:lnTo>
                    <a:pt x="97" y="31"/>
                  </a:lnTo>
                  <a:lnTo>
                    <a:pt x="96" y="31"/>
                  </a:lnTo>
                  <a:lnTo>
                    <a:pt x="96" y="29"/>
                  </a:lnTo>
                  <a:lnTo>
                    <a:pt x="97" y="29"/>
                  </a:lnTo>
                  <a:lnTo>
                    <a:pt x="97" y="27"/>
                  </a:lnTo>
                  <a:lnTo>
                    <a:pt x="97" y="25"/>
                  </a:lnTo>
                  <a:lnTo>
                    <a:pt x="97" y="23"/>
                  </a:lnTo>
                  <a:lnTo>
                    <a:pt x="97" y="21"/>
                  </a:lnTo>
                  <a:lnTo>
                    <a:pt x="97" y="19"/>
                  </a:lnTo>
                  <a:lnTo>
                    <a:pt x="96" y="19"/>
                  </a:lnTo>
                  <a:lnTo>
                    <a:pt x="96" y="17"/>
                  </a:lnTo>
                  <a:lnTo>
                    <a:pt x="96" y="15"/>
                  </a:lnTo>
                  <a:lnTo>
                    <a:pt x="97" y="13"/>
                  </a:lnTo>
                  <a:lnTo>
                    <a:pt x="101" y="8"/>
                  </a:lnTo>
                  <a:lnTo>
                    <a:pt x="101" y="4"/>
                  </a:lnTo>
                  <a:lnTo>
                    <a:pt x="103" y="4"/>
                  </a:lnTo>
                  <a:lnTo>
                    <a:pt x="105" y="4"/>
                  </a:lnTo>
                  <a:lnTo>
                    <a:pt x="107" y="4"/>
                  </a:lnTo>
                  <a:lnTo>
                    <a:pt x="109" y="2"/>
                  </a:lnTo>
                  <a:lnTo>
                    <a:pt x="111" y="2"/>
                  </a:lnTo>
                  <a:lnTo>
                    <a:pt x="113" y="2"/>
                  </a:lnTo>
                  <a:lnTo>
                    <a:pt x="115" y="2"/>
                  </a:lnTo>
                  <a:lnTo>
                    <a:pt x="117" y="2"/>
                  </a:lnTo>
                  <a:lnTo>
                    <a:pt x="121" y="2"/>
                  </a:lnTo>
                  <a:lnTo>
                    <a:pt x="124" y="0"/>
                  </a:lnTo>
                  <a:lnTo>
                    <a:pt x="128" y="0"/>
                  </a:lnTo>
                  <a:lnTo>
                    <a:pt x="130" y="2"/>
                  </a:lnTo>
                  <a:lnTo>
                    <a:pt x="130" y="4"/>
                  </a:lnTo>
                  <a:lnTo>
                    <a:pt x="132" y="6"/>
                  </a:lnTo>
                  <a:lnTo>
                    <a:pt x="134" y="6"/>
                  </a:lnTo>
                  <a:lnTo>
                    <a:pt x="136" y="6"/>
                  </a:lnTo>
                  <a:lnTo>
                    <a:pt x="138" y="6"/>
                  </a:lnTo>
                  <a:lnTo>
                    <a:pt x="138" y="8"/>
                  </a:lnTo>
                  <a:lnTo>
                    <a:pt x="140" y="8"/>
                  </a:lnTo>
                  <a:lnTo>
                    <a:pt x="140" y="9"/>
                  </a:lnTo>
                  <a:lnTo>
                    <a:pt x="142" y="9"/>
                  </a:lnTo>
                  <a:lnTo>
                    <a:pt x="142" y="11"/>
                  </a:lnTo>
                  <a:lnTo>
                    <a:pt x="142" y="9"/>
                  </a:lnTo>
                  <a:lnTo>
                    <a:pt x="144" y="9"/>
                  </a:lnTo>
                  <a:lnTo>
                    <a:pt x="145" y="11"/>
                  </a:lnTo>
                  <a:lnTo>
                    <a:pt x="145" y="13"/>
                  </a:lnTo>
                  <a:lnTo>
                    <a:pt x="147" y="13"/>
                  </a:lnTo>
                  <a:lnTo>
                    <a:pt x="149" y="13"/>
                  </a:lnTo>
                  <a:lnTo>
                    <a:pt x="151" y="13"/>
                  </a:lnTo>
                  <a:lnTo>
                    <a:pt x="153" y="13"/>
                  </a:lnTo>
                  <a:lnTo>
                    <a:pt x="153" y="15"/>
                  </a:lnTo>
                  <a:lnTo>
                    <a:pt x="155" y="15"/>
                  </a:lnTo>
                  <a:lnTo>
                    <a:pt x="157" y="15"/>
                  </a:lnTo>
                  <a:lnTo>
                    <a:pt x="157" y="17"/>
                  </a:lnTo>
                  <a:lnTo>
                    <a:pt x="159" y="17"/>
                  </a:lnTo>
                  <a:lnTo>
                    <a:pt x="161" y="17"/>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8" name="Freeform 457">
              <a:extLst>
                <a:ext uri="{FF2B5EF4-FFF2-40B4-BE49-F238E27FC236}">
                  <a16:creationId xmlns:a16="http://schemas.microsoft.com/office/drawing/2014/main" id="{C51D4E44-6D84-439C-901A-D0DE079F9D34}"/>
                </a:ext>
              </a:extLst>
            </p:cNvPr>
            <p:cNvSpPr>
              <a:spLocks/>
            </p:cNvSpPr>
            <p:nvPr/>
          </p:nvSpPr>
          <p:spPr bwMode="gray">
            <a:xfrm>
              <a:off x="3794470" y="4535780"/>
              <a:ext cx="58866" cy="143486"/>
            </a:xfrm>
            <a:custGeom>
              <a:avLst/>
              <a:gdLst>
                <a:gd name="T0" fmla="*/ 29 w 48"/>
                <a:gd name="T1" fmla="*/ 39 h 117"/>
                <a:gd name="T2" fmla="*/ 27 w 48"/>
                <a:gd name="T3" fmla="*/ 46 h 117"/>
                <a:gd name="T4" fmla="*/ 29 w 48"/>
                <a:gd name="T5" fmla="*/ 54 h 117"/>
                <a:gd name="T6" fmla="*/ 27 w 48"/>
                <a:gd name="T7" fmla="*/ 60 h 117"/>
                <a:gd name="T8" fmla="*/ 35 w 48"/>
                <a:gd name="T9" fmla="*/ 64 h 117"/>
                <a:gd name="T10" fmla="*/ 40 w 48"/>
                <a:gd name="T11" fmla="*/ 69 h 117"/>
                <a:gd name="T12" fmla="*/ 44 w 48"/>
                <a:gd name="T13" fmla="*/ 75 h 117"/>
                <a:gd name="T14" fmla="*/ 48 w 48"/>
                <a:gd name="T15" fmla="*/ 79 h 117"/>
                <a:gd name="T16" fmla="*/ 46 w 48"/>
                <a:gd name="T17" fmla="*/ 87 h 117"/>
                <a:gd name="T18" fmla="*/ 46 w 48"/>
                <a:gd name="T19" fmla="*/ 94 h 117"/>
                <a:gd name="T20" fmla="*/ 46 w 48"/>
                <a:gd name="T21" fmla="*/ 102 h 117"/>
                <a:gd name="T22" fmla="*/ 40 w 48"/>
                <a:gd name="T23" fmla="*/ 104 h 117"/>
                <a:gd name="T24" fmla="*/ 37 w 48"/>
                <a:gd name="T25" fmla="*/ 108 h 117"/>
                <a:gd name="T26" fmla="*/ 40 w 48"/>
                <a:gd name="T27" fmla="*/ 112 h 117"/>
                <a:gd name="T28" fmla="*/ 38 w 48"/>
                <a:gd name="T29" fmla="*/ 115 h 117"/>
                <a:gd name="T30" fmla="*/ 37 w 48"/>
                <a:gd name="T31" fmla="*/ 114 h 117"/>
                <a:gd name="T32" fmla="*/ 33 w 48"/>
                <a:gd name="T33" fmla="*/ 110 h 117"/>
                <a:gd name="T34" fmla="*/ 29 w 48"/>
                <a:gd name="T35" fmla="*/ 106 h 117"/>
                <a:gd name="T36" fmla="*/ 25 w 48"/>
                <a:gd name="T37" fmla="*/ 102 h 117"/>
                <a:gd name="T38" fmla="*/ 25 w 48"/>
                <a:gd name="T39" fmla="*/ 98 h 117"/>
                <a:gd name="T40" fmla="*/ 25 w 48"/>
                <a:gd name="T41" fmla="*/ 94 h 117"/>
                <a:gd name="T42" fmla="*/ 29 w 48"/>
                <a:gd name="T43" fmla="*/ 90 h 117"/>
                <a:gd name="T44" fmla="*/ 29 w 48"/>
                <a:gd name="T45" fmla="*/ 83 h 117"/>
                <a:gd name="T46" fmla="*/ 29 w 48"/>
                <a:gd name="T47" fmla="*/ 79 h 117"/>
                <a:gd name="T48" fmla="*/ 25 w 48"/>
                <a:gd name="T49" fmla="*/ 75 h 117"/>
                <a:gd name="T50" fmla="*/ 19 w 48"/>
                <a:gd name="T51" fmla="*/ 77 h 117"/>
                <a:gd name="T52" fmla="*/ 15 w 48"/>
                <a:gd name="T53" fmla="*/ 77 h 117"/>
                <a:gd name="T54" fmla="*/ 12 w 48"/>
                <a:gd name="T55" fmla="*/ 73 h 117"/>
                <a:gd name="T56" fmla="*/ 8 w 48"/>
                <a:gd name="T57" fmla="*/ 69 h 117"/>
                <a:gd name="T58" fmla="*/ 6 w 48"/>
                <a:gd name="T59" fmla="*/ 71 h 117"/>
                <a:gd name="T60" fmla="*/ 4 w 48"/>
                <a:gd name="T61" fmla="*/ 65 h 117"/>
                <a:gd name="T62" fmla="*/ 4 w 48"/>
                <a:gd name="T63" fmla="*/ 65 h 117"/>
                <a:gd name="T64" fmla="*/ 2 w 48"/>
                <a:gd name="T65" fmla="*/ 64 h 117"/>
                <a:gd name="T66" fmla="*/ 4 w 48"/>
                <a:gd name="T67" fmla="*/ 58 h 117"/>
                <a:gd name="T68" fmla="*/ 6 w 48"/>
                <a:gd name="T69" fmla="*/ 52 h 117"/>
                <a:gd name="T70" fmla="*/ 4 w 48"/>
                <a:gd name="T71" fmla="*/ 50 h 117"/>
                <a:gd name="T72" fmla="*/ 10 w 48"/>
                <a:gd name="T73" fmla="*/ 48 h 117"/>
                <a:gd name="T74" fmla="*/ 12 w 48"/>
                <a:gd name="T75" fmla="*/ 46 h 117"/>
                <a:gd name="T76" fmla="*/ 10 w 48"/>
                <a:gd name="T77" fmla="*/ 44 h 117"/>
                <a:gd name="T78" fmla="*/ 10 w 48"/>
                <a:gd name="T79" fmla="*/ 37 h 117"/>
                <a:gd name="T80" fmla="*/ 10 w 48"/>
                <a:gd name="T81" fmla="*/ 29 h 117"/>
                <a:gd name="T82" fmla="*/ 10 w 48"/>
                <a:gd name="T83" fmla="*/ 25 h 117"/>
                <a:gd name="T84" fmla="*/ 14 w 48"/>
                <a:gd name="T85" fmla="*/ 21 h 117"/>
                <a:gd name="T86" fmla="*/ 15 w 48"/>
                <a:gd name="T87" fmla="*/ 16 h 117"/>
                <a:gd name="T88" fmla="*/ 12 w 48"/>
                <a:gd name="T89" fmla="*/ 12 h 117"/>
                <a:gd name="T90" fmla="*/ 12 w 48"/>
                <a:gd name="T91" fmla="*/ 8 h 117"/>
                <a:gd name="T92" fmla="*/ 8 w 48"/>
                <a:gd name="T93" fmla="*/ 4 h 117"/>
                <a:gd name="T94" fmla="*/ 4 w 48"/>
                <a:gd name="T95" fmla="*/ 0 h 117"/>
                <a:gd name="T96" fmla="*/ 10 w 48"/>
                <a:gd name="T97" fmla="*/ 2 h 117"/>
                <a:gd name="T98" fmla="*/ 15 w 48"/>
                <a:gd name="T99" fmla="*/ 4 h 117"/>
                <a:gd name="T100" fmla="*/ 19 w 48"/>
                <a:gd name="T101" fmla="*/ 4 h 117"/>
                <a:gd name="T102" fmla="*/ 23 w 48"/>
                <a:gd name="T103" fmla="*/ 4 h 117"/>
                <a:gd name="T104" fmla="*/ 27 w 48"/>
                <a:gd name="T105" fmla="*/ 8 h 117"/>
                <a:gd name="T106" fmla="*/ 27 w 48"/>
                <a:gd name="T107" fmla="*/ 12 h 117"/>
                <a:gd name="T108" fmla="*/ 29 w 48"/>
                <a:gd name="T109" fmla="*/ 14 h 117"/>
                <a:gd name="T110" fmla="*/ 31 w 48"/>
                <a:gd name="T111" fmla="*/ 19 h 117"/>
                <a:gd name="T112" fmla="*/ 29 w 48"/>
                <a:gd name="T113" fmla="*/ 23 h 117"/>
                <a:gd name="T114" fmla="*/ 31 w 48"/>
                <a:gd name="T115" fmla="*/ 29 h 117"/>
                <a:gd name="T116" fmla="*/ 31 w 48"/>
                <a:gd name="T117" fmla="*/ 29 h 117"/>
                <a:gd name="T118" fmla="*/ 35 w 48"/>
                <a:gd name="T119" fmla="*/ 3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117">
                  <a:moveTo>
                    <a:pt x="35" y="33"/>
                  </a:moveTo>
                  <a:lnTo>
                    <a:pt x="29" y="33"/>
                  </a:lnTo>
                  <a:lnTo>
                    <a:pt x="29" y="35"/>
                  </a:lnTo>
                  <a:lnTo>
                    <a:pt x="29" y="39"/>
                  </a:lnTo>
                  <a:lnTo>
                    <a:pt x="27" y="41"/>
                  </a:lnTo>
                  <a:lnTo>
                    <a:pt x="27" y="42"/>
                  </a:lnTo>
                  <a:lnTo>
                    <a:pt x="27" y="44"/>
                  </a:lnTo>
                  <a:lnTo>
                    <a:pt x="27" y="46"/>
                  </a:lnTo>
                  <a:lnTo>
                    <a:pt x="27" y="48"/>
                  </a:lnTo>
                  <a:lnTo>
                    <a:pt x="27" y="50"/>
                  </a:lnTo>
                  <a:lnTo>
                    <a:pt x="27" y="52"/>
                  </a:lnTo>
                  <a:lnTo>
                    <a:pt x="29" y="54"/>
                  </a:lnTo>
                  <a:lnTo>
                    <a:pt x="29" y="56"/>
                  </a:lnTo>
                  <a:lnTo>
                    <a:pt x="29" y="58"/>
                  </a:lnTo>
                  <a:lnTo>
                    <a:pt x="29" y="60"/>
                  </a:lnTo>
                  <a:lnTo>
                    <a:pt x="27" y="60"/>
                  </a:lnTo>
                  <a:lnTo>
                    <a:pt x="29" y="60"/>
                  </a:lnTo>
                  <a:lnTo>
                    <a:pt x="29" y="62"/>
                  </a:lnTo>
                  <a:lnTo>
                    <a:pt x="33" y="62"/>
                  </a:lnTo>
                  <a:lnTo>
                    <a:pt x="35" y="64"/>
                  </a:lnTo>
                  <a:lnTo>
                    <a:pt x="37" y="65"/>
                  </a:lnTo>
                  <a:lnTo>
                    <a:pt x="38" y="67"/>
                  </a:lnTo>
                  <a:lnTo>
                    <a:pt x="38" y="69"/>
                  </a:lnTo>
                  <a:lnTo>
                    <a:pt x="40" y="69"/>
                  </a:lnTo>
                  <a:lnTo>
                    <a:pt x="40" y="71"/>
                  </a:lnTo>
                  <a:lnTo>
                    <a:pt x="42" y="71"/>
                  </a:lnTo>
                  <a:lnTo>
                    <a:pt x="42" y="73"/>
                  </a:lnTo>
                  <a:lnTo>
                    <a:pt x="44" y="75"/>
                  </a:lnTo>
                  <a:lnTo>
                    <a:pt x="44" y="77"/>
                  </a:lnTo>
                  <a:lnTo>
                    <a:pt x="46" y="77"/>
                  </a:lnTo>
                  <a:lnTo>
                    <a:pt x="46" y="79"/>
                  </a:lnTo>
                  <a:lnTo>
                    <a:pt x="48" y="79"/>
                  </a:lnTo>
                  <a:lnTo>
                    <a:pt x="48" y="81"/>
                  </a:lnTo>
                  <a:lnTo>
                    <a:pt x="48" y="83"/>
                  </a:lnTo>
                  <a:lnTo>
                    <a:pt x="48" y="85"/>
                  </a:lnTo>
                  <a:lnTo>
                    <a:pt x="46" y="87"/>
                  </a:lnTo>
                  <a:lnTo>
                    <a:pt x="46" y="89"/>
                  </a:lnTo>
                  <a:lnTo>
                    <a:pt x="48" y="90"/>
                  </a:lnTo>
                  <a:lnTo>
                    <a:pt x="48" y="92"/>
                  </a:lnTo>
                  <a:lnTo>
                    <a:pt x="46" y="94"/>
                  </a:lnTo>
                  <a:lnTo>
                    <a:pt x="46" y="96"/>
                  </a:lnTo>
                  <a:lnTo>
                    <a:pt x="46" y="98"/>
                  </a:lnTo>
                  <a:lnTo>
                    <a:pt x="46" y="100"/>
                  </a:lnTo>
                  <a:lnTo>
                    <a:pt x="46" y="102"/>
                  </a:lnTo>
                  <a:lnTo>
                    <a:pt x="44" y="102"/>
                  </a:lnTo>
                  <a:lnTo>
                    <a:pt x="42" y="102"/>
                  </a:lnTo>
                  <a:lnTo>
                    <a:pt x="40" y="102"/>
                  </a:lnTo>
                  <a:lnTo>
                    <a:pt x="40" y="104"/>
                  </a:lnTo>
                  <a:lnTo>
                    <a:pt x="38" y="104"/>
                  </a:lnTo>
                  <a:lnTo>
                    <a:pt x="38" y="106"/>
                  </a:lnTo>
                  <a:lnTo>
                    <a:pt x="38" y="108"/>
                  </a:lnTo>
                  <a:lnTo>
                    <a:pt x="37" y="108"/>
                  </a:lnTo>
                  <a:lnTo>
                    <a:pt x="37" y="110"/>
                  </a:lnTo>
                  <a:lnTo>
                    <a:pt x="38" y="110"/>
                  </a:lnTo>
                  <a:lnTo>
                    <a:pt x="38" y="112"/>
                  </a:lnTo>
                  <a:lnTo>
                    <a:pt x="40" y="112"/>
                  </a:lnTo>
                  <a:lnTo>
                    <a:pt x="38" y="114"/>
                  </a:lnTo>
                  <a:lnTo>
                    <a:pt x="38" y="115"/>
                  </a:lnTo>
                  <a:lnTo>
                    <a:pt x="40" y="115"/>
                  </a:lnTo>
                  <a:lnTo>
                    <a:pt x="38" y="115"/>
                  </a:lnTo>
                  <a:lnTo>
                    <a:pt x="38" y="117"/>
                  </a:lnTo>
                  <a:lnTo>
                    <a:pt x="37" y="117"/>
                  </a:lnTo>
                  <a:lnTo>
                    <a:pt x="37" y="115"/>
                  </a:lnTo>
                  <a:lnTo>
                    <a:pt x="37" y="114"/>
                  </a:lnTo>
                  <a:lnTo>
                    <a:pt x="37" y="112"/>
                  </a:lnTo>
                  <a:lnTo>
                    <a:pt x="35" y="112"/>
                  </a:lnTo>
                  <a:lnTo>
                    <a:pt x="33" y="112"/>
                  </a:lnTo>
                  <a:lnTo>
                    <a:pt x="33" y="110"/>
                  </a:lnTo>
                  <a:lnTo>
                    <a:pt x="31" y="110"/>
                  </a:lnTo>
                  <a:lnTo>
                    <a:pt x="31" y="108"/>
                  </a:lnTo>
                  <a:lnTo>
                    <a:pt x="31" y="106"/>
                  </a:lnTo>
                  <a:lnTo>
                    <a:pt x="29" y="106"/>
                  </a:lnTo>
                  <a:lnTo>
                    <a:pt x="29" y="104"/>
                  </a:lnTo>
                  <a:lnTo>
                    <a:pt x="27" y="104"/>
                  </a:lnTo>
                  <a:lnTo>
                    <a:pt x="27" y="102"/>
                  </a:lnTo>
                  <a:lnTo>
                    <a:pt x="25" y="102"/>
                  </a:lnTo>
                  <a:lnTo>
                    <a:pt x="27" y="102"/>
                  </a:lnTo>
                  <a:lnTo>
                    <a:pt x="27" y="100"/>
                  </a:lnTo>
                  <a:lnTo>
                    <a:pt x="25" y="100"/>
                  </a:lnTo>
                  <a:lnTo>
                    <a:pt x="25" y="98"/>
                  </a:lnTo>
                  <a:lnTo>
                    <a:pt x="23" y="98"/>
                  </a:lnTo>
                  <a:lnTo>
                    <a:pt x="23" y="96"/>
                  </a:lnTo>
                  <a:lnTo>
                    <a:pt x="25" y="96"/>
                  </a:lnTo>
                  <a:lnTo>
                    <a:pt x="25" y="94"/>
                  </a:lnTo>
                  <a:lnTo>
                    <a:pt x="27" y="94"/>
                  </a:lnTo>
                  <a:lnTo>
                    <a:pt x="27" y="92"/>
                  </a:lnTo>
                  <a:lnTo>
                    <a:pt x="27" y="90"/>
                  </a:lnTo>
                  <a:lnTo>
                    <a:pt x="29" y="90"/>
                  </a:lnTo>
                  <a:lnTo>
                    <a:pt x="29" y="89"/>
                  </a:lnTo>
                  <a:lnTo>
                    <a:pt x="29" y="87"/>
                  </a:lnTo>
                  <a:lnTo>
                    <a:pt x="29" y="85"/>
                  </a:lnTo>
                  <a:lnTo>
                    <a:pt x="29" y="83"/>
                  </a:lnTo>
                  <a:lnTo>
                    <a:pt x="29" y="81"/>
                  </a:lnTo>
                  <a:lnTo>
                    <a:pt x="27" y="81"/>
                  </a:lnTo>
                  <a:lnTo>
                    <a:pt x="27" y="79"/>
                  </a:lnTo>
                  <a:lnTo>
                    <a:pt x="29" y="79"/>
                  </a:lnTo>
                  <a:lnTo>
                    <a:pt x="27" y="79"/>
                  </a:lnTo>
                  <a:lnTo>
                    <a:pt x="27" y="77"/>
                  </a:lnTo>
                  <a:lnTo>
                    <a:pt x="27" y="75"/>
                  </a:lnTo>
                  <a:lnTo>
                    <a:pt x="25" y="75"/>
                  </a:lnTo>
                  <a:lnTo>
                    <a:pt x="23" y="75"/>
                  </a:lnTo>
                  <a:lnTo>
                    <a:pt x="23" y="77"/>
                  </a:lnTo>
                  <a:lnTo>
                    <a:pt x="21" y="77"/>
                  </a:lnTo>
                  <a:lnTo>
                    <a:pt x="19" y="77"/>
                  </a:lnTo>
                  <a:lnTo>
                    <a:pt x="17" y="77"/>
                  </a:lnTo>
                  <a:lnTo>
                    <a:pt x="15" y="77"/>
                  </a:lnTo>
                  <a:lnTo>
                    <a:pt x="15" y="79"/>
                  </a:lnTo>
                  <a:lnTo>
                    <a:pt x="15" y="77"/>
                  </a:lnTo>
                  <a:lnTo>
                    <a:pt x="14" y="77"/>
                  </a:lnTo>
                  <a:lnTo>
                    <a:pt x="14" y="75"/>
                  </a:lnTo>
                  <a:lnTo>
                    <a:pt x="12" y="75"/>
                  </a:lnTo>
                  <a:lnTo>
                    <a:pt x="12" y="73"/>
                  </a:lnTo>
                  <a:lnTo>
                    <a:pt x="10" y="73"/>
                  </a:lnTo>
                  <a:lnTo>
                    <a:pt x="10" y="71"/>
                  </a:lnTo>
                  <a:lnTo>
                    <a:pt x="10" y="69"/>
                  </a:lnTo>
                  <a:lnTo>
                    <a:pt x="8" y="69"/>
                  </a:lnTo>
                  <a:lnTo>
                    <a:pt x="8" y="67"/>
                  </a:lnTo>
                  <a:lnTo>
                    <a:pt x="8" y="69"/>
                  </a:lnTo>
                  <a:lnTo>
                    <a:pt x="6" y="69"/>
                  </a:lnTo>
                  <a:lnTo>
                    <a:pt x="6" y="71"/>
                  </a:lnTo>
                  <a:lnTo>
                    <a:pt x="6" y="69"/>
                  </a:lnTo>
                  <a:lnTo>
                    <a:pt x="4" y="69"/>
                  </a:lnTo>
                  <a:lnTo>
                    <a:pt x="4" y="67"/>
                  </a:lnTo>
                  <a:lnTo>
                    <a:pt x="4" y="65"/>
                  </a:lnTo>
                  <a:lnTo>
                    <a:pt x="2" y="65"/>
                  </a:lnTo>
                  <a:lnTo>
                    <a:pt x="2" y="67"/>
                  </a:lnTo>
                  <a:lnTo>
                    <a:pt x="2" y="65"/>
                  </a:lnTo>
                  <a:lnTo>
                    <a:pt x="4" y="65"/>
                  </a:lnTo>
                  <a:lnTo>
                    <a:pt x="2" y="65"/>
                  </a:lnTo>
                  <a:lnTo>
                    <a:pt x="2" y="64"/>
                  </a:lnTo>
                  <a:lnTo>
                    <a:pt x="0" y="64"/>
                  </a:lnTo>
                  <a:lnTo>
                    <a:pt x="2" y="64"/>
                  </a:lnTo>
                  <a:lnTo>
                    <a:pt x="2" y="62"/>
                  </a:lnTo>
                  <a:lnTo>
                    <a:pt x="4" y="62"/>
                  </a:lnTo>
                  <a:lnTo>
                    <a:pt x="4" y="60"/>
                  </a:lnTo>
                  <a:lnTo>
                    <a:pt x="4" y="58"/>
                  </a:lnTo>
                  <a:lnTo>
                    <a:pt x="6" y="58"/>
                  </a:lnTo>
                  <a:lnTo>
                    <a:pt x="6" y="56"/>
                  </a:lnTo>
                  <a:lnTo>
                    <a:pt x="6" y="54"/>
                  </a:lnTo>
                  <a:lnTo>
                    <a:pt x="6" y="52"/>
                  </a:lnTo>
                  <a:lnTo>
                    <a:pt x="4" y="52"/>
                  </a:lnTo>
                  <a:lnTo>
                    <a:pt x="6" y="52"/>
                  </a:lnTo>
                  <a:lnTo>
                    <a:pt x="4" y="52"/>
                  </a:lnTo>
                  <a:lnTo>
                    <a:pt x="4" y="50"/>
                  </a:lnTo>
                  <a:lnTo>
                    <a:pt x="6" y="50"/>
                  </a:lnTo>
                  <a:lnTo>
                    <a:pt x="6" y="48"/>
                  </a:lnTo>
                  <a:lnTo>
                    <a:pt x="8" y="48"/>
                  </a:lnTo>
                  <a:lnTo>
                    <a:pt x="10" y="48"/>
                  </a:lnTo>
                  <a:lnTo>
                    <a:pt x="12" y="48"/>
                  </a:lnTo>
                  <a:lnTo>
                    <a:pt x="12" y="46"/>
                  </a:lnTo>
                  <a:lnTo>
                    <a:pt x="14" y="46"/>
                  </a:lnTo>
                  <a:lnTo>
                    <a:pt x="12" y="46"/>
                  </a:lnTo>
                  <a:lnTo>
                    <a:pt x="14" y="46"/>
                  </a:lnTo>
                  <a:lnTo>
                    <a:pt x="14" y="44"/>
                  </a:lnTo>
                  <a:lnTo>
                    <a:pt x="12" y="44"/>
                  </a:lnTo>
                  <a:lnTo>
                    <a:pt x="10" y="44"/>
                  </a:lnTo>
                  <a:lnTo>
                    <a:pt x="10" y="42"/>
                  </a:lnTo>
                  <a:lnTo>
                    <a:pt x="10" y="41"/>
                  </a:lnTo>
                  <a:lnTo>
                    <a:pt x="10" y="39"/>
                  </a:lnTo>
                  <a:lnTo>
                    <a:pt x="10" y="37"/>
                  </a:lnTo>
                  <a:lnTo>
                    <a:pt x="10" y="35"/>
                  </a:lnTo>
                  <a:lnTo>
                    <a:pt x="10" y="33"/>
                  </a:lnTo>
                  <a:lnTo>
                    <a:pt x="10" y="31"/>
                  </a:lnTo>
                  <a:lnTo>
                    <a:pt x="10" y="29"/>
                  </a:lnTo>
                  <a:lnTo>
                    <a:pt x="12" y="29"/>
                  </a:lnTo>
                  <a:lnTo>
                    <a:pt x="12" y="27"/>
                  </a:lnTo>
                  <a:lnTo>
                    <a:pt x="12" y="25"/>
                  </a:lnTo>
                  <a:lnTo>
                    <a:pt x="10" y="25"/>
                  </a:lnTo>
                  <a:lnTo>
                    <a:pt x="10" y="23"/>
                  </a:lnTo>
                  <a:lnTo>
                    <a:pt x="10" y="21"/>
                  </a:lnTo>
                  <a:lnTo>
                    <a:pt x="12" y="21"/>
                  </a:lnTo>
                  <a:lnTo>
                    <a:pt x="14" y="21"/>
                  </a:lnTo>
                  <a:lnTo>
                    <a:pt x="14" y="19"/>
                  </a:lnTo>
                  <a:lnTo>
                    <a:pt x="15" y="19"/>
                  </a:lnTo>
                  <a:lnTo>
                    <a:pt x="15" y="17"/>
                  </a:lnTo>
                  <a:lnTo>
                    <a:pt x="15" y="16"/>
                  </a:lnTo>
                  <a:lnTo>
                    <a:pt x="14" y="16"/>
                  </a:lnTo>
                  <a:lnTo>
                    <a:pt x="14" y="14"/>
                  </a:lnTo>
                  <a:lnTo>
                    <a:pt x="14" y="12"/>
                  </a:lnTo>
                  <a:lnTo>
                    <a:pt x="12" y="12"/>
                  </a:lnTo>
                  <a:lnTo>
                    <a:pt x="10" y="12"/>
                  </a:lnTo>
                  <a:lnTo>
                    <a:pt x="10" y="10"/>
                  </a:lnTo>
                  <a:lnTo>
                    <a:pt x="12" y="10"/>
                  </a:lnTo>
                  <a:lnTo>
                    <a:pt x="12" y="8"/>
                  </a:lnTo>
                  <a:lnTo>
                    <a:pt x="10" y="8"/>
                  </a:lnTo>
                  <a:lnTo>
                    <a:pt x="10" y="6"/>
                  </a:lnTo>
                  <a:lnTo>
                    <a:pt x="10" y="4"/>
                  </a:lnTo>
                  <a:lnTo>
                    <a:pt x="8" y="4"/>
                  </a:lnTo>
                  <a:lnTo>
                    <a:pt x="6" y="4"/>
                  </a:lnTo>
                  <a:lnTo>
                    <a:pt x="6" y="2"/>
                  </a:lnTo>
                  <a:lnTo>
                    <a:pt x="4" y="2"/>
                  </a:lnTo>
                  <a:lnTo>
                    <a:pt x="4" y="0"/>
                  </a:lnTo>
                  <a:lnTo>
                    <a:pt x="6" y="0"/>
                  </a:lnTo>
                  <a:lnTo>
                    <a:pt x="6" y="2"/>
                  </a:lnTo>
                  <a:lnTo>
                    <a:pt x="8" y="2"/>
                  </a:lnTo>
                  <a:lnTo>
                    <a:pt x="10" y="2"/>
                  </a:lnTo>
                  <a:lnTo>
                    <a:pt x="12" y="2"/>
                  </a:lnTo>
                  <a:lnTo>
                    <a:pt x="12" y="4"/>
                  </a:lnTo>
                  <a:lnTo>
                    <a:pt x="14" y="4"/>
                  </a:lnTo>
                  <a:lnTo>
                    <a:pt x="15" y="4"/>
                  </a:lnTo>
                  <a:lnTo>
                    <a:pt x="17" y="4"/>
                  </a:lnTo>
                  <a:lnTo>
                    <a:pt x="19" y="4"/>
                  </a:lnTo>
                  <a:lnTo>
                    <a:pt x="19" y="6"/>
                  </a:lnTo>
                  <a:lnTo>
                    <a:pt x="19" y="4"/>
                  </a:lnTo>
                  <a:lnTo>
                    <a:pt x="19" y="2"/>
                  </a:lnTo>
                  <a:lnTo>
                    <a:pt x="21" y="2"/>
                  </a:lnTo>
                  <a:lnTo>
                    <a:pt x="21" y="4"/>
                  </a:lnTo>
                  <a:lnTo>
                    <a:pt x="23" y="4"/>
                  </a:lnTo>
                  <a:lnTo>
                    <a:pt x="23" y="6"/>
                  </a:lnTo>
                  <a:lnTo>
                    <a:pt x="25" y="6"/>
                  </a:lnTo>
                  <a:lnTo>
                    <a:pt x="25" y="8"/>
                  </a:lnTo>
                  <a:lnTo>
                    <a:pt x="27" y="8"/>
                  </a:lnTo>
                  <a:lnTo>
                    <a:pt x="27" y="10"/>
                  </a:lnTo>
                  <a:lnTo>
                    <a:pt x="29" y="10"/>
                  </a:lnTo>
                  <a:lnTo>
                    <a:pt x="29" y="12"/>
                  </a:lnTo>
                  <a:lnTo>
                    <a:pt x="27" y="12"/>
                  </a:lnTo>
                  <a:lnTo>
                    <a:pt x="29" y="12"/>
                  </a:lnTo>
                  <a:lnTo>
                    <a:pt x="29" y="14"/>
                  </a:lnTo>
                  <a:lnTo>
                    <a:pt x="29" y="12"/>
                  </a:lnTo>
                  <a:lnTo>
                    <a:pt x="29" y="14"/>
                  </a:lnTo>
                  <a:lnTo>
                    <a:pt x="29" y="16"/>
                  </a:lnTo>
                  <a:lnTo>
                    <a:pt x="29" y="17"/>
                  </a:lnTo>
                  <a:lnTo>
                    <a:pt x="29" y="19"/>
                  </a:lnTo>
                  <a:lnTo>
                    <a:pt x="31" y="19"/>
                  </a:lnTo>
                  <a:lnTo>
                    <a:pt x="29" y="19"/>
                  </a:lnTo>
                  <a:lnTo>
                    <a:pt x="31" y="21"/>
                  </a:lnTo>
                  <a:lnTo>
                    <a:pt x="31" y="23"/>
                  </a:lnTo>
                  <a:lnTo>
                    <a:pt x="29" y="23"/>
                  </a:lnTo>
                  <a:lnTo>
                    <a:pt x="29" y="25"/>
                  </a:lnTo>
                  <a:lnTo>
                    <a:pt x="29" y="27"/>
                  </a:lnTo>
                  <a:lnTo>
                    <a:pt x="31" y="27"/>
                  </a:lnTo>
                  <a:lnTo>
                    <a:pt x="31" y="29"/>
                  </a:lnTo>
                  <a:lnTo>
                    <a:pt x="33" y="29"/>
                  </a:lnTo>
                  <a:lnTo>
                    <a:pt x="31" y="29"/>
                  </a:lnTo>
                  <a:lnTo>
                    <a:pt x="33" y="29"/>
                  </a:lnTo>
                  <a:lnTo>
                    <a:pt x="31" y="29"/>
                  </a:lnTo>
                  <a:lnTo>
                    <a:pt x="33" y="29"/>
                  </a:lnTo>
                  <a:lnTo>
                    <a:pt x="33" y="31"/>
                  </a:lnTo>
                  <a:lnTo>
                    <a:pt x="35" y="31"/>
                  </a:lnTo>
                  <a:lnTo>
                    <a:pt x="35" y="3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9" name="Freeform 458">
              <a:extLst>
                <a:ext uri="{FF2B5EF4-FFF2-40B4-BE49-F238E27FC236}">
                  <a16:creationId xmlns:a16="http://schemas.microsoft.com/office/drawing/2014/main" id="{8B8A8C9F-E4B4-46BB-8207-BAC089103C67}"/>
                </a:ext>
              </a:extLst>
            </p:cNvPr>
            <p:cNvSpPr>
              <a:spLocks noEditPoints="1"/>
            </p:cNvSpPr>
            <p:nvPr/>
          </p:nvSpPr>
          <p:spPr bwMode="gray">
            <a:xfrm>
              <a:off x="3985785" y="4571345"/>
              <a:ext cx="23302" cy="20849"/>
            </a:xfrm>
            <a:custGeom>
              <a:avLst/>
              <a:gdLst>
                <a:gd name="T0" fmla="*/ 1 w 19"/>
                <a:gd name="T1" fmla="*/ 0 h 17"/>
                <a:gd name="T2" fmla="*/ 1 w 19"/>
                <a:gd name="T3" fmla="*/ 2 h 17"/>
                <a:gd name="T4" fmla="*/ 1 w 19"/>
                <a:gd name="T5" fmla="*/ 4 h 17"/>
                <a:gd name="T6" fmla="*/ 1 w 19"/>
                <a:gd name="T7" fmla="*/ 6 h 17"/>
                <a:gd name="T8" fmla="*/ 3 w 19"/>
                <a:gd name="T9" fmla="*/ 6 h 17"/>
                <a:gd name="T10" fmla="*/ 3 w 19"/>
                <a:gd name="T11" fmla="*/ 8 h 17"/>
                <a:gd name="T12" fmla="*/ 3 w 19"/>
                <a:gd name="T13" fmla="*/ 10 h 17"/>
                <a:gd name="T14" fmla="*/ 1 w 19"/>
                <a:gd name="T15" fmla="*/ 10 h 17"/>
                <a:gd name="T16" fmla="*/ 1 w 19"/>
                <a:gd name="T17" fmla="*/ 8 h 17"/>
                <a:gd name="T18" fmla="*/ 0 w 19"/>
                <a:gd name="T19" fmla="*/ 8 h 17"/>
                <a:gd name="T20" fmla="*/ 0 w 19"/>
                <a:gd name="T21" fmla="*/ 6 h 17"/>
                <a:gd name="T22" fmla="*/ 0 w 19"/>
                <a:gd name="T23" fmla="*/ 4 h 17"/>
                <a:gd name="T24" fmla="*/ 0 w 19"/>
                <a:gd name="T25" fmla="*/ 2 h 17"/>
                <a:gd name="T26" fmla="*/ 1 w 19"/>
                <a:gd name="T27" fmla="*/ 2 h 17"/>
                <a:gd name="T28" fmla="*/ 1 w 19"/>
                <a:gd name="T29" fmla="*/ 0 h 17"/>
                <a:gd name="T30" fmla="*/ 19 w 19"/>
                <a:gd name="T31" fmla="*/ 13 h 17"/>
                <a:gd name="T32" fmla="*/ 19 w 19"/>
                <a:gd name="T33" fmla="*/ 15 h 17"/>
                <a:gd name="T34" fmla="*/ 17 w 19"/>
                <a:gd name="T35" fmla="*/ 15 h 17"/>
                <a:gd name="T36" fmla="*/ 17 w 19"/>
                <a:gd name="T37" fmla="*/ 13 h 17"/>
                <a:gd name="T38" fmla="*/ 15 w 19"/>
                <a:gd name="T39" fmla="*/ 13 h 17"/>
                <a:gd name="T40" fmla="*/ 13 w 19"/>
                <a:gd name="T41" fmla="*/ 13 h 17"/>
                <a:gd name="T42" fmla="*/ 15 w 19"/>
                <a:gd name="T43" fmla="*/ 13 h 17"/>
                <a:gd name="T44" fmla="*/ 17 w 19"/>
                <a:gd name="T45" fmla="*/ 13 h 17"/>
                <a:gd name="T46" fmla="*/ 17 w 19"/>
                <a:gd name="T47" fmla="*/ 12 h 17"/>
                <a:gd name="T48" fmla="*/ 19 w 19"/>
                <a:gd name="T49" fmla="*/ 13 h 17"/>
                <a:gd name="T50" fmla="*/ 5 w 19"/>
                <a:gd name="T51" fmla="*/ 13 h 17"/>
                <a:gd name="T52" fmla="*/ 5 w 19"/>
                <a:gd name="T53" fmla="*/ 15 h 17"/>
                <a:gd name="T54" fmla="*/ 7 w 19"/>
                <a:gd name="T55" fmla="*/ 15 h 17"/>
                <a:gd name="T56" fmla="*/ 9 w 19"/>
                <a:gd name="T57" fmla="*/ 15 h 17"/>
                <a:gd name="T58" fmla="*/ 7 w 19"/>
                <a:gd name="T59" fmla="*/ 15 h 17"/>
                <a:gd name="T60" fmla="*/ 5 w 19"/>
                <a:gd name="T61" fmla="*/ 15 h 17"/>
                <a:gd name="T62" fmla="*/ 5 w 19"/>
                <a:gd name="T63" fmla="*/ 13 h 17"/>
                <a:gd name="T64" fmla="*/ 5 w 19"/>
                <a:gd name="T65" fmla="*/ 15 h 17"/>
                <a:gd name="T66" fmla="*/ 7 w 19"/>
                <a:gd name="T67" fmla="*/ 15 h 17"/>
                <a:gd name="T68" fmla="*/ 7 w 19"/>
                <a:gd name="T69" fmla="*/ 17 h 17"/>
                <a:gd name="T70" fmla="*/ 5 w 19"/>
                <a:gd name="T71" fmla="*/ 17 h 17"/>
                <a:gd name="T72" fmla="*/ 5 w 19"/>
                <a:gd name="T73"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 h="17">
                  <a:moveTo>
                    <a:pt x="1" y="0"/>
                  </a:moveTo>
                  <a:lnTo>
                    <a:pt x="1" y="2"/>
                  </a:lnTo>
                  <a:lnTo>
                    <a:pt x="1" y="4"/>
                  </a:lnTo>
                  <a:lnTo>
                    <a:pt x="1" y="6"/>
                  </a:lnTo>
                  <a:lnTo>
                    <a:pt x="3" y="6"/>
                  </a:lnTo>
                  <a:lnTo>
                    <a:pt x="3" y="8"/>
                  </a:lnTo>
                  <a:lnTo>
                    <a:pt x="3" y="10"/>
                  </a:lnTo>
                  <a:lnTo>
                    <a:pt x="1" y="10"/>
                  </a:lnTo>
                  <a:lnTo>
                    <a:pt x="1" y="8"/>
                  </a:lnTo>
                  <a:lnTo>
                    <a:pt x="0" y="8"/>
                  </a:lnTo>
                  <a:lnTo>
                    <a:pt x="0" y="6"/>
                  </a:lnTo>
                  <a:lnTo>
                    <a:pt x="0" y="4"/>
                  </a:lnTo>
                  <a:lnTo>
                    <a:pt x="0" y="2"/>
                  </a:lnTo>
                  <a:lnTo>
                    <a:pt x="1" y="2"/>
                  </a:lnTo>
                  <a:lnTo>
                    <a:pt x="1" y="0"/>
                  </a:lnTo>
                  <a:close/>
                  <a:moveTo>
                    <a:pt x="19" y="13"/>
                  </a:moveTo>
                  <a:lnTo>
                    <a:pt x="19" y="15"/>
                  </a:lnTo>
                  <a:lnTo>
                    <a:pt x="17" y="15"/>
                  </a:lnTo>
                  <a:lnTo>
                    <a:pt x="17" y="13"/>
                  </a:lnTo>
                  <a:lnTo>
                    <a:pt x="15" y="13"/>
                  </a:lnTo>
                  <a:lnTo>
                    <a:pt x="13" y="13"/>
                  </a:lnTo>
                  <a:lnTo>
                    <a:pt x="15" y="13"/>
                  </a:lnTo>
                  <a:lnTo>
                    <a:pt x="17" y="13"/>
                  </a:lnTo>
                  <a:lnTo>
                    <a:pt x="17" y="12"/>
                  </a:lnTo>
                  <a:lnTo>
                    <a:pt x="19" y="13"/>
                  </a:lnTo>
                  <a:close/>
                  <a:moveTo>
                    <a:pt x="5" y="13"/>
                  </a:moveTo>
                  <a:lnTo>
                    <a:pt x="5" y="15"/>
                  </a:lnTo>
                  <a:lnTo>
                    <a:pt x="7" y="15"/>
                  </a:lnTo>
                  <a:lnTo>
                    <a:pt x="9" y="15"/>
                  </a:lnTo>
                  <a:lnTo>
                    <a:pt x="7" y="15"/>
                  </a:lnTo>
                  <a:lnTo>
                    <a:pt x="5" y="15"/>
                  </a:lnTo>
                  <a:lnTo>
                    <a:pt x="5" y="13"/>
                  </a:lnTo>
                  <a:close/>
                  <a:moveTo>
                    <a:pt x="5" y="15"/>
                  </a:moveTo>
                  <a:lnTo>
                    <a:pt x="7" y="15"/>
                  </a:lnTo>
                  <a:lnTo>
                    <a:pt x="7" y="17"/>
                  </a:lnTo>
                  <a:lnTo>
                    <a:pt x="5" y="17"/>
                  </a:lnTo>
                  <a:lnTo>
                    <a:pt x="5" y="15"/>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0" name="Freeform 459">
              <a:extLst>
                <a:ext uri="{FF2B5EF4-FFF2-40B4-BE49-F238E27FC236}">
                  <a16:creationId xmlns:a16="http://schemas.microsoft.com/office/drawing/2014/main" id="{0388699D-E87F-4F76-BB79-C6C8BDDA79E0}"/>
                </a:ext>
              </a:extLst>
            </p:cNvPr>
            <p:cNvSpPr>
              <a:spLocks noEditPoints="1"/>
            </p:cNvSpPr>
            <p:nvPr/>
          </p:nvSpPr>
          <p:spPr bwMode="gray">
            <a:xfrm>
              <a:off x="3752773" y="4556629"/>
              <a:ext cx="190089" cy="311500"/>
            </a:xfrm>
            <a:custGeom>
              <a:avLst/>
              <a:gdLst>
                <a:gd name="T0" fmla="*/ 26 w 155"/>
                <a:gd name="T1" fmla="*/ 241 h 254"/>
                <a:gd name="T2" fmla="*/ 24 w 155"/>
                <a:gd name="T3" fmla="*/ 219 h 254"/>
                <a:gd name="T4" fmla="*/ 17 w 155"/>
                <a:gd name="T5" fmla="*/ 191 h 254"/>
                <a:gd name="T6" fmla="*/ 32 w 155"/>
                <a:gd name="T7" fmla="*/ 166 h 254"/>
                <a:gd name="T8" fmla="*/ 38 w 155"/>
                <a:gd name="T9" fmla="*/ 146 h 254"/>
                <a:gd name="T10" fmla="*/ 38 w 155"/>
                <a:gd name="T11" fmla="*/ 129 h 254"/>
                <a:gd name="T12" fmla="*/ 40 w 155"/>
                <a:gd name="T13" fmla="*/ 114 h 254"/>
                <a:gd name="T14" fmla="*/ 40 w 155"/>
                <a:gd name="T15" fmla="*/ 106 h 254"/>
                <a:gd name="T16" fmla="*/ 36 w 155"/>
                <a:gd name="T17" fmla="*/ 95 h 254"/>
                <a:gd name="T18" fmla="*/ 19 w 155"/>
                <a:gd name="T19" fmla="*/ 85 h 254"/>
                <a:gd name="T20" fmla="*/ 0 w 155"/>
                <a:gd name="T21" fmla="*/ 72 h 254"/>
                <a:gd name="T22" fmla="*/ 17 w 155"/>
                <a:gd name="T23" fmla="*/ 62 h 254"/>
                <a:gd name="T24" fmla="*/ 38 w 155"/>
                <a:gd name="T25" fmla="*/ 54 h 254"/>
                <a:gd name="T26" fmla="*/ 53 w 155"/>
                <a:gd name="T27" fmla="*/ 60 h 254"/>
                <a:gd name="T28" fmla="*/ 63 w 155"/>
                <a:gd name="T29" fmla="*/ 68 h 254"/>
                <a:gd name="T30" fmla="*/ 61 w 155"/>
                <a:gd name="T31" fmla="*/ 83 h 254"/>
                <a:gd name="T32" fmla="*/ 71 w 155"/>
                <a:gd name="T33" fmla="*/ 95 h 254"/>
                <a:gd name="T34" fmla="*/ 71 w 155"/>
                <a:gd name="T35" fmla="*/ 91 h 254"/>
                <a:gd name="T36" fmla="*/ 82 w 155"/>
                <a:gd name="T37" fmla="*/ 75 h 254"/>
                <a:gd name="T38" fmla="*/ 76 w 155"/>
                <a:gd name="T39" fmla="*/ 54 h 254"/>
                <a:gd name="T40" fmla="*/ 63 w 155"/>
                <a:gd name="T41" fmla="*/ 39 h 254"/>
                <a:gd name="T42" fmla="*/ 74 w 155"/>
                <a:gd name="T43" fmla="*/ 16 h 254"/>
                <a:gd name="T44" fmla="*/ 90 w 155"/>
                <a:gd name="T45" fmla="*/ 18 h 254"/>
                <a:gd name="T46" fmla="*/ 105 w 155"/>
                <a:gd name="T47" fmla="*/ 16 h 254"/>
                <a:gd name="T48" fmla="*/ 120 w 155"/>
                <a:gd name="T49" fmla="*/ 14 h 254"/>
                <a:gd name="T50" fmla="*/ 138 w 155"/>
                <a:gd name="T51" fmla="*/ 6 h 254"/>
                <a:gd name="T52" fmla="*/ 149 w 155"/>
                <a:gd name="T53" fmla="*/ 4 h 254"/>
                <a:gd name="T54" fmla="*/ 147 w 155"/>
                <a:gd name="T55" fmla="*/ 16 h 254"/>
                <a:gd name="T56" fmla="*/ 149 w 155"/>
                <a:gd name="T57" fmla="*/ 27 h 254"/>
                <a:gd name="T58" fmla="*/ 151 w 155"/>
                <a:gd name="T59" fmla="*/ 35 h 254"/>
                <a:gd name="T60" fmla="*/ 149 w 155"/>
                <a:gd name="T61" fmla="*/ 39 h 254"/>
                <a:gd name="T62" fmla="*/ 149 w 155"/>
                <a:gd name="T63" fmla="*/ 41 h 254"/>
                <a:gd name="T64" fmla="*/ 151 w 155"/>
                <a:gd name="T65" fmla="*/ 52 h 254"/>
                <a:gd name="T66" fmla="*/ 153 w 155"/>
                <a:gd name="T67" fmla="*/ 60 h 254"/>
                <a:gd name="T68" fmla="*/ 155 w 155"/>
                <a:gd name="T69" fmla="*/ 64 h 254"/>
                <a:gd name="T70" fmla="*/ 149 w 155"/>
                <a:gd name="T71" fmla="*/ 72 h 254"/>
                <a:gd name="T72" fmla="*/ 149 w 155"/>
                <a:gd name="T73" fmla="*/ 73 h 254"/>
                <a:gd name="T74" fmla="*/ 143 w 155"/>
                <a:gd name="T75" fmla="*/ 85 h 254"/>
                <a:gd name="T76" fmla="*/ 134 w 155"/>
                <a:gd name="T77" fmla="*/ 93 h 254"/>
                <a:gd name="T78" fmla="*/ 119 w 155"/>
                <a:gd name="T79" fmla="*/ 100 h 254"/>
                <a:gd name="T80" fmla="*/ 101 w 155"/>
                <a:gd name="T81" fmla="*/ 110 h 254"/>
                <a:gd name="T82" fmla="*/ 94 w 155"/>
                <a:gd name="T83" fmla="*/ 120 h 254"/>
                <a:gd name="T84" fmla="*/ 82 w 155"/>
                <a:gd name="T85" fmla="*/ 129 h 254"/>
                <a:gd name="T86" fmla="*/ 72 w 155"/>
                <a:gd name="T87" fmla="*/ 137 h 254"/>
                <a:gd name="T88" fmla="*/ 65 w 155"/>
                <a:gd name="T89" fmla="*/ 148 h 254"/>
                <a:gd name="T90" fmla="*/ 67 w 155"/>
                <a:gd name="T91" fmla="*/ 156 h 254"/>
                <a:gd name="T92" fmla="*/ 71 w 155"/>
                <a:gd name="T93" fmla="*/ 158 h 254"/>
                <a:gd name="T94" fmla="*/ 72 w 155"/>
                <a:gd name="T95" fmla="*/ 169 h 254"/>
                <a:gd name="T96" fmla="*/ 76 w 155"/>
                <a:gd name="T97" fmla="*/ 179 h 254"/>
                <a:gd name="T98" fmla="*/ 76 w 155"/>
                <a:gd name="T99" fmla="*/ 193 h 254"/>
                <a:gd name="T100" fmla="*/ 74 w 155"/>
                <a:gd name="T101" fmla="*/ 204 h 254"/>
                <a:gd name="T102" fmla="*/ 72 w 155"/>
                <a:gd name="T103" fmla="*/ 216 h 254"/>
                <a:gd name="T104" fmla="*/ 55 w 155"/>
                <a:gd name="T105" fmla="*/ 223 h 254"/>
                <a:gd name="T106" fmla="*/ 38 w 155"/>
                <a:gd name="T107" fmla="*/ 233 h 254"/>
                <a:gd name="T108" fmla="*/ 34 w 155"/>
                <a:gd name="T109" fmla="*/ 242 h 254"/>
                <a:gd name="T110" fmla="*/ 38 w 155"/>
                <a:gd name="T111" fmla="*/ 248 h 254"/>
                <a:gd name="T112" fmla="*/ 76 w 155"/>
                <a:gd name="T113" fmla="*/ 168 h 254"/>
                <a:gd name="T114" fmla="*/ 151 w 155"/>
                <a:gd name="T115" fmla="*/ 25 h 254"/>
                <a:gd name="T116" fmla="*/ 151 w 155"/>
                <a:gd name="T117" fmla="*/ 4 h 254"/>
                <a:gd name="T118" fmla="*/ 36 w 155"/>
                <a:gd name="T119" fmla="*/ 239 h 254"/>
                <a:gd name="T120" fmla="*/ 149 w 155"/>
                <a:gd name="T121" fmla="*/ 1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5" h="254">
                  <a:moveTo>
                    <a:pt x="38" y="254"/>
                  </a:moveTo>
                  <a:lnTo>
                    <a:pt x="36" y="254"/>
                  </a:lnTo>
                  <a:lnTo>
                    <a:pt x="34" y="254"/>
                  </a:lnTo>
                  <a:lnTo>
                    <a:pt x="32" y="254"/>
                  </a:lnTo>
                  <a:lnTo>
                    <a:pt x="30" y="254"/>
                  </a:lnTo>
                  <a:lnTo>
                    <a:pt x="28" y="254"/>
                  </a:lnTo>
                  <a:lnTo>
                    <a:pt x="26" y="254"/>
                  </a:lnTo>
                  <a:lnTo>
                    <a:pt x="26" y="252"/>
                  </a:lnTo>
                  <a:lnTo>
                    <a:pt x="26" y="248"/>
                  </a:lnTo>
                  <a:lnTo>
                    <a:pt x="26" y="246"/>
                  </a:lnTo>
                  <a:lnTo>
                    <a:pt x="26" y="244"/>
                  </a:lnTo>
                  <a:lnTo>
                    <a:pt x="26" y="242"/>
                  </a:lnTo>
                  <a:lnTo>
                    <a:pt x="26" y="241"/>
                  </a:lnTo>
                  <a:lnTo>
                    <a:pt x="24" y="241"/>
                  </a:lnTo>
                  <a:lnTo>
                    <a:pt x="24" y="239"/>
                  </a:lnTo>
                  <a:lnTo>
                    <a:pt x="24" y="237"/>
                  </a:lnTo>
                  <a:lnTo>
                    <a:pt x="24" y="235"/>
                  </a:lnTo>
                  <a:lnTo>
                    <a:pt x="24" y="233"/>
                  </a:lnTo>
                  <a:lnTo>
                    <a:pt x="24" y="231"/>
                  </a:lnTo>
                  <a:lnTo>
                    <a:pt x="24" y="229"/>
                  </a:lnTo>
                  <a:lnTo>
                    <a:pt x="24" y="227"/>
                  </a:lnTo>
                  <a:lnTo>
                    <a:pt x="26" y="225"/>
                  </a:lnTo>
                  <a:lnTo>
                    <a:pt x="24" y="225"/>
                  </a:lnTo>
                  <a:lnTo>
                    <a:pt x="24" y="223"/>
                  </a:lnTo>
                  <a:lnTo>
                    <a:pt x="24" y="221"/>
                  </a:lnTo>
                  <a:lnTo>
                    <a:pt x="24" y="219"/>
                  </a:lnTo>
                  <a:lnTo>
                    <a:pt x="24" y="218"/>
                  </a:lnTo>
                  <a:lnTo>
                    <a:pt x="24" y="216"/>
                  </a:lnTo>
                  <a:lnTo>
                    <a:pt x="24" y="212"/>
                  </a:lnTo>
                  <a:lnTo>
                    <a:pt x="24" y="210"/>
                  </a:lnTo>
                  <a:lnTo>
                    <a:pt x="23" y="208"/>
                  </a:lnTo>
                  <a:lnTo>
                    <a:pt x="23" y="206"/>
                  </a:lnTo>
                  <a:lnTo>
                    <a:pt x="21" y="206"/>
                  </a:lnTo>
                  <a:lnTo>
                    <a:pt x="21" y="202"/>
                  </a:lnTo>
                  <a:lnTo>
                    <a:pt x="21" y="200"/>
                  </a:lnTo>
                  <a:lnTo>
                    <a:pt x="19" y="198"/>
                  </a:lnTo>
                  <a:lnTo>
                    <a:pt x="19" y="196"/>
                  </a:lnTo>
                  <a:lnTo>
                    <a:pt x="19" y="194"/>
                  </a:lnTo>
                  <a:lnTo>
                    <a:pt x="17" y="191"/>
                  </a:lnTo>
                  <a:lnTo>
                    <a:pt x="15" y="185"/>
                  </a:lnTo>
                  <a:lnTo>
                    <a:pt x="15" y="183"/>
                  </a:lnTo>
                  <a:lnTo>
                    <a:pt x="17" y="181"/>
                  </a:lnTo>
                  <a:lnTo>
                    <a:pt x="17" y="179"/>
                  </a:lnTo>
                  <a:lnTo>
                    <a:pt x="19" y="179"/>
                  </a:lnTo>
                  <a:lnTo>
                    <a:pt x="19" y="177"/>
                  </a:lnTo>
                  <a:lnTo>
                    <a:pt x="21" y="177"/>
                  </a:lnTo>
                  <a:lnTo>
                    <a:pt x="21" y="175"/>
                  </a:lnTo>
                  <a:lnTo>
                    <a:pt x="23" y="175"/>
                  </a:lnTo>
                  <a:lnTo>
                    <a:pt x="23" y="173"/>
                  </a:lnTo>
                  <a:lnTo>
                    <a:pt x="24" y="171"/>
                  </a:lnTo>
                  <a:lnTo>
                    <a:pt x="30" y="166"/>
                  </a:lnTo>
                  <a:lnTo>
                    <a:pt x="32" y="166"/>
                  </a:lnTo>
                  <a:lnTo>
                    <a:pt x="32" y="164"/>
                  </a:lnTo>
                  <a:lnTo>
                    <a:pt x="30" y="164"/>
                  </a:lnTo>
                  <a:lnTo>
                    <a:pt x="30" y="162"/>
                  </a:lnTo>
                  <a:lnTo>
                    <a:pt x="32" y="160"/>
                  </a:lnTo>
                  <a:lnTo>
                    <a:pt x="32" y="158"/>
                  </a:lnTo>
                  <a:lnTo>
                    <a:pt x="32" y="156"/>
                  </a:lnTo>
                  <a:lnTo>
                    <a:pt x="32" y="154"/>
                  </a:lnTo>
                  <a:lnTo>
                    <a:pt x="34" y="154"/>
                  </a:lnTo>
                  <a:lnTo>
                    <a:pt x="34" y="152"/>
                  </a:lnTo>
                  <a:lnTo>
                    <a:pt x="36" y="152"/>
                  </a:lnTo>
                  <a:lnTo>
                    <a:pt x="36" y="150"/>
                  </a:lnTo>
                  <a:lnTo>
                    <a:pt x="38" y="148"/>
                  </a:lnTo>
                  <a:lnTo>
                    <a:pt x="38" y="146"/>
                  </a:lnTo>
                  <a:lnTo>
                    <a:pt x="38" y="145"/>
                  </a:lnTo>
                  <a:lnTo>
                    <a:pt x="40" y="145"/>
                  </a:lnTo>
                  <a:lnTo>
                    <a:pt x="40" y="143"/>
                  </a:lnTo>
                  <a:lnTo>
                    <a:pt x="40" y="141"/>
                  </a:lnTo>
                  <a:lnTo>
                    <a:pt x="40" y="139"/>
                  </a:lnTo>
                  <a:lnTo>
                    <a:pt x="38" y="139"/>
                  </a:lnTo>
                  <a:lnTo>
                    <a:pt x="38" y="137"/>
                  </a:lnTo>
                  <a:lnTo>
                    <a:pt x="36" y="137"/>
                  </a:lnTo>
                  <a:lnTo>
                    <a:pt x="36" y="135"/>
                  </a:lnTo>
                  <a:lnTo>
                    <a:pt x="36" y="133"/>
                  </a:lnTo>
                  <a:lnTo>
                    <a:pt x="38" y="133"/>
                  </a:lnTo>
                  <a:lnTo>
                    <a:pt x="38" y="131"/>
                  </a:lnTo>
                  <a:lnTo>
                    <a:pt x="38" y="129"/>
                  </a:lnTo>
                  <a:lnTo>
                    <a:pt x="36" y="129"/>
                  </a:lnTo>
                  <a:lnTo>
                    <a:pt x="36" y="127"/>
                  </a:lnTo>
                  <a:lnTo>
                    <a:pt x="36" y="125"/>
                  </a:lnTo>
                  <a:lnTo>
                    <a:pt x="38" y="125"/>
                  </a:lnTo>
                  <a:lnTo>
                    <a:pt x="38" y="123"/>
                  </a:lnTo>
                  <a:lnTo>
                    <a:pt x="38" y="121"/>
                  </a:lnTo>
                  <a:lnTo>
                    <a:pt x="40" y="121"/>
                  </a:lnTo>
                  <a:lnTo>
                    <a:pt x="40" y="120"/>
                  </a:lnTo>
                  <a:lnTo>
                    <a:pt x="40" y="118"/>
                  </a:lnTo>
                  <a:lnTo>
                    <a:pt x="40" y="116"/>
                  </a:lnTo>
                  <a:lnTo>
                    <a:pt x="40" y="114"/>
                  </a:lnTo>
                  <a:lnTo>
                    <a:pt x="38" y="114"/>
                  </a:lnTo>
                  <a:lnTo>
                    <a:pt x="40" y="114"/>
                  </a:lnTo>
                  <a:lnTo>
                    <a:pt x="38" y="114"/>
                  </a:lnTo>
                  <a:lnTo>
                    <a:pt x="40" y="114"/>
                  </a:lnTo>
                  <a:lnTo>
                    <a:pt x="38" y="114"/>
                  </a:lnTo>
                  <a:lnTo>
                    <a:pt x="40" y="112"/>
                  </a:lnTo>
                  <a:lnTo>
                    <a:pt x="40" y="114"/>
                  </a:lnTo>
                  <a:lnTo>
                    <a:pt x="40" y="112"/>
                  </a:lnTo>
                  <a:lnTo>
                    <a:pt x="38" y="112"/>
                  </a:lnTo>
                  <a:lnTo>
                    <a:pt x="40" y="112"/>
                  </a:lnTo>
                  <a:lnTo>
                    <a:pt x="38" y="112"/>
                  </a:lnTo>
                  <a:lnTo>
                    <a:pt x="40" y="112"/>
                  </a:lnTo>
                  <a:lnTo>
                    <a:pt x="40" y="110"/>
                  </a:lnTo>
                  <a:lnTo>
                    <a:pt x="40" y="108"/>
                  </a:lnTo>
                  <a:lnTo>
                    <a:pt x="40" y="106"/>
                  </a:lnTo>
                  <a:lnTo>
                    <a:pt x="40" y="104"/>
                  </a:lnTo>
                  <a:lnTo>
                    <a:pt x="40" y="102"/>
                  </a:lnTo>
                  <a:lnTo>
                    <a:pt x="40" y="100"/>
                  </a:lnTo>
                  <a:lnTo>
                    <a:pt x="38" y="98"/>
                  </a:lnTo>
                  <a:lnTo>
                    <a:pt x="38" y="97"/>
                  </a:lnTo>
                  <a:lnTo>
                    <a:pt x="38" y="95"/>
                  </a:lnTo>
                  <a:lnTo>
                    <a:pt x="40" y="95"/>
                  </a:lnTo>
                  <a:lnTo>
                    <a:pt x="40" y="93"/>
                  </a:lnTo>
                  <a:lnTo>
                    <a:pt x="38" y="93"/>
                  </a:lnTo>
                  <a:lnTo>
                    <a:pt x="38" y="95"/>
                  </a:lnTo>
                  <a:lnTo>
                    <a:pt x="38" y="93"/>
                  </a:lnTo>
                  <a:lnTo>
                    <a:pt x="36" y="93"/>
                  </a:lnTo>
                  <a:lnTo>
                    <a:pt x="36" y="95"/>
                  </a:lnTo>
                  <a:lnTo>
                    <a:pt x="36" y="93"/>
                  </a:lnTo>
                  <a:lnTo>
                    <a:pt x="34" y="91"/>
                  </a:lnTo>
                  <a:lnTo>
                    <a:pt x="32" y="91"/>
                  </a:lnTo>
                  <a:lnTo>
                    <a:pt x="30" y="91"/>
                  </a:lnTo>
                  <a:lnTo>
                    <a:pt x="30" y="89"/>
                  </a:lnTo>
                  <a:lnTo>
                    <a:pt x="28" y="89"/>
                  </a:lnTo>
                  <a:lnTo>
                    <a:pt x="26" y="89"/>
                  </a:lnTo>
                  <a:lnTo>
                    <a:pt x="24" y="89"/>
                  </a:lnTo>
                  <a:lnTo>
                    <a:pt x="23" y="89"/>
                  </a:lnTo>
                  <a:lnTo>
                    <a:pt x="23" y="87"/>
                  </a:lnTo>
                  <a:lnTo>
                    <a:pt x="21" y="87"/>
                  </a:lnTo>
                  <a:lnTo>
                    <a:pt x="21" y="85"/>
                  </a:lnTo>
                  <a:lnTo>
                    <a:pt x="19" y="85"/>
                  </a:lnTo>
                  <a:lnTo>
                    <a:pt x="17" y="85"/>
                  </a:lnTo>
                  <a:lnTo>
                    <a:pt x="15" y="85"/>
                  </a:lnTo>
                  <a:lnTo>
                    <a:pt x="15" y="83"/>
                  </a:lnTo>
                  <a:lnTo>
                    <a:pt x="13" y="83"/>
                  </a:lnTo>
                  <a:lnTo>
                    <a:pt x="11" y="83"/>
                  </a:lnTo>
                  <a:lnTo>
                    <a:pt x="9" y="83"/>
                  </a:lnTo>
                  <a:lnTo>
                    <a:pt x="3" y="83"/>
                  </a:lnTo>
                  <a:lnTo>
                    <a:pt x="1" y="83"/>
                  </a:lnTo>
                  <a:lnTo>
                    <a:pt x="1" y="77"/>
                  </a:lnTo>
                  <a:lnTo>
                    <a:pt x="1" y="75"/>
                  </a:lnTo>
                  <a:lnTo>
                    <a:pt x="1" y="73"/>
                  </a:lnTo>
                  <a:lnTo>
                    <a:pt x="1" y="72"/>
                  </a:lnTo>
                  <a:lnTo>
                    <a:pt x="0" y="72"/>
                  </a:lnTo>
                  <a:lnTo>
                    <a:pt x="0" y="70"/>
                  </a:lnTo>
                  <a:lnTo>
                    <a:pt x="0" y="68"/>
                  </a:lnTo>
                  <a:lnTo>
                    <a:pt x="1" y="68"/>
                  </a:lnTo>
                  <a:lnTo>
                    <a:pt x="1" y="66"/>
                  </a:lnTo>
                  <a:lnTo>
                    <a:pt x="3" y="66"/>
                  </a:lnTo>
                  <a:lnTo>
                    <a:pt x="5" y="66"/>
                  </a:lnTo>
                  <a:lnTo>
                    <a:pt x="7" y="64"/>
                  </a:lnTo>
                  <a:lnTo>
                    <a:pt x="9" y="64"/>
                  </a:lnTo>
                  <a:lnTo>
                    <a:pt x="11" y="64"/>
                  </a:lnTo>
                  <a:lnTo>
                    <a:pt x="13" y="64"/>
                  </a:lnTo>
                  <a:lnTo>
                    <a:pt x="13" y="62"/>
                  </a:lnTo>
                  <a:lnTo>
                    <a:pt x="15" y="62"/>
                  </a:lnTo>
                  <a:lnTo>
                    <a:pt x="17" y="62"/>
                  </a:lnTo>
                  <a:lnTo>
                    <a:pt x="19" y="62"/>
                  </a:lnTo>
                  <a:lnTo>
                    <a:pt x="19" y="60"/>
                  </a:lnTo>
                  <a:lnTo>
                    <a:pt x="21" y="60"/>
                  </a:lnTo>
                  <a:lnTo>
                    <a:pt x="23" y="60"/>
                  </a:lnTo>
                  <a:lnTo>
                    <a:pt x="24" y="58"/>
                  </a:lnTo>
                  <a:lnTo>
                    <a:pt x="26" y="58"/>
                  </a:lnTo>
                  <a:lnTo>
                    <a:pt x="28" y="58"/>
                  </a:lnTo>
                  <a:lnTo>
                    <a:pt x="30" y="58"/>
                  </a:lnTo>
                  <a:lnTo>
                    <a:pt x="30" y="56"/>
                  </a:lnTo>
                  <a:lnTo>
                    <a:pt x="32" y="56"/>
                  </a:lnTo>
                  <a:lnTo>
                    <a:pt x="34" y="56"/>
                  </a:lnTo>
                  <a:lnTo>
                    <a:pt x="36" y="54"/>
                  </a:lnTo>
                  <a:lnTo>
                    <a:pt x="38" y="54"/>
                  </a:lnTo>
                  <a:lnTo>
                    <a:pt x="40" y="54"/>
                  </a:lnTo>
                  <a:lnTo>
                    <a:pt x="44" y="52"/>
                  </a:lnTo>
                  <a:lnTo>
                    <a:pt x="44" y="54"/>
                  </a:lnTo>
                  <a:lnTo>
                    <a:pt x="44" y="56"/>
                  </a:lnTo>
                  <a:lnTo>
                    <a:pt x="46" y="56"/>
                  </a:lnTo>
                  <a:lnTo>
                    <a:pt x="46" y="58"/>
                  </a:lnTo>
                  <a:lnTo>
                    <a:pt x="48" y="58"/>
                  </a:lnTo>
                  <a:lnTo>
                    <a:pt x="48" y="60"/>
                  </a:lnTo>
                  <a:lnTo>
                    <a:pt x="49" y="60"/>
                  </a:lnTo>
                  <a:lnTo>
                    <a:pt x="49" y="62"/>
                  </a:lnTo>
                  <a:lnTo>
                    <a:pt x="49" y="60"/>
                  </a:lnTo>
                  <a:lnTo>
                    <a:pt x="51" y="60"/>
                  </a:lnTo>
                  <a:lnTo>
                    <a:pt x="53" y="60"/>
                  </a:lnTo>
                  <a:lnTo>
                    <a:pt x="55" y="60"/>
                  </a:lnTo>
                  <a:lnTo>
                    <a:pt x="57" y="60"/>
                  </a:lnTo>
                  <a:lnTo>
                    <a:pt x="57" y="58"/>
                  </a:lnTo>
                  <a:lnTo>
                    <a:pt x="59" y="58"/>
                  </a:lnTo>
                  <a:lnTo>
                    <a:pt x="61" y="58"/>
                  </a:lnTo>
                  <a:lnTo>
                    <a:pt x="61" y="60"/>
                  </a:lnTo>
                  <a:lnTo>
                    <a:pt x="61" y="62"/>
                  </a:lnTo>
                  <a:lnTo>
                    <a:pt x="63" y="62"/>
                  </a:lnTo>
                  <a:lnTo>
                    <a:pt x="61" y="62"/>
                  </a:lnTo>
                  <a:lnTo>
                    <a:pt x="61" y="64"/>
                  </a:lnTo>
                  <a:lnTo>
                    <a:pt x="63" y="64"/>
                  </a:lnTo>
                  <a:lnTo>
                    <a:pt x="63" y="66"/>
                  </a:lnTo>
                  <a:lnTo>
                    <a:pt x="63" y="68"/>
                  </a:lnTo>
                  <a:lnTo>
                    <a:pt x="63" y="70"/>
                  </a:lnTo>
                  <a:lnTo>
                    <a:pt x="63" y="72"/>
                  </a:lnTo>
                  <a:lnTo>
                    <a:pt x="63" y="73"/>
                  </a:lnTo>
                  <a:lnTo>
                    <a:pt x="61" y="73"/>
                  </a:lnTo>
                  <a:lnTo>
                    <a:pt x="61" y="75"/>
                  </a:lnTo>
                  <a:lnTo>
                    <a:pt x="61" y="77"/>
                  </a:lnTo>
                  <a:lnTo>
                    <a:pt x="59" y="77"/>
                  </a:lnTo>
                  <a:lnTo>
                    <a:pt x="59" y="79"/>
                  </a:lnTo>
                  <a:lnTo>
                    <a:pt x="57" y="79"/>
                  </a:lnTo>
                  <a:lnTo>
                    <a:pt x="57" y="81"/>
                  </a:lnTo>
                  <a:lnTo>
                    <a:pt x="59" y="81"/>
                  </a:lnTo>
                  <a:lnTo>
                    <a:pt x="59" y="83"/>
                  </a:lnTo>
                  <a:lnTo>
                    <a:pt x="61" y="83"/>
                  </a:lnTo>
                  <a:lnTo>
                    <a:pt x="61" y="85"/>
                  </a:lnTo>
                  <a:lnTo>
                    <a:pt x="59" y="85"/>
                  </a:lnTo>
                  <a:lnTo>
                    <a:pt x="61" y="85"/>
                  </a:lnTo>
                  <a:lnTo>
                    <a:pt x="61" y="87"/>
                  </a:lnTo>
                  <a:lnTo>
                    <a:pt x="63" y="87"/>
                  </a:lnTo>
                  <a:lnTo>
                    <a:pt x="63" y="89"/>
                  </a:lnTo>
                  <a:lnTo>
                    <a:pt x="65" y="89"/>
                  </a:lnTo>
                  <a:lnTo>
                    <a:pt x="65" y="91"/>
                  </a:lnTo>
                  <a:lnTo>
                    <a:pt x="65" y="93"/>
                  </a:lnTo>
                  <a:lnTo>
                    <a:pt x="67" y="93"/>
                  </a:lnTo>
                  <a:lnTo>
                    <a:pt x="67" y="95"/>
                  </a:lnTo>
                  <a:lnTo>
                    <a:pt x="69" y="95"/>
                  </a:lnTo>
                  <a:lnTo>
                    <a:pt x="71" y="95"/>
                  </a:lnTo>
                  <a:lnTo>
                    <a:pt x="71" y="97"/>
                  </a:lnTo>
                  <a:lnTo>
                    <a:pt x="71" y="98"/>
                  </a:lnTo>
                  <a:lnTo>
                    <a:pt x="71" y="100"/>
                  </a:lnTo>
                  <a:lnTo>
                    <a:pt x="72" y="100"/>
                  </a:lnTo>
                  <a:lnTo>
                    <a:pt x="72" y="98"/>
                  </a:lnTo>
                  <a:lnTo>
                    <a:pt x="74" y="98"/>
                  </a:lnTo>
                  <a:lnTo>
                    <a:pt x="72" y="98"/>
                  </a:lnTo>
                  <a:lnTo>
                    <a:pt x="72" y="97"/>
                  </a:lnTo>
                  <a:lnTo>
                    <a:pt x="74" y="95"/>
                  </a:lnTo>
                  <a:lnTo>
                    <a:pt x="72" y="95"/>
                  </a:lnTo>
                  <a:lnTo>
                    <a:pt x="72" y="93"/>
                  </a:lnTo>
                  <a:lnTo>
                    <a:pt x="71" y="93"/>
                  </a:lnTo>
                  <a:lnTo>
                    <a:pt x="71" y="91"/>
                  </a:lnTo>
                  <a:lnTo>
                    <a:pt x="72" y="91"/>
                  </a:lnTo>
                  <a:lnTo>
                    <a:pt x="72" y="89"/>
                  </a:lnTo>
                  <a:lnTo>
                    <a:pt x="72" y="87"/>
                  </a:lnTo>
                  <a:lnTo>
                    <a:pt x="74" y="87"/>
                  </a:lnTo>
                  <a:lnTo>
                    <a:pt x="74" y="85"/>
                  </a:lnTo>
                  <a:lnTo>
                    <a:pt x="76" y="85"/>
                  </a:lnTo>
                  <a:lnTo>
                    <a:pt x="78" y="85"/>
                  </a:lnTo>
                  <a:lnTo>
                    <a:pt x="80" y="85"/>
                  </a:lnTo>
                  <a:lnTo>
                    <a:pt x="80" y="83"/>
                  </a:lnTo>
                  <a:lnTo>
                    <a:pt x="80" y="81"/>
                  </a:lnTo>
                  <a:lnTo>
                    <a:pt x="80" y="79"/>
                  </a:lnTo>
                  <a:lnTo>
                    <a:pt x="80" y="77"/>
                  </a:lnTo>
                  <a:lnTo>
                    <a:pt x="82" y="75"/>
                  </a:lnTo>
                  <a:lnTo>
                    <a:pt x="82" y="73"/>
                  </a:lnTo>
                  <a:lnTo>
                    <a:pt x="80" y="72"/>
                  </a:lnTo>
                  <a:lnTo>
                    <a:pt x="80" y="70"/>
                  </a:lnTo>
                  <a:lnTo>
                    <a:pt x="82" y="68"/>
                  </a:lnTo>
                  <a:lnTo>
                    <a:pt x="82" y="66"/>
                  </a:lnTo>
                  <a:lnTo>
                    <a:pt x="82" y="64"/>
                  </a:lnTo>
                  <a:lnTo>
                    <a:pt x="82" y="62"/>
                  </a:lnTo>
                  <a:lnTo>
                    <a:pt x="80" y="62"/>
                  </a:lnTo>
                  <a:lnTo>
                    <a:pt x="80" y="60"/>
                  </a:lnTo>
                  <a:lnTo>
                    <a:pt x="78" y="60"/>
                  </a:lnTo>
                  <a:lnTo>
                    <a:pt x="78" y="58"/>
                  </a:lnTo>
                  <a:lnTo>
                    <a:pt x="76" y="56"/>
                  </a:lnTo>
                  <a:lnTo>
                    <a:pt x="76" y="54"/>
                  </a:lnTo>
                  <a:lnTo>
                    <a:pt x="74" y="54"/>
                  </a:lnTo>
                  <a:lnTo>
                    <a:pt x="74" y="52"/>
                  </a:lnTo>
                  <a:lnTo>
                    <a:pt x="72" y="52"/>
                  </a:lnTo>
                  <a:lnTo>
                    <a:pt x="72" y="50"/>
                  </a:lnTo>
                  <a:lnTo>
                    <a:pt x="71" y="48"/>
                  </a:lnTo>
                  <a:lnTo>
                    <a:pt x="69" y="47"/>
                  </a:lnTo>
                  <a:lnTo>
                    <a:pt x="67" y="45"/>
                  </a:lnTo>
                  <a:lnTo>
                    <a:pt x="63" y="45"/>
                  </a:lnTo>
                  <a:lnTo>
                    <a:pt x="63" y="43"/>
                  </a:lnTo>
                  <a:lnTo>
                    <a:pt x="61" y="43"/>
                  </a:lnTo>
                  <a:lnTo>
                    <a:pt x="63" y="43"/>
                  </a:lnTo>
                  <a:lnTo>
                    <a:pt x="63" y="41"/>
                  </a:lnTo>
                  <a:lnTo>
                    <a:pt x="63" y="39"/>
                  </a:lnTo>
                  <a:lnTo>
                    <a:pt x="63" y="37"/>
                  </a:lnTo>
                  <a:lnTo>
                    <a:pt x="61" y="35"/>
                  </a:lnTo>
                  <a:lnTo>
                    <a:pt x="61" y="33"/>
                  </a:lnTo>
                  <a:lnTo>
                    <a:pt x="61" y="31"/>
                  </a:lnTo>
                  <a:lnTo>
                    <a:pt x="61" y="29"/>
                  </a:lnTo>
                  <a:lnTo>
                    <a:pt x="61" y="27"/>
                  </a:lnTo>
                  <a:lnTo>
                    <a:pt x="61" y="25"/>
                  </a:lnTo>
                  <a:lnTo>
                    <a:pt x="61" y="24"/>
                  </a:lnTo>
                  <a:lnTo>
                    <a:pt x="63" y="22"/>
                  </a:lnTo>
                  <a:lnTo>
                    <a:pt x="63" y="18"/>
                  </a:lnTo>
                  <a:lnTo>
                    <a:pt x="63" y="16"/>
                  </a:lnTo>
                  <a:lnTo>
                    <a:pt x="69" y="16"/>
                  </a:lnTo>
                  <a:lnTo>
                    <a:pt x="74" y="16"/>
                  </a:lnTo>
                  <a:lnTo>
                    <a:pt x="76" y="16"/>
                  </a:lnTo>
                  <a:lnTo>
                    <a:pt x="78" y="16"/>
                  </a:lnTo>
                  <a:lnTo>
                    <a:pt x="80" y="16"/>
                  </a:lnTo>
                  <a:lnTo>
                    <a:pt x="78" y="16"/>
                  </a:lnTo>
                  <a:lnTo>
                    <a:pt x="78" y="14"/>
                  </a:lnTo>
                  <a:lnTo>
                    <a:pt x="80" y="14"/>
                  </a:lnTo>
                  <a:lnTo>
                    <a:pt x="82" y="14"/>
                  </a:lnTo>
                  <a:lnTo>
                    <a:pt x="84" y="14"/>
                  </a:lnTo>
                  <a:lnTo>
                    <a:pt x="84" y="16"/>
                  </a:lnTo>
                  <a:lnTo>
                    <a:pt x="86" y="16"/>
                  </a:lnTo>
                  <a:lnTo>
                    <a:pt x="86" y="18"/>
                  </a:lnTo>
                  <a:lnTo>
                    <a:pt x="88" y="18"/>
                  </a:lnTo>
                  <a:lnTo>
                    <a:pt x="90" y="18"/>
                  </a:lnTo>
                  <a:lnTo>
                    <a:pt x="92" y="18"/>
                  </a:lnTo>
                  <a:lnTo>
                    <a:pt x="92" y="20"/>
                  </a:lnTo>
                  <a:lnTo>
                    <a:pt x="92" y="18"/>
                  </a:lnTo>
                  <a:lnTo>
                    <a:pt x="94" y="18"/>
                  </a:lnTo>
                  <a:lnTo>
                    <a:pt x="95" y="18"/>
                  </a:lnTo>
                  <a:lnTo>
                    <a:pt x="95" y="16"/>
                  </a:lnTo>
                  <a:lnTo>
                    <a:pt x="97" y="16"/>
                  </a:lnTo>
                  <a:lnTo>
                    <a:pt x="99" y="16"/>
                  </a:lnTo>
                  <a:lnTo>
                    <a:pt x="99" y="18"/>
                  </a:lnTo>
                  <a:lnTo>
                    <a:pt x="101" y="18"/>
                  </a:lnTo>
                  <a:lnTo>
                    <a:pt x="103" y="18"/>
                  </a:lnTo>
                  <a:lnTo>
                    <a:pt x="105" y="18"/>
                  </a:lnTo>
                  <a:lnTo>
                    <a:pt x="105" y="16"/>
                  </a:lnTo>
                  <a:lnTo>
                    <a:pt x="107" y="16"/>
                  </a:lnTo>
                  <a:lnTo>
                    <a:pt x="107" y="18"/>
                  </a:lnTo>
                  <a:lnTo>
                    <a:pt x="107" y="16"/>
                  </a:lnTo>
                  <a:lnTo>
                    <a:pt x="109" y="16"/>
                  </a:lnTo>
                  <a:lnTo>
                    <a:pt x="109" y="14"/>
                  </a:lnTo>
                  <a:lnTo>
                    <a:pt x="111" y="14"/>
                  </a:lnTo>
                  <a:lnTo>
                    <a:pt x="111" y="12"/>
                  </a:lnTo>
                  <a:lnTo>
                    <a:pt x="113" y="12"/>
                  </a:lnTo>
                  <a:lnTo>
                    <a:pt x="115" y="12"/>
                  </a:lnTo>
                  <a:lnTo>
                    <a:pt x="117" y="12"/>
                  </a:lnTo>
                  <a:lnTo>
                    <a:pt x="119" y="12"/>
                  </a:lnTo>
                  <a:lnTo>
                    <a:pt x="119" y="14"/>
                  </a:lnTo>
                  <a:lnTo>
                    <a:pt x="120" y="14"/>
                  </a:lnTo>
                  <a:lnTo>
                    <a:pt x="120" y="12"/>
                  </a:lnTo>
                  <a:lnTo>
                    <a:pt x="122" y="12"/>
                  </a:lnTo>
                  <a:lnTo>
                    <a:pt x="124" y="12"/>
                  </a:lnTo>
                  <a:lnTo>
                    <a:pt x="124" y="10"/>
                  </a:lnTo>
                  <a:lnTo>
                    <a:pt x="126" y="10"/>
                  </a:lnTo>
                  <a:lnTo>
                    <a:pt x="128" y="10"/>
                  </a:lnTo>
                  <a:lnTo>
                    <a:pt x="130" y="10"/>
                  </a:lnTo>
                  <a:lnTo>
                    <a:pt x="132" y="10"/>
                  </a:lnTo>
                  <a:lnTo>
                    <a:pt x="132" y="8"/>
                  </a:lnTo>
                  <a:lnTo>
                    <a:pt x="134" y="8"/>
                  </a:lnTo>
                  <a:lnTo>
                    <a:pt x="136" y="8"/>
                  </a:lnTo>
                  <a:lnTo>
                    <a:pt x="136" y="6"/>
                  </a:lnTo>
                  <a:lnTo>
                    <a:pt x="138" y="6"/>
                  </a:lnTo>
                  <a:lnTo>
                    <a:pt x="140" y="6"/>
                  </a:lnTo>
                  <a:lnTo>
                    <a:pt x="140" y="4"/>
                  </a:lnTo>
                  <a:lnTo>
                    <a:pt x="142" y="4"/>
                  </a:lnTo>
                  <a:lnTo>
                    <a:pt x="143" y="4"/>
                  </a:lnTo>
                  <a:lnTo>
                    <a:pt x="143" y="2"/>
                  </a:lnTo>
                  <a:lnTo>
                    <a:pt x="145" y="2"/>
                  </a:lnTo>
                  <a:lnTo>
                    <a:pt x="145" y="0"/>
                  </a:lnTo>
                  <a:lnTo>
                    <a:pt x="147" y="0"/>
                  </a:lnTo>
                  <a:lnTo>
                    <a:pt x="149" y="0"/>
                  </a:lnTo>
                  <a:lnTo>
                    <a:pt x="151" y="0"/>
                  </a:lnTo>
                  <a:lnTo>
                    <a:pt x="151" y="2"/>
                  </a:lnTo>
                  <a:lnTo>
                    <a:pt x="149" y="2"/>
                  </a:lnTo>
                  <a:lnTo>
                    <a:pt x="149" y="4"/>
                  </a:lnTo>
                  <a:lnTo>
                    <a:pt x="151" y="4"/>
                  </a:lnTo>
                  <a:lnTo>
                    <a:pt x="151" y="6"/>
                  </a:lnTo>
                  <a:lnTo>
                    <a:pt x="149" y="6"/>
                  </a:lnTo>
                  <a:lnTo>
                    <a:pt x="149" y="8"/>
                  </a:lnTo>
                  <a:lnTo>
                    <a:pt x="151" y="8"/>
                  </a:lnTo>
                  <a:lnTo>
                    <a:pt x="149" y="8"/>
                  </a:lnTo>
                  <a:lnTo>
                    <a:pt x="149" y="10"/>
                  </a:lnTo>
                  <a:lnTo>
                    <a:pt x="149" y="12"/>
                  </a:lnTo>
                  <a:lnTo>
                    <a:pt x="147" y="12"/>
                  </a:lnTo>
                  <a:lnTo>
                    <a:pt x="147" y="14"/>
                  </a:lnTo>
                  <a:lnTo>
                    <a:pt x="149" y="14"/>
                  </a:lnTo>
                  <a:lnTo>
                    <a:pt x="149" y="16"/>
                  </a:lnTo>
                  <a:lnTo>
                    <a:pt x="147" y="16"/>
                  </a:lnTo>
                  <a:lnTo>
                    <a:pt x="149" y="16"/>
                  </a:lnTo>
                  <a:lnTo>
                    <a:pt x="149" y="18"/>
                  </a:lnTo>
                  <a:lnTo>
                    <a:pt x="147" y="18"/>
                  </a:lnTo>
                  <a:lnTo>
                    <a:pt x="149" y="18"/>
                  </a:lnTo>
                  <a:lnTo>
                    <a:pt x="147" y="18"/>
                  </a:lnTo>
                  <a:lnTo>
                    <a:pt x="149" y="18"/>
                  </a:lnTo>
                  <a:lnTo>
                    <a:pt x="149" y="20"/>
                  </a:lnTo>
                  <a:lnTo>
                    <a:pt x="149" y="22"/>
                  </a:lnTo>
                  <a:lnTo>
                    <a:pt x="149" y="24"/>
                  </a:lnTo>
                  <a:lnTo>
                    <a:pt x="149" y="25"/>
                  </a:lnTo>
                  <a:lnTo>
                    <a:pt x="149" y="27"/>
                  </a:lnTo>
                  <a:lnTo>
                    <a:pt x="149" y="29"/>
                  </a:lnTo>
                  <a:lnTo>
                    <a:pt x="149" y="27"/>
                  </a:lnTo>
                  <a:lnTo>
                    <a:pt x="149" y="29"/>
                  </a:lnTo>
                  <a:lnTo>
                    <a:pt x="149" y="27"/>
                  </a:lnTo>
                  <a:lnTo>
                    <a:pt x="149" y="29"/>
                  </a:lnTo>
                  <a:lnTo>
                    <a:pt x="149" y="27"/>
                  </a:lnTo>
                  <a:lnTo>
                    <a:pt x="151" y="27"/>
                  </a:lnTo>
                  <a:lnTo>
                    <a:pt x="151" y="29"/>
                  </a:lnTo>
                  <a:lnTo>
                    <a:pt x="149" y="29"/>
                  </a:lnTo>
                  <a:lnTo>
                    <a:pt x="149" y="31"/>
                  </a:lnTo>
                  <a:lnTo>
                    <a:pt x="151" y="31"/>
                  </a:lnTo>
                  <a:lnTo>
                    <a:pt x="149" y="31"/>
                  </a:lnTo>
                  <a:lnTo>
                    <a:pt x="151" y="31"/>
                  </a:lnTo>
                  <a:lnTo>
                    <a:pt x="151" y="33"/>
                  </a:lnTo>
                  <a:lnTo>
                    <a:pt x="151" y="35"/>
                  </a:lnTo>
                  <a:lnTo>
                    <a:pt x="149" y="35"/>
                  </a:lnTo>
                  <a:lnTo>
                    <a:pt x="151" y="35"/>
                  </a:lnTo>
                  <a:lnTo>
                    <a:pt x="149" y="35"/>
                  </a:lnTo>
                  <a:lnTo>
                    <a:pt x="151" y="35"/>
                  </a:lnTo>
                  <a:lnTo>
                    <a:pt x="149" y="35"/>
                  </a:lnTo>
                  <a:lnTo>
                    <a:pt x="149" y="37"/>
                  </a:lnTo>
                  <a:lnTo>
                    <a:pt x="149" y="35"/>
                  </a:lnTo>
                  <a:lnTo>
                    <a:pt x="149" y="37"/>
                  </a:lnTo>
                  <a:lnTo>
                    <a:pt x="147" y="37"/>
                  </a:lnTo>
                  <a:lnTo>
                    <a:pt x="149" y="37"/>
                  </a:lnTo>
                  <a:lnTo>
                    <a:pt x="147" y="37"/>
                  </a:lnTo>
                  <a:lnTo>
                    <a:pt x="149" y="37"/>
                  </a:lnTo>
                  <a:lnTo>
                    <a:pt x="149" y="39"/>
                  </a:lnTo>
                  <a:lnTo>
                    <a:pt x="149" y="37"/>
                  </a:lnTo>
                  <a:lnTo>
                    <a:pt x="149" y="39"/>
                  </a:lnTo>
                  <a:lnTo>
                    <a:pt x="149" y="37"/>
                  </a:lnTo>
                  <a:lnTo>
                    <a:pt x="149" y="39"/>
                  </a:lnTo>
                  <a:lnTo>
                    <a:pt x="149" y="37"/>
                  </a:lnTo>
                  <a:lnTo>
                    <a:pt x="151" y="37"/>
                  </a:lnTo>
                  <a:lnTo>
                    <a:pt x="151" y="39"/>
                  </a:lnTo>
                  <a:lnTo>
                    <a:pt x="149" y="39"/>
                  </a:lnTo>
                  <a:lnTo>
                    <a:pt x="149" y="41"/>
                  </a:lnTo>
                  <a:lnTo>
                    <a:pt x="151" y="41"/>
                  </a:lnTo>
                  <a:lnTo>
                    <a:pt x="149" y="41"/>
                  </a:lnTo>
                  <a:lnTo>
                    <a:pt x="151" y="41"/>
                  </a:lnTo>
                  <a:lnTo>
                    <a:pt x="149" y="41"/>
                  </a:lnTo>
                  <a:lnTo>
                    <a:pt x="151" y="41"/>
                  </a:lnTo>
                  <a:lnTo>
                    <a:pt x="149" y="41"/>
                  </a:lnTo>
                  <a:lnTo>
                    <a:pt x="149" y="43"/>
                  </a:lnTo>
                  <a:lnTo>
                    <a:pt x="151" y="43"/>
                  </a:lnTo>
                  <a:lnTo>
                    <a:pt x="149" y="43"/>
                  </a:lnTo>
                  <a:lnTo>
                    <a:pt x="149" y="45"/>
                  </a:lnTo>
                  <a:lnTo>
                    <a:pt x="149" y="47"/>
                  </a:lnTo>
                  <a:lnTo>
                    <a:pt x="151" y="47"/>
                  </a:lnTo>
                  <a:lnTo>
                    <a:pt x="149" y="47"/>
                  </a:lnTo>
                  <a:lnTo>
                    <a:pt x="149" y="48"/>
                  </a:lnTo>
                  <a:lnTo>
                    <a:pt x="151" y="48"/>
                  </a:lnTo>
                  <a:lnTo>
                    <a:pt x="151" y="50"/>
                  </a:lnTo>
                  <a:lnTo>
                    <a:pt x="151" y="52"/>
                  </a:lnTo>
                  <a:lnTo>
                    <a:pt x="151" y="54"/>
                  </a:lnTo>
                  <a:lnTo>
                    <a:pt x="149" y="54"/>
                  </a:lnTo>
                  <a:lnTo>
                    <a:pt x="149" y="56"/>
                  </a:lnTo>
                  <a:lnTo>
                    <a:pt x="151" y="56"/>
                  </a:lnTo>
                  <a:lnTo>
                    <a:pt x="153" y="56"/>
                  </a:lnTo>
                  <a:lnTo>
                    <a:pt x="153" y="58"/>
                  </a:lnTo>
                  <a:lnTo>
                    <a:pt x="151" y="58"/>
                  </a:lnTo>
                  <a:lnTo>
                    <a:pt x="151" y="60"/>
                  </a:lnTo>
                  <a:lnTo>
                    <a:pt x="151" y="62"/>
                  </a:lnTo>
                  <a:lnTo>
                    <a:pt x="151" y="60"/>
                  </a:lnTo>
                  <a:lnTo>
                    <a:pt x="153" y="60"/>
                  </a:lnTo>
                  <a:lnTo>
                    <a:pt x="153" y="58"/>
                  </a:lnTo>
                  <a:lnTo>
                    <a:pt x="153" y="60"/>
                  </a:lnTo>
                  <a:lnTo>
                    <a:pt x="155" y="60"/>
                  </a:lnTo>
                  <a:lnTo>
                    <a:pt x="153" y="60"/>
                  </a:lnTo>
                  <a:lnTo>
                    <a:pt x="155" y="60"/>
                  </a:lnTo>
                  <a:lnTo>
                    <a:pt x="153" y="60"/>
                  </a:lnTo>
                  <a:lnTo>
                    <a:pt x="153" y="62"/>
                  </a:lnTo>
                  <a:lnTo>
                    <a:pt x="153" y="60"/>
                  </a:lnTo>
                  <a:lnTo>
                    <a:pt x="155" y="60"/>
                  </a:lnTo>
                  <a:lnTo>
                    <a:pt x="155" y="62"/>
                  </a:lnTo>
                  <a:lnTo>
                    <a:pt x="153" y="62"/>
                  </a:lnTo>
                  <a:lnTo>
                    <a:pt x="155" y="62"/>
                  </a:lnTo>
                  <a:lnTo>
                    <a:pt x="155" y="64"/>
                  </a:lnTo>
                  <a:lnTo>
                    <a:pt x="153" y="64"/>
                  </a:lnTo>
                  <a:lnTo>
                    <a:pt x="155" y="64"/>
                  </a:lnTo>
                  <a:lnTo>
                    <a:pt x="155" y="66"/>
                  </a:lnTo>
                  <a:lnTo>
                    <a:pt x="153" y="66"/>
                  </a:lnTo>
                  <a:lnTo>
                    <a:pt x="151" y="66"/>
                  </a:lnTo>
                  <a:lnTo>
                    <a:pt x="153" y="66"/>
                  </a:lnTo>
                  <a:lnTo>
                    <a:pt x="153" y="68"/>
                  </a:lnTo>
                  <a:lnTo>
                    <a:pt x="151" y="68"/>
                  </a:lnTo>
                  <a:lnTo>
                    <a:pt x="153" y="68"/>
                  </a:lnTo>
                  <a:lnTo>
                    <a:pt x="153" y="70"/>
                  </a:lnTo>
                  <a:lnTo>
                    <a:pt x="151" y="70"/>
                  </a:lnTo>
                  <a:lnTo>
                    <a:pt x="149" y="70"/>
                  </a:lnTo>
                  <a:lnTo>
                    <a:pt x="149" y="72"/>
                  </a:lnTo>
                  <a:lnTo>
                    <a:pt x="149" y="70"/>
                  </a:lnTo>
                  <a:lnTo>
                    <a:pt x="149" y="72"/>
                  </a:lnTo>
                  <a:lnTo>
                    <a:pt x="149" y="70"/>
                  </a:lnTo>
                  <a:lnTo>
                    <a:pt x="149" y="72"/>
                  </a:lnTo>
                  <a:lnTo>
                    <a:pt x="151" y="72"/>
                  </a:lnTo>
                  <a:lnTo>
                    <a:pt x="151" y="70"/>
                  </a:lnTo>
                  <a:lnTo>
                    <a:pt x="151" y="72"/>
                  </a:lnTo>
                  <a:lnTo>
                    <a:pt x="151" y="73"/>
                  </a:lnTo>
                  <a:lnTo>
                    <a:pt x="149" y="73"/>
                  </a:lnTo>
                  <a:lnTo>
                    <a:pt x="151" y="73"/>
                  </a:lnTo>
                  <a:lnTo>
                    <a:pt x="151" y="75"/>
                  </a:lnTo>
                  <a:lnTo>
                    <a:pt x="149" y="75"/>
                  </a:lnTo>
                  <a:lnTo>
                    <a:pt x="149" y="73"/>
                  </a:lnTo>
                  <a:lnTo>
                    <a:pt x="151" y="73"/>
                  </a:lnTo>
                  <a:lnTo>
                    <a:pt x="149" y="73"/>
                  </a:lnTo>
                  <a:lnTo>
                    <a:pt x="149" y="75"/>
                  </a:lnTo>
                  <a:lnTo>
                    <a:pt x="149" y="73"/>
                  </a:lnTo>
                  <a:lnTo>
                    <a:pt x="149" y="75"/>
                  </a:lnTo>
                  <a:lnTo>
                    <a:pt x="151" y="75"/>
                  </a:lnTo>
                  <a:lnTo>
                    <a:pt x="149" y="75"/>
                  </a:lnTo>
                  <a:lnTo>
                    <a:pt x="149" y="77"/>
                  </a:lnTo>
                  <a:lnTo>
                    <a:pt x="147" y="77"/>
                  </a:lnTo>
                  <a:lnTo>
                    <a:pt x="147" y="79"/>
                  </a:lnTo>
                  <a:lnTo>
                    <a:pt x="145" y="79"/>
                  </a:lnTo>
                  <a:lnTo>
                    <a:pt x="145" y="81"/>
                  </a:lnTo>
                  <a:lnTo>
                    <a:pt x="143" y="81"/>
                  </a:lnTo>
                  <a:lnTo>
                    <a:pt x="143" y="83"/>
                  </a:lnTo>
                  <a:lnTo>
                    <a:pt x="143" y="85"/>
                  </a:lnTo>
                  <a:lnTo>
                    <a:pt x="142" y="85"/>
                  </a:lnTo>
                  <a:lnTo>
                    <a:pt x="142" y="87"/>
                  </a:lnTo>
                  <a:lnTo>
                    <a:pt x="140" y="87"/>
                  </a:lnTo>
                  <a:lnTo>
                    <a:pt x="142" y="87"/>
                  </a:lnTo>
                  <a:lnTo>
                    <a:pt x="142" y="89"/>
                  </a:lnTo>
                  <a:lnTo>
                    <a:pt x="140" y="89"/>
                  </a:lnTo>
                  <a:lnTo>
                    <a:pt x="142" y="89"/>
                  </a:lnTo>
                  <a:lnTo>
                    <a:pt x="140" y="89"/>
                  </a:lnTo>
                  <a:lnTo>
                    <a:pt x="140" y="91"/>
                  </a:lnTo>
                  <a:lnTo>
                    <a:pt x="138" y="91"/>
                  </a:lnTo>
                  <a:lnTo>
                    <a:pt x="136" y="91"/>
                  </a:lnTo>
                  <a:lnTo>
                    <a:pt x="136" y="93"/>
                  </a:lnTo>
                  <a:lnTo>
                    <a:pt x="134" y="93"/>
                  </a:lnTo>
                  <a:lnTo>
                    <a:pt x="134" y="95"/>
                  </a:lnTo>
                  <a:lnTo>
                    <a:pt x="132" y="95"/>
                  </a:lnTo>
                  <a:lnTo>
                    <a:pt x="130" y="95"/>
                  </a:lnTo>
                  <a:lnTo>
                    <a:pt x="130" y="97"/>
                  </a:lnTo>
                  <a:lnTo>
                    <a:pt x="128" y="97"/>
                  </a:lnTo>
                  <a:lnTo>
                    <a:pt x="130" y="97"/>
                  </a:lnTo>
                  <a:lnTo>
                    <a:pt x="128" y="98"/>
                  </a:lnTo>
                  <a:lnTo>
                    <a:pt x="126" y="98"/>
                  </a:lnTo>
                  <a:lnTo>
                    <a:pt x="124" y="98"/>
                  </a:lnTo>
                  <a:lnTo>
                    <a:pt x="122" y="98"/>
                  </a:lnTo>
                  <a:lnTo>
                    <a:pt x="122" y="100"/>
                  </a:lnTo>
                  <a:lnTo>
                    <a:pt x="120" y="100"/>
                  </a:lnTo>
                  <a:lnTo>
                    <a:pt x="119" y="100"/>
                  </a:lnTo>
                  <a:lnTo>
                    <a:pt x="117" y="100"/>
                  </a:lnTo>
                  <a:lnTo>
                    <a:pt x="117" y="102"/>
                  </a:lnTo>
                  <a:lnTo>
                    <a:pt x="115" y="102"/>
                  </a:lnTo>
                  <a:lnTo>
                    <a:pt x="113" y="102"/>
                  </a:lnTo>
                  <a:lnTo>
                    <a:pt x="113" y="104"/>
                  </a:lnTo>
                  <a:lnTo>
                    <a:pt x="111" y="104"/>
                  </a:lnTo>
                  <a:lnTo>
                    <a:pt x="109" y="104"/>
                  </a:lnTo>
                  <a:lnTo>
                    <a:pt x="109" y="106"/>
                  </a:lnTo>
                  <a:lnTo>
                    <a:pt x="107" y="106"/>
                  </a:lnTo>
                  <a:lnTo>
                    <a:pt x="105" y="106"/>
                  </a:lnTo>
                  <a:lnTo>
                    <a:pt x="105" y="108"/>
                  </a:lnTo>
                  <a:lnTo>
                    <a:pt x="103" y="108"/>
                  </a:lnTo>
                  <a:lnTo>
                    <a:pt x="101" y="110"/>
                  </a:lnTo>
                  <a:lnTo>
                    <a:pt x="99" y="110"/>
                  </a:lnTo>
                  <a:lnTo>
                    <a:pt x="99" y="112"/>
                  </a:lnTo>
                  <a:lnTo>
                    <a:pt x="99" y="114"/>
                  </a:lnTo>
                  <a:lnTo>
                    <a:pt x="97" y="114"/>
                  </a:lnTo>
                  <a:lnTo>
                    <a:pt x="97" y="116"/>
                  </a:lnTo>
                  <a:lnTo>
                    <a:pt x="95" y="116"/>
                  </a:lnTo>
                  <a:lnTo>
                    <a:pt x="95" y="118"/>
                  </a:lnTo>
                  <a:lnTo>
                    <a:pt x="95" y="116"/>
                  </a:lnTo>
                  <a:lnTo>
                    <a:pt x="95" y="118"/>
                  </a:lnTo>
                  <a:lnTo>
                    <a:pt x="94" y="118"/>
                  </a:lnTo>
                  <a:lnTo>
                    <a:pt x="95" y="118"/>
                  </a:lnTo>
                  <a:lnTo>
                    <a:pt x="94" y="118"/>
                  </a:lnTo>
                  <a:lnTo>
                    <a:pt x="94" y="120"/>
                  </a:lnTo>
                  <a:lnTo>
                    <a:pt x="92" y="120"/>
                  </a:lnTo>
                  <a:lnTo>
                    <a:pt x="92" y="121"/>
                  </a:lnTo>
                  <a:lnTo>
                    <a:pt x="90" y="121"/>
                  </a:lnTo>
                  <a:lnTo>
                    <a:pt x="90" y="123"/>
                  </a:lnTo>
                  <a:lnTo>
                    <a:pt x="90" y="125"/>
                  </a:lnTo>
                  <a:lnTo>
                    <a:pt x="88" y="125"/>
                  </a:lnTo>
                  <a:lnTo>
                    <a:pt x="90" y="125"/>
                  </a:lnTo>
                  <a:lnTo>
                    <a:pt x="88" y="125"/>
                  </a:lnTo>
                  <a:lnTo>
                    <a:pt x="88" y="127"/>
                  </a:lnTo>
                  <a:lnTo>
                    <a:pt x="86" y="127"/>
                  </a:lnTo>
                  <a:lnTo>
                    <a:pt x="84" y="127"/>
                  </a:lnTo>
                  <a:lnTo>
                    <a:pt x="82" y="127"/>
                  </a:lnTo>
                  <a:lnTo>
                    <a:pt x="82" y="129"/>
                  </a:lnTo>
                  <a:lnTo>
                    <a:pt x="82" y="127"/>
                  </a:lnTo>
                  <a:lnTo>
                    <a:pt x="82" y="129"/>
                  </a:lnTo>
                  <a:lnTo>
                    <a:pt x="80" y="129"/>
                  </a:lnTo>
                  <a:lnTo>
                    <a:pt x="80" y="131"/>
                  </a:lnTo>
                  <a:lnTo>
                    <a:pt x="80" y="129"/>
                  </a:lnTo>
                  <a:lnTo>
                    <a:pt x="80" y="131"/>
                  </a:lnTo>
                  <a:lnTo>
                    <a:pt x="78" y="131"/>
                  </a:lnTo>
                  <a:lnTo>
                    <a:pt x="78" y="133"/>
                  </a:lnTo>
                  <a:lnTo>
                    <a:pt x="76" y="133"/>
                  </a:lnTo>
                  <a:lnTo>
                    <a:pt x="76" y="135"/>
                  </a:lnTo>
                  <a:lnTo>
                    <a:pt x="74" y="135"/>
                  </a:lnTo>
                  <a:lnTo>
                    <a:pt x="74" y="137"/>
                  </a:lnTo>
                  <a:lnTo>
                    <a:pt x="72" y="137"/>
                  </a:lnTo>
                  <a:lnTo>
                    <a:pt x="72" y="139"/>
                  </a:lnTo>
                  <a:lnTo>
                    <a:pt x="72" y="137"/>
                  </a:lnTo>
                  <a:lnTo>
                    <a:pt x="72" y="139"/>
                  </a:lnTo>
                  <a:lnTo>
                    <a:pt x="71" y="139"/>
                  </a:lnTo>
                  <a:lnTo>
                    <a:pt x="71" y="141"/>
                  </a:lnTo>
                  <a:lnTo>
                    <a:pt x="69" y="141"/>
                  </a:lnTo>
                  <a:lnTo>
                    <a:pt x="67" y="143"/>
                  </a:lnTo>
                  <a:lnTo>
                    <a:pt x="67" y="141"/>
                  </a:lnTo>
                  <a:lnTo>
                    <a:pt x="65" y="141"/>
                  </a:lnTo>
                  <a:lnTo>
                    <a:pt x="65" y="143"/>
                  </a:lnTo>
                  <a:lnTo>
                    <a:pt x="65" y="145"/>
                  </a:lnTo>
                  <a:lnTo>
                    <a:pt x="65" y="146"/>
                  </a:lnTo>
                  <a:lnTo>
                    <a:pt x="65" y="148"/>
                  </a:lnTo>
                  <a:lnTo>
                    <a:pt x="65" y="150"/>
                  </a:lnTo>
                  <a:lnTo>
                    <a:pt x="63" y="150"/>
                  </a:lnTo>
                  <a:lnTo>
                    <a:pt x="65" y="150"/>
                  </a:lnTo>
                  <a:lnTo>
                    <a:pt x="65" y="152"/>
                  </a:lnTo>
                  <a:lnTo>
                    <a:pt x="65" y="150"/>
                  </a:lnTo>
                  <a:lnTo>
                    <a:pt x="65" y="152"/>
                  </a:lnTo>
                  <a:lnTo>
                    <a:pt x="65" y="154"/>
                  </a:lnTo>
                  <a:lnTo>
                    <a:pt x="67" y="154"/>
                  </a:lnTo>
                  <a:lnTo>
                    <a:pt x="65" y="154"/>
                  </a:lnTo>
                  <a:lnTo>
                    <a:pt x="67" y="154"/>
                  </a:lnTo>
                  <a:lnTo>
                    <a:pt x="67" y="156"/>
                  </a:lnTo>
                  <a:lnTo>
                    <a:pt x="65" y="156"/>
                  </a:lnTo>
                  <a:lnTo>
                    <a:pt x="67" y="156"/>
                  </a:lnTo>
                  <a:lnTo>
                    <a:pt x="65" y="156"/>
                  </a:lnTo>
                  <a:lnTo>
                    <a:pt x="67" y="156"/>
                  </a:lnTo>
                  <a:lnTo>
                    <a:pt x="67" y="154"/>
                  </a:lnTo>
                  <a:lnTo>
                    <a:pt x="67" y="156"/>
                  </a:lnTo>
                  <a:lnTo>
                    <a:pt x="67" y="154"/>
                  </a:lnTo>
                  <a:lnTo>
                    <a:pt x="67" y="156"/>
                  </a:lnTo>
                  <a:lnTo>
                    <a:pt x="69" y="156"/>
                  </a:lnTo>
                  <a:lnTo>
                    <a:pt x="69" y="158"/>
                  </a:lnTo>
                  <a:lnTo>
                    <a:pt x="69" y="156"/>
                  </a:lnTo>
                  <a:lnTo>
                    <a:pt x="69" y="158"/>
                  </a:lnTo>
                  <a:lnTo>
                    <a:pt x="71" y="158"/>
                  </a:lnTo>
                  <a:lnTo>
                    <a:pt x="69" y="158"/>
                  </a:lnTo>
                  <a:lnTo>
                    <a:pt x="71" y="158"/>
                  </a:lnTo>
                  <a:lnTo>
                    <a:pt x="71" y="160"/>
                  </a:lnTo>
                  <a:lnTo>
                    <a:pt x="71" y="162"/>
                  </a:lnTo>
                  <a:lnTo>
                    <a:pt x="69" y="162"/>
                  </a:lnTo>
                  <a:lnTo>
                    <a:pt x="71" y="162"/>
                  </a:lnTo>
                  <a:lnTo>
                    <a:pt x="71" y="164"/>
                  </a:lnTo>
                  <a:lnTo>
                    <a:pt x="69" y="164"/>
                  </a:lnTo>
                  <a:lnTo>
                    <a:pt x="71" y="164"/>
                  </a:lnTo>
                  <a:lnTo>
                    <a:pt x="71" y="166"/>
                  </a:lnTo>
                  <a:lnTo>
                    <a:pt x="71" y="164"/>
                  </a:lnTo>
                  <a:lnTo>
                    <a:pt x="71" y="166"/>
                  </a:lnTo>
                  <a:lnTo>
                    <a:pt x="71" y="168"/>
                  </a:lnTo>
                  <a:lnTo>
                    <a:pt x="72" y="168"/>
                  </a:lnTo>
                  <a:lnTo>
                    <a:pt x="72" y="169"/>
                  </a:lnTo>
                  <a:lnTo>
                    <a:pt x="72" y="171"/>
                  </a:lnTo>
                  <a:lnTo>
                    <a:pt x="72" y="173"/>
                  </a:lnTo>
                  <a:lnTo>
                    <a:pt x="74" y="173"/>
                  </a:lnTo>
                  <a:lnTo>
                    <a:pt x="74" y="175"/>
                  </a:lnTo>
                  <a:lnTo>
                    <a:pt x="72" y="175"/>
                  </a:lnTo>
                  <a:lnTo>
                    <a:pt x="74" y="175"/>
                  </a:lnTo>
                  <a:lnTo>
                    <a:pt x="74" y="177"/>
                  </a:lnTo>
                  <a:lnTo>
                    <a:pt x="74" y="179"/>
                  </a:lnTo>
                  <a:lnTo>
                    <a:pt x="76" y="179"/>
                  </a:lnTo>
                  <a:lnTo>
                    <a:pt x="76" y="177"/>
                  </a:lnTo>
                  <a:lnTo>
                    <a:pt x="74" y="177"/>
                  </a:lnTo>
                  <a:lnTo>
                    <a:pt x="76" y="177"/>
                  </a:lnTo>
                  <a:lnTo>
                    <a:pt x="76" y="179"/>
                  </a:lnTo>
                  <a:lnTo>
                    <a:pt x="76" y="181"/>
                  </a:lnTo>
                  <a:lnTo>
                    <a:pt x="76" y="179"/>
                  </a:lnTo>
                  <a:lnTo>
                    <a:pt x="76" y="181"/>
                  </a:lnTo>
                  <a:lnTo>
                    <a:pt x="76" y="183"/>
                  </a:lnTo>
                  <a:lnTo>
                    <a:pt x="76" y="185"/>
                  </a:lnTo>
                  <a:lnTo>
                    <a:pt x="76" y="187"/>
                  </a:lnTo>
                  <a:lnTo>
                    <a:pt x="76" y="189"/>
                  </a:lnTo>
                  <a:lnTo>
                    <a:pt x="76" y="191"/>
                  </a:lnTo>
                  <a:lnTo>
                    <a:pt x="78" y="191"/>
                  </a:lnTo>
                  <a:lnTo>
                    <a:pt x="76" y="191"/>
                  </a:lnTo>
                  <a:lnTo>
                    <a:pt x="78" y="191"/>
                  </a:lnTo>
                  <a:lnTo>
                    <a:pt x="76" y="191"/>
                  </a:lnTo>
                  <a:lnTo>
                    <a:pt x="76" y="193"/>
                  </a:lnTo>
                  <a:lnTo>
                    <a:pt x="76" y="194"/>
                  </a:lnTo>
                  <a:lnTo>
                    <a:pt x="76" y="196"/>
                  </a:lnTo>
                  <a:lnTo>
                    <a:pt x="76" y="198"/>
                  </a:lnTo>
                  <a:lnTo>
                    <a:pt x="74" y="198"/>
                  </a:lnTo>
                  <a:lnTo>
                    <a:pt x="74" y="200"/>
                  </a:lnTo>
                  <a:lnTo>
                    <a:pt x="74" y="202"/>
                  </a:lnTo>
                  <a:lnTo>
                    <a:pt x="74" y="204"/>
                  </a:lnTo>
                  <a:lnTo>
                    <a:pt x="74" y="202"/>
                  </a:lnTo>
                  <a:lnTo>
                    <a:pt x="74" y="204"/>
                  </a:lnTo>
                  <a:lnTo>
                    <a:pt x="74" y="206"/>
                  </a:lnTo>
                  <a:lnTo>
                    <a:pt x="74" y="208"/>
                  </a:lnTo>
                  <a:lnTo>
                    <a:pt x="74" y="206"/>
                  </a:lnTo>
                  <a:lnTo>
                    <a:pt x="74" y="204"/>
                  </a:lnTo>
                  <a:lnTo>
                    <a:pt x="74" y="206"/>
                  </a:lnTo>
                  <a:lnTo>
                    <a:pt x="76" y="206"/>
                  </a:lnTo>
                  <a:lnTo>
                    <a:pt x="74" y="206"/>
                  </a:lnTo>
                  <a:lnTo>
                    <a:pt x="76" y="206"/>
                  </a:lnTo>
                  <a:lnTo>
                    <a:pt x="76" y="204"/>
                  </a:lnTo>
                  <a:lnTo>
                    <a:pt x="76" y="206"/>
                  </a:lnTo>
                  <a:lnTo>
                    <a:pt x="76" y="208"/>
                  </a:lnTo>
                  <a:lnTo>
                    <a:pt x="76" y="210"/>
                  </a:lnTo>
                  <a:lnTo>
                    <a:pt x="74" y="210"/>
                  </a:lnTo>
                  <a:lnTo>
                    <a:pt x="74" y="212"/>
                  </a:lnTo>
                  <a:lnTo>
                    <a:pt x="74" y="214"/>
                  </a:lnTo>
                  <a:lnTo>
                    <a:pt x="72" y="214"/>
                  </a:lnTo>
                  <a:lnTo>
                    <a:pt x="72" y="216"/>
                  </a:lnTo>
                  <a:lnTo>
                    <a:pt x="71" y="216"/>
                  </a:lnTo>
                  <a:lnTo>
                    <a:pt x="71" y="218"/>
                  </a:lnTo>
                  <a:lnTo>
                    <a:pt x="69" y="218"/>
                  </a:lnTo>
                  <a:lnTo>
                    <a:pt x="69" y="219"/>
                  </a:lnTo>
                  <a:lnTo>
                    <a:pt x="67" y="219"/>
                  </a:lnTo>
                  <a:lnTo>
                    <a:pt x="65" y="219"/>
                  </a:lnTo>
                  <a:lnTo>
                    <a:pt x="65" y="221"/>
                  </a:lnTo>
                  <a:lnTo>
                    <a:pt x="63" y="221"/>
                  </a:lnTo>
                  <a:lnTo>
                    <a:pt x="61" y="221"/>
                  </a:lnTo>
                  <a:lnTo>
                    <a:pt x="59" y="221"/>
                  </a:lnTo>
                  <a:lnTo>
                    <a:pt x="59" y="223"/>
                  </a:lnTo>
                  <a:lnTo>
                    <a:pt x="57" y="223"/>
                  </a:lnTo>
                  <a:lnTo>
                    <a:pt x="55" y="223"/>
                  </a:lnTo>
                  <a:lnTo>
                    <a:pt x="53" y="223"/>
                  </a:lnTo>
                  <a:lnTo>
                    <a:pt x="53" y="225"/>
                  </a:lnTo>
                  <a:lnTo>
                    <a:pt x="51" y="225"/>
                  </a:lnTo>
                  <a:lnTo>
                    <a:pt x="49" y="225"/>
                  </a:lnTo>
                  <a:lnTo>
                    <a:pt x="49" y="227"/>
                  </a:lnTo>
                  <a:lnTo>
                    <a:pt x="48" y="227"/>
                  </a:lnTo>
                  <a:lnTo>
                    <a:pt x="46" y="227"/>
                  </a:lnTo>
                  <a:lnTo>
                    <a:pt x="44" y="229"/>
                  </a:lnTo>
                  <a:lnTo>
                    <a:pt x="42" y="229"/>
                  </a:lnTo>
                  <a:lnTo>
                    <a:pt x="42" y="231"/>
                  </a:lnTo>
                  <a:lnTo>
                    <a:pt x="40" y="231"/>
                  </a:lnTo>
                  <a:lnTo>
                    <a:pt x="38" y="231"/>
                  </a:lnTo>
                  <a:lnTo>
                    <a:pt x="38" y="233"/>
                  </a:lnTo>
                  <a:lnTo>
                    <a:pt x="36" y="233"/>
                  </a:lnTo>
                  <a:lnTo>
                    <a:pt x="36" y="235"/>
                  </a:lnTo>
                  <a:lnTo>
                    <a:pt x="36" y="237"/>
                  </a:lnTo>
                  <a:lnTo>
                    <a:pt x="36" y="239"/>
                  </a:lnTo>
                  <a:lnTo>
                    <a:pt x="36" y="237"/>
                  </a:lnTo>
                  <a:lnTo>
                    <a:pt x="36" y="239"/>
                  </a:lnTo>
                  <a:lnTo>
                    <a:pt x="34" y="239"/>
                  </a:lnTo>
                  <a:lnTo>
                    <a:pt x="32" y="239"/>
                  </a:lnTo>
                  <a:lnTo>
                    <a:pt x="32" y="241"/>
                  </a:lnTo>
                  <a:lnTo>
                    <a:pt x="32" y="239"/>
                  </a:lnTo>
                  <a:lnTo>
                    <a:pt x="34" y="239"/>
                  </a:lnTo>
                  <a:lnTo>
                    <a:pt x="34" y="241"/>
                  </a:lnTo>
                  <a:lnTo>
                    <a:pt x="34" y="242"/>
                  </a:lnTo>
                  <a:lnTo>
                    <a:pt x="36" y="242"/>
                  </a:lnTo>
                  <a:lnTo>
                    <a:pt x="36" y="244"/>
                  </a:lnTo>
                  <a:lnTo>
                    <a:pt x="38" y="244"/>
                  </a:lnTo>
                  <a:lnTo>
                    <a:pt x="38" y="242"/>
                  </a:lnTo>
                  <a:lnTo>
                    <a:pt x="38" y="241"/>
                  </a:lnTo>
                  <a:lnTo>
                    <a:pt x="38" y="242"/>
                  </a:lnTo>
                  <a:lnTo>
                    <a:pt x="38" y="241"/>
                  </a:lnTo>
                  <a:lnTo>
                    <a:pt x="40" y="241"/>
                  </a:lnTo>
                  <a:lnTo>
                    <a:pt x="40" y="242"/>
                  </a:lnTo>
                  <a:lnTo>
                    <a:pt x="38" y="242"/>
                  </a:lnTo>
                  <a:lnTo>
                    <a:pt x="38" y="244"/>
                  </a:lnTo>
                  <a:lnTo>
                    <a:pt x="38" y="246"/>
                  </a:lnTo>
                  <a:lnTo>
                    <a:pt x="38" y="248"/>
                  </a:lnTo>
                  <a:lnTo>
                    <a:pt x="38" y="250"/>
                  </a:lnTo>
                  <a:lnTo>
                    <a:pt x="38" y="252"/>
                  </a:lnTo>
                  <a:lnTo>
                    <a:pt x="38" y="254"/>
                  </a:lnTo>
                  <a:close/>
                  <a:moveTo>
                    <a:pt x="76" y="169"/>
                  </a:moveTo>
                  <a:lnTo>
                    <a:pt x="76" y="171"/>
                  </a:lnTo>
                  <a:lnTo>
                    <a:pt x="76" y="173"/>
                  </a:lnTo>
                  <a:lnTo>
                    <a:pt x="76" y="171"/>
                  </a:lnTo>
                  <a:lnTo>
                    <a:pt x="74" y="171"/>
                  </a:lnTo>
                  <a:lnTo>
                    <a:pt x="76" y="171"/>
                  </a:lnTo>
                  <a:lnTo>
                    <a:pt x="74" y="171"/>
                  </a:lnTo>
                  <a:lnTo>
                    <a:pt x="74" y="169"/>
                  </a:lnTo>
                  <a:lnTo>
                    <a:pt x="76" y="169"/>
                  </a:lnTo>
                  <a:lnTo>
                    <a:pt x="76" y="168"/>
                  </a:lnTo>
                  <a:lnTo>
                    <a:pt x="76" y="169"/>
                  </a:lnTo>
                  <a:close/>
                  <a:moveTo>
                    <a:pt x="38" y="239"/>
                  </a:moveTo>
                  <a:lnTo>
                    <a:pt x="40" y="239"/>
                  </a:lnTo>
                  <a:lnTo>
                    <a:pt x="40" y="241"/>
                  </a:lnTo>
                  <a:lnTo>
                    <a:pt x="38" y="241"/>
                  </a:lnTo>
                  <a:lnTo>
                    <a:pt x="38" y="239"/>
                  </a:lnTo>
                  <a:close/>
                  <a:moveTo>
                    <a:pt x="149" y="27"/>
                  </a:moveTo>
                  <a:lnTo>
                    <a:pt x="151" y="27"/>
                  </a:lnTo>
                  <a:lnTo>
                    <a:pt x="151" y="29"/>
                  </a:lnTo>
                  <a:lnTo>
                    <a:pt x="149" y="29"/>
                  </a:lnTo>
                  <a:lnTo>
                    <a:pt x="149" y="27"/>
                  </a:lnTo>
                  <a:close/>
                  <a:moveTo>
                    <a:pt x="149" y="25"/>
                  </a:moveTo>
                  <a:lnTo>
                    <a:pt x="151" y="25"/>
                  </a:lnTo>
                  <a:lnTo>
                    <a:pt x="149" y="25"/>
                  </a:lnTo>
                  <a:close/>
                  <a:moveTo>
                    <a:pt x="74" y="173"/>
                  </a:moveTo>
                  <a:lnTo>
                    <a:pt x="76" y="173"/>
                  </a:lnTo>
                  <a:lnTo>
                    <a:pt x="76" y="175"/>
                  </a:lnTo>
                  <a:lnTo>
                    <a:pt x="74" y="175"/>
                  </a:lnTo>
                  <a:lnTo>
                    <a:pt x="74" y="173"/>
                  </a:lnTo>
                  <a:close/>
                  <a:moveTo>
                    <a:pt x="67" y="154"/>
                  </a:moveTo>
                  <a:lnTo>
                    <a:pt x="69" y="154"/>
                  </a:lnTo>
                  <a:lnTo>
                    <a:pt x="67" y="154"/>
                  </a:lnTo>
                  <a:close/>
                  <a:moveTo>
                    <a:pt x="151" y="8"/>
                  </a:moveTo>
                  <a:lnTo>
                    <a:pt x="153" y="8"/>
                  </a:lnTo>
                  <a:lnTo>
                    <a:pt x="151" y="8"/>
                  </a:lnTo>
                  <a:close/>
                  <a:moveTo>
                    <a:pt x="151" y="4"/>
                  </a:moveTo>
                  <a:lnTo>
                    <a:pt x="151" y="6"/>
                  </a:lnTo>
                  <a:lnTo>
                    <a:pt x="151" y="4"/>
                  </a:lnTo>
                  <a:close/>
                  <a:moveTo>
                    <a:pt x="151" y="10"/>
                  </a:moveTo>
                  <a:lnTo>
                    <a:pt x="153" y="10"/>
                  </a:lnTo>
                  <a:lnTo>
                    <a:pt x="151" y="10"/>
                  </a:lnTo>
                  <a:close/>
                  <a:moveTo>
                    <a:pt x="76" y="177"/>
                  </a:moveTo>
                  <a:lnTo>
                    <a:pt x="76" y="179"/>
                  </a:lnTo>
                  <a:lnTo>
                    <a:pt x="76" y="177"/>
                  </a:lnTo>
                  <a:close/>
                  <a:moveTo>
                    <a:pt x="153" y="66"/>
                  </a:moveTo>
                  <a:lnTo>
                    <a:pt x="155" y="66"/>
                  </a:lnTo>
                  <a:lnTo>
                    <a:pt x="153" y="66"/>
                  </a:lnTo>
                  <a:close/>
                  <a:moveTo>
                    <a:pt x="34" y="239"/>
                  </a:moveTo>
                  <a:lnTo>
                    <a:pt x="36" y="239"/>
                  </a:lnTo>
                  <a:lnTo>
                    <a:pt x="34" y="239"/>
                  </a:lnTo>
                  <a:close/>
                  <a:moveTo>
                    <a:pt x="149" y="12"/>
                  </a:moveTo>
                  <a:lnTo>
                    <a:pt x="149" y="14"/>
                  </a:lnTo>
                  <a:lnTo>
                    <a:pt x="149" y="12"/>
                  </a:lnTo>
                  <a:close/>
                  <a:moveTo>
                    <a:pt x="151" y="70"/>
                  </a:moveTo>
                  <a:lnTo>
                    <a:pt x="151" y="72"/>
                  </a:lnTo>
                  <a:lnTo>
                    <a:pt x="151" y="70"/>
                  </a:lnTo>
                  <a:close/>
                  <a:moveTo>
                    <a:pt x="149" y="25"/>
                  </a:moveTo>
                  <a:lnTo>
                    <a:pt x="151" y="25"/>
                  </a:lnTo>
                  <a:lnTo>
                    <a:pt x="149" y="25"/>
                  </a:lnTo>
                  <a:close/>
                  <a:moveTo>
                    <a:pt x="149" y="18"/>
                  </a:moveTo>
                  <a:lnTo>
                    <a:pt x="151" y="18"/>
                  </a:lnTo>
                  <a:lnTo>
                    <a:pt x="149" y="18"/>
                  </a:lnTo>
                  <a:close/>
                  <a:moveTo>
                    <a:pt x="95" y="116"/>
                  </a:moveTo>
                  <a:lnTo>
                    <a:pt x="95" y="118"/>
                  </a:lnTo>
                  <a:lnTo>
                    <a:pt x="95" y="116"/>
                  </a:lnTo>
                  <a:close/>
                  <a:moveTo>
                    <a:pt x="74" y="204"/>
                  </a:moveTo>
                  <a:lnTo>
                    <a:pt x="76" y="204"/>
                  </a:lnTo>
                  <a:lnTo>
                    <a:pt x="74" y="204"/>
                  </a:lnTo>
                  <a:close/>
                  <a:moveTo>
                    <a:pt x="151" y="22"/>
                  </a:moveTo>
                  <a:lnTo>
                    <a:pt x="151" y="24"/>
                  </a:lnTo>
                  <a:lnTo>
                    <a:pt x="151" y="2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1" name="Freeform 460">
              <a:extLst>
                <a:ext uri="{FF2B5EF4-FFF2-40B4-BE49-F238E27FC236}">
                  <a16:creationId xmlns:a16="http://schemas.microsoft.com/office/drawing/2014/main" id="{144490B3-96A7-41F2-B388-4BE7AFE75BFB}"/>
                </a:ext>
              </a:extLst>
            </p:cNvPr>
            <p:cNvSpPr>
              <a:spLocks/>
            </p:cNvSpPr>
            <p:nvPr/>
          </p:nvSpPr>
          <p:spPr bwMode="gray">
            <a:xfrm>
              <a:off x="3693907" y="4903693"/>
              <a:ext cx="44150" cy="41697"/>
            </a:xfrm>
            <a:custGeom>
              <a:avLst/>
              <a:gdLst>
                <a:gd name="T0" fmla="*/ 24 w 36"/>
                <a:gd name="T1" fmla="*/ 2 h 34"/>
                <a:gd name="T2" fmla="*/ 28 w 36"/>
                <a:gd name="T3" fmla="*/ 2 h 34"/>
                <a:gd name="T4" fmla="*/ 28 w 36"/>
                <a:gd name="T5" fmla="*/ 6 h 34"/>
                <a:gd name="T6" fmla="*/ 30 w 36"/>
                <a:gd name="T7" fmla="*/ 4 h 34"/>
                <a:gd name="T8" fmla="*/ 32 w 36"/>
                <a:gd name="T9" fmla="*/ 6 h 34"/>
                <a:gd name="T10" fmla="*/ 34 w 36"/>
                <a:gd name="T11" fmla="*/ 8 h 34"/>
                <a:gd name="T12" fmla="*/ 36 w 36"/>
                <a:gd name="T13" fmla="*/ 9 h 34"/>
                <a:gd name="T14" fmla="*/ 36 w 36"/>
                <a:gd name="T15" fmla="*/ 9 h 34"/>
                <a:gd name="T16" fmla="*/ 36 w 36"/>
                <a:gd name="T17" fmla="*/ 13 h 34"/>
                <a:gd name="T18" fmla="*/ 34 w 36"/>
                <a:gd name="T19" fmla="*/ 15 h 34"/>
                <a:gd name="T20" fmla="*/ 34 w 36"/>
                <a:gd name="T21" fmla="*/ 15 h 34"/>
                <a:gd name="T22" fmla="*/ 32 w 36"/>
                <a:gd name="T23" fmla="*/ 17 h 34"/>
                <a:gd name="T24" fmla="*/ 30 w 36"/>
                <a:gd name="T25" fmla="*/ 19 h 34"/>
                <a:gd name="T26" fmla="*/ 30 w 36"/>
                <a:gd name="T27" fmla="*/ 19 h 34"/>
                <a:gd name="T28" fmla="*/ 32 w 36"/>
                <a:gd name="T29" fmla="*/ 21 h 34"/>
                <a:gd name="T30" fmla="*/ 30 w 36"/>
                <a:gd name="T31" fmla="*/ 23 h 34"/>
                <a:gd name="T32" fmla="*/ 28 w 36"/>
                <a:gd name="T33" fmla="*/ 25 h 34"/>
                <a:gd name="T34" fmla="*/ 28 w 36"/>
                <a:gd name="T35" fmla="*/ 25 h 34"/>
                <a:gd name="T36" fmla="*/ 24 w 36"/>
                <a:gd name="T37" fmla="*/ 25 h 34"/>
                <a:gd name="T38" fmla="*/ 21 w 36"/>
                <a:gd name="T39" fmla="*/ 25 h 34"/>
                <a:gd name="T40" fmla="*/ 21 w 36"/>
                <a:gd name="T41" fmla="*/ 25 h 34"/>
                <a:gd name="T42" fmla="*/ 19 w 36"/>
                <a:gd name="T43" fmla="*/ 27 h 34"/>
                <a:gd name="T44" fmla="*/ 17 w 36"/>
                <a:gd name="T45" fmla="*/ 29 h 34"/>
                <a:gd name="T46" fmla="*/ 19 w 36"/>
                <a:gd name="T47" fmla="*/ 31 h 34"/>
                <a:gd name="T48" fmla="*/ 17 w 36"/>
                <a:gd name="T49" fmla="*/ 32 h 34"/>
                <a:gd name="T50" fmla="*/ 15 w 36"/>
                <a:gd name="T51" fmla="*/ 34 h 34"/>
                <a:gd name="T52" fmla="*/ 13 w 36"/>
                <a:gd name="T53" fmla="*/ 32 h 34"/>
                <a:gd name="T54" fmla="*/ 11 w 36"/>
                <a:gd name="T55" fmla="*/ 34 h 34"/>
                <a:gd name="T56" fmla="*/ 9 w 36"/>
                <a:gd name="T57" fmla="*/ 32 h 34"/>
                <a:gd name="T58" fmla="*/ 7 w 36"/>
                <a:gd name="T59" fmla="*/ 31 h 34"/>
                <a:gd name="T60" fmla="*/ 7 w 36"/>
                <a:gd name="T61" fmla="*/ 31 h 34"/>
                <a:gd name="T62" fmla="*/ 5 w 36"/>
                <a:gd name="T63" fmla="*/ 29 h 34"/>
                <a:gd name="T64" fmla="*/ 5 w 36"/>
                <a:gd name="T65" fmla="*/ 25 h 34"/>
                <a:gd name="T66" fmla="*/ 3 w 36"/>
                <a:gd name="T67" fmla="*/ 23 h 34"/>
                <a:gd name="T68" fmla="*/ 1 w 36"/>
                <a:gd name="T69" fmla="*/ 21 h 34"/>
                <a:gd name="T70" fmla="*/ 1 w 36"/>
                <a:gd name="T71" fmla="*/ 17 h 34"/>
                <a:gd name="T72" fmla="*/ 1 w 36"/>
                <a:gd name="T73" fmla="*/ 17 h 34"/>
                <a:gd name="T74" fmla="*/ 3 w 36"/>
                <a:gd name="T75" fmla="*/ 15 h 34"/>
                <a:gd name="T76" fmla="*/ 5 w 36"/>
                <a:gd name="T77" fmla="*/ 13 h 34"/>
                <a:gd name="T78" fmla="*/ 7 w 36"/>
                <a:gd name="T79" fmla="*/ 11 h 34"/>
                <a:gd name="T80" fmla="*/ 7 w 36"/>
                <a:gd name="T81" fmla="*/ 11 h 34"/>
                <a:gd name="T82" fmla="*/ 9 w 36"/>
                <a:gd name="T83" fmla="*/ 9 h 34"/>
                <a:gd name="T84" fmla="*/ 9 w 36"/>
                <a:gd name="T85" fmla="*/ 6 h 34"/>
                <a:gd name="T86" fmla="*/ 11 w 36"/>
                <a:gd name="T87" fmla="*/ 6 h 34"/>
                <a:gd name="T88" fmla="*/ 13 w 36"/>
                <a:gd name="T89" fmla="*/ 4 h 34"/>
                <a:gd name="T90" fmla="*/ 17 w 36"/>
                <a:gd name="T91" fmla="*/ 4 h 34"/>
                <a:gd name="T92" fmla="*/ 19 w 36"/>
                <a:gd name="T93" fmla="*/ 2 h 34"/>
                <a:gd name="T94" fmla="*/ 21 w 36"/>
                <a:gd name="T95" fmla="*/ 0 h 34"/>
                <a:gd name="T96" fmla="*/ 21 w 36"/>
                <a:gd name="T97" fmla="*/ 0 h 34"/>
                <a:gd name="T98" fmla="*/ 21 w 36"/>
                <a:gd name="T99" fmla="*/ 0 h 34"/>
                <a:gd name="T100" fmla="*/ 24 w 36"/>
                <a:gd name="T10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 h="34">
                  <a:moveTo>
                    <a:pt x="24" y="0"/>
                  </a:moveTo>
                  <a:lnTo>
                    <a:pt x="24" y="2"/>
                  </a:lnTo>
                  <a:lnTo>
                    <a:pt x="26" y="2"/>
                  </a:lnTo>
                  <a:lnTo>
                    <a:pt x="28" y="2"/>
                  </a:lnTo>
                  <a:lnTo>
                    <a:pt x="28" y="4"/>
                  </a:lnTo>
                  <a:lnTo>
                    <a:pt x="28" y="6"/>
                  </a:lnTo>
                  <a:lnTo>
                    <a:pt x="28" y="4"/>
                  </a:lnTo>
                  <a:lnTo>
                    <a:pt x="30" y="4"/>
                  </a:lnTo>
                  <a:lnTo>
                    <a:pt x="30" y="6"/>
                  </a:lnTo>
                  <a:lnTo>
                    <a:pt x="32" y="6"/>
                  </a:lnTo>
                  <a:lnTo>
                    <a:pt x="32" y="8"/>
                  </a:lnTo>
                  <a:lnTo>
                    <a:pt x="34" y="8"/>
                  </a:lnTo>
                  <a:lnTo>
                    <a:pt x="34" y="9"/>
                  </a:lnTo>
                  <a:lnTo>
                    <a:pt x="36" y="9"/>
                  </a:lnTo>
                  <a:lnTo>
                    <a:pt x="34" y="9"/>
                  </a:lnTo>
                  <a:lnTo>
                    <a:pt x="36" y="9"/>
                  </a:lnTo>
                  <a:lnTo>
                    <a:pt x="36" y="11"/>
                  </a:lnTo>
                  <a:lnTo>
                    <a:pt x="36" y="13"/>
                  </a:lnTo>
                  <a:lnTo>
                    <a:pt x="34" y="13"/>
                  </a:lnTo>
                  <a:lnTo>
                    <a:pt x="34" y="15"/>
                  </a:lnTo>
                  <a:lnTo>
                    <a:pt x="34" y="13"/>
                  </a:lnTo>
                  <a:lnTo>
                    <a:pt x="34" y="15"/>
                  </a:lnTo>
                  <a:lnTo>
                    <a:pt x="34" y="17"/>
                  </a:lnTo>
                  <a:lnTo>
                    <a:pt x="32" y="17"/>
                  </a:lnTo>
                  <a:lnTo>
                    <a:pt x="32" y="19"/>
                  </a:lnTo>
                  <a:lnTo>
                    <a:pt x="30" y="19"/>
                  </a:lnTo>
                  <a:lnTo>
                    <a:pt x="32" y="19"/>
                  </a:lnTo>
                  <a:lnTo>
                    <a:pt x="30" y="19"/>
                  </a:lnTo>
                  <a:lnTo>
                    <a:pt x="30" y="21"/>
                  </a:lnTo>
                  <a:lnTo>
                    <a:pt x="32" y="21"/>
                  </a:lnTo>
                  <a:lnTo>
                    <a:pt x="32" y="23"/>
                  </a:lnTo>
                  <a:lnTo>
                    <a:pt x="30" y="23"/>
                  </a:lnTo>
                  <a:lnTo>
                    <a:pt x="28" y="23"/>
                  </a:lnTo>
                  <a:lnTo>
                    <a:pt x="28" y="25"/>
                  </a:lnTo>
                  <a:lnTo>
                    <a:pt x="28" y="23"/>
                  </a:lnTo>
                  <a:lnTo>
                    <a:pt x="28" y="25"/>
                  </a:lnTo>
                  <a:lnTo>
                    <a:pt x="26" y="25"/>
                  </a:lnTo>
                  <a:lnTo>
                    <a:pt x="24" y="25"/>
                  </a:lnTo>
                  <a:lnTo>
                    <a:pt x="23" y="25"/>
                  </a:lnTo>
                  <a:lnTo>
                    <a:pt x="21" y="25"/>
                  </a:lnTo>
                  <a:lnTo>
                    <a:pt x="21" y="27"/>
                  </a:lnTo>
                  <a:lnTo>
                    <a:pt x="21" y="25"/>
                  </a:lnTo>
                  <a:lnTo>
                    <a:pt x="21" y="27"/>
                  </a:lnTo>
                  <a:lnTo>
                    <a:pt x="19" y="27"/>
                  </a:lnTo>
                  <a:lnTo>
                    <a:pt x="19" y="29"/>
                  </a:lnTo>
                  <a:lnTo>
                    <a:pt x="17" y="29"/>
                  </a:lnTo>
                  <a:lnTo>
                    <a:pt x="19" y="29"/>
                  </a:lnTo>
                  <a:lnTo>
                    <a:pt x="19" y="31"/>
                  </a:lnTo>
                  <a:lnTo>
                    <a:pt x="17" y="31"/>
                  </a:lnTo>
                  <a:lnTo>
                    <a:pt x="17" y="32"/>
                  </a:lnTo>
                  <a:lnTo>
                    <a:pt x="17" y="34"/>
                  </a:lnTo>
                  <a:lnTo>
                    <a:pt x="15" y="34"/>
                  </a:lnTo>
                  <a:lnTo>
                    <a:pt x="13" y="34"/>
                  </a:lnTo>
                  <a:lnTo>
                    <a:pt x="13" y="32"/>
                  </a:lnTo>
                  <a:lnTo>
                    <a:pt x="13" y="34"/>
                  </a:lnTo>
                  <a:lnTo>
                    <a:pt x="11" y="34"/>
                  </a:lnTo>
                  <a:lnTo>
                    <a:pt x="11" y="32"/>
                  </a:lnTo>
                  <a:lnTo>
                    <a:pt x="9" y="32"/>
                  </a:lnTo>
                  <a:lnTo>
                    <a:pt x="9" y="31"/>
                  </a:lnTo>
                  <a:lnTo>
                    <a:pt x="7" y="31"/>
                  </a:lnTo>
                  <a:lnTo>
                    <a:pt x="9" y="31"/>
                  </a:lnTo>
                  <a:lnTo>
                    <a:pt x="7" y="31"/>
                  </a:lnTo>
                  <a:lnTo>
                    <a:pt x="7" y="29"/>
                  </a:lnTo>
                  <a:lnTo>
                    <a:pt x="5" y="29"/>
                  </a:lnTo>
                  <a:lnTo>
                    <a:pt x="5" y="27"/>
                  </a:lnTo>
                  <a:lnTo>
                    <a:pt x="5" y="25"/>
                  </a:lnTo>
                  <a:lnTo>
                    <a:pt x="3" y="25"/>
                  </a:lnTo>
                  <a:lnTo>
                    <a:pt x="3" y="23"/>
                  </a:lnTo>
                  <a:lnTo>
                    <a:pt x="3" y="21"/>
                  </a:lnTo>
                  <a:lnTo>
                    <a:pt x="1" y="21"/>
                  </a:lnTo>
                  <a:lnTo>
                    <a:pt x="1" y="19"/>
                  </a:lnTo>
                  <a:lnTo>
                    <a:pt x="1" y="17"/>
                  </a:lnTo>
                  <a:lnTo>
                    <a:pt x="0" y="17"/>
                  </a:lnTo>
                  <a:lnTo>
                    <a:pt x="1" y="17"/>
                  </a:lnTo>
                  <a:lnTo>
                    <a:pt x="1" y="15"/>
                  </a:lnTo>
                  <a:lnTo>
                    <a:pt x="3" y="15"/>
                  </a:lnTo>
                  <a:lnTo>
                    <a:pt x="5" y="15"/>
                  </a:lnTo>
                  <a:lnTo>
                    <a:pt x="5" y="13"/>
                  </a:lnTo>
                  <a:lnTo>
                    <a:pt x="5" y="11"/>
                  </a:lnTo>
                  <a:lnTo>
                    <a:pt x="7" y="11"/>
                  </a:lnTo>
                  <a:lnTo>
                    <a:pt x="7" y="9"/>
                  </a:lnTo>
                  <a:lnTo>
                    <a:pt x="7" y="11"/>
                  </a:lnTo>
                  <a:lnTo>
                    <a:pt x="7" y="9"/>
                  </a:lnTo>
                  <a:lnTo>
                    <a:pt x="9" y="9"/>
                  </a:lnTo>
                  <a:lnTo>
                    <a:pt x="9" y="8"/>
                  </a:lnTo>
                  <a:lnTo>
                    <a:pt x="9" y="6"/>
                  </a:lnTo>
                  <a:lnTo>
                    <a:pt x="11" y="8"/>
                  </a:lnTo>
                  <a:lnTo>
                    <a:pt x="11" y="6"/>
                  </a:lnTo>
                  <a:lnTo>
                    <a:pt x="13" y="6"/>
                  </a:lnTo>
                  <a:lnTo>
                    <a:pt x="13" y="4"/>
                  </a:lnTo>
                  <a:lnTo>
                    <a:pt x="15" y="4"/>
                  </a:lnTo>
                  <a:lnTo>
                    <a:pt x="17" y="4"/>
                  </a:lnTo>
                  <a:lnTo>
                    <a:pt x="17" y="2"/>
                  </a:lnTo>
                  <a:lnTo>
                    <a:pt x="19" y="2"/>
                  </a:lnTo>
                  <a:lnTo>
                    <a:pt x="21" y="2"/>
                  </a:lnTo>
                  <a:lnTo>
                    <a:pt x="21" y="0"/>
                  </a:lnTo>
                  <a:lnTo>
                    <a:pt x="21" y="2"/>
                  </a:lnTo>
                  <a:lnTo>
                    <a:pt x="21" y="0"/>
                  </a:lnTo>
                  <a:lnTo>
                    <a:pt x="21" y="2"/>
                  </a:lnTo>
                  <a:lnTo>
                    <a:pt x="21" y="0"/>
                  </a:lnTo>
                  <a:lnTo>
                    <a:pt x="23" y="0"/>
                  </a:lnTo>
                  <a:lnTo>
                    <a:pt x="24"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2" name="Freeform 461">
              <a:extLst>
                <a:ext uri="{FF2B5EF4-FFF2-40B4-BE49-F238E27FC236}">
                  <a16:creationId xmlns:a16="http://schemas.microsoft.com/office/drawing/2014/main" id="{69277B77-BE81-48C5-9710-C131FFE8246F}"/>
                </a:ext>
              </a:extLst>
            </p:cNvPr>
            <p:cNvSpPr>
              <a:spLocks noEditPoints="1"/>
            </p:cNvSpPr>
            <p:nvPr/>
          </p:nvSpPr>
          <p:spPr bwMode="gray">
            <a:xfrm>
              <a:off x="3505045" y="4773697"/>
              <a:ext cx="294330" cy="261219"/>
            </a:xfrm>
            <a:custGeom>
              <a:avLst/>
              <a:gdLst>
                <a:gd name="T0" fmla="*/ 226 w 240"/>
                <a:gd name="T1" fmla="*/ 35 h 213"/>
                <a:gd name="T2" fmla="*/ 226 w 240"/>
                <a:gd name="T3" fmla="*/ 60 h 213"/>
                <a:gd name="T4" fmla="*/ 213 w 240"/>
                <a:gd name="T5" fmla="*/ 64 h 213"/>
                <a:gd name="T6" fmla="*/ 213 w 240"/>
                <a:gd name="T7" fmla="*/ 79 h 213"/>
                <a:gd name="T8" fmla="*/ 226 w 240"/>
                <a:gd name="T9" fmla="*/ 75 h 213"/>
                <a:gd name="T10" fmla="*/ 238 w 240"/>
                <a:gd name="T11" fmla="*/ 83 h 213"/>
                <a:gd name="T12" fmla="*/ 232 w 240"/>
                <a:gd name="T13" fmla="*/ 102 h 213"/>
                <a:gd name="T14" fmla="*/ 226 w 240"/>
                <a:gd name="T15" fmla="*/ 110 h 213"/>
                <a:gd name="T16" fmla="*/ 213 w 240"/>
                <a:gd name="T17" fmla="*/ 123 h 213"/>
                <a:gd name="T18" fmla="*/ 205 w 240"/>
                <a:gd name="T19" fmla="*/ 140 h 213"/>
                <a:gd name="T20" fmla="*/ 194 w 240"/>
                <a:gd name="T21" fmla="*/ 154 h 213"/>
                <a:gd name="T22" fmla="*/ 182 w 240"/>
                <a:gd name="T23" fmla="*/ 167 h 213"/>
                <a:gd name="T24" fmla="*/ 173 w 240"/>
                <a:gd name="T25" fmla="*/ 175 h 213"/>
                <a:gd name="T26" fmla="*/ 159 w 240"/>
                <a:gd name="T27" fmla="*/ 186 h 213"/>
                <a:gd name="T28" fmla="*/ 142 w 240"/>
                <a:gd name="T29" fmla="*/ 194 h 213"/>
                <a:gd name="T30" fmla="*/ 129 w 240"/>
                <a:gd name="T31" fmla="*/ 198 h 213"/>
                <a:gd name="T32" fmla="*/ 111 w 240"/>
                <a:gd name="T33" fmla="*/ 198 h 213"/>
                <a:gd name="T34" fmla="*/ 96 w 240"/>
                <a:gd name="T35" fmla="*/ 200 h 213"/>
                <a:gd name="T36" fmla="*/ 79 w 240"/>
                <a:gd name="T37" fmla="*/ 204 h 213"/>
                <a:gd name="T38" fmla="*/ 67 w 240"/>
                <a:gd name="T39" fmla="*/ 206 h 213"/>
                <a:gd name="T40" fmla="*/ 54 w 240"/>
                <a:gd name="T41" fmla="*/ 210 h 213"/>
                <a:gd name="T42" fmla="*/ 42 w 240"/>
                <a:gd name="T43" fmla="*/ 208 h 213"/>
                <a:gd name="T44" fmla="*/ 35 w 240"/>
                <a:gd name="T45" fmla="*/ 202 h 213"/>
                <a:gd name="T46" fmla="*/ 27 w 240"/>
                <a:gd name="T47" fmla="*/ 196 h 213"/>
                <a:gd name="T48" fmla="*/ 23 w 240"/>
                <a:gd name="T49" fmla="*/ 183 h 213"/>
                <a:gd name="T50" fmla="*/ 23 w 240"/>
                <a:gd name="T51" fmla="*/ 181 h 213"/>
                <a:gd name="T52" fmla="*/ 25 w 240"/>
                <a:gd name="T53" fmla="*/ 177 h 213"/>
                <a:gd name="T54" fmla="*/ 23 w 240"/>
                <a:gd name="T55" fmla="*/ 156 h 213"/>
                <a:gd name="T56" fmla="*/ 13 w 240"/>
                <a:gd name="T57" fmla="*/ 140 h 213"/>
                <a:gd name="T58" fmla="*/ 8 w 240"/>
                <a:gd name="T59" fmla="*/ 121 h 213"/>
                <a:gd name="T60" fmla="*/ 0 w 240"/>
                <a:gd name="T61" fmla="*/ 104 h 213"/>
                <a:gd name="T62" fmla="*/ 10 w 240"/>
                <a:gd name="T63" fmla="*/ 100 h 213"/>
                <a:gd name="T64" fmla="*/ 21 w 240"/>
                <a:gd name="T65" fmla="*/ 110 h 213"/>
                <a:gd name="T66" fmla="*/ 36 w 240"/>
                <a:gd name="T67" fmla="*/ 110 h 213"/>
                <a:gd name="T68" fmla="*/ 50 w 240"/>
                <a:gd name="T69" fmla="*/ 102 h 213"/>
                <a:gd name="T70" fmla="*/ 52 w 240"/>
                <a:gd name="T71" fmla="*/ 69 h 213"/>
                <a:gd name="T72" fmla="*/ 52 w 240"/>
                <a:gd name="T73" fmla="*/ 44 h 213"/>
                <a:gd name="T74" fmla="*/ 59 w 240"/>
                <a:gd name="T75" fmla="*/ 50 h 213"/>
                <a:gd name="T76" fmla="*/ 63 w 240"/>
                <a:gd name="T77" fmla="*/ 60 h 213"/>
                <a:gd name="T78" fmla="*/ 59 w 240"/>
                <a:gd name="T79" fmla="*/ 73 h 213"/>
                <a:gd name="T80" fmla="*/ 73 w 240"/>
                <a:gd name="T81" fmla="*/ 77 h 213"/>
                <a:gd name="T82" fmla="*/ 84 w 240"/>
                <a:gd name="T83" fmla="*/ 67 h 213"/>
                <a:gd name="T84" fmla="*/ 92 w 240"/>
                <a:gd name="T85" fmla="*/ 58 h 213"/>
                <a:gd name="T86" fmla="*/ 100 w 240"/>
                <a:gd name="T87" fmla="*/ 52 h 213"/>
                <a:gd name="T88" fmla="*/ 107 w 240"/>
                <a:gd name="T89" fmla="*/ 54 h 213"/>
                <a:gd name="T90" fmla="*/ 111 w 240"/>
                <a:gd name="T91" fmla="*/ 56 h 213"/>
                <a:gd name="T92" fmla="*/ 117 w 240"/>
                <a:gd name="T93" fmla="*/ 60 h 213"/>
                <a:gd name="T94" fmla="*/ 131 w 240"/>
                <a:gd name="T95" fmla="*/ 60 h 213"/>
                <a:gd name="T96" fmla="*/ 136 w 240"/>
                <a:gd name="T97" fmla="*/ 42 h 213"/>
                <a:gd name="T98" fmla="*/ 152 w 240"/>
                <a:gd name="T99" fmla="*/ 33 h 213"/>
                <a:gd name="T100" fmla="*/ 161 w 240"/>
                <a:gd name="T101" fmla="*/ 21 h 213"/>
                <a:gd name="T102" fmla="*/ 173 w 240"/>
                <a:gd name="T103" fmla="*/ 8 h 213"/>
                <a:gd name="T104" fmla="*/ 192 w 240"/>
                <a:gd name="T105" fmla="*/ 2 h 213"/>
                <a:gd name="T106" fmla="*/ 207 w 240"/>
                <a:gd name="T107" fmla="*/ 4 h 213"/>
                <a:gd name="T108" fmla="*/ 175 w 240"/>
                <a:gd name="T109" fmla="*/ 106 h 213"/>
                <a:gd name="T110" fmla="*/ 161 w 240"/>
                <a:gd name="T111" fmla="*/ 115 h 213"/>
                <a:gd name="T112" fmla="*/ 155 w 240"/>
                <a:gd name="T113" fmla="*/ 127 h 213"/>
                <a:gd name="T114" fmla="*/ 165 w 240"/>
                <a:gd name="T115" fmla="*/ 138 h 213"/>
                <a:gd name="T116" fmla="*/ 173 w 240"/>
                <a:gd name="T117" fmla="*/ 133 h 213"/>
                <a:gd name="T118" fmla="*/ 186 w 240"/>
                <a:gd name="T119" fmla="*/ 129 h 213"/>
                <a:gd name="T120" fmla="*/ 190 w 240"/>
                <a:gd name="T121" fmla="*/ 119 h 213"/>
                <a:gd name="T122" fmla="*/ 182 w 240"/>
                <a:gd name="T123" fmla="*/ 11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213">
                  <a:moveTo>
                    <a:pt x="217" y="6"/>
                  </a:moveTo>
                  <a:lnTo>
                    <a:pt x="217" y="8"/>
                  </a:lnTo>
                  <a:lnTo>
                    <a:pt x="219" y="14"/>
                  </a:lnTo>
                  <a:lnTo>
                    <a:pt x="221" y="17"/>
                  </a:lnTo>
                  <a:lnTo>
                    <a:pt x="221" y="19"/>
                  </a:lnTo>
                  <a:lnTo>
                    <a:pt x="221" y="21"/>
                  </a:lnTo>
                  <a:lnTo>
                    <a:pt x="223" y="23"/>
                  </a:lnTo>
                  <a:lnTo>
                    <a:pt x="223" y="25"/>
                  </a:lnTo>
                  <a:lnTo>
                    <a:pt x="223" y="29"/>
                  </a:lnTo>
                  <a:lnTo>
                    <a:pt x="225" y="29"/>
                  </a:lnTo>
                  <a:lnTo>
                    <a:pt x="225" y="31"/>
                  </a:lnTo>
                  <a:lnTo>
                    <a:pt x="226" y="33"/>
                  </a:lnTo>
                  <a:lnTo>
                    <a:pt x="226" y="35"/>
                  </a:lnTo>
                  <a:lnTo>
                    <a:pt x="226" y="39"/>
                  </a:lnTo>
                  <a:lnTo>
                    <a:pt x="226" y="41"/>
                  </a:lnTo>
                  <a:lnTo>
                    <a:pt x="226" y="42"/>
                  </a:lnTo>
                  <a:lnTo>
                    <a:pt x="226" y="44"/>
                  </a:lnTo>
                  <a:lnTo>
                    <a:pt x="226" y="46"/>
                  </a:lnTo>
                  <a:lnTo>
                    <a:pt x="226" y="48"/>
                  </a:lnTo>
                  <a:lnTo>
                    <a:pt x="228" y="48"/>
                  </a:lnTo>
                  <a:lnTo>
                    <a:pt x="226" y="50"/>
                  </a:lnTo>
                  <a:lnTo>
                    <a:pt x="226" y="52"/>
                  </a:lnTo>
                  <a:lnTo>
                    <a:pt x="226" y="54"/>
                  </a:lnTo>
                  <a:lnTo>
                    <a:pt x="226" y="56"/>
                  </a:lnTo>
                  <a:lnTo>
                    <a:pt x="226" y="58"/>
                  </a:lnTo>
                  <a:lnTo>
                    <a:pt x="226" y="60"/>
                  </a:lnTo>
                  <a:lnTo>
                    <a:pt x="226" y="62"/>
                  </a:lnTo>
                  <a:lnTo>
                    <a:pt x="225" y="64"/>
                  </a:lnTo>
                  <a:lnTo>
                    <a:pt x="225" y="62"/>
                  </a:lnTo>
                  <a:lnTo>
                    <a:pt x="223" y="62"/>
                  </a:lnTo>
                  <a:lnTo>
                    <a:pt x="221" y="60"/>
                  </a:lnTo>
                  <a:lnTo>
                    <a:pt x="219" y="60"/>
                  </a:lnTo>
                  <a:lnTo>
                    <a:pt x="219" y="58"/>
                  </a:lnTo>
                  <a:lnTo>
                    <a:pt x="217" y="58"/>
                  </a:lnTo>
                  <a:lnTo>
                    <a:pt x="217" y="60"/>
                  </a:lnTo>
                  <a:lnTo>
                    <a:pt x="215" y="60"/>
                  </a:lnTo>
                  <a:lnTo>
                    <a:pt x="215" y="62"/>
                  </a:lnTo>
                  <a:lnTo>
                    <a:pt x="213" y="62"/>
                  </a:lnTo>
                  <a:lnTo>
                    <a:pt x="213" y="64"/>
                  </a:lnTo>
                  <a:lnTo>
                    <a:pt x="213" y="65"/>
                  </a:lnTo>
                  <a:lnTo>
                    <a:pt x="211" y="67"/>
                  </a:lnTo>
                  <a:lnTo>
                    <a:pt x="211" y="69"/>
                  </a:lnTo>
                  <a:lnTo>
                    <a:pt x="209" y="69"/>
                  </a:lnTo>
                  <a:lnTo>
                    <a:pt x="209" y="71"/>
                  </a:lnTo>
                  <a:lnTo>
                    <a:pt x="209" y="73"/>
                  </a:lnTo>
                  <a:lnTo>
                    <a:pt x="209" y="75"/>
                  </a:lnTo>
                  <a:lnTo>
                    <a:pt x="209" y="77"/>
                  </a:lnTo>
                  <a:lnTo>
                    <a:pt x="211" y="77"/>
                  </a:lnTo>
                  <a:lnTo>
                    <a:pt x="211" y="75"/>
                  </a:lnTo>
                  <a:lnTo>
                    <a:pt x="211" y="77"/>
                  </a:lnTo>
                  <a:lnTo>
                    <a:pt x="211" y="79"/>
                  </a:lnTo>
                  <a:lnTo>
                    <a:pt x="213" y="79"/>
                  </a:lnTo>
                  <a:lnTo>
                    <a:pt x="213" y="81"/>
                  </a:lnTo>
                  <a:lnTo>
                    <a:pt x="215" y="83"/>
                  </a:lnTo>
                  <a:lnTo>
                    <a:pt x="217" y="83"/>
                  </a:lnTo>
                  <a:lnTo>
                    <a:pt x="219" y="85"/>
                  </a:lnTo>
                  <a:lnTo>
                    <a:pt x="221" y="85"/>
                  </a:lnTo>
                  <a:lnTo>
                    <a:pt x="223" y="85"/>
                  </a:lnTo>
                  <a:lnTo>
                    <a:pt x="225" y="85"/>
                  </a:lnTo>
                  <a:lnTo>
                    <a:pt x="226" y="85"/>
                  </a:lnTo>
                  <a:lnTo>
                    <a:pt x="226" y="83"/>
                  </a:lnTo>
                  <a:lnTo>
                    <a:pt x="226" y="81"/>
                  </a:lnTo>
                  <a:lnTo>
                    <a:pt x="226" y="79"/>
                  </a:lnTo>
                  <a:lnTo>
                    <a:pt x="226" y="77"/>
                  </a:lnTo>
                  <a:lnTo>
                    <a:pt x="226" y="75"/>
                  </a:lnTo>
                  <a:lnTo>
                    <a:pt x="228" y="75"/>
                  </a:lnTo>
                  <a:lnTo>
                    <a:pt x="228" y="77"/>
                  </a:lnTo>
                  <a:lnTo>
                    <a:pt x="228" y="75"/>
                  </a:lnTo>
                  <a:lnTo>
                    <a:pt x="228" y="77"/>
                  </a:lnTo>
                  <a:lnTo>
                    <a:pt x="230" y="77"/>
                  </a:lnTo>
                  <a:lnTo>
                    <a:pt x="232" y="77"/>
                  </a:lnTo>
                  <a:lnTo>
                    <a:pt x="234" y="77"/>
                  </a:lnTo>
                  <a:lnTo>
                    <a:pt x="236" y="77"/>
                  </a:lnTo>
                  <a:lnTo>
                    <a:pt x="238" y="77"/>
                  </a:lnTo>
                  <a:lnTo>
                    <a:pt x="240" y="77"/>
                  </a:lnTo>
                  <a:lnTo>
                    <a:pt x="240" y="79"/>
                  </a:lnTo>
                  <a:lnTo>
                    <a:pt x="240" y="81"/>
                  </a:lnTo>
                  <a:lnTo>
                    <a:pt x="238" y="83"/>
                  </a:lnTo>
                  <a:lnTo>
                    <a:pt x="238" y="85"/>
                  </a:lnTo>
                  <a:lnTo>
                    <a:pt x="238" y="87"/>
                  </a:lnTo>
                  <a:lnTo>
                    <a:pt x="236" y="87"/>
                  </a:lnTo>
                  <a:lnTo>
                    <a:pt x="236" y="89"/>
                  </a:lnTo>
                  <a:lnTo>
                    <a:pt x="236" y="90"/>
                  </a:lnTo>
                  <a:lnTo>
                    <a:pt x="236" y="92"/>
                  </a:lnTo>
                  <a:lnTo>
                    <a:pt x="236" y="94"/>
                  </a:lnTo>
                  <a:lnTo>
                    <a:pt x="236" y="96"/>
                  </a:lnTo>
                  <a:lnTo>
                    <a:pt x="236" y="98"/>
                  </a:lnTo>
                  <a:lnTo>
                    <a:pt x="234" y="98"/>
                  </a:lnTo>
                  <a:lnTo>
                    <a:pt x="234" y="100"/>
                  </a:lnTo>
                  <a:lnTo>
                    <a:pt x="234" y="102"/>
                  </a:lnTo>
                  <a:lnTo>
                    <a:pt x="232" y="102"/>
                  </a:lnTo>
                  <a:lnTo>
                    <a:pt x="234" y="102"/>
                  </a:lnTo>
                  <a:lnTo>
                    <a:pt x="232" y="102"/>
                  </a:lnTo>
                  <a:lnTo>
                    <a:pt x="232" y="104"/>
                  </a:lnTo>
                  <a:lnTo>
                    <a:pt x="232" y="106"/>
                  </a:lnTo>
                  <a:lnTo>
                    <a:pt x="230" y="106"/>
                  </a:lnTo>
                  <a:lnTo>
                    <a:pt x="230" y="108"/>
                  </a:lnTo>
                  <a:lnTo>
                    <a:pt x="228" y="108"/>
                  </a:lnTo>
                  <a:lnTo>
                    <a:pt x="228" y="110"/>
                  </a:lnTo>
                  <a:lnTo>
                    <a:pt x="226" y="110"/>
                  </a:lnTo>
                  <a:lnTo>
                    <a:pt x="228" y="110"/>
                  </a:lnTo>
                  <a:lnTo>
                    <a:pt x="226" y="110"/>
                  </a:lnTo>
                  <a:lnTo>
                    <a:pt x="228" y="110"/>
                  </a:lnTo>
                  <a:lnTo>
                    <a:pt x="226" y="110"/>
                  </a:lnTo>
                  <a:lnTo>
                    <a:pt x="226" y="112"/>
                  </a:lnTo>
                  <a:lnTo>
                    <a:pt x="225" y="112"/>
                  </a:lnTo>
                  <a:lnTo>
                    <a:pt x="223" y="112"/>
                  </a:lnTo>
                  <a:lnTo>
                    <a:pt x="223" y="114"/>
                  </a:lnTo>
                  <a:lnTo>
                    <a:pt x="221" y="114"/>
                  </a:lnTo>
                  <a:lnTo>
                    <a:pt x="221" y="115"/>
                  </a:lnTo>
                  <a:lnTo>
                    <a:pt x="219" y="115"/>
                  </a:lnTo>
                  <a:lnTo>
                    <a:pt x="219" y="117"/>
                  </a:lnTo>
                  <a:lnTo>
                    <a:pt x="217" y="119"/>
                  </a:lnTo>
                  <a:lnTo>
                    <a:pt x="217" y="121"/>
                  </a:lnTo>
                  <a:lnTo>
                    <a:pt x="215" y="121"/>
                  </a:lnTo>
                  <a:lnTo>
                    <a:pt x="215" y="123"/>
                  </a:lnTo>
                  <a:lnTo>
                    <a:pt x="213" y="123"/>
                  </a:lnTo>
                  <a:lnTo>
                    <a:pt x="213" y="125"/>
                  </a:lnTo>
                  <a:lnTo>
                    <a:pt x="213" y="127"/>
                  </a:lnTo>
                  <a:lnTo>
                    <a:pt x="213" y="129"/>
                  </a:lnTo>
                  <a:lnTo>
                    <a:pt x="211" y="129"/>
                  </a:lnTo>
                  <a:lnTo>
                    <a:pt x="211" y="131"/>
                  </a:lnTo>
                  <a:lnTo>
                    <a:pt x="209" y="131"/>
                  </a:lnTo>
                  <a:lnTo>
                    <a:pt x="209" y="133"/>
                  </a:lnTo>
                  <a:lnTo>
                    <a:pt x="209" y="135"/>
                  </a:lnTo>
                  <a:lnTo>
                    <a:pt x="207" y="135"/>
                  </a:lnTo>
                  <a:lnTo>
                    <a:pt x="207" y="137"/>
                  </a:lnTo>
                  <a:lnTo>
                    <a:pt x="207" y="138"/>
                  </a:lnTo>
                  <a:lnTo>
                    <a:pt x="205" y="138"/>
                  </a:lnTo>
                  <a:lnTo>
                    <a:pt x="205" y="140"/>
                  </a:lnTo>
                  <a:lnTo>
                    <a:pt x="205" y="142"/>
                  </a:lnTo>
                  <a:lnTo>
                    <a:pt x="203" y="142"/>
                  </a:lnTo>
                  <a:lnTo>
                    <a:pt x="203" y="144"/>
                  </a:lnTo>
                  <a:lnTo>
                    <a:pt x="202" y="144"/>
                  </a:lnTo>
                  <a:lnTo>
                    <a:pt x="202" y="146"/>
                  </a:lnTo>
                  <a:lnTo>
                    <a:pt x="202" y="148"/>
                  </a:lnTo>
                  <a:lnTo>
                    <a:pt x="200" y="148"/>
                  </a:lnTo>
                  <a:lnTo>
                    <a:pt x="200" y="150"/>
                  </a:lnTo>
                  <a:lnTo>
                    <a:pt x="198" y="150"/>
                  </a:lnTo>
                  <a:lnTo>
                    <a:pt x="198" y="152"/>
                  </a:lnTo>
                  <a:lnTo>
                    <a:pt x="196" y="152"/>
                  </a:lnTo>
                  <a:lnTo>
                    <a:pt x="196" y="154"/>
                  </a:lnTo>
                  <a:lnTo>
                    <a:pt x="194" y="154"/>
                  </a:lnTo>
                  <a:lnTo>
                    <a:pt x="194" y="156"/>
                  </a:lnTo>
                  <a:lnTo>
                    <a:pt x="192" y="156"/>
                  </a:lnTo>
                  <a:lnTo>
                    <a:pt x="192" y="158"/>
                  </a:lnTo>
                  <a:lnTo>
                    <a:pt x="190" y="158"/>
                  </a:lnTo>
                  <a:lnTo>
                    <a:pt x="188" y="158"/>
                  </a:lnTo>
                  <a:lnTo>
                    <a:pt x="188" y="160"/>
                  </a:lnTo>
                  <a:lnTo>
                    <a:pt x="188" y="162"/>
                  </a:lnTo>
                  <a:lnTo>
                    <a:pt x="186" y="162"/>
                  </a:lnTo>
                  <a:lnTo>
                    <a:pt x="186" y="163"/>
                  </a:lnTo>
                  <a:lnTo>
                    <a:pt x="184" y="163"/>
                  </a:lnTo>
                  <a:lnTo>
                    <a:pt x="184" y="165"/>
                  </a:lnTo>
                  <a:lnTo>
                    <a:pt x="182" y="165"/>
                  </a:lnTo>
                  <a:lnTo>
                    <a:pt x="182" y="167"/>
                  </a:lnTo>
                  <a:lnTo>
                    <a:pt x="180" y="167"/>
                  </a:lnTo>
                  <a:lnTo>
                    <a:pt x="182" y="167"/>
                  </a:lnTo>
                  <a:lnTo>
                    <a:pt x="180" y="167"/>
                  </a:lnTo>
                  <a:lnTo>
                    <a:pt x="180" y="169"/>
                  </a:lnTo>
                  <a:lnTo>
                    <a:pt x="178" y="169"/>
                  </a:lnTo>
                  <a:lnTo>
                    <a:pt x="178" y="171"/>
                  </a:lnTo>
                  <a:lnTo>
                    <a:pt x="177" y="171"/>
                  </a:lnTo>
                  <a:lnTo>
                    <a:pt x="177" y="173"/>
                  </a:lnTo>
                  <a:lnTo>
                    <a:pt x="175" y="173"/>
                  </a:lnTo>
                  <a:lnTo>
                    <a:pt x="175" y="175"/>
                  </a:lnTo>
                  <a:lnTo>
                    <a:pt x="173" y="175"/>
                  </a:lnTo>
                  <a:lnTo>
                    <a:pt x="173" y="177"/>
                  </a:lnTo>
                  <a:lnTo>
                    <a:pt x="173" y="175"/>
                  </a:lnTo>
                  <a:lnTo>
                    <a:pt x="173" y="177"/>
                  </a:lnTo>
                  <a:lnTo>
                    <a:pt x="171" y="177"/>
                  </a:lnTo>
                  <a:lnTo>
                    <a:pt x="171" y="179"/>
                  </a:lnTo>
                  <a:lnTo>
                    <a:pt x="169" y="179"/>
                  </a:lnTo>
                  <a:lnTo>
                    <a:pt x="169" y="181"/>
                  </a:lnTo>
                  <a:lnTo>
                    <a:pt x="167" y="181"/>
                  </a:lnTo>
                  <a:lnTo>
                    <a:pt x="167" y="183"/>
                  </a:lnTo>
                  <a:lnTo>
                    <a:pt x="165" y="183"/>
                  </a:lnTo>
                  <a:lnTo>
                    <a:pt x="163" y="183"/>
                  </a:lnTo>
                  <a:lnTo>
                    <a:pt x="163" y="185"/>
                  </a:lnTo>
                  <a:lnTo>
                    <a:pt x="161" y="185"/>
                  </a:lnTo>
                  <a:lnTo>
                    <a:pt x="161" y="186"/>
                  </a:lnTo>
                  <a:lnTo>
                    <a:pt x="159" y="186"/>
                  </a:lnTo>
                  <a:lnTo>
                    <a:pt x="159" y="188"/>
                  </a:lnTo>
                  <a:lnTo>
                    <a:pt x="157" y="188"/>
                  </a:lnTo>
                  <a:lnTo>
                    <a:pt x="155" y="188"/>
                  </a:lnTo>
                  <a:lnTo>
                    <a:pt x="155" y="190"/>
                  </a:lnTo>
                  <a:lnTo>
                    <a:pt x="154" y="190"/>
                  </a:lnTo>
                  <a:lnTo>
                    <a:pt x="152" y="190"/>
                  </a:lnTo>
                  <a:lnTo>
                    <a:pt x="152" y="192"/>
                  </a:lnTo>
                  <a:lnTo>
                    <a:pt x="150" y="192"/>
                  </a:lnTo>
                  <a:lnTo>
                    <a:pt x="148" y="192"/>
                  </a:lnTo>
                  <a:lnTo>
                    <a:pt x="148" y="194"/>
                  </a:lnTo>
                  <a:lnTo>
                    <a:pt x="146" y="194"/>
                  </a:lnTo>
                  <a:lnTo>
                    <a:pt x="144" y="194"/>
                  </a:lnTo>
                  <a:lnTo>
                    <a:pt x="142" y="194"/>
                  </a:lnTo>
                  <a:lnTo>
                    <a:pt x="142" y="192"/>
                  </a:lnTo>
                  <a:lnTo>
                    <a:pt x="140" y="192"/>
                  </a:lnTo>
                  <a:lnTo>
                    <a:pt x="138" y="192"/>
                  </a:lnTo>
                  <a:lnTo>
                    <a:pt x="138" y="194"/>
                  </a:lnTo>
                  <a:lnTo>
                    <a:pt x="136" y="194"/>
                  </a:lnTo>
                  <a:lnTo>
                    <a:pt x="134" y="194"/>
                  </a:lnTo>
                  <a:lnTo>
                    <a:pt x="134" y="196"/>
                  </a:lnTo>
                  <a:lnTo>
                    <a:pt x="134" y="198"/>
                  </a:lnTo>
                  <a:lnTo>
                    <a:pt x="134" y="200"/>
                  </a:lnTo>
                  <a:lnTo>
                    <a:pt x="132" y="200"/>
                  </a:lnTo>
                  <a:lnTo>
                    <a:pt x="132" y="198"/>
                  </a:lnTo>
                  <a:lnTo>
                    <a:pt x="131" y="198"/>
                  </a:lnTo>
                  <a:lnTo>
                    <a:pt x="129" y="198"/>
                  </a:lnTo>
                  <a:lnTo>
                    <a:pt x="127" y="198"/>
                  </a:lnTo>
                  <a:lnTo>
                    <a:pt x="125" y="198"/>
                  </a:lnTo>
                  <a:lnTo>
                    <a:pt x="123" y="198"/>
                  </a:lnTo>
                  <a:lnTo>
                    <a:pt x="123" y="200"/>
                  </a:lnTo>
                  <a:lnTo>
                    <a:pt x="123" y="202"/>
                  </a:lnTo>
                  <a:lnTo>
                    <a:pt x="121" y="202"/>
                  </a:lnTo>
                  <a:lnTo>
                    <a:pt x="119" y="202"/>
                  </a:lnTo>
                  <a:lnTo>
                    <a:pt x="117" y="202"/>
                  </a:lnTo>
                  <a:lnTo>
                    <a:pt x="117" y="200"/>
                  </a:lnTo>
                  <a:lnTo>
                    <a:pt x="115" y="200"/>
                  </a:lnTo>
                  <a:lnTo>
                    <a:pt x="113" y="200"/>
                  </a:lnTo>
                  <a:lnTo>
                    <a:pt x="111" y="200"/>
                  </a:lnTo>
                  <a:lnTo>
                    <a:pt x="111" y="198"/>
                  </a:lnTo>
                  <a:lnTo>
                    <a:pt x="109" y="198"/>
                  </a:lnTo>
                  <a:lnTo>
                    <a:pt x="107" y="198"/>
                  </a:lnTo>
                  <a:lnTo>
                    <a:pt x="106" y="198"/>
                  </a:lnTo>
                  <a:lnTo>
                    <a:pt x="104" y="198"/>
                  </a:lnTo>
                  <a:lnTo>
                    <a:pt x="102" y="198"/>
                  </a:lnTo>
                  <a:lnTo>
                    <a:pt x="102" y="200"/>
                  </a:lnTo>
                  <a:lnTo>
                    <a:pt x="100" y="200"/>
                  </a:lnTo>
                  <a:lnTo>
                    <a:pt x="102" y="200"/>
                  </a:lnTo>
                  <a:lnTo>
                    <a:pt x="100" y="200"/>
                  </a:lnTo>
                  <a:lnTo>
                    <a:pt x="98" y="200"/>
                  </a:lnTo>
                  <a:lnTo>
                    <a:pt x="96" y="200"/>
                  </a:lnTo>
                  <a:lnTo>
                    <a:pt x="94" y="200"/>
                  </a:lnTo>
                  <a:lnTo>
                    <a:pt x="96" y="200"/>
                  </a:lnTo>
                  <a:lnTo>
                    <a:pt x="94" y="200"/>
                  </a:lnTo>
                  <a:lnTo>
                    <a:pt x="92" y="200"/>
                  </a:lnTo>
                  <a:lnTo>
                    <a:pt x="92" y="198"/>
                  </a:lnTo>
                  <a:lnTo>
                    <a:pt x="90" y="198"/>
                  </a:lnTo>
                  <a:lnTo>
                    <a:pt x="88" y="198"/>
                  </a:lnTo>
                  <a:lnTo>
                    <a:pt x="88" y="200"/>
                  </a:lnTo>
                  <a:lnTo>
                    <a:pt x="86" y="200"/>
                  </a:lnTo>
                  <a:lnTo>
                    <a:pt x="84" y="200"/>
                  </a:lnTo>
                  <a:lnTo>
                    <a:pt x="83" y="200"/>
                  </a:lnTo>
                  <a:lnTo>
                    <a:pt x="83" y="202"/>
                  </a:lnTo>
                  <a:lnTo>
                    <a:pt x="81" y="202"/>
                  </a:lnTo>
                  <a:lnTo>
                    <a:pt x="79" y="202"/>
                  </a:lnTo>
                  <a:lnTo>
                    <a:pt x="79" y="204"/>
                  </a:lnTo>
                  <a:lnTo>
                    <a:pt x="81" y="204"/>
                  </a:lnTo>
                  <a:lnTo>
                    <a:pt x="79" y="204"/>
                  </a:lnTo>
                  <a:lnTo>
                    <a:pt x="79" y="206"/>
                  </a:lnTo>
                  <a:lnTo>
                    <a:pt x="77" y="206"/>
                  </a:lnTo>
                  <a:lnTo>
                    <a:pt x="75" y="206"/>
                  </a:lnTo>
                  <a:lnTo>
                    <a:pt x="75" y="204"/>
                  </a:lnTo>
                  <a:lnTo>
                    <a:pt x="73" y="204"/>
                  </a:lnTo>
                  <a:lnTo>
                    <a:pt x="73" y="206"/>
                  </a:lnTo>
                  <a:lnTo>
                    <a:pt x="73" y="204"/>
                  </a:lnTo>
                  <a:lnTo>
                    <a:pt x="73" y="206"/>
                  </a:lnTo>
                  <a:lnTo>
                    <a:pt x="71" y="206"/>
                  </a:lnTo>
                  <a:lnTo>
                    <a:pt x="69" y="206"/>
                  </a:lnTo>
                  <a:lnTo>
                    <a:pt x="67" y="206"/>
                  </a:lnTo>
                  <a:lnTo>
                    <a:pt x="65" y="204"/>
                  </a:lnTo>
                  <a:lnTo>
                    <a:pt x="65" y="206"/>
                  </a:lnTo>
                  <a:lnTo>
                    <a:pt x="65" y="204"/>
                  </a:lnTo>
                  <a:lnTo>
                    <a:pt x="65" y="206"/>
                  </a:lnTo>
                  <a:lnTo>
                    <a:pt x="63" y="206"/>
                  </a:lnTo>
                  <a:lnTo>
                    <a:pt x="61" y="206"/>
                  </a:lnTo>
                  <a:lnTo>
                    <a:pt x="59" y="206"/>
                  </a:lnTo>
                  <a:lnTo>
                    <a:pt x="59" y="208"/>
                  </a:lnTo>
                  <a:lnTo>
                    <a:pt x="58" y="208"/>
                  </a:lnTo>
                  <a:lnTo>
                    <a:pt x="56" y="210"/>
                  </a:lnTo>
                  <a:lnTo>
                    <a:pt x="56" y="211"/>
                  </a:lnTo>
                  <a:lnTo>
                    <a:pt x="56" y="210"/>
                  </a:lnTo>
                  <a:lnTo>
                    <a:pt x="54" y="210"/>
                  </a:lnTo>
                  <a:lnTo>
                    <a:pt x="54" y="211"/>
                  </a:lnTo>
                  <a:lnTo>
                    <a:pt x="52" y="211"/>
                  </a:lnTo>
                  <a:lnTo>
                    <a:pt x="52" y="213"/>
                  </a:lnTo>
                  <a:lnTo>
                    <a:pt x="50" y="213"/>
                  </a:lnTo>
                  <a:lnTo>
                    <a:pt x="50" y="211"/>
                  </a:lnTo>
                  <a:lnTo>
                    <a:pt x="48" y="211"/>
                  </a:lnTo>
                  <a:lnTo>
                    <a:pt x="46" y="211"/>
                  </a:lnTo>
                  <a:lnTo>
                    <a:pt x="44" y="211"/>
                  </a:lnTo>
                  <a:lnTo>
                    <a:pt x="44" y="210"/>
                  </a:lnTo>
                  <a:lnTo>
                    <a:pt x="42" y="210"/>
                  </a:lnTo>
                  <a:lnTo>
                    <a:pt x="40" y="210"/>
                  </a:lnTo>
                  <a:lnTo>
                    <a:pt x="42" y="210"/>
                  </a:lnTo>
                  <a:lnTo>
                    <a:pt x="42" y="208"/>
                  </a:lnTo>
                  <a:lnTo>
                    <a:pt x="42" y="210"/>
                  </a:lnTo>
                  <a:lnTo>
                    <a:pt x="42" y="208"/>
                  </a:lnTo>
                  <a:lnTo>
                    <a:pt x="42" y="206"/>
                  </a:lnTo>
                  <a:lnTo>
                    <a:pt x="40" y="206"/>
                  </a:lnTo>
                  <a:lnTo>
                    <a:pt x="38" y="206"/>
                  </a:lnTo>
                  <a:lnTo>
                    <a:pt x="38" y="204"/>
                  </a:lnTo>
                  <a:lnTo>
                    <a:pt x="36" y="204"/>
                  </a:lnTo>
                  <a:lnTo>
                    <a:pt x="35" y="204"/>
                  </a:lnTo>
                  <a:lnTo>
                    <a:pt x="35" y="206"/>
                  </a:lnTo>
                  <a:lnTo>
                    <a:pt x="35" y="204"/>
                  </a:lnTo>
                  <a:lnTo>
                    <a:pt x="35" y="202"/>
                  </a:lnTo>
                  <a:lnTo>
                    <a:pt x="35" y="200"/>
                  </a:lnTo>
                  <a:lnTo>
                    <a:pt x="35" y="202"/>
                  </a:lnTo>
                  <a:lnTo>
                    <a:pt x="35" y="200"/>
                  </a:lnTo>
                  <a:lnTo>
                    <a:pt x="35" y="202"/>
                  </a:lnTo>
                  <a:lnTo>
                    <a:pt x="35" y="200"/>
                  </a:lnTo>
                  <a:lnTo>
                    <a:pt x="33" y="200"/>
                  </a:lnTo>
                  <a:lnTo>
                    <a:pt x="31" y="200"/>
                  </a:lnTo>
                  <a:lnTo>
                    <a:pt x="29" y="200"/>
                  </a:lnTo>
                  <a:lnTo>
                    <a:pt x="29" y="202"/>
                  </a:lnTo>
                  <a:lnTo>
                    <a:pt x="29" y="204"/>
                  </a:lnTo>
                  <a:lnTo>
                    <a:pt x="27" y="204"/>
                  </a:lnTo>
                  <a:lnTo>
                    <a:pt x="27" y="202"/>
                  </a:lnTo>
                  <a:lnTo>
                    <a:pt x="27" y="200"/>
                  </a:lnTo>
                  <a:lnTo>
                    <a:pt x="27" y="198"/>
                  </a:lnTo>
                  <a:lnTo>
                    <a:pt x="27" y="196"/>
                  </a:lnTo>
                  <a:lnTo>
                    <a:pt x="29" y="196"/>
                  </a:lnTo>
                  <a:lnTo>
                    <a:pt x="29" y="194"/>
                  </a:lnTo>
                  <a:lnTo>
                    <a:pt x="29" y="192"/>
                  </a:lnTo>
                  <a:lnTo>
                    <a:pt x="27" y="192"/>
                  </a:lnTo>
                  <a:lnTo>
                    <a:pt x="29" y="192"/>
                  </a:lnTo>
                  <a:lnTo>
                    <a:pt x="27" y="192"/>
                  </a:lnTo>
                  <a:lnTo>
                    <a:pt x="27" y="190"/>
                  </a:lnTo>
                  <a:lnTo>
                    <a:pt x="27" y="188"/>
                  </a:lnTo>
                  <a:lnTo>
                    <a:pt x="25" y="188"/>
                  </a:lnTo>
                  <a:lnTo>
                    <a:pt x="25" y="186"/>
                  </a:lnTo>
                  <a:lnTo>
                    <a:pt x="25" y="185"/>
                  </a:lnTo>
                  <a:lnTo>
                    <a:pt x="23" y="185"/>
                  </a:lnTo>
                  <a:lnTo>
                    <a:pt x="23" y="183"/>
                  </a:lnTo>
                  <a:lnTo>
                    <a:pt x="21" y="183"/>
                  </a:lnTo>
                  <a:lnTo>
                    <a:pt x="23" y="183"/>
                  </a:lnTo>
                  <a:lnTo>
                    <a:pt x="21" y="183"/>
                  </a:lnTo>
                  <a:lnTo>
                    <a:pt x="23" y="183"/>
                  </a:lnTo>
                  <a:lnTo>
                    <a:pt x="23" y="185"/>
                  </a:lnTo>
                  <a:lnTo>
                    <a:pt x="25" y="185"/>
                  </a:lnTo>
                  <a:lnTo>
                    <a:pt x="23" y="185"/>
                  </a:lnTo>
                  <a:lnTo>
                    <a:pt x="23" y="183"/>
                  </a:lnTo>
                  <a:lnTo>
                    <a:pt x="23" y="185"/>
                  </a:lnTo>
                  <a:lnTo>
                    <a:pt x="23" y="183"/>
                  </a:lnTo>
                  <a:lnTo>
                    <a:pt x="23" y="181"/>
                  </a:lnTo>
                  <a:lnTo>
                    <a:pt x="21" y="181"/>
                  </a:lnTo>
                  <a:lnTo>
                    <a:pt x="23" y="181"/>
                  </a:lnTo>
                  <a:lnTo>
                    <a:pt x="21" y="181"/>
                  </a:lnTo>
                  <a:lnTo>
                    <a:pt x="21" y="179"/>
                  </a:lnTo>
                  <a:lnTo>
                    <a:pt x="19" y="179"/>
                  </a:lnTo>
                  <a:lnTo>
                    <a:pt x="21" y="179"/>
                  </a:lnTo>
                  <a:lnTo>
                    <a:pt x="19" y="179"/>
                  </a:lnTo>
                  <a:lnTo>
                    <a:pt x="21" y="179"/>
                  </a:lnTo>
                  <a:lnTo>
                    <a:pt x="19" y="179"/>
                  </a:lnTo>
                  <a:lnTo>
                    <a:pt x="19" y="177"/>
                  </a:lnTo>
                  <a:lnTo>
                    <a:pt x="21" y="177"/>
                  </a:lnTo>
                  <a:lnTo>
                    <a:pt x="21" y="175"/>
                  </a:lnTo>
                  <a:lnTo>
                    <a:pt x="21" y="177"/>
                  </a:lnTo>
                  <a:lnTo>
                    <a:pt x="23" y="177"/>
                  </a:lnTo>
                  <a:lnTo>
                    <a:pt x="25" y="177"/>
                  </a:lnTo>
                  <a:lnTo>
                    <a:pt x="25" y="175"/>
                  </a:lnTo>
                  <a:lnTo>
                    <a:pt x="27" y="175"/>
                  </a:lnTo>
                  <a:lnTo>
                    <a:pt x="27" y="173"/>
                  </a:lnTo>
                  <a:lnTo>
                    <a:pt x="27" y="171"/>
                  </a:lnTo>
                  <a:lnTo>
                    <a:pt x="27" y="169"/>
                  </a:lnTo>
                  <a:lnTo>
                    <a:pt x="27" y="167"/>
                  </a:lnTo>
                  <a:lnTo>
                    <a:pt x="27" y="165"/>
                  </a:lnTo>
                  <a:lnTo>
                    <a:pt x="27" y="163"/>
                  </a:lnTo>
                  <a:lnTo>
                    <a:pt x="27" y="162"/>
                  </a:lnTo>
                  <a:lnTo>
                    <a:pt x="25" y="160"/>
                  </a:lnTo>
                  <a:lnTo>
                    <a:pt x="25" y="158"/>
                  </a:lnTo>
                  <a:lnTo>
                    <a:pt x="25" y="156"/>
                  </a:lnTo>
                  <a:lnTo>
                    <a:pt x="23" y="156"/>
                  </a:lnTo>
                  <a:lnTo>
                    <a:pt x="23" y="154"/>
                  </a:lnTo>
                  <a:lnTo>
                    <a:pt x="21" y="154"/>
                  </a:lnTo>
                  <a:lnTo>
                    <a:pt x="21" y="152"/>
                  </a:lnTo>
                  <a:lnTo>
                    <a:pt x="21" y="150"/>
                  </a:lnTo>
                  <a:lnTo>
                    <a:pt x="19" y="150"/>
                  </a:lnTo>
                  <a:lnTo>
                    <a:pt x="19" y="148"/>
                  </a:lnTo>
                  <a:lnTo>
                    <a:pt x="17" y="148"/>
                  </a:lnTo>
                  <a:lnTo>
                    <a:pt x="17" y="146"/>
                  </a:lnTo>
                  <a:lnTo>
                    <a:pt x="17" y="144"/>
                  </a:lnTo>
                  <a:lnTo>
                    <a:pt x="15" y="144"/>
                  </a:lnTo>
                  <a:lnTo>
                    <a:pt x="15" y="142"/>
                  </a:lnTo>
                  <a:lnTo>
                    <a:pt x="15" y="140"/>
                  </a:lnTo>
                  <a:lnTo>
                    <a:pt x="13" y="140"/>
                  </a:lnTo>
                  <a:lnTo>
                    <a:pt x="13" y="138"/>
                  </a:lnTo>
                  <a:lnTo>
                    <a:pt x="13" y="137"/>
                  </a:lnTo>
                  <a:lnTo>
                    <a:pt x="12" y="137"/>
                  </a:lnTo>
                  <a:lnTo>
                    <a:pt x="12" y="135"/>
                  </a:lnTo>
                  <a:lnTo>
                    <a:pt x="12" y="133"/>
                  </a:lnTo>
                  <a:lnTo>
                    <a:pt x="12" y="131"/>
                  </a:lnTo>
                  <a:lnTo>
                    <a:pt x="10" y="131"/>
                  </a:lnTo>
                  <a:lnTo>
                    <a:pt x="10" y="129"/>
                  </a:lnTo>
                  <a:lnTo>
                    <a:pt x="10" y="127"/>
                  </a:lnTo>
                  <a:lnTo>
                    <a:pt x="10" y="125"/>
                  </a:lnTo>
                  <a:lnTo>
                    <a:pt x="8" y="125"/>
                  </a:lnTo>
                  <a:lnTo>
                    <a:pt x="8" y="123"/>
                  </a:lnTo>
                  <a:lnTo>
                    <a:pt x="8" y="121"/>
                  </a:lnTo>
                  <a:lnTo>
                    <a:pt x="8" y="119"/>
                  </a:lnTo>
                  <a:lnTo>
                    <a:pt x="6" y="119"/>
                  </a:lnTo>
                  <a:lnTo>
                    <a:pt x="6" y="117"/>
                  </a:lnTo>
                  <a:lnTo>
                    <a:pt x="6" y="115"/>
                  </a:lnTo>
                  <a:lnTo>
                    <a:pt x="6" y="114"/>
                  </a:lnTo>
                  <a:lnTo>
                    <a:pt x="4" y="114"/>
                  </a:lnTo>
                  <a:lnTo>
                    <a:pt x="4" y="112"/>
                  </a:lnTo>
                  <a:lnTo>
                    <a:pt x="2" y="112"/>
                  </a:lnTo>
                  <a:lnTo>
                    <a:pt x="2" y="110"/>
                  </a:lnTo>
                  <a:lnTo>
                    <a:pt x="2" y="108"/>
                  </a:lnTo>
                  <a:lnTo>
                    <a:pt x="0" y="108"/>
                  </a:lnTo>
                  <a:lnTo>
                    <a:pt x="0" y="106"/>
                  </a:lnTo>
                  <a:lnTo>
                    <a:pt x="0" y="104"/>
                  </a:lnTo>
                  <a:lnTo>
                    <a:pt x="2" y="104"/>
                  </a:lnTo>
                  <a:lnTo>
                    <a:pt x="4" y="104"/>
                  </a:lnTo>
                  <a:lnTo>
                    <a:pt x="4" y="102"/>
                  </a:lnTo>
                  <a:lnTo>
                    <a:pt x="4" y="100"/>
                  </a:lnTo>
                  <a:lnTo>
                    <a:pt x="6" y="100"/>
                  </a:lnTo>
                  <a:lnTo>
                    <a:pt x="4" y="100"/>
                  </a:lnTo>
                  <a:lnTo>
                    <a:pt x="6" y="100"/>
                  </a:lnTo>
                  <a:lnTo>
                    <a:pt x="6" y="98"/>
                  </a:lnTo>
                  <a:lnTo>
                    <a:pt x="6" y="96"/>
                  </a:lnTo>
                  <a:lnTo>
                    <a:pt x="8" y="96"/>
                  </a:lnTo>
                  <a:lnTo>
                    <a:pt x="10" y="96"/>
                  </a:lnTo>
                  <a:lnTo>
                    <a:pt x="10" y="98"/>
                  </a:lnTo>
                  <a:lnTo>
                    <a:pt x="10" y="100"/>
                  </a:lnTo>
                  <a:lnTo>
                    <a:pt x="12" y="100"/>
                  </a:lnTo>
                  <a:lnTo>
                    <a:pt x="13" y="100"/>
                  </a:lnTo>
                  <a:lnTo>
                    <a:pt x="13" y="102"/>
                  </a:lnTo>
                  <a:lnTo>
                    <a:pt x="13" y="104"/>
                  </a:lnTo>
                  <a:lnTo>
                    <a:pt x="12" y="104"/>
                  </a:lnTo>
                  <a:lnTo>
                    <a:pt x="13" y="104"/>
                  </a:lnTo>
                  <a:lnTo>
                    <a:pt x="13" y="106"/>
                  </a:lnTo>
                  <a:lnTo>
                    <a:pt x="13" y="108"/>
                  </a:lnTo>
                  <a:lnTo>
                    <a:pt x="15" y="108"/>
                  </a:lnTo>
                  <a:lnTo>
                    <a:pt x="17" y="108"/>
                  </a:lnTo>
                  <a:lnTo>
                    <a:pt x="19" y="108"/>
                  </a:lnTo>
                  <a:lnTo>
                    <a:pt x="21" y="108"/>
                  </a:lnTo>
                  <a:lnTo>
                    <a:pt x="21" y="110"/>
                  </a:lnTo>
                  <a:lnTo>
                    <a:pt x="23" y="110"/>
                  </a:lnTo>
                  <a:lnTo>
                    <a:pt x="25" y="110"/>
                  </a:lnTo>
                  <a:lnTo>
                    <a:pt x="25" y="112"/>
                  </a:lnTo>
                  <a:lnTo>
                    <a:pt x="25" y="110"/>
                  </a:lnTo>
                  <a:lnTo>
                    <a:pt x="25" y="112"/>
                  </a:lnTo>
                  <a:lnTo>
                    <a:pt x="25" y="110"/>
                  </a:lnTo>
                  <a:lnTo>
                    <a:pt x="27" y="110"/>
                  </a:lnTo>
                  <a:lnTo>
                    <a:pt x="29" y="112"/>
                  </a:lnTo>
                  <a:lnTo>
                    <a:pt x="29" y="110"/>
                  </a:lnTo>
                  <a:lnTo>
                    <a:pt x="31" y="110"/>
                  </a:lnTo>
                  <a:lnTo>
                    <a:pt x="33" y="110"/>
                  </a:lnTo>
                  <a:lnTo>
                    <a:pt x="35" y="110"/>
                  </a:lnTo>
                  <a:lnTo>
                    <a:pt x="36" y="110"/>
                  </a:lnTo>
                  <a:lnTo>
                    <a:pt x="36" y="112"/>
                  </a:lnTo>
                  <a:lnTo>
                    <a:pt x="38" y="112"/>
                  </a:lnTo>
                  <a:lnTo>
                    <a:pt x="40" y="112"/>
                  </a:lnTo>
                  <a:lnTo>
                    <a:pt x="40" y="110"/>
                  </a:lnTo>
                  <a:lnTo>
                    <a:pt x="40" y="108"/>
                  </a:lnTo>
                  <a:lnTo>
                    <a:pt x="42" y="108"/>
                  </a:lnTo>
                  <a:lnTo>
                    <a:pt x="44" y="108"/>
                  </a:lnTo>
                  <a:lnTo>
                    <a:pt x="44" y="106"/>
                  </a:lnTo>
                  <a:lnTo>
                    <a:pt x="44" y="104"/>
                  </a:lnTo>
                  <a:lnTo>
                    <a:pt x="46" y="104"/>
                  </a:lnTo>
                  <a:lnTo>
                    <a:pt x="48" y="104"/>
                  </a:lnTo>
                  <a:lnTo>
                    <a:pt x="50" y="104"/>
                  </a:lnTo>
                  <a:lnTo>
                    <a:pt x="50" y="102"/>
                  </a:lnTo>
                  <a:lnTo>
                    <a:pt x="52" y="102"/>
                  </a:lnTo>
                  <a:lnTo>
                    <a:pt x="52" y="100"/>
                  </a:lnTo>
                  <a:lnTo>
                    <a:pt x="52" y="98"/>
                  </a:lnTo>
                  <a:lnTo>
                    <a:pt x="52" y="96"/>
                  </a:lnTo>
                  <a:lnTo>
                    <a:pt x="52" y="92"/>
                  </a:lnTo>
                  <a:lnTo>
                    <a:pt x="52" y="87"/>
                  </a:lnTo>
                  <a:lnTo>
                    <a:pt x="52" y="85"/>
                  </a:lnTo>
                  <a:lnTo>
                    <a:pt x="52" y="79"/>
                  </a:lnTo>
                  <a:lnTo>
                    <a:pt x="52" y="77"/>
                  </a:lnTo>
                  <a:lnTo>
                    <a:pt x="52" y="75"/>
                  </a:lnTo>
                  <a:lnTo>
                    <a:pt x="52" y="73"/>
                  </a:lnTo>
                  <a:lnTo>
                    <a:pt x="52" y="71"/>
                  </a:lnTo>
                  <a:lnTo>
                    <a:pt x="52" y="69"/>
                  </a:lnTo>
                  <a:lnTo>
                    <a:pt x="52" y="67"/>
                  </a:lnTo>
                  <a:lnTo>
                    <a:pt x="52" y="65"/>
                  </a:lnTo>
                  <a:lnTo>
                    <a:pt x="52" y="64"/>
                  </a:lnTo>
                  <a:lnTo>
                    <a:pt x="52" y="62"/>
                  </a:lnTo>
                  <a:lnTo>
                    <a:pt x="52" y="60"/>
                  </a:lnTo>
                  <a:lnTo>
                    <a:pt x="52" y="56"/>
                  </a:lnTo>
                  <a:lnTo>
                    <a:pt x="52" y="54"/>
                  </a:lnTo>
                  <a:lnTo>
                    <a:pt x="52" y="52"/>
                  </a:lnTo>
                  <a:lnTo>
                    <a:pt x="52" y="48"/>
                  </a:lnTo>
                  <a:lnTo>
                    <a:pt x="52" y="46"/>
                  </a:lnTo>
                  <a:lnTo>
                    <a:pt x="52" y="44"/>
                  </a:lnTo>
                  <a:lnTo>
                    <a:pt x="52" y="42"/>
                  </a:lnTo>
                  <a:lnTo>
                    <a:pt x="52" y="44"/>
                  </a:lnTo>
                  <a:lnTo>
                    <a:pt x="54" y="44"/>
                  </a:lnTo>
                  <a:lnTo>
                    <a:pt x="54" y="46"/>
                  </a:lnTo>
                  <a:lnTo>
                    <a:pt x="56" y="46"/>
                  </a:lnTo>
                  <a:lnTo>
                    <a:pt x="56" y="44"/>
                  </a:lnTo>
                  <a:lnTo>
                    <a:pt x="56" y="46"/>
                  </a:lnTo>
                  <a:lnTo>
                    <a:pt x="58" y="46"/>
                  </a:lnTo>
                  <a:lnTo>
                    <a:pt x="58" y="48"/>
                  </a:lnTo>
                  <a:lnTo>
                    <a:pt x="58" y="50"/>
                  </a:lnTo>
                  <a:lnTo>
                    <a:pt x="58" y="48"/>
                  </a:lnTo>
                  <a:lnTo>
                    <a:pt x="58" y="50"/>
                  </a:lnTo>
                  <a:lnTo>
                    <a:pt x="59" y="50"/>
                  </a:lnTo>
                  <a:lnTo>
                    <a:pt x="59" y="52"/>
                  </a:lnTo>
                  <a:lnTo>
                    <a:pt x="59" y="50"/>
                  </a:lnTo>
                  <a:lnTo>
                    <a:pt x="59" y="52"/>
                  </a:lnTo>
                  <a:lnTo>
                    <a:pt x="59" y="54"/>
                  </a:lnTo>
                  <a:lnTo>
                    <a:pt x="59" y="52"/>
                  </a:lnTo>
                  <a:lnTo>
                    <a:pt x="59" y="54"/>
                  </a:lnTo>
                  <a:lnTo>
                    <a:pt x="61" y="54"/>
                  </a:lnTo>
                  <a:lnTo>
                    <a:pt x="59" y="54"/>
                  </a:lnTo>
                  <a:lnTo>
                    <a:pt x="61" y="54"/>
                  </a:lnTo>
                  <a:lnTo>
                    <a:pt x="61" y="56"/>
                  </a:lnTo>
                  <a:lnTo>
                    <a:pt x="61" y="58"/>
                  </a:lnTo>
                  <a:lnTo>
                    <a:pt x="61" y="56"/>
                  </a:lnTo>
                  <a:lnTo>
                    <a:pt x="61" y="58"/>
                  </a:lnTo>
                  <a:lnTo>
                    <a:pt x="61" y="60"/>
                  </a:lnTo>
                  <a:lnTo>
                    <a:pt x="63" y="60"/>
                  </a:lnTo>
                  <a:lnTo>
                    <a:pt x="61" y="60"/>
                  </a:lnTo>
                  <a:lnTo>
                    <a:pt x="63" y="60"/>
                  </a:lnTo>
                  <a:lnTo>
                    <a:pt x="63" y="62"/>
                  </a:lnTo>
                  <a:lnTo>
                    <a:pt x="63" y="64"/>
                  </a:lnTo>
                  <a:lnTo>
                    <a:pt x="63" y="65"/>
                  </a:lnTo>
                  <a:lnTo>
                    <a:pt x="63" y="67"/>
                  </a:lnTo>
                  <a:lnTo>
                    <a:pt x="61" y="67"/>
                  </a:lnTo>
                  <a:lnTo>
                    <a:pt x="61" y="69"/>
                  </a:lnTo>
                  <a:lnTo>
                    <a:pt x="61" y="71"/>
                  </a:lnTo>
                  <a:lnTo>
                    <a:pt x="59" y="71"/>
                  </a:lnTo>
                  <a:lnTo>
                    <a:pt x="61" y="71"/>
                  </a:lnTo>
                  <a:lnTo>
                    <a:pt x="61" y="73"/>
                  </a:lnTo>
                  <a:lnTo>
                    <a:pt x="59" y="73"/>
                  </a:lnTo>
                  <a:lnTo>
                    <a:pt x="59" y="75"/>
                  </a:lnTo>
                  <a:lnTo>
                    <a:pt x="61" y="75"/>
                  </a:lnTo>
                  <a:lnTo>
                    <a:pt x="61" y="77"/>
                  </a:lnTo>
                  <a:lnTo>
                    <a:pt x="63" y="77"/>
                  </a:lnTo>
                  <a:lnTo>
                    <a:pt x="63" y="75"/>
                  </a:lnTo>
                  <a:lnTo>
                    <a:pt x="65" y="75"/>
                  </a:lnTo>
                  <a:lnTo>
                    <a:pt x="65" y="77"/>
                  </a:lnTo>
                  <a:lnTo>
                    <a:pt x="65" y="75"/>
                  </a:lnTo>
                  <a:lnTo>
                    <a:pt x="65" y="77"/>
                  </a:lnTo>
                  <a:lnTo>
                    <a:pt x="67" y="77"/>
                  </a:lnTo>
                  <a:lnTo>
                    <a:pt x="69" y="77"/>
                  </a:lnTo>
                  <a:lnTo>
                    <a:pt x="71" y="77"/>
                  </a:lnTo>
                  <a:lnTo>
                    <a:pt x="73" y="77"/>
                  </a:lnTo>
                  <a:lnTo>
                    <a:pt x="75" y="77"/>
                  </a:lnTo>
                  <a:lnTo>
                    <a:pt x="77" y="77"/>
                  </a:lnTo>
                  <a:lnTo>
                    <a:pt x="77" y="75"/>
                  </a:lnTo>
                  <a:lnTo>
                    <a:pt x="77" y="73"/>
                  </a:lnTo>
                  <a:lnTo>
                    <a:pt x="79" y="73"/>
                  </a:lnTo>
                  <a:lnTo>
                    <a:pt x="81" y="73"/>
                  </a:lnTo>
                  <a:lnTo>
                    <a:pt x="83" y="73"/>
                  </a:lnTo>
                  <a:lnTo>
                    <a:pt x="83" y="71"/>
                  </a:lnTo>
                  <a:lnTo>
                    <a:pt x="83" y="69"/>
                  </a:lnTo>
                  <a:lnTo>
                    <a:pt x="84" y="69"/>
                  </a:lnTo>
                  <a:lnTo>
                    <a:pt x="83" y="69"/>
                  </a:lnTo>
                  <a:lnTo>
                    <a:pt x="84" y="69"/>
                  </a:lnTo>
                  <a:lnTo>
                    <a:pt x="84" y="67"/>
                  </a:lnTo>
                  <a:lnTo>
                    <a:pt x="86" y="67"/>
                  </a:lnTo>
                  <a:lnTo>
                    <a:pt x="88" y="67"/>
                  </a:lnTo>
                  <a:lnTo>
                    <a:pt x="88" y="65"/>
                  </a:lnTo>
                  <a:lnTo>
                    <a:pt x="88" y="67"/>
                  </a:lnTo>
                  <a:lnTo>
                    <a:pt x="88" y="65"/>
                  </a:lnTo>
                  <a:lnTo>
                    <a:pt x="90" y="65"/>
                  </a:lnTo>
                  <a:lnTo>
                    <a:pt x="90" y="64"/>
                  </a:lnTo>
                  <a:lnTo>
                    <a:pt x="92" y="64"/>
                  </a:lnTo>
                  <a:lnTo>
                    <a:pt x="92" y="62"/>
                  </a:lnTo>
                  <a:lnTo>
                    <a:pt x="90" y="62"/>
                  </a:lnTo>
                  <a:lnTo>
                    <a:pt x="92" y="62"/>
                  </a:lnTo>
                  <a:lnTo>
                    <a:pt x="92" y="60"/>
                  </a:lnTo>
                  <a:lnTo>
                    <a:pt x="92" y="58"/>
                  </a:lnTo>
                  <a:lnTo>
                    <a:pt x="92" y="56"/>
                  </a:lnTo>
                  <a:lnTo>
                    <a:pt x="94" y="56"/>
                  </a:lnTo>
                  <a:lnTo>
                    <a:pt x="92" y="56"/>
                  </a:lnTo>
                  <a:lnTo>
                    <a:pt x="94" y="56"/>
                  </a:lnTo>
                  <a:lnTo>
                    <a:pt x="94" y="54"/>
                  </a:lnTo>
                  <a:lnTo>
                    <a:pt x="92" y="54"/>
                  </a:lnTo>
                  <a:lnTo>
                    <a:pt x="94" y="54"/>
                  </a:lnTo>
                  <a:lnTo>
                    <a:pt x="94" y="52"/>
                  </a:lnTo>
                  <a:lnTo>
                    <a:pt x="96" y="52"/>
                  </a:lnTo>
                  <a:lnTo>
                    <a:pt x="98" y="52"/>
                  </a:lnTo>
                  <a:lnTo>
                    <a:pt x="98" y="50"/>
                  </a:lnTo>
                  <a:lnTo>
                    <a:pt x="98" y="52"/>
                  </a:lnTo>
                  <a:lnTo>
                    <a:pt x="100" y="52"/>
                  </a:lnTo>
                  <a:lnTo>
                    <a:pt x="100" y="50"/>
                  </a:lnTo>
                  <a:lnTo>
                    <a:pt x="100" y="52"/>
                  </a:lnTo>
                  <a:lnTo>
                    <a:pt x="102" y="52"/>
                  </a:lnTo>
                  <a:lnTo>
                    <a:pt x="102" y="50"/>
                  </a:lnTo>
                  <a:lnTo>
                    <a:pt x="102" y="52"/>
                  </a:lnTo>
                  <a:lnTo>
                    <a:pt x="104" y="52"/>
                  </a:lnTo>
                  <a:lnTo>
                    <a:pt x="104" y="54"/>
                  </a:lnTo>
                  <a:lnTo>
                    <a:pt x="104" y="52"/>
                  </a:lnTo>
                  <a:lnTo>
                    <a:pt x="104" y="54"/>
                  </a:lnTo>
                  <a:lnTo>
                    <a:pt x="106" y="54"/>
                  </a:lnTo>
                  <a:lnTo>
                    <a:pt x="107" y="54"/>
                  </a:lnTo>
                  <a:lnTo>
                    <a:pt x="107" y="56"/>
                  </a:lnTo>
                  <a:lnTo>
                    <a:pt x="107" y="54"/>
                  </a:lnTo>
                  <a:lnTo>
                    <a:pt x="107" y="56"/>
                  </a:lnTo>
                  <a:lnTo>
                    <a:pt x="109" y="56"/>
                  </a:lnTo>
                  <a:lnTo>
                    <a:pt x="109" y="58"/>
                  </a:lnTo>
                  <a:lnTo>
                    <a:pt x="109" y="56"/>
                  </a:lnTo>
                  <a:lnTo>
                    <a:pt x="109" y="58"/>
                  </a:lnTo>
                  <a:lnTo>
                    <a:pt x="111" y="58"/>
                  </a:lnTo>
                  <a:lnTo>
                    <a:pt x="111" y="56"/>
                  </a:lnTo>
                  <a:lnTo>
                    <a:pt x="111" y="58"/>
                  </a:lnTo>
                  <a:lnTo>
                    <a:pt x="111" y="56"/>
                  </a:lnTo>
                  <a:lnTo>
                    <a:pt x="111" y="58"/>
                  </a:lnTo>
                  <a:lnTo>
                    <a:pt x="111" y="56"/>
                  </a:lnTo>
                  <a:lnTo>
                    <a:pt x="113" y="56"/>
                  </a:lnTo>
                  <a:lnTo>
                    <a:pt x="111" y="56"/>
                  </a:lnTo>
                  <a:lnTo>
                    <a:pt x="113" y="56"/>
                  </a:lnTo>
                  <a:lnTo>
                    <a:pt x="113" y="58"/>
                  </a:lnTo>
                  <a:lnTo>
                    <a:pt x="113" y="56"/>
                  </a:lnTo>
                  <a:lnTo>
                    <a:pt x="113" y="58"/>
                  </a:lnTo>
                  <a:lnTo>
                    <a:pt x="115" y="58"/>
                  </a:lnTo>
                  <a:lnTo>
                    <a:pt x="113" y="58"/>
                  </a:lnTo>
                  <a:lnTo>
                    <a:pt x="115" y="58"/>
                  </a:lnTo>
                  <a:lnTo>
                    <a:pt x="115" y="60"/>
                  </a:lnTo>
                  <a:lnTo>
                    <a:pt x="115" y="58"/>
                  </a:lnTo>
                  <a:lnTo>
                    <a:pt x="115" y="60"/>
                  </a:lnTo>
                  <a:lnTo>
                    <a:pt x="117" y="60"/>
                  </a:lnTo>
                  <a:lnTo>
                    <a:pt x="117" y="58"/>
                  </a:lnTo>
                  <a:lnTo>
                    <a:pt x="117" y="60"/>
                  </a:lnTo>
                  <a:lnTo>
                    <a:pt x="119" y="60"/>
                  </a:lnTo>
                  <a:lnTo>
                    <a:pt x="121" y="60"/>
                  </a:lnTo>
                  <a:lnTo>
                    <a:pt x="123" y="60"/>
                  </a:lnTo>
                  <a:lnTo>
                    <a:pt x="121" y="60"/>
                  </a:lnTo>
                  <a:lnTo>
                    <a:pt x="123" y="60"/>
                  </a:lnTo>
                  <a:lnTo>
                    <a:pt x="125" y="60"/>
                  </a:lnTo>
                  <a:lnTo>
                    <a:pt x="125" y="58"/>
                  </a:lnTo>
                  <a:lnTo>
                    <a:pt x="127" y="58"/>
                  </a:lnTo>
                  <a:lnTo>
                    <a:pt x="127" y="60"/>
                  </a:lnTo>
                  <a:lnTo>
                    <a:pt x="127" y="58"/>
                  </a:lnTo>
                  <a:lnTo>
                    <a:pt x="127" y="60"/>
                  </a:lnTo>
                  <a:lnTo>
                    <a:pt x="129" y="60"/>
                  </a:lnTo>
                  <a:lnTo>
                    <a:pt x="131" y="60"/>
                  </a:lnTo>
                  <a:lnTo>
                    <a:pt x="131" y="58"/>
                  </a:lnTo>
                  <a:lnTo>
                    <a:pt x="132" y="58"/>
                  </a:lnTo>
                  <a:lnTo>
                    <a:pt x="134" y="56"/>
                  </a:lnTo>
                  <a:lnTo>
                    <a:pt x="134" y="54"/>
                  </a:lnTo>
                  <a:lnTo>
                    <a:pt x="134" y="52"/>
                  </a:lnTo>
                  <a:lnTo>
                    <a:pt x="134" y="50"/>
                  </a:lnTo>
                  <a:lnTo>
                    <a:pt x="136" y="50"/>
                  </a:lnTo>
                  <a:lnTo>
                    <a:pt x="136" y="48"/>
                  </a:lnTo>
                  <a:lnTo>
                    <a:pt x="136" y="46"/>
                  </a:lnTo>
                  <a:lnTo>
                    <a:pt x="138" y="46"/>
                  </a:lnTo>
                  <a:lnTo>
                    <a:pt x="138" y="44"/>
                  </a:lnTo>
                  <a:lnTo>
                    <a:pt x="136" y="44"/>
                  </a:lnTo>
                  <a:lnTo>
                    <a:pt x="136" y="42"/>
                  </a:lnTo>
                  <a:lnTo>
                    <a:pt x="138" y="42"/>
                  </a:lnTo>
                  <a:lnTo>
                    <a:pt x="140" y="42"/>
                  </a:lnTo>
                  <a:lnTo>
                    <a:pt x="142" y="42"/>
                  </a:lnTo>
                  <a:lnTo>
                    <a:pt x="142" y="41"/>
                  </a:lnTo>
                  <a:lnTo>
                    <a:pt x="144" y="41"/>
                  </a:lnTo>
                  <a:lnTo>
                    <a:pt x="146" y="41"/>
                  </a:lnTo>
                  <a:lnTo>
                    <a:pt x="146" y="39"/>
                  </a:lnTo>
                  <a:lnTo>
                    <a:pt x="148" y="39"/>
                  </a:lnTo>
                  <a:lnTo>
                    <a:pt x="148" y="37"/>
                  </a:lnTo>
                  <a:lnTo>
                    <a:pt x="150" y="37"/>
                  </a:lnTo>
                  <a:lnTo>
                    <a:pt x="150" y="35"/>
                  </a:lnTo>
                  <a:lnTo>
                    <a:pt x="152" y="35"/>
                  </a:lnTo>
                  <a:lnTo>
                    <a:pt x="152" y="33"/>
                  </a:lnTo>
                  <a:lnTo>
                    <a:pt x="152" y="31"/>
                  </a:lnTo>
                  <a:lnTo>
                    <a:pt x="154" y="31"/>
                  </a:lnTo>
                  <a:lnTo>
                    <a:pt x="154" y="29"/>
                  </a:lnTo>
                  <a:lnTo>
                    <a:pt x="154" y="27"/>
                  </a:lnTo>
                  <a:lnTo>
                    <a:pt x="154" y="25"/>
                  </a:lnTo>
                  <a:lnTo>
                    <a:pt x="155" y="25"/>
                  </a:lnTo>
                  <a:lnTo>
                    <a:pt x="155" y="23"/>
                  </a:lnTo>
                  <a:lnTo>
                    <a:pt x="155" y="25"/>
                  </a:lnTo>
                  <a:lnTo>
                    <a:pt x="155" y="23"/>
                  </a:lnTo>
                  <a:lnTo>
                    <a:pt x="157" y="23"/>
                  </a:lnTo>
                  <a:lnTo>
                    <a:pt x="157" y="21"/>
                  </a:lnTo>
                  <a:lnTo>
                    <a:pt x="159" y="21"/>
                  </a:lnTo>
                  <a:lnTo>
                    <a:pt x="161" y="21"/>
                  </a:lnTo>
                  <a:lnTo>
                    <a:pt x="161" y="19"/>
                  </a:lnTo>
                  <a:lnTo>
                    <a:pt x="163" y="19"/>
                  </a:lnTo>
                  <a:lnTo>
                    <a:pt x="163" y="17"/>
                  </a:lnTo>
                  <a:lnTo>
                    <a:pt x="165" y="17"/>
                  </a:lnTo>
                  <a:lnTo>
                    <a:pt x="165" y="16"/>
                  </a:lnTo>
                  <a:lnTo>
                    <a:pt x="167" y="16"/>
                  </a:lnTo>
                  <a:lnTo>
                    <a:pt x="167" y="14"/>
                  </a:lnTo>
                  <a:lnTo>
                    <a:pt x="169" y="14"/>
                  </a:lnTo>
                  <a:lnTo>
                    <a:pt x="169" y="12"/>
                  </a:lnTo>
                  <a:lnTo>
                    <a:pt x="171" y="12"/>
                  </a:lnTo>
                  <a:lnTo>
                    <a:pt x="171" y="10"/>
                  </a:lnTo>
                  <a:lnTo>
                    <a:pt x="173" y="10"/>
                  </a:lnTo>
                  <a:lnTo>
                    <a:pt x="173" y="8"/>
                  </a:lnTo>
                  <a:lnTo>
                    <a:pt x="175" y="8"/>
                  </a:lnTo>
                  <a:lnTo>
                    <a:pt x="177" y="8"/>
                  </a:lnTo>
                  <a:lnTo>
                    <a:pt x="178" y="8"/>
                  </a:lnTo>
                  <a:lnTo>
                    <a:pt x="178" y="6"/>
                  </a:lnTo>
                  <a:lnTo>
                    <a:pt x="180" y="6"/>
                  </a:lnTo>
                  <a:lnTo>
                    <a:pt x="182" y="6"/>
                  </a:lnTo>
                  <a:lnTo>
                    <a:pt x="182" y="4"/>
                  </a:lnTo>
                  <a:lnTo>
                    <a:pt x="182" y="2"/>
                  </a:lnTo>
                  <a:lnTo>
                    <a:pt x="184" y="2"/>
                  </a:lnTo>
                  <a:lnTo>
                    <a:pt x="186" y="2"/>
                  </a:lnTo>
                  <a:lnTo>
                    <a:pt x="188" y="2"/>
                  </a:lnTo>
                  <a:lnTo>
                    <a:pt x="190" y="2"/>
                  </a:lnTo>
                  <a:lnTo>
                    <a:pt x="192" y="2"/>
                  </a:lnTo>
                  <a:lnTo>
                    <a:pt x="192" y="0"/>
                  </a:lnTo>
                  <a:lnTo>
                    <a:pt x="192" y="2"/>
                  </a:lnTo>
                  <a:lnTo>
                    <a:pt x="192" y="0"/>
                  </a:lnTo>
                  <a:lnTo>
                    <a:pt x="194" y="0"/>
                  </a:lnTo>
                  <a:lnTo>
                    <a:pt x="194" y="2"/>
                  </a:lnTo>
                  <a:lnTo>
                    <a:pt x="196" y="2"/>
                  </a:lnTo>
                  <a:lnTo>
                    <a:pt x="198" y="2"/>
                  </a:lnTo>
                  <a:lnTo>
                    <a:pt x="200" y="2"/>
                  </a:lnTo>
                  <a:lnTo>
                    <a:pt x="200" y="4"/>
                  </a:lnTo>
                  <a:lnTo>
                    <a:pt x="202" y="4"/>
                  </a:lnTo>
                  <a:lnTo>
                    <a:pt x="203" y="4"/>
                  </a:lnTo>
                  <a:lnTo>
                    <a:pt x="205" y="4"/>
                  </a:lnTo>
                  <a:lnTo>
                    <a:pt x="207" y="4"/>
                  </a:lnTo>
                  <a:lnTo>
                    <a:pt x="209" y="4"/>
                  </a:lnTo>
                  <a:lnTo>
                    <a:pt x="211" y="4"/>
                  </a:lnTo>
                  <a:lnTo>
                    <a:pt x="213" y="4"/>
                  </a:lnTo>
                  <a:lnTo>
                    <a:pt x="215" y="4"/>
                  </a:lnTo>
                  <a:lnTo>
                    <a:pt x="217" y="4"/>
                  </a:lnTo>
                  <a:lnTo>
                    <a:pt x="217" y="6"/>
                  </a:lnTo>
                  <a:close/>
                  <a:moveTo>
                    <a:pt x="178" y="106"/>
                  </a:moveTo>
                  <a:lnTo>
                    <a:pt x="177" y="106"/>
                  </a:lnTo>
                  <a:lnTo>
                    <a:pt x="175" y="106"/>
                  </a:lnTo>
                  <a:lnTo>
                    <a:pt x="175" y="108"/>
                  </a:lnTo>
                  <a:lnTo>
                    <a:pt x="175" y="106"/>
                  </a:lnTo>
                  <a:lnTo>
                    <a:pt x="175" y="108"/>
                  </a:lnTo>
                  <a:lnTo>
                    <a:pt x="175" y="106"/>
                  </a:lnTo>
                  <a:lnTo>
                    <a:pt x="175" y="108"/>
                  </a:lnTo>
                  <a:lnTo>
                    <a:pt x="173" y="108"/>
                  </a:lnTo>
                  <a:lnTo>
                    <a:pt x="171" y="108"/>
                  </a:lnTo>
                  <a:lnTo>
                    <a:pt x="171" y="110"/>
                  </a:lnTo>
                  <a:lnTo>
                    <a:pt x="169" y="110"/>
                  </a:lnTo>
                  <a:lnTo>
                    <a:pt x="167" y="110"/>
                  </a:lnTo>
                  <a:lnTo>
                    <a:pt x="167" y="112"/>
                  </a:lnTo>
                  <a:lnTo>
                    <a:pt x="165" y="112"/>
                  </a:lnTo>
                  <a:lnTo>
                    <a:pt x="165" y="114"/>
                  </a:lnTo>
                  <a:lnTo>
                    <a:pt x="163" y="112"/>
                  </a:lnTo>
                  <a:lnTo>
                    <a:pt x="163" y="114"/>
                  </a:lnTo>
                  <a:lnTo>
                    <a:pt x="163" y="115"/>
                  </a:lnTo>
                  <a:lnTo>
                    <a:pt x="161" y="115"/>
                  </a:lnTo>
                  <a:lnTo>
                    <a:pt x="161" y="117"/>
                  </a:lnTo>
                  <a:lnTo>
                    <a:pt x="161" y="115"/>
                  </a:lnTo>
                  <a:lnTo>
                    <a:pt x="161" y="117"/>
                  </a:lnTo>
                  <a:lnTo>
                    <a:pt x="159" y="117"/>
                  </a:lnTo>
                  <a:lnTo>
                    <a:pt x="159" y="119"/>
                  </a:lnTo>
                  <a:lnTo>
                    <a:pt x="159" y="121"/>
                  </a:lnTo>
                  <a:lnTo>
                    <a:pt x="157" y="121"/>
                  </a:lnTo>
                  <a:lnTo>
                    <a:pt x="155" y="121"/>
                  </a:lnTo>
                  <a:lnTo>
                    <a:pt x="155" y="123"/>
                  </a:lnTo>
                  <a:lnTo>
                    <a:pt x="154" y="123"/>
                  </a:lnTo>
                  <a:lnTo>
                    <a:pt x="155" y="123"/>
                  </a:lnTo>
                  <a:lnTo>
                    <a:pt x="155" y="125"/>
                  </a:lnTo>
                  <a:lnTo>
                    <a:pt x="155" y="127"/>
                  </a:lnTo>
                  <a:lnTo>
                    <a:pt x="157" y="127"/>
                  </a:lnTo>
                  <a:lnTo>
                    <a:pt x="157" y="129"/>
                  </a:lnTo>
                  <a:lnTo>
                    <a:pt x="157" y="131"/>
                  </a:lnTo>
                  <a:lnTo>
                    <a:pt x="159" y="131"/>
                  </a:lnTo>
                  <a:lnTo>
                    <a:pt x="159" y="133"/>
                  </a:lnTo>
                  <a:lnTo>
                    <a:pt x="159" y="135"/>
                  </a:lnTo>
                  <a:lnTo>
                    <a:pt x="161" y="135"/>
                  </a:lnTo>
                  <a:lnTo>
                    <a:pt x="161" y="137"/>
                  </a:lnTo>
                  <a:lnTo>
                    <a:pt x="163" y="137"/>
                  </a:lnTo>
                  <a:lnTo>
                    <a:pt x="161" y="137"/>
                  </a:lnTo>
                  <a:lnTo>
                    <a:pt x="163" y="137"/>
                  </a:lnTo>
                  <a:lnTo>
                    <a:pt x="163" y="138"/>
                  </a:lnTo>
                  <a:lnTo>
                    <a:pt x="165" y="138"/>
                  </a:lnTo>
                  <a:lnTo>
                    <a:pt x="165" y="140"/>
                  </a:lnTo>
                  <a:lnTo>
                    <a:pt x="167" y="140"/>
                  </a:lnTo>
                  <a:lnTo>
                    <a:pt x="167" y="138"/>
                  </a:lnTo>
                  <a:lnTo>
                    <a:pt x="167" y="140"/>
                  </a:lnTo>
                  <a:lnTo>
                    <a:pt x="169" y="140"/>
                  </a:lnTo>
                  <a:lnTo>
                    <a:pt x="171" y="140"/>
                  </a:lnTo>
                  <a:lnTo>
                    <a:pt x="171" y="138"/>
                  </a:lnTo>
                  <a:lnTo>
                    <a:pt x="171" y="137"/>
                  </a:lnTo>
                  <a:lnTo>
                    <a:pt x="173" y="137"/>
                  </a:lnTo>
                  <a:lnTo>
                    <a:pt x="173" y="135"/>
                  </a:lnTo>
                  <a:lnTo>
                    <a:pt x="171" y="135"/>
                  </a:lnTo>
                  <a:lnTo>
                    <a:pt x="173" y="135"/>
                  </a:lnTo>
                  <a:lnTo>
                    <a:pt x="173" y="133"/>
                  </a:lnTo>
                  <a:lnTo>
                    <a:pt x="175" y="133"/>
                  </a:lnTo>
                  <a:lnTo>
                    <a:pt x="175" y="131"/>
                  </a:lnTo>
                  <a:lnTo>
                    <a:pt x="175" y="133"/>
                  </a:lnTo>
                  <a:lnTo>
                    <a:pt x="175" y="131"/>
                  </a:lnTo>
                  <a:lnTo>
                    <a:pt x="177" y="131"/>
                  </a:lnTo>
                  <a:lnTo>
                    <a:pt x="178" y="131"/>
                  </a:lnTo>
                  <a:lnTo>
                    <a:pt x="180" y="131"/>
                  </a:lnTo>
                  <a:lnTo>
                    <a:pt x="182" y="131"/>
                  </a:lnTo>
                  <a:lnTo>
                    <a:pt x="182" y="129"/>
                  </a:lnTo>
                  <a:lnTo>
                    <a:pt x="182" y="131"/>
                  </a:lnTo>
                  <a:lnTo>
                    <a:pt x="182" y="129"/>
                  </a:lnTo>
                  <a:lnTo>
                    <a:pt x="184" y="129"/>
                  </a:lnTo>
                  <a:lnTo>
                    <a:pt x="186" y="129"/>
                  </a:lnTo>
                  <a:lnTo>
                    <a:pt x="186" y="127"/>
                  </a:lnTo>
                  <a:lnTo>
                    <a:pt x="184" y="127"/>
                  </a:lnTo>
                  <a:lnTo>
                    <a:pt x="184" y="125"/>
                  </a:lnTo>
                  <a:lnTo>
                    <a:pt x="186" y="125"/>
                  </a:lnTo>
                  <a:lnTo>
                    <a:pt x="184" y="125"/>
                  </a:lnTo>
                  <a:lnTo>
                    <a:pt x="186" y="125"/>
                  </a:lnTo>
                  <a:lnTo>
                    <a:pt x="186" y="123"/>
                  </a:lnTo>
                  <a:lnTo>
                    <a:pt x="188" y="123"/>
                  </a:lnTo>
                  <a:lnTo>
                    <a:pt x="188" y="121"/>
                  </a:lnTo>
                  <a:lnTo>
                    <a:pt x="188" y="119"/>
                  </a:lnTo>
                  <a:lnTo>
                    <a:pt x="188" y="121"/>
                  </a:lnTo>
                  <a:lnTo>
                    <a:pt x="188" y="119"/>
                  </a:lnTo>
                  <a:lnTo>
                    <a:pt x="190" y="119"/>
                  </a:lnTo>
                  <a:lnTo>
                    <a:pt x="190" y="117"/>
                  </a:lnTo>
                  <a:lnTo>
                    <a:pt x="190" y="115"/>
                  </a:lnTo>
                  <a:lnTo>
                    <a:pt x="188" y="115"/>
                  </a:lnTo>
                  <a:lnTo>
                    <a:pt x="190" y="115"/>
                  </a:lnTo>
                  <a:lnTo>
                    <a:pt x="188" y="115"/>
                  </a:lnTo>
                  <a:lnTo>
                    <a:pt x="188" y="114"/>
                  </a:lnTo>
                  <a:lnTo>
                    <a:pt x="186" y="114"/>
                  </a:lnTo>
                  <a:lnTo>
                    <a:pt x="186" y="112"/>
                  </a:lnTo>
                  <a:lnTo>
                    <a:pt x="184" y="112"/>
                  </a:lnTo>
                  <a:lnTo>
                    <a:pt x="184" y="110"/>
                  </a:lnTo>
                  <a:lnTo>
                    <a:pt x="182" y="110"/>
                  </a:lnTo>
                  <a:lnTo>
                    <a:pt x="182" y="112"/>
                  </a:lnTo>
                  <a:lnTo>
                    <a:pt x="182" y="110"/>
                  </a:lnTo>
                  <a:lnTo>
                    <a:pt x="182" y="108"/>
                  </a:lnTo>
                  <a:lnTo>
                    <a:pt x="180" y="108"/>
                  </a:lnTo>
                  <a:lnTo>
                    <a:pt x="178" y="108"/>
                  </a:lnTo>
                  <a:lnTo>
                    <a:pt x="178" y="106"/>
                  </a:lnTo>
                  <a:close/>
                  <a:moveTo>
                    <a:pt x="21" y="183"/>
                  </a:moveTo>
                  <a:lnTo>
                    <a:pt x="23" y="183"/>
                  </a:lnTo>
                  <a:lnTo>
                    <a:pt x="21" y="183"/>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3" name="Freeform 462">
              <a:extLst>
                <a:ext uri="{FF2B5EF4-FFF2-40B4-BE49-F238E27FC236}">
                  <a16:creationId xmlns:a16="http://schemas.microsoft.com/office/drawing/2014/main" id="{7B44A475-F490-467F-8F39-590D4054E8F9}"/>
                </a:ext>
              </a:extLst>
            </p:cNvPr>
            <p:cNvSpPr>
              <a:spLocks/>
            </p:cNvSpPr>
            <p:nvPr/>
          </p:nvSpPr>
          <p:spPr bwMode="gray">
            <a:xfrm>
              <a:off x="3761358" y="4844827"/>
              <a:ext cx="23302" cy="33113"/>
            </a:xfrm>
            <a:custGeom>
              <a:avLst/>
              <a:gdLst>
                <a:gd name="T0" fmla="*/ 17 w 19"/>
                <a:gd name="T1" fmla="*/ 4 h 27"/>
                <a:gd name="T2" fmla="*/ 17 w 19"/>
                <a:gd name="T3" fmla="*/ 6 h 27"/>
                <a:gd name="T4" fmla="*/ 19 w 19"/>
                <a:gd name="T5" fmla="*/ 6 h 27"/>
                <a:gd name="T6" fmla="*/ 19 w 19"/>
                <a:gd name="T7" fmla="*/ 7 h 27"/>
                <a:gd name="T8" fmla="*/ 19 w 19"/>
                <a:gd name="T9" fmla="*/ 9 h 27"/>
                <a:gd name="T10" fmla="*/ 19 w 19"/>
                <a:gd name="T11" fmla="*/ 11 h 27"/>
                <a:gd name="T12" fmla="*/ 19 w 19"/>
                <a:gd name="T13" fmla="*/ 13 h 27"/>
                <a:gd name="T14" fmla="*/ 19 w 19"/>
                <a:gd name="T15" fmla="*/ 17 h 27"/>
                <a:gd name="T16" fmla="*/ 19 w 19"/>
                <a:gd name="T17" fmla="*/ 19 h 27"/>
                <a:gd name="T18" fmla="*/ 19 w 19"/>
                <a:gd name="T19" fmla="*/ 17 h 27"/>
                <a:gd name="T20" fmla="*/ 19 w 19"/>
                <a:gd name="T21" fmla="*/ 19 h 27"/>
                <a:gd name="T22" fmla="*/ 19 w 19"/>
                <a:gd name="T23" fmla="*/ 17 h 27"/>
                <a:gd name="T24" fmla="*/ 17 w 19"/>
                <a:gd name="T25" fmla="*/ 17 h 27"/>
                <a:gd name="T26" fmla="*/ 17 w 19"/>
                <a:gd name="T27" fmla="*/ 19 h 27"/>
                <a:gd name="T28" fmla="*/ 17 w 19"/>
                <a:gd name="T29" fmla="*/ 21 h 27"/>
                <a:gd name="T30" fmla="*/ 17 w 19"/>
                <a:gd name="T31" fmla="*/ 23 h 27"/>
                <a:gd name="T32" fmla="*/ 17 w 19"/>
                <a:gd name="T33" fmla="*/ 25 h 27"/>
                <a:gd name="T34" fmla="*/ 17 w 19"/>
                <a:gd name="T35" fmla="*/ 27 h 27"/>
                <a:gd name="T36" fmla="*/ 16 w 19"/>
                <a:gd name="T37" fmla="*/ 27 h 27"/>
                <a:gd name="T38" fmla="*/ 14 w 19"/>
                <a:gd name="T39" fmla="*/ 27 h 27"/>
                <a:gd name="T40" fmla="*/ 12 w 19"/>
                <a:gd name="T41" fmla="*/ 27 h 27"/>
                <a:gd name="T42" fmla="*/ 10 w 19"/>
                <a:gd name="T43" fmla="*/ 27 h 27"/>
                <a:gd name="T44" fmla="*/ 8 w 19"/>
                <a:gd name="T45" fmla="*/ 25 h 27"/>
                <a:gd name="T46" fmla="*/ 6 w 19"/>
                <a:gd name="T47" fmla="*/ 25 h 27"/>
                <a:gd name="T48" fmla="*/ 4 w 19"/>
                <a:gd name="T49" fmla="*/ 23 h 27"/>
                <a:gd name="T50" fmla="*/ 4 w 19"/>
                <a:gd name="T51" fmla="*/ 21 h 27"/>
                <a:gd name="T52" fmla="*/ 2 w 19"/>
                <a:gd name="T53" fmla="*/ 21 h 27"/>
                <a:gd name="T54" fmla="*/ 2 w 19"/>
                <a:gd name="T55" fmla="*/ 19 h 27"/>
                <a:gd name="T56" fmla="*/ 2 w 19"/>
                <a:gd name="T57" fmla="*/ 17 h 27"/>
                <a:gd name="T58" fmla="*/ 2 w 19"/>
                <a:gd name="T59" fmla="*/ 19 h 27"/>
                <a:gd name="T60" fmla="*/ 0 w 19"/>
                <a:gd name="T61" fmla="*/ 19 h 27"/>
                <a:gd name="T62" fmla="*/ 0 w 19"/>
                <a:gd name="T63" fmla="*/ 17 h 27"/>
                <a:gd name="T64" fmla="*/ 0 w 19"/>
                <a:gd name="T65" fmla="*/ 15 h 27"/>
                <a:gd name="T66" fmla="*/ 0 w 19"/>
                <a:gd name="T67" fmla="*/ 13 h 27"/>
                <a:gd name="T68" fmla="*/ 0 w 19"/>
                <a:gd name="T69" fmla="*/ 11 h 27"/>
                <a:gd name="T70" fmla="*/ 2 w 19"/>
                <a:gd name="T71" fmla="*/ 11 h 27"/>
                <a:gd name="T72" fmla="*/ 2 w 19"/>
                <a:gd name="T73" fmla="*/ 9 h 27"/>
                <a:gd name="T74" fmla="*/ 4 w 19"/>
                <a:gd name="T75" fmla="*/ 7 h 27"/>
                <a:gd name="T76" fmla="*/ 4 w 19"/>
                <a:gd name="T77" fmla="*/ 6 h 27"/>
                <a:gd name="T78" fmla="*/ 4 w 19"/>
                <a:gd name="T79" fmla="*/ 4 h 27"/>
                <a:gd name="T80" fmla="*/ 6 w 19"/>
                <a:gd name="T81" fmla="*/ 4 h 27"/>
                <a:gd name="T82" fmla="*/ 6 w 19"/>
                <a:gd name="T83" fmla="*/ 2 h 27"/>
                <a:gd name="T84" fmla="*/ 8 w 19"/>
                <a:gd name="T85" fmla="*/ 2 h 27"/>
                <a:gd name="T86" fmla="*/ 8 w 19"/>
                <a:gd name="T87" fmla="*/ 0 h 27"/>
                <a:gd name="T88" fmla="*/ 10 w 19"/>
                <a:gd name="T89" fmla="*/ 0 h 27"/>
                <a:gd name="T90" fmla="*/ 10 w 19"/>
                <a:gd name="T91" fmla="*/ 2 h 27"/>
                <a:gd name="T92" fmla="*/ 12 w 19"/>
                <a:gd name="T93" fmla="*/ 2 h 27"/>
                <a:gd name="T94" fmla="*/ 14 w 19"/>
                <a:gd name="T95" fmla="*/ 4 h 27"/>
                <a:gd name="T96" fmla="*/ 16 w 19"/>
                <a:gd name="T97" fmla="*/ 4 h 27"/>
                <a:gd name="T98" fmla="*/ 16 w 19"/>
                <a:gd name="T99" fmla="*/ 6 h 27"/>
                <a:gd name="T100" fmla="*/ 17 w 19"/>
                <a:gd name="T101"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 h="27">
                  <a:moveTo>
                    <a:pt x="17" y="4"/>
                  </a:moveTo>
                  <a:lnTo>
                    <a:pt x="17" y="6"/>
                  </a:lnTo>
                  <a:lnTo>
                    <a:pt x="19" y="6"/>
                  </a:lnTo>
                  <a:lnTo>
                    <a:pt x="19" y="7"/>
                  </a:lnTo>
                  <a:lnTo>
                    <a:pt x="19" y="9"/>
                  </a:lnTo>
                  <a:lnTo>
                    <a:pt x="19" y="11"/>
                  </a:lnTo>
                  <a:lnTo>
                    <a:pt x="19" y="13"/>
                  </a:lnTo>
                  <a:lnTo>
                    <a:pt x="19" y="17"/>
                  </a:lnTo>
                  <a:lnTo>
                    <a:pt x="19" y="19"/>
                  </a:lnTo>
                  <a:lnTo>
                    <a:pt x="19" y="17"/>
                  </a:lnTo>
                  <a:lnTo>
                    <a:pt x="19" y="19"/>
                  </a:lnTo>
                  <a:lnTo>
                    <a:pt x="19" y="17"/>
                  </a:lnTo>
                  <a:lnTo>
                    <a:pt x="17" y="17"/>
                  </a:lnTo>
                  <a:lnTo>
                    <a:pt x="17" y="19"/>
                  </a:lnTo>
                  <a:lnTo>
                    <a:pt x="17" y="21"/>
                  </a:lnTo>
                  <a:lnTo>
                    <a:pt x="17" y="23"/>
                  </a:lnTo>
                  <a:lnTo>
                    <a:pt x="17" y="25"/>
                  </a:lnTo>
                  <a:lnTo>
                    <a:pt x="17" y="27"/>
                  </a:lnTo>
                  <a:lnTo>
                    <a:pt x="16" y="27"/>
                  </a:lnTo>
                  <a:lnTo>
                    <a:pt x="14" y="27"/>
                  </a:lnTo>
                  <a:lnTo>
                    <a:pt x="12" y="27"/>
                  </a:lnTo>
                  <a:lnTo>
                    <a:pt x="10" y="27"/>
                  </a:lnTo>
                  <a:lnTo>
                    <a:pt x="8" y="25"/>
                  </a:lnTo>
                  <a:lnTo>
                    <a:pt x="6" y="25"/>
                  </a:lnTo>
                  <a:lnTo>
                    <a:pt x="4" y="23"/>
                  </a:lnTo>
                  <a:lnTo>
                    <a:pt x="4" y="21"/>
                  </a:lnTo>
                  <a:lnTo>
                    <a:pt x="2" y="21"/>
                  </a:lnTo>
                  <a:lnTo>
                    <a:pt x="2" y="19"/>
                  </a:lnTo>
                  <a:lnTo>
                    <a:pt x="2" y="17"/>
                  </a:lnTo>
                  <a:lnTo>
                    <a:pt x="2" y="19"/>
                  </a:lnTo>
                  <a:lnTo>
                    <a:pt x="0" y="19"/>
                  </a:lnTo>
                  <a:lnTo>
                    <a:pt x="0" y="17"/>
                  </a:lnTo>
                  <a:lnTo>
                    <a:pt x="0" y="15"/>
                  </a:lnTo>
                  <a:lnTo>
                    <a:pt x="0" y="13"/>
                  </a:lnTo>
                  <a:lnTo>
                    <a:pt x="0" y="11"/>
                  </a:lnTo>
                  <a:lnTo>
                    <a:pt x="2" y="11"/>
                  </a:lnTo>
                  <a:lnTo>
                    <a:pt x="2" y="9"/>
                  </a:lnTo>
                  <a:lnTo>
                    <a:pt x="4" y="7"/>
                  </a:lnTo>
                  <a:lnTo>
                    <a:pt x="4" y="6"/>
                  </a:lnTo>
                  <a:lnTo>
                    <a:pt x="4" y="4"/>
                  </a:lnTo>
                  <a:lnTo>
                    <a:pt x="6" y="4"/>
                  </a:lnTo>
                  <a:lnTo>
                    <a:pt x="6" y="2"/>
                  </a:lnTo>
                  <a:lnTo>
                    <a:pt x="8" y="2"/>
                  </a:lnTo>
                  <a:lnTo>
                    <a:pt x="8" y="0"/>
                  </a:lnTo>
                  <a:lnTo>
                    <a:pt x="10" y="0"/>
                  </a:lnTo>
                  <a:lnTo>
                    <a:pt x="10" y="2"/>
                  </a:lnTo>
                  <a:lnTo>
                    <a:pt x="12" y="2"/>
                  </a:lnTo>
                  <a:lnTo>
                    <a:pt x="14" y="4"/>
                  </a:lnTo>
                  <a:lnTo>
                    <a:pt x="16" y="4"/>
                  </a:lnTo>
                  <a:lnTo>
                    <a:pt x="16" y="6"/>
                  </a:lnTo>
                  <a:lnTo>
                    <a:pt x="17" y="4"/>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4" name="Freeform 463">
              <a:extLst>
                <a:ext uri="{FF2B5EF4-FFF2-40B4-BE49-F238E27FC236}">
                  <a16:creationId xmlns:a16="http://schemas.microsoft.com/office/drawing/2014/main" id="{7FC40413-9774-478D-AD0A-1D72446C9A45}"/>
                </a:ext>
              </a:extLst>
            </p:cNvPr>
            <p:cNvSpPr>
              <a:spLocks/>
            </p:cNvSpPr>
            <p:nvPr/>
          </p:nvSpPr>
          <p:spPr bwMode="gray">
            <a:xfrm>
              <a:off x="3420425" y="4676814"/>
              <a:ext cx="242823" cy="234238"/>
            </a:xfrm>
            <a:custGeom>
              <a:avLst/>
              <a:gdLst>
                <a:gd name="T0" fmla="*/ 184 w 198"/>
                <a:gd name="T1" fmla="*/ 8 h 191"/>
                <a:gd name="T2" fmla="*/ 194 w 198"/>
                <a:gd name="T3" fmla="*/ 10 h 191"/>
                <a:gd name="T4" fmla="*/ 194 w 198"/>
                <a:gd name="T5" fmla="*/ 14 h 191"/>
                <a:gd name="T6" fmla="*/ 186 w 198"/>
                <a:gd name="T7" fmla="*/ 14 h 191"/>
                <a:gd name="T8" fmla="*/ 176 w 198"/>
                <a:gd name="T9" fmla="*/ 20 h 191"/>
                <a:gd name="T10" fmla="*/ 173 w 198"/>
                <a:gd name="T11" fmla="*/ 20 h 191"/>
                <a:gd name="T12" fmla="*/ 169 w 198"/>
                <a:gd name="T13" fmla="*/ 16 h 191"/>
                <a:gd name="T14" fmla="*/ 146 w 198"/>
                <a:gd name="T15" fmla="*/ 20 h 191"/>
                <a:gd name="T16" fmla="*/ 134 w 198"/>
                <a:gd name="T17" fmla="*/ 33 h 191"/>
                <a:gd name="T18" fmla="*/ 134 w 198"/>
                <a:gd name="T19" fmla="*/ 71 h 191"/>
                <a:gd name="T20" fmla="*/ 121 w 198"/>
                <a:gd name="T21" fmla="*/ 77 h 191"/>
                <a:gd name="T22" fmla="*/ 121 w 198"/>
                <a:gd name="T23" fmla="*/ 102 h 191"/>
                <a:gd name="T24" fmla="*/ 121 w 198"/>
                <a:gd name="T25" fmla="*/ 131 h 191"/>
                <a:gd name="T26" fmla="*/ 121 w 198"/>
                <a:gd name="T27" fmla="*/ 148 h 191"/>
                <a:gd name="T28" fmla="*/ 121 w 198"/>
                <a:gd name="T29" fmla="*/ 171 h 191"/>
                <a:gd name="T30" fmla="*/ 115 w 198"/>
                <a:gd name="T31" fmla="*/ 183 h 191"/>
                <a:gd name="T32" fmla="*/ 107 w 198"/>
                <a:gd name="T33" fmla="*/ 191 h 191"/>
                <a:gd name="T34" fmla="*/ 96 w 198"/>
                <a:gd name="T35" fmla="*/ 189 h 191"/>
                <a:gd name="T36" fmla="*/ 90 w 198"/>
                <a:gd name="T37" fmla="*/ 187 h 191"/>
                <a:gd name="T38" fmla="*/ 82 w 198"/>
                <a:gd name="T39" fmla="*/ 183 h 191"/>
                <a:gd name="T40" fmla="*/ 75 w 198"/>
                <a:gd name="T41" fmla="*/ 175 h 191"/>
                <a:gd name="T42" fmla="*/ 71 w 198"/>
                <a:gd name="T43" fmla="*/ 183 h 191"/>
                <a:gd name="T44" fmla="*/ 63 w 198"/>
                <a:gd name="T45" fmla="*/ 179 h 191"/>
                <a:gd name="T46" fmla="*/ 56 w 198"/>
                <a:gd name="T47" fmla="*/ 171 h 191"/>
                <a:gd name="T48" fmla="*/ 52 w 198"/>
                <a:gd name="T49" fmla="*/ 160 h 191"/>
                <a:gd name="T50" fmla="*/ 50 w 198"/>
                <a:gd name="T51" fmla="*/ 158 h 191"/>
                <a:gd name="T52" fmla="*/ 50 w 198"/>
                <a:gd name="T53" fmla="*/ 150 h 191"/>
                <a:gd name="T54" fmla="*/ 46 w 198"/>
                <a:gd name="T55" fmla="*/ 141 h 191"/>
                <a:gd name="T56" fmla="*/ 46 w 198"/>
                <a:gd name="T57" fmla="*/ 137 h 191"/>
                <a:gd name="T58" fmla="*/ 46 w 198"/>
                <a:gd name="T59" fmla="*/ 129 h 191"/>
                <a:gd name="T60" fmla="*/ 42 w 198"/>
                <a:gd name="T61" fmla="*/ 120 h 191"/>
                <a:gd name="T62" fmla="*/ 40 w 198"/>
                <a:gd name="T63" fmla="*/ 106 h 191"/>
                <a:gd name="T64" fmla="*/ 40 w 198"/>
                <a:gd name="T65" fmla="*/ 98 h 191"/>
                <a:gd name="T66" fmla="*/ 40 w 198"/>
                <a:gd name="T67" fmla="*/ 95 h 191"/>
                <a:gd name="T68" fmla="*/ 38 w 198"/>
                <a:gd name="T69" fmla="*/ 81 h 191"/>
                <a:gd name="T70" fmla="*/ 33 w 198"/>
                <a:gd name="T71" fmla="*/ 71 h 191"/>
                <a:gd name="T72" fmla="*/ 27 w 198"/>
                <a:gd name="T73" fmla="*/ 62 h 191"/>
                <a:gd name="T74" fmla="*/ 21 w 198"/>
                <a:gd name="T75" fmla="*/ 52 h 191"/>
                <a:gd name="T76" fmla="*/ 15 w 198"/>
                <a:gd name="T77" fmla="*/ 41 h 191"/>
                <a:gd name="T78" fmla="*/ 9 w 198"/>
                <a:gd name="T79" fmla="*/ 29 h 191"/>
                <a:gd name="T80" fmla="*/ 4 w 198"/>
                <a:gd name="T81" fmla="*/ 20 h 191"/>
                <a:gd name="T82" fmla="*/ 0 w 198"/>
                <a:gd name="T83" fmla="*/ 8 h 191"/>
                <a:gd name="T84" fmla="*/ 8 w 198"/>
                <a:gd name="T85" fmla="*/ 4 h 191"/>
                <a:gd name="T86" fmla="*/ 13 w 198"/>
                <a:gd name="T87" fmla="*/ 2 h 191"/>
                <a:gd name="T88" fmla="*/ 23 w 198"/>
                <a:gd name="T89" fmla="*/ 0 h 191"/>
                <a:gd name="T90" fmla="*/ 33 w 198"/>
                <a:gd name="T91" fmla="*/ 6 h 191"/>
                <a:gd name="T92" fmla="*/ 48 w 198"/>
                <a:gd name="T93" fmla="*/ 6 h 191"/>
                <a:gd name="T94" fmla="*/ 69 w 198"/>
                <a:gd name="T95" fmla="*/ 6 h 191"/>
                <a:gd name="T96" fmla="*/ 88 w 198"/>
                <a:gd name="T97" fmla="*/ 6 h 191"/>
                <a:gd name="T98" fmla="*/ 100 w 198"/>
                <a:gd name="T99" fmla="*/ 10 h 191"/>
                <a:gd name="T100" fmla="*/ 109 w 198"/>
                <a:gd name="T101" fmla="*/ 12 h 191"/>
                <a:gd name="T102" fmla="*/ 123 w 198"/>
                <a:gd name="T103" fmla="*/ 14 h 191"/>
                <a:gd name="T104" fmla="*/ 132 w 198"/>
                <a:gd name="T105" fmla="*/ 16 h 191"/>
                <a:gd name="T106" fmla="*/ 140 w 198"/>
                <a:gd name="T107" fmla="*/ 16 h 191"/>
                <a:gd name="T108" fmla="*/ 153 w 198"/>
                <a:gd name="T109" fmla="*/ 14 h 191"/>
                <a:gd name="T110" fmla="*/ 165 w 198"/>
                <a:gd name="T111" fmla="*/ 1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1">
                  <a:moveTo>
                    <a:pt x="171" y="10"/>
                  </a:moveTo>
                  <a:lnTo>
                    <a:pt x="173" y="10"/>
                  </a:lnTo>
                  <a:lnTo>
                    <a:pt x="175" y="8"/>
                  </a:lnTo>
                  <a:lnTo>
                    <a:pt x="176" y="8"/>
                  </a:lnTo>
                  <a:lnTo>
                    <a:pt x="178" y="8"/>
                  </a:lnTo>
                  <a:lnTo>
                    <a:pt x="180" y="8"/>
                  </a:lnTo>
                  <a:lnTo>
                    <a:pt x="182" y="8"/>
                  </a:lnTo>
                  <a:lnTo>
                    <a:pt x="184" y="8"/>
                  </a:lnTo>
                  <a:lnTo>
                    <a:pt x="186" y="8"/>
                  </a:lnTo>
                  <a:lnTo>
                    <a:pt x="188" y="8"/>
                  </a:lnTo>
                  <a:lnTo>
                    <a:pt x="190" y="8"/>
                  </a:lnTo>
                  <a:lnTo>
                    <a:pt x="192" y="8"/>
                  </a:lnTo>
                  <a:lnTo>
                    <a:pt x="194" y="8"/>
                  </a:lnTo>
                  <a:lnTo>
                    <a:pt x="194" y="10"/>
                  </a:lnTo>
                  <a:lnTo>
                    <a:pt x="194" y="8"/>
                  </a:lnTo>
                  <a:lnTo>
                    <a:pt x="194" y="10"/>
                  </a:lnTo>
                  <a:lnTo>
                    <a:pt x="196" y="10"/>
                  </a:lnTo>
                  <a:lnTo>
                    <a:pt x="196" y="12"/>
                  </a:lnTo>
                  <a:lnTo>
                    <a:pt x="198" y="12"/>
                  </a:lnTo>
                  <a:lnTo>
                    <a:pt x="196" y="12"/>
                  </a:lnTo>
                  <a:lnTo>
                    <a:pt x="196" y="14"/>
                  </a:lnTo>
                  <a:lnTo>
                    <a:pt x="194" y="14"/>
                  </a:lnTo>
                  <a:lnTo>
                    <a:pt x="194" y="12"/>
                  </a:lnTo>
                  <a:lnTo>
                    <a:pt x="194" y="14"/>
                  </a:lnTo>
                  <a:lnTo>
                    <a:pt x="194" y="12"/>
                  </a:lnTo>
                  <a:lnTo>
                    <a:pt x="192" y="12"/>
                  </a:lnTo>
                  <a:lnTo>
                    <a:pt x="192" y="14"/>
                  </a:lnTo>
                  <a:lnTo>
                    <a:pt x="190" y="14"/>
                  </a:lnTo>
                  <a:lnTo>
                    <a:pt x="188" y="14"/>
                  </a:lnTo>
                  <a:lnTo>
                    <a:pt x="188" y="16"/>
                  </a:lnTo>
                  <a:lnTo>
                    <a:pt x="186" y="16"/>
                  </a:lnTo>
                  <a:lnTo>
                    <a:pt x="186" y="14"/>
                  </a:lnTo>
                  <a:lnTo>
                    <a:pt x="184" y="14"/>
                  </a:lnTo>
                  <a:lnTo>
                    <a:pt x="184" y="16"/>
                  </a:lnTo>
                  <a:lnTo>
                    <a:pt x="182" y="16"/>
                  </a:lnTo>
                  <a:lnTo>
                    <a:pt x="180" y="16"/>
                  </a:lnTo>
                  <a:lnTo>
                    <a:pt x="180" y="18"/>
                  </a:lnTo>
                  <a:lnTo>
                    <a:pt x="178" y="18"/>
                  </a:lnTo>
                  <a:lnTo>
                    <a:pt x="178" y="20"/>
                  </a:lnTo>
                  <a:lnTo>
                    <a:pt x="176" y="20"/>
                  </a:lnTo>
                  <a:lnTo>
                    <a:pt x="176" y="22"/>
                  </a:lnTo>
                  <a:lnTo>
                    <a:pt x="175" y="22"/>
                  </a:lnTo>
                  <a:lnTo>
                    <a:pt x="175" y="23"/>
                  </a:lnTo>
                  <a:lnTo>
                    <a:pt x="173" y="23"/>
                  </a:lnTo>
                  <a:lnTo>
                    <a:pt x="173" y="22"/>
                  </a:lnTo>
                  <a:lnTo>
                    <a:pt x="173" y="20"/>
                  </a:lnTo>
                  <a:lnTo>
                    <a:pt x="171" y="20"/>
                  </a:lnTo>
                  <a:lnTo>
                    <a:pt x="173" y="20"/>
                  </a:lnTo>
                  <a:lnTo>
                    <a:pt x="171" y="20"/>
                  </a:lnTo>
                  <a:lnTo>
                    <a:pt x="171" y="18"/>
                  </a:lnTo>
                  <a:lnTo>
                    <a:pt x="171" y="20"/>
                  </a:lnTo>
                  <a:lnTo>
                    <a:pt x="171" y="18"/>
                  </a:lnTo>
                  <a:lnTo>
                    <a:pt x="169" y="18"/>
                  </a:lnTo>
                  <a:lnTo>
                    <a:pt x="169" y="16"/>
                  </a:lnTo>
                  <a:lnTo>
                    <a:pt x="169" y="18"/>
                  </a:lnTo>
                  <a:lnTo>
                    <a:pt x="169" y="16"/>
                  </a:lnTo>
                  <a:lnTo>
                    <a:pt x="167" y="16"/>
                  </a:lnTo>
                  <a:lnTo>
                    <a:pt x="165" y="16"/>
                  </a:lnTo>
                  <a:lnTo>
                    <a:pt x="163" y="16"/>
                  </a:lnTo>
                  <a:lnTo>
                    <a:pt x="161" y="16"/>
                  </a:lnTo>
                  <a:lnTo>
                    <a:pt x="157" y="18"/>
                  </a:lnTo>
                  <a:lnTo>
                    <a:pt x="153" y="18"/>
                  </a:lnTo>
                  <a:lnTo>
                    <a:pt x="150" y="20"/>
                  </a:lnTo>
                  <a:lnTo>
                    <a:pt x="146" y="20"/>
                  </a:lnTo>
                  <a:lnTo>
                    <a:pt x="144" y="20"/>
                  </a:lnTo>
                  <a:lnTo>
                    <a:pt x="142" y="20"/>
                  </a:lnTo>
                  <a:lnTo>
                    <a:pt x="138" y="20"/>
                  </a:lnTo>
                  <a:lnTo>
                    <a:pt x="136" y="20"/>
                  </a:lnTo>
                  <a:lnTo>
                    <a:pt x="134" y="20"/>
                  </a:lnTo>
                  <a:lnTo>
                    <a:pt x="134" y="23"/>
                  </a:lnTo>
                  <a:lnTo>
                    <a:pt x="134" y="27"/>
                  </a:lnTo>
                  <a:lnTo>
                    <a:pt x="134" y="33"/>
                  </a:lnTo>
                  <a:lnTo>
                    <a:pt x="134" y="35"/>
                  </a:lnTo>
                  <a:lnTo>
                    <a:pt x="134" y="41"/>
                  </a:lnTo>
                  <a:lnTo>
                    <a:pt x="134" y="47"/>
                  </a:lnTo>
                  <a:lnTo>
                    <a:pt x="134" y="48"/>
                  </a:lnTo>
                  <a:lnTo>
                    <a:pt x="134" y="52"/>
                  </a:lnTo>
                  <a:lnTo>
                    <a:pt x="134" y="60"/>
                  </a:lnTo>
                  <a:lnTo>
                    <a:pt x="134" y="62"/>
                  </a:lnTo>
                  <a:lnTo>
                    <a:pt x="134" y="71"/>
                  </a:lnTo>
                  <a:lnTo>
                    <a:pt x="134" y="77"/>
                  </a:lnTo>
                  <a:lnTo>
                    <a:pt x="132" y="77"/>
                  </a:lnTo>
                  <a:lnTo>
                    <a:pt x="130" y="77"/>
                  </a:lnTo>
                  <a:lnTo>
                    <a:pt x="128" y="77"/>
                  </a:lnTo>
                  <a:lnTo>
                    <a:pt x="127" y="77"/>
                  </a:lnTo>
                  <a:lnTo>
                    <a:pt x="125" y="77"/>
                  </a:lnTo>
                  <a:lnTo>
                    <a:pt x="123" y="77"/>
                  </a:lnTo>
                  <a:lnTo>
                    <a:pt x="121" y="77"/>
                  </a:lnTo>
                  <a:lnTo>
                    <a:pt x="121" y="81"/>
                  </a:lnTo>
                  <a:lnTo>
                    <a:pt x="121" y="83"/>
                  </a:lnTo>
                  <a:lnTo>
                    <a:pt x="121" y="87"/>
                  </a:lnTo>
                  <a:lnTo>
                    <a:pt x="121" y="91"/>
                  </a:lnTo>
                  <a:lnTo>
                    <a:pt x="121" y="93"/>
                  </a:lnTo>
                  <a:lnTo>
                    <a:pt x="121" y="96"/>
                  </a:lnTo>
                  <a:lnTo>
                    <a:pt x="121" y="98"/>
                  </a:lnTo>
                  <a:lnTo>
                    <a:pt x="121" y="102"/>
                  </a:lnTo>
                  <a:lnTo>
                    <a:pt x="121" y="108"/>
                  </a:lnTo>
                  <a:lnTo>
                    <a:pt x="121" y="112"/>
                  </a:lnTo>
                  <a:lnTo>
                    <a:pt x="121" y="120"/>
                  </a:lnTo>
                  <a:lnTo>
                    <a:pt x="121" y="121"/>
                  </a:lnTo>
                  <a:lnTo>
                    <a:pt x="121" y="123"/>
                  </a:lnTo>
                  <a:lnTo>
                    <a:pt x="121" y="125"/>
                  </a:lnTo>
                  <a:lnTo>
                    <a:pt x="121" y="127"/>
                  </a:lnTo>
                  <a:lnTo>
                    <a:pt x="121" y="131"/>
                  </a:lnTo>
                  <a:lnTo>
                    <a:pt x="121" y="133"/>
                  </a:lnTo>
                  <a:lnTo>
                    <a:pt x="121" y="135"/>
                  </a:lnTo>
                  <a:lnTo>
                    <a:pt x="121" y="139"/>
                  </a:lnTo>
                  <a:lnTo>
                    <a:pt x="121" y="141"/>
                  </a:lnTo>
                  <a:lnTo>
                    <a:pt x="121" y="143"/>
                  </a:lnTo>
                  <a:lnTo>
                    <a:pt x="121" y="144"/>
                  </a:lnTo>
                  <a:lnTo>
                    <a:pt x="121" y="146"/>
                  </a:lnTo>
                  <a:lnTo>
                    <a:pt x="121" y="148"/>
                  </a:lnTo>
                  <a:lnTo>
                    <a:pt x="121" y="150"/>
                  </a:lnTo>
                  <a:lnTo>
                    <a:pt x="121" y="152"/>
                  </a:lnTo>
                  <a:lnTo>
                    <a:pt x="121" y="154"/>
                  </a:lnTo>
                  <a:lnTo>
                    <a:pt x="121" y="156"/>
                  </a:lnTo>
                  <a:lnTo>
                    <a:pt x="121" y="158"/>
                  </a:lnTo>
                  <a:lnTo>
                    <a:pt x="121" y="164"/>
                  </a:lnTo>
                  <a:lnTo>
                    <a:pt x="121" y="166"/>
                  </a:lnTo>
                  <a:lnTo>
                    <a:pt x="121" y="171"/>
                  </a:lnTo>
                  <a:lnTo>
                    <a:pt x="121" y="175"/>
                  </a:lnTo>
                  <a:lnTo>
                    <a:pt x="121" y="177"/>
                  </a:lnTo>
                  <a:lnTo>
                    <a:pt x="121" y="179"/>
                  </a:lnTo>
                  <a:lnTo>
                    <a:pt x="121" y="181"/>
                  </a:lnTo>
                  <a:lnTo>
                    <a:pt x="119" y="181"/>
                  </a:lnTo>
                  <a:lnTo>
                    <a:pt x="119" y="183"/>
                  </a:lnTo>
                  <a:lnTo>
                    <a:pt x="117" y="183"/>
                  </a:lnTo>
                  <a:lnTo>
                    <a:pt x="115" y="183"/>
                  </a:lnTo>
                  <a:lnTo>
                    <a:pt x="113" y="183"/>
                  </a:lnTo>
                  <a:lnTo>
                    <a:pt x="113" y="185"/>
                  </a:lnTo>
                  <a:lnTo>
                    <a:pt x="113" y="187"/>
                  </a:lnTo>
                  <a:lnTo>
                    <a:pt x="111" y="187"/>
                  </a:lnTo>
                  <a:lnTo>
                    <a:pt x="109" y="187"/>
                  </a:lnTo>
                  <a:lnTo>
                    <a:pt x="109" y="189"/>
                  </a:lnTo>
                  <a:lnTo>
                    <a:pt x="109" y="191"/>
                  </a:lnTo>
                  <a:lnTo>
                    <a:pt x="107" y="191"/>
                  </a:lnTo>
                  <a:lnTo>
                    <a:pt x="105" y="191"/>
                  </a:lnTo>
                  <a:lnTo>
                    <a:pt x="105" y="189"/>
                  </a:lnTo>
                  <a:lnTo>
                    <a:pt x="104" y="189"/>
                  </a:lnTo>
                  <a:lnTo>
                    <a:pt x="102" y="189"/>
                  </a:lnTo>
                  <a:lnTo>
                    <a:pt x="100" y="189"/>
                  </a:lnTo>
                  <a:lnTo>
                    <a:pt x="98" y="189"/>
                  </a:lnTo>
                  <a:lnTo>
                    <a:pt x="98" y="191"/>
                  </a:lnTo>
                  <a:lnTo>
                    <a:pt x="96" y="189"/>
                  </a:lnTo>
                  <a:lnTo>
                    <a:pt x="94" y="189"/>
                  </a:lnTo>
                  <a:lnTo>
                    <a:pt x="94" y="191"/>
                  </a:lnTo>
                  <a:lnTo>
                    <a:pt x="94" y="189"/>
                  </a:lnTo>
                  <a:lnTo>
                    <a:pt x="94" y="191"/>
                  </a:lnTo>
                  <a:lnTo>
                    <a:pt x="94" y="189"/>
                  </a:lnTo>
                  <a:lnTo>
                    <a:pt x="92" y="189"/>
                  </a:lnTo>
                  <a:lnTo>
                    <a:pt x="90" y="189"/>
                  </a:lnTo>
                  <a:lnTo>
                    <a:pt x="90" y="187"/>
                  </a:lnTo>
                  <a:lnTo>
                    <a:pt x="88" y="187"/>
                  </a:lnTo>
                  <a:lnTo>
                    <a:pt x="86" y="187"/>
                  </a:lnTo>
                  <a:lnTo>
                    <a:pt x="84" y="187"/>
                  </a:lnTo>
                  <a:lnTo>
                    <a:pt x="82" y="187"/>
                  </a:lnTo>
                  <a:lnTo>
                    <a:pt x="82" y="185"/>
                  </a:lnTo>
                  <a:lnTo>
                    <a:pt x="82" y="183"/>
                  </a:lnTo>
                  <a:lnTo>
                    <a:pt x="81" y="183"/>
                  </a:lnTo>
                  <a:lnTo>
                    <a:pt x="82" y="183"/>
                  </a:lnTo>
                  <a:lnTo>
                    <a:pt x="82" y="181"/>
                  </a:lnTo>
                  <a:lnTo>
                    <a:pt x="82" y="179"/>
                  </a:lnTo>
                  <a:lnTo>
                    <a:pt x="81" y="179"/>
                  </a:lnTo>
                  <a:lnTo>
                    <a:pt x="79" y="179"/>
                  </a:lnTo>
                  <a:lnTo>
                    <a:pt x="79" y="177"/>
                  </a:lnTo>
                  <a:lnTo>
                    <a:pt x="79" y="175"/>
                  </a:lnTo>
                  <a:lnTo>
                    <a:pt x="77" y="175"/>
                  </a:lnTo>
                  <a:lnTo>
                    <a:pt x="75" y="175"/>
                  </a:lnTo>
                  <a:lnTo>
                    <a:pt x="75" y="177"/>
                  </a:lnTo>
                  <a:lnTo>
                    <a:pt x="75" y="179"/>
                  </a:lnTo>
                  <a:lnTo>
                    <a:pt x="73" y="179"/>
                  </a:lnTo>
                  <a:lnTo>
                    <a:pt x="75" y="179"/>
                  </a:lnTo>
                  <a:lnTo>
                    <a:pt x="73" y="179"/>
                  </a:lnTo>
                  <a:lnTo>
                    <a:pt x="73" y="181"/>
                  </a:lnTo>
                  <a:lnTo>
                    <a:pt x="73" y="183"/>
                  </a:lnTo>
                  <a:lnTo>
                    <a:pt x="71" y="183"/>
                  </a:lnTo>
                  <a:lnTo>
                    <a:pt x="69" y="183"/>
                  </a:lnTo>
                  <a:lnTo>
                    <a:pt x="69" y="185"/>
                  </a:lnTo>
                  <a:lnTo>
                    <a:pt x="67" y="185"/>
                  </a:lnTo>
                  <a:lnTo>
                    <a:pt x="67" y="183"/>
                  </a:lnTo>
                  <a:lnTo>
                    <a:pt x="65" y="183"/>
                  </a:lnTo>
                  <a:lnTo>
                    <a:pt x="65" y="181"/>
                  </a:lnTo>
                  <a:lnTo>
                    <a:pt x="63" y="181"/>
                  </a:lnTo>
                  <a:lnTo>
                    <a:pt x="63" y="179"/>
                  </a:lnTo>
                  <a:lnTo>
                    <a:pt x="61" y="179"/>
                  </a:lnTo>
                  <a:lnTo>
                    <a:pt x="61" y="177"/>
                  </a:lnTo>
                  <a:lnTo>
                    <a:pt x="59" y="177"/>
                  </a:lnTo>
                  <a:lnTo>
                    <a:pt x="59" y="175"/>
                  </a:lnTo>
                  <a:lnTo>
                    <a:pt x="57" y="175"/>
                  </a:lnTo>
                  <a:lnTo>
                    <a:pt x="57" y="173"/>
                  </a:lnTo>
                  <a:lnTo>
                    <a:pt x="57" y="171"/>
                  </a:lnTo>
                  <a:lnTo>
                    <a:pt x="56" y="171"/>
                  </a:lnTo>
                  <a:lnTo>
                    <a:pt x="56" y="169"/>
                  </a:lnTo>
                  <a:lnTo>
                    <a:pt x="56" y="168"/>
                  </a:lnTo>
                  <a:lnTo>
                    <a:pt x="54" y="168"/>
                  </a:lnTo>
                  <a:lnTo>
                    <a:pt x="54" y="166"/>
                  </a:lnTo>
                  <a:lnTo>
                    <a:pt x="52" y="166"/>
                  </a:lnTo>
                  <a:lnTo>
                    <a:pt x="52" y="164"/>
                  </a:lnTo>
                  <a:lnTo>
                    <a:pt x="52" y="162"/>
                  </a:lnTo>
                  <a:lnTo>
                    <a:pt x="52" y="160"/>
                  </a:lnTo>
                  <a:lnTo>
                    <a:pt x="50" y="160"/>
                  </a:lnTo>
                  <a:lnTo>
                    <a:pt x="50" y="158"/>
                  </a:lnTo>
                  <a:lnTo>
                    <a:pt x="52" y="158"/>
                  </a:lnTo>
                  <a:lnTo>
                    <a:pt x="50" y="158"/>
                  </a:lnTo>
                  <a:lnTo>
                    <a:pt x="52" y="158"/>
                  </a:lnTo>
                  <a:lnTo>
                    <a:pt x="50" y="158"/>
                  </a:lnTo>
                  <a:lnTo>
                    <a:pt x="50" y="156"/>
                  </a:lnTo>
                  <a:lnTo>
                    <a:pt x="50" y="158"/>
                  </a:lnTo>
                  <a:lnTo>
                    <a:pt x="50" y="156"/>
                  </a:lnTo>
                  <a:lnTo>
                    <a:pt x="50" y="154"/>
                  </a:lnTo>
                  <a:lnTo>
                    <a:pt x="50" y="156"/>
                  </a:lnTo>
                  <a:lnTo>
                    <a:pt x="50" y="154"/>
                  </a:lnTo>
                  <a:lnTo>
                    <a:pt x="48" y="154"/>
                  </a:lnTo>
                  <a:lnTo>
                    <a:pt x="48" y="152"/>
                  </a:lnTo>
                  <a:lnTo>
                    <a:pt x="50" y="152"/>
                  </a:lnTo>
                  <a:lnTo>
                    <a:pt x="50" y="150"/>
                  </a:lnTo>
                  <a:lnTo>
                    <a:pt x="50" y="148"/>
                  </a:lnTo>
                  <a:lnTo>
                    <a:pt x="48" y="148"/>
                  </a:lnTo>
                  <a:lnTo>
                    <a:pt x="46" y="146"/>
                  </a:lnTo>
                  <a:lnTo>
                    <a:pt x="46" y="144"/>
                  </a:lnTo>
                  <a:lnTo>
                    <a:pt x="48" y="144"/>
                  </a:lnTo>
                  <a:lnTo>
                    <a:pt x="48" y="143"/>
                  </a:lnTo>
                  <a:lnTo>
                    <a:pt x="46" y="143"/>
                  </a:lnTo>
                  <a:lnTo>
                    <a:pt x="46" y="141"/>
                  </a:lnTo>
                  <a:lnTo>
                    <a:pt x="46" y="139"/>
                  </a:lnTo>
                  <a:lnTo>
                    <a:pt x="44" y="139"/>
                  </a:lnTo>
                  <a:lnTo>
                    <a:pt x="46" y="139"/>
                  </a:lnTo>
                  <a:lnTo>
                    <a:pt x="44" y="139"/>
                  </a:lnTo>
                  <a:lnTo>
                    <a:pt x="44" y="137"/>
                  </a:lnTo>
                  <a:lnTo>
                    <a:pt x="46" y="137"/>
                  </a:lnTo>
                  <a:lnTo>
                    <a:pt x="44" y="137"/>
                  </a:lnTo>
                  <a:lnTo>
                    <a:pt x="46" y="137"/>
                  </a:lnTo>
                  <a:lnTo>
                    <a:pt x="46" y="135"/>
                  </a:lnTo>
                  <a:lnTo>
                    <a:pt x="46" y="133"/>
                  </a:lnTo>
                  <a:lnTo>
                    <a:pt x="44" y="133"/>
                  </a:lnTo>
                  <a:lnTo>
                    <a:pt x="46" y="133"/>
                  </a:lnTo>
                  <a:lnTo>
                    <a:pt x="44" y="133"/>
                  </a:lnTo>
                  <a:lnTo>
                    <a:pt x="44" y="131"/>
                  </a:lnTo>
                  <a:lnTo>
                    <a:pt x="44" y="129"/>
                  </a:lnTo>
                  <a:lnTo>
                    <a:pt x="46" y="129"/>
                  </a:lnTo>
                  <a:lnTo>
                    <a:pt x="44" y="129"/>
                  </a:lnTo>
                  <a:lnTo>
                    <a:pt x="44" y="127"/>
                  </a:lnTo>
                  <a:lnTo>
                    <a:pt x="46" y="127"/>
                  </a:lnTo>
                  <a:lnTo>
                    <a:pt x="46" y="125"/>
                  </a:lnTo>
                  <a:lnTo>
                    <a:pt x="44" y="125"/>
                  </a:lnTo>
                  <a:lnTo>
                    <a:pt x="44" y="123"/>
                  </a:lnTo>
                  <a:lnTo>
                    <a:pt x="44" y="121"/>
                  </a:lnTo>
                  <a:lnTo>
                    <a:pt x="42" y="120"/>
                  </a:lnTo>
                  <a:lnTo>
                    <a:pt x="42" y="118"/>
                  </a:lnTo>
                  <a:lnTo>
                    <a:pt x="42" y="116"/>
                  </a:lnTo>
                  <a:lnTo>
                    <a:pt x="40" y="116"/>
                  </a:lnTo>
                  <a:lnTo>
                    <a:pt x="40" y="114"/>
                  </a:lnTo>
                  <a:lnTo>
                    <a:pt x="40" y="112"/>
                  </a:lnTo>
                  <a:lnTo>
                    <a:pt x="40" y="110"/>
                  </a:lnTo>
                  <a:lnTo>
                    <a:pt x="40" y="108"/>
                  </a:lnTo>
                  <a:lnTo>
                    <a:pt x="40" y="106"/>
                  </a:lnTo>
                  <a:lnTo>
                    <a:pt x="40" y="104"/>
                  </a:lnTo>
                  <a:lnTo>
                    <a:pt x="40" y="102"/>
                  </a:lnTo>
                  <a:lnTo>
                    <a:pt x="40" y="100"/>
                  </a:lnTo>
                  <a:lnTo>
                    <a:pt x="38" y="100"/>
                  </a:lnTo>
                  <a:lnTo>
                    <a:pt x="40" y="100"/>
                  </a:lnTo>
                  <a:lnTo>
                    <a:pt x="40" y="98"/>
                  </a:lnTo>
                  <a:lnTo>
                    <a:pt x="40" y="100"/>
                  </a:lnTo>
                  <a:lnTo>
                    <a:pt x="40" y="98"/>
                  </a:lnTo>
                  <a:lnTo>
                    <a:pt x="40" y="96"/>
                  </a:lnTo>
                  <a:lnTo>
                    <a:pt x="38" y="96"/>
                  </a:lnTo>
                  <a:lnTo>
                    <a:pt x="38" y="95"/>
                  </a:lnTo>
                  <a:lnTo>
                    <a:pt x="38" y="93"/>
                  </a:lnTo>
                  <a:lnTo>
                    <a:pt x="38" y="91"/>
                  </a:lnTo>
                  <a:lnTo>
                    <a:pt x="38" y="93"/>
                  </a:lnTo>
                  <a:lnTo>
                    <a:pt x="40" y="93"/>
                  </a:lnTo>
                  <a:lnTo>
                    <a:pt x="40" y="95"/>
                  </a:lnTo>
                  <a:lnTo>
                    <a:pt x="40" y="93"/>
                  </a:lnTo>
                  <a:lnTo>
                    <a:pt x="40" y="91"/>
                  </a:lnTo>
                  <a:lnTo>
                    <a:pt x="40" y="89"/>
                  </a:lnTo>
                  <a:lnTo>
                    <a:pt x="40" y="87"/>
                  </a:lnTo>
                  <a:lnTo>
                    <a:pt x="40" y="85"/>
                  </a:lnTo>
                  <a:lnTo>
                    <a:pt x="38" y="85"/>
                  </a:lnTo>
                  <a:lnTo>
                    <a:pt x="38" y="83"/>
                  </a:lnTo>
                  <a:lnTo>
                    <a:pt x="38" y="81"/>
                  </a:lnTo>
                  <a:lnTo>
                    <a:pt x="36" y="81"/>
                  </a:lnTo>
                  <a:lnTo>
                    <a:pt x="36" y="79"/>
                  </a:lnTo>
                  <a:lnTo>
                    <a:pt x="36" y="77"/>
                  </a:lnTo>
                  <a:lnTo>
                    <a:pt x="34" y="77"/>
                  </a:lnTo>
                  <a:lnTo>
                    <a:pt x="34" y="75"/>
                  </a:lnTo>
                  <a:lnTo>
                    <a:pt x="33" y="75"/>
                  </a:lnTo>
                  <a:lnTo>
                    <a:pt x="33" y="73"/>
                  </a:lnTo>
                  <a:lnTo>
                    <a:pt x="33" y="71"/>
                  </a:lnTo>
                  <a:lnTo>
                    <a:pt x="31" y="71"/>
                  </a:lnTo>
                  <a:lnTo>
                    <a:pt x="31" y="70"/>
                  </a:lnTo>
                  <a:lnTo>
                    <a:pt x="31" y="68"/>
                  </a:lnTo>
                  <a:lnTo>
                    <a:pt x="29" y="68"/>
                  </a:lnTo>
                  <a:lnTo>
                    <a:pt x="29" y="66"/>
                  </a:lnTo>
                  <a:lnTo>
                    <a:pt x="27" y="66"/>
                  </a:lnTo>
                  <a:lnTo>
                    <a:pt x="27" y="64"/>
                  </a:lnTo>
                  <a:lnTo>
                    <a:pt x="27" y="62"/>
                  </a:lnTo>
                  <a:lnTo>
                    <a:pt x="25" y="62"/>
                  </a:lnTo>
                  <a:lnTo>
                    <a:pt x="25" y="60"/>
                  </a:lnTo>
                  <a:lnTo>
                    <a:pt x="23" y="60"/>
                  </a:lnTo>
                  <a:lnTo>
                    <a:pt x="23" y="58"/>
                  </a:lnTo>
                  <a:lnTo>
                    <a:pt x="23" y="56"/>
                  </a:lnTo>
                  <a:lnTo>
                    <a:pt x="23" y="54"/>
                  </a:lnTo>
                  <a:lnTo>
                    <a:pt x="21" y="54"/>
                  </a:lnTo>
                  <a:lnTo>
                    <a:pt x="21" y="52"/>
                  </a:lnTo>
                  <a:lnTo>
                    <a:pt x="21" y="50"/>
                  </a:lnTo>
                  <a:lnTo>
                    <a:pt x="21" y="48"/>
                  </a:lnTo>
                  <a:lnTo>
                    <a:pt x="19" y="48"/>
                  </a:lnTo>
                  <a:lnTo>
                    <a:pt x="19" y="47"/>
                  </a:lnTo>
                  <a:lnTo>
                    <a:pt x="17" y="45"/>
                  </a:lnTo>
                  <a:lnTo>
                    <a:pt x="17" y="43"/>
                  </a:lnTo>
                  <a:lnTo>
                    <a:pt x="17" y="41"/>
                  </a:lnTo>
                  <a:lnTo>
                    <a:pt x="15" y="41"/>
                  </a:lnTo>
                  <a:lnTo>
                    <a:pt x="15" y="39"/>
                  </a:lnTo>
                  <a:lnTo>
                    <a:pt x="13" y="37"/>
                  </a:lnTo>
                  <a:lnTo>
                    <a:pt x="13" y="35"/>
                  </a:lnTo>
                  <a:lnTo>
                    <a:pt x="13" y="33"/>
                  </a:lnTo>
                  <a:lnTo>
                    <a:pt x="11" y="33"/>
                  </a:lnTo>
                  <a:lnTo>
                    <a:pt x="11" y="31"/>
                  </a:lnTo>
                  <a:lnTo>
                    <a:pt x="9" y="31"/>
                  </a:lnTo>
                  <a:lnTo>
                    <a:pt x="9" y="29"/>
                  </a:lnTo>
                  <a:lnTo>
                    <a:pt x="9" y="27"/>
                  </a:lnTo>
                  <a:lnTo>
                    <a:pt x="8" y="27"/>
                  </a:lnTo>
                  <a:lnTo>
                    <a:pt x="8" y="25"/>
                  </a:lnTo>
                  <a:lnTo>
                    <a:pt x="6" y="25"/>
                  </a:lnTo>
                  <a:lnTo>
                    <a:pt x="6" y="23"/>
                  </a:lnTo>
                  <a:lnTo>
                    <a:pt x="4" y="23"/>
                  </a:lnTo>
                  <a:lnTo>
                    <a:pt x="4" y="22"/>
                  </a:lnTo>
                  <a:lnTo>
                    <a:pt x="4" y="20"/>
                  </a:lnTo>
                  <a:lnTo>
                    <a:pt x="2" y="20"/>
                  </a:lnTo>
                  <a:lnTo>
                    <a:pt x="2" y="18"/>
                  </a:lnTo>
                  <a:lnTo>
                    <a:pt x="2" y="16"/>
                  </a:lnTo>
                  <a:lnTo>
                    <a:pt x="0" y="16"/>
                  </a:lnTo>
                  <a:lnTo>
                    <a:pt x="0" y="14"/>
                  </a:lnTo>
                  <a:lnTo>
                    <a:pt x="0" y="12"/>
                  </a:lnTo>
                  <a:lnTo>
                    <a:pt x="0" y="10"/>
                  </a:lnTo>
                  <a:lnTo>
                    <a:pt x="0" y="8"/>
                  </a:lnTo>
                  <a:lnTo>
                    <a:pt x="0" y="6"/>
                  </a:lnTo>
                  <a:lnTo>
                    <a:pt x="0" y="4"/>
                  </a:lnTo>
                  <a:lnTo>
                    <a:pt x="2" y="4"/>
                  </a:lnTo>
                  <a:lnTo>
                    <a:pt x="2" y="2"/>
                  </a:lnTo>
                  <a:lnTo>
                    <a:pt x="4" y="2"/>
                  </a:lnTo>
                  <a:lnTo>
                    <a:pt x="6" y="2"/>
                  </a:lnTo>
                  <a:lnTo>
                    <a:pt x="6" y="4"/>
                  </a:lnTo>
                  <a:lnTo>
                    <a:pt x="8" y="4"/>
                  </a:lnTo>
                  <a:lnTo>
                    <a:pt x="9" y="4"/>
                  </a:lnTo>
                  <a:lnTo>
                    <a:pt x="9" y="2"/>
                  </a:lnTo>
                  <a:lnTo>
                    <a:pt x="9" y="4"/>
                  </a:lnTo>
                  <a:lnTo>
                    <a:pt x="9" y="2"/>
                  </a:lnTo>
                  <a:lnTo>
                    <a:pt x="9" y="4"/>
                  </a:lnTo>
                  <a:lnTo>
                    <a:pt x="11" y="4"/>
                  </a:lnTo>
                  <a:lnTo>
                    <a:pt x="11" y="2"/>
                  </a:lnTo>
                  <a:lnTo>
                    <a:pt x="13" y="2"/>
                  </a:lnTo>
                  <a:lnTo>
                    <a:pt x="15" y="2"/>
                  </a:lnTo>
                  <a:lnTo>
                    <a:pt x="15" y="0"/>
                  </a:lnTo>
                  <a:lnTo>
                    <a:pt x="15" y="2"/>
                  </a:lnTo>
                  <a:lnTo>
                    <a:pt x="15" y="0"/>
                  </a:lnTo>
                  <a:lnTo>
                    <a:pt x="17" y="0"/>
                  </a:lnTo>
                  <a:lnTo>
                    <a:pt x="19" y="0"/>
                  </a:lnTo>
                  <a:lnTo>
                    <a:pt x="21" y="0"/>
                  </a:lnTo>
                  <a:lnTo>
                    <a:pt x="23" y="0"/>
                  </a:lnTo>
                  <a:lnTo>
                    <a:pt x="25" y="0"/>
                  </a:lnTo>
                  <a:lnTo>
                    <a:pt x="25" y="2"/>
                  </a:lnTo>
                  <a:lnTo>
                    <a:pt x="27" y="2"/>
                  </a:lnTo>
                  <a:lnTo>
                    <a:pt x="27" y="4"/>
                  </a:lnTo>
                  <a:lnTo>
                    <a:pt x="29" y="4"/>
                  </a:lnTo>
                  <a:lnTo>
                    <a:pt x="31" y="4"/>
                  </a:lnTo>
                  <a:lnTo>
                    <a:pt x="31" y="6"/>
                  </a:lnTo>
                  <a:lnTo>
                    <a:pt x="33" y="6"/>
                  </a:lnTo>
                  <a:lnTo>
                    <a:pt x="34" y="6"/>
                  </a:lnTo>
                  <a:lnTo>
                    <a:pt x="36" y="6"/>
                  </a:lnTo>
                  <a:lnTo>
                    <a:pt x="38" y="6"/>
                  </a:lnTo>
                  <a:lnTo>
                    <a:pt x="40" y="6"/>
                  </a:lnTo>
                  <a:lnTo>
                    <a:pt x="42" y="6"/>
                  </a:lnTo>
                  <a:lnTo>
                    <a:pt x="44" y="6"/>
                  </a:lnTo>
                  <a:lnTo>
                    <a:pt x="46" y="6"/>
                  </a:lnTo>
                  <a:lnTo>
                    <a:pt x="48" y="6"/>
                  </a:lnTo>
                  <a:lnTo>
                    <a:pt x="50" y="6"/>
                  </a:lnTo>
                  <a:lnTo>
                    <a:pt x="54" y="6"/>
                  </a:lnTo>
                  <a:lnTo>
                    <a:pt x="56" y="6"/>
                  </a:lnTo>
                  <a:lnTo>
                    <a:pt x="57" y="6"/>
                  </a:lnTo>
                  <a:lnTo>
                    <a:pt x="59" y="6"/>
                  </a:lnTo>
                  <a:lnTo>
                    <a:pt x="65" y="6"/>
                  </a:lnTo>
                  <a:lnTo>
                    <a:pt x="67" y="6"/>
                  </a:lnTo>
                  <a:lnTo>
                    <a:pt x="69" y="6"/>
                  </a:lnTo>
                  <a:lnTo>
                    <a:pt x="73" y="6"/>
                  </a:lnTo>
                  <a:lnTo>
                    <a:pt x="77" y="6"/>
                  </a:lnTo>
                  <a:lnTo>
                    <a:pt x="79" y="6"/>
                  </a:lnTo>
                  <a:lnTo>
                    <a:pt x="81" y="6"/>
                  </a:lnTo>
                  <a:lnTo>
                    <a:pt x="82" y="6"/>
                  </a:lnTo>
                  <a:lnTo>
                    <a:pt x="84" y="6"/>
                  </a:lnTo>
                  <a:lnTo>
                    <a:pt x="86" y="6"/>
                  </a:lnTo>
                  <a:lnTo>
                    <a:pt x="88" y="6"/>
                  </a:lnTo>
                  <a:lnTo>
                    <a:pt x="90" y="6"/>
                  </a:lnTo>
                  <a:lnTo>
                    <a:pt x="92" y="6"/>
                  </a:lnTo>
                  <a:lnTo>
                    <a:pt x="94" y="6"/>
                  </a:lnTo>
                  <a:lnTo>
                    <a:pt x="96" y="6"/>
                  </a:lnTo>
                  <a:lnTo>
                    <a:pt x="98" y="6"/>
                  </a:lnTo>
                  <a:lnTo>
                    <a:pt x="98" y="8"/>
                  </a:lnTo>
                  <a:lnTo>
                    <a:pt x="100" y="8"/>
                  </a:lnTo>
                  <a:lnTo>
                    <a:pt x="100" y="10"/>
                  </a:lnTo>
                  <a:lnTo>
                    <a:pt x="102" y="10"/>
                  </a:lnTo>
                  <a:lnTo>
                    <a:pt x="102" y="12"/>
                  </a:lnTo>
                  <a:lnTo>
                    <a:pt x="104" y="12"/>
                  </a:lnTo>
                  <a:lnTo>
                    <a:pt x="105" y="12"/>
                  </a:lnTo>
                  <a:lnTo>
                    <a:pt x="107" y="12"/>
                  </a:lnTo>
                  <a:lnTo>
                    <a:pt x="109" y="12"/>
                  </a:lnTo>
                  <a:lnTo>
                    <a:pt x="109" y="14"/>
                  </a:lnTo>
                  <a:lnTo>
                    <a:pt x="109" y="12"/>
                  </a:lnTo>
                  <a:lnTo>
                    <a:pt x="111" y="12"/>
                  </a:lnTo>
                  <a:lnTo>
                    <a:pt x="111" y="14"/>
                  </a:lnTo>
                  <a:lnTo>
                    <a:pt x="113" y="14"/>
                  </a:lnTo>
                  <a:lnTo>
                    <a:pt x="115" y="14"/>
                  </a:lnTo>
                  <a:lnTo>
                    <a:pt x="117" y="14"/>
                  </a:lnTo>
                  <a:lnTo>
                    <a:pt x="119" y="14"/>
                  </a:lnTo>
                  <a:lnTo>
                    <a:pt x="121" y="14"/>
                  </a:lnTo>
                  <a:lnTo>
                    <a:pt x="123" y="14"/>
                  </a:lnTo>
                  <a:lnTo>
                    <a:pt x="125" y="14"/>
                  </a:lnTo>
                  <a:lnTo>
                    <a:pt x="127" y="14"/>
                  </a:lnTo>
                  <a:lnTo>
                    <a:pt x="128" y="14"/>
                  </a:lnTo>
                  <a:lnTo>
                    <a:pt x="128" y="16"/>
                  </a:lnTo>
                  <a:lnTo>
                    <a:pt x="130" y="16"/>
                  </a:lnTo>
                  <a:lnTo>
                    <a:pt x="132" y="16"/>
                  </a:lnTo>
                  <a:lnTo>
                    <a:pt x="130" y="16"/>
                  </a:lnTo>
                  <a:lnTo>
                    <a:pt x="132" y="16"/>
                  </a:lnTo>
                  <a:lnTo>
                    <a:pt x="134" y="16"/>
                  </a:lnTo>
                  <a:lnTo>
                    <a:pt x="134" y="14"/>
                  </a:lnTo>
                  <a:lnTo>
                    <a:pt x="134" y="16"/>
                  </a:lnTo>
                  <a:lnTo>
                    <a:pt x="134" y="14"/>
                  </a:lnTo>
                  <a:lnTo>
                    <a:pt x="136" y="14"/>
                  </a:lnTo>
                  <a:lnTo>
                    <a:pt x="138" y="14"/>
                  </a:lnTo>
                  <a:lnTo>
                    <a:pt x="138" y="16"/>
                  </a:lnTo>
                  <a:lnTo>
                    <a:pt x="140" y="16"/>
                  </a:lnTo>
                  <a:lnTo>
                    <a:pt x="142" y="16"/>
                  </a:lnTo>
                  <a:lnTo>
                    <a:pt x="144" y="16"/>
                  </a:lnTo>
                  <a:lnTo>
                    <a:pt x="146" y="16"/>
                  </a:lnTo>
                  <a:lnTo>
                    <a:pt x="146" y="14"/>
                  </a:lnTo>
                  <a:lnTo>
                    <a:pt x="148" y="14"/>
                  </a:lnTo>
                  <a:lnTo>
                    <a:pt x="150" y="14"/>
                  </a:lnTo>
                  <a:lnTo>
                    <a:pt x="152" y="14"/>
                  </a:lnTo>
                  <a:lnTo>
                    <a:pt x="153" y="14"/>
                  </a:lnTo>
                  <a:lnTo>
                    <a:pt x="155" y="14"/>
                  </a:lnTo>
                  <a:lnTo>
                    <a:pt x="155" y="12"/>
                  </a:lnTo>
                  <a:lnTo>
                    <a:pt x="157" y="12"/>
                  </a:lnTo>
                  <a:lnTo>
                    <a:pt x="159" y="12"/>
                  </a:lnTo>
                  <a:lnTo>
                    <a:pt x="161" y="12"/>
                  </a:lnTo>
                  <a:lnTo>
                    <a:pt x="163" y="12"/>
                  </a:lnTo>
                  <a:lnTo>
                    <a:pt x="165" y="12"/>
                  </a:lnTo>
                  <a:lnTo>
                    <a:pt x="165" y="10"/>
                  </a:lnTo>
                  <a:lnTo>
                    <a:pt x="167" y="10"/>
                  </a:lnTo>
                  <a:lnTo>
                    <a:pt x="169" y="10"/>
                  </a:lnTo>
                  <a:lnTo>
                    <a:pt x="171" y="1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5" name="Freeform 464">
              <a:extLst>
                <a:ext uri="{FF2B5EF4-FFF2-40B4-BE49-F238E27FC236}">
                  <a16:creationId xmlns:a16="http://schemas.microsoft.com/office/drawing/2014/main" id="{F6F92BEB-DCE6-49A5-8379-46436BCDC8AE}"/>
                </a:ext>
              </a:extLst>
            </p:cNvPr>
            <p:cNvSpPr>
              <a:spLocks noEditPoints="1"/>
            </p:cNvSpPr>
            <p:nvPr/>
          </p:nvSpPr>
          <p:spPr bwMode="gray">
            <a:xfrm>
              <a:off x="3933051" y="4778603"/>
              <a:ext cx="668376" cy="619321"/>
            </a:xfrm>
            <a:custGeom>
              <a:avLst/>
              <a:gdLst>
                <a:gd name="T0" fmla="*/ 440 w 545"/>
                <a:gd name="T1" fmla="*/ 499 h 505"/>
                <a:gd name="T2" fmla="*/ 434 w 545"/>
                <a:gd name="T3" fmla="*/ 498 h 505"/>
                <a:gd name="T4" fmla="*/ 430 w 545"/>
                <a:gd name="T5" fmla="*/ 498 h 505"/>
                <a:gd name="T6" fmla="*/ 428 w 545"/>
                <a:gd name="T7" fmla="*/ 499 h 505"/>
                <a:gd name="T8" fmla="*/ 436 w 545"/>
                <a:gd name="T9" fmla="*/ 503 h 505"/>
                <a:gd name="T10" fmla="*/ 436 w 545"/>
                <a:gd name="T11" fmla="*/ 503 h 505"/>
                <a:gd name="T12" fmla="*/ 434 w 545"/>
                <a:gd name="T13" fmla="*/ 505 h 505"/>
                <a:gd name="T14" fmla="*/ 430 w 545"/>
                <a:gd name="T15" fmla="*/ 501 h 505"/>
                <a:gd name="T16" fmla="*/ 428 w 545"/>
                <a:gd name="T17" fmla="*/ 503 h 505"/>
                <a:gd name="T18" fmla="*/ 430 w 545"/>
                <a:gd name="T19" fmla="*/ 505 h 505"/>
                <a:gd name="T20" fmla="*/ 424 w 545"/>
                <a:gd name="T21" fmla="*/ 503 h 505"/>
                <a:gd name="T22" fmla="*/ 424 w 545"/>
                <a:gd name="T23" fmla="*/ 501 h 505"/>
                <a:gd name="T24" fmla="*/ 421 w 545"/>
                <a:gd name="T25" fmla="*/ 501 h 505"/>
                <a:gd name="T26" fmla="*/ 421 w 545"/>
                <a:gd name="T27" fmla="*/ 501 h 505"/>
                <a:gd name="T28" fmla="*/ 421 w 545"/>
                <a:gd name="T29" fmla="*/ 501 h 505"/>
                <a:gd name="T30" fmla="*/ 421 w 545"/>
                <a:gd name="T31" fmla="*/ 501 h 505"/>
                <a:gd name="T32" fmla="*/ 417 w 545"/>
                <a:gd name="T33" fmla="*/ 503 h 505"/>
                <a:gd name="T34" fmla="*/ 417 w 545"/>
                <a:gd name="T35" fmla="*/ 499 h 505"/>
                <a:gd name="T36" fmla="*/ 419 w 545"/>
                <a:gd name="T37" fmla="*/ 494 h 505"/>
                <a:gd name="T38" fmla="*/ 415 w 545"/>
                <a:gd name="T39" fmla="*/ 490 h 505"/>
                <a:gd name="T40" fmla="*/ 417 w 545"/>
                <a:gd name="T41" fmla="*/ 488 h 505"/>
                <a:gd name="T42" fmla="*/ 417 w 545"/>
                <a:gd name="T43" fmla="*/ 488 h 505"/>
                <a:gd name="T44" fmla="*/ 417 w 545"/>
                <a:gd name="T45" fmla="*/ 484 h 505"/>
                <a:gd name="T46" fmla="*/ 421 w 545"/>
                <a:gd name="T47" fmla="*/ 484 h 505"/>
                <a:gd name="T48" fmla="*/ 419 w 545"/>
                <a:gd name="T49" fmla="*/ 486 h 505"/>
                <a:gd name="T50" fmla="*/ 419 w 545"/>
                <a:gd name="T51" fmla="*/ 486 h 505"/>
                <a:gd name="T52" fmla="*/ 421 w 545"/>
                <a:gd name="T53" fmla="*/ 488 h 505"/>
                <a:gd name="T54" fmla="*/ 421 w 545"/>
                <a:gd name="T55" fmla="*/ 492 h 505"/>
                <a:gd name="T56" fmla="*/ 421 w 545"/>
                <a:gd name="T57" fmla="*/ 490 h 505"/>
                <a:gd name="T58" fmla="*/ 423 w 545"/>
                <a:gd name="T59" fmla="*/ 492 h 505"/>
                <a:gd name="T60" fmla="*/ 426 w 545"/>
                <a:gd name="T61" fmla="*/ 488 h 505"/>
                <a:gd name="T62" fmla="*/ 428 w 545"/>
                <a:gd name="T63" fmla="*/ 490 h 505"/>
                <a:gd name="T64" fmla="*/ 426 w 545"/>
                <a:gd name="T65" fmla="*/ 492 h 505"/>
                <a:gd name="T66" fmla="*/ 426 w 545"/>
                <a:gd name="T67" fmla="*/ 492 h 505"/>
                <a:gd name="T68" fmla="*/ 426 w 545"/>
                <a:gd name="T69" fmla="*/ 494 h 505"/>
                <a:gd name="T70" fmla="*/ 426 w 545"/>
                <a:gd name="T71" fmla="*/ 494 h 505"/>
                <a:gd name="T72" fmla="*/ 426 w 545"/>
                <a:gd name="T73" fmla="*/ 494 h 505"/>
                <a:gd name="T74" fmla="*/ 428 w 545"/>
                <a:gd name="T75" fmla="*/ 496 h 505"/>
                <a:gd name="T76" fmla="*/ 430 w 545"/>
                <a:gd name="T77" fmla="*/ 496 h 505"/>
                <a:gd name="T78" fmla="*/ 434 w 545"/>
                <a:gd name="T79" fmla="*/ 492 h 505"/>
                <a:gd name="T80" fmla="*/ 440 w 545"/>
                <a:gd name="T81" fmla="*/ 490 h 505"/>
                <a:gd name="T82" fmla="*/ 424 w 545"/>
                <a:gd name="T83" fmla="*/ 488 h 505"/>
                <a:gd name="T84" fmla="*/ 169 w 545"/>
                <a:gd name="T85" fmla="*/ 434 h 505"/>
                <a:gd name="T86" fmla="*/ 171 w 545"/>
                <a:gd name="T87" fmla="*/ 434 h 505"/>
                <a:gd name="T88" fmla="*/ 144 w 545"/>
                <a:gd name="T89" fmla="*/ 426 h 505"/>
                <a:gd name="T90" fmla="*/ 543 w 545"/>
                <a:gd name="T91" fmla="*/ 263 h 505"/>
                <a:gd name="T92" fmla="*/ 428 w 545"/>
                <a:gd name="T93" fmla="*/ 494 h 505"/>
                <a:gd name="T94" fmla="*/ 430 w 545"/>
                <a:gd name="T95" fmla="*/ 501 h 505"/>
                <a:gd name="T96" fmla="*/ 426 w 545"/>
                <a:gd name="T97" fmla="*/ 488 h 505"/>
                <a:gd name="T98" fmla="*/ 430 w 545"/>
                <a:gd name="T99" fmla="*/ 501 h 505"/>
                <a:gd name="T100" fmla="*/ 415 w 545"/>
                <a:gd name="T101" fmla="*/ 480 h 505"/>
                <a:gd name="T102" fmla="*/ 415 w 545"/>
                <a:gd name="T103" fmla="*/ 480 h 505"/>
                <a:gd name="T104" fmla="*/ 426 w 545"/>
                <a:gd name="T105" fmla="*/ 488 h 505"/>
                <a:gd name="T106" fmla="*/ 430 w 545"/>
                <a:gd name="T107" fmla="*/ 501 h 505"/>
                <a:gd name="T108" fmla="*/ 146 w 545"/>
                <a:gd name="T109" fmla="*/ 432 h 505"/>
                <a:gd name="T110" fmla="*/ 436 w 545"/>
                <a:gd name="T111" fmla="*/ 501 h 505"/>
                <a:gd name="T112" fmla="*/ 430 w 545"/>
                <a:gd name="T113" fmla="*/ 494 h 505"/>
                <a:gd name="T114" fmla="*/ 148 w 545"/>
                <a:gd name="T115" fmla="*/ 425 h 505"/>
                <a:gd name="T116" fmla="*/ 434 w 545"/>
                <a:gd name="T117" fmla="*/ 501 h 505"/>
                <a:gd name="T118" fmla="*/ 430 w 545"/>
                <a:gd name="T119" fmla="*/ 501 h 505"/>
                <a:gd name="T120" fmla="*/ 434 w 545"/>
                <a:gd name="T121" fmla="*/ 501 h 505"/>
                <a:gd name="T122" fmla="*/ 434 w 545"/>
                <a:gd name="T123" fmla="*/ 499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5" h="505">
                  <a:moveTo>
                    <a:pt x="442" y="496"/>
                  </a:moveTo>
                  <a:lnTo>
                    <a:pt x="442" y="498"/>
                  </a:lnTo>
                  <a:lnTo>
                    <a:pt x="440" y="498"/>
                  </a:lnTo>
                  <a:lnTo>
                    <a:pt x="438" y="498"/>
                  </a:lnTo>
                  <a:lnTo>
                    <a:pt x="438" y="499"/>
                  </a:lnTo>
                  <a:lnTo>
                    <a:pt x="440" y="499"/>
                  </a:lnTo>
                  <a:lnTo>
                    <a:pt x="438" y="499"/>
                  </a:lnTo>
                  <a:lnTo>
                    <a:pt x="438" y="498"/>
                  </a:lnTo>
                  <a:lnTo>
                    <a:pt x="436" y="498"/>
                  </a:lnTo>
                  <a:lnTo>
                    <a:pt x="434" y="498"/>
                  </a:lnTo>
                  <a:lnTo>
                    <a:pt x="436" y="498"/>
                  </a:lnTo>
                  <a:lnTo>
                    <a:pt x="434" y="498"/>
                  </a:lnTo>
                  <a:lnTo>
                    <a:pt x="432" y="498"/>
                  </a:lnTo>
                  <a:lnTo>
                    <a:pt x="430" y="498"/>
                  </a:lnTo>
                  <a:lnTo>
                    <a:pt x="432" y="498"/>
                  </a:lnTo>
                  <a:lnTo>
                    <a:pt x="432" y="499"/>
                  </a:lnTo>
                  <a:lnTo>
                    <a:pt x="430" y="499"/>
                  </a:lnTo>
                  <a:lnTo>
                    <a:pt x="430" y="498"/>
                  </a:lnTo>
                  <a:lnTo>
                    <a:pt x="430" y="499"/>
                  </a:lnTo>
                  <a:lnTo>
                    <a:pt x="430" y="498"/>
                  </a:lnTo>
                  <a:lnTo>
                    <a:pt x="430" y="499"/>
                  </a:lnTo>
                  <a:lnTo>
                    <a:pt x="428" y="499"/>
                  </a:lnTo>
                  <a:lnTo>
                    <a:pt x="428" y="498"/>
                  </a:lnTo>
                  <a:lnTo>
                    <a:pt x="428" y="499"/>
                  </a:lnTo>
                  <a:lnTo>
                    <a:pt x="430" y="499"/>
                  </a:lnTo>
                  <a:lnTo>
                    <a:pt x="430" y="501"/>
                  </a:lnTo>
                  <a:lnTo>
                    <a:pt x="432" y="501"/>
                  </a:lnTo>
                  <a:lnTo>
                    <a:pt x="432" y="503"/>
                  </a:lnTo>
                  <a:lnTo>
                    <a:pt x="434" y="503"/>
                  </a:lnTo>
                  <a:lnTo>
                    <a:pt x="436" y="503"/>
                  </a:lnTo>
                  <a:lnTo>
                    <a:pt x="434" y="503"/>
                  </a:lnTo>
                  <a:lnTo>
                    <a:pt x="434" y="501"/>
                  </a:lnTo>
                  <a:lnTo>
                    <a:pt x="436" y="501"/>
                  </a:lnTo>
                  <a:lnTo>
                    <a:pt x="438" y="501"/>
                  </a:lnTo>
                  <a:lnTo>
                    <a:pt x="438" y="503"/>
                  </a:lnTo>
                  <a:lnTo>
                    <a:pt x="436" y="503"/>
                  </a:lnTo>
                  <a:lnTo>
                    <a:pt x="438" y="503"/>
                  </a:lnTo>
                  <a:lnTo>
                    <a:pt x="438" y="505"/>
                  </a:lnTo>
                  <a:lnTo>
                    <a:pt x="436" y="505"/>
                  </a:lnTo>
                  <a:lnTo>
                    <a:pt x="438" y="505"/>
                  </a:lnTo>
                  <a:lnTo>
                    <a:pt x="436" y="505"/>
                  </a:lnTo>
                  <a:lnTo>
                    <a:pt x="434" y="505"/>
                  </a:lnTo>
                  <a:lnTo>
                    <a:pt x="432" y="505"/>
                  </a:lnTo>
                  <a:lnTo>
                    <a:pt x="430" y="505"/>
                  </a:lnTo>
                  <a:lnTo>
                    <a:pt x="432" y="505"/>
                  </a:lnTo>
                  <a:lnTo>
                    <a:pt x="430" y="505"/>
                  </a:lnTo>
                  <a:lnTo>
                    <a:pt x="430" y="503"/>
                  </a:lnTo>
                  <a:lnTo>
                    <a:pt x="430" y="501"/>
                  </a:lnTo>
                  <a:lnTo>
                    <a:pt x="428" y="501"/>
                  </a:lnTo>
                  <a:lnTo>
                    <a:pt x="428" y="499"/>
                  </a:lnTo>
                  <a:lnTo>
                    <a:pt x="428" y="501"/>
                  </a:lnTo>
                  <a:lnTo>
                    <a:pt x="430" y="501"/>
                  </a:lnTo>
                  <a:lnTo>
                    <a:pt x="428" y="501"/>
                  </a:lnTo>
                  <a:lnTo>
                    <a:pt x="428" y="503"/>
                  </a:lnTo>
                  <a:lnTo>
                    <a:pt x="430" y="503"/>
                  </a:lnTo>
                  <a:lnTo>
                    <a:pt x="428" y="503"/>
                  </a:lnTo>
                  <a:lnTo>
                    <a:pt x="430" y="503"/>
                  </a:lnTo>
                  <a:lnTo>
                    <a:pt x="428" y="503"/>
                  </a:lnTo>
                  <a:lnTo>
                    <a:pt x="430" y="503"/>
                  </a:lnTo>
                  <a:lnTo>
                    <a:pt x="430" y="505"/>
                  </a:lnTo>
                  <a:lnTo>
                    <a:pt x="428" y="505"/>
                  </a:lnTo>
                  <a:lnTo>
                    <a:pt x="428" y="503"/>
                  </a:lnTo>
                  <a:lnTo>
                    <a:pt x="426" y="503"/>
                  </a:lnTo>
                  <a:lnTo>
                    <a:pt x="424" y="503"/>
                  </a:lnTo>
                  <a:lnTo>
                    <a:pt x="424" y="501"/>
                  </a:lnTo>
                  <a:lnTo>
                    <a:pt x="424" y="503"/>
                  </a:lnTo>
                  <a:lnTo>
                    <a:pt x="424" y="501"/>
                  </a:lnTo>
                  <a:lnTo>
                    <a:pt x="423" y="501"/>
                  </a:lnTo>
                  <a:lnTo>
                    <a:pt x="424" y="501"/>
                  </a:lnTo>
                  <a:lnTo>
                    <a:pt x="424" y="499"/>
                  </a:lnTo>
                  <a:lnTo>
                    <a:pt x="423" y="499"/>
                  </a:lnTo>
                  <a:lnTo>
                    <a:pt x="424" y="501"/>
                  </a:lnTo>
                  <a:lnTo>
                    <a:pt x="423" y="501"/>
                  </a:lnTo>
                  <a:lnTo>
                    <a:pt x="424" y="501"/>
                  </a:lnTo>
                  <a:lnTo>
                    <a:pt x="424" y="503"/>
                  </a:lnTo>
                  <a:lnTo>
                    <a:pt x="423" y="503"/>
                  </a:lnTo>
                  <a:lnTo>
                    <a:pt x="423" y="501"/>
                  </a:lnTo>
                  <a:lnTo>
                    <a:pt x="421" y="501"/>
                  </a:lnTo>
                  <a:lnTo>
                    <a:pt x="421" y="499"/>
                  </a:lnTo>
                  <a:lnTo>
                    <a:pt x="421" y="501"/>
                  </a:lnTo>
                  <a:lnTo>
                    <a:pt x="421" y="499"/>
                  </a:lnTo>
                  <a:lnTo>
                    <a:pt x="421" y="501"/>
                  </a:lnTo>
                  <a:lnTo>
                    <a:pt x="423" y="501"/>
                  </a:lnTo>
                  <a:lnTo>
                    <a:pt x="421" y="501"/>
                  </a:lnTo>
                  <a:lnTo>
                    <a:pt x="423" y="501"/>
                  </a:lnTo>
                  <a:lnTo>
                    <a:pt x="423" y="503"/>
                  </a:lnTo>
                  <a:lnTo>
                    <a:pt x="423" y="501"/>
                  </a:lnTo>
                  <a:lnTo>
                    <a:pt x="421" y="501"/>
                  </a:lnTo>
                  <a:lnTo>
                    <a:pt x="423" y="501"/>
                  </a:lnTo>
                  <a:lnTo>
                    <a:pt x="421" y="501"/>
                  </a:lnTo>
                  <a:lnTo>
                    <a:pt x="423" y="501"/>
                  </a:lnTo>
                  <a:lnTo>
                    <a:pt x="423" y="503"/>
                  </a:lnTo>
                  <a:lnTo>
                    <a:pt x="421" y="503"/>
                  </a:lnTo>
                  <a:lnTo>
                    <a:pt x="423" y="503"/>
                  </a:lnTo>
                  <a:lnTo>
                    <a:pt x="421" y="503"/>
                  </a:lnTo>
                  <a:lnTo>
                    <a:pt x="421" y="501"/>
                  </a:lnTo>
                  <a:lnTo>
                    <a:pt x="421" y="503"/>
                  </a:lnTo>
                  <a:lnTo>
                    <a:pt x="421" y="505"/>
                  </a:lnTo>
                  <a:lnTo>
                    <a:pt x="419" y="505"/>
                  </a:lnTo>
                  <a:lnTo>
                    <a:pt x="417" y="505"/>
                  </a:lnTo>
                  <a:lnTo>
                    <a:pt x="415" y="505"/>
                  </a:lnTo>
                  <a:lnTo>
                    <a:pt x="417" y="503"/>
                  </a:lnTo>
                  <a:lnTo>
                    <a:pt x="415" y="503"/>
                  </a:lnTo>
                  <a:lnTo>
                    <a:pt x="417" y="503"/>
                  </a:lnTo>
                  <a:lnTo>
                    <a:pt x="417" y="501"/>
                  </a:lnTo>
                  <a:lnTo>
                    <a:pt x="417" y="499"/>
                  </a:lnTo>
                  <a:lnTo>
                    <a:pt x="417" y="498"/>
                  </a:lnTo>
                  <a:lnTo>
                    <a:pt x="417" y="499"/>
                  </a:lnTo>
                  <a:lnTo>
                    <a:pt x="417" y="498"/>
                  </a:lnTo>
                  <a:lnTo>
                    <a:pt x="417" y="496"/>
                  </a:lnTo>
                  <a:lnTo>
                    <a:pt x="415" y="496"/>
                  </a:lnTo>
                  <a:lnTo>
                    <a:pt x="415" y="494"/>
                  </a:lnTo>
                  <a:lnTo>
                    <a:pt x="417" y="494"/>
                  </a:lnTo>
                  <a:lnTo>
                    <a:pt x="419" y="494"/>
                  </a:lnTo>
                  <a:lnTo>
                    <a:pt x="417" y="494"/>
                  </a:lnTo>
                  <a:lnTo>
                    <a:pt x="417" y="492"/>
                  </a:lnTo>
                  <a:lnTo>
                    <a:pt x="415" y="492"/>
                  </a:lnTo>
                  <a:lnTo>
                    <a:pt x="417" y="492"/>
                  </a:lnTo>
                  <a:lnTo>
                    <a:pt x="415" y="492"/>
                  </a:lnTo>
                  <a:lnTo>
                    <a:pt x="415" y="490"/>
                  </a:lnTo>
                  <a:lnTo>
                    <a:pt x="417" y="490"/>
                  </a:lnTo>
                  <a:lnTo>
                    <a:pt x="417" y="492"/>
                  </a:lnTo>
                  <a:lnTo>
                    <a:pt x="417" y="490"/>
                  </a:lnTo>
                  <a:lnTo>
                    <a:pt x="417" y="488"/>
                  </a:lnTo>
                  <a:lnTo>
                    <a:pt x="417" y="490"/>
                  </a:lnTo>
                  <a:lnTo>
                    <a:pt x="417" y="488"/>
                  </a:lnTo>
                  <a:lnTo>
                    <a:pt x="417" y="490"/>
                  </a:lnTo>
                  <a:lnTo>
                    <a:pt x="417" y="488"/>
                  </a:lnTo>
                  <a:lnTo>
                    <a:pt x="417" y="490"/>
                  </a:lnTo>
                  <a:lnTo>
                    <a:pt x="417" y="488"/>
                  </a:lnTo>
                  <a:lnTo>
                    <a:pt x="417" y="490"/>
                  </a:lnTo>
                  <a:lnTo>
                    <a:pt x="417" y="488"/>
                  </a:lnTo>
                  <a:lnTo>
                    <a:pt x="417" y="486"/>
                  </a:lnTo>
                  <a:lnTo>
                    <a:pt x="417" y="484"/>
                  </a:lnTo>
                  <a:lnTo>
                    <a:pt x="419" y="484"/>
                  </a:lnTo>
                  <a:lnTo>
                    <a:pt x="417" y="484"/>
                  </a:lnTo>
                  <a:lnTo>
                    <a:pt x="419" y="484"/>
                  </a:lnTo>
                  <a:lnTo>
                    <a:pt x="417" y="484"/>
                  </a:lnTo>
                  <a:lnTo>
                    <a:pt x="419" y="484"/>
                  </a:lnTo>
                  <a:lnTo>
                    <a:pt x="419" y="482"/>
                  </a:lnTo>
                  <a:lnTo>
                    <a:pt x="421" y="482"/>
                  </a:lnTo>
                  <a:lnTo>
                    <a:pt x="419" y="482"/>
                  </a:lnTo>
                  <a:lnTo>
                    <a:pt x="421" y="482"/>
                  </a:lnTo>
                  <a:lnTo>
                    <a:pt x="421" y="484"/>
                  </a:lnTo>
                  <a:lnTo>
                    <a:pt x="419" y="484"/>
                  </a:lnTo>
                  <a:lnTo>
                    <a:pt x="421" y="484"/>
                  </a:lnTo>
                  <a:lnTo>
                    <a:pt x="419" y="484"/>
                  </a:lnTo>
                  <a:lnTo>
                    <a:pt x="421" y="484"/>
                  </a:lnTo>
                  <a:lnTo>
                    <a:pt x="419" y="484"/>
                  </a:lnTo>
                  <a:lnTo>
                    <a:pt x="419" y="486"/>
                  </a:lnTo>
                  <a:lnTo>
                    <a:pt x="417" y="486"/>
                  </a:lnTo>
                  <a:lnTo>
                    <a:pt x="417" y="488"/>
                  </a:lnTo>
                  <a:lnTo>
                    <a:pt x="419" y="488"/>
                  </a:lnTo>
                  <a:lnTo>
                    <a:pt x="419" y="486"/>
                  </a:lnTo>
                  <a:lnTo>
                    <a:pt x="419" y="488"/>
                  </a:lnTo>
                  <a:lnTo>
                    <a:pt x="419" y="486"/>
                  </a:lnTo>
                  <a:lnTo>
                    <a:pt x="421" y="486"/>
                  </a:lnTo>
                  <a:lnTo>
                    <a:pt x="421" y="484"/>
                  </a:lnTo>
                  <a:lnTo>
                    <a:pt x="423" y="484"/>
                  </a:lnTo>
                  <a:lnTo>
                    <a:pt x="421" y="484"/>
                  </a:lnTo>
                  <a:lnTo>
                    <a:pt x="421" y="486"/>
                  </a:lnTo>
                  <a:lnTo>
                    <a:pt x="421" y="488"/>
                  </a:lnTo>
                  <a:lnTo>
                    <a:pt x="419" y="488"/>
                  </a:lnTo>
                  <a:lnTo>
                    <a:pt x="421" y="488"/>
                  </a:lnTo>
                  <a:lnTo>
                    <a:pt x="421" y="490"/>
                  </a:lnTo>
                  <a:lnTo>
                    <a:pt x="419" y="490"/>
                  </a:lnTo>
                  <a:lnTo>
                    <a:pt x="419" y="492"/>
                  </a:lnTo>
                  <a:lnTo>
                    <a:pt x="421" y="492"/>
                  </a:lnTo>
                  <a:lnTo>
                    <a:pt x="419" y="492"/>
                  </a:lnTo>
                  <a:lnTo>
                    <a:pt x="421" y="492"/>
                  </a:lnTo>
                  <a:lnTo>
                    <a:pt x="419" y="490"/>
                  </a:lnTo>
                  <a:lnTo>
                    <a:pt x="421" y="490"/>
                  </a:lnTo>
                  <a:lnTo>
                    <a:pt x="419" y="490"/>
                  </a:lnTo>
                  <a:lnTo>
                    <a:pt x="421" y="490"/>
                  </a:lnTo>
                  <a:lnTo>
                    <a:pt x="423" y="490"/>
                  </a:lnTo>
                  <a:lnTo>
                    <a:pt x="421" y="490"/>
                  </a:lnTo>
                  <a:lnTo>
                    <a:pt x="423" y="490"/>
                  </a:lnTo>
                  <a:lnTo>
                    <a:pt x="423" y="492"/>
                  </a:lnTo>
                  <a:lnTo>
                    <a:pt x="421" y="492"/>
                  </a:lnTo>
                  <a:lnTo>
                    <a:pt x="423" y="492"/>
                  </a:lnTo>
                  <a:lnTo>
                    <a:pt x="424" y="492"/>
                  </a:lnTo>
                  <a:lnTo>
                    <a:pt x="424" y="490"/>
                  </a:lnTo>
                  <a:lnTo>
                    <a:pt x="426" y="490"/>
                  </a:lnTo>
                  <a:lnTo>
                    <a:pt x="426" y="492"/>
                  </a:lnTo>
                  <a:lnTo>
                    <a:pt x="426" y="490"/>
                  </a:lnTo>
                  <a:lnTo>
                    <a:pt x="426" y="488"/>
                  </a:lnTo>
                  <a:lnTo>
                    <a:pt x="428" y="488"/>
                  </a:lnTo>
                  <a:lnTo>
                    <a:pt x="428" y="490"/>
                  </a:lnTo>
                  <a:lnTo>
                    <a:pt x="426" y="490"/>
                  </a:lnTo>
                  <a:lnTo>
                    <a:pt x="428" y="490"/>
                  </a:lnTo>
                  <a:lnTo>
                    <a:pt x="426" y="490"/>
                  </a:lnTo>
                  <a:lnTo>
                    <a:pt x="428" y="490"/>
                  </a:lnTo>
                  <a:lnTo>
                    <a:pt x="426" y="490"/>
                  </a:lnTo>
                  <a:lnTo>
                    <a:pt x="428" y="490"/>
                  </a:lnTo>
                  <a:lnTo>
                    <a:pt x="428" y="492"/>
                  </a:lnTo>
                  <a:lnTo>
                    <a:pt x="426" y="492"/>
                  </a:lnTo>
                  <a:lnTo>
                    <a:pt x="428" y="492"/>
                  </a:lnTo>
                  <a:lnTo>
                    <a:pt x="426" y="492"/>
                  </a:lnTo>
                  <a:lnTo>
                    <a:pt x="424" y="492"/>
                  </a:lnTo>
                  <a:lnTo>
                    <a:pt x="424" y="494"/>
                  </a:lnTo>
                  <a:lnTo>
                    <a:pt x="424" y="492"/>
                  </a:lnTo>
                  <a:lnTo>
                    <a:pt x="424" y="494"/>
                  </a:lnTo>
                  <a:lnTo>
                    <a:pt x="424" y="492"/>
                  </a:lnTo>
                  <a:lnTo>
                    <a:pt x="426" y="492"/>
                  </a:lnTo>
                  <a:lnTo>
                    <a:pt x="424" y="494"/>
                  </a:lnTo>
                  <a:lnTo>
                    <a:pt x="426" y="494"/>
                  </a:lnTo>
                  <a:lnTo>
                    <a:pt x="424" y="494"/>
                  </a:lnTo>
                  <a:lnTo>
                    <a:pt x="426" y="494"/>
                  </a:lnTo>
                  <a:lnTo>
                    <a:pt x="424" y="494"/>
                  </a:lnTo>
                  <a:lnTo>
                    <a:pt x="426" y="494"/>
                  </a:lnTo>
                  <a:lnTo>
                    <a:pt x="424" y="494"/>
                  </a:lnTo>
                  <a:lnTo>
                    <a:pt x="426" y="494"/>
                  </a:lnTo>
                  <a:lnTo>
                    <a:pt x="424" y="494"/>
                  </a:lnTo>
                  <a:lnTo>
                    <a:pt x="426" y="494"/>
                  </a:lnTo>
                  <a:lnTo>
                    <a:pt x="424" y="494"/>
                  </a:lnTo>
                  <a:lnTo>
                    <a:pt x="426" y="494"/>
                  </a:lnTo>
                  <a:lnTo>
                    <a:pt x="426" y="496"/>
                  </a:lnTo>
                  <a:lnTo>
                    <a:pt x="426" y="494"/>
                  </a:lnTo>
                  <a:lnTo>
                    <a:pt x="426" y="496"/>
                  </a:lnTo>
                  <a:lnTo>
                    <a:pt x="426" y="494"/>
                  </a:lnTo>
                  <a:lnTo>
                    <a:pt x="426" y="496"/>
                  </a:lnTo>
                  <a:lnTo>
                    <a:pt x="426" y="494"/>
                  </a:lnTo>
                  <a:lnTo>
                    <a:pt x="426" y="496"/>
                  </a:lnTo>
                  <a:lnTo>
                    <a:pt x="424" y="496"/>
                  </a:lnTo>
                  <a:lnTo>
                    <a:pt x="426" y="496"/>
                  </a:lnTo>
                  <a:lnTo>
                    <a:pt x="424" y="496"/>
                  </a:lnTo>
                  <a:lnTo>
                    <a:pt x="426" y="496"/>
                  </a:lnTo>
                  <a:lnTo>
                    <a:pt x="428" y="496"/>
                  </a:lnTo>
                  <a:lnTo>
                    <a:pt x="430" y="496"/>
                  </a:lnTo>
                  <a:lnTo>
                    <a:pt x="428" y="496"/>
                  </a:lnTo>
                  <a:lnTo>
                    <a:pt x="428" y="498"/>
                  </a:lnTo>
                  <a:lnTo>
                    <a:pt x="430" y="496"/>
                  </a:lnTo>
                  <a:lnTo>
                    <a:pt x="430" y="498"/>
                  </a:lnTo>
                  <a:lnTo>
                    <a:pt x="430" y="496"/>
                  </a:lnTo>
                  <a:lnTo>
                    <a:pt x="432" y="496"/>
                  </a:lnTo>
                  <a:lnTo>
                    <a:pt x="432" y="494"/>
                  </a:lnTo>
                  <a:lnTo>
                    <a:pt x="434" y="494"/>
                  </a:lnTo>
                  <a:lnTo>
                    <a:pt x="434" y="492"/>
                  </a:lnTo>
                  <a:lnTo>
                    <a:pt x="434" y="494"/>
                  </a:lnTo>
                  <a:lnTo>
                    <a:pt x="434" y="492"/>
                  </a:lnTo>
                  <a:lnTo>
                    <a:pt x="436" y="492"/>
                  </a:lnTo>
                  <a:lnTo>
                    <a:pt x="436" y="494"/>
                  </a:lnTo>
                  <a:lnTo>
                    <a:pt x="438" y="494"/>
                  </a:lnTo>
                  <a:lnTo>
                    <a:pt x="438" y="492"/>
                  </a:lnTo>
                  <a:lnTo>
                    <a:pt x="438" y="490"/>
                  </a:lnTo>
                  <a:lnTo>
                    <a:pt x="440" y="490"/>
                  </a:lnTo>
                  <a:lnTo>
                    <a:pt x="440" y="492"/>
                  </a:lnTo>
                  <a:lnTo>
                    <a:pt x="442" y="492"/>
                  </a:lnTo>
                  <a:lnTo>
                    <a:pt x="442" y="494"/>
                  </a:lnTo>
                  <a:lnTo>
                    <a:pt x="442" y="496"/>
                  </a:lnTo>
                  <a:close/>
                  <a:moveTo>
                    <a:pt x="423" y="488"/>
                  </a:moveTo>
                  <a:lnTo>
                    <a:pt x="424" y="488"/>
                  </a:lnTo>
                  <a:lnTo>
                    <a:pt x="424" y="492"/>
                  </a:lnTo>
                  <a:lnTo>
                    <a:pt x="423" y="492"/>
                  </a:lnTo>
                  <a:lnTo>
                    <a:pt x="423" y="488"/>
                  </a:lnTo>
                  <a:close/>
                  <a:moveTo>
                    <a:pt x="165" y="432"/>
                  </a:moveTo>
                  <a:lnTo>
                    <a:pt x="169" y="432"/>
                  </a:lnTo>
                  <a:lnTo>
                    <a:pt x="169" y="434"/>
                  </a:lnTo>
                  <a:lnTo>
                    <a:pt x="165" y="434"/>
                  </a:lnTo>
                  <a:lnTo>
                    <a:pt x="165" y="432"/>
                  </a:lnTo>
                  <a:close/>
                  <a:moveTo>
                    <a:pt x="171" y="432"/>
                  </a:moveTo>
                  <a:lnTo>
                    <a:pt x="175" y="432"/>
                  </a:lnTo>
                  <a:lnTo>
                    <a:pt x="175" y="434"/>
                  </a:lnTo>
                  <a:lnTo>
                    <a:pt x="171" y="434"/>
                  </a:lnTo>
                  <a:lnTo>
                    <a:pt x="171" y="432"/>
                  </a:lnTo>
                  <a:close/>
                  <a:moveTo>
                    <a:pt x="144" y="426"/>
                  </a:moveTo>
                  <a:lnTo>
                    <a:pt x="146" y="426"/>
                  </a:lnTo>
                  <a:lnTo>
                    <a:pt x="146" y="428"/>
                  </a:lnTo>
                  <a:lnTo>
                    <a:pt x="144" y="428"/>
                  </a:lnTo>
                  <a:lnTo>
                    <a:pt x="144" y="426"/>
                  </a:lnTo>
                  <a:close/>
                  <a:moveTo>
                    <a:pt x="421" y="486"/>
                  </a:moveTo>
                  <a:lnTo>
                    <a:pt x="423" y="486"/>
                  </a:lnTo>
                  <a:lnTo>
                    <a:pt x="423" y="490"/>
                  </a:lnTo>
                  <a:lnTo>
                    <a:pt x="421" y="490"/>
                  </a:lnTo>
                  <a:lnTo>
                    <a:pt x="421" y="486"/>
                  </a:lnTo>
                  <a:close/>
                  <a:moveTo>
                    <a:pt x="543" y="263"/>
                  </a:moveTo>
                  <a:lnTo>
                    <a:pt x="545" y="263"/>
                  </a:lnTo>
                  <a:lnTo>
                    <a:pt x="545" y="265"/>
                  </a:lnTo>
                  <a:lnTo>
                    <a:pt x="543" y="265"/>
                  </a:lnTo>
                  <a:lnTo>
                    <a:pt x="543" y="263"/>
                  </a:lnTo>
                  <a:close/>
                  <a:moveTo>
                    <a:pt x="426" y="494"/>
                  </a:moveTo>
                  <a:lnTo>
                    <a:pt x="428" y="494"/>
                  </a:lnTo>
                  <a:lnTo>
                    <a:pt x="426" y="494"/>
                  </a:lnTo>
                  <a:close/>
                  <a:moveTo>
                    <a:pt x="430" y="501"/>
                  </a:moveTo>
                  <a:lnTo>
                    <a:pt x="434" y="501"/>
                  </a:lnTo>
                  <a:lnTo>
                    <a:pt x="434" y="503"/>
                  </a:lnTo>
                  <a:lnTo>
                    <a:pt x="430" y="503"/>
                  </a:lnTo>
                  <a:lnTo>
                    <a:pt x="430" y="501"/>
                  </a:lnTo>
                  <a:close/>
                  <a:moveTo>
                    <a:pt x="415" y="498"/>
                  </a:moveTo>
                  <a:lnTo>
                    <a:pt x="417" y="498"/>
                  </a:lnTo>
                  <a:lnTo>
                    <a:pt x="415" y="498"/>
                  </a:lnTo>
                  <a:close/>
                  <a:moveTo>
                    <a:pt x="424" y="486"/>
                  </a:moveTo>
                  <a:lnTo>
                    <a:pt x="426" y="486"/>
                  </a:lnTo>
                  <a:lnTo>
                    <a:pt x="426" y="488"/>
                  </a:lnTo>
                  <a:lnTo>
                    <a:pt x="424" y="488"/>
                  </a:lnTo>
                  <a:lnTo>
                    <a:pt x="424" y="486"/>
                  </a:lnTo>
                  <a:close/>
                  <a:moveTo>
                    <a:pt x="430" y="499"/>
                  </a:moveTo>
                  <a:lnTo>
                    <a:pt x="432" y="499"/>
                  </a:lnTo>
                  <a:lnTo>
                    <a:pt x="432" y="501"/>
                  </a:lnTo>
                  <a:lnTo>
                    <a:pt x="430" y="501"/>
                  </a:lnTo>
                  <a:lnTo>
                    <a:pt x="430" y="499"/>
                  </a:lnTo>
                  <a:close/>
                  <a:moveTo>
                    <a:pt x="0" y="0"/>
                  </a:moveTo>
                  <a:lnTo>
                    <a:pt x="0" y="2"/>
                  </a:lnTo>
                  <a:lnTo>
                    <a:pt x="0" y="0"/>
                  </a:lnTo>
                  <a:close/>
                  <a:moveTo>
                    <a:pt x="413" y="480"/>
                  </a:moveTo>
                  <a:lnTo>
                    <a:pt x="415" y="480"/>
                  </a:lnTo>
                  <a:lnTo>
                    <a:pt x="415" y="482"/>
                  </a:lnTo>
                  <a:lnTo>
                    <a:pt x="413" y="482"/>
                  </a:lnTo>
                  <a:lnTo>
                    <a:pt x="413" y="480"/>
                  </a:lnTo>
                  <a:close/>
                  <a:moveTo>
                    <a:pt x="415" y="480"/>
                  </a:moveTo>
                  <a:lnTo>
                    <a:pt x="417" y="480"/>
                  </a:lnTo>
                  <a:lnTo>
                    <a:pt x="415" y="480"/>
                  </a:lnTo>
                  <a:close/>
                  <a:moveTo>
                    <a:pt x="430" y="503"/>
                  </a:moveTo>
                  <a:lnTo>
                    <a:pt x="430" y="505"/>
                  </a:lnTo>
                  <a:lnTo>
                    <a:pt x="430" y="503"/>
                  </a:lnTo>
                  <a:close/>
                  <a:moveTo>
                    <a:pt x="424" y="486"/>
                  </a:moveTo>
                  <a:lnTo>
                    <a:pt x="426" y="486"/>
                  </a:lnTo>
                  <a:lnTo>
                    <a:pt x="426" y="488"/>
                  </a:lnTo>
                  <a:lnTo>
                    <a:pt x="424" y="488"/>
                  </a:lnTo>
                  <a:lnTo>
                    <a:pt x="424" y="486"/>
                  </a:lnTo>
                  <a:close/>
                  <a:moveTo>
                    <a:pt x="432" y="499"/>
                  </a:moveTo>
                  <a:lnTo>
                    <a:pt x="434" y="499"/>
                  </a:lnTo>
                  <a:lnTo>
                    <a:pt x="432" y="499"/>
                  </a:lnTo>
                  <a:close/>
                  <a:moveTo>
                    <a:pt x="430" y="501"/>
                  </a:moveTo>
                  <a:lnTo>
                    <a:pt x="430" y="503"/>
                  </a:lnTo>
                  <a:lnTo>
                    <a:pt x="430" y="501"/>
                  </a:lnTo>
                  <a:close/>
                  <a:moveTo>
                    <a:pt x="426" y="496"/>
                  </a:moveTo>
                  <a:lnTo>
                    <a:pt x="428" y="496"/>
                  </a:lnTo>
                  <a:lnTo>
                    <a:pt x="426" y="496"/>
                  </a:lnTo>
                  <a:close/>
                  <a:moveTo>
                    <a:pt x="146" y="432"/>
                  </a:moveTo>
                  <a:lnTo>
                    <a:pt x="148" y="432"/>
                  </a:lnTo>
                  <a:lnTo>
                    <a:pt x="148" y="434"/>
                  </a:lnTo>
                  <a:lnTo>
                    <a:pt x="146" y="434"/>
                  </a:lnTo>
                  <a:lnTo>
                    <a:pt x="146" y="432"/>
                  </a:lnTo>
                  <a:close/>
                  <a:moveTo>
                    <a:pt x="434" y="501"/>
                  </a:moveTo>
                  <a:lnTo>
                    <a:pt x="436" y="501"/>
                  </a:lnTo>
                  <a:lnTo>
                    <a:pt x="434" y="501"/>
                  </a:lnTo>
                  <a:close/>
                  <a:moveTo>
                    <a:pt x="434" y="499"/>
                  </a:moveTo>
                  <a:lnTo>
                    <a:pt x="436" y="499"/>
                  </a:lnTo>
                  <a:lnTo>
                    <a:pt x="434" y="499"/>
                  </a:lnTo>
                  <a:close/>
                  <a:moveTo>
                    <a:pt x="428" y="494"/>
                  </a:moveTo>
                  <a:lnTo>
                    <a:pt x="430" y="494"/>
                  </a:lnTo>
                  <a:lnTo>
                    <a:pt x="428" y="494"/>
                  </a:lnTo>
                  <a:close/>
                  <a:moveTo>
                    <a:pt x="432" y="499"/>
                  </a:moveTo>
                  <a:lnTo>
                    <a:pt x="434" y="499"/>
                  </a:lnTo>
                  <a:lnTo>
                    <a:pt x="432" y="499"/>
                  </a:lnTo>
                  <a:close/>
                  <a:moveTo>
                    <a:pt x="148" y="423"/>
                  </a:moveTo>
                  <a:lnTo>
                    <a:pt x="148" y="425"/>
                  </a:lnTo>
                  <a:lnTo>
                    <a:pt x="148" y="423"/>
                  </a:lnTo>
                  <a:close/>
                  <a:moveTo>
                    <a:pt x="426" y="494"/>
                  </a:moveTo>
                  <a:lnTo>
                    <a:pt x="428" y="494"/>
                  </a:lnTo>
                  <a:lnTo>
                    <a:pt x="426" y="494"/>
                  </a:lnTo>
                  <a:close/>
                  <a:moveTo>
                    <a:pt x="434" y="499"/>
                  </a:moveTo>
                  <a:lnTo>
                    <a:pt x="434" y="501"/>
                  </a:lnTo>
                  <a:lnTo>
                    <a:pt x="434" y="499"/>
                  </a:lnTo>
                  <a:close/>
                  <a:moveTo>
                    <a:pt x="434" y="499"/>
                  </a:moveTo>
                  <a:lnTo>
                    <a:pt x="434" y="501"/>
                  </a:lnTo>
                  <a:lnTo>
                    <a:pt x="434" y="499"/>
                  </a:lnTo>
                  <a:close/>
                  <a:moveTo>
                    <a:pt x="430" y="499"/>
                  </a:moveTo>
                  <a:lnTo>
                    <a:pt x="430" y="501"/>
                  </a:lnTo>
                  <a:lnTo>
                    <a:pt x="430" y="499"/>
                  </a:lnTo>
                  <a:close/>
                  <a:moveTo>
                    <a:pt x="415" y="498"/>
                  </a:moveTo>
                  <a:lnTo>
                    <a:pt x="417" y="498"/>
                  </a:lnTo>
                  <a:lnTo>
                    <a:pt x="415" y="498"/>
                  </a:lnTo>
                  <a:close/>
                  <a:moveTo>
                    <a:pt x="432" y="501"/>
                  </a:moveTo>
                  <a:lnTo>
                    <a:pt x="434" y="501"/>
                  </a:lnTo>
                  <a:lnTo>
                    <a:pt x="432" y="501"/>
                  </a:lnTo>
                  <a:close/>
                  <a:moveTo>
                    <a:pt x="434" y="498"/>
                  </a:moveTo>
                  <a:lnTo>
                    <a:pt x="434" y="499"/>
                  </a:lnTo>
                  <a:lnTo>
                    <a:pt x="434" y="498"/>
                  </a:lnTo>
                  <a:close/>
                  <a:moveTo>
                    <a:pt x="434" y="498"/>
                  </a:moveTo>
                  <a:lnTo>
                    <a:pt x="434" y="499"/>
                  </a:lnTo>
                  <a:lnTo>
                    <a:pt x="434" y="498"/>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6" name="Freeform 465">
              <a:extLst>
                <a:ext uri="{FF2B5EF4-FFF2-40B4-BE49-F238E27FC236}">
                  <a16:creationId xmlns:a16="http://schemas.microsoft.com/office/drawing/2014/main" id="{AF40A290-6C3A-4F62-96D3-BE05673575F1}"/>
                </a:ext>
              </a:extLst>
            </p:cNvPr>
            <p:cNvSpPr>
              <a:spLocks/>
            </p:cNvSpPr>
            <p:nvPr/>
          </p:nvSpPr>
          <p:spPr bwMode="gray">
            <a:xfrm>
              <a:off x="4524165" y="5492354"/>
              <a:ext cx="9811" cy="7358"/>
            </a:xfrm>
            <a:custGeom>
              <a:avLst/>
              <a:gdLst>
                <a:gd name="T0" fmla="*/ 0 w 8"/>
                <a:gd name="T1" fmla="*/ 0 h 6"/>
                <a:gd name="T2" fmla="*/ 0 w 8"/>
                <a:gd name="T3" fmla="*/ 2 h 6"/>
                <a:gd name="T4" fmla="*/ 2 w 8"/>
                <a:gd name="T5" fmla="*/ 2 h 6"/>
                <a:gd name="T6" fmla="*/ 2 w 8"/>
                <a:gd name="T7" fmla="*/ 0 h 6"/>
                <a:gd name="T8" fmla="*/ 2 w 8"/>
                <a:gd name="T9" fmla="*/ 2 h 6"/>
                <a:gd name="T10" fmla="*/ 4 w 8"/>
                <a:gd name="T11" fmla="*/ 2 h 6"/>
                <a:gd name="T12" fmla="*/ 6 w 8"/>
                <a:gd name="T13" fmla="*/ 2 h 6"/>
                <a:gd name="T14" fmla="*/ 6 w 8"/>
                <a:gd name="T15" fmla="*/ 4 h 6"/>
                <a:gd name="T16" fmla="*/ 8 w 8"/>
                <a:gd name="T17" fmla="*/ 4 h 6"/>
                <a:gd name="T18" fmla="*/ 6 w 8"/>
                <a:gd name="T19" fmla="*/ 4 h 6"/>
                <a:gd name="T20" fmla="*/ 4 w 8"/>
                <a:gd name="T21" fmla="*/ 4 h 6"/>
                <a:gd name="T22" fmla="*/ 4 w 8"/>
                <a:gd name="T23" fmla="*/ 6 h 6"/>
                <a:gd name="T24" fmla="*/ 2 w 8"/>
                <a:gd name="T25" fmla="*/ 6 h 6"/>
                <a:gd name="T26" fmla="*/ 2 w 8"/>
                <a:gd name="T27" fmla="*/ 4 h 6"/>
                <a:gd name="T28" fmla="*/ 2 w 8"/>
                <a:gd name="T29" fmla="*/ 2 h 6"/>
                <a:gd name="T30" fmla="*/ 0 w 8"/>
                <a:gd name="T31" fmla="*/ 2 h 6"/>
                <a:gd name="T32" fmla="*/ 2 w 8"/>
                <a:gd name="T33" fmla="*/ 2 h 6"/>
                <a:gd name="T34" fmla="*/ 0 w 8"/>
                <a:gd name="T35" fmla="*/ 2 h 6"/>
                <a:gd name="T36" fmla="*/ 2 w 8"/>
                <a:gd name="T37" fmla="*/ 2 h 6"/>
                <a:gd name="T38" fmla="*/ 0 w 8"/>
                <a:gd name="T39" fmla="*/ 2 h 6"/>
                <a:gd name="T40" fmla="*/ 2 w 8"/>
                <a:gd name="T41" fmla="*/ 2 h 6"/>
                <a:gd name="T42" fmla="*/ 0 w 8"/>
                <a:gd name="T43" fmla="*/ 2 h 6"/>
                <a:gd name="T44" fmla="*/ 0 w 8"/>
                <a:gd name="T4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6">
                  <a:moveTo>
                    <a:pt x="0" y="0"/>
                  </a:moveTo>
                  <a:lnTo>
                    <a:pt x="0" y="2"/>
                  </a:lnTo>
                  <a:lnTo>
                    <a:pt x="2" y="2"/>
                  </a:lnTo>
                  <a:lnTo>
                    <a:pt x="2" y="0"/>
                  </a:lnTo>
                  <a:lnTo>
                    <a:pt x="2" y="2"/>
                  </a:lnTo>
                  <a:lnTo>
                    <a:pt x="4" y="2"/>
                  </a:lnTo>
                  <a:lnTo>
                    <a:pt x="6" y="2"/>
                  </a:lnTo>
                  <a:lnTo>
                    <a:pt x="6" y="4"/>
                  </a:lnTo>
                  <a:lnTo>
                    <a:pt x="8" y="4"/>
                  </a:lnTo>
                  <a:lnTo>
                    <a:pt x="6" y="4"/>
                  </a:lnTo>
                  <a:lnTo>
                    <a:pt x="4" y="4"/>
                  </a:lnTo>
                  <a:lnTo>
                    <a:pt x="4" y="6"/>
                  </a:lnTo>
                  <a:lnTo>
                    <a:pt x="2" y="6"/>
                  </a:lnTo>
                  <a:lnTo>
                    <a:pt x="2" y="4"/>
                  </a:lnTo>
                  <a:lnTo>
                    <a:pt x="2" y="2"/>
                  </a:lnTo>
                  <a:lnTo>
                    <a:pt x="0" y="2"/>
                  </a:lnTo>
                  <a:lnTo>
                    <a:pt x="2" y="2"/>
                  </a:lnTo>
                  <a:lnTo>
                    <a:pt x="0" y="2"/>
                  </a:lnTo>
                  <a:lnTo>
                    <a:pt x="2" y="2"/>
                  </a:lnTo>
                  <a:lnTo>
                    <a:pt x="0" y="2"/>
                  </a:lnTo>
                  <a:lnTo>
                    <a:pt x="2" y="2"/>
                  </a:lnTo>
                  <a:lnTo>
                    <a:pt x="0" y="2"/>
                  </a:lnTo>
                  <a:lnTo>
                    <a:pt x="0" y="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7" name="Rectangle 466">
              <a:extLst>
                <a:ext uri="{FF2B5EF4-FFF2-40B4-BE49-F238E27FC236}">
                  <a16:creationId xmlns:a16="http://schemas.microsoft.com/office/drawing/2014/main" id="{87605CCA-ED03-4391-83CF-AE7D8828CA92}"/>
                </a:ext>
              </a:extLst>
            </p:cNvPr>
            <p:cNvSpPr>
              <a:spLocks noChangeArrowheads="1"/>
            </p:cNvSpPr>
            <p:nvPr/>
          </p:nvSpPr>
          <p:spPr bwMode="gray">
            <a:xfrm>
              <a:off x="3267128" y="5535277"/>
              <a:ext cx="4906" cy="2453"/>
            </a:xfrm>
            <a:prstGeom prst="rect">
              <a:avLst/>
            </a:prstGeom>
            <a:solidFill>
              <a:srgbClr val="D0D0D0"/>
            </a:solidFill>
            <a:ln w="6350">
              <a:solidFill>
                <a:schemeClr val="tx1">
                  <a:alpha val="38000"/>
                </a:schemeClr>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8" name="Freeform 508">
              <a:extLst>
                <a:ext uri="{FF2B5EF4-FFF2-40B4-BE49-F238E27FC236}">
                  <a16:creationId xmlns:a16="http://schemas.microsoft.com/office/drawing/2014/main" id="{BC431A8D-12EA-41B9-B987-862D944F4D0C}"/>
                </a:ext>
              </a:extLst>
            </p:cNvPr>
            <p:cNvSpPr>
              <a:spLocks/>
            </p:cNvSpPr>
            <p:nvPr/>
          </p:nvSpPr>
          <p:spPr bwMode="gray">
            <a:xfrm>
              <a:off x="4500013" y="3643704"/>
              <a:ext cx="90797" cy="59868"/>
            </a:xfrm>
            <a:custGeom>
              <a:avLst/>
              <a:gdLst>
                <a:gd name="T0" fmla="*/ 554 w 1095"/>
                <a:gd name="T1" fmla="*/ 641 h 722"/>
                <a:gd name="T2" fmla="*/ 501 w 1095"/>
                <a:gd name="T3" fmla="*/ 628 h 722"/>
                <a:gd name="T4" fmla="*/ 463 w 1095"/>
                <a:gd name="T5" fmla="*/ 600 h 722"/>
                <a:gd name="T6" fmla="*/ 449 w 1095"/>
                <a:gd name="T7" fmla="*/ 558 h 722"/>
                <a:gd name="T8" fmla="*/ 409 w 1095"/>
                <a:gd name="T9" fmla="*/ 568 h 722"/>
                <a:gd name="T10" fmla="*/ 371 w 1095"/>
                <a:gd name="T11" fmla="*/ 563 h 722"/>
                <a:gd name="T12" fmla="*/ 346 w 1095"/>
                <a:gd name="T13" fmla="*/ 544 h 722"/>
                <a:gd name="T14" fmla="*/ 308 w 1095"/>
                <a:gd name="T15" fmla="*/ 528 h 722"/>
                <a:gd name="T16" fmla="*/ 275 w 1095"/>
                <a:gd name="T17" fmla="*/ 511 h 722"/>
                <a:gd name="T18" fmla="*/ 273 w 1095"/>
                <a:gd name="T19" fmla="*/ 471 h 722"/>
                <a:gd name="T20" fmla="*/ 275 w 1095"/>
                <a:gd name="T21" fmla="*/ 438 h 722"/>
                <a:gd name="T22" fmla="*/ 230 w 1095"/>
                <a:gd name="T23" fmla="*/ 436 h 722"/>
                <a:gd name="T24" fmla="*/ 198 w 1095"/>
                <a:gd name="T25" fmla="*/ 422 h 722"/>
                <a:gd name="T26" fmla="*/ 171 w 1095"/>
                <a:gd name="T27" fmla="*/ 401 h 722"/>
                <a:gd name="T28" fmla="*/ 151 w 1095"/>
                <a:gd name="T29" fmla="*/ 368 h 722"/>
                <a:gd name="T30" fmla="*/ 129 w 1095"/>
                <a:gd name="T31" fmla="*/ 345 h 722"/>
                <a:gd name="T32" fmla="*/ 103 w 1095"/>
                <a:gd name="T33" fmla="*/ 354 h 722"/>
                <a:gd name="T34" fmla="*/ 70 w 1095"/>
                <a:gd name="T35" fmla="*/ 340 h 722"/>
                <a:gd name="T36" fmla="*/ 47 w 1095"/>
                <a:gd name="T37" fmla="*/ 350 h 722"/>
                <a:gd name="T38" fmla="*/ 7 w 1095"/>
                <a:gd name="T39" fmla="*/ 342 h 722"/>
                <a:gd name="T40" fmla="*/ 12 w 1095"/>
                <a:gd name="T41" fmla="*/ 302 h 722"/>
                <a:gd name="T42" fmla="*/ 9 w 1095"/>
                <a:gd name="T43" fmla="*/ 260 h 722"/>
                <a:gd name="T44" fmla="*/ 35 w 1095"/>
                <a:gd name="T45" fmla="*/ 237 h 722"/>
                <a:gd name="T46" fmla="*/ 63 w 1095"/>
                <a:gd name="T47" fmla="*/ 216 h 722"/>
                <a:gd name="T48" fmla="*/ 94 w 1095"/>
                <a:gd name="T49" fmla="*/ 181 h 722"/>
                <a:gd name="T50" fmla="*/ 124 w 1095"/>
                <a:gd name="T51" fmla="*/ 155 h 722"/>
                <a:gd name="T52" fmla="*/ 125 w 1095"/>
                <a:gd name="T53" fmla="*/ 115 h 722"/>
                <a:gd name="T54" fmla="*/ 160 w 1095"/>
                <a:gd name="T55" fmla="*/ 112 h 722"/>
                <a:gd name="T56" fmla="*/ 205 w 1095"/>
                <a:gd name="T57" fmla="*/ 98 h 722"/>
                <a:gd name="T58" fmla="*/ 244 w 1095"/>
                <a:gd name="T59" fmla="*/ 112 h 722"/>
                <a:gd name="T60" fmla="*/ 291 w 1095"/>
                <a:gd name="T61" fmla="*/ 110 h 722"/>
                <a:gd name="T62" fmla="*/ 301 w 1095"/>
                <a:gd name="T63" fmla="*/ 89 h 722"/>
                <a:gd name="T64" fmla="*/ 266 w 1095"/>
                <a:gd name="T65" fmla="*/ 66 h 722"/>
                <a:gd name="T66" fmla="*/ 289 w 1095"/>
                <a:gd name="T67" fmla="*/ 54 h 722"/>
                <a:gd name="T68" fmla="*/ 312 w 1095"/>
                <a:gd name="T69" fmla="*/ 61 h 722"/>
                <a:gd name="T70" fmla="*/ 350 w 1095"/>
                <a:gd name="T71" fmla="*/ 72 h 722"/>
                <a:gd name="T72" fmla="*/ 381 w 1095"/>
                <a:gd name="T73" fmla="*/ 51 h 722"/>
                <a:gd name="T74" fmla="*/ 413 w 1095"/>
                <a:gd name="T75" fmla="*/ 39 h 722"/>
                <a:gd name="T76" fmla="*/ 447 w 1095"/>
                <a:gd name="T77" fmla="*/ 30 h 722"/>
                <a:gd name="T78" fmla="*/ 475 w 1095"/>
                <a:gd name="T79" fmla="*/ 14 h 722"/>
                <a:gd name="T80" fmla="*/ 526 w 1095"/>
                <a:gd name="T81" fmla="*/ 18 h 722"/>
                <a:gd name="T82" fmla="*/ 568 w 1095"/>
                <a:gd name="T83" fmla="*/ 23 h 722"/>
                <a:gd name="T84" fmla="*/ 599 w 1095"/>
                <a:gd name="T85" fmla="*/ 30 h 722"/>
                <a:gd name="T86" fmla="*/ 648 w 1095"/>
                <a:gd name="T87" fmla="*/ 40 h 722"/>
                <a:gd name="T88" fmla="*/ 658 w 1095"/>
                <a:gd name="T89" fmla="*/ 86 h 722"/>
                <a:gd name="T90" fmla="*/ 683 w 1095"/>
                <a:gd name="T91" fmla="*/ 93 h 722"/>
                <a:gd name="T92" fmla="*/ 735 w 1095"/>
                <a:gd name="T93" fmla="*/ 105 h 722"/>
                <a:gd name="T94" fmla="*/ 773 w 1095"/>
                <a:gd name="T95" fmla="*/ 145 h 722"/>
                <a:gd name="T96" fmla="*/ 792 w 1095"/>
                <a:gd name="T97" fmla="*/ 185 h 722"/>
                <a:gd name="T98" fmla="*/ 792 w 1095"/>
                <a:gd name="T99" fmla="*/ 228 h 722"/>
                <a:gd name="T100" fmla="*/ 787 w 1095"/>
                <a:gd name="T101" fmla="*/ 260 h 722"/>
                <a:gd name="T102" fmla="*/ 815 w 1095"/>
                <a:gd name="T103" fmla="*/ 310 h 722"/>
                <a:gd name="T104" fmla="*/ 881 w 1095"/>
                <a:gd name="T105" fmla="*/ 342 h 722"/>
                <a:gd name="T106" fmla="*/ 958 w 1095"/>
                <a:gd name="T107" fmla="*/ 384 h 722"/>
                <a:gd name="T108" fmla="*/ 1060 w 1095"/>
                <a:gd name="T109" fmla="*/ 434 h 722"/>
                <a:gd name="T110" fmla="*/ 1047 w 1095"/>
                <a:gd name="T111" fmla="*/ 577 h 722"/>
                <a:gd name="T112" fmla="*/ 989 w 1095"/>
                <a:gd name="T113" fmla="*/ 594 h 722"/>
                <a:gd name="T114" fmla="*/ 905 w 1095"/>
                <a:gd name="T115" fmla="*/ 648 h 722"/>
                <a:gd name="T116" fmla="*/ 869 w 1095"/>
                <a:gd name="T117" fmla="*/ 659 h 722"/>
                <a:gd name="T118" fmla="*/ 763 w 1095"/>
                <a:gd name="T119" fmla="*/ 699 h 722"/>
                <a:gd name="T120" fmla="*/ 616 w 1095"/>
                <a:gd name="T121" fmla="*/ 682 h 722"/>
                <a:gd name="T122" fmla="*/ 547 w 1095"/>
                <a:gd name="T123" fmla="*/ 678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5" h="722">
                  <a:moveTo>
                    <a:pt x="533" y="671"/>
                  </a:moveTo>
                  <a:lnTo>
                    <a:pt x="533" y="669"/>
                  </a:lnTo>
                  <a:lnTo>
                    <a:pt x="535" y="668"/>
                  </a:lnTo>
                  <a:lnTo>
                    <a:pt x="535" y="666"/>
                  </a:lnTo>
                  <a:lnTo>
                    <a:pt x="535" y="664"/>
                  </a:lnTo>
                  <a:lnTo>
                    <a:pt x="535" y="662"/>
                  </a:lnTo>
                  <a:lnTo>
                    <a:pt x="536" y="661"/>
                  </a:lnTo>
                  <a:lnTo>
                    <a:pt x="538" y="661"/>
                  </a:lnTo>
                  <a:lnTo>
                    <a:pt x="541" y="661"/>
                  </a:lnTo>
                  <a:lnTo>
                    <a:pt x="541" y="659"/>
                  </a:lnTo>
                  <a:lnTo>
                    <a:pt x="541" y="657"/>
                  </a:lnTo>
                  <a:lnTo>
                    <a:pt x="543" y="657"/>
                  </a:lnTo>
                  <a:lnTo>
                    <a:pt x="545" y="657"/>
                  </a:lnTo>
                  <a:lnTo>
                    <a:pt x="547" y="655"/>
                  </a:lnTo>
                  <a:lnTo>
                    <a:pt x="547" y="654"/>
                  </a:lnTo>
                  <a:lnTo>
                    <a:pt x="548" y="652"/>
                  </a:lnTo>
                  <a:lnTo>
                    <a:pt x="550" y="652"/>
                  </a:lnTo>
                  <a:lnTo>
                    <a:pt x="552" y="652"/>
                  </a:lnTo>
                  <a:lnTo>
                    <a:pt x="554" y="650"/>
                  </a:lnTo>
                  <a:lnTo>
                    <a:pt x="555" y="648"/>
                  </a:lnTo>
                  <a:lnTo>
                    <a:pt x="557" y="647"/>
                  </a:lnTo>
                  <a:lnTo>
                    <a:pt x="559" y="645"/>
                  </a:lnTo>
                  <a:lnTo>
                    <a:pt x="561" y="641"/>
                  </a:lnTo>
                  <a:lnTo>
                    <a:pt x="562" y="640"/>
                  </a:lnTo>
                  <a:lnTo>
                    <a:pt x="562" y="636"/>
                  </a:lnTo>
                  <a:lnTo>
                    <a:pt x="562" y="631"/>
                  </a:lnTo>
                  <a:lnTo>
                    <a:pt x="559" y="633"/>
                  </a:lnTo>
                  <a:lnTo>
                    <a:pt x="557" y="634"/>
                  </a:lnTo>
                  <a:lnTo>
                    <a:pt x="555" y="636"/>
                  </a:lnTo>
                  <a:lnTo>
                    <a:pt x="555" y="638"/>
                  </a:lnTo>
                  <a:lnTo>
                    <a:pt x="554" y="640"/>
                  </a:lnTo>
                  <a:lnTo>
                    <a:pt x="554" y="641"/>
                  </a:lnTo>
                  <a:lnTo>
                    <a:pt x="552" y="641"/>
                  </a:lnTo>
                  <a:lnTo>
                    <a:pt x="550" y="641"/>
                  </a:lnTo>
                  <a:lnTo>
                    <a:pt x="548" y="643"/>
                  </a:lnTo>
                  <a:lnTo>
                    <a:pt x="548" y="645"/>
                  </a:lnTo>
                  <a:lnTo>
                    <a:pt x="547" y="645"/>
                  </a:lnTo>
                  <a:lnTo>
                    <a:pt x="545" y="645"/>
                  </a:lnTo>
                  <a:lnTo>
                    <a:pt x="543" y="647"/>
                  </a:lnTo>
                  <a:lnTo>
                    <a:pt x="541" y="645"/>
                  </a:lnTo>
                  <a:lnTo>
                    <a:pt x="540" y="643"/>
                  </a:lnTo>
                  <a:lnTo>
                    <a:pt x="540" y="641"/>
                  </a:lnTo>
                  <a:lnTo>
                    <a:pt x="540" y="640"/>
                  </a:lnTo>
                  <a:lnTo>
                    <a:pt x="540" y="638"/>
                  </a:lnTo>
                  <a:lnTo>
                    <a:pt x="538" y="638"/>
                  </a:lnTo>
                  <a:lnTo>
                    <a:pt x="536" y="636"/>
                  </a:lnTo>
                  <a:lnTo>
                    <a:pt x="533" y="634"/>
                  </a:lnTo>
                  <a:lnTo>
                    <a:pt x="531" y="634"/>
                  </a:lnTo>
                  <a:lnTo>
                    <a:pt x="531" y="633"/>
                  </a:lnTo>
                  <a:lnTo>
                    <a:pt x="528" y="633"/>
                  </a:lnTo>
                  <a:lnTo>
                    <a:pt x="526" y="633"/>
                  </a:lnTo>
                  <a:lnTo>
                    <a:pt x="522" y="631"/>
                  </a:lnTo>
                  <a:lnTo>
                    <a:pt x="519" y="629"/>
                  </a:lnTo>
                  <a:lnTo>
                    <a:pt x="517" y="629"/>
                  </a:lnTo>
                  <a:lnTo>
                    <a:pt x="515" y="628"/>
                  </a:lnTo>
                  <a:lnTo>
                    <a:pt x="514" y="629"/>
                  </a:lnTo>
                  <a:lnTo>
                    <a:pt x="512" y="629"/>
                  </a:lnTo>
                  <a:lnTo>
                    <a:pt x="510" y="629"/>
                  </a:lnTo>
                  <a:lnTo>
                    <a:pt x="508" y="629"/>
                  </a:lnTo>
                  <a:lnTo>
                    <a:pt x="507" y="631"/>
                  </a:lnTo>
                  <a:lnTo>
                    <a:pt x="505" y="631"/>
                  </a:lnTo>
                  <a:lnTo>
                    <a:pt x="503" y="631"/>
                  </a:lnTo>
                  <a:lnTo>
                    <a:pt x="503" y="629"/>
                  </a:lnTo>
                  <a:lnTo>
                    <a:pt x="501" y="628"/>
                  </a:lnTo>
                  <a:lnTo>
                    <a:pt x="500" y="626"/>
                  </a:lnTo>
                  <a:lnTo>
                    <a:pt x="496" y="626"/>
                  </a:lnTo>
                  <a:lnTo>
                    <a:pt x="496" y="624"/>
                  </a:lnTo>
                  <a:lnTo>
                    <a:pt x="494" y="621"/>
                  </a:lnTo>
                  <a:lnTo>
                    <a:pt x="493" y="621"/>
                  </a:lnTo>
                  <a:lnTo>
                    <a:pt x="491" y="621"/>
                  </a:lnTo>
                  <a:lnTo>
                    <a:pt x="489" y="619"/>
                  </a:lnTo>
                  <a:lnTo>
                    <a:pt x="487" y="617"/>
                  </a:lnTo>
                  <a:lnTo>
                    <a:pt x="487" y="615"/>
                  </a:lnTo>
                  <a:lnTo>
                    <a:pt x="486" y="614"/>
                  </a:lnTo>
                  <a:lnTo>
                    <a:pt x="484" y="614"/>
                  </a:lnTo>
                  <a:lnTo>
                    <a:pt x="482" y="614"/>
                  </a:lnTo>
                  <a:lnTo>
                    <a:pt x="481" y="612"/>
                  </a:lnTo>
                  <a:lnTo>
                    <a:pt x="479" y="610"/>
                  </a:lnTo>
                  <a:lnTo>
                    <a:pt x="477" y="610"/>
                  </a:lnTo>
                  <a:lnTo>
                    <a:pt x="475" y="610"/>
                  </a:lnTo>
                  <a:lnTo>
                    <a:pt x="474" y="608"/>
                  </a:lnTo>
                  <a:lnTo>
                    <a:pt x="472" y="608"/>
                  </a:lnTo>
                  <a:lnTo>
                    <a:pt x="470" y="608"/>
                  </a:lnTo>
                  <a:lnTo>
                    <a:pt x="470" y="610"/>
                  </a:lnTo>
                  <a:lnTo>
                    <a:pt x="468" y="610"/>
                  </a:lnTo>
                  <a:lnTo>
                    <a:pt x="468" y="612"/>
                  </a:lnTo>
                  <a:lnTo>
                    <a:pt x="467" y="612"/>
                  </a:lnTo>
                  <a:lnTo>
                    <a:pt x="467" y="610"/>
                  </a:lnTo>
                  <a:lnTo>
                    <a:pt x="465" y="610"/>
                  </a:lnTo>
                  <a:lnTo>
                    <a:pt x="465" y="608"/>
                  </a:lnTo>
                  <a:lnTo>
                    <a:pt x="465" y="607"/>
                  </a:lnTo>
                  <a:lnTo>
                    <a:pt x="463" y="605"/>
                  </a:lnTo>
                  <a:lnTo>
                    <a:pt x="465" y="603"/>
                  </a:lnTo>
                  <a:lnTo>
                    <a:pt x="465" y="601"/>
                  </a:lnTo>
                  <a:lnTo>
                    <a:pt x="463" y="601"/>
                  </a:lnTo>
                  <a:lnTo>
                    <a:pt x="463" y="600"/>
                  </a:lnTo>
                  <a:lnTo>
                    <a:pt x="461" y="600"/>
                  </a:lnTo>
                  <a:lnTo>
                    <a:pt x="463" y="598"/>
                  </a:lnTo>
                  <a:lnTo>
                    <a:pt x="463" y="596"/>
                  </a:lnTo>
                  <a:lnTo>
                    <a:pt x="465" y="594"/>
                  </a:lnTo>
                  <a:lnTo>
                    <a:pt x="463" y="594"/>
                  </a:lnTo>
                  <a:lnTo>
                    <a:pt x="463" y="593"/>
                  </a:lnTo>
                  <a:lnTo>
                    <a:pt x="465" y="591"/>
                  </a:lnTo>
                  <a:lnTo>
                    <a:pt x="465" y="589"/>
                  </a:lnTo>
                  <a:lnTo>
                    <a:pt x="467" y="587"/>
                  </a:lnTo>
                  <a:lnTo>
                    <a:pt x="467" y="586"/>
                  </a:lnTo>
                  <a:lnTo>
                    <a:pt x="468" y="584"/>
                  </a:lnTo>
                  <a:lnTo>
                    <a:pt x="467" y="582"/>
                  </a:lnTo>
                  <a:lnTo>
                    <a:pt x="467" y="580"/>
                  </a:lnTo>
                  <a:lnTo>
                    <a:pt x="465" y="580"/>
                  </a:lnTo>
                  <a:lnTo>
                    <a:pt x="463" y="580"/>
                  </a:lnTo>
                  <a:lnTo>
                    <a:pt x="461" y="580"/>
                  </a:lnTo>
                  <a:lnTo>
                    <a:pt x="460" y="580"/>
                  </a:lnTo>
                  <a:lnTo>
                    <a:pt x="458" y="580"/>
                  </a:lnTo>
                  <a:lnTo>
                    <a:pt x="458" y="579"/>
                  </a:lnTo>
                  <a:lnTo>
                    <a:pt x="456" y="577"/>
                  </a:lnTo>
                  <a:lnTo>
                    <a:pt x="456" y="575"/>
                  </a:lnTo>
                  <a:lnTo>
                    <a:pt x="456" y="573"/>
                  </a:lnTo>
                  <a:lnTo>
                    <a:pt x="456" y="572"/>
                  </a:lnTo>
                  <a:lnTo>
                    <a:pt x="458" y="570"/>
                  </a:lnTo>
                  <a:lnTo>
                    <a:pt x="458" y="568"/>
                  </a:lnTo>
                  <a:lnTo>
                    <a:pt x="458" y="567"/>
                  </a:lnTo>
                  <a:lnTo>
                    <a:pt x="456" y="565"/>
                  </a:lnTo>
                  <a:lnTo>
                    <a:pt x="454" y="565"/>
                  </a:lnTo>
                  <a:lnTo>
                    <a:pt x="453" y="563"/>
                  </a:lnTo>
                  <a:lnTo>
                    <a:pt x="451" y="561"/>
                  </a:lnTo>
                  <a:lnTo>
                    <a:pt x="451" y="560"/>
                  </a:lnTo>
                  <a:lnTo>
                    <a:pt x="449" y="558"/>
                  </a:lnTo>
                  <a:lnTo>
                    <a:pt x="449" y="556"/>
                  </a:lnTo>
                  <a:lnTo>
                    <a:pt x="447" y="556"/>
                  </a:lnTo>
                  <a:lnTo>
                    <a:pt x="444" y="554"/>
                  </a:lnTo>
                  <a:lnTo>
                    <a:pt x="442" y="554"/>
                  </a:lnTo>
                  <a:lnTo>
                    <a:pt x="440" y="554"/>
                  </a:lnTo>
                  <a:lnTo>
                    <a:pt x="439" y="554"/>
                  </a:lnTo>
                  <a:lnTo>
                    <a:pt x="439" y="553"/>
                  </a:lnTo>
                  <a:lnTo>
                    <a:pt x="439" y="551"/>
                  </a:lnTo>
                  <a:lnTo>
                    <a:pt x="439" y="549"/>
                  </a:lnTo>
                  <a:lnTo>
                    <a:pt x="437" y="549"/>
                  </a:lnTo>
                  <a:lnTo>
                    <a:pt x="435" y="549"/>
                  </a:lnTo>
                  <a:lnTo>
                    <a:pt x="434" y="547"/>
                  </a:lnTo>
                  <a:lnTo>
                    <a:pt x="434" y="551"/>
                  </a:lnTo>
                  <a:lnTo>
                    <a:pt x="432" y="551"/>
                  </a:lnTo>
                  <a:lnTo>
                    <a:pt x="432" y="553"/>
                  </a:lnTo>
                  <a:lnTo>
                    <a:pt x="430" y="554"/>
                  </a:lnTo>
                  <a:lnTo>
                    <a:pt x="428" y="556"/>
                  </a:lnTo>
                  <a:lnTo>
                    <a:pt x="427" y="558"/>
                  </a:lnTo>
                  <a:lnTo>
                    <a:pt x="427" y="560"/>
                  </a:lnTo>
                  <a:lnTo>
                    <a:pt x="425" y="560"/>
                  </a:lnTo>
                  <a:lnTo>
                    <a:pt x="423" y="561"/>
                  </a:lnTo>
                  <a:lnTo>
                    <a:pt x="423" y="563"/>
                  </a:lnTo>
                  <a:lnTo>
                    <a:pt x="423" y="565"/>
                  </a:lnTo>
                  <a:lnTo>
                    <a:pt x="421" y="565"/>
                  </a:lnTo>
                  <a:lnTo>
                    <a:pt x="420" y="565"/>
                  </a:lnTo>
                  <a:lnTo>
                    <a:pt x="420" y="567"/>
                  </a:lnTo>
                  <a:lnTo>
                    <a:pt x="418" y="568"/>
                  </a:lnTo>
                  <a:lnTo>
                    <a:pt x="416" y="568"/>
                  </a:lnTo>
                  <a:lnTo>
                    <a:pt x="414" y="568"/>
                  </a:lnTo>
                  <a:lnTo>
                    <a:pt x="413" y="568"/>
                  </a:lnTo>
                  <a:lnTo>
                    <a:pt x="411" y="568"/>
                  </a:lnTo>
                  <a:lnTo>
                    <a:pt x="409" y="568"/>
                  </a:lnTo>
                  <a:lnTo>
                    <a:pt x="407" y="568"/>
                  </a:lnTo>
                  <a:lnTo>
                    <a:pt x="406" y="568"/>
                  </a:lnTo>
                  <a:lnTo>
                    <a:pt x="406" y="567"/>
                  </a:lnTo>
                  <a:lnTo>
                    <a:pt x="404" y="567"/>
                  </a:lnTo>
                  <a:lnTo>
                    <a:pt x="402" y="567"/>
                  </a:lnTo>
                  <a:lnTo>
                    <a:pt x="402" y="568"/>
                  </a:lnTo>
                  <a:lnTo>
                    <a:pt x="400" y="568"/>
                  </a:lnTo>
                  <a:lnTo>
                    <a:pt x="400" y="570"/>
                  </a:lnTo>
                  <a:lnTo>
                    <a:pt x="399" y="572"/>
                  </a:lnTo>
                  <a:lnTo>
                    <a:pt x="397" y="572"/>
                  </a:lnTo>
                  <a:lnTo>
                    <a:pt x="397" y="573"/>
                  </a:lnTo>
                  <a:lnTo>
                    <a:pt x="393" y="575"/>
                  </a:lnTo>
                  <a:lnTo>
                    <a:pt x="392" y="575"/>
                  </a:lnTo>
                  <a:lnTo>
                    <a:pt x="392" y="573"/>
                  </a:lnTo>
                  <a:lnTo>
                    <a:pt x="390" y="573"/>
                  </a:lnTo>
                  <a:lnTo>
                    <a:pt x="390" y="572"/>
                  </a:lnTo>
                  <a:lnTo>
                    <a:pt x="388" y="568"/>
                  </a:lnTo>
                  <a:lnTo>
                    <a:pt x="386" y="567"/>
                  </a:lnTo>
                  <a:lnTo>
                    <a:pt x="385" y="567"/>
                  </a:lnTo>
                  <a:lnTo>
                    <a:pt x="385" y="565"/>
                  </a:lnTo>
                  <a:lnTo>
                    <a:pt x="383" y="565"/>
                  </a:lnTo>
                  <a:lnTo>
                    <a:pt x="383" y="563"/>
                  </a:lnTo>
                  <a:lnTo>
                    <a:pt x="383" y="561"/>
                  </a:lnTo>
                  <a:lnTo>
                    <a:pt x="383" y="560"/>
                  </a:lnTo>
                  <a:lnTo>
                    <a:pt x="381" y="560"/>
                  </a:lnTo>
                  <a:lnTo>
                    <a:pt x="380" y="560"/>
                  </a:lnTo>
                  <a:lnTo>
                    <a:pt x="378" y="561"/>
                  </a:lnTo>
                  <a:lnTo>
                    <a:pt x="376" y="561"/>
                  </a:lnTo>
                  <a:lnTo>
                    <a:pt x="376" y="563"/>
                  </a:lnTo>
                  <a:lnTo>
                    <a:pt x="374" y="563"/>
                  </a:lnTo>
                  <a:lnTo>
                    <a:pt x="373" y="563"/>
                  </a:lnTo>
                  <a:lnTo>
                    <a:pt x="371" y="563"/>
                  </a:lnTo>
                  <a:lnTo>
                    <a:pt x="371" y="561"/>
                  </a:lnTo>
                  <a:lnTo>
                    <a:pt x="369" y="561"/>
                  </a:lnTo>
                  <a:lnTo>
                    <a:pt x="369" y="560"/>
                  </a:lnTo>
                  <a:lnTo>
                    <a:pt x="367" y="560"/>
                  </a:lnTo>
                  <a:lnTo>
                    <a:pt x="369" y="560"/>
                  </a:lnTo>
                  <a:lnTo>
                    <a:pt x="369" y="558"/>
                  </a:lnTo>
                  <a:lnTo>
                    <a:pt x="367" y="558"/>
                  </a:lnTo>
                  <a:lnTo>
                    <a:pt x="366" y="556"/>
                  </a:lnTo>
                  <a:lnTo>
                    <a:pt x="367" y="556"/>
                  </a:lnTo>
                  <a:lnTo>
                    <a:pt x="366" y="554"/>
                  </a:lnTo>
                  <a:lnTo>
                    <a:pt x="366" y="553"/>
                  </a:lnTo>
                  <a:lnTo>
                    <a:pt x="364" y="553"/>
                  </a:lnTo>
                  <a:lnTo>
                    <a:pt x="364" y="551"/>
                  </a:lnTo>
                  <a:lnTo>
                    <a:pt x="362" y="551"/>
                  </a:lnTo>
                  <a:lnTo>
                    <a:pt x="360" y="551"/>
                  </a:lnTo>
                  <a:lnTo>
                    <a:pt x="360" y="549"/>
                  </a:lnTo>
                  <a:lnTo>
                    <a:pt x="360" y="547"/>
                  </a:lnTo>
                  <a:lnTo>
                    <a:pt x="360" y="546"/>
                  </a:lnTo>
                  <a:lnTo>
                    <a:pt x="362" y="546"/>
                  </a:lnTo>
                  <a:lnTo>
                    <a:pt x="360" y="544"/>
                  </a:lnTo>
                  <a:lnTo>
                    <a:pt x="359" y="544"/>
                  </a:lnTo>
                  <a:lnTo>
                    <a:pt x="359" y="546"/>
                  </a:lnTo>
                  <a:lnTo>
                    <a:pt x="359" y="547"/>
                  </a:lnTo>
                  <a:lnTo>
                    <a:pt x="357" y="547"/>
                  </a:lnTo>
                  <a:lnTo>
                    <a:pt x="357" y="546"/>
                  </a:lnTo>
                  <a:lnTo>
                    <a:pt x="355" y="544"/>
                  </a:lnTo>
                  <a:lnTo>
                    <a:pt x="353" y="544"/>
                  </a:lnTo>
                  <a:lnTo>
                    <a:pt x="352" y="542"/>
                  </a:lnTo>
                  <a:lnTo>
                    <a:pt x="352" y="544"/>
                  </a:lnTo>
                  <a:lnTo>
                    <a:pt x="350" y="544"/>
                  </a:lnTo>
                  <a:lnTo>
                    <a:pt x="348" y="544"/>
                  </a:lnTo>
                  <a:lnTo>
                    <a:pt x="346" y="544"/>
                  </a:lnTo>
                  <a:lnTo>
                    <a:pt x="345" y="544"/>
                  </a:lnTo>
                  <a:lnTo>
                    <a:pt x="343" y="544"/>
                  </a:lnTo>
                  <a:lnTo>
                    <a:pt x="341" y="544"/>
                  </a:lnTo>
                  <a:lnTo>
                    <a:pt x="341" y="542"/>
                  </a:lnTo>
                  <a:lnTo>
                    <a:pt x="341" y="540"/>
                  </a:lnTo>
                  <a:lnTo>
                    <a:pt x="339" y="540"/>
                  </a:lnTo>
                  <a:lnTo>
                    <a:pt x="338" y="539"/>
                  </a:lnTo>
                  <a:lnTo>
                    <a:pt x="336" y="537"/>
                  </a:lnTo>
                  <a:lnTo>
                    <a:pt x="336" y="535"/>
                  </a:lnTo>
                  <a:lnTo>
                    <a:pt x="334" y="535"/>
                  </a:lnTo>
                  <a:lnTo>
                    <a:pt x="332" y="535"/>
                  </a:lnTo>
                  <a:lnTo>
                    <a:pt x="331" y="535"/>
                  </a:lnTo>
                  <a:lnTo>
                    <a:pt x="329" y="535"/>
                  </a:lnTo>
                  <a:lnTo>
                    <a:pt x="329" y="537"/>
                  </a:lnTo>
                  <a:lnTo>
                    <a:pt x="327" y="537"/>
                  </a:lnTo>
                  <a:lnTo>
                    <a:pt x="327" y="539"/>
                  </a:lnTo>
                  <a:lnTo>
                    <a:pt x="326" y="539"/>
                  </a:lnTo>
                  <a:lnTo>
                    <a:pt x="324" y="537"/>
                  </a:lnTo>
                  <a:lnTo>
                    <a:pt x="324" y="535"/>
                  </a:lnTo>
                  <a:lnTo>
                    <a:pt x="322" y="533"/>
                  </a:lnTo>
                  <a:lnTo>
                    <a:pt x="322" y="532"/>
                  </a:lnTo>
                  <a:lnTo>
                    <a:pt x="320" y="530"/>
                  </a:lnTo>
                  <a:lnTo>
                    <a:pt x="319" y="530"/>
                  </a:lnTo>
                  <a:lnTo>
                    <a:pt x="319" y="528"/>
                  </a:lnTo>
                  <a:lnTo>
                    <a:pt x="317" y="528"/>
                  </a:lnTo>
                  <a:lnTo>
                    <a:pt x="317" y="526"/>
                  </a:lnTo>
                  <a:lnTo>
                    <a:pt x="315" y="526"/>
                  </a:lnTo>
                  <a:lnTo>
                    <a:pt x="313" y="526"/>
                  </a:lnTo>
                  <a:lnTo>
                    <a:pt x="312" y="526"/>
                  </a:lnTo>
                  <a:lnTo>
                    <a:pt x="310" y="526"/>
                  </a:lnTo>
                  <a:lnTo>
                    <a:pt x="308" y="526"/>
                  </a:lnTo>
                  <a:lnTo>
                    <a:pt x="308" y="528"/>
                  </a:lnTo>
                  <a:lnTo>
                    <a:pt x="306" y="528"/>
                  </a:lnTo>
                  <a:lnTo>
                    <a:pt x="305" y="528"/>
                  </a:lnTo>
                  <a:lnTo>
                    <a:pt x="303" y="528"/>
                  </a:lnTo>
                  <a:lnTo>
                    <a:pt x="303" y="526"/>
                  </a:lnTo>
                  <a:lnTo>
                    <a:pt x="303" y="525"/>
                  </a:lnTo>
                  <a:lnTo>
                    <a:pt x="301" y="525"/>
                  </a:lnTo>
                  <a:lnTo>
                    <a:pt x="301" y="523"/>
                  </a:lnTo>
                  <a:lnTo>
                    <a:pt x="299" y="523"/>
                  </a:lnTo>
                  <a:lnTo>
                    <a:pt x="298" y="523"/>
                  </a:lnTo>
                  <a:lnTo>
                    <a:pt x="298" y="521"/>
                  </a:lnTo>
                  <a:lnTo>
                    <a:pt x="296" y="521"/>
                  </a:lnTo>
                  <a:lnTo>
                    <a:pt x="294" y="519"/>
                  </a:lnTo>
                  <a:lnTo>
                    <a:pt x="292" y="519"/>
                  </a:lnTo>
                  <a:lnTo>
                    <a:pt x="291" y="519"/>
                  </a:lnTo>
                  <a:lnTo>
                    <a:pt x="289" y="519"/>
                  </a:lnTo>
                  <a:lnTo>
                    <a:pt x="287" y="519"/>
                  </a:lnTo>
                  <a:lnTo>
                    <a:pt x="287" y="521"/>
                  </a:lnTo>
                  <a:lnTo>
                    <a:pt x="285" y="521"/>
                  </a:lnTo>
                  <a:lnTo>
                    <a:pt x="285" y="523"/>
                  </a:lnTo>
                  <a:lnTo>
                    <a:pt x="284" y="523"/>
                  </a:lnTo>
                  <a:lnTo>
                    <a:pt x="282" y="525"/>
                  </a:lnTo>
                  <a:lnTo>
                    <a:pt x="280" y="525"/>
                  </a:lnTo>
                  <a:lnTo>
                    <a:pt x="279" y="525"/>
                  </a:lnTo>
                  <a:lnTo>
                    <a:pt x="279" y="523"/>
                  </a:lnTo>
                  <a:lnTo>
                    <a:pt x="279" y="521"/>
                  </a:lnTo>
                  <a:lnTo>
                    <a:pt x="279" y="519"/>
                  </a:lnTo>
                  <a:lnTo>
                    <a:pt x="277" y="519"/>
                  </a:lnTo>
                  <a:lnTo>
                    <a:pt x="277" y="518"/>
                  </a:lnTo>
                  <a:lnTo>
                    <a:pt x="277" y="516"/>
                  </a:lnTo>
                  <a:lnTo>
                    <a:pt x="275" y="514"/>
                  </a:lnTo>
                  <a:lnTo>
                    <a:pt x="275" y="513"/>
                  </a:lnTo>
                  <a:lnTo>
                    <a:pt x="275" y="511"/>
                  </a:lnTo>
                  <a:lnTo>
                    <a:pt x="273" y="511"/>
                  </a:lnTo>
                  <a:lnTo>
                    <a:pt x="273" y="509"/>
                  </a:lnTo>
                  <a:lnTo>
                    <a:pt x="272" y="509"/>
                  </a:lnTo>
                  <a:lnTo>
                    <a:pt x="272" y="507"/>
                  </a:lnTo>
                  <a:lnTo>
                    <a:pt x="270" y="507"/>
                  </a:lnTo>
                  <a:lnTo>
                    <a:pt x="270" y="506"/>
                  </a:lnTo>
                  <a:lnTo>
                    <a:pt x="268" y="506"/>
                  </a:lnTo>
                  <a:lnTo>
                    <a:pt x="270" y="506"/>
                  </a:lnTo>
                  <a:lnTo>
                    <a:pt x="270" y="504"/>
                  </a:lnTo>
                  <a:lnTo>
                    <a:pt x="270" y="502"/>
                  </a:lnTo>
                  <a:lnTo>
                    <a:pt x="270" y="500"/>
                  </a:lnTo>
                  <a:lnTo>
                    <a:pt x="268" y="499"/>
                  </a:lnTo>
                  <a:lnTo>
                    <a:pt x="266" y="497"/>
                  </a:lnTo>
                  <a:lnTo>
                    <a:pt x="265" y="495"/>
                  </a:lnTo>
                  <a:lnTo>
                    <a:pt x="265" y="493"/>
                  </a:lnTo>
                  <a:lnTo>
                    <a:pt x="265" y="492"/>
                  </a:lnTo>
                  <a:lnTo>
                    <a:pt x="266" y="492"/>
                  </a:lnTo>
                  <a:lnTo>
                    <a:pt x="266" y="490"/>
                  </a:lnTo>
                  <a:lnTo>
                    <a:pt x="268" y="490"/>
                  </a:lnTo>
                  <a:lnTo>
                    <a:pt x="268" y="488"/>
                  </a:lnTo>
                  <a:lnTo>
                    <a:pt x="268" y="486"/>
                  </a:lnTo>
                  <a:lnTo>
                    <a:pt x="266" y="485"/>
                  </a:lnTo>
                  <a:lnTo>
                    <a:pt x="268" y="483"/>
                  </a:lnTo>
                  <a:lnTo>
                    <a:pt x="268" y="481"/>
                  </a:lnTo>
                  <a:lnTo>
                    <a:pt x="270" y="481"/>
                  </a:lnTo>
                  <a:lnTo>
                    <a:pt x="270" y="479"/>
                  </a:lnTo>
                  <a:lnTo>
                    <a:pt x="270" y="478"/>
                  </a:lnTo>
                  <a:lnTo>
                    <a:pt x="270" y="476"/>
                  </a:lnTo>
                  <a:lnTo>
                    <a:pt x="272" y="474"/>
                  </a:lnTo>
                  <a:lnTo>
                    <a:pt x="272" y="472"/>
                  </a:lnTo>
                  <a:lnTo>
                    <a:pt x="272" y="471"/>
                  </a:lnTo>
                  <a:lnTo>
                    <a:pt x="273" y="471"/>
                  </a:lnTo>
                  <a:lnTo>
                    <a:pt x="273" y="469"/>
                  </a:lnTo>
                  <a:lnTo>
                    <a:pt x="275" y="469"/>
                  </a:lnTo>
                  <a:lnTo>
                    <a:pt x="277" y="467"/>
                  </a:lnTo>
                  <a:lnTo>
                    <a:pt x="279" y="465"/>
                  </a:lnTo>
                  <a:lnTo>
                    <a:pt x="279" y="464"/>
                  </a:lnTo>
                  <a:lnTo>
                    <a:pt x="280" y="464"/>
                  </a:lnTo>
                  <a:lnTo>
                    <a:pt x="280" y="462"/>
                  </a:lnTo>
                  <a:lnTo>
                    <a:pt x="280" y="460"/>
                  </a:lnTo>
                  <a:lnTo>
                    <a:pt x="279" y="458"/>
                  </a:lnTo>
                  <a:lnTo>
                    <a:pt x="280" y="457"/>
                  </a:lnTo>
                  <a:lnTo>
                    <a:pt x="282" y="457"/>
                  </a:lnTo>
                  <a:lnTo>
                    <a:pt x="282" y="455"/>
                  </a:lnTo>
                  <a:lnTo>
                    <a:pt x="284" y="455"/>
                  </a:lnTo>
                  <a:lnTo>
                    <a:pt x="285" y="453"/>
                  </a:lnTo>
                  <a:lnTo>
                    <a:pt x="285" y="452"/>
                  </a:lnTo>
                  <a:lnTo>
                    <a:pt x="287" y="452"/>
                  </a:lnTo>
                  <a:lnTo>
                    <a:pt x="287" y="450"/>
                  </a:lnTo>
                  <a:lnTo>
                    <a:pt x="289" y="448"/>
                  </a:lnTo>
                  <a:lnTo>
                    <a:pt x="289" y="445"/>
                  </a:lnTo>
                  <a:lnTo>
                    <a:pt x="289" y="443"/>
                  </a:lnTo>
                  <a:lnTo>
                    <a:pt x="289" y="441"/>
                  </a:lnTo>
                  <a:lnTo>
                    <a:pt x="287" y="441"/>
                  </a:lnTo>
                  <a:lnTo>
                    <a:pt x="285" y="441"/>
                  </a:lnTo>
                  <a:lnTo>
                    <a:pt x="285" y="443"/>
                  </a:lnTo>
                  <a:lnTo>
                    <a:pt x="284" y="441"/>
                  </a:lnTo>
                  <a:lnTo>
                    <a:pt x="282" y="441"/>
                  </a:lnTo>
                  <a:lnTo>
                    <a:pt x="280" y="441"/>
                  </a:lnTo>
                  <a:lnTo>
                    <a:pt x="279" y="441"/>
                  </a:lnTo>
                  <a:lnTo>
                    <a:pt x="277" y="441"/>
                  </a:lnTo>
                  <a:lnTo>
                    <a:pt x="277" y="439"/>
                  </a:lnTo>
                  <a:lnTo>
                    <a:pt x="277" y="438"/>
                  </a:lnTo>
                  <a:lnTo>
                    <a:pt x="275" y="438"/>
                  </a:lnTo>
                  <a:lnTo>
                    <a:pt x="273" y="438"/>
                  </a:lnTo>
                  <a:lnTo>
                    <a:pt x="272" y="438"/>
                  </a:lnTo>
                  <a:lnTo>
                    <a:pt x="270" y="438"/>
                  </a:lnTo>
                  <a:lnTo>
                    <a:pt x="268" y="438"/>
                  </a:lnTo>
                  <a:lnTo>
                    <a:pt x="266" y="438"/>
                  </a:lnTo>
                  <a:lnTo>
                    <a:pt x="265" y="439"/>
                  </a:lnTo>
                  <a:lnTo>
                    <a:pt x="263" y="439"/>
                  </a:lnTo>
                  <a:lnTo>
                    <a:pt x="261" y="439"/>
                  </a:lnTo>
                  <a:lnTo>
                    <a:pt x="259" y="439"/>
                  </a:lnTo>
                  <a:lnTo>
                    <a:pt x="258" y="439"/>
                  </a:lnTo>
                  <a:lnTo>
                    <a:pt x="258" y="438"/>
                  </a:lnTo>
                  <a:lnTo>
                    <a:pt x="256" y="438"/>
                  </a:lnTo>
                  <a:lnTo>
                    <a:pt x="254" y="438"/>
                  </a:lnTo>
                  <a:lnTo>
                    <a:pt x="254" y="436"/>
                  </a:lnTo>
                  <a:lnTo>
                    <a:pt x="252" y="436"/>
                  </a:lnTo>
                  <a:lnTo>
                    <a:pt x="252" y="434"/>
                  </a:lnTo>
                  <a:lnTo>
                    <a:pt x="251" y="434"/>
                  </a:lnTo>
                  <a:lnTo>
                    <a:pt x="249" y="432"/>
                  </a:lnTo>
                  <a:lnTo>
                    <a:pt x="249" y="434"/>
                  </a:lnTo>
                  <a:lnTo>
                    <a:pt x="247" y="434"/>
                  </a:lnTo>
                  <a:lnTo>
                    <a:pt x="245" y="436"/>
                  </a:lnTo>
                  <a:lnTo>
                    <a:pt x="244" y="436"/>
                  </a:lnTo>
                  <a:lnTo>
                    <a:pt x="242" y="436"/>
                  </a:lnTo>
                  <a:lnTo>
                    <a:pt x="240" y="436"/>
                  </a:lnTo>
                  <a:lnTo>
                    <a:pt x="238" y="436"/>
                  </a:lnTo>
                  <a:lnTo>
                    <a:pt x="238" y="438"/>
                  </a:lnTo>
                  <a:lnTo>
                    <a:pt x="237" y="438"/>
                  </a:lnTo>
                  <a:lnTo>
                    <a:pt x="237" y="439"/>
                  </a:lnTo>
                  <a:lnTo>
                    <a:pt x="235" y="439"/>
                  </a:lnTo>
                  <a:lnTo>
                    <a:pt x="233" y="438"/>
                  </a:lnTo>
                  <a:lnTo>
                    <a:pt x="231" y="436"/>
                  </a:lnTo>
                  <a:lnTo>
                    <a:pt x="230" y="436"/>
                  </a:lnTo>
                  <a:lnTo>
                    <a:pt x="230" y="434"/>
                  </a:lnTo>
                  <a:lnTo>
                    <a:pt x="228" y="434"/>
                  </a:lnTo>
                  <a:lnTo>
                    <a:pt x="228" y="436"/>
                  </a:lnTo>
                  <a:lnTo>
                    <a:pt x="226" y="436"/>
                  </a:lnTo>
                  <a:lnTo>
                    <a:pt x="226" y="438"/>
                  </a:lnTo>
                  <a:lnTo>
                    <a:pt x="225" y="438"/>
                  </a:lnTo>
                  <a:lnTo>
                    <a:pt x="223" y="438"/>
                  </a:lnTo>
                  <a:lnTo>
                    <a:pt x="221" y="438"/>
                  </a:lnTo>
                  <a:lnTo>
                    <a:pt x="221" y="436"/>
                  </a:lnTo>
                  <a:lnTo>
                    <a:pt x="219" y="436"/>
                  </a:lnTo>
                  <a:lnTo>
                    <a:pt x="219" y="434"/>
                  </a:lnTo>
                  <a:lnTo>
                    <a:pt x="219" y="436"/>
                  </a:lnTo>
                  <a:lnTo>
                    <a:pt x="218" y="436"/>
                  </a:lnTo>
                  <a:lnTo>
                    <a:pt x="216" y="436"/>
                  </a:lnTo>
                  <a:lnTo>
                    <a:pt x="216" y="438"/>
                  </a:lnTo>
                  <a:lnTo>
                    <a:pt x="214" y="438"/>
                  </a:lnTo>
                  <a:lnTo>
                    <a:pt x="211" y="438"/>
                  </a:lnTo>
                  <a:lnTo>
                    <a:pt x="209" y="438"/>
                  </a:lnTo>
                  <a:lnTo>
                    <a:pt x="207" y="438"/>
                  </a:lnTo>
                  <a:lnTo>
                    <a:pt x="207" y="436"/>
                  </a:lnTo>
                  <a:lnTo>
                    <a:pt x="207" y="434"/>
                  </a:lnTo>
                  <a:lnTo>
                    <a:pt x="207" y="432"/>
                  </a:lnTo>
                  <a:lnTo>
                    <a:pt x="207" y="431"/>
                  </a:lnTo>
                  <a:lnTo>
                    <a:pt x="205" y="431"/>
                  </a:lnTo>
                  <a:lnTo>
                    <a:pt x="205" y="429"/>
                  </a:lnTo>
                  <a:lnTo>
                    <a:pt x="205" y="427"/>
                  </a:lnTo>
                  <a:lnTo>
                    <a:pt x="205" y="425"/>
                  </a:lnTo>
                  <a:lnTo>
                    <a:pt x="204" y="425"/>
                  </a:lnTo>
                  <a:lnTo>
                    <a:pt x="202" y="424"/>
                  </a:lnTo>
                  <a:lnTo>
                    <a:pt x="200" y="424"/>
                  </a:lnTo>
                  <a:lnTo>
                    <a:pt x="200" y="422"/>
                  </a:lnTo>
                  <a:lnTo>
                    <a:pt x="198" y="422"/>
                  </a:lnTo>
                  <a:lnTo>
                    <a:pt x="197" y="422"/>
                  </a:lnTo>
                  <a:lnTo>
                    <a:pt x="195" y="422"/>
                  </a:lnTo>
                  <a:lnTo>
                    <a:pt x="195" y="420"/>
                  </a:lnTo>
                  <a:lnTo>
                    <a:pt x="193" y="420"/>
                  </a:lnTo>
                  <a:lnTo>
                    <a:pt x="191" y="420"/>
                  </a:lnTo>
                  <a:lnTo>
                    <a:pt x="191" y="418"/>
                  </a:lnTo>
                  <a:lnTo>
                    <a:pt x="191" y="417"/>
                  </a:lnTo>
                  <a:lnTo>
                    <a:pt x="190" y="417"/>
                  </a:lnTo>
                  <a:lnTo>
                    <a:pt x="190" y="415"/>
                  </a:lnTo>
                  <a:lnTo>
                    <a:pt x="190" y="413"/>
                  </a:lnTo>
                  <a:lnTo>
                    <a:pt x="190" y="411"/>
                  </a:lnTo>
                  <a:lnTo>
                    <a:pt x="188" y="411"/>
                  </a:lnTo>
                  <a:lnTo>
                    <a:pt x="188" y="410"/>
                  </a:lnTo>
                  <a:lnTo>
                    <a:pt x="188" y="408"/>
                  </a:lnTo>
                  <a:lnTo>
                    <a:pt x="186" y="408"/>
                  </a:lnTo>
                  <a:lnTo>
                    <a:pt x="186" y="406"/>
                  </a:lnTo>
                  <a:lnTo>
                    <a:pt x="184" y="404"/>
                  </a:lnTo>
                  <a:lnTo>
                    <a:pt x="184" y="403"/>
                  </a:lnTo>
                  <a:lnTo>
                    <a:pt x="184" y="401"/>
                  </a:lnTo>
                  <a:lnTo>
                    <a:pt x="183" y="401"/>
                  </a:lnTo>
                  <a:lnTo>
                    <a:pt x="183" y="403"/>
                  </a:lnTo>
                  <a:lnTo>
                    <a:pt x="181" y="403"/>
                  </a:lnTo>
                  <a:lnTo>
                    <a:pt x="179" y="403"/>
                  </a:lnTo>
                  <a:lnTo>
                    <a:pt x="177" y="403"/>
                  </a:lnTo>
                  <a:lnTo>
                    <a:pt x="177" y="401"/>
                  </a:lnTo>
                  <a:lnTo>
                    <a:pt x="176" y="401"/>
                  </a:lnTo>
                  <a:lnTo>
                    <a:pt x="176" y="399"/>
                  </a:lnTo>
                  <a:lnTo>
                    <a:pt x="174" y="399"/>
                  </a:lnTo>
                  <a:lnTo>
                    <a:pt x="172" y="399"/>
                  </a:lnTo>
                  <a:lnTo>
                    <a:pt x="172" y="401"/>
                  </a:lnTo>
                  <a:lnTo>
                    <a:pt x="171" y="399"/>
                  </a:lnTo>
                  <a:lnTo>
                    <a:pt x="171" y="401"/>
                  </a:lnTo>
                  <a:lnTo>
                    <a:pt x="169" y="401"/>
                  </a:lnTo>
                  <a:lnTo>
                    <a:pt x="167" y="401"/>
                  </a:lnTo>
                  <a:lnTo>
                    <a:pt x="165" y="401"/>
                  </a:lnTo>
                  <a:lnTo>
                    <a:pt x="165" y="403"/>
                  </a:lnTo>
                  <a:lnTo>
                    <a:pt x="164" y="403"/>
                  </a:lnTo>
                  <a:lnTo>
                    <a:pt x="164" y="401"/>
                  </a:lnTo>
                  <a:lnTo>
                    <a:pt x="162" y="401"/>
                  </a:lnTo>
                  <a:lnTo>
                    <a:pt x="162" y="399"/>
                  </a:lnTo>
                  <a:lnTo>
                    <a:pt x="160" y="399"/>
                  </a:lnTo>
                  <a:lnTo>
                    <a:pt x="158" y="399"/>
                  </a:lnTo>
                  <a:lnTo>
                    <a:pt x="157" y="399"/>
                  </a:lnTo>
                  <a:lnTo>
                    <a:pt x="155" y="399"/>
                  </a:lnTo>
                  <a:lnTo>
                    <a:pt x="155" y="397"/>
                  </a:lnTo>
                  <a:lnTo>
                    <a:pt x="153" y="397"/>
                  </a:lnTo>
                  <a:lnTo>
                    <a:pt x="153" y="396"/>
                  </a:lnTo>
                  <a:lnTo>
                    <a:pt x="151" y="396"/>
                  </a:lnTo>
                  <a:lnTo>
                    <a:pt x="151" y="394"/>
                  </a:lnTo>
                  <a:lnTo>
                    <a:pt x="151" y="392"/>
                  </a:lnTo>
                  <a:lnTo>
                    <a:pt x="148" y="389"/>
                  </a:lnTo>
                  <a:lnTo>
                    <a:pt x="146" y="387"/>
                  </a:lnTo>
                  <a:lnTo>
                    <a:pt x="144" y="385"/>
                  </a:lnTo>
                  <a:lnTo>
                    <a:pt x="141" y="384"/>
                  </a:lnTo>
                  <a:lnTo>
                    <a:pt x="137" y="382"/>
                  </a:lnTo>
                  <a:lnTo>
                    <a:pt x="137" y="380"/>
                  </a:lnTo>
                  <a:lnTo>
                    <a:pt x="137" y="378"/>
                  </a:lnTo>
                  <a:lnTo>
                    <a:pt x="137" y="375"/>
                  </a:lnTo>
                  <a:lnTo>
                    <a:pt x="139" y="375"/>
                  </a:lnTo>
                  <a:lnTo>
                    <a:pt x="144" y="375"/>
                  </a:lnTo>
                  <a:lnTo>
                    <a:pt x="146" y="375"/>
                  </a:lnTo>
                  <a:lnTo>
                    <a:pt x="148" y="373"/>
                  </a:lnTo>
                  <a:lnTo>
                    <a:pt x="150" y="370"/>
                  </a:lnTo>
                  <a:lnTo>
                    <a:pt x="151" y="368"/>
                  </a:lnTo>
                  <a:lnTo>
                    <a:pt x="155" y="366"/>
                  </a:lnTo>
                  <a:lnTo>
                    <a:pt x="155" y="364"/>
                  </a:lnTo>
                  <a:lnTo>
                    <a:pt x="155" y="363"/>
                  </a:lnTo>
                  <a:lnTo>
                    <a:pt x="153" y="361"/>
                  </a:lnTo>
                  <a:lnTo>
                    <a:pt x="153" y="359"/>
                  </a:lnTo>
                  <a:lnTo>
                    <a:pt x="155" y="357"/>
                  </a:lnTo>
                  <a:lnTo>
                    <a:pt x="153" y="357"/>
                  </a:lnTo>
                  <a:lnTo>
                    <a:pt x="153" y="356"/>
                  </a:lnTo>
                  <a:lnTo>
                    <a:pt x="153" y="354"/>
                  </a:lnTo>
                  <a:lnTo>
                    <a:pt x="153" y="352"/>
                  </a:lnTo>
                  <a:lnTo>
                    <a:pt x="151" y="352"/>
                  </a:lnTo>
                  <a:lnTo>
                    <a:pt x="151" y="350"/>
                  </a:lnTo>
                  <a:lnTo>
                    <a:pt x="150" y="349"/>
                  </a:lnTo>
                  <a:lnTo>
                    <a:pt x="150" y="347"/>
                  </a:lnTo>
                  <a:lnTo>
                    <a:pt x="148" y="347"/>
                  </a:lnTo>
                  <a:lnTo>
                    <a:pt x="148" y="349"/>
                  </a:lnTo>
                  <a:lnTo>
                    <a:pt x="146" y="349"/>
                  </a:lnTo>
                  <a:lnTo>
                    <a:pt x="146" y="350"/>
                  </a:lnTo>
                  <a:lnTo>
                    <a:pt x="144" y="352"/>
                  </a:lnTo>
                  <a:lnTo>
                    <a:pt x="143" y="352"/>
                  </a:lnTo>
                  <a:lnTo>
                    <a:pt x="141" y="352"/>
                  </a:lnTo>
                  <a:lnTo>
                    <a:pt x="139" y="350"/>
                  </a:lnTo>
                  <a:lnTo>
                    <a:pt x="137" y="350"/>
                  </a:lnTo>
                  <a:lnTo>
                    <a:pt x="137" y="349"/>
                  </a:lnTo>
                  <a:lnTo>
                    <a:pt x="136" y="349"/>
                  </a:lnTo>
                  <a:lnTo>
                    <a:pt x="134" y="347"/>
                  </a:lnTo>
                  <a:lnTo>
                    <a:pt x="132" y="345"/>
                  </a:lnTo>
                  <a:lnTo>
                    <a:pt x="130" y="343"/>
                  </a:lnTo>
                  <a:lnTo>
                    <a:pt x="130" y="342"/>
                  </a:lnTo>
                  <a:lnTo>
                    <a:pt x="129" y="342"/>
                  </a:lnTo>
                  <a:lnTo>
                    <a:pt x="129" y="343"/>
                  </a:lnTo>
                  <a:lnTo>
                    <a:pt x="129" y="345"/>
                  </a:lnTo>
                  <a:lnTo>
                    <a:pt x="127" y="345"/>
                  </a:lnTo>
                  <a:lnTo>
                    <a:pt x="127" y="347"/>
                  </a:lnTo>
                  <a:lnTo>
                    <a:pt x="125" y="347"/>
                  </a:lnTo>
                  <a:lnTo>
                    <a:pt x="124" y="347"/>
                  </a:lnTo>
                  <a:lnTo>
                    <a:pt x="122" y="347"/>
                  </a:lnTo>
                  <a:lnTo>
                    <a:pt x="122" y="349"/>
                  </a:lnTo>
                  <a:lnTo>
                    <a:pt x="120" y="350"/>
                  </a:lnTo>
                  <a:lnTo>
                    <a:pt x="118" y="350"/>
                  </a:lnTo>
                  <a:lnTo>
                    <a:pt x="117" y="352"/>
                  </a:lnTo>
                  <a:lnTo>
                    <a:pt x="115" y="352"/>
                  </a:lnTo>
                  <a:lnTo>
                    <a:pt x="113" y="352"/>
                  </a:lnTo>
                  <a:lnTo>
                    <a:pt x="113" y="350"/>
                  </a:lnTo>
                  <a:lnTo>
                    <a:pt x="113" y="349"/>
                  </a:lnTo>
                  <a:lnTo>
                    <a:pt x="111" y="349"/>
                  </a:lnTo>
                  <a:lnTo>
                    <a:pt x="111" y="347"/>
                  </a:lnTo>
                  <a:lnTo>
                    <a:pt x="110" y="347"/>
                  </a:lnTo>
                  <a:lnTo>
                    <a:pt x="108" y="347"/>
                  </a:lnTo>
                  <a:lnTo>
                    <a:pt x="106" y="345"/>
                  </a:lnTo>
                  <a:lnTo>
                    <a:pt x="106" y="347"/>
                  </a:lnTo>
                  <a:lnTo>
                    <a:pt x="104" y="347"/>
                  </a:lnTo>
                  <a:lnTo>
                    <a:pt x="104" y="345"/>
                  </a:lnTo>
                  <a:lnTo>
                    <a:pt x="104" y="347"/>
                  </a:lnTo>
                  <a:lnTo>
                    <a:pt x="103" y="347"/>
                  </a:lnTo>
                  <a:lnTo>
                    <a:pt x="103" y="349"/>
                  </a:lnTo>
                  <a:lnTo>
                    <a:pt x="104" y="349"/>
                  </a:lnTo>
                  <a:lnTo>
                    <a:pt x="104" y="350"/>
                  </a:lnTo>
                  <a:lnTo>
                    <a:pt x="106" y="350"/>
                  </a:lnTo>
                  <a:lnTo>
                    <a:pt x="108" y="352"/>
                  </a:lnTo>
                  <a:lnTo>
                    <a:pt x="108" y="354"/>
                  </a:lnTo>
                  <a:lnTo>
                    <a:pt x="106" y="354"/>
                  </a:lnTo>
                  <a:lnTo>
                    <a:pt x="104" y="354"/>
                  </a:lnTo>
                  <a:lnTo>
                    <a:pt x="103" y="354"/>
                  </a:lnTo>
                  <a:lnTo>
                    <a:pt x="103" y="352"/>
                  </a:lnTo>
                  <a:lnTo>
                    <a:pt x="101" y="354"/>
                  </a:lnTo>
                  <a:lnTo>
                    <a:pt x="99" y="354"/>
                  </a:lnTo>
                  <a:lnTo>
                    <a:pt x="97" y="354"/>
                  </a:lnTo>
                  <a:lnTo>
                    <a:pt x="96" y="354"/>
                  </a:lnTo>
                  <a:lnTo>
                    <a:pt x="96" y="356"/>
                  </a:lnTo>
                  <a:lnTo>
                    <a:pt x="94" y="356"/>
                  </a:lnTo>
                  <a:lnTo>
                    <a:pt x="92" y="356"/>
                  </a:lnTo>
                  <a:lnTo>
                    <a:pt x="92" y="357"/>
                  </a:lnTo>
                  <a:lnTo>
                    <a:pt x="90" y="357"/>
                  </a:lnTo>
                  <a:lnTo>
                    <a:pt x="90" y="359"/>
                  </a:lnTo>
                  <a:lnTo>
                    <a:pt x="89" y="359"/>
                  </a:lnTo>
                  <a:lnTo>
                    <a:pt x="87" y="359"/>
                  </a:lnTo>
                  <a:lnTo>
                    <a:pt x="85" y="359"/>
                  </a:lnTo>
                  <a:lnTo>
                    <a:pt x="85" y="357"/>
                  </a:lnTo>
                  <a:lnTo>
                    <a:pt x="85" y="356"/>
                  </a:lnTo>
                  <a:lnTo>
                    <a:pt x="85" y="354"/>
                  </a:lnTo>
                  <a:lnTo>
                    <a:pt x="85" y="352"/>
                  </a:lnTo>
                  <a:lnTo>
                    <a:pt x="83" y="350"/>
                  </a:lnTo>
                  <a:lnTo>
                    <a:pt x="83" y="349"/>
                  </a:lnTo>
                  <a:lnTo>
                    <a:pt x="83" y="347"/>
                  </a:lnTo>
                  <a:lnTo>
                    <a:pt x="82" y="347"/>
                  </a:lnTo>
                  <a:lnTo>
                    <a:pt x="80" y="347"/>
                  </a:lnTo>
                  <a:lnTo>
                    <a:pt x="78" y="347"/>
                  </a:lnTo>
                  <a:lnTo>
                    <a:pt x="78" y="345"/>
                  </a:lnTo>
                  <a:lnTo>
                    <a:pt x="76" y="345"/>
                  </a:lnTo>
                  <a:lnTo>
                    <a:pt x="76" y="343"/>
                  </a:lnTo>
                  <a:lnTo>
                    <a:pt x="75" y="343"/>
                  </a:lnTo>
                  <a:lnTo>
                    <a:pt x="75" y="342"/>
                  </a:lnTo>
                  <a:lnTo>
                    <a:pt x="73" y="342"/>
                  </a:lnTo>
                  <a:lnTo>
                    <a:pt x="71" y="340"/>
                  </a:lnTo>
                  <a:lnTo>
                    <a:pt x="70" y="340"/>
                  </a:lnTo>
                  <a:lnTo>
                    <a:pt x="70" y="342"/>
                  </a:lnTo>
                  <a:lnTo>
                    <a:pt x="70" y="343"/>
                  </a:lnTo>
                  <a:lnTo>
                    <a:pt x="70" y="345"/>
                  </a:lnTo>
                  <a:lnTo>
                    <a:pt x="70" y="347"/>
                  </a:lnTo>
                  <a:lnTo>
                    <a:pt x="68" y="347"/>
                  </a:lnTo>
                  <a:lnTo>
                    <a:pt x="70" y="347"/>
                  </a:lnTo>
                  <a:lnTo>
                    <a:pt x="70" y="349"/>
                  </a:lnTo>
                  <a:lnTo>
                    <a:pt x="68" y="349"/>
                  </a:lnTo>
                  <a:lnTo>
                    <a:pt x="68" y="350"/>
                  </a:lnTo>
                  <a:lnTo>
                    <a:pt x="68" y="352"/>
                  </a:lnTo>
                  <a:lnTo>
                    <a:pt x="66" y="352"/>
                  </a:lnTo>
                  <a:lnTo>
                    <a:pt x="66" y="354"/>
                  </a:lnTo>
                  <a:lnTo>
                    <a:pt x="66" y="356"/>
                  </a:lnTo>
                  <a:lnTo>
                    <a:pt x="64" y="356"/>
                  </a:lnTo>
                  <a:lnTo>
                    <a:pt x="63" y="356"/>
                  </a:lnTo>
                  <a:lnTo>
                    <a:pt x="61" y="356"/>
                  </a:lnTo>
                  <a:lnTo>
                    <a:pt x="59" y="356"/>
                  </a:lnTo>
                  <a:lnTo>
                    <a:pt x="57" y="356"/>
                  </a:lnTo>
                  <a:lnTo>
                    <a:pt x="57" y="357"/>
                  </a:lnTo>
                  <a:lnTo>
                    <a:pt x="56" y="357"/>
                  </a:lnTo>
                  <a:lnTo>
                    <a:pt x="56" y="359"/>
                  </a:lnTo>
                  <a:lnTo>
                    <a:pt x="54" y="359"/>
                  </a:lnTo>
                  <a:lnTo>
                    <a:pt x="52" y="359"/>
                  </a:lnTo>
                  <a:lnTo>
                    <a:pt x="50" y="359"/>
                  </a:lnTo>
                  <a:lnTo>
                    <a:pt x="50" y="357"/>
                  </a:lnTo>
                  <a:lnTo>
                    <a:pt x="50" y="356"/>
                  </a:lnTo>
                  <a:lnTo>
                    <a:pt x="49" y="356"/>
                  </a:lnTo>
                  <a:lnTo>
                    <a:pt x="50" y="354"/>
                  </a:lnTo>
                  <a:lnTo>
                    <a:pt x="50" y="352"/>
                  </a:lnTo>
                  <a:lnTo>
                    <a:pt x="49" y="352"/>
                  </a:lnTo>
                  <a:lnTo>
                    <a:pt x="47" y="352"/>
                  </a:lnTo>
                  <a:lnTo>
                    <a:pt x="47" y="350"/>
                  </a:lnTo>
                  <a:lnTo>
                    <a:pt x="49" y="350"/>
                  </a:lnTo>
                  <a:lnTo>
                    <a:pt x="49" y="349"/>
                  </a:lnTo>
                  <a:lnTo>
                    <a:pt x="47" y="349"/>
                  </a:lnTo>
                  <a:lnTo>
                    <a:pt x="45" y="349"/>
                  </a:lnTo>
                  <a:lnTo>
                    <a:pt x="45" y="347"/>
                  </a:lnTo>
                  <a:lnTo>
                    <a:pt x="43" y="349"/>
                  </a:lnTo>
                  <a:lnTo>
                    <a:pt x="43" y="347"/>
                  </a:lnTo>
                  <a:lnTo>
                    <a:pt x="42" y="347"/>
                  </a:lnTo>
                  <a:lnTo>
                    <a:pt x="40" y="349"/>
                  </a:lnTo>
                  <a:lnTo>
                    <a:pt x="38" y="349"/>
                  </a:lnTo>
                  <a:lnTo>
                    <a:pt x="38" y="350"/>
                  </a:lnTo>
                  <a:lnTo>
                    <a:pt x="38" y="352"/>
                  </a:lnTo>
                  <a:lnTo>
                    <a:pt x="36" y="352"/>
                  </a:lnTo>
                  <a:lnTo>
                    <a:pt x="35" y="352"/>
                  </a:lnTo>
                  <a:lnTo>
                    <a:pt x="33" y="352"/>
                  </a:lnTo>
                  <a:lnTo>
                    <a:pt x="31" y="350"/>
                  </a:lnTo>
                  <a:lnTo>
                    <a:pt x="29" y="350"/>
                  </a:lnTo>
                  <a:lnTo>
                    <a:pt x="28" y="350"/>
                  </a:lnTo>
                  <a:lnTo>
                    <a:pt x="26" y="350"/>
                  </a:lnTo>
                  <a:lnTo>
                    <a:pt x="26" y="349"/>
                  </a:lnTo>
                  <a:lnTo>
                    <a:pt x="24" y="347"/>
                  </a:lnTo>
                  <a:lnTo>
                    <a:pt x="22" y="347"/>
                  </a:lnTo>
                  <a:lnTo>
                    <a:pt x="21" y="345"/>
                  </a:lnTo>
                  <a:lnTo>
                    <a:pt x="17" y="347"/>
                  </a:lnTo>
                  <a:lnTo>
                    <a:pt x="16" y="347"/>
                  </a:lnTo>
                  <a:lnTo>
                    <a:pt x="16" y="345"/>
                  </a:lnTo>
                  <a:lnTo>
                    <a:pt x="14" y="345"/>
                  </a:lnTo>
                  <a:lnTo>
                    <a:pt x="14" y="343"/>
                  </a:lnTo>
                  <a:lnTo>
                    <a:pt x="12" y="342"/>
                  </a:lnTo>
                  <a:lnTo>
                    <a:pt x="10" y="342"/>
                  </a:lnTo>
                  <a:lnTo>
                    <a:pt x="9" y="342"/>
                  </a:lnTo>
                  <a:lnTo>
                    <a:pt x="7" y="342"/>
                  </a:lnTo>
                  <a:lnTo>
                    <a:pt x="5" y="342"/>
                  </a:lnTo>
                  <a:lnTo>
                    <a:pt x="3" y="340"/>
                  </a:lnTo>
                  <a:lnTo>
                    <a:pt x="3" y="338"/>
                  </a:lnTo>
                  <a:lnTo>
                    <a:pt x="2" y="338"/>
                  </a:lnTo>
                  <a:lnTo>
                    <a:pt x="2" y="336"/>
                  </a:lnTo>
                  <a:lnTo>
                    <a:pt x="0" y="336"/>
                  </a:lnTo>
                  <a:lnTo>
                    <a:pt x="0" y="335"/>
                  </a:lnTo>
                  <a:lnTo>
                    <a:pt x="0" y="333"/>
                  </a:lnTo>
                  <a:lnTo>
                    <a:pt x="0" y="331"/>
                  </a:lnTo>
                  <a:lnTo>
                    <a:pt x="0" y="330"/>
                  </a:lnTo>
                  <a:lnTo>
                    <a:pt x="2" y="328"/>
                  </a:lnTo>
                  <a:lnTo>
                    <a:pt x="2" y="326"/>
                  </a:lnTo>
                  <a:lnTo>
                    <a:pt x="3" y="324"/>
                  </a:lnTo>
                  <a:lnTo>
                    <a:pt x="3" y="323"/>
                  </a:lnTo>
                  <a:lnTo>
                    <a:pt x="5" y="323"/>
                  </a:lnTo>
                  <a:lnTo>
                    <a:pt x="5" y="321"/>
                  </a:lnTo>
                  <a:lnTo>
                    <a:pt x="7" y="319"/>
                  </a:lnTo>
                  <a:lnTo>
                    <a:pt x="7" y="317"/>
                  </a:lnTo>
                  <a:lnTo>
                    <a:pt x="9" y="317"/>
                  </a:lnTo>
                  <a:lnTo>
                    <a:pt x="9" y="316"/>
                  </a:lnTo>
                  <a:lnTo>
                    <a:pt x="7" y="316"/>
                  </a:lnTo>
                  <a:lnTo>
                    <a:pt x="7" y="314"/>
                  </a:lnTo>
                  <a:lnTo>
                    <a:pt x="9" y="314"/>
                  </a:lnTo>
                  <a:lnTo>
                    <a:pt x="10" y="312"/>
                  </a:lnTo>
                  <a:lnTo>
                    <a:pt x="12" y="312"/>
                  </a:lnTo>
                  <a:lnTo>
                    <a:pt x="12" y="310"/>
                  </a:lnTo>
                  <a:lnTo>
                    <a:pt x="12" y="309"/>
                  </a:lnTo>
                  <a:lnTo>
                    <a:pt x="12" y="307"/>
                  </a:lnTo>
                  <a:lnTo>
                    <a:pt x="14" y="307"/>
                  </a:lnTo>
                  <a:lnTo>
                    <a:pt x="14" y="305"/>
                  </a:lnTo>
                  <a:lnTo>
                    <a:pt x="14" y="303"/>
                  </a:lnTo>
                  <a:lnTo>
                    <a:pt x="12" y="302"/>
                  </a:lnTo>
                  <a:lnTo>
                    <a:pt x="10" y="300"/>
                  </a:lnTo>
                  <a:lnTo>
                    <a:pt x="9" y="300"/>
                  </a:lnTo>
                  <a:lnTo>
                    <a:pt x="9" y="298"/>
                  </a:lnTo>
                  <a:lnTo>
                    <a:pt x="9" y="296"/>
                  </a:lnTo>
                  <a:lnTo>
                    <a:pt x="7" y="296"/>
                  </a:lnTo>
                  <a:lnTo>
                    <a:pt x="7" y="295"/>
                  </a:lnTo>
                  <a:lnTo>
                    <a:pt x="7" y="293"/>
                  </a:lnTo>
                  <a:lnTo>
                    <a:pt x="7" y="291"/>
                  </a:lnTo>
                  <a:lnTo>
                    <a:pt x="5" y="291"/>
                  </a:lnTo>
                  <a:lnTo>
                    <a:pt x="5" y="289"/>
                  </a:lnTo>
                  <a:lnTo>
                    <a:pt x="3" y="288"/>
                  </a:lnTo>
                  <a:lnTo>
                    <a:pt x="3" y="286"/>
                  </a:lnTo>
                  <a:lnTo>
                    <a:pt x="2" y="284"/>
                  </a:lnTo>
                  <a:lnTo>
                    <a:pt x="2" y="282"/>
                  </a:lnTo>
                  <a:lnTo>
                    <a:pt x="2" y="281"/>
                  </a:lnTo>
                  <a:lnTo>
                    <a:pt x="2" y="279"/>
                  </a:lnTo>
                  <a:lnTo>
                    <a:pt x="3" y="279"/>
                  </a:lnTo>
                  <a:lnTo>
                    <a:pt x="3" y="277"/>
                  </a:lnTo>
                  <a:lnTo>
                    <a:pt x="3" y="276"/>
                  </a:lnTo>
                  <a:lnTo>
                    <a:pt x="5" y="276"/>
                  </a:lnTo>
                  <a:lnTo>
                    <a:pt x="5" y="274"/>
                  </a:lnTo>
                  <a:lnTo>
                    <a:pt x="5" y="272"/>
                  </a:lnTo>
                  <a:lnTo>
                    <a:pt x="7" y="272"/>
                  </a:lnTo>
                  <a:lnTo>
                    <a:pt x="9" y="270"/>
                  </a:lnTo>
                  <a:lnTo>
                    <a:pt x="10" y="270"/>
                  </a:lnTo>
                  <a:lnTo>
                    <a:pt x="10" y="269"/>
                  </a:lnTo>
                  <a:lnTo>
                    <a:pt x="10" y="267"/>
                  </a:lnTo>
                  <a:lnTo>
                    <a:pt x="10" y="265"/>
                  </a:lnTo>
                  <a:lnTo>
                    <a:pt x="9" y="265"/>
                  </a:lnTo>
                  <a:lnTo>
                    <a:pt x="9" y="263"/>
                  </a:lnTo>
                  <a:lnTo>
                    <a:pt x="9" y="262"/>
                  </a:lnTo>
                  <a:lnTo>
                    <a:pt x="9" y="260"/>
                  </a:lnTo>
                  <a:lnTo>
                    <a:pt x="7" y="258"/>
                  </a:lnTo>
                  <a:lnTo>
                    <a:pt x="7" y="256"/>
                  </a:lnTo>
                  <a:lnTo>
                    <a:pt x="7" y="255"/>
                  </a:lnTo>
                  <a:lnTo>
                    <a:pt x="9" y="255"/>
                  </a:lnTo>
                  <a:lnTo>
                    <a:pt x="9" y="253"/>
                  </a:lnTo>
                  <a:lnTo>
                    <a:pt x="9" y="251"/>
                  </a:lnTo>
                  <a:lnTo>
                    <a:pt x="9" y="249"/>
                  </a:lnTo>
                  <a:lnTo>
                    <a:pt x="10" y="249"/>
                  </a:lnTo>
                  <a:lnTo>
                    <a:pt x="10" y="248"/>
                  </a:lnTo>
                  <a:lnTo>
                    <a:pt x="12" y="248"/>
                  </a:lnTo>
                  <a:lnTo>
                    <a:pt x="12" y="246"/>
                  </a:lnTo>
                  <a:lnTo>
                    <a:pt x="14" y="246"/>
                  </a:lnTo>
                  <a:lnTo>
                    <a:pt x="14" y="244"/>
                  </a:lnTo>
                  <a:lnTo>
                    <a:pt x="14" y="242"/>
                  </a:lnTo>
                  <a:lnTo>
                    <a:pt x="14" y="241"/>
                  </a:lnTo>
                  <a:lnTo>
                    <a:pt x="14" y="239"/>
                  </a:lnTo>
                  <a:lnTo>
                    <a:pt x="14" y="237"/>
                  </a:lnTo>
                  <a:lnTo>
                    <a:pt x="16" y="237"/>
                  </a:lnTo>
                  <a:lnTo>
                    <a:pt x="16" y="235"/>
                  </a:lnTo>
                  <a:lnTo>
                    <a:pt x="17" y="235"/>
                  </a:lnTo>
                  <a:lnTo>
                    <a:pt x="17" y="234"/>
                  </a:lnTo>
                  <a:lnTo>
                    <a:pt x="19" y="234"/>
                  </a:lnTo>
                  <a:lnTo>
                    <a:pt x="21" y="234"/>
                  </a:lnTo>
                  <a:lnTo>
                    <a:pt x="22" y="232"/>
                  </a:lnTo>
                  <a:lnTo>
                    <a:pt x="24" y="232"/>
                  </a:lnTo>
                  <a:lnTo>
                    <a:pt x="26" y="232"/>
                  </a:lnTo>
                  <a:lnTo>
                    <a:pt x="26" y="234"/>
                  </a:lnTo>
                  <a:lnTo>
                    <a:pt x="28" y="234"/>
                  </a:lnTo>
                  <a:lnTo>
                    <a:pt x="29" y="235"/>
                  </a:lnTo>
                  <a:lnTo>
                    <a:pt x="31" y="235"/>
                  </a:lnTo>
                  <a:lnTo>
                    <a:pt x="33" y="235"/>
                  </a:lnTo>
                  <a:lnTo>
                    <a:pt x="35" y="237"/>
                  </a:lnTo>
                  <a:lnTo>
                    <a:pt x="36" y="239"/>
                  </a:lnTo>
                  <a:lnTo>
                    <a:pt x="38" y="239"/>
                  </a:lnTo>
                  <a:lnTo>
                    <a:pt x="40" y="237"/>
                  </a:lnTo>
                  <a:lnTo>
                    <a:pt x="38" y="237"/>
                  </a:lnTo>
                  <a:lnTo>
                    <a:pt x="38" y="235"/>
                  </a:lnTo>
                  <a:lnTo>
                    <a:pt x="36" y="234"/>
                  </a:lnTo>
                  <a:lnTo>
                    <a:pt x="38" y="234"/>
                  </a:lnTo>
                  <a:lnTo>
                    <a:pt x="38" y="232"/>
                  </a:lnTo>
                  <a:lnTo>
                    <a:pt x="40" y="232"/>
                  </a:lnTo>
                  <a:lnTo>
                    <a:pt x="40" y="230"/>
                  </a:lnTo>
                  <a:lnTo>
                    <a:pt x="42" y="230"/>
                  </a:lnTo>
                  <a:lnTo>
                    <a:pt x="43" y="230"/>
                  </a:lnTo>
                  <a:lnTo>
                    <a:pt x="45" y="230"/>
                  </a:lnTo>
                  <a:lnTo>
                    <a:pt x="45" y="228"/>
                  </a:lnTo>
                  <a:lnTo>
                    <a:pt x="47" y="228"/>
                  </a:lnTo>
                  <a:lnTo>
                    <a:pt x="47" y="227"/>
                  </a:lnTo>
                  <a:lnTo>
                    <a:pt x="49" y="227"/>
                  </a:lnTo>
                  <a:lnTo>
                    <a:pt x="49" y="225"/>
                  </a:lnTo>
                  <a:lnTo>
                    <a:pt x="50" y="223"/>
                  </a:lnTo>
                  <a:lnTo>
                    <a:pt x="52" y="223"/>
                  </a:lnTo>
                  <a:lnTo>
                    <a:pt x="54" y="223"/>
                  </a:lnTo>
                  <a:lnTo>
                    <a:pt x="56" y="223"/>
                  </a:lnTo>
                  <a:lnTo>
                    <a:pt x="56" y="225"/>
                  </a:lnTo>
                  <a:lnTo>
                    <a:pt x="56" y="223"/>
                  </a:lnTo>
                  <a:lnTo>
                    <a:pt x="56" y="221"/>
                  </a:lnTo>
                  <a:lnTo>
                    <a:pt x="57" y="221"/>
                  </a:lnTo>
                  <a:lnTo>
                    <a:pt x="57" y="220"/>
                  </a:lnTo>
                  <a:lnTo>
                    <a:pt x="59" y="220"/>
                  </a:lnTo>
                  <a:lnTo>
                    <a:pt x="59" y="218"/>
                  </a:lnTo>
                  <a:lnTo>
                    <a:pt x="61" y="218"/>
                  </a:lnTo>
                  <a:lnTo>
                    <a:pt x="63" y="218"/>
                  </a:lnTo>
                  <a:lnTo>
                    <a:pt x="63" y="216"/>
                  </a:lnTo>
                  <a:lnTo>
                    <a:pt x="64" y="216"/>
                  </a:lnTo>
                  <a:lnTo>
                    <a:pt x="66" y="215"/>
                  </a:lnTo>
                  <a:lnTo>
                    <a:pt x="66" y="213"/>
                  </a:lnTo>
                  <a:lnTo>
                    <a:pt x="66" y="211"/>
                  </a:lnTo>
                  <a:lnTo>
                    <a:pt x="68" y="209"/>
                  </a:lnTo>
                  <a:lnTo>
                    <a:pt x="70" y="208"/>
                  </a:lnTo>
                  <a:lnTo>
                    <a:pt x="71" y="206"/>
                  </a:lnTo>
                  <a:lnTo>
                    <a:pt x="73" y="206"/>
                  </a:lnTo>
                  <a:lnTo>
                    <a:pt x="76" y="206"/>
                  </a:lnTo>
                  <a:lnTo>
                    <a:pt x="76" y="204"/>
                  </a:lnTo>
                  <a:lnTo>
                    <a:pt x="78" y="202"/>
                  </a:lnTo>
                  <a:lnTo>
                    <a:pt x="80" y="202"/>
                  </a:lnTo>
                  <a:lnTo>
                    <a:pt x="80" y="201"/>
                  </a:lnTo>
                  <a:lnTo>
                    <a:pt x="82" y="199"/>
                  </a:lnTo>
                  <a:lnTo>
                    <a:pt x="80" y="197"/>
                  </a:lnTo>
                  <a:lnTo>
                    <a:pt x="80" y="194"/>
                  </a:lnTo>
                  <a:lnTo>
                    <a:pt x="80" y="192"/>
                  </a:lnTo>
                  <a:lnTo>
                    <a:pt x="82" y="192"/>
                  </a:lnTo>
                  <a:lnTo>
                    <a:pt x="82" y="190"/>
                  </a:lnTo>
                  <a:lnTo>
                    <a:pt x="80" y="188"/>
                  </a:lnTo>
                  <a:lnTo>
                    <a:pt x="78" y="188"/>
                  </a:lnTo>
                  <a:lnTo>
                    <a:pt x="78" y="187"/>
                  </a:lnTo>
                  <a:lnTo>
                    <a:pt x="78" y="185"/>
                  </a:lnTo>
                  <a:lnTo>
                    <a:pt x="80" y="185"/>
                  </a:lnTo>
                  <a:lnTo>
                    <a:pt x="82" y="185"/>
                  </a:lnTo>
                  <a:lnTo>
                    <a:pt x="83" y="183"/>
                  </a:lnTo>
                  <a:lnTo>
                    <a:pt x="85" y="183"/>
                  </a:lnTo>
                  <a:lnTo>
                    <a:pt x="87" y="181"/>
                  </a:lnTo>
                  <a:lnTo>
                    <a:pt x="89" y="180"/>
                  </a:lnTo>
                  <a:lnTo>
                    <a:pt x="90" y="180"/>
                  </a:lnTo>
                  <a:lnTo>
                    <a:pt x="92" y="180"/>
                  </a:lnTo>
                  <a:lnTo>
                    <a:pt x="94" y="181"/>
                  </a:lnTo>
                  <a:lnTo>
                    <a:pt x="94" y="180"/>
                  </a:lnTo>
                  <a:lnTo>
                    <a:pt x="96" y="180"/>
                  </a:lnTo>
                  <a:lnTo>
                    <a:pt x="97" y="180"/>
                  </a:lnTo>
                  <a:lnTo>
                    <a:pt x="97" y="178"/>
                  </a:lnTo>
                  <a:lnTo>
                    <a:pt x="99" y="178"/>
                  </a:lnTo>
                  <a:lnTo>
                    <a:pt x="101" y="180"/>
                  </a:lnTo>
                  <a:lnTo>
                    <a:pt x="103" y="180"/>
                  </a:lnTo>
                  <a:lnTo>
                    <a:pt x="104" y="180"/>
                  </a:lnTo>
                  <a:lnTo>
                    <a:pt x="106" y="180"/>
                  </a:lnTo>
                  <a:lnTo>
                    <a:pt x="106" y="178"/>
                  </a:lnTo>
                  <a:lnTo>
                    <a:pt x="106" y="176"/>
                  </a:lnTo>
                  <a:lnTo>
                    <a:pt x="108" y="176"/>
                  </a:lnTo>
                  <a:lnTo>
                    <a:pt x="106" y="176"/>
                  </a:lnTo>
                  <a:lnTo>
                    <a:pt x="106" y="174"/>
                  </a:lnTo>
                  <a:lnTo>
                    <a:pt x="108" y="174"/>
                  </a:lnTo>
                  <a:lnTo>
                    <a:pt x="106" y="173"/>
                  </a:lnTo>
                  <a:lnTo>
                    <a:pt x="106" y="171"/>
                  </a:lnTo>
                  <a:lnTo>
                    <a:pt x="108" y="169"/>
                  </a:lnTo>
                  <a:lnTo>
                    <a:pt x="108" y="167"/>
                  </a:lnTo>
                  <a:lnTo>
                    <a:pt x="108" y="166"/>
                  </a:lnTo>
                  <a:lnTo>
                    <a:pt x="108" y="164"/>
                  </a:lnTo>
                  <a:lnTo>
                    <a:pt x="110" y="164"/>
                  </a:lnTo>
                  <a:lnTo>
                    <a:pt x="110" y="162"/>
                  </a:lnTo>
                  <a:lnTo>
                    <a:pt x="111" y="162"/>
                  </a:lnTo>
                  <a:lnTo>
                    <a:pt x="113" y="162"/>
                  </a:lnTo>
                  <a:lnTo>
                    <a:pt x="113" y="160"/>
                  </a:lnTo>
                  <a:lnTo>
                    <a:pt x="117" y="160"/>
                  </a:lnTo>
                  <a:lnTo>
                    <a:pt x="118" y="159"/>
                  </a:lnTo>
                  <a:lnTo>
                    <a:pt x="120" y="159"/>
                  </a:lnTo>
                  <a:lnTo>
                    <a:pt x="122" y="159"/>
                  </a:lnTo>
                  <a:lnTo>
                    <a:pt x="122" y="157"/>
                  </a:lnTo>
                  <a:lnTo>
                    <a:pt x="124" y="155"/>
                  </a:lnTo>
                  <a:lnTo>
                    <a:pt x="122" y="155"/>
                  </a:lnTo>
                  <a:lnTo>
                    <a:pt x="122" y="154"/>
                  </a:lnTo>
                  <a:lnTo>
                    <a:pt x="122" y="152"/>
                  </a:lnTo>
                  <a:lnTo>
                    <a:pt x="124" y="150"/>
                  </a:lnTo>
                  <a:lnTo>
                    <a:pt x="124" y="148"/>
                  </a:lnTo>
                  <a:lnTo>
                    <a:pt x="125" y="148"/>
                  </a:lnTo>
                  <a:lnTo>
                    <a:pt x="127" y="148"/>
                  </a:lnTo>
                  <a:lnTo>
                    <a:pt x="127" y="147"/>
                  </a:lnTo>
                  <a:lnTo>
                    <a:pt x="127" y="145"/>
                  </a:lnTo>
                  <a:lnTo>
                    <a:pt x="127" y="143"/>
                  </a:lnTo>
                  <a:lnTo>
                    <a:pt x="127" y="141"/>
                  </a:lnTo>
                  <a:lnTo>
                    <a:pt x="129" y="141"/>
                  </a:lnTo>
                  <a:lnTo>
                    <a:pt x="129" y="140"/>
                  </a:lnTo>
                  <a:lnTo>
                    <a:pt x="130" y="140"/>
                  </a:lnTo>
                  <a:lnTo>
                    <a:pt x="130" y="138"/>
                  </a:lnTo>
                  <a:lnTo>
                    <a:pt x="132" y="138"/>
                  </a:lnTo>
                  <a:lnTo>
                    <a:pt x="132" y="136"/>
                  </a:lnTo>
                  <a:lnTo>
                    <a:pt x="130" y="136"/>
                  </a:lnTo>
                  <a:lnTo>
                    <a:pt x="130" y="134"/>
                  </a:lnTo>
                  <a:lnTo>
                    <a:pt x="129" y="134"/>
                  </a:lnTo>
                  <a:lnTo>
                    <a:pt x="127" y="133"/>
                  </a:lnTo>
                  <a:lnTo>
                    <a:pt x="127" y="131"/>
                  </a:lnTo>
                  <a:lnTo>
                    <a:pt x="125" y="131"/>
                  </a:lnTo>
                  <a:lnTo>
                    <a:pt x="125" y="129"/>
                  </a:lnTo>
                  <a:lnTo>
                    <a:pt x="127" y="127"/>
                  </a:lnTo>
                  <a:lnTo>
                    <a:pt x="127" y="126"/>
                  </a:lnTo>
                  <a:lnTo>
                    <a:pt x="127" y="124"/>
                  </a:lnTo>
                  <a:lnTo>
                    <a:pt x="127" y="122"/>
                  </a:lnTo>
                  <a:lnTo>
                    <a:pt x="127" y="120"/>
                  </a:lnTo>
                  <a:lnTo>
                    <a:pt x="127" y="119"/>
                  </a:lnTo>
                  <a:lnTo>
                    <a:pt x="125" y="117"/>
                  </a:lnTo>
                  <a:lnTo>
                    <a:pt x="125" y="115"/>
                  </a:lnTo>
                  <a:lnTo>
                    <a:pt x="125" y="113"/>
                  </a:lnTo>
                  <a:lnTo>
                    <a:pt x="125" y="112"/>
                  </a:lnTo>
                  <a:lnTo>
                    <a:pt x="125" y="110"/>
                  </a:lnTo>
                  <a:lnTo>
                    <a:pt x="125" y="112"/>
                  </a:lnTo>
                  <a:lnTo>
                    <a:pt x="127" y="112"/>
                  </a:lnTo>
                  <a:lnTo>
                    <a:pt x="129" y="113"/>
                  </a:lnTo>
                  <a:lnTo>
                    <a:pt x="129" y="115"/>
                  </a:lnTo>
                  <a:lnTo>
                    <a:pt x="130" y="117"/>
                  </a:lnTo>
                  <a:lnTo>
                    <a:pt x="132" y="117"/>
                  </a:lnTo>
                  <a:lnTo>
                    <a:pt x="134" y="117"/>
                  </a:lnTo>
                  <a:lnTo>
                    <a:pt x="134" y="115"/>
                  </a:lnTo>
                  <a:lnTo>
                    <a:pt x="136" y="115"/>
                  </a:lnTo>
                  <a:lnTo>
                    <a:pt x="136" y="113"/>
                  </a:lnTo>
                  <a:lnTo>
                    <a:pt x="137" y="112"/>
                  </a:lnTo>
                  <a:lnTo>
                    <a:pt x="139" y="112"/>
                  </a:lnTo>
                  <a:lnTo>
                    <a:pt x="141" y="110"/>
                  </a:lnTo>
                  <a:lnTo>
                    <a:pt x="143" y="110"/>
                  </a:lnTo>
                  <a:lnTo>
                    <a:pt x="144" y="110"/>
                  </a:lnTo>
                  <a:lnTo>
                    <a:pt x="144" y="108"/>
                  </a:lnTo>
                  <a:lnTo>
                    <a:pt x="146" y="108"/>
                  </a:lnTo>
                  <a:lnTo>
                    <a:pt x="148" y="106"/>
                  </a:lnTo>
                  <a:lnTo>
                    <a:pt x="148" y="105"/>
                  </a:lnTo>
                  <a:lnTo>
                    <a:pt x="150" y="103"/>
                  </a:lnTo>
                  <a:lnTo>
                    <a:pt x="150" y="105"/>
                  </a:lnTo>
                  <a:lnTo>
                    <a:pt x="151" y="105"/>
                  </a:lnTo>
                  <a:lnTo>
                    <a:pt x="151" y="106"/>
                  </a:lnTo>
                  <a:lnTo>
                    <a:pt x="153" y="108"/>
                  </a:lnTo>
                  <a:lnTo>
                    <a:pt x="153" y="112"/>
                  </a:lnTo>
                  <a:lnTo>
                    <a:pt x="155" y="112"/>
                  </a:lnTo>
                  <a:lnTo>
                    <a:pt x="157" y="112"/>
                  </a:lnTo>
                  <a:lnTo>
                    <a:pt x="158" y="112"/>
                  </a:lnTo>
                  <a:lnTo>
                    <a:pt x="160" y="112"/>
                  </a:lnTo>
                  <a:lnTo>
                    <a:pt x="162" y="112"/>
                  </a:lnTo>
                  <a:lnTo>
                    <a:pt x="162" y="110"/>
                  </a:lnTo>
                  <a:lnTo>
                    <a:pt x="164" y="110"/>
                  </a:lnTo>
                  <a:lnTo>
                    <a:pt x="164" y="108"/>
                  </a:lnTo>
                  <a:lnTo>
                    <a:pt x="162" y="106"/>
                  </a:lnTo>
                  <a:lnTo>
                    <a:pt x="164" y="106"/>
                  </a:lnTo>
                  <a:lnTo>
                    <a:pt x="165" y="106"/>
                  </a:lnTo>
                  <a:lnTo>
                    <a:pt x="167" y="108"/>
                  </a:lnTo>
                  <a:lnTo>
                    <a:pt x="174" y="110"/>
                  </a:lnTo>
                  <a:lnTo>
                    <a:pt x="176" y="110"/>
                  </a:lnTo>
                  <a:lnTo>
                    <a:pt x="176" y="112"/>
                  </a:lnTo>
                  <a:lnTo>
                    <a:pt x="177" y="110"/>
                  </a:lnTo>
                  <a:lnTo>
                    <a:pt x="179" y="110"/>
                  </a:lnTo>
                  <a:lnTo>
                    <a:pt x="181" y="110"/>
                  </a:lnTo>
                  <a:lnTo>
                    <a:pt x="181" y="108"/>
                  </a:lnTo>
                  <a:lnTo>
                    <a:pt x="183" y="108"/>
                  </a:lnTo>
                  <a:lnTo>
                    <a:pt x="184" y="106"/>
                  </a:lnTo>
                  <a:lnTo>
                    <a:pt x="186" y="106"/>
                  </a:lnTo>
                  <a:lnTo>
                    <a:pt x="188" y="106"/>
                  </a:lnTo>
                  <a:lnTo>
                    <a:pt x="190" y="106"/>
                  </a:lnTo>
                  <a:lnTo>
                    <a:pt x="190" y="105"/>
                  </a:lnTo>
                  <a:lnTo>
                    <a:pt x="190" y="103"/>
                  </a:lnTo>
                  <a:lnTo>
                    <a:pt x="190" y="101"/>
                  </a:lnTo>
                  <a:lnTo>
                    <a:pt x="191" y="101"/>
                  </a:lnTo>
                  <a:lnTo>
                    <a:pt x="193" y="101"/>
                  </a:lnTo>
                  <a:lnTo>
                    <a:pt x="195" y="101"/>
                  </a:lnTo>
                  <a:lnTo>
                    <a:pt x="197" y="101"/>
                  </a:lnTo>
                  <a:lnTo>
                    <a:pt x="198" y="101"/>
                  </a:lnTo>
                  <a:lnTo>
                    <a:pt x="200" y="101"/>
                  </a:lnTo>
                  <a:lnTo>
                    <a:pt x="202" y="99"/>
                  </a:lnTo>
                  <a:lnTo>
                    <a:pt x="204" y="99"/>
                  </a:lnTo>
                  <a:lnTo>
                    <a:pt x="205" y="98"/>
                  </a:lnTo>
                  <a:lnTo>
                    <a:pt x="207" y="98"/>
                  </a:lnTo>
                  <a:lnTo>
                    <a:pt x="209" y="98"/>
                  </a:lnTo>
                  <a:lnTo>
                    <a:pt x="209" y="99"/>
                  </a:lnTo>
                  <a:lnTo>
                    <a:pt x="211" y="101"/>
                  </a:lnTo>
                  <a:lnTo>
                    <a:pt x="211" y="103"/>
                  </a:lnTo>
                  <a:lnTo>
                    <a:pt x="212" y="103"/>
                  </a:lnTo>
                  <a:lnTo>
                    <a:pt x="212" y="101"/>
                  </a:lnTo>
                  <a:lnTo>
                    <a:pt x="214" y="101"/>
                  </a:lnTo>
                  <a:lnTo>
                    <a:pt x="216" y="101"/>
                  </a:lnTo>
                  <a:lnTo>
                    <a:pt x="216" y="103"/>
                  </a:lnTo>
                  <a:lnTo>
                    <a:pt x="218" y="103"/>
                  </a:lnTo>
                  <a:lnTo>
                    <a:pt x="219" y="105"/>
                  </a:lnTo>
                  <a:lnTo>
                    <a:pt x="219" y="106"/>
                  </a:lnTo>
                  <a:lnTo>
                    <a:pt x="223" y="106"/>
                  </a:lnTo>
                  <a:lnTo>
                    <a:pt x="225" y="106"/>
                  </a:lnTo>
                  <a:lnTo>
                    <a:pt x="225" y="105"/>
                  </a:lnTo>
                  <a:lnTo>
                    <a:pt x="226" y="105"/>
                  </a:lnTo>
                  <a:lnTo>
                    <a:pt x="228" y="106"/>
                  </a:lnTo>
                  <a:lnTo>
                    <a:pt x="228" y="108"/>
                  </a:lnTo>
                  <a:lnTo>
                    <a:pt x="230" y="108"/>
                  </a:lnTo>
                  <a:lnTo>
                    <a:pt x="231" y="106"/>
                  </a:lnTo>
                  <a:lnTo>
                    <a:pt x="233" y="106"/>
                  </a:lnTo>
                  <a:lnTo>
                    <a:pt x="235" y="105"/>
                  </a:lnTo>
                  <a:lnTo>
                    <a:pt x="235" y="106"/>
                  </a:lnTo>
                  <a:lnTo>
                    <a:pt x="237" y="106"/>
                  </a:lnTo>
                  <a:lnTo>
                    <a:pt x="238" y="106"/>
                  </a:lnTo>
                  <a:lnTo>
                    <a:pt x="240" y="105"/>
                  </a:lnTo>
                  <a:lnTo>
                    <a:pt x="242" y="105"/>
                  </a:lnTo>
                  <a:lnTo>
                    <a:pt x="242" y="106"/>
                  </a:lnTo>
                  <a:lnTo>
                    <a:pt x="242" y="108"/>
                  </a:lnTo>
                  <a:lnTo>
                    <a:pt x="244" y="110"/>
                  </a:lnTo>
                  <a:lnTo>
                    <a:pt x="244" y="112"/>
                  </a:lnTo>
                  <a:lnTo>
                    <a:pt x="245" y="113"/>
                  </a:lnTo>
                  <a:lnTo>
                    <a:pt x="247" y="112"/>
                  </a:lnTo>
                  <a:lnTo>
                    <a:pt x="249" y="112"/>
                  </a:lnTo>
                  <a:lnTo>
                    <a:pt x="251" y="112"/>
                  </a:lnTo>
                  <a:lnTo>
                    <a:pt x="252" y="112"/>
                  </a:lnTo>
                  <a:lnTo>
                    <a:pt x="254" y="112"/>
                  </a:lnTo>
                  <a:lnTo>
                    <a:pt x="258" y="113"/>
                  </a:lnTo>
                  <a:lnTo>
                    <a:pt x="259" y="113"/>
                  </a:lnTo>
                  <a:lnTo>
                    <a:pt x="261" y="113"/>
                  </a:lnTo>
                  <a:lnTo>
                    <a:pt x="263" y="113"/>
                  </a:lnTo>
                  <a:lnTo>
                    <a:pt x="265" y="113"/>
                  </a:lnTo>
                  <a:lnTo>
                    <a:pt x="266" y="113"/>
                  </a:lnTo>
                  <a:lnTo>
                    <a:pt x="266" y="112"/>
                  </a:lnTo>
                  <a:lnTo>
                    <a:pt x="268" y="110"/>
                  </a:lnTo>
                  <a:lnTo>
                    <a:pt x="270" y="110"/>
                  </a:lnTo>
                  <a:lnTo>
                    <a:pt x="270" y="108"/>
                  </a:lnTo>
                  <a:lnTo>
                    <a:pt x="272" y="108"/>
                  </a:lnTo>
                  <a:lnTo>
                    <a:pt x="272" y="106"/>
                  </a:lnTo>
                  <a:lnTo>
                    <a:pt x="273" y="106"/>
                  </a:lnTo>
                  <a:lnTo>
                    <a:pt x="275" y="108"/>
                  </a:lnTo>
                  <a:lnTo>
                    <a:pt x="277" y="108"/>
                  </a:lnTo>
                  <a:lnTo>
                    <a:pt x="279" y="108"/>
                  </a:lnTo>
                  <a:lnTo>
                    <a:pt x="279" y="110"/>
                  </a:lnTo>
                  <a:lnTo>
                    <a:pt x="280" y="108"/>
                  </a:lnTo>
                  <a:lnTo>
                    <a:pt x="282" y="110"/>
                  </a:lnTo>
                  <a:lnTo>
                    <a:pt x="284" y="110"/>
                  </a:lnTo>
                  <a:lnTo>
                    <a:pt x="285" y="110"/>
                  </a:lnTo>
                  <a:lnTo>
                    <a:pt x="287" y="110"/>
                  </a:lnTo>
                  <a:lnTo>
                    <a:pt x="287" y="112"/>
                  </a:lnTo>
                  <a:lnTo>
                    <a:pt x="289" y="112"/>
                  </a:lnTo>
                  <a:lnTo>
                    <a:pt x="289" y="110"/>
                  </a:lnTo>
                  <a:lnTo>
                    <a:pt x="291" y="110"/>
                  </a:lnTo>
                  <a:lnTo>
                    <a:pt x="291" y="112"/>
                  </a:lnTo>
                  <a:lnTo>
                    <a:pt x="291" y="110"/>
                  </a:lnTo>
                  <a:lnTo>
                    <a:pt x="292" y="110"/>
                  </a:lnTo>
                  <a:lnTo>
                    <a:pt x="294" y="108"/>
                  </a:lnTo>
                  <a:lnTo>
                    <a:pt x="296" y="108"/>
                  </a:lnTo>
                  <a:lnTo>
                    <a:pt x="298" y="108"/>
                  </a:lnTo>
                  <a:lnTo>
                    <a:pt x="299" y="108"/>
                  </a:lnTo>
                  <a:lnTo>
                    <a:pt x="301" y="110"/>
                  </a:lnTo>
                  <a:lnTo>
                    <a:pt x="303" y="110"/>
                  </a:lnTo>
                  <a:lnTo>
                    <a:pt x="303" y="112"/>
                  </a:lnTo>
                  <a:lnTo>
                    <a:pt x="305" y="112"/>
                  </a:lnTo>
                  <a:lnTo>
                    <a:pt x="306" y="112"/>
                  </a:lnTo>
                  <a:lnTo>
                    <a:pt x="308" y="110"/>
                  </a:lnTo>
                  <a:lnTo>
                    <a:pt x="310" y="110"/>
                  </a:lnTo>
                  <a:lnTo>
                    <a:pt x="310" y="108"/>
                  </a:lnTo>
                  <a:lnTo>
                    <a:pt x="310" y="106"/>
                  </a:lnTo>
                  <a:lnTo>
                    <a:pt x="312" y="105"/>
                  </a:lnTo>
                  <a:lnTo>
                    <a:pt x="312" y="103"/>
                  </a:lnTo>
                  <a:lnTo>
                    <a:pt x="310" y="103"/>
                  </a:lnTo>
                  <a:lnTo>
                    <a:pt x="310" y="101"/>
                  </a:lnTo>
                  <a:lnTo>
                    <a:pt x="308" y="101"/>
                  </a:lnTo>
                  <a:lnTo>
                    <a:pt x="306" y="101"/>
                  </a:lnTo>
                  <a:lnTo>
                    <a:pt x="308" y="101"/>
                  </a:lnTo>
                  <a:lnTo>
                    <a:pt x="308" y="99"/>
                  </a:lnTo>
                  <a:lnTo>
                    <a:pt x="310" y="98"/>
                  </a:lnTo>
                  <a:lnTo>
                    <a:pt x="310" y="96"/>
                  </a:lnTo>
                  <a:lnTo>
                    <a:pt x="308" y="94"/>
                  </a:lnTo>
                  <a:lnTo>
                    <a:pt x="306" y="93"/>
                  </a:lnTo>
                  <a:lnTo>
                    <a:pt x="306" y="91"/>
                  </a:lnTo>
                  <a:lnTo>
                    <a:pt x="305" y="89"/>
                  </a:lnTo>
                  <a:lnTo>
                    <a:pt x="303" y="89"/>
                  </a:lnTo>
                  <a:lnTo>
                    <a:pt x="301" y="89"/>
                  </a:lnTo>
                  <a:lnTo>
                    <a:pt x="301" y="87"/>
                  </a:lnTo>
                  <a:lnTo>
                    <a:pt x="299" y="87"/>
                  </a:lnTo>
                  <a:lnTo>
                    <a:pt x="299" y="86"/>
                  </a:lnTo>
                  <a:lnTo>
                    <a:pt x="298" y="86"/>
                  </a:lnTo>
                  <a:lnTo>
                    <a:pt x="296" y="86"/>
                  </a:lnTo>
                  <a:lnTo>
                    <a:pt x="294" y="86"/>
                  </a:lnTo>
                  <a:lnTo>
                    <a:pt x="292" y="86"/>
                  </a:lnTo>
                  <a:lnTo>
                    <a:pt x="291" y="84"/>
                  </a:lnTo>
                  <a:lnTo>
                    <a:pt x="291" y="82"/>
                  </a:lnTo>
                  <a:lnTo>
                    <a:pt x="291" y="80"/>
                  </a:lnTo>
                  <a:lnTo>
                    <a:pt x="291" y="79"/>
                  </a:lnTo>
                  <a:lnTo>
                    <a:pt x="291" y="77"/>
                  </a:lnTo>
                  <a:lnTo>
                    <a:pt x="289" y="77"/>
                  </a:lnTo>
                  <a:lnTo>
                    <a:pt x="287" y="77"/>
                  </a:lnTo>
                  <a:lnTo>
                    <a:pt x="287" y="79"/>
                  </a:lnTo>
                  <a:lnTo>
                    <a:pt x="285" y="79"/>
                  </a:lnTo>
                  <a:lnTo>
                    <a:pt x="284" y="79"/>
                  </a:lnTo>
                  <a:lnTo>
                    <a:pt x="282" y="79"/>
                  </a:lnTo>
                  <a:lnTo>
                    <a:pt x="280" y="77"/>
                  </a:lnTo>
                  <a:lnTo>
                    <a:pt x="279" y="75"/>
                  </a:lnTo>
                  <a:lnTo>
                    <a:pt x="277" y="75"/>
                  </a:lnTo>
                  <a:lnTo>
                    <a:pt x="275" y="75"/>
                  </a:lnTo>
                  <a:lnTo>
                    <a:pt x="275" y="73"/>
                  </a:lnTo>
                  <a:lnTo>
                    <a:pt x="273" y="73"/>
                  </a:lnTo>
                  <a:lnTo>
                    <a:pt x="272" y="73"/>
                  </a:lnTo>
                  <a:lnTo>
                    <a:pt x="270" y="73"/>
                  </a:lnTo>
                  <a:lnTo>
                    <a:pt x="268" y="73"/>
                  </a:lnTo>
                  <a:lnTo>
                    <a:pt x="268" y="72"/>
                  </a:lnTo>
                  <a:lnTo>
                    <a:pt x="268" y="70"/>
                  </a:lnTo>
                  <a:lnTo>
                    <a:pt x="270" y="68"/>
                  </a:lnTo>
                  <a:lnTo>
                    <a:pt x="268" y="66"/>
                  </a:lnTo>
                  <a:lnTo>
                    <a:pt x="266" y="66"/>
                  </a:lnTo>
                  <a:lnTo>
                    <a:pt x="265" y="65"/>
                  </a:lnTo>
                  <a:lnTo>
                    <a:pt x="265" y="63"/>
                  </a:lnTo>
                  <a:lnTo>
                    <a:pt x="263" y="61"/>
                  </a:lnTo>
                  <a:lnTo>
                    <a:pt x="261" y="59"/>
                  </a:lnTo>
                  <a:lnTo>
                    <a:pt x="259" y="59"/>
                  </a:lnTo>
                  <a:lnTo>
                    <a:pt x="259" y="58"/>
                  </a:lnTo>
                  <a:lnTo>
                    <a:pt x="261" y="56"/>
                  </a:lnTo>
                  <a:lnTo>
                    <a:pt x="261" y="54"/>
                  </a:lnTo>
                  <a:lnTo>
                    <a:pt x="263" y="51"/>
                  </a:lnTo>
                  <a:lnTo>
                    <a:pt x="265" y="51"/>
                  </a:lnTo>
                  <a:lnTo>
                    <a:pt x="266" y="51"/>
                  </a:lnTo>
                  <a:lnTo>
                    <a:pt x="268" y="51"/>
                  </a:lnTo>
                  <a:lnTo>
                    <a:pt x="270" y="52"/>
                  </a:lnTo>
                  <a:lnTo>
                    <a:pt x="272" y="52"/>
                  </a:lnTo>
                  <a:lnTo>
                    <a:pt x="272" y="54"/>
                  </a:lnTo>
                  <a:lnTo>
                    <a:pt x="273" y="54"/>
                  </a:lnTo>
                  <a:lnTo>
                    <a:pt x="275" y="54"/>
                  </a:lnTo>
                  <a:lnTo>
                    <a:pt x="277" y="54"/>
                  </a:lnTo>
                  <a:lnTo>
                    <a:pt x="277" y="52"/>
                  </a:lnTo>
                  <a:lnTo>
                    <a:pt x="279" y="52"/>
                  </a:lnTo>
                  <a:lnTo>
                    <a:pt x="280" y="52"/>
                  </a:lnTo>
                  <a:lnTo>
                    <a:pt x="280" y="51"/>
                  </a:lnTo>
                  <a:lnTo>
                    <a:pt x="280" y="52"/>
                  </a:lnTo>
                  <a:lnTo>
                    <a:pt x="282" y="54"/>
                  </a:lnTo>
                  <a:lnTo>
                    <a:pt x="282" y="52"/>
                  </a:lnTo>
                  <a:lnTo>
                    <a:pt x="284" y="52"/>
                  </a:lnTo>
                  <a:lnTo>
                    <a:pt x="284" y="54"/>
                  </a:lnTo>
                  <a:lnTo>
                    <a:pt x="284" y="56"/>
                  </a:lnTo>
                  <a:lnTo>
                    <a:pt x="285" y="56"/>
                  </a:lnTo>
                  <a:lnTo>
                    <a:pt x="287" y="56"/>
                  </a:lnTo>
                  <a:lnTo>
                    <a:pt x="287" y="54"/>
                  </a:lnTo>
                  <a:lnTo>
                    <a:pt x="289" y="54"/>
                  </a:lnTo>
                  <a:lnTo>
                    <a:pt x="291" y="56"/>
                  </a:lnTo>
                  <a:lnTo>
                    <a:pt x="291" y="58"/>
                  </a:lnTo>
                  <a:lnTo>
                    <a:pt x="292" y="58"/>
                  </a:lnTo>
                  <a:lnTo>
                    <a:pt x="294" y="58"/>
                  </a:lnTo>
                  <a:lnTo>
                    <a:pt x="294" y="56"/>
                  </a:lnTo>
                  <a:lnTo>
                    <a:pt x="296" y="56"/>
                  </a:lnTo>
                  <a:lnTo>
                    <a:pt x="298" y="54"/>
                  </a:lnTo>
                  <a:lnTo>
                    <a:pt x="296" y="54"/>
                  </a:lnTo>
                  <a:lnTo>
                    <a:pt x="296" y="52"/>
                  </a:lnTo>
                  <a:lnTo>
                    <a:pt x="296" y="51"/>
                  </a:lnTo>
                  <a:lnTo>
                    <a:pt x="298" y="51"/>
                  </a:lnTo>
                  <a:lnTo>
                    <a:pt x="298" y="49"/>
                  </a:lnTo>
                  <a:lnTo>
                    <a:pt x="298" y="47"/>
                  </a:lnTo>
                  <a:lnTo>
                    <a:pt x="299" y="47"/>
                  </a:lnTo>
                  <a:lnTo>
                    <a:pt x="301" y="47"/>
                  </a:lnTo>
                  <a:lnTo>
                    <a:pt x="301" y="49"/>
                  </a:lnTo>
                  <a:lnTo>
                    <a:pt x="303" y="49"/>
                  </a:lnTo>
                  <a:lnTo>
                    <a:pt x="305" y="49"/>
                  </a:lnTo>
                  <a:lnTo>
                    <a:pt x="305" y="51"/>
                  </a:lnTo>
                  <a:lnTo>
                    <a:pt x="306" y="51"/>
                  </a:lnTo>
                  <a:lnTo>
                    <a:pt x="308" y="51"/>
                  </a:lnTo>
                  <a:lnTo>
                    <a:pt x="310" y="51"/>
                  </a:lnTo>
                  <a:lnTo>
                    <a:pt x="312" y="51"/>
                  </a:lnTo>
                  <a:lnTo>
                    <a:pt x="312" y="52"/>
                  </a:lnTo>
                  <a:lnTo>
                    <a:pt x="313" y="52"/>
                  </a:lnTo>
                  <a:lnTo>
                    <a:pt x="313" y="54"/>
                  </a:lnTo>
                  <a:lnTo>
                    <a:pt x="315" y="54"/>
                  </a:lnTo>
                  <a:lnTo>
                    <a:pt x="315" y="56"/>
                  </a:lnTo>
                  <a:lnTo>
                    <a:pt x="315" y="58"/>
                  </a:lnTo>
                  <a:lnTo>
                    <a:pt x="313" y="59"/>
                  </a:lnTo>
                  <a:lnTo>
                    <a:pt x="312" y="59"/>
                  </a:lnTo>
                  <a:lnTo>
                    <a:pt x="312" y="61"/>
                  </a:lnTo>
                  <a:lnTo>
                    <a:pt x="313" y="61"/>
                  </a:lnTo>
                  <a:lnTo>
                    <a:pt x="315" y="61"/>
                  </a:lnTo>
                  <a:lnTo>
                    <a:pt x="315" y="63"/>
                  </a:lnTo>
                  <a:lnTo>
                    <a:pt x="317" y="63"/>
                  </a:lnTo>
                  <a:lnTo>
                    <a:pt x="319" y="63"/>
                  </a:lnTo>
                  <a:lnTo>
                    <a:pt x="320" y="61"/>
                  </a:lnTo>
                  <a:lnTo>
                    <a:pt x="322" y="63"/>
                  </a:lnTo>
                  <a:lnTo>
                    <a:pt x="324" y="65"/>
                  </a:lnTo>
                  <a:lnTo>
                    <a:pt x="324" y="66"/>
                  </a:lnTo>
                  <a:lnTo>
                    <a:pt x="326" y="66"/>
                  </a:lnTo>
                  <a:lnTo>
                    <a:pt x="326" y="68"/>
                  </a:lnTo>
                  <a:lnTo>
                    <a:pt x="326" y="70"/>
                  </a:lnTo>
                  <a:lnTo>
                    <a:pt x="326" y="72"/>
                  </a:lnTo>
                  <a:lnTo>
                    <a:pt x="327" y="72"/>
                  </a:lnTo>
                  <a:lnTo>
                    <a:pt x="329" y="72"/>
                  </a:lnTo>
                  <a:lnTo>
                    <a:pt x="329" y="73"/>
                  </a:lnTo>
                  <a:lnTo>
                    <a:pt x="331" y="73"/>
                  </a:lnTo>
                  <a:lnTo>
                    <a:pt x="332" y="73"/>
                  </a:lnTo>
                  <a:lnTo>
                    <a:pt x="334" y="73"/>
                  </a:lnTo>
                  <a:lnTo>
                    <a:pt x="336" y="73"/>
                  </a:lnTo>
                  <a:lnTo>
                    <a:pt x="336" y="72"/>
                  </a:lnTo>
                  <a:lnTo>
                    <a:pt x="338" y="72"/>
                  </a:lnTo>
                  <a:lnTo>
                    <a:pt x="338" y="73"/>
                  </a:lnTo>
                  <a:lnTo>
                    <a:pt x="339" y="73"/>
                  </a:lnTo>
                  <a:lnTo>
                    <a:pt x="341" y="73"/>
                  </a:lnTo>
                  <a:lnTo>
                    <a:pt x="341" y="75"/>
                  </a:lnTo>
                  <a:lnTo>
                    <a:pt x="343" y="75"/>
                  </a:lnTo>
                  <a:lnTo>
                    <a:pt x="345" y="75"/>
                  </a:lnTo>
                  <a:lnTo>
                    <a:pt x="346" y="75"/>
                  </a:lnTo>
                  <a:lnTo>
                    <a:pt x="348" y="75"/>
                  </a:lnTo>
                  <a:lnTo>
                    <a:pt x="348" y="73"/>
                  </a:lnTo>
                  <a:lnTo>
                    <a:pt x="350" y="72"/>
                  </a:lnTo>
                  <a:lnTo>
                    <a:pt x="352" y="72"/>
                  </a:lnTo>
                  <a:lnTo>
                    <a:pt x="353" y="72"/>
                  </a:lnTo>
                  <a:lnTo>
                    <a:pt x="355" y="72"/>
                  </a:lnTo>
                  <a:lnTo>
                    <a:pt x="357" y="72"/>
                  </a:lnTo>
                  <a:lnTo>
                    <a:pt x="359" y="72"/>
                  </a:lnTo>
                  <a:lnTo>
                    <a:pt x="360" y="72"/>
                  </a:lnTo>
                  <a:lnTo>
                    <a:pt x="362" y="72"/>
                  </a:lnTo>
                  <a:lnTo>
                    <a:pt x="364" y="72"/>
                  </a:lnTo>
                  <a:lnTo>
                    <a:pt x="364" y="70"/>
                  </a:lnTo>
                  <a:lnTo>
                    <a:pt x="364" y="68"/>
                  </a:lnTo>
                  <a:lnTo>
                    <a:pt x="366" y="68"/>
                  </a:lnTo>
                  <a:lnTo>
                    <a:pt x="366" y="66"/>
                  </a:lnTo>
                  <a:lnTo>
                    <a:pt x="366" y="65"/>
                  </a:lnTo>
                  <a:lnTo>
                    <a:pt x="366" y="63"/>
                  </a:lnTo>
                  <a:lnTo>
                    <a:pt x="367" y="63"/>
                  </a:lnTo>
                  <a:lnTo>
                    <a:pt x="367" y="61"/>
                  </a:lnTo>
                  <a:lnTo>
                    <a:pt x="369" y="59"/>
                  </a:lnTo>
                  <a:lnTo>
                    <a:pt x="371" y="59"/>
                  </a:lnTo>
                  <a:lnTo>
                    <a:pt x="373" y="59"/>
                  </a:lnTo>
                  <a:lnTo>
                    <a:pt x="373" y="58"/>
                  </a:lnTo>
                  <a:lnTo>
                    <a:pt x="371" y="58"/>
                  </a:lnTo>
                  <a:lnTo>
                    <a:pt x="371" y="56"/>
                  </a:lnTo>
                  <a:lnTo>
                    <a:pt x="371" y="54"/>
                  </a:lnTo>
                  <a:lnTo>
                    <a:pt x="373" y="54"/>
                  </a:lnTo>
                  <a:lnTo>
                    <a:pt x="374" y="54"/>
                  </a:lnTo>
                  <a:lnTo>
                    <a:pt x="374" y="52"/>
                  </a:lnTo>
                  <a:lnTo>
                    <a:pt x="374" y="51"/>
                  </a:lnTo>
                  <a:lnTo>
                    <a:pt x="376" y="51"/>
                  </a:lnTo>
                  <a:lnTo>
                    <a:pt x="378" y="51"/>
                  </a:lnTo>
                  <a:lnTo>
                    <a:pt x="378" y="52"/>
                  </a:lnTo>
                  <a:lnTo>
                    <a:pt x="380" y="52"/>
                  </a:lnTo>
                  <a:lnTo>
                    <a:pt x="381" y="51"/>
                  </a:lnTo>
                  <a:lnTo>
                    <a:pt x="381" y="52"/>
                  </a:lnTo>
                  <a:lnTo>
                    <a:pt x="381" y="54"/>
                  </a:lnTo>
                  <a:lnTo>
                    <a:pt x="383" y="54"/>
                  </a:lnTo>
                  <a:lnTo>
                    <a:pt x="383" y="52"/>
                  </a:lnTo>
                  <a:lnTo>
                    <a:pt x="385" y="52"/>
                  </a:lnTo>
                  <a:lnTo>
                    <a:pt x="385" y="54"/>
                  </a:lnTo>
                  <a:lnTo>
                    <a:pt x="386" y="54"/>
                  </a:lnTo>
                  <a:lnTo>
                    <a:pt x="386" y="56"/>
                  </a:lnTo>
                  <a:lnTo>
                    <a:pt x="388" y="56"/>
                  </a:lnTo>
                  <a:lnTo>
                    <a:pt x="390" y="56"/>
                  </a:lnTo>
                  <a:lnTo>
                    <a:pt x="392" y="56"/>
                  </a:lnTo>
                  <a:lnTo>
                    <a:pt x="392" y="54"/>
                  </a:lnTo>
                  <a:lnTo>
                    <a:pt x="393" y="54"/>
                  </a:lnTo>
                  <a:lnTo>
                    <a:pt x="395" y="54"/>
                  </a:lnTo>
                  <a:lnTo>
                    <a:pt x="397" y="52"/>
                  </a:lnTo>
                  <a:lnTo>
                    <a:pt x="397" y="51"/>
                  </a:lnTo>
                  <a:lnTo>
                    <a:pt x="399" y="51"/>
                  </a:lnTo>
                  <a:lnTo>
                    <a:pt x="400" y="51"/>
                  </a:lnTo>
                  <a:lnTo>
                    <a:pt x="402" y="51"/>
                  </a:lnTo>
                  <a:lnTo>
                    <a:pt x="404" y="51"/>
                  </a:lnTo>
                  <a:lnTo>
                    <a:pt x="404" y="49"/>
                  </a:lnTo>
                  <a:lnTo>
                    <a:pt x="406" y="49"/>
                  </a:lnTo>
                  <a:lnTo>
                    <a:pt x="406" y="47"/>
                  </a:lnTo>
                  <a:lnTo>
                    <a:pt x="407" y="47"/>
                  </a:lnTo>
                  <a:lnTo>
                    <a:pt x="407" y="45"/>
                  </a:lnTo>
                  <a:lnTo>
                    <a:pt x="407" y="44"/>
                  </a:lnTo>
                  <a:lnTo>
                    <a:pt x="409" y="44"/>
                  </a:lnTo>
                  <a:lnTo>
                    <a:pt x="409" y="42"/>
                  </a:lnTo>
                  <a:lnTo>
                    <a:pt x="411" y="42"/>
                  </a:lnTo>
                  <a:lnTo>
                    <a:pt x="411" y="40"/>
                  </a:lnTo>
                  <a:lnTo>
                    <a:pt x="413" y="40"/>
                  </a:lnTo>
                  <a:lnTo>
                    <a:pt x="413" y="39"/>
                  </a:lnTo>
                  <a:lnTo>
                    <a:pt x="414" y="39"/>
                  </a:lnTo>
                  <a:lnTo>
                    <a:pt x="414" y="37"/>
                  </a:lnTo>
                  <a:lnTo>
                    <a:pt x="416" y="37"/>
                  </a:lnTo>
                  <a:lnTo>
                    <a:pt x="418" y="37"/>
                  </a:lnTo>
                  <a:lnTo>
                    <a:pt x="420" y="37"/>
                  </a:lnTo>
                  <a:lnTo>
                    <a:pt x="421" y="37"/>
                  </a:lnTo>
                  <a:lnTo>
                    <a:pt x="423" y="37"/>
                  </a:lnTo>
                  <a:lnTo>
                    <a:pt x="425" y="35"/>
                  </a:lnTo>
                  <a:lnTo>
                    <a:pt x="425" y="33"/>
                  </a:lnTo>
                  <a:lnTo>
                    <a:pt x="427" y="33"/>
                  </a:lnTo>
                  <a:lnTo>
                    <a:pt x="428" y="33"/>
                  </a:lnTo>
                  <a:lnTo>
                    <a:pt x="430" y="33"/>
                  </a:lnTo>
                  <a:lnTo>
                    <a:pt x="430" y="32"/>
                  </a:lnTo>
                  <a:lnTo>
                    <a:pt x="430" y="30"/>
                  </a:lnTo>
                  <a:lnTo>
                    <a:pt x="430" y="28"/>
                  </a:lnTo>
                  <a:lnTo>
                    <a:pt x="430" y="26"/>
                  </a:lnTo>
                  <a:lnTo>
                    <a:pt x="430" y="25"/>
                  </a:lnTo>
                  <a:lnTo>
                    <a:pt x="432" y="25"/>
                  </a:lnTo>
                  <a:lnTo>
                    <a:pt x="432" y="23"/>
                  </a:lnTo>
                  <a:lnTo>
                    <a:pt x="432" y="25"/>
                  </a:lnTo>
                  <a:lnTo>
                    <a:pt x="434" y="25"/>
                  </a:lnTo>
                  <a:lnTo>
                    <a:pt x="435" y="25"/>
                  </a:lnTo>
                  <a:lnTo>
                    <a:pt x="435" y="26"/>
                  </a:lnTo>
                  <a:lnTo>
                    <a:pt x="437" y="26"/>
                  </a:lnTo>
                  <a:lnTo>
                    <a:pt x="439" y="26"/>
                  </a:lnTo>
                  <a:lnTo>
                    <a:pt x="440" y="26"/>
                  </a:lnTo>
                  <a:lnTo>
                    <a:pt x="440" y="28"/>
                  </a:lnTo>
                  <a:lnTo>
                    <a:pt x="442" y="28"/>
                  </a:lnTo>
                  <a:lnTo>
                    <a:pt x="442" y="30"/>
                  </a:lnTo>
                  <a:lnTo>
                    <a:pt x="444" y="30"/>
                  </a:lnTo>
                  <a:lnTo>
                    <a:pt x="446" y="30"/>
                  </a:lnTo>
                  <a:lnTo>
                    <a:pt x="447" y="30"/>
                  </a:lnTo>
                  <a:lnTo>
                    <a:pt x="447" y="32"/>
                  </a:lnTo>
                  <a:lnTo>
                    <a:pt x="449" y="32"/>
                  </a:lnTo>
                  <a:lnTo>
                    <a:pt x="449" y="33"/>
                  </a:lnTo>
                  <a:lnTo>
                    <a:pt x="449" y="35"/>
                  </a:lnTo>
                  <a:lnTo>
                    <a:pt x="451" y="37"/>
                  </a:lnTo>
                  <a:lnTo>
                    <a:pt x="453" y="37"/>
                  </a:lnTo>
                  <a:lnTo>
                    <a:pt x="454" y="39"/>
                  </a:lnTo>
                  <a:lnTo>
                    <a:pt x="456" y="39"/>
                  </a:lnTo>
                  <a:lnTo>
                    <a:pt x="458" y="37"/>
                  </a:lnTo>
                  <a:lnTo>
                    <a:pt x="458" y="35"/>
                  </a:lnTo>
                  <a:lnTo>
                    <a:pt x="456" y="33"/>
                  </a:lnTo>
                  <a:lnTo>
                    <a:pt x="456" y="32"/>
                  </a:lnTo>
                  <a:lnTo>
                    <a:pt x="456" y="30"/>
                  </a:lnTo>
                  <a:lnTo>
                    <a:pt x="456" y="28"/>
                  </a:lnTo>
                  <a:lnTo>
                    <a:pt x="454" y="28"/>
                  </a:lnTo>
                  <a:lnTo>
                    <a:pt x="454" y="26"/>
                  </a:lnTo>
                  <a:lnTo>
                    <a:pt x="453" y="26"/>
                  </a:lnTo>
                  <a:lnTo>
                    <a:pt x="453" y="25"/>
                  </a:lnTo>
                  <a:lnTo>
                    <a:pt x="453" y="23"/>
                  </a:lnTo>
                  <a:lnTo>
                    <a:pt x="454" y="23"/>
                  </a:lnTo>
                  <a:lnTo>
                    <a:pt x="456" y="21"/>
                  </a:lnTo>
                  <a:lnTo>
                    <a:pt x="456" y="19"/>
                  </a:lnTo>
                  <a:lnTo>
                    <a:pt x="458" y="19"/>
                  </a:lnTo>
                  <a:lnTo>
                    <a:pt x="458" y="21"/>
                  </a:lnTo>
                  <a:lnTo>
                    <a:pt x="460" y="19"/>
                  </a:lnTo>
                  <a:lnTo>
                    <a:pt x="461" y="19"/>
                  </a:lnTo>
                  <a:lnTo>
                    <a:pt x="463" y="19"/>
                  </a:lnTo>
                  <a:lnTo>
                    <a:pt x="465" y="18"/>
                  </a:lnTo>
                  <a:lnTo>
                    <a:pt x="468" y="18"/>
                  </a:lnTo>
                  <a:lnTo>
                    <a:pt x="470" y="16"/>
                  </a:lnTo>
                  <a:lnTo>
                    <a:pt x="474" y="14"/>
                  </a:lnTo>
                  <a:lnTo>
                    <a:pt x="475" y="14"/>
                  </a:lnTo>
                  <a:lnTo>
                    <a:pt x="477" y="11"/>
                  </a:lnTo>
                  <a:lnTo>
                    <a:pt x="479" y="9"/>
                  </a:lnTo>
                  <a:lnTo>
                    <a:pt x="481" y="7"/>
                  </a:lnTo>
                  <a:lnTo>
                    <a:pt x="482" y="7"/>
                  </a:lnTo>
                  <a:lnTo>
                    <a:pt x="486" y="5"/>
                  </a:lnTo>
                  <a:lnTo>
                    <a:pt x="487" y="4"/>
                  </a:lnTo>
                  <a:lnTo>
                    <a:pt x="489" y="2"/>
                  </a:lnTo>
                  <a:lnTo>
                    <a:pt x="491" y="0"/>
                  </a:lnTo>
                  <a:lnTo>
                    <a:pt x="494" y="0"/>
                  </a:lnTo>
                  <a:lnTo>
                    <a:pt x="494" y="2"/>
                  </a:lnTo>
                  <a:lnTo>
                    <a:pt x="496" y="5"/>
                  </a:lnTo>
                  <a:lnTo>
                    <a:pt x="496" y="7"/>
                  </a:lnTo>
                  <a:lnTo>
                    <a:pt x="498" y="9"/>
                  </a:lnTo>
                  <a:lnTo>
                    <a:pt x="500" y="12"/>
                  </a:lnTo>
                  <a:lnTo>
                    <a:pt x="498" y="14"/>
                  </a:lnTo>
                  <a:lnTo>
                    <a:pt x="500" y="16"/>
                  </a:lnTo>
                  <a:lnTo>
                    <a:pt x="500" y="18"/>
                  </a:lnTo>
                  <a:lnTo>
                    <a:pt x="501" y="19"/>
                  </a:lnTo>
                  <a:lnTo>
                    <a:pt x="503" y="19"/>
                  </a:lnTo>
                  <a:lnTo>
                    <a:pt x="507" y="18"/>
                  </a:lnTo>
                  <a:lnTo>
                    <a:pt x="508" y="19"/>
                  </a:lnTo>
                  <a:lnTo>
                    <a:pt x="510" y="19"/>
                  </a:lnTo>
                  <a:lnTo>
                    <a:pt x="512" y="19"/>
                  </a:lnTo>
                  <a:lnTo>
                    <a:pt x="514" y="18"/>
                  </a:lnTo>
                  <a:lnTo>
                    <a:pt x="515" y="16"/>
                  </a:lnTo>
                  <a:lnTo>
                    <a:pt x="515" y="12"/>
                  </a:lnTo>
                  <a:lnTo>
                    <a:pt x="519" y="12"/>
                  </a:lnTo>
                  <a:lnTo>
                    <a:pt x="522" y="12"/>
                  </a:lnTo>
                  <a:lnTo>
                    <a:pt x="524" y="11"/>
                  </a:lnTo>
                  <a:lnTo>
                    <a:pt x="526" y="12"/>
                  </a:lnTo>
                  <a:lnTo>
                    <a:pt x="526" y="14"/>
                  </a:lnTo>
                  <a:lnTo>
                    <a:pt x="526" y="18"/>
                  </a:lnTo>
                  <a:lnTo>
                    <a:pt x="526" y="21"/>
                  </a:lnTo>
                  <a:lnTo>
                    <a:pt x="526" y="23"/>
                  </a:lnTo>
                  <a:lnTo>
                    <a:pt x="528" y="25"/>
                  </a:lnTo>
                  <a:lnTo>
                    <a:pt x="529" y="26"/>
                  </a:lnTo>
                  <a:lnTo>
                    <a:pt x="529" y="28"/>
                  </a:lnTo>
                  <a:lnTo>
                    <a:pt x="531" y="30"/>
                  </a:lnTo>
                  <a:lnTo>
                    <a:pt x="531" y="32"/>
                  </a:lnTo>
                  <a:lnTo>
                    <a:pt x="531" y="33"/>
                  </a:lnTo>
                  <a:lnTo>
                    <a:pt x="533" y="35"/>
                  </a:lnTo>
                  <a:lnTo>
                    <a:pt x="533" y="39"/>
                  </a:lnTo>
                  <a:lnTo>
                    <a:pt x="533" y="40"/>
                  </a:lnTo>
                  <a:lnTo>
                    <a:pt x="535" y="42"/>
                  </a:lnTo>
                  <a:lnTo>
                    <a:pt x="535" y="44"/>
                  </a:lnTo>
                  <a:lnTo>
                    <a:pt x="536" y="44"/>
                  </a:lnTo>
                  <a:lnTo>
                    <a:pt x="540" y="45"/>
                  </a:lnTo>
                  <a:lnTo>
                    <a:pt x="541" y="45"/>
                  </a:lnTo>
                  <a:lnTo>
                    <a:pt x="543" y="44"/>
                  </a:lnTo>
                  <a:lnTo>
                    <a:pt x="545" y="40"/>
                  </a:lnTo>
                  <a:lnTo>
                    <a:pt x="545" y="39"/>
                  </a:lnTo>
                  <a:lnTo>
                    <a:pt x="545" y="37"/>
                  </a:lnTo>
                  <a:lnTo>
                    <a:pt x="545" y="35"/>
                  </a:lnTo>
                  <a:lnTo>
                    <a:pt x="547" y="32"/>
                  </a:lnTo>
                  <a:lnTo>
                    <a:pt x="550" y="30"/>
                  </a:lnTo>
                  <a:lnTo>
                    <a:pt x="552" y="30"/>
                  </a:lnTo>
                  <a:lnTo>
                    <a:pt x="554" y="28"/>
                  </a:lnTo>
                  <a:lnTo>
                    <a:pt x="555" y="28"/>
                  </a:lnTo>
                  <a:lnTo>
                    <a:pt x="557" y="28"/>
                  </a:lnTo>
                  <a:lnTo>
                    <a:pt x="562" y="26"/>
                  </a:lnTo>
                  <a:lnTo>
                    <a:pt x="564" y="26"/>
                  </a:lnTo>
                  <a:lnTo>
                    <a:pt x="566" y="25"/>
                  </a:lnTo>
                  <a:lnTo>
                    <a:pt x="566" y="23"/>
                  </a:lnTo>
                  <a:lnTo>
                    <a:pt x="568" y="23"/>
                  </a:lnTo>
                  <a:lnTo>
                    <a:pt x="568" y="21"/>
                  </a:lnTo>
                  <a:lnTo>
                    <a:pt x="569" y="21"/>
                  </a:lnTo>
                  <a:lnTo>
                    <a:pt x="571" y="23"/>
                  </a:lnTo>
                  <a:lnTo>
                    <a:pt x="573" y="25"/>
                  </a:lnTo>
                  <a:lnTo>
                    <a:pt x="575" y="25"/>
                  </a:lnTo>
                  <a:lnTo>
                    <a:pt x="576" y="25"/>
                  </a:lnTo>
                  <a:lnTo>
                    <a:pt x="578" y="25"/>
                  </a:lnTo>
                  <a:lnTo>
                    <a:pt x="580" y="25"/>
                  </a:lnTo>
                  <a:lnTo>
                    <a:pt x="580" y="23"/>
                  </a:lnTo>
                  <a:lnTo>
                    <a:pt x="582" y="23"/>
                  </a:lnTo>
                  <a:lnTo>
                    <a:pt x="582" y="25"/>
                  </a:lnTo>
                  <a:lnTo>
                    <a:pt x="582" y="23"/>
                  </a:lnTo>
                  <a:lnTo>
                    <a:pt x="583" y="23"/>
                  </a:lnTo>
                  <a:lnTo>
                    <a:pt x="585" y="23"/>
                  </a:lnTo>
                  <a:lnTo>
                    <a:pt x="587" y="23"/>
                  </a:lnTo>
                  <a:lnTo>
                    <a:pt x="587" y="25"/>
                  </a:lnTo>
                  <a:lnTo>
                    <a:pt x="587" y="23"/>
                  </a:lnTo>
                  <a:lnTo>
                    <a:pt x="589" y="23"/>
                  </a:lnTo>
                  <a:lnTo>
                    <a:pt x="590" y="23"/>
                  </a:lnTo>
                  <a:lnTo>
                    <a:pt x="590" y="21"/>
                  </a:lnTo>
                  <a:lnTo>
                    <a:pt x="592" y="19"/>
                  </a:lnTo>
                  <a:lnTo>
                    <a:pt x="594" y="19"/>
                  </a:lnTo>
                  <a:lnTo>
                    <a:pt x="594" y="18"/>
                  </a:lnTo>
                  <a:lnTo>
                    <a:pt x="595" y="19"/>
                  </a:lnTo>
                  <a:lnTo>
                    <a:pt x="595" y="21"/>
                  </a:lnTo>
                  <a:lnTo>
                    <a:pt x="597" y="21"/>
                  </a:lnTo>
                  <a:lnTo>
                    <a:pt x="599" y="21"/>
                  </a:lnTo>
                  <a:lnTo>
                    <a:pt x="599" y="23"/>
                  </a:lnTo>
                  <a:lnTo>
                    <a:pt x="599" y="25"/>
                  </a:lnTo>
                  <a:lnTo>
                    <a:pt x="597" y="26"/>
                  </a:lnTo>
                  <a:lnTo>
                    <a:pt x="597" y="28"/>
                  </a:lnTo>
                  <a:lnTo>
                    <a:pt x="599" y="30"/>
                  </a:lnTo>
                  <a:lnTo>
                    <a:pt x="601" y="30"/>
                  </a:lnTo>
                  <a:lnTo>
                    <a:pt x="602" y="32"/>
                  </a:lnTo>
                  <a:lnTo>
                    <a:pt x="604" y="33"/>
                  </a:lnTo>
                  <a:lnTo>
                    <a:pt x="606" y="33"/>
                  </a:lnTo>
                  <a:lnTo>
                    <a:pt x="608" y="33"/>
                  </a:lnTo>
                  <a:lnTo>
                    <a:pt x="609" y="33"/>
                  </a:lnTo>
                  <a:lnTo>
                    <a:pt x="611" y="33"/>
                  </a:lnTo>
                  <a:lnTo>
                    <a:pt x="611" y="35"/>
                  </a:lnTo>
                  <a:lnTo>
                    <a:pt x="613" y="37"/>
                  </a:lnTo>
                  <a:lnTo>
                    <a:pt x="615" y="37"/>
                  </a:lnTo>
                  <a:lnTo>
                    <a:pt x="616" y="37"/>
                  </a:lnTo>
                  <a:lnTo>
                    <a:pt x="618" y="37"/>
                  </a:lnTo>
                  <a:lnTo>
                    <a:pt x="620" y="37"/>
                  </a:lnTo>
                  <a:lnTo>
                    <a:pt x="622" y="35"/>
                  </a:lnTo>
                  <a:lnTo>
                    <a:pt x="623" y="35"/>
                  </a:lnTo>
                  <a:lnTo>
                    <a:pt x="623" y="33"/>
                  </a:lnTo>
                  <a:lnTo>
                    <a:pt x="625" y="33"/>
                  </a:lnTo>
                  <a:lnTo>
                    <a:pt x="627" y="33"/>
                  </a:lnTo>
                  <a:lnTo>
                    <a:pt x="629" y="33"/>
                  </a:lnTo>
                  <a:lnTo>
                    <a:pt x="630" y="35"/>
                  </a:lnTo>
                  <a:lnTo>
                    <a:pt x="632" y="35"/>
                  </a:lnTo>
                  <a:lnTo>
                    <a:pt x="634" y="35"/>
                  </a:lnTo>
                  <a:lnTo>
                    <a:pt x="634" y="37"/>
                  </a:lnTo>
                  <a:lnTo>
                    <a:pt x="636" y="37"/>
                  </a:lnTo>
                  <a:lnTo>
                    <a:pt x="636" y="39"/>
                  </a:lnTo>
                  <a:lnTo>
                    <a:pt x="637" y="39"/>
                  </a:lnTo>
                  <a:lnTo>
                    <a:pt x="641" y="39"/>
                  </a:lnTo>
                  <a:lnTo>
                    <a:pt x="642" y="37"/>
                  </a:lnTo>
                  <a:lnTo>
                    <a:pt x="642" y="39"/>
                  </a:lnTo>
                  <a:lnTo>
                    <a:pt x="644" y="40"/>
                  </a:lnTo>
                  <a:lnTo>
                    <a:pt x="646" y="40"/>
                  </a:lnTo>
                  <a:lnTo>
                    <a:pt x="648" y="40"/>
                  </a:lnTo>
                  <a:lnTo>
                    <a:pt x="649" y="40"/>
                  </a:lnTo>
                  <a:lnTo>
                    <a:pt x="651" y="39"/>
                  </a:lnTo>
                  <a:lnTo>
                    <a:pt x="653" y="39"/>
                  </a:lnTo>
                  <a:lnTo>
                    <a:pt x="653" y="40"/>
                  </a:lnTo>
                  <a:lnTo>
                    <a:pt x="655" y="42"/>
                  </a:lnTo>
                  <a:lnTo>
                    <a:pt x="653" y="44"/>
                  </a:lnTo>
                  <a:lnTo>
                    <a:pt x="651" y="44"/>
                  </a:lnTo>
                  <a:lnTo>
                    <a:pt x="649" y="45"/>
                  </a:lnTo>
                  <a:lnTo>
                    <a:pt x="649" y="47"/>
                  </a:lnTo>
                  <a:lnTo>
                    <a:pt x="649" y="49"/>
                  </a:lnTo>
                  <a:lnTo>
                    <a:pt x="649" y="51"/>
                  </a:lnTo>
                  <a:lnTo>
                    <a:pt x="649" y="52"/>
                  </a:lnTo>
                  <a:lnTo>
                    <a:pt x="651" y="54"/>
                  </a:lnTo>
                  <a:lnTo>
                    <a:pt x="653" y="56"/>
                  </a:lnTo>
                  <a:lnTo>
                    <a:pt x="655" y="56"/>
                  </a:lnTo>
                  <a:lnTo>
                    <a:pt x="656" y="56"/>
                  </a:lnTo>
                  <a:lnTo>
                    <a:pt x="656" y="58"/>
                  </a:lnTo>
                  <a:lnTo>
                    <a:pt x="656" y="59"/>
                  </a:lnTo>
                  <a:lnTo>
                    <a:pt x="656" y="61"/>
                  </a:lnTo>
                  <a:lnTo>
                    <a:pt x="656" y="63"/>
                  </a:lnTo>
                  <a:lnTo>
                    <a:pt x="658" y="65"/>
                  </a:lnTo>
                  <a:lnTo>
                    <a:pt x="658" y="68"/>
                  </a:lnTo>
                  <a:lnTo>
                    <a:pt x="658" y="70"/>
                  </a:lnTo>
                  <a:lnTo>
                    <a:pt x="658" y="72"/>
                  </a:lnTo>
                  <a:lnTo>
                    <a:pt x="660" y="73"/>
                  </a:lnTo>
                  <a:lnTo>
                    <a:pt x="658" y="75"/>
                  </a:lnTo>
                  <a:lnTo>
                    <a:pt x="658" y="77"/>
                  </a:lnTo>
                  <a:lnTo>
                    <a:pt x="658" y="79"/>
                  </a:lnTo>
                  <a:lnTo>
                    <a:pt x="656" y="80"/>
                  </a:lnTo>
                  <a:lnTo>
                    <a:pt x="656" y="82"/>
                  </a:lnTo>
                  <a:lnTo>
                    <a:pt x="658" y="84"/>
                  </a:lnTo>
                  <a:lnTo>
                    <a:pt x="658" y="86"/>
                  </a:lnTo>
                  <a:lnTo>
                    <a:pt x="656" y="87"/>
                  </a:lnTo>
                  <a:lnTo>
                    <a:pt x="656" y="89"/>
                  </a:lnTo>
                  <a:lnTo>
                    <a:pt x="658" y="91"/>
                  </a:lnTo>
                  <a:lnTo>
                    <a:pt x="658" y="93"/>
                  </a:lnTo>
                  <a:lnTo>
                    <a:pt x="660" y="93"/>
                  </a:lnTo>
                  <a:lnTo>
                    <a:pt x="660" y="94"/>
                  </a:lnTo>
                  <a:lnTo>
                    <a:pt x="660" y="96"/>
                  </a:lnTo>
                  <a:lnTo>
                    <a:pt x="662" y="96"/>
                  </a:lnTo>
                  <a:lnTo>
                    <a:pt x="662" y="98"/>
                  </a:lnTo>
                  <a:lnTo>
                    <a:pt x="662" y="99"/>
                  </a:lnTo>
                  <a:lnTo>
                    <a:pt x="663" y="101"/>
                  </a:lnTo>
                  <a:lnTo>
                    <a:pt x="663" y="103"/>
                  </a:lnTo>
                  <a:lnTo>
                    <a:pt x="665" y="105"/>
                  </a:lnTo>
                  <a:lnTo>
                    <a:pt x="667" y="105"/>
                  </a:lnTo>
                  <a:lnTo>
                    <a:pt x="669" y="105"/>
                  </a:lnTo>
                  <a:lnTo>
                    <a:pt x="669" y="103"/>
                  </a:lnTo>
                  <a:lnTo>
                    <a:pt x="670" y="103"/>
                  </a:lnTo>
                  <a:lnTo>
                    <a:pt x="670" y="101"/>
                  </a:lnTo>
                  <a:lnTo>
                    <a:pt x="672" y="99"/>
                  </a:lnTo>
                  <a:lnTo>
                    <a:pt x="674" y="99"/>
                  </a:lnTo>
                  <a:lnTo>
                    <a:pt x="676" y="99"/>
                  </a:lnTo>
                  <a:lnTo>
                    <a:pt x="677" y="103"/>
                  </a:lnTo>
                  <a:lnTo>
                    <a:pt x="681" y="105"/>
                  </a:lnTo>
                  <a:lnTo>
                    <a:pt x="683" y="105"/>
                  </a:lnTo>
                  <a:lnTo>
                    <a:pt x="683" y="103"/>
                  </a:lnTo>
                  <a:lnTo>
                    <a:pt x="683" y="101"/>
                  </a:lnTo>
                  <a:lnTo>
                    <a:pt x="683" y="99"/>
                  </a:lnTo>
                  <a:lnTo>
                    <a:pt x="683" y="98"/>
                  </a:lnTo>
                  <a:lnTo>
                    <a:pt x="681" y="96"/>
                  </a:lnTo>
                  <a:lnTo>
                    <a:pt x="681" y="94"/>
                  </a:lnTo>
                  <a:lnTo>
                    <a:pt x="681" y="93"/>
                  </a:lnTo>
                  <a:lnTo>
                    <a:pt x="683" y="93"/>
                  </a:lnTo>
                  <a:lnTo>
                    <a:pt x="683" y="91"/>
                  </a:lnTo>
                  <a:lnTo>
                    <a:pt x="684" y="91"/>
                  </a:lnTo>
                  <a:lnTo>
                    <a:pt x="686" y="91"/>
                  </a:lnTo>
                  <a:lnTo>
                    <a:pt x="690" y="89"/>
                  </a:lnTo>
                  <a:lnTo>
                    <a:pt x="690" y="91"/>
                  </a:lnTo>
                  <a:lnTo>
                    <a:pt x="691" y="91"/>
                  </a:lnTo>
                  <a:lnTo>
                    <a:pt x="691" y="93"/>
                  </a:lnTo>
                  <a:lnTo>
                    <a:pt x="693" y="91"/>
                  </a:lnTo>
                  <a:lnTo>
                    <a:pt x="695" y="91"/>
                  </a:lnTo>
                  <a:lnTo>
                    <a:pt x="696" y="91"/>
                  </a:lnTo>
                  <a:lnTo>
                    <a:pt x="698" y="91"/>
                  </a:lnTo>
                  <a:lnTo>
                    <a:pt x="700" y="91"/>
                  </a:lnTo>
                  <a:lnTo>
                    <a:pt x="703" y="91"/>
                  </a:lnTo>
                  <a:lnTo>
                    <a:pt x="705" y="91"/>
                  </a:lnTo>
                  <a:lnTo>
                    <a:pt x="707" y="91"/>
                  </a:lnTo>
                  <a:lnTo>
                    <a:pt x="709" y="91"/>
                  </a:lnTo>
                  <a:lnTo>
                    <a:pt x="710" y="91"/>
                  </a:lnTo>
                  <a:lnTo>
                    <a:pt x="710" y="93"/>
                  </a:lnTo>
                  <a:lnTo>
                    <a:pt x="712" y="93"/>
                  </a:lnTo>
                  <a:lnTo>
                    <a:pt x="714" y="93"/>
                  </a:lnTo>
                  <a:lnTo>
                    <a:pt x="716" y="94"/>
                  </a:lnTo>
                  <a:lnTo>
                    <a:pt x="717" y="94"/>
                  </a:lnTo>
                  <a:lnTo>
                    <a:pt x="717" y="96"/>
                  </a:lnTo>
                  <a:lnTo>
                    <a:pt x="719" y="98"/>
                  </a:lnTo>
                  <a:lnTo>
                    <a:pt x="721" y="98"/>
                  </a:lnTo>
                  <a:lnTo>
                    <a:pt x="723" y="98"/>
                  </a:lnTo>
                  <a:lnTo>
                    <a:pt x="724" y="96"/>
                  </a:lnTo>
                  <a:lnTo>
                    <a:pt x="726" y="96"/>
                  </a:lnTo>
                  <a:lnTo>
                    <a:pt x="730" y="99"/>
                  </a:lnTo>
                  <a:lnTo>
                    <a:pt x="731" y="101"/>
                  </a:lnTo>
                  <a:lnTo>
                    <a:pt x="733" y="103"/>
                  </a:lnTo>
                  <a:lnTo>
                    <a:pt x="735" y="105"/>
                  </a:lnTo>
                  <a:lnTo>
                    <a:pt x="737" y="105"/>
                  </a:lnTo>
                  <a:lnTo>
                    <a:pt x="738" y="106"/>
                  </a:lnTo>
                  <a:lnTo>
                    <a:pt x="740" y="106"/>
                  </a:lnTo>
                  <a:lnTo>
                    <a:pt x="742" y="108"/>
                  </a:lnTo>
                  <a:lnTo>
                    <a:pt x="744" y="108"/>
                  </a:lnTo>
                  <a:lnTo>
                    <a:pt x="744" y="110"/>
                  </a:lnTo>
                  <a:lnTo>
                    <a:pt x="745" y="112"/>
                  </a:lnTo>
                  <a:lnTo>
                    <a:pt x="747" y="112"/>
                  </a:lnTo>
                  <a:lnTo>
                    <a:pt x="747" y="113"/>
                  </a:lnTo>
                  <a:lnTo>
                    <a:pt x="749" y="113"/>
                  </a:lnTo>
                  <a:lnTo>
                    <a:pt x="749" y="115"/>
                  </a:lnTo>
                  <a:lnTo>
                    <a:pt x="750" y="115"/>
                  </a:lnTo>
                  <a:lnTo>
                    <a:pt x="752" y="117"/>
                  </a:lnTo>
                  <a:lnTo>
                    <a:pt x="752" y="119"/>
                  </a:lnTo>
                  <a:lnTo>
                    <a:pt x="754" y="119"/>
                  </a:lnTo>
                  <a:lnTo>
                    <a:pt x="756" y="119"/>
                  </a:lnTo>
                  <a:lnTo>
                    <a:pt x="757" y="120"/>
                  </a:lnTo>
                  <a:lnTo>
                    <a:pt x="757" y="122"/>
                  </a:lnTo>
                  <a:lnTo>
                    <a:pt x="759" y="124"/>
                  </a:lnTo>
                  <a:lnTo>
                    <a:pt x="759" y="126"/>
                  </a:lnTo>
                  <a:lnTo>
                    <a:pt x="761" y="127"/>
                  </a:lnTo>
                  <a:lnTo>
                    <a:pt x="764" y="129"/>
                  </a:lnTo>
                  <a:lnTo>
                    <a:pt x="766" y="129"/>
                  </a:lnTo>
                  <a:lnTo>
                    <a:pt x="768" y="131"/>
                  </a:lnTo>
                  <a:lnTo>
                    <a:pt x="771" y="136"/>
                  </a:lnTo>
                  <a:lnTo>
                    <a:pt x="771" y="138"/>
                  </a:lnTo>
                  <a:lnTo>
                    <a:pt x="773" y="138"/>
                  </a:lnTo>
                  <a:lnTo>
                    <a:pt x="775" y="138"/>
                  </a:lnTo>
                  <a:lnTo>
                    <a:pt x="773" y="140"/>
                  </a:lnTo>
                  <a:lnTo>
                    <a:pt x="773" y="141"/>
                  </a:lnTo>
                  <a:lnTo>
                    <a:pt x="773" y="143"/>
                  </a:lnTo>
                  <a:lnTo>
                    <a:pt x="773" y="145"/>
                  </a:lnTo>
                  <a:lnTo>
                    <a:pt x="771" y="145"/>
                  </a:lnTo>
                  <a:lnTo>
                    <a:pt x="771" y="147"/>
                  </a:lnTo>
                  <a:lnTo>
                    <a:pt x="770" y="147"/>
                  </a:lnTo>
                  <a:lnTo>
                    <a:pt x="770" y="148"/>
                  </a:lnTo>
                  <a:lnTo>
                    <a:pt x="771" y="150"/>
                  </a:lnTo>
                  <a:lnTo>
                    <a:pt x="773" y="150"/>
                  </a:lnTo>
                  <a:lnTo>
                    <a:pt x="773" y="152"/>
                  </a:lnTo>
                  <a:lnTo>
                    <a:pt x="775" y="152"/>
                  </a:lnTo>
                  <a:lnTo>
                    <a:pt x="775" y="154"/>
                  </a:lnTo>
                  <a:lnTo>
                    <a:pt x="777" y="155"/>
                  </a:lnTo>
                  <a:lnTo>
                    <a:pt x="777" y="157"/>
                  </a:lnTo>
                  <a:lnTo>
                    <a:pt x="778" y="157"/>
                  </a:lnTo>
                  <a:lnTo>
                    <a:pt x="778" y="159"/>
                  </a:lnTo>
                  <a:lnTo>
                    <a:pt x="780" y="160"/>
                  </a:lnTo>
                  <a:lnTo>
                    <a:pt x="780" y="162"/>
                  </a:lnTo>
                  <a:lnTo>
                    <a:pt x="782" y="164"/>
                  </a:lnTo>
                  <a:lnTo>
                    <a:pt x="784" y="164"/>
                  </a:lnTo>
                  <a:lnTo>
                    <a:pt x="784" y="166"/>
                  </a:lnTo>
                  <a:lnTo>
                    <a:pt x="785" y="166"/>
                  </a:lnTo>
                  <a:lnTo>
                    <a:pt x="785" y="167"/>
                  </a:lnTo>
                  <a:lnTo>
                    <a:pt x="785" y="169"/>
                  </a:lnTo>
                  <a:lnTo>
                    <a:pt x="785" y="171"/>
                  </a:lnTo>
                  <a:lnTo>
                    <a:pt x="787" y="171"/>
                  </a:lnTo>
                  <a:lnTo>
                    <a:pt x="787" y="173"/>
                  </a:lnTo>
                  <a:lnTo>
                    <a:pt x="789" y="173"/>
                  </a:lnTo>
                  <a:lnTo>
                    <a:pt x="789" y="176"/>
                  </a:lnTo>
                  <a:lnTo>
                    <a:pt x="791" y="178"/>
                  </a:lnTo>
                  <a:lnTo>
                    <a:pt x="789" y="180"/>
                  </a:lnTo>
                  <a:lnTo>
                    <a:pt x="791" y="181"/>
                  </a:lnTo>
                  <a:lnTo>
                    <a:pt x="792" y="181"/>
                  </a:lnTo>
                  <a:lnTo>
                    <a:pt x="792" y="183"/>
                  </a:lnTo>
                  <a:lnTo>
                    <a:pt x="792" y="185"/>
                  </a:lnTo>
                  <a:lnTo>
                    <a:pt x="792" y="187"/>
                  </a:lnTo>
                  <a:lnTo>
                    <a:pt x="792" y="188"/>
                  </a:lnTo>
                  <a:lnTo>
                    <a:pt x="794" y="188"/>
                  </a:lnTo>
                  <a:lnTo>
                    <a:pt x="794" y="190"/>
                  </a:lnTo>
                  <a:lnTo>
                    <a:pt x="794" y="192"/>
                  </a:lnTo>
                  <a:lnTo>
                    <a:pt x="796" y="192"/>
                  </a:lnTo>
                  <a:lnTo>
                    <a:pt x="796" y="194"/>
                  </a:lnTo>
                  <a:lnTo>
                    <a:pt x="794" y="194"/>
                  </a:lnTo>
                  <a:lnTo>
                    <a:pt x="794" y="195"/>
                  </a:lnTo>
                  <a:lnTo>
                    <a:pt x="792" y="197"/>
                  </a:lnTo>
                  <a:lnTo>
                    <a:pt x="791" y="199"/>
                  </a:lnTo>
                  <a:lnTo>
                    <a:pt x="789" y="199"/>
                  </a:lnTo>
                  <a:lnTo>
                    <a:pt x="787" y="201"/>
                  </a:lnTo>
                  <a:lnTo>
                    <a:pt x="787" y="202"/>
                  </a:lnTo>
                  <a:lnTo>
                    <a:pt x="787" y="204"/>
                  </a:lnTo>
                  <a:lnTo>
                    <a:pt x="787" y="206"/>
                  </a:lnTo>
                  <a:lnTo>
                    <a:pt x="787" y="208"/>
                  </a:lnTo>
                  <a:lnTo>
                    <a:pt x="785" y="208"/>
                  </a:lnTo>
                  <a:lnTo>
                    <a:pt x="785" y="209"/>
                  </a:lnTo>
                  <a:lnTo>
                    <a:pt x="784" y="209"/>
                  </a:lnTo>
                  <a:lnTo>
                    <a:pt x="784" y="211"/>
                  </a:lnTo>
                  <a:lnTo>
                    <a:pt x="784" y="213"/>
                  </a:lnTo>
                  <a:lnTo>
                    <a:pt x="785" y="213"/>
                  </a:lnTo>
                  <a:lnTo>
                    <a:pt x="785" y="215"/>
                  </a:lnTo>
                  <a:lnTo>
                    <a:pt x="785" y="216"/>
                  </a:lnTo>
                  <a:lnTo>
                    <a:pt x="785" y="218"/>
                  </a:lnTo>
                  <a:lnTo>
                    <a:pt x="785" y="220"/>
                  </a:lnTo>
                  <a:lnTo>
                    <a:pt x="787" y="221"/>
                  </a:lnTo>
                  <a:lnTo>
                    <a:pt x="789" y="221"/>
                  </a:lnTo>
                  <a:lnTo>
                    <a:pt x="791" y="223"/>
                  </a:lnTo>
                  <a:lnTo>
                    <a:pt x="792" y="225"/>
                  </a:lnTo>
                  <a:lnTo>
                    <a:pt x="792" y="228"/>
                  </a:lnTo>
                  <a:lnTo>
                    <a:pt x="792" y="230"/>
                  </a:lnTo>
                  <a:lnTo>
                    <a:pt x="792" y="232"/>
                  </a:lnTo>
                  <a:lnTo>
                    <a:pt x="794" y="232"/>
                  </a:lnTo>
                  <a:lnTo>
                    <a:pt x="796" y="232"/>
                  </a:lnTo>
                  <a:lnTo>
                    <a:pt x="796" y="234"/>
                  </a:lnTo>
                  <a:lnTo>
                    <a:pt x="797" y="235"/>
                  </a:lnTo>
                  <a:lnTo>
                    <a:pt x="799" y="237"/>
                  </a:lnTo>
                  <a:lnTo>
                    <a:pt x="801" y="239"/>
                  </a:lnTo>
                  <a:lnTo>
                    <a:pt x="801" y="241"/>
                  </a:lnTo>
                  <a:lnTo>
                    <a:pt x="801" y="242"/>
                  </a:lnTo>
                  <a:lnTo>
                    <a:pt x="801" y="244"/>
                  </a:lnTo>
                  <a:lnTo>
                    <a:pt x="799" y="244"/>
                  </a:lnTo>
                  <a:lnTo>
                    <a:pt x="797" y="244"/>
                  </a:lnTo>
                  <a:lnTo>
                    <a:pt x="796" y="244"/>
                  </a:lnTo>
                  <a:lnTo>
                    <a:pt x="794" y="242"/>
                  </a:lnTo>
                  <a:lnTo>
                    <a:pt x="794" y="241"/>
                  </a:lnTo>
                  <a:lnTo>
                    <a:pt x="792" y="241"/>
                  </a:lnTo>
                  <a:lnTo>
                    <a:pt x="791" y="241"/>
                  </a:lnTo>
                  <a:lnTo>
                    <a:pt x="789" y="242"/>
                  </a:lnTo>
                  <a:lnTo>
                    <a:pt x="789" y="244"/>
                  </a:lnTo>
                  <a:lnTo>
                    <a:pt x="789" y="246"/>
                  </a:lnTo>
                  <a:lnTo>
                    <a:pt x="789" y="248"/>
                  </a:lnTo>
                  <a:lnTo>
                    <a:pt x="789" y="249"/>
                  </a:lnTo>
                  <a:lnTo>
                    <a:pt x="789" y="251"/>
                  </a:lnTo>
                  <a:lnTo>
                    <a:pt x="791" y="253"/>
                  </a:lnTo>
                  <a:lnTo>
                    <a:pt x="789" y="253"/>
                  </a:lnTo>
                  <a:lnTo>
                    <a:pt x="789" y="255"/>
                  </a:lnTo>
                  <a:lnTo>
                    <a:pt x="789" y="258"/>
                  </a:lnTo>
                  <a:lnTo>
                    <a:pt x="791" y="258"/>
                  </a:lnTo>
                  <a:lnTo>
                    <a:pt x="791" y="260"/>
                  </a:lnTo>
                  <a:lnTo>
                    <a:pt x="789" y="260"/>
                  </a:lnTo>
                  <a:lnTo>
                    <a:pt x="787" y="260"/>
                  </a:lnTo>
                  <a:lnTo>
                    <a:pt x="785" y="260"/>
                  </a:lnTo>
                  <a:lnTo>
                    <a:pt x="785" y="262"/>
                  </a:lnTo>
                  <a:lnTo>
                    <a:pt x="784" y="262"/>
                  </a:lnTo>
                  <a:lnTo>
                    <a:pt x="782" y="262"/>
                  </a:lnTo>
                  <a:lnTo>
                    <a:pt x="780" y="262"/>
                  </a:lnTo>
                  <a:lnTo>
                    <a:pt x="778" y="262"/>
                  </a:lnTo>
                  <a:lnTo>
                    <a:pt x="778" y="263"/>
                  </a:lnTo>
                  <a:lnTo>
                    <a:pt x="780" y="265"/>
                  </a:lnTo>
                  <a:lnTo>
                    <a:pt x="777" y="267"/>
                  </a:lnTo>
                  <a:lnTo>
                    <a:pt x="775" y="269"/>
                  </a:lnTo>
                  <a:lnTo>
                    <a:pt x="773" y="269"/>
                  </a:lnTo>
                  <a:lnTo>
                    <a:pt x="771" y="270"/>
                  </a:lnTo>
                  <a:lnTo>
                    <a:pt x="771" y="272"/>
                  </a:lnTo>
                  <a:lnTo>
                    <a:pt x="773" y="272"/>
                  </a:lnTo>
                  <a:lnTo>
                    <a:pt x="775" y="274"/>
                  </a:lnTo>
                  <a:lnTo>
                    <a:pt x="775" y="276"/>
                  </a:lnTo>
                  <a:lnTo>
                    <a:pt x="773" y="277"/>
                  </a:lnTo>
                  <a:lnTo>
                    <a:pt x="773" y="279"/>
                  </a:lnTo>
                  <a:lnTo>
                    <a:pt x="775" y="281"/>
                  </a:lnTo>
                  <a:lnTo>
                    <a:pt x="773" y="281"/>
                  </a:lnTo>
                  <a:lnTo>
                    <a:pt x="771" y="282"/>
                  </a:lnTo>
                  <a:lnTo>
                    <a:pt x="773" y="286"/>
                  </a:lnTo>
                  <a:lnTo>
                    <a:pt x="775" y="289"/>
                  </a:lnTo>
                  <a:lnTo>
                    <a:pt x="777" y="291"/>
                  </a:lnTo>
                  <a:lnTo>
                    <a:pt x="785" y="295"/>
                  </a:lnTo>
                  <a:lnTo>
                    <a:pt x="791" y="295"/>
                  </a:lnTo>
                  <a:lnTo>
                    <a:pt x="797" y="295"/>
                  </a:lnTo>
                  <a:lnTo>
                    <a:pt x="799" y="295"/>
                  </a:lnTo>
                  <a:lnTo>
                    <a:pt x="804" y="296"/>
                  </a:lnTo>
                  <a:lnTo>
                    <a:pt x="808" y="302"/>
                  </a:lnTo>
                  <a:lnTo>
                    <a:pt x="810" y="303"/>
                  </a:lnTo>
                  <a:lnTo>
                    <a:pt x="815" y="310"/>
                  </a:lnTo>
                  <a:lnTo>
                    <a:pt x="817" y="312"/>
                  </a:lnTo>
                  <a:lnTo>
                    <a:pt x="817" y="314"/>
                  </a:lnTo>
                  <a:lnTo>
                    <a:pt x="818" y="316"/>
                  </a:lnTo>
                  <a:lnTo>
                    <a:pt x="822" y="321"/>
                  </a:lnTo>
                  <a:lnTo>
                    <a:pt x="825" y="328"/>
                  </a:lnTo>
                  <a:lnTo>
                    <a:pt x="825" y="333"/>
                  </a:lnTo>
                  <a:lnTo>
                    <a:pt x="827" y="336"/>
                  </a:lnTo>
                  <a:lnTo>
                    <a:pt x="825" y="340"/>
                  </a:lnTo>
                  <a:lnTo>
                    <a:pt x="822" y="338"/>
                  </a:lnTo>
                  <a:lnTo>
                    <a:pt x="820" y="338"/>
                  </a:lnTo>
                  <a:lnTo>
                    <a:pt x="818" y="340"/>
                  </a:lnTo>
                  <a:lnTo>
                    <a:pt x="822" y="342"/>
                  </a:lnTo>
                  <a:lnTo>
                    <a:pt x="824" y="345"/>
                  </a:lnTo>
                  <a:lnTo>
                    <a:pt x="827" y="349"/>
                  </a:lnTo>
                  <a:lnTo>
                    <a:pt x="831" y="350"/>
                  </a:lnTo>
                  <a:lnTo>
                    <a:pt x="834" y="352"/>
                  </a:lnTo>
                  <a:lnTo>
                    <a:pt x="839" y="352"/>
                  </a:lnTo>
                  <a:lnTo>
                    <a:pt x="841" y="352"/>
                  </a:lnTo>
                  <a:lnTo>
                    <a:pt x="843" y="350"/>
                  </a:lnTo>
                  <a:lnTo>
                    <a:pt x="846" y="352"/>
                  </a:lnTo>
                  <a:lnTo>
                    <a:pt x="846" y="354"/>
                  </a:lnTo>
                  <a:lnTo>
                    <a:pt x="850" y="352"/>
                  </a:lnTo>
                  <a:lnTo>
                    <a:pt x="851" y="349"/>
                  </a:lnTo>
                  <a:lnTo>
                    <a:pt x="855" y="347"/>
                  </a:lnTo>
                  <a:lnTo>
                    <a:pt x="865" y="347"/>
                  </a:lnTo>
                  <a:lnTo>
                    <a:pt x="867" y="347"/>
                  </a:lnTo>
                  <a:lnTo>
                    <a:pt x="869" y="349"/>
                  </a:lnTo>
                  <a:lnTo>
                    <a:pt x="872" y="349"/>
                  </a:lnTo>
                  <a:lnTo>
                    <a:pt x="874" y="347"/>
                  </a:lnTo>
                  <a:lnTo>
                    <a:pt x="876" y="342"/>
                  </a:lnTo>
                  <a:lnTo>
                    <a:pt x="878" y="340"/>
                  </a:lnTo>
                  <a:lnTo>
                    <a:pt x="881" y="342"/>
                  </a:lnTo>
                  <a:lnTo>
                    <a:pt x="888" y="342"/>
                  </a:lnTo>
                  <a:lnTo>
                    <a:pt x="890" y="342"/>
                  </a:lnTo>
                  <a:lnTo>
                    <a:pt x="892" y="342"/>
                  </a:lnTo>
                  <a:lnTo>
                    <a:pt x="893" y="338"/>
                  </a:lnTo>
                  <a:lnTo>
                    <a:pt x="897" y="336"/>
                  </a:lnTo>
                  <a:lnTo>
                    <a:pt x="899" y="335"/>
                  </a:lnTo>
                  <a:lnTo>
                    <a:pt x="911" y="333"/>
                  </a:lnTo>
                  <a:lnTo>
                    <a:pt x="912" y="331"/>
                  </a:lnTo>
                  <a:lnTo>
                    <a:pt x="916" y="328"/>
                  </a:lnTo>
                  <a:lnTo>
                    <a:pt x="918" y="324"/>
                  </a:lnTo>
                  <a:lnTo>
                    <a:pt x="925" y="330"/>
                  </a:lnTo>
                  <a:lnTo>
                    <a:pt x="923" y="333"/>
                  </a:lnTo>
                  <a:lnTo>
                    <a:pt x="923" y="338"/>
                  </a:lnTo>
                  <a:lnTo>
                    <a:pt x="921" y="345"/>
                  </a:lnTo>
                  <a:lnTo>
                    <a:pt x="921" y="347"/>
                  </a:lnTo>
                  <a:lnTo>
                    <a:pt x="919" y="347"/>
                  </a:lnTo>
                  <a:lnTo>
                    <a:pt x="919" y="349"/>
                  </a:lnTo>
                  <a:lnTo>
                    <a:pt x="919" y="350"/>
                  </a:lnTo>
                  <a:lnTo>
                    <a:pt x="921" y="356"/>
                  </a:lnTo>
                  <a:lnTo>
                    <a:pt x="925" y="363"/>
                  </a:lnTo>
                  <a:lnTo>
                    <a:pt x="926" y="366"/>
                  </a:lnTo>
                  <a:lnTo>
                    <a:pt x="926" y="368"/>
                  </a:lnTo>
                  <a:lnTo>
                    <a:pt x="933" y="368"/>
                  </a:lnTo>
                  <a:lnTo>
                    <a:pt x="935" y="368"/>
                  </a:lnTo>
                  <a:lnTo>
                    <a:pt x="937" y="370"/>
                  </a:lnTo>
                  <a:lnTo>
                    <a:pt x="944" y="370"/>
                  </a:lnTo>
                  <a:lnTo>
                    <a:pt x="947" y="370"/>
                  </a:lnTo>
                  <a:lnTo>
                    <a:pt x="949" y="375"/>
                  </a:lnTo>
                  <a:lnTo>
                    <a:pt x="951" y="378"/>
                  </a:lnTo>
                  <a:lnTo>
                    <a:pt x="954" y="380"/>
                  </a:lnTo>
                  <a:lnTo>
                    <a:pt x="958" y="382"/>
                  </a:lnTo>
                  <a:lnTo>
                    <a:pt x="958" y="384"/>
                  </a:lnTo>
                  <a:lnTo>
                    <a:pt x="961" y="387"/>
                  </a:lnTo>
                  <a:lnTo>
                    <a:pt x="961" y="391"/>
                  </a:lnTo>
                  <a:lnTo>
                    <a:pt x="963" y="394"/>
                  </a:lnTo>
                  <a:lnTo>
                    <a:pt x="963" y="396"/>
                  </a:lnTo>
                  <a:lnTo>
                    <a:pt x="965" y="396"/>
                  </a:lnTo>
                  <a:lnTo>
                    <a:pt x="968" y="394"/>
                  </a:lnTo>
                  <a:lnTo>
                    <a:pt x="970" y="392"/>
                  </a:lnTo>
                  <a:lnTo>
                    <a:pt x="973" y="392"/>
                  </a:lnTo>
                  <a:lnTo>
                    <a:pt x="975" y="392"/>
                  </a:lnTo>
                  <a:lnTo>
                    <a:pt x="979" y="394"/>
                  </a:lnTo>
                  <a:lnTo>
                    <a:pt x="982" y="396"/>
                  </a:lnTo>
                  <a:lnTo>
                    <a:pt x="986" y="396"/>
                  </a:lnTo>
                  <a:lnTo>
                    <a:pt x="989" y="397"/>
                  </a:lnTo>
                  <a:lnTo>
                    <a:pt x="993" y="399"/>
                  </a:lnTo>
                  <a:lnTo>
                    <a:pt x="994" y="401"/>
                  </a:lnTo>
                  <a:lnTo>
                    <a:pt x="996" y="404"/>
                  </a:lnTo>
                  <a:lnTo>
                    <a:pt x="998" y="408"/>
                  </a:lnTo>
                  <a:lnTo>
                    <a:pt x="1000" y="411"/>
                  </a:lnTo>
                  <a:lnTo>
                    <a:pt x="1001" y="411"/>
                  </a:lnTo>
                  <a:lnTo>
                    <a:pt x="1005" y="413"/>
                  </a:lnTo>
                  <a:lnTo>
                    <a:pt x="1008" y="413"/>
                  </a:lnTo>
                  <a:lnTo>
                    <a:pt x="1012" y="413"/>
                  </a:lnTo>
                  <a:lnTo>
                    <a:pt x="1017" y="413"/>
                  </a:lnTo>
                  <a:lnTo>
                    <a:pt x="1020" y="413"/>
                  </a:lnTo>
                  <a:lnTo>
                    <a:pt x="1024" y="413"/>
                  </a:lnTo>
                  <a:lnTo>
                    <a:pt x="1029" y="415"/>
                  </a:lnTo>
                  <a:lnTo>
                    <a:pt x="1031" y="417"/>
                  </a:lnTo>
                  <a:lnTo>
                    <a:pt x="1034" y="420"/>
                  </a:lnTo>
                  <a:lnTo>
                    <a:pt x="1041" y="425"/>
                  </a:lnTo>
                  <a:lnTo>
                    <a:pt x="1047" y="429"/>
                  </a:lnTo>
                  <a:lnTo>
                    <a:pt x="1050" y="431"/>
                  </a:lnTo>
                  <a:lnTo>
                    <a:pt x="1060" y="434"/>
                  </a:lnTo>
                  <a:lnTo>
                    <a:pt x="1062" y="436"/>
                  </a:lnTo>
                  <a:lnTo>
                    <a:pt x="1073" y="432"/>
                  </a:lnTo>
                  <a:lnTo>
                    <a:pt x="1076" y="429"/>
                  </a:lnTo>
                  <a:lnTo>
                    <a:pt x="1078" y="429"/>
                  </a:lnTo>
                  <a:lnTo>
                    <a:pt x="1081" y="427"/>
                  </a:lnTo>
                  <a:lnTo>
                    <a:pt x="1085" y="429"/>
                  </a:lnTo>
                  <a:lnTo>
                    <a:pt x="1090" y="432"/>
                  </a:lnTo>
                  <a:lnTo>
                    <a:pt x="1088" y="438"/>
                  </a:lnTo>
                  <a:lnTo>
                    <a:pt x="1090" y="443"/>
                  </a:lnTo>
                  <a:lnTo>
                    <a:pt x="1095" y="446"/>
                  </a:lnTo>
                  <a:lnTo>
                    <a:pt x="1094" y="448"/>
                  </a:lnTo>
                  <a:lnTo>
                    <a:pt x="1092" y="448"/>
                  </a:lnTo>
                  <a:lnTo>
                    <a:pt x="1092" y="446"/>
                  </a:lnTo>
                  <a:lnTo>
                    <a:pt x="1090" y="446"/>
                  </a:lnTo>
                  <a:lnTo>
                    <a:pt x="1083" y="469"/>
                  </a:lnTo>
                  <a:lnTo>
                    <a:pt x="1083" y="472"/>
                  </a:lnTo>
                  <a:lnTo>
                    <a:pt x="1076" y="492"/>
                  </a:lnTo>
                  <a:lnTo>
                    <a:pt x="1071" y="513"/>
                  </a:lnTo>
                  <a:lnTo>
                    <a:pt x="1066" y="530"/>
                  </a:lnTo>
                  <a:lnTo>
                    <a:pt x="1066" y="540"/>
                  </a:lnTo>
                  <a:lnTo>
                    <a:pt x="1064" y="546"/>
                  </a:lnTo>
                  <a:lnTo>
                    <a:pt x="1064" y="549"/>
                  </a:lnTo>
                  <a:lnTo>
                    <a:pt x="1062" y="560"/>
                  </a:lnTo>
                  <a:lnTo>
                    <a:pt x="1054" y="572"/>
                  </a:lnTo>
                  <a:lnTo>
                    <a:pt x="1054" y="573"/>
                  </a:lnTo>
                  <a:lnTo>
                    <a:pt x="1054" y="575"/>
                  </a:lnTo>
                  <a:lnTo>
                    <a:pt x="1054" y="577"/>
                  </a:lnTo>
                  <a:lnTo>
                    <a:pt x="1054" y="579"/>
                  </a:lnTo>
                  <a:lnTo>
                    <a:pt x="1052" y="579"/>
                  </a:lnTo>
                  <a:lnTo>
                    <a:pt x="1052" y="580"/>
                  </a:lnTo>
                  <a:lnTo>
                    <a:pt x="1048" y="579"/>
                  </a:lnTo>
                  <a:lnTo>
                    <a:pt x="1047" y="577"/>
                  </a:lnTo>
                  <a:lnTo>
                    <a:pt x="1047" y="579"/>
                  </a:lnTo>
                  <a:lnTo>
                    <a:pt x="1045" y="580"/>
                  </a:lnTo>
                  <a:lnTo>
                    <a:pt x="1043" y="580"/>
                  </a:lnTo>
                  <a:lnTo>
                    <a:pt x="1040" y="580"/>
                  </a:lnTo>
                  <a:lnTo>
                    <a:pt x="1038" y="579"/>
                  </a:lnTo>
                  <a:lnTo>
                    <a:pt x="1034" y="580"/>
                  </a:lnTo>
                  <a:lnTo>
                    <a:pt x="1033" y="579"/>
                  </a:lnTo>
                  <a:lnTo>
                    <a:pt x="1031" y="579"/>
                  </a:lnTo>
                  <a:lnTo>
                    <a:pt x="1026" y="579"/>
                  </a:lnTo>
                  <a:lnTo>
                    <a:pt x="1022" y="579"/>
                  </a:lnTo>
                  <a:lnTo>
                    <a:pt x="1020" y="580"/>
                  </a:lnTo>
                  <a:lnTo>
                    <a:pt x="1020" y="586"/>
                  </a:lnTo>
                  <a:lnTo>
                    <a:pt x="1020" y="591"/>
                  </a:lnTo>
                  <a:lnTo>
                    <a:pt x="1020" y="600"/>
                  </a:lnTo>
                  <a:lnTo>
                    <a:pt x="1019" y="603"/>
                  </a:lnTo>
                  <a:lnTo>
                    <a:pt x="1015" y="605"/>
                  </a:lnTo>
                  <a:lnTo>
                    <a:pt x="1010" y="605"/>
                  </a:lnTo>
                  <a:lnTo>
                    <a:pt x="1006" y="603"/>
                  </a:lnTo>
                  <a:lnTo>
                    <a:pt x="1006" y="605"/>
                  </a:lnTo>
                  <a:lnTo>
                    <a:pt x="1005" y="603"/>
                  </a:lnTo>
                  <a:lnTo>
                    <a:pt x="1003" y="603"/>
                  </a:lnTo>
                  <a:lnTo>
                    <a:pt x="1003" y="601"/>
                  </a:lnTo>
                  <a:lnTo>
                    <a:pt x="1001" y="601"/>
                  </a:lnTo>
                  <a:lnTo>
                    <a:pt x="1001" y="600"/>
                  </a:lnTo>
                  <a:lnTo>
                    <a:pt x="1000" y="600"/>
                  </a:lnTo>
                  <a:lnTo>
                    <a:pt x="998" y="600"/>
                  </a:lnTo>
                  <a:lnTo>
                    <a:pt x="998" y="598"/>
                  </a:lnTo>
                  <a:lnTo>
                    <a:pt x="996" y="598"/>
                  </a:lnTo>
                  <a:lnTo>
                    <a:pt x="994" y="596"/>
                  </a:lnTo>
                  <a:lnTo>
                    <a:pt x="993" y="594"/>
                  </a:lnTo>
                  <a:lnTo>
                    <a:pt x="991" y="594"/>
                  </a:lnTo>
                  <a:lnTo>
                    <a:pt x="989" y="594"/>
                  </a:lnTo>
                  <a:lnTo>
                    <a:pt x="986" y="596"/>
                  </a:lnTo>
                  <a:lnTo>
                    <a:pt x="982" y="600"/>
                  </a:lnTo>
                  <a:lnTo>
                    <a:pt x="977" y="605"/>
                  </a:lnTo>
                  <a:lnTo>
                    <a:pt x="973" y="607"/>
                  </a:lnTo>
                  <a:lnTo>
                    <a:pt x="966" y="607"/>
                  </a:lnTo>
                  <a:lnTo>
                    <a:pt x="963" y="607"/>
                  </a:lnTo>
                  <a:lnTo>
                    <a:pt x="959" y="608"/>
                  </a:lnTo>
                  <a:lnTo>
                    <a:pt x="959" y="619"/>
                  </a:lnTo>
                  <a:lnTo>
                    <a:pt x="959" y="626"/>
                  </a:lnTo>
                  <a:lnTo>
                    <a:pt x="959" y="629"/>
                  </a:lnTo>
                  <a:lnTo>
                    <a:pt x="959" y="631"/>
                  </a:lnTo>
                  <a:lnTo>
                    <a:pt x="958" y="634"/>
                  </a:lnTo>
                  <a:lnTo>
                    <a:pt x="954" y="641"/>
                  </a:lnTo>
                  <a:lnTo>
                    <a:pt x="951" y="647"/>
                  </a:lnTo>
                  <a:lnTo>
                    <a:pt x="947" y="652"/>
                  </a:lnTo>
                  <a:lnTo>
                    <a:pt x="944" y="654"/>
                  </a:lnTo>
                  <a:lnTo>
                    <a:pt x="942" y="655"/>
                  </a:lnTo>
                  <a:lnTo>
                    <a:pt x="940" y="655"/>
                  </a:lnTo>
                  <a:lnTo>
                    <a:pt x="939" y="655"/>
                  </a:lnTo>
                  <a:lnTo>
                    <a:pt x="937" y="655"/>
                  </a:lnTo>
                  <a:lnTo>
                    <a:pt x="937" y="657"/>
                  </a:lnTo>
                  <a:lnTo>
                    <a:pt x="935" y="657"/>
                  </a:lnTo>
                  <a:lnTo>
                    <a:pt x="933" y="657"/>
                  </a:lnTo>
                  <a:lnTo>
                    <a:pt x="932" y="657"/>
                  </a:lnTo>
                  <a:lnTo>
                    <a:pt x="932" y="655"/>
                  </a:lnTo>
                  <a:lnTo>
                    <a:pt x="930" y="655"/>
                  </a:lnTo>
                  <a:lnTo>
                    <a:pt x="928" y="655"/>
                  </a:lnTo>
                  <a:lnTo>
                    <a:pt x="916" y="654"/>
                  </a:lnTo>
                  <a:lnTo>
                    <a:pt x="909" y="648"/>
                  </a:lnTo>
                  <a:lnTo>
                    <a:pt x="909" y="650"/>
                  </a:lnTo>
                  <a:lnTo>
                    <a:pt x="907" y="648"/>
                  </a:lnTo>
                  <a:lnTo>
                    <a:pt x="905" y="648"/>
                  </a:lnTo>
                  <a:lnTo>
                    <a:pt x="905" y="647"/>
                  </a:lnTo>
                  <a:lnTo>
                    <a:pt x="904" y="645"/>
                  </a:lnTo>
                  <a:lnTo>
                    <a:pt x="902" y="645"/>
                  </a:lnTo>
                  <a:lnTo>
                    <a:pt x="900" y="643"/>
                  </a:lnTo>
                  <a:lnTo>
                    <a:pt x="899" y="641"/>
                  </a:lnTo>
                  <a:lnTo>
                    <a:pt x="897" y="641"/>
                  </a:lnTo>
                  <a:lnTo>
                    <a:pt x="895" y="641"/>
                  </a:lnTo>
                  <a:lnTo>
                    <a:pt x="895" y="643"/>
                  </a:lnTo>
                  <a:lnTo>
                    <a:pt x="893" y="643"/>
                  </a:lnTo>
                  <a:lnTo>
                    <a:pt x="892" y="643"/>
                  </a:lnTo>
                  <a:lnTo>
                    <a:pt x="892" y="645"/>
                  </a:lnTo>
                  <a:lnTo>
                    <a:pt x="890" y="645"/>
                  </a:lnTo>
                  <a:lnTo>
                    <a:pt x="890" y="647"/>
                  </a:lnTo>
                  <a:lnTo>
                    <a:pt x="890" y="648"/>
                  </a:lnTo>
                  <a:lnTo>
                    <a:pt x="888" y="648"/>
                  </a:lnTo>
                  <a:lnTo>
                    <a:pt x="886" y="650"/>
                  </a:lnTo>
                  <a:lnTo>
                    <a:pt x="888" y="650"/>
                  </a:lnTo>
                  <a:lnTo>
                    <a:pt x="888" y="652"/>
                  </a:lnTo>
                  <a:lnTo>
                    <a:pt x="886" y="654"/>
                  </a:lnTo>
                  <a:lnTo>
                    <a:pt x="885" y="654"/>
                  </a:lnTo>
                  <a:lnTo>
                    <a:pt x="885" y="655"/>
                  </a:lnTo>
                  <a:lnTo>
                    <a:pt x="883" y="655"/>
                  </a:lnTo>
                  <a:lnTo>
                    <a:pt x="881" y="657"/>
                  </a:lnTo>
                  <a:lnTo>
                    <a:pt x="881" y="655"/>
                  </a:lnTo>
                  <a:lnTo>
                    <a:pt x="878" y="655"/>
                  </a:lnTo>
                  <a:lnTo>
                    <a:pt x="876" y="655"/>
                  </a:lnTo>
                  <a:lnTo>
                    <a:pt x="876" y="657"/>
                  </a:lnTo>
                  <a:lnTo>
                    <a:pt x="874" y="657"/>
                  </a:lnTo>
                  <a:lnTo>
                    <a:pt x="872" y="657"/>
                  </a:lnTo>
                  <a:lnTo>
                    <a:pt x="871" y="657"/>
                  </a:lnTo>
                  <a:lnTo>
                    <a:pt x="871" y="659"/>
                  </a:lnTo>
                  <a:lnTo>
                    <a:pt x="869" y="659"/>
                  </a:lnTo>
                  <a:lnTo>
                    <a:pt x="867" y="659"/>
                  </a:lnTo>
                  <a:lnTo>
                    <a:pt x="865" y="661"/>
                  </a:lnTo>
                  <a:lnTo>
                    <a:pt x="864" y="661"/>
                  </a:lnTo>
                  <a:lnTo>
                    <a:pt x="862" y="662"/>
                  </a:lnTo>
                  <a:lnTo>
                    <a:pt x="858" y="662"/>
                  </a:lnTo>
                  <a:lnTo>
                    <a:pt x="858" y="664"/>
                  </a:lnTo>
                  <a:lnTo>
                    <a:pt x="857" y="664"/>
                  </a:lnTo>
                  <a:lnTo>
                    <a:pt x="855" y="666"/>
                  </a:lnTo>
                  <a:lnTo>
                    <a:pt x="853" y="668"/>
                  </a:lnTo>
                  <a:lnTo>
                    <a:pt x="853" y="669"/>
                  </a:lnTo>
                  <a:lnTo>
                    <a:pt x="851" y="671"/>
                  </a:lnTo>
                  <a:lnTo>
                    <a:pt x="851" y="673"/>
                  </a:lnTo>
                  <a:lnTo>
                    <a:pt x="850" y="673"/>
                  </a:lnTo>
                  <a:lnTo>
                    <a:pt x="848" y="675"/>
                  </a:lnTo>
                  <a:lnTo>
                    <a:pt x="839" y="680"/>
                  </a:lnTo>
                  <a:lnTo>
                    <a:pt x="831" y="685"/>
                  </a:lnTo>
                  <a:lnTo>
                    <a:pt x="824" y="685"/>
                  </a:lnTo>
                  <a:lnTo>
                    <a:pt x="818" y="683"/>
                  </a:lnTo>
                  <a:lnTo>
                    <a:pt x="815" y="682"/>
                  </a:lnTo>
                  <a:lnTo>
                    <a:pt x="808" y="675"/>
                  </a:lnTo>
                  <a:lnTo>
                    <a:pt x="804" y="671"/>
                  </a:lnTo>
                  <a:lnTo>
                    <a:pt x="803" y="669"/>
                  </a:lnTo>
                  <a:lnTo>
                    <a:pt x="799" y="671"/>
                  </a:lnTo>
                  <a:lnTo>
                    <a:pt x="796" y="673"/>
                  </a:lnTo>
                  <a:lnTo>
                    <a:pt x="794" y="676"/>
                  </a:lnTo>
                  <a:lnTo>
                    <a:pt x="789" y="687"/>
                  </a:lnTo>
                  <a:lnTo>
                    <a:pt x="785" y="689"/>
                  </a:lnTo>
                  <a:lnTo>
                    <a:pt x="782" y="689"/>
                  </a:lnTo>
                  <a:lnTo>
                    <a:pt x="777" y="689"/>
                  </a:lnTo>
                  <a:lnTo>
                    <a:pt x="775" y="690"/>
                  </a:lnTo>
                  <a:lnTo>
                    <a:pt x="770" y="695"/>
                  </a:lnTo>
                  <a:lnTo>
                    <a:pt x="763" y="699"/>
                  </a:lnTo>
                  <a:lnTo>
                    <a:pt x="756" y="702"/>
                  </a:lnTo>
                  <a:lnTo>
                    <a:pt x="749" y="711"/>
                  </a:lnTo>
                  <a:lnTo>
                    <a:pt x="738" y="718"/>
                  </a:lnTo>
                  <a:lnTo>
                    <a:pt x="730" y="722"/>
                  </a:lnTo>
                  <a:lnTo>
                    <a:pt x="726" y="722"/>
                  </a:lnTo>
                  <a:lnTo>
                    <a:pt x="723" y="720"/>
                  </a:lnTo>
                  <a:lnTo>
                    <a:pt x="717" y="716"/>
                  </a:lnTo>
                  <a:lnTo>
                    <a:pt x="710" y="713"/>
                  </a:lnTo>
                  <a:lnTo>
                    <a:pt x="700" y="713"/>
                  </a:lnTo>
                  <a:lnTo>
                    <a:pt x="676" y="711"/>
                  </a:lnTo>
                  <a:lnTo>
                    <a:pt x="667" y="709"/>
                  </a:lnTo>
                  <a:lnTo>
                    <a:pt x="642" y="709"/>
                  </a:lnTo>
                  <a:lnTo>
                    <a:pt x="641" y="708"/>
                  </a:lnTo>
                  <a:lnTo>
                    <a:pt x="641" y="706"/>
                  </a:lnTo>
                  <a:lnTo>
                    <a:pt x="639" y="704"/>
                  </a:lnTo>
                  <a:lnTo>
                    <a:pt x="637" y="704"/>
                  </a:lnTo>
                  <a:lnTo>
                    <a:pt x="636" y="704"/>
                  </a:lnTo>
                  <a:lnTo>
                    <a:pt x="634" y="704"/>
                  </a:lnTo>
                  <a:lnTo>
                    <a:pt x="632" y="704"/>
                  </a:lnTo>
                  <a:lnTo>
                    <a:pt x="632" y="701"/>
                  </a:lnTo>
                  <a:lnTo>
                    <a:pt x="630" y="701"/>
                  </a:lnTo>
                  <a:lnTo>
                    <a:pt x="630" y="699"/>
                  </a:lnTo>
                  <a:lnTo>
                    <a:pt x="629" y="697"/>
                  </a:lnTo>
                  <a:lnTo>
                    <a:pt x="627" y="695"/>
                  </a:lnTo>
                  <a:lnTo>
                    <a:pt x="623" y="695"/>
                  </a:lnTo>
                  <a:lnTo>
                    <a:pt x="622" y="694"/>
                  </a:lnTo>
                  <a:lnTo>
                    <a:pt x="618" y="694"/>
                  </a:lnTo>
                  <a:lnTo>
                    <a:pt x="622" y="689"/>
                  </a:lnTo>
                  <a:lnTo>
                    <a:pt x="622" y="687"/>
                  </a:lnTo>
                  <a:lnTo>
                    <a:pt x="622" y="685"/>
                  </a:lnTo>
                  <a:lnTo>
                    <a:pt x="620" y="683"/>
                  </a:lnTo>
                  <a:lnTo>
                    <a:pt x="616" y="682"/>
                  </a:lnTo>
                  <a:lnTo>
                    <a:pt x="615" y="680"/>
                  </a:lnTo>
                  <a:lnTo>
                    <a:pt x="613" y="680"/>
                  </a:lnTo>
                  <a:lnTo>
                    <a:pt x="611" y="682"/>
                  </a:lnTo>
                  <a:lnTo>
                    <a:pt x="608" y="682"/>
                  </a:lnTo>
                  <a:lnTo>
                    <a:pt x="606" y="682"/>
                  </a:lnTo>
                  <a:lnTo>
                    <a:pt x="604" y="682"/>
                  </a:lnTo>
                  <a:lnTo>
                    <a:pt x="602" y="680"/>
                  </a:lnTo>
                  <a:lnTo>
                    <a:pt x="601" y="680"/>
                  </a:lnTo>
                  <a:lnTo>
                    <a:pt x="599" y="678"/>
                  </a:lnTo>
                  <a:lnTo>
                    <a:pt x="597" y="680"/>
                  </a:lnTo>
                  <a:lnTo>
                    <a:pt x="595" y="680"/>
                  </a:lnTo>
                  <a:lnTo>
                    <a:pt x="594" y="680"/>
                  </a:lnTo>
                  <a:lnTo>
                    <a:pt x="590" y="680"/>
                  </a:lnTo>
                  <a:lnTo>
                    <a:pt x="589" y="682"/>
                  </a:lnTo>
                  <a:lnTo>
                    <a:pt x="587" y="682"/>
                  </a:lnTo>
                  <a:lnTo>
                    <a:pt x="585" y="683"/>
                  </a:lnTo>
                  <a:lnTo>
                    <a:pt x="583" y="685"/>
                  </a:lnTo>
                  <a:lnTo>
                    <a:pt x="582" y="685"/>
                  </a:lnTo>
                  <a:lnTo>
                    <a:pt x="580" y="685"/>
                  </a:lnTo>
                  <a:lnTo>
                    <a:pt x="578" y="687"/>
                  </a:lnTo>
                  <a:lnTo>
                    <a:pt x="576" y="687"/>
                  </a:lnTo>
                  <a:lnTo>
                    <a:pt x="573" y="687"/>
                  </a:lnTo>
                  <a:lnTo>
                    <a:pt x="571" y="687"/>
                  </a:lnTo>
                  <a:lnTo>
                    <a:pt x="568" y="687"/>
                  </a:lnTo>
                  <a:lnTo>
                    <a:pt x="564" y="685"/>
                  </a:lnTo>
                  <a:lnTo>
                    <a:pt x="562" y="685"/>
                  </a:lnTo>
                  <a:lnTo>
                    <a:pt x="559" y="685"/>
                  </a:lnTo>
                  <a:lnTo>
                    <a:pt x="555" y="683"/>
                  </a:lnTo>
                  <a:lnTo>
                    <a:pt x="554" y="683"/>
                  </a:lnTo>
                  <a:lnTo>
                    <a:pt x="552" y="682"/>
                  </a:lnTo>
                  <a:lnTo>
                    <a:pt x="548" y="680"/>
                  </a:lnTo>
                  <a:lnTo>
                    <a:pt x="547" y="678"/>
                  </a:lnTo>
                  <a:lnTo>
                    <a:pt x="545" y="678"/>
                  </a:lnTo>
                  <a:lnTo>
                    <a:pt x="543" y="678"/>
                  </a:lnTo>
                  <a:lnTo>
                    <a:pt x="541" y="678"/>
                  </a:lnTo>
                  <a:lnTo>
                    <a:pt x="540" y="678"/>
                  </a:lnTo>
                  <a:lnTo>
                    <a:pt x="540" y="676"/>
                  </a:lnTo>
                  <a:lnTo>
                    <a:pt x="538" y="676"/>
                  </a:lnTo>
                  <a:lnTo>
                    <a:pt x="536" y="676"/>
                  </a:lnTo>
                  <a:lnTo>
                    <a:pt x="538" y="675"/>
                  </a:lnTo>
                  <a:lnTo>
                    <a:pt x="535" y="673"/>
                  </a:lnTo>
                  <a:lnTo>
                    <a:pt x="533" y="671"/>
                  </a:lnTo>
                  <a:close/>
                </a:path>
              </a:pathLst>
            </a:custGeom>
            <a:solidFill>
              <a:srgbClr val="D0D0D0"/>
            </a:solidFill>
            <a:ln w="6350">
              <a:solidFill>
                <a:schemeClr val="tx1">
                  <a:alpha val="38000"/>
                </a:schemeClr>
              </a:solidFill>
              <a:prstDash val="sysDash"/>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9" name="Freeform 325">
              <a:extLst>
                <a:ext uri="{FF2B5EF4-FFF2-40B4-BE49-F238E27FC236}">
                  <a16:creationId xmlns:a16="http://schemas.microsoft.com/office/drawing/2014/main" id="{A4C650A5-3280-4CDC-91DD-A0AEB2781788}"/>
                </a:ext>
              </a:extLst>
            </p:cNvPr>
            <p:cNvSpPr>
              <a:spLocks noEditPoints="1"/>
            </p:cNvSpPr>
            <p:nvPr/>
          </p:nvSpPr>
          <p:spPr bwMode="gray">
            <a:xfrm>
              <a:off x="4511901" y="4241450"/>
              <a:ext cx="19622" cy="138581"/>
            </a:xfrm>
            <a:custGeom>
              <a:avLst/>
              <a:gdLst>
                <a:gd name="T0" fmla="*/ 6 w 16"/>
                <a:gd name="T1" fmla="*/ 113 h 113"/>
                <a:gd name="T2" fmla="*/ 12 w 16"/>
                <a:gd name="T3" fmla="*/ 106 h 113"/>
                <a:gd name="T4" fmla="*/ 12 w 16"/>
                <a:gd name="T5" fmla="*/ 29 h 113"/>
                <a:gd name="T6" fmla="*/ 8 w 16"/>
                <a:gd name="T7" fmla="*/ 2 h 113"/>
                <a:gd name="T8" fmla="*/ 6 w 16"/>
                <a:gd name="T9" fmla="*/ 4 h 113"/>
                <a:gd name="T10" fmla="*/ 12 w 16"/>
                <a:gd name="T11" fmla="*/ 75 h 113"/>
                <a:gd name="T12" fmla="*/ 6 w 16"/>
                <a:gd name="T13" fmla="*/ 6 h 113"/>
                <a:gd name="T14" fmla="*/ 2 w 16"/>
                <a:gd name="T15" fmla="*/ 52 h 113"/>
                <a:gd name="T16" fmla="*/ 10 w 16"/>
                <a:gd name="T17" fmla="*/ 77 h 113"/>
                <a:gd name="T18" fmla="*/ 14 w 16"/>
                <a:gd name="T19" fmla="*/ 96 h 113"/>
                <a:gd name="T20" fmla="*/ 6 w 16"/>
                <a:gd name="T21" fmla="*/ 10 h 113"/>
                <a:gd name="T22" fmla="*/ 6 w 16"/>
                <a:gd name="T23" fmla="*/ 71 h 113"/>
                <a:gd name="T24" fmla="*/ 6 w 16"/>
                <a:gd name="T25" fmla="*/ 10 h 113"/>
                <a:gd name="T26" fmla="*/ 8 w 16"/>
                <a:gd name="T27" fmla="*/ 2 h 113"/>
                <a:gd name="T28" fmla="*/ 8 w 16"/>
                <a:gd name="T29" fmla="*/ 111 h 113"/>
                <a:gd name="T30" fmla="*/ 4 w 16"/>
                <a:gd name="T31" fmla="*/ 52 h 113"/>
                <a:gd name="T32" fmla="*/ 14 w 16"/>
                <a:gd name="T33" fmla="*/ 96 h 113"/>
                <a:gd name="T34" fmla="*/ 12 w 16"/>
                <a:gd name="T35" fmla="*/ 21 h 113"/>
                <a:gd name="T36" fmla="*/ 6 w 16"/>
                <a:gd name="T37" fmla="*/ 23 h 113"/>
                <a:gd name="T38" fmla="*/ 8 w 16"/>
                <a:gd name="T39" fmla="*/ 10 h 113"/>
                <a:gd name="T40" fmla="*/ 14 w 16"/>
                <a:gd name="T41" fmla="*/ 71 h 113"/>
                <a:gd name="T42" fmla="*/ 8 w 16"/>
                <a:gd name="T43" fmla="*/ 98 h 113"/>
                <a:gd name="T44" fmla="*/ 0 w 16"/>
                <a:gd name="T45" fmla="*/ 48 h 113"/>
                <a:gd name="T46" fmla="*/ 10 w 16"/>
                <a:gd name="T47" fmla="*/ 67 h 113"/>
                <a:gd name="T48" fmla="*/ 12 w 16"/>
                <a:gd name="T49" fmla="*/ 15 h 113"/>
                <a:gd name="T50" fmla="*/ 6 w 16"/>
                <a:gd name="T51" fmla="*/ 65 h 113"/>
                <a:gd name="T52" fmla="*/ 12 w 16"/>
                <a:gd name="T53" fmla="*/ 40 h 113"/>
                <a:gd name="T54" fmla="*/ 8 w 16"/>
                <a:gd name="T55" fmla="*/ 27 h 113"/>
                <a:gd name="T56" fmla="*/ 4 w 16"/>
                <a:gd name="T57" fmla="*/ 40 h 113"/>
                <a:gd name="T58" fmla="*/ 6 w 16"/>
                <a:gd name="T59" fmla="*/ 2 h 113"/>
                <a:gd name="T60" fmla="*/ 8 w 16"/>
                <a:gd name="T61" fmla="*/ 27 h 113"/>
                <a:gd name="T62" fmla="*/ 4 w 16"/>
                <a:gd name="T63" fmla="*/ 31 h 113"/>
                <a:gd name="T64" fmla="*/ 8 w 16"/>
                <a:gd name="T65" fmla="*/ 111 h 113"/>
                <a:gd name="T66" fmla="*/ 4 w 16"/>
                <a:gd name="T67" fmla="*/ 29 h 113"/>
                <a:gd name="T68" fmla="*/ 2 w 16"/>
                <a:gd name="T69" fmla="*/ 62 h 113"/>
                <a:gd name="T70" fmla="*/ 8 w 16"/>
                <a:gd name="T71" fmla="*/ 98 h 113"/>
                <a:gd name="T72" fmla="*/ 14 w 16"/>
                <a:gd name="T73" fmla="*/ 33 h 113"/>
                <a:gd name="T74" fmla="*/ 10 w 16"/>
                <a:gd name="T75" fmla="*/ 17 h 113"/>
                <a:gd name="T76" fmla="*/ 14 w 16"/>
                <a:gd name="T77" fmla="*/ 23 h 113"/>
                <a:gd name="T78" fmla="*/ 14 w 16"/>
                <a:gd name="T79" fmla="*/ 98 h 113"/>
                <a:gd name="T80" fmla="*/ 4 w 16"/>
                <a:gd name="T81" fmla="*/ 19 h 113"/>
                <a:gd name="T82" fmla="*/ 16 w 16"/>
                <a:gd name="T83" fmla="*/ 23 h 113"/>
                <a:gd name="T84" fmla="*/ 12 w 16"/>
                <a:gd name="T85" fmla="*/ 46 h 113"/>
                <a:gd name="T86" fmla="*/ 12 w 16"/>
                <a:gd name="T87" fmla="*/ 94 h 113"/>
                <a:gd name="T88" fmla="*/ 14 w 16"/>
                <a:gd name="T89" fmla="*/ 73 h 113"/>
                <a:gd name="T90" fmla="*/ 10 w 16"/>
                <a:gd name="T91" fmla="*/ 19 h 113"/>
                <a:gd name="T92" fmla="*/ 8 w 16"/>
                <a:gd name="T93" fmla="*/ 25 h 113"/>
                <a:gd name="T94" fmla="*/ 14 w 16"/>
                <a:gd name="T95" fmla="*/ 71 h 113"/>
                <a:gd name="T96" fmla="*/ 6 w 16"/>
                <a:gd name="T97" fmla="*/ 98 h 113"/>
                <a:gd name="T98" fmla="*/ 4 w 16"/>
                <a:gd name="T99" fmla="*/ 62 h 113"/>
                <a:gd name="T100" fmla="*/ 6 w 16"/>
                <a:gd name="T101" fmla="*/ 94 h 113"/>
                <a:gd name="T102" fmla="*/ 12 w 16"/>
                <a:gd name="T103" fmla="*/ 92 h 113"/>
                <a:gd name="T104" fmla="*/ 6 w 16"/>
                <a:gd name="T105" fmla="*/ 2 h 113"/>
                <a:gd name="T106" fmla="*/ 0 w 16"/>
                <a:gd name="T107" fmla="*/ 46 h 113"/>
                <a:gd name="T108" fmla="*/ 10 w 16"/>
                <a:gd name="T109" fmla="*/ 6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 h="113">
                  <a:moveTo>
                    <a:pt x="6" y="111"/>
                  </a:moveTo>
                  <a:lnTo>
                    <a:pt x="8" y="111"/>
                  </a:lnTo>
                  <a:lnTo>
                    <a:pt x="8" y="113"/>
                  </a:lnTo>
                  <a:lnTo>
                    <a:pt x="6" y="113"/>
                  </a:lnTo>
                  <a:lnTo>
                    <a:pt x="6" y="111"/>
                  </a:lnTo>
                  <a:close/>
                  <a:moveTo>
                    <a:pt x="12" y="106"/>
                  </a:moveTo>
                  <a:lnTo>
                    <a:pt x="12" y="108"/>
                  </a:lnTo>
                  <a:lnTo>
                    <a:pt x="12" y="106"/>
                  </a:lnTo>
                  <a:close/>
                  <a:moveTo>
                    <a:pt x="8" y="111"/>
                  </a:moveTo>
                  <a:lnTo>
                    <a:pt x="10" y="111"/>
                  </a:lnTo>
                  <a:lnTo>
                    <a:pt x="8" y="111"/>
                  </a:lnTo>
                  <a:close/>
                  <a:moveTo>
                    <a:pt x="12" y="29"/>
                  </a:moveTo>
                  <a:lnTo>
                    <a:pt x="12" y="31"/>
                  </a:lnTo>
                  <a:lnTo>
                    <a:pt x="12" y="29"/>
                  </a:lnTo>
                  <a:close/>
                  <a:moveTo>
                    <a:pt x="8" y="0"/>
                  </a:moveTo>
                  <a:lnTo>
                    <a:pt x="8" y="2"/>
                  </a:lnTo>
                  <a:lnTo>
                    <a:pt x="8" y="0"/>
                  </a:lnTo>
                  <a:close/>
                  <a:moveTo>
                    <a:pt x="6" y="4"/>
                  </a:moveTo>
                  <a:lnTo>
                    <a:pt x="6" y="6"/>
                  </a:lnTo>
                  <a:lnTo>
                    <a:pt x="6" y="4"/>
                  </a:lnTo>
                  <a:close/>
                  <a:moveTo>
                    <a:pt x="14" y="40"/>
                  </a:moveTo>
                  <a:lnTo>
                    <a:pt x="14" y="42"/>
                  </a:lnTo>
                  <a:lnTo>
                    <a:pt x="14" y="40"/>
                  </a:lnTo>
                  <a:close/>
                  <a:moveTo>
                    <a:pt x="12" y="75"/>
                  </a:moveTo>
                  <a:lnTo>
                    <a:pt x="14" y="75"/>
                  </a:lnTo>
                  <a:lnTo>
                    <a:pt x="12" y="75"/>
                  </a:lnTo>
                  <a:close/>
                  <a:moveTo>
                    <a:pt x="4" y="6"/>
                  </a:moveTo>
                  <a:lnTo>
                    <a:pt x="6" y="6"/>
                  </a:lnTo>
                  <a:lnTo>
                    <a:pt x="4" y="6"/>
                  </a:lnTo>
                  <a:close/>
                  <a:moveTo>
                    <a:pt x="2" y="52"/>
                  </a:moveTo>
                  <a:lnTo>
                    <a:pt x="4" y="52"/>
                  </a:lnTo>
                  <a:lnTo>
                    <a:pt x="2" y="52"/>
                  </a:lnTo>
                  <a:close/>
                  <a:moveTo>
                    <a:pt x="4" y="37"/>
                  </a:moveTo>
                  <a:lnTo>
                    <a:pt x="4" y="38"/>
                  </a:lnTo>
                  <a:lnTo>
                    <a:pt x="4" y="37"/>
                  </a:lnTo>
                  <a:close/>
                  <a:moveTo>
                    <a:pt x="10" y="77"/>
                  </a:moveTo>
                  <a:lnTo>
                    <a:pt x="12" y="77"/>
                  </a:lnTo>
                  <a:lnTo>
                    <a:pt x="10" y="77"/>
                  </a:lnTo>
                  <a:close/>
                  <a:moveTo>
                    <a:pt x="14" y="94"/>
                  </a:moveTo>
                  <a:lnTo>
                    <a:pt x="14" y="96"/>
                  </a:lnTo>
                  <a:lnTo>
                    <a:pt x="14" y="94"/>
                  </a:lnTo>
                  <a:close/>
                  <a:moveTo>
                    <a:pt x="6" y="10"/>
                  </a:moveTo>
                  <a:lnTo>
                    <a:pt x="8" y="10"/>
                  </a:lnTo>
                  <a:lnTo>
                    <a:pt x="6" y="10"/>
                  </a:lnTo>
                  <a:close/>
                  <a:moveTo>
                    <a:pt x="12" y="90"/>
                  </a:moveTo>
                  <a:lnTo>
                    <a:pt x="12" y="92"/>
                  </a:lnTo>
                  <a:lnTo>
                    <a:pt x="12" y="90"/>
                  </a:lnTo>
                  <a:close/>
                  <a:moveTo>
                    <a:pt x="6" y="71"/>
                  </a:moveTo>
                  <a:lnTo>
                    <a:pt x="8" y="71"/>
                  </a:lnTo>
                  <a:lnTo>
                    <a:pt x="6" y="71"/>
                  </a:lnTo>
                  <a:close/>
                  <a:moveTo>
                    <a:pt x="4" y="10"/>
                  </a:moveTo>
                  <a:lnTo>
                    <a:pt x="6" y="10"/>
                  </a:lnTo>
                  <a:lnTo>
                    <a:pt x="4" y="10"/>
                  </a:lnTo>
                  <a:close/>
                  <a:moveTo>
                    <a:pt x="8" y="2"/>
                  </a:moveTo>
                  <a:lnTo>
                    <a:pt x="8" y="4"/>
                  </a:lnTo>
                  <a:lnTo>
                    <a:pt x="8" y="2"/>
                  </a:lnTo>
                  <a:close/>
                  <a:moveTo>
                    <a:pt x="12" y="92"/>
                  </a:moveTo>
                  <a:lnTo>
                    <a:pt x="12" y="94"/>
                  </a:lnTo>
                  <a:lnTo>
                    <a:pt x="12" y="92"/>
                  </a:lnTo>
                  <a:close/>
                  <a:moveTo>
                    <a:pt x="8" y="111"/>
                  </a:moveTo>
                  <a:lnTo>
                    <a:pt x="8" y="113"/>
                  </a:lnTo>
                  <a:lnTo>
                    <a:pt x="8" y="111"/>
                  </a:lnTo>
                  <a:close/>
                  <a:moveTo>
                    <a:pt x="4" y="50"/>
                  </a:moveTo>
                  <a:lnTo>
                    <a:pt x="4" y="52"/>
                  </a:lnTo>
                  <a:lnTo>
                    <a:pt x="4" y="50"/>
                  </a:lnTo>
                  <a:close/>
                  <a:moveTo>
                    <a:pt x="14" y="96"/>
                  </a:moveTo>
                  <a:lnTo>
                    <a:pt x="14" y="98"/>
                  </a:lnTo>
                  <a:lnTo>
                    <a:pt x="14" y="96"/>
                  </a:lnTo>
                  <a:close/>
                  <a:moveTo>
                    <a:pt x="6" y="19"/>
                  </a:moveTo>
                  <a:lnTo>
                    <a:pt x="6" y="21"/>
                  </a:lnTo>
                  <a:lnTo>
                    <a:pt x="6" y="19"/>
                  </a:lnTo>
                  <a:close/>
                  <a:moveTo>
                    <a:pt x="12" y="21"/>
                  </a:moveTo>
                  <a:lnTo>
                    <a:pt x="12" y="23"/>
                  </a:lnTo>
                  <a:lnTo>
                    <a:pt x="12" y="21"/>
                  </a:lnTo>
                  <a:close/>
                  <a:moveTo>
                    <a:pt x="6" y="21"/>
                  </a:moveTo>
                  <a:lnTo>
                    <a:pt x="6" y="23"/>
                  </a:lnTo>
                  <a:lnTo>
                    <a:pt x="6" y="21"/>
                  </a:lnTo>
                  <a:close/>
                  <a:moveTo>
                    <a:pt x="8" y="10"/>
                  </a:moveTo>
                  <a:lnTo>
                    <a:pt x="8" y="12"/>
                  </a:lnTo>
                  <a:lnTo>
                    <a:pt x="8" y="10"/>
                  </a:lnTo>
                  <a:close/>
                  <a:moveTo>
                    <a:pt x="6" y="62"/>
                  </a:moveTo>
                  <a:lnTo>
                    <a:pt x="6" y="63"/>
                  </a:lnTo>
                  <a:lnTo>
                    <a:pt x="6" y="62"/>
                  </a:lnTo>
                  <a:close/>
                  <a:moveTo>
                    <a:pt x="14" y="71"/>
                  </a:moveTo>
                  <a:lnTo>
                    <a:pt x="14" y="73"/>
                  </a:lnTo>
                  <a:lnTo>
                    <a:pt x="14" y="71"/>
                  </a:lnTo>
                  <a:close/>
                  <a:moveTo>
                    <a:pt x="6" y="98"/>
                  </a:moveTo>
                  <a:lnTo>
                    <a:pt x="8" y="98"/>
                  </a:lnTo>
                  <a:lnTo>
                    <a:pt x="6" y="98"/>
                  </a:lnTo>
                  <a:close/>
                  <a:moveTo>
                    <a:pt x="0" y="48"/>
                  </a:moveTo>
                  <a:lnTo>
                    <a:pt x="2" y="48"/>
                  </a:lnTo>
                  <a:lnTo>
                    <a:pt x="0" y="48"/>
                  </a:lnTo>
                  <a:close/>
                  <a:moveTo>
                    <a:pt x="10" y="14"/>
                  </a:moveTo>
                  <a:lnTo>
                    <a:pt x="10" y="15"/>
                  </a:lnTo>
                  <a:lnTo>
                    <a:pt x="10" y="14"/>
                  </a:lnTo>
                  <a:close/>
                  <a:moveTo>
                    <a:pt x="10" y="67"/>
                  </a:moveTo>
                  <a:lnTo>
                    <a:pt x="10" y="69"/>
                  </a:lnTo>
                  <a:lnTo>
                    <a:pt x="10" y="67"/>
                  </a:lnTo>
                  <a:close/>
                  <a:moveTo>
                    <a:pt x="10" y="15"/>
                  </a:moveTo>
                  <a:lnTo>
                    <a:pt x="12" y="15"/>
                  </a:lnTo>
                  <a:lnTo>
                    <a:pt x="10" y="15"/>
                  </a:lnTo>
                  <a:close/>
                  <a:moveTo>
                    <a:pt x="6" y="65"/>
                  </a:moveTo>
                  <a:lnTo>
                    <a:pt x="8" y="65"/>
                  </a:lnTo>
                  <a:lnTo>
                    <a:pt x="6" y="65"/>
                  </a:lnTo>
                  <a:close/>
                  <a:moveTo>
                    <a:pt x="12" y="98"/>
                  </a:moveTo>
                  <a:lnTo>
                    <a:pt x="14" y="98"/>
                  </a:lnTo>
                  <a:lnTo>
                    <a:pt x="12" y="98"/>
                  </a:lnTo>
                  <a:close/>
                  <a:moveTo>
                    <a:pt x="12" y="40"/>
                  </a:moveTo>
                  <a:lnTo>
                    <a:pt x="12" y="42"/>
                  </a:lnTo>
                  <a:lnTo>
                    <a:pt x="12" y="40"/>
                  </a:lnTo>
                  <a:close/>
                  <a:moveTo>
                    <a:pt x="8" y="25"/>
                  </a:moveTo>
                  <a:lnTo>
                    <a:pt x="8" y="27"/>
                  </a:lnTo>
                  <a:lnTo>
                    <a:pt x="8" y="25"/>
                  </a:lnTo>
                  <a:close/>
                  <a:moveTo>
                    <a:pt x="4" y="40"/>
                  </a:moveTo>
                  <a:lnTo>
                    <a:pt x="6" y="40"/>
                  </a:lnTo>
                  <a:lnTo>
                    <a:pt x="4" y="40"/>
                  </a:lnTo>
                  <a:close/>
                  <a:moveTo>
                    <a:pt x="10" y="37"/>
                  </a:moveTo>
                  <a:lnTo>
                    <a:pt x="12" y="37"/>
                  </a:lnTo>
                  <a:lnTo>
                    <a:pt x="10" y="37"/>
                  </a:lnTo>
                  <a:close/>
                  <a:moveTo>
                    <a:pt x="6" y="2"/>
                  </a:moveTo>
                  <a:lnTo>
                    <a:pt x="6" y="4"/>
                  </a:lnTo>
                  <a:lnTo>
                    <a:pt x="6" y="2"/>
                  </a:lnTo>
                  <a:close/>
                  <a:moveTo>
                    <a:pt x="6" y="27"/>
                  </a:moveTo>
                  <a:lnTo>
                    <a:pt x="8" y="27"/>
                  </a:lnTo>
                  <a:lnTo>
                    <a:pt x="6" y="27"/>
                  </a:lnTo>
                  <a:close/>
                  <a:moveTo>
                    <a:pt x="4" y="31"/>
                  </a:moveTo>
                  <a:lnTo>
                    <a:pt x="6" y="31"/>
                  </a:lnTo>
                  <a:lnTo>
                    <a:pt x="4" y="31"/>
                  </a:lnTo>
                  <a:close/>
                  <a:moveTo>
                    <a:pt x="10" y="23"/>
                  </a:moveTo>
                  <a:lnTo>
                    <a:pt x="12" y="23"/>
                  </a:lnTo>
                  <a:lnTo>
                    <a:pt x="10" y="23"/>
                  </a:lnTo>
                  <a:close/>
                  <a:moveTo>
                    <a:pt x="8" y="111"/>
                  </a:moveTo>
                  <a:lnTo>
                    <a:pt x="8" y="113"/>
                  </a:lnTo>
                  <a:lnTo>
                    <a:pt x="8" y="111"/>
                  </a:lnTo>
                  <a:close/>
                  <a:moveTo>
                    <a:pt x="2" y="29"/>
                  </a:moveTo>
                  <a:lnTo>
                    <a:pt x="4" y="29"/>
                  </a:lnTo>
                  <a:lnTo>
                    <a:pt x="2" y="29"/>
                  </a:lnTo>
                  <a:close/>
                  <a:moveTo>
                    <a:pt x="2" y="62"/>
                  </a:moveTo>
                  <a:lnTo>
                    <a:pt x="4" y="62"/>
                  </a:lnTo>
                  <a:lnTo>
                    <a:pt x="2" y="62"/>
                  </a:lnTo>
                  <a:close/>
                  <a:moveTo>
                    <a:pt x="8" y="69"/>
                  </a:moveTo>
                  <a:lnTo>
                    <a:pt x="8" y="71"/>
                  </a:lnTo>
                  <a:lnTo>
                    <a:pt x="8" y="69"/>
                  </a:lnTo>
                  <a:close/>
                  <a:moveTo>
                    <a:pt x="8" y="98"/>
                  </a:moveTo>
                  <a:lnTo>
                    <a:pt x="8" y="100"/>
                  </a:lnTo>
                  <a:lnTo>
                    <a:pt x="8" y="98"/>
                  </a:lnTo>
                  <a:close/>
                  <a:moveTo>
                    <a:pt x="12" y="33"/>
                  </a:moveTo>
                  <a:lnTo>
                    <a:pt x="14" y="33"/>
                  </a:lnTo>
                  <a:lnTo>
                    <a:pt x="12" y="33"/>
                  </a:lnTo>
                  <a:close/>
                  <a:moveTo>
                    <a:pt x="10" y="17"/>
                  </a:moveTo>
                  <a:lnTo>
                    <a:pt x="12" y="17"/>
                  </a:lnTo>
                  <a:lnTo>
                    <a:pt x="10" y="17"/>
                  </a:lnTo>
                  <a:close/>
                  <a:moveTo>
                    <a:pt x="2" y="54"/>
                  </a:moveTo>
                  <a:lnTo>
                    <a:pt x="2" y="56"/>
                  </a:lnTo>
                  <a:lnTo>
                    <a:pt x="2" y="54"/>
                  </a:lnTo>
                  <a:close/>
                  <a:moveTo>
                    <a:pt x="14" y="23"/>
                  </a:moveTo>
                  <a:lnTo>
                    <a:pt x="16" y="23"/>
                  </a:lnTo>
                  <a:lnTo>
                    <a:pt x="14" y="23"/>
                  </a:lnTo>
                  <a:close/>
                  <a:moveTo>
                    <a:pt x="14" y="96"/>
                  </a:moveTo>
                  <a:lnTo>
                    <a:pt x="14" y="98"/>
                  </a:lnTo>
                  <a:lnTo>
                    <a:pt x="14" y="96"/>
                  </a:lnTo>
                  <a:close/>
                  <a:moveTo>
                    <a:pt x="4" y="19"/>
                  </a:moveTo>
                  <a:lnTo>
                    <a:pt x="4" y="21"/>
                  </a:lnTo>
                  <a:lnTo>
                    <a:pt x="4" y="19"/>
                  </a:lnTo>
                  <a:close/>
                  <a:moveTo>
                    <a:pt x="2" y="21"/>
                  </a:moveTo>
                  <a:lnTo>
                    <a:pt x="4" y="21"/>
                  </a:lnTo>
                  <a:lnTo>
                    <a:pt x="2" y="21"/>
                  </a:lnTo>
                  <a:close/>
                  <a:moveTo>
                    <a:pt x="16" y="23"/>
                  </a:moveTo>
                  <a:lnTo>
                    <a:pt x="16" y="25"/>
                  </a:lnTo>
                  <a:lnTo>
                    <a:pt x="16" y="23"/>
                  </a:lnTo>
                  <a:close/>
                  <a:moveTo>
                    <a:pt x="10" y="46"/>
                  </a:moveTo>
                  <a:lnTo>
                    <a:pt x="12" y="46"/>
                  </a:lnTo>
                  <a:lnTo>
                    <a:pt x="10" y="46"/>
                  </a:lnTo>
                  <a:close/>
                  <a:moveTo>
                    <a:pt x="12" y="94"/>
                  </a:moveTo>
                  <a:lnTo>
                    <a:pt x="14" y="94"/>
                  </a:lnTo>
                  <a:lnTo>
                    <a:pt x="12" y="94"/>
                  </a:lnTo>
                  <a:close/>
                  <a:moveTo>
                    <a:pt x="12" y="50"/>
                  </a:moveTo>
                  <a:lnTo>
                    <a:pt x="14" y="50"/>
                  </a:lnTo>
                  <a:lnTo>
                    <a:pt x="12" y="50"/>
                  </a:lnTo>
                  <a:close/>
                  <a:moveTo>
                    <a:pt x="14" y="73"/>
                  </a:moveTo>
                  <a:lnTo>
                    <a:pt x="14" y="75"/>
                  </a:lnTo>
                  <a:lnTo>
                    <a:pt x="14" y="73"/>
                  </a:lnTo>
                  <a:close/>
                  <a:moveTo>
                    <a:pt x="8" y="19"/>
                  </a:moveTo>
                  <a:lnTo>
                    <a:pt x="10" y="19"/>
                  </a:lnTo>
                  <a:lnTo>
                    <a:pt x="8" y="19"/>
                  </a:lnTo>
                  <a:close/>
                  <a:moveTo>
                    <a:pt x="8" y="25"/>
                  </a:moveTo>
                  <a:lnTo>
                    <a:pt x="8" y="27"/>
                  </a:lnTo>
                  <a:lnTo>
                    <a:pt x="8" y="25"/>
                  </a:lnTo>
                  <a:close/>
                  <a:moveTo>
                    <a:pt x="4" y="19"/>
                  </a:moveTo>
                  <a:lnTo>
                    <a:pt x="4" y="21"/>
                  </a:lnTo>
                  <a:lnTo>
                    <a:pt x="4" y="19"/>
                  </a:lnTo>
                  <a:close/>
                  <a:moveTo>
                    <a:pt x="14" y="71"/>
                  </a:moveTo>
                  <a:lnTo>
                    <a:pt x="14" y="73"/>
                  </a:lnTo>
                  <a:lnTo>
                    <a:pt x="14" y="71"/>
                  </a:lnTo>
                  <a:close/>
                  <a:moveTo>
                    <a:pt x="6" y="96"/>
                  </a:moveTo>
                  <a:lnTo>
                    <a:pt x="6" y="98"/>
                  </a:lnTo>
                  <a:lnTo>
                    <a:pt x="6" y="96"/>
                  </a:lnTo>
                  <a:close/>
                  <a:moveTo>
                    <a:pt x="4" y="62"/>
                  </a:moveTo>
                  <a:lnTo>
                    <a:pt x="4" y="63"/>
                  </a:lnTo>
                  <a:lnTo>
                    <a:pt x="4" y="62"/>
                  </a:lnTo>
                  <a:close/>
                  <a:moveTo>
                    <a:pt x="10" y="37"/>
                  </a:moveTo>
                  <a:lnTo>
                    <a:pt x="12" y="37"/>
                  </a:lnTo>
                  <a:lnTo>
                    <a:pt x="10" y="37"/>
                  </a:lnTo>
                  <a:close/>
                  <a:moveTo>
                    <a:pt x="6" y="94"/>
                  </a:moveTo>
                  <a:lnTo>
                    <a:pt x="6" y="96"/>
                  </a:lnTo>
                  <a:lnTo>
                    <a:pt x="6" y="94"/>
                  </a:lnTo>
                  <a:close/>
                  <a:moveTo>
                    <a:pt x="10" y="92"/>
                  </a:moveTo>
                  <a:lnTo>
                    <a:pt x="12" y="92"/>
                  </a:lnTo>
                  <a:lnTo>
                    <a:pt x="10" y="92"/>
                  </a:lnTo>
                  <a:close/>
                  <a:moveTo>
                    <a:pt x="6" y="2"/>
                  </a:moveTo>
                  <a:lnTo>
                    <a:pt x="8" y="2"/>
                  </a:lnTo>
                  <a:lnTo>
                    <a:pt x="6" y="2"/>
                  </a:lnTo>
                  <a:close/>
                  <a:moveTo>
                    <a:pt x="2" y="63"/>
                  </a:moveTo>
                  <a:lnTo>
                    <a:pt x="4" y="63"/>
                  </a:lnTo>
                  <a:lnTo>
                    <a:pt x="2" y="63"/>
                  </a:lnTo>
                  <a:close/>
                  <a:moveTo>
                    <a:pt x="0" y="46"/>
                  </a:moveTo>
                  <a:lnTo>
                    <a:pt x="2" y="46"/>
                  </a:lnTo>
                  <a:lnTo>
                    <a:pt x="0" y="46"/>
                  </a:lnTo>
                  <a:close/>
                  <a:moveTo>
                    <a:pt x="8" y="69"/>
                  </a:moveTo>
                  <a:lnTo>
                    <a:pt x="10" y="69"/>
                  </a:lnTo>
                  <a:lnTo>
                    <a:pt x="8" y="69"/>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0" name="Freeform 326">
              <a:extLst>
                <a:ext uri="{FF2B5EF4-FFF2-40B4-BE49-F238E27FC236}">
                  <a16:creationId xmlns:a16="http://schemas.microsoft.com/office/drawing/2014/main" id="{6FBD1913-BB33-4C0D-9B37-5716D3344FA0}"/>
                </a:ext>
              </a:extLst>
            </p:cNvPr>
            <p:cNvSpPr>
              <a:spLocks noEditPoints="1"/>
            </p:cNvSpPr>
            <p:nvPr/>
          </p:nvSpPr>
          <p:spPr bwMode="gray">
            <a:xfrm>
              <a:off x="4636991" y="4189942"/>
              <a:ext cx="40471" cy="69904"/>
            </a:xfrm>
            <a:custGeom>
              <a:avLst/>
              <a:gdLst>
                <a:gd name="T0" fmla="*/ 14 w 33"/>
                <a:gd name="T1" fmla="*/ 4 h 57"/>
                <a:gd name="T2" fmla="*/ 17 w 33"/>
                <a:gd name="T3" fmla="*/ 9 h 57"/>
                <a:gd name="T4" fmla="*/ 19 w 33"/>
                <a:gd name="T5" fmla="*/ 9 h 57"/>
                <a:gd name="T6" fmla="*/ 19 w 33"/>
                <a:gd name="T7" fmla="*/ 11 h 57"/>
                <a:gd name="T8" fmla="*/ 21 w 33"/>
                <a:gd name="T9" fmla="*/ 15 h 57"/>
                <a:gd name="T10" fmla="*/ 23 w 33"/>
                <a:gd name="T11" fmla="*/ 19 h 57"/>
                <a:gd name="T12" fmla="*/ 23 w 33"/>
                <a:gd name="T13" fmla="*/ 21 h 57"/>
                <a:gd name="T14" fmla="*/ 25 w 33"/>
                <a:gd name="T15" fmla="*/ 21 h 57"/>
                <a:gd name="T16" fmla="*/ 27 w 33"/>
                <a:gd name="T17" fmla="*/ 21 h 57"/>
                <a:gd name="T18" fmla="*/ 27 w 33"/>
                <a:gd name="T19" fmla="*/ 27 h 57"/>
                <a:gd name="T20" fmla="*/ 29 w 33"/>
                <a:gd name="T21" fmla="*/ 31 h 57"/>
                <a:gd name="T22" fmla="*/ 31 w 33"/>
                <a:gd name="T23" fmla="*/ 31 h 57"/>
                <a:gd name="T24" fmla="*/ 29 w 33"/>
                <a:gd name="T25" fmla="*/ 31 h 57"/>
                <a:gd name="T26" fmla="*/ 31 w 33"/>
                <a:gd name="T27" fmla="*/ 34 h 57"/>
                <a:gd name="T28" fmla="*/ 33 w 33"/>
                <a:gd name="T29" fmla="*/ 34 h 57"/>
                <a:gd name="T30" fmla="*/ 31 w 33"/>
                <a:gd name="T31" fmla="*/ 34 h 57"/>
                <a:gd name="T32" fmla="*/ 31 w 33"/>
                <a:gd name="T33" fmla="*/ 32 h 57"/>
                <a:gd name="T34" fmla="*/ 33 w 33"/>
                <a:gd name="T35" fmla="*/ 36 h 57"/>
                <a:gd name="T36" fmla="*/ 33 w 33"/>
                <a:gd name="T37" fmla="*/ 46 h 57"/>
                <a:gd name="T38" fmla="*/ 29 w 33"/>
                <a:gd name="T39" fmla="*/ 52 h 57"/>
                <a:gd name="T40" fmla="*/ 23 w 33"/>
                <a:gd name="T41" fmla="*/ 56 h 57"/>
                <a:gd name="T42" fmla="*/ 16 w 33"/>
                <a:gd name="T43" fmla="*/ 57 h 57"/>
                <a:gd name="T44" fmla="*/ 14 w 33"/>
                <a:gd name="T45" fmla="*/ 57 h 57"/>
                <a:gd name="T46" fmla="*/ 10 w 33"/>
                <a:gd name="T47" fmla="*/ 56 h 57"/>
                <a:gd name="T48" fmla="*/ 6 w 33"/>
                <a:gd name="T49" fmla="*/ 50 h 57"/>
                <a:gd name="T50" fmla="*/ 4 w 33"/>
                <a:gd name="T51" fmla="*/ 46 h 57"/>
                <a:gd name="T52" fmla="*/ 4 w 33"/>
                <a:gd name="T53" fmla="*/ 44 h 57"/>
                <a:gd name="T54" fmla="*/ 4 w 33"/>
                <a:gd name="T55" fmla="*/ 38 h 57"/>
                <a:gd name="T56" fmla="*/ 2 w 33"/>
                <a:gd name="T57" fmla="*/ 34 h 57"/>
                <a:gd name="T58" fmla="*/ 2 w 33"/>
                <a:gd name="T59" fmla="*/ 29 h 57"/>
                <a:gd name="T60" fmla="*/ 2 w 33"/>
                <a:gd name="T61" fmla="*/ 23 h 57"/>
                <a:gd name="T62" fmla="*/ 2 w 33"/>
                <a:gd name="T63" fmla="*/ 25 h 57"/>
                <a:gd name="T64" fmla="*/ 4 w 33"/>
                <a:gd name="T65" fmla="*/ 29 h 57"/>
                <a:gd name="T66" fmla="*/ 2 w 33"/>
                <a:gd name="T67" fmla="*/ 25 h 57"/>
                <a:gd name="T68" fmla="*/ 4 w 33"/>
                <a:gd name="T69" fmla="*/ 23 h 57"/>
                <a:gd name="T70" fmla="*/ 4 w 33"/>
                <a:gd name="T71" fmla="*/ 21 h 57"/>
                <a:gd name="T72" fmla="*/ 4 w 33"/>
                <a:gd name="T73" fmla="*/ 15 h 57"/>
                <a:gd name="T74" fmla="*/ 4 w 33"/>
                <a:gd name="T75" fmla="*/ 13 h 57"/>
                <a:gd name="T76" fmla="*/ 6 w 33"/>
                <a:gd name="T77" fmla="*/ 13 h 57"/>
                <a:gd name="T78" fmla="*/ 4 w 33"/>
                <a:gd name="T79" fmla="*/ 13 h 57"/>
                <a:gd name="T80" fmla="*/ 8 w 33"/>
                <a:gd name="T81" fmla="*/ 7 h 57"/>
                <a:gd name="T82" fmla="*/ 6 w 33"/>
                <a:gd name="T83" fmla="*/ 7 h 57"/>
                <a:gd name="T84" fmla="*/ 8 w 33"/>
                <a:gd name="T85" fmla="*/ 4 h 57"/>
                <a:gd name="T86" fmla="*/ 12 w 33"/>
                <a:gd name="T87" fmla="*/ 6 h 57"/>
                <a:gd name="T88" fmla="*/ 14 w 33"/>
                <a:gd name="T89" fmla="*/ 6 h 57"/>
                <a:gd name="T90" fmla="*/ 8 w 33"/>
                <a:gd name="T91" fmla="*/ 2 h 57"/>
                <a:gd name="T92" fmla="*/ 6 w 33"/>
                <a:gd name="T93" fmla="*/ 2 h 57"/>
                <a:gd name="T94" fmla="*/ 4 w 33"/>
                <a:gd name="T95" fmla="*/ 2 h 57"/>
                <a:gd name="T96" fmla="*/ 8 w 33"/>
                <a:gd name="T97" fmla="*/ 0 h 57"/>
                <a:gd name="T98" fmla="*/ 8 w 33"/>
                <a:gd name="T99" fmla="*/ 2 h 57"/>
                <a:gd name="T100" fmla="*/ 4 w 33"/>
                <a:gd name="T101" fmla="*/ 13 h 57"/>
                <a:gd name="T102" fmla="*/ 6 w 33"/>
                <a:gd name="T103" fmla="*/ 4 h 57"/>
                <a:gd name="T104" fmla="*/ 2 w 33"/>
                <a:gd name="T105" fmla="*/ 6 h 57"/>
                <a:gd name="T106" fmla="*/ 31 w 33"/>
                <a:gd name="T107" fmla="*/ 31 h 57"/>
                <a:gd name="T108" fmla="*/ 2 w 33"/>
                <a:gd name="T109" fmla="*/ 21 h 57"/>
                <a:gd name="T110" fmla="*/ 2 w 33"/>
                <a:gd name="T111" fmla="*/ 4 h 57"/>
                <a:gd name="T112" fmla="*/ 12 w 33"/>
                <a:gd name="T113" fmla="*/ 4 h 57"/>
                <a:gd name="T114" fmla="*/ 19 w 33"/>
                <a:gd name="T115" fmla="*/ 1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57">
                  <a:moveTo>
                    <a:pt x="10" y="0"/>
                  </a:moveTo>
                  <a:lnTo>
                    <a:pt x="10" y="2"/>
                  </a:lnTo>
                  <a:lnTo>
                    <a:pt x="12" y="2"/>
                  </a:lnTo>
                  <a:lnTo>
                    <a:pt x="12" y="4"/>
                  </a:lnTo>
                  <a:lnTo>
                    <a:pt x="14" y="4"/>
                  </a:lnTo>
                  <a:lnTo>
                    <a:pt x="14" y="6"/>
                  </a:lnTo>
                  <a:lnTo>
                    <a:pt x="16" y="6"/>
                  </a:lnTo>
                  <a:lnTo>
                    <a:pt x="16" y="7"/>
                  </a:lnTo>
                  <a:lnTo>
                    <a:pt x="17" y="7"/>
                  </a:lnTo>
                  <a:lnTo>
                    <a:pt x="17" y="9"/>
                  </a:lnTo>
                  <a:lnTo>
                    <a:pt x="17" y="7"/>
                  </a:lnTo>
                  <a:lnTo>
                    <a:pt x="17" y="9"/>
                  </a:lnTo>
                  <a:lnTo>
                    <a:pt x="19" y="9"/>
                  </a:lnTo>
                  <a:lnTo>
                    <a:pt x="17" y="9"/>
                  </a:lnTo>
                  <a:lnTo>
                    <a:pt x="19" y="9"/>
                  </a:lnTo>
                  <a:lnTo>
                    <a:pt x="19" y="11"/>
                  </a:lnTo>
                  <a:lnTo>
                    <a:pt x="19" y="9"/>
                  </a:lnTo>
                  <a:lnTo>
                    <a:pt x="19" y="11"/>
                  </a:lnTo>
                  <a:lnTo>
                    <a:pt x="19" y="13"/>
                  </a:lnTo>
                  <a:lnTo>
                    <a:pt x="19" y="11"/>
                  </a:lnTo>
                  <a:lnTo>
                    <a:pt x="19" y="13"/>
                  </a:lnTo>
                  <a:lnTo>
                    <a:pt x="21" y="13"/>
                  </a:lnTo>
                  <a:lnTo>
                    <a:pt x="21" y="15"/>
                  </a:lnTo>
                  <a:lnTo>
                    <a:pt x="21" y="13"/>
                  </a:lnTo>
                  <a:lnTo>
                    <a:pt x="21" y="15"/>
                  </a:lnTo>
                  <a:lnTo>
                    <a:pt x="23" y="15"/>
                  </a:lnTo>
                  <a:lnTo>
                    <a:pt x="21" y="15"/>
                  </a:lnTo>
                  <a:lnTo>
                    <a:pt x="23" y="15"/>
                  </a:lnTo>
                  <a:lnTo>
                    <a:pt x="23" y="17"/>
                  </a:lnTo>
                  <a:lnTo>
                    <a:pt x="23" y="19"/>
                  </a:lnTo>
                  <a:lnTo>
                    <a:pt x="25" y="19"/>
                  </a:lnTo>
                  <a:lnTo>
                    <a:pt x="23" y="19"/>
                  </a:lnTo>
                  <a:lnTo>
                    <a:pt x="25" y="19"/>
                  </a:lnTo>
                  <a:lnTo>
                    <a:pt x="23" y="19"/>
                  </a:lnTo>
                  <a:lnTo>
                    <a:pt x="23" y="21"/>
                  </a:lnTo>
                  <a:lnTo>
                    <a:pt x="25" y="21"/>
                  </a:lnTo>
                  <a:lnTo>
                    <a:pt x="25" y="19"/>
                  </a:lnTo>
                  <a:lnTo>
                    <a:pt x="25" y="21"/>
                  </a:lnTo>
                  <a:lnTo>
                    <a:pt x="27" y="21"/>
                  </a:lnTo>
                  <a:lnTo>
                    <a:pt x="25" y="21"/>
                  </a:lnTo>
                  <a:lnTo>
                    <a:pt x="27" y="21"/>
                  </a:lnTo>
                  <a:lnTo>
                    <a:pt x="25" y="21"/>
                  </a:lnTo>
                  <a:lnTo>
                    <a:pt x="27" y="21"/>
                  </a:lnTo>
                  <a:lnTo>
                    <a:pt x="25" y="21"/>
                  </a:lnTo>
                  <a:lnTo>
                    <a:pt x="27" y="21"/>
                  </a:lnTo>
                  <a:lnTo>
                    <a:pt x="27" y="23"/>
                  </a:lnTo>
                  <a:lnTo>
                    <a:pt x="27" y="25"/>
                  </a:lnTo>
                  <a:lnTo>
                    <a:pt x="25" y="25"/>
                  </a:lnTo>
                  <a:lnTo>
                    <a:pt x="27" y="25"/>
                  </a:lnTo>
                  <a:lnTo>
                    <a:pt x="27" y="27"/>
                  </a:lnTo>
                  <a:lnTo>
                    <a:pt x="27" y="25"/>
                  </a:lnTo>
                  <a:lnTo>
                    <a:pt x="27" y="27"/>
                  </a:lnTo>
                  <a:lnTo>
                    <a:pt x="29" y="27"/>
                  </a:lnTo>
                  <a:lnTo>
                    <a:pt x="29" y="29"/>
                  </a:lnTo>
                  <a:lnTo>
                    <a:pt x="29" y="31"/>
                  </a:lnTo>
                  <a:lnTo>
                    <a:pt x="29" y="29"/>
                  </a:lnTo>
                  <a:lnTo>
                    <a:pt x="29" y="31"/>
                  </a:lnTo>
                  <a:lnTo>
                    <a:pt x="29" y="29"/>
                  </a:lnTo>
                  <a:lnTo>
                    <a:pt x="29" y="31"/>
                  </a:lnTo>
                  <a:lnTo>
                    <a:pt x="31" y="31"/>
                  </a:lnTo>
                  <a:lnTo>
                    <a:pt x="31" y="32"/>
                  </a:lnTo>
                  <a:lnTo>
                    <a:pt x="31" y="31"/>
                  </a:lnTo>
                  <a:lnTo>
                    <a:pt x="29" y="31"/>
                  </a:lnTo>
                  <a:lnTo>
                    <a:pt x="31" y="31"/>
                  </a:lnTo>
                  <a:lnTo>
                    <a:pt x="29" y="31"/>
                  </a:lnTo>
                  <a:lnTo>
                    <a:pt x="31" y="31"/>
                  </a:lnTo>
                  <a:lnTo>
                    <a:pt x="31" y="32"/>
                  </a:lnTo>
                  <a:lnTo>
                    <a:pt x="33" y="32"/>
                  </a:lnTo>
                  <a:lnTo>
                    <a:pt x="31" y="32"/>
                  </a:lnTo>
                  <a:lnTo>
                    <a:pt x="31" y="34"/>
                  </a:lnTo>
                  <a:lnTo>
                    <a:pt x="31" y="32"/>
                  </a:lnTo>
                  <a:lnTo>
                    <a:pt x="31" y="34"/>
                  </a:lnTo>
                  <a:lnTo>
                    <a:pt x="33" y="34"/>
                  </a:lnTo>
                  <a:lnTo>
                    <a:pt x="31" y="34"/>
                  </a:lnTo>
                  <a:lnTo>
                    <a:pt x="33" y="34"/>
                  </a:lnTo>
                  <a:lnTo>
                    <a:pt x="31" y="34"/>
                  </a:lnTo>
                  <a:lnTo>
                    <a:pt x="33" y="34"/>
                  </a:lnTo>
                  <a:lnTo>
                    <a:pt x="31" y="34"/>
                  </a:lnTo>
                  <a:lnTo>
                    <a:pt x="33" y="34"/>
                  </a:lnTo>
                  <a:lnTo>
                    <a:pt x="31" y="34"/>
                  </a:lnTo>
                  <a:lnTo>
                    <a:pt x="33" y="34"/>
                  </a:lnTo>
                  <a:lnTo>
                    <a:pt x="33" y="36"/>
                  </a:lnTo>
                  <a:lnTo>
                    <a:pt x="33" y="34"/>
                  </a:lnTo>
                  <a:lnTo>
                    <a:pt x="33" y="32"/>
                  </a:lnTo>
                  <a:lnTo>
                    <a:pt x="31" y="32"/>
                  </a:lnTo>
                  <a:lnTo>
                    <a:pt x="31" y="31"/>
                  </a:lnTo>
                  <a:lnTo>
                    <a:pt x="31" y="32"/>
                  </a:lnTo>
                  <a:lnTo>
                    <a:pt x="33" y="32"/>
                  </a:lnTo>
                  <a:lnTo>
                    <a:pt x="33" y="34"/>
                  </a:lnTo>
                  <a:lnTo>
                    <a:pt x="33" y="36"/>
                  </a:lnTo>
                  <a:lnTo>
                    <a:pt x="33" y="38"/>
                  </a:lnTo>
                  <a:lnTo>
                    <a:pt x="33" y="40"/>
                  </a:lnTo>
                  <a:lnTo>
                    <a:pt x="33" y="42"/>
                  </a:lnTo>
                  <a:lnTo>
                    <a:pt x="33" y="44"/>
                  </a:lnTo>
                  <a:lnTo>
                    <a:pt x="33" y="46"/>
                  </a:lnTo>
                  <a:lnTo>
                    <a:pt x="33" y="48"/>
                  </a:lnTo>
                  <a:lnTo>
                    <a:pt x="31" y="48"/>
                  </a:lnTo>
                  <a:lnTo>
                    <a:pt x="31" y="50"/>
                  </a:lnTo>
                  <a:lnTo>
                    <a:pt x="29" y="50"/>
                  </a:lnTo>
                  <a:lnTo>
                    <a:pt x="29" y="52"/>
                  </a:lnTo>
                  <a:lnTo>
                    <a:pt x="27" y="52"/>
                  </a:lnTo>
                  <a:lnTo>
                    <a:pt x="27" y="54"/>
                  </a:lnTo>
                  <a:lnTo>
                    <a:pt x="25" y="54"/>
                  </a:lnTo>
                  <a:lnTo>
                    <a:pt x="23" y="54"/>
                  </a:lnTo>
                  <a:lnTo>
                    <a:pt x="23" y="56"/>
                  </a:lnTo>
                  <a:lnTo>
                    <a:pt x="21" y="56"/>
                  </a:lnTo>
                  <a:lnTo>
                    <a:pt x="19" y="56"/>
                  </a:lnTo>
                  <a:lnTo>
                    <a:pt x="17" y="56"/>
                  </a:lnTo>
                  <a:lnTo>
                    <a:pt x="17" y="57"/>
                  </a:lnTo>
                  <a:lnTo>
                    <a:pt x="16" y="57"/>
                  </a:lnTo>
                  <a:lnTo>
                    <a:pt x="14" y="57"/>
                  </a:lnTo>
                  <a:lnTo>
                    <a:pt x="16" y="57"/>
                  </a:lnTo>
                  <a:lnTo>
                    <a:pt x="14" y="57"/>
                  </a:lnTo>
                  <a:lnTo>
                    <a:pt x="12" y="57"/>
                  </a:lnTo>
                  <a:lnTo>
                    <a:pt x="14" y="57"/>
                  </a:lnTo>
                  <a:lnTo>
                    <a:pt x="12" y="57"/>
                  </a:lnTo>
                  <a:lnTo>
                    <a:pt x="14" y="57"/>
                  </a:lnTo>
                  <a:lnTo>
                    <a:pt x="12" y="57"/>
                  </a:lnTo>
                  <a:lnTo>
                    <a:pt x="10" y="57"/>
                  </a:lnTo>
                  <a:lnTo>
                    <a:pt x="10" y="56"/>
                  </a:lnTo>
                  <a:lnTo>
                    <a:pt x="8" y="56"/>
                  </a:lnTo>
                  <a:lnTo>
                    <a:pt x="8" y="54"/>
                  </a:lnTo>
                  <a:lnTo>
                    <a:pt x="6" y="54"/>
                  </a:lnTo>
                  <a:lnTo>
                    <a:pt x="6" y="52"/>
                  </a:lnTo>
                  <a:lnTo>
                    <a:pt x="6" y="50"/>
                  </a:lnTo>
                  <a:lnTo>
                    <a:pt x="8" y="50"/>
                  </a:lnTo>
                  <a:lnTo>
                    <a:pt x="6" y="50"/>
                  </a:lnTo>
                  <a:lnTo>
                    <a:pt x="6" y="48"/>
                  </a:lnTo>
                  <a:lnTo>
                    <a:pt x="6" y="46"/>
                  </a:lnTo>
                  <a:lnTo>
                    <a:pt x="4" y="46"/>
                  </a:lnTo>
                  <a:lnTo>
                    <a:pt x="6" y="46"/>
                  </a:lnTo>
                  <a:lnTo>
                    <a:pt x="4" y="46"/>
                  </a:lnTo>
                  <a:lnTo>
                    <a:pt x="6" y="46"/>
                  </a:lnTo>
                  <a:lnTo>
                    <a:pt x="4" y="46"/>
                  </a:lnTo>
                  <a:lnTo>
                    <a:pt x="4" y="44"/>
                  </a:lnTo>
                  <a:lnTo>
                    <a:pt x="4" y="46"/>
                  </a:lnTo>
                  <a:lnTo>
                    <a:pt x="4" y="44"/>
                  </a:lnTo>
                  <a:lnTo>
                    <a:pt x="4" y="42"/>
                  </a:lnTo>
                  <a:lnTo>
                    <a:pt x="4" y="40"/>
                  </a:lnTo>
                  <a:lnTo>
                    <a:pt x="4" y="38"/>
                  </a:lnTo>
                  <a:lnTo>
                    <a:pt x="4" y="40"/>
                  </a:lnTo>
                  <a:lnTo>
                    <a:pt x="4" y="38"/>
                  </a:lnTo>
                  <a:lnTo>
                    <a:pt x="4" y="36"/>
                  </a:lnTo>
                  <a:lnTo>
                    <a:pt x="4" y="34"/>
                  </a:lnTo>
                  <a:lnTo>
                    <a:pt x="2" y="34"/>
                  </a:lnTo>
                  <a:lnTo>
                    <a:pt x="2" y="32"/>
                  </a:lnTo>
                  <a:lnTo>
                    <a:pt x="4" y="32"/>
                  </a:lnTo>
                  <a:lnTo>
                    <a:pt x="4" y="31"/>
                  </a:lnTo>
                  <a:lnTo>
                    <a:pt x="2" y="31"/>
                  </a:lnTo>
                  <a:lnTo>
                    <a:pt x="2" y="29"/>
                  </a:lnTo>
                  <a:lnTo>
                    <a:pt x="2" y="27"/>
                  </a:lnTo>
                  <a:lnTo>
                    <a:pt x="2" y="25"/>
                  </a:lnTo>
                  <a:lnTo>
                    <a:pt x="2" y="23"/>
                  </a:lnTo>
                  <a:lnTo>
                    <a:pt x="2" y="25"/>
                  </a:lnTo>
                  <a:lnTo>
                    <a:pt x="2" y="23"/>
                  </a:lnTo>
                  <a:lnTo>
                    <a:pt x="2" y="21"/>
                  </a:lnTo>
                  <a:lnTo>
                    <a:pt x="2" y="23"/>
                  </a:lnTo>
                  <a:lnTo>
                    <a:pt x="2" y="21"/>
                  </a:lnTo>
                  <a:lnTo>
                    <a:pt x="2" y="23"/>
                  </a:lnTo>
                  <a:lnTo>
                    <a:pt x="2" y="25"/>
                  </a:lnTo>
                  <a:lnTo>
                    <a:pt x="2" y="27"/>
                  </a:lnTo>
                  <a:lnTo>
                    <a:pt x="4" y="27"/>
                  </a:lnTo>
                  <a:lnTo>
                    <a:pt x="4" y="29"/>
                  </a:lnTo>
                  <a:lnTo>
                    <a:pt x="4" y="27"/>
                  </a:lnTo>
                  <a:lnTo>
                    <a:pt x="4" y="29"/>
                  </a:lnTo>
                  <a:lnTo>
                    <a:pt x="4" y="27"/>
                  </a:lnTo>
                  <a:lnTo>
                    <a:pt x="2" y="27"/>
                  </a:lnTo>
                  <a:lnTo>
                    <a:pt x="4" y="27"/>
                  </a:lnTo>
                  <a:lnTo>
                    <a:pt x="2" y="27"/>
                  </a:lnTo>
                  <a:lnTo>
                    <a:pt x="2" y="25"/>
                  </a:lnTo>
                  <a:lnTo>
                    <a:pt x="2" y="27"/>
                  </a:lnTo>
                  <a:lnTo>
                    <a:pt x="2" y="25"/>
                  </a:lnTo>
                  <a:lnTo>
                    <a:pt x="4" y="27"/>
                  </a:lnTo>
                  <a:lnTo>
                    <a:pt x="4" y="25"/>
                  </a:lnTo>
                  <a:lnTo>
                    <a:pt x="4" y="23"/>
                  </a:lnTo>
                  <a:lnTo>
                    <a:pt x="2" y="23"/>
                  </a:lnTo>
                  <a:lnTo>
                    <a:pt x="4" y="23"/>
                  </a:lnTo>
                  <a:lnTo>
                    <a:pt x="2" y="23"/>
                  </a:lnTo>
                  <a:lnTo>
                    <a:pt x="4" y="23"/>
                  </a:lnTo>
                  <a:lnTo>
                    <a:pt x="4" y="21"/>
                  </a:lnTo>
                  <a:lnTo>
                    <a:pt x="4" y="19"/>
                  </a:lnTo>
                  <a:lnTo>
                    <a:pt x="4" y="17"/>
                  </a:lnTo>
                  <a:lnTo>
                    <a:pt x="6" y="17"/>
                  </a:lnTo>
                  <a:lnTo>
                    <a:pt x="6" y="15"/>
                  </a:lnTo>
                  <a:lnTo>
                    <a:pt x="4" y="15"/>
                  </a:lnTo>
                  <a:lnTo>
                    <a:pt x="6" y="15"/>
                  </a:lnTo>
                  <a:lnTo>
                    <a:pt x="4" y="15"/>
                  </a:lnTo>
                  <a:lnTo>
                    <a:pt x="6" y="15"/>
                  </a:lnTo>
                  <a:lnTo>
                    <a:pt x="4" y="15"/>
                  </a:lnTo>
                  <a:lnTo>
                    <a:pt x="4" y="13"/>
                  </a:lnTo>
                  <a:lnTo>
                    <a:pt x="6" y="13"/>
                  </a:lnTo>
                  <a:lnTo>
                    <a:pt x="4" y="13"/>
                  </a:lnTo>
                  <a:lnTo>
                    <a:pt x="4" y="15"/>
                  </a:lnTo>
                  <a:lnTo>
                    <a:pt x="6" y="15"/>
                  </a:lnTo>
                  <a:lnTo>
                    <a:pt x="6" y="13"/>
                  </a:lnTo>
                  <a:lnTo>
                    <a:pt x="4" y="13"/>
                  </a:lnTo>
                  <a:lnTo>
                    <a:pt x="6" y="13"/>
                  </a:lnTo>
                  <a:lnTo>
                    <a:pt x="4" y="13"/>
                  </a:lnTo>
                  <a:lnTo>
                    <a:pt x="6" y="13"/>
                  </a:lnTo>
                  <a:lnTo>
                    <a:pt x="4" y="13"/>
                  </a:lnTo>
                  <a:lnTo>
                    <a:pt x="6" y="13"/>
                  </a:lnTo>
                  <a:lnTo>
                    <a:pt x="6" y="11"/>
                  </a:lnTo>
                  <a:lnTo>
                    <a:pt x="8" y="11"/>
                  </a:lnTo>
                  <a:lnTo>
                    <a:pt x="8" y="9"/>
                  </a:lnTo>
                  <a:lnTo>
                    <a:pt x="8" y="7"/>
                  </a:lnTo>
                  <a:lnTo>
                    <a:pt x="6" y="7"/>
                  </a:lnTo>
                  <a:lnTo>
                    <a:pt x="8" y="7"/>
                  </a:lnTo>
                  <a:lnTo>
                    <a:pt x="6" y="7"/>
                  </a:lnTo>
                  <a:lnTo>
                    <a:pt x="8" y="7"/>
                  </a:lnTo>
                  <a:lnTo>
                    <a:pt x="6" y="7"/>
                  </a:lnTo>
                  <a:lnTo>
                    <a:pt x="6" y="6"/>
                  </a:lnTo>
                  <a:lnTo>
                    <a:pt x="8" y="6"/>
                  </a:lnTo>
                  <a:lnTo>
                    <a:pt x="8" y="4"/>
                  </a:lnTo>
                  <a:lnTo>
                    <a:pt x="6" y="4"/>
                  </a:lnTo>
                  <a:lnTo>
                    <a:pt x="8" y="4"/>
                  </a:lnTo>
                  <a:lnTo>
                    <a:pt x="10" y="4"/>
                  </a:lnTo>
                  <a:lnTo>
                    <a:pt x="10" y="6"/>
                  </a:lnTo>
                  <a:lnTo>
                    <a:pt x="12" y="6"/>
                  </a:lnTo>
                  <a:lnTo>
                    <a:pt x="12" y="4"/>
                  </a:lnTo>
                  <a:lnTo>
                    <a:pt x="12" y="6"/>
                  </a:lnTo>
                  <a:lnTo>
                    <a:pt x="12" y="4"/>
                  </a:lnTo>
                  <a:lnTo>
                    <a:pt x="12" y="6"/>
                  </a:lnTo>
                  <a:lnTo>
                    <a:pt x="14" y="6"/>
                  </a:lnTo>
                  <a:lnTo>
                    <a:pt x="16" y="6"/>
                  </a:lnTo>
                  <a:lnTo>
                    <a:pt x="14" y="6"/>
                  </a:lnTo>
                  <a:lnTo>
                    <a:pt x="14" y="4"/>
                  </a:lnTo>
                  <a:lnTo>
                    <a:pt x="12" y="4"/>
                  </a:lnTo>
                  <a:lnTo>
                    <a:pt x="10" y="4"/>
                  </a:lnTo>
                  <a:lnTo>
                    <a:pt x="10" y="2"/>
                  </a:lnTo>
                  <a:lnTo>
                    <a:pt x="8" y="2"/>
                  </a:lnTo>
                  <a:lnTo>
                    <a:pt x="8" y="4"/>
                  </a:lnTo>
                  <a:lnTo>
                    <a:pt x="8" y="2"/>
                  </a:lnTo>
                  <a:lnTo>
                    <a:pt x="8" y="4"/>
                  </a:lnTo>
                  <a:lnTo>
                    <a:pt x="8" y="2"/>
                  </a:lnTo>
                  <a:lnTo>
                    <a:pt x="6" y="2"/>
                  </a:lnTo>
                  <a:lnTo>
                    <a:pt x="8" y="2"/>
                  </a:lnTo>
                  <a:lnTo>
                    <a:pt x="8" y="4"/>
                  </a:lnTo>
                  <a:lnTo>
                    <a:pt x="8" y="2"/>
                  </a:lnTo>
                  <a:lnTo>
                    <a:pt x="6" y="2"/>
                  </a:lnTo>
                  <a:lnTo>
                    <a:pt x="4" y="2"/>
                  </a:lnTo>
                  <a:lnTo>
                    <a:pt x="4" y="0"/>
                  </a:lnTo>
                  <a:lnTo>
                    <a:pt x="6" y="0"/>
                  </a:lnTo>
                  <a:lnTo>
                    <a:pt x="8" y="0"/>
                  </a:lnTo>
                  <a:lnTo>
                    <a:pt x="8" y="2"/>
                  </a:lnTo>
                  <a:lnTo>
                    <a:pt x="8" y="0"/>
                  </a:lnTo>
                  <a:lnTo>
                    <a:pt x="8" y="2"/>
                  </a:lnTo>
                  <a:lnTo>
                    <a:pt x="8" y="0"/>
                  </a:lnTo>
                  <a:lnTo>
                    <a:pt x="8" y="2"/>
                  </a:lnTo>
                  <a:lnTo>
                    <a:pt x="8" y="0"/>
                  </a:lnTo>
                  <a:lnTo>
                    <a:pt x="8" y="2"/>
                  </a:lnTo>
                  <a:lnTo>
                    <a:pt x="8" y="0"/>
                  </a:lnTo>
                  <a:lnTo>
                    <a:pt x="10" y="0"/>
                  </a:lnTo>
                  <a:close/>
                  <a:moveTo>
                    <a:pt x="2" y="11"/>
                  </a:moveTo>
                  <a:lnTo>
                    <a:pt x="4" y="11"/>
                  </a:lnTo>
                  <a:lnTo>
                    <a:pt x="4" y="13"/>
                  </a:lnTo>
                  <a:lnTo>
                    <a:pt x="2" y="13"/>
                  </a:lnTo>
                  <a:lnTo>
                    <a:pt x="2" y="11"/>
                  </a:lnTo>
                  <a:close/>
                  <a:moveTo>
                    <a:pt x="4" y="2"/>
                  </a:moveTo>
                  <a:lnTo>
                    <a:pt x="6" y="2"/>
                  </a:lnTo>
                  <a:lnTo>
                    <a:pt x="6" y="4"/>
                  </a:lnTo>
                  <a:lnTo>
                    <a:pt x="4" y="4"/>
                  </a:lnTo>
                  <a:lnTo>
                    <a:pt x="4" y="2"/>
                  </a:lnTo>
                  <a:close/>
                  <a:moveTo>
                    <a:pt x="0" y="4"/>
                  </a:moveTo>
                  <a:lnTo>
                    <a:pt x="2" y="4"/>
                  </a:lnTo>
                  <a:lnTo>
                    <a:pt x="2" y="6"/>
                  </a:lnTo>
                  <a:lnTo>
                    <a:pt x="0" y="6"/>
                  </a:lnTo>
                  <a:lnTo>
                    <a:pt x="0" y="4"/>
                  </a:lnTo>
                  <a:close/>
                  <a:moveTo>
                    <a:pt x="31" y="31"/>
                  </a:moveTo>
                  <a:lnTo>
                    <a:pt x="31" y="32"/>
                  </a:lnTo>
                  <a:lnTo>
                    <a:pt x="31" y="31"/>
                  </a:lnTo>
                  <a:close/>
                  <a:moveTo>
                    <a:pt x="8" y="4"/>
                  </a:moveTo>
                  <a:lnTo>
                    <a:pt x="10" y="4"/>
                  </a:lnTo>
                  <a:lnTo>
                    <a:pt x="8" y="4"/>
                  </a:lnTo>
                  <a:close/>
                  <a:moveTo>
                    <a:pt x="2" y="19"/>
                  </a:moveTo>
                  <a:lnTo>
                    <a:pt x="2" y="21"/>
                  </a:lnTo>
                  <a:lnTo>
                    <a:pt x="2" y="19"/>
                  </a:lnTo>
                  <a:close/>
                  <a:moveTo>
                    <a:pt x="6" y="7"/>
                  </a:moveTo>
                  <a:lnTo>
                    <a:pt x="8" y="7"/>
                  </a:lnTo>
                  <a:lnTo>
                    <a:pt x="6" y="7"/>
                  </a:lnTo>
                  <a:close/>
                  <a:moveTo>
                    <a:pt x="2" y="4"/>
                  </a:moveTo>
                  <a:lnTo>
                    <a:pt x="4" y="4"/>
                  </a:lnTo>
                  <a:lnTo>
                    <a:pt x="2" y="4"/>
                  </a:lnTo>
                  <a:close/>
                  <a:moveTo>
                    <a:pt x="12" y="4"/>
                  </a:moveTo>
                  <a:lnTo>
                    <a:pt x="14" y="4"/>
                  </a:lnTo>
                  <a:lnTo>
                    <a:pt x="12" y="4"/>
                  </a:lnTo>
                  <a:close/>
                  <a:moveTo>
                    <a:pt x="2" y="23"/>
                  </a:moveTo>
                  <a:lnTo>
                    <a:pt x="4" y="23"/>
                  </a:lnTo>
                  <a:lnTo>
                    <a:pt x="2" y="23"/>
                  </a:lnTo>
                  <a:close/>
                  <a:moveTo>
                    <a:pt x="19" y="9"/>
                  </a:moveTo>
                  <a:lnTo>
                    <a:pt x="19" y="11"/>
                  </a:lnTo>
                  <a:lnTo>
                    <a:pt x="19" y="9"/>
                  </a:lnTo>
                  <a:close/>
                  <a:moveTo>
                    <a:pt x="4" y="2"/>
                  </a:moveTo>
                  <a:lnTo>
                    <a:pt x="4" y="4"/>
                  </a:lnTo>
                  <a:lnTo>
                    <a:pt x="4" y="2"/>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1" name="Freeform 341">
              <a:extLst>
                <a:ext uri="{FF2B5EF4-FFF2-40B4-BE49-F238E27FC236}">
                  <a16:creationId xmlns:a16="http://schemas.microsoft.com/office/drawing/2014/main" id="{029E896E-7682-436C-AD53-A74C2713C42C}"/>
                </a:ext>
              </a:extLst>
            </p:cNvPr>
            <p:cNvSpPr>
              <a:spLocks noEditPoints="1"/>
            </p:cNvSpPr>
            <p:nvPr/>
          </p:nvSpPr>
          <p:spPr bwMode="gray">
            <a:xfrm>
              <a:off x="4526617" y="3666279"/>
              <a:ext cx="71130" cy="68677"/>
            </a:xfrm>
            <a:custGeom>
              <a:avLst/>
              <a:gdLst>
                <a:gd name="T0" fmla="*/ 15 w 58"/>
                <a:gd name="T1" fmla="*/ 25 h 56"/>
                <a:gd name="T2" fmla="*/ 19 w 58"/>
                <a:gd name="T3" fmla="*/ 27 h 56"/>
                <a:gd name="T4" fmla="*/ 23 w 58"/>
                <a:gd name="T5" fmla="*/ 25 h 56"/>
                <a:gd name="T6" fmla="*/ 25 w 58"/>
                <a:gd name="T7" fmla="*/ 22 h 56"/>
                <a:gd name="T8" fmla="*/ 25 w 58"/>
                <a:gd name="T9" fmla="*/ 20 h 56"/>
                <a:gd name="T10" fmla="*/ 21 w 58"/>
                <a:gd name="T11" fmla="*/ 14 h 56"/>
                <a:gd name="T12" fmla="*/ 21 w 58"/>
                <a:gd name="T13" fmla="*/ 10 h 56"/>
                <a:gd name="T14" fmla="*/ 21 w 58"/>
                <a:gd name="T15" fmla="*/ 8 h 56"/>
                <a:gd name="T16" fmla="*/ 23 w 58"/>
                <a:gd name="T17" fmla="*/ 4 h 56"/>
                <a:gd name="T18" fmla="*/ 27 w 58"/>
                <a:gd name="T19" fmla="*/ 2 h 56"/>
                <a:gd name="T20" fmla="*/ 29 w 58"/>
                <a:gd name="T21" fmla="*/ 2 h 56"/>
                <a:gd name="T22" fmla="*/ 33 w 58"/>
                <a:gd name="T23" fmla="*/ 4 h 56"/>
                <a:gd name="T24" fmla="*/ 36 w 58"/>
                <a:gd name="T25" fmla="*/ 4 h 56"/>
                <a:gd name="T26" fmla="*/ 40 w 58"/>
                <a:gd name="T27" fmla="*/ 6 h 56"/>
                <a:gd name="T28" fmla="*/ 44 w 58"/>
                <a:gd name="T29" fmla="*/ 8 h 56"/>
                <a:gd name="T30" fmla="*/ 46 w 58"/>
                <a:gd name="T31" fmla="*/ 8 h 56"/>
                <a:gd name="T32" fmla="*/ 48 w 58"/>
                <a:gd name="T33" fmla="*/ 12 h 56"/>
                <a:gd name="T34" fmla="*/ 52 w 58"/>
                <a:gd name="T35" fmla="*/ 14 h 56"/>
                <a:gd name="T36" fmla="*/ 54 w 58"/>
                <a:gd name="T37" fmla="*/ 14 h 56"/>
                <a:gd name="T38" fmla="*/ 58 w 58"/>
                <a:gd name="T39" fmla="*/ 16 h 56"/>
                <a:gd name="T40" fmla="*/ 56 w 58"/>
                <a:gd name="T41" fmla="*/ 22 h 56"/>
                <a:gd name="T42" fmla="*/ 52 w 58"/>
                <a:gd name="T43" fmla="*/ 23 h 56"/>
                <a:gd name="T44" fmla="*/ 48 w 58"/>
                <a:gd name="T45" fmla="*/ 25 h 56"/>
                <a:gd name="T46" fmla="*/ 46 w 58"/>
                <a:gd name="T47" fmla="*/ 29 h 56"/>
                <a:gd name="T48" fmla="*/ 44 w 58"/>
                <a:gd name="T49" fmla="*/ 29 h 56"/>
                <a:gd name="T50" fmla="*/ 40 w 58"/>
                <a:gd name="T51" fmla="*/ 31 h 56"/>
                <a:gd name="T52" fmla="*/ 38 w 58"/>
                <a:gd name="T53" fmla="*/ 31 h 56"/>
                <a:gd name="T54" fmla="*/ 33 w 58"/>
                <a:gd name="T55" fmla="*/ 33 h 56"/>
                <a:gd name="T56" fmla="*/ 29 w 58"/>
                <a:gd name="T57" fmla="*/ 31 h 56"/>
                <a:gd name="T58" fmla="*/ 27 w 58"/>
                <a:gd name="T59" fmla="*/ 31 h 56"/>
                <a:gd name="T60" fmla="*/ 25 w 58"/>
                <a:gd name="T61" fmla="*/ 31 h 56"/>
                <a:gd name="T62" fmla="*/ 21 w 58"/>
                <a:gd name="T63" fmla="*/ 29 h 56"/>
                <a:gd name="T64" fmla="*/ 15 w 58"/>
                <a:gd name="T65" fmla="*/ 29 h 56"/>
                <a:gd name="T66" fmla="*/ 8 w 58"/>
                <a:gd name="T67" fmla="*/ 33 h 56"/>
                <a:gd name="T68" fmla="*/ 8 w 58"/>
                <a:gd name="T69" fmla="*/ 35 h 56"/>
                <a:gd name="T70" fmla="*/ 8 w 58"/>
                <a:gd name="T71" fmla="*/ 37 h 56"/>
                <a:gd name="T72" fmla="*/ 10 w 58"/>
                <a:gd name="T73" fmla="*/ 41 h 56"/>
                <a:gd name="T74" fmla="*/ 11 w 58"/>
                <a:gd name="T75" fmla="*/ 45 h 56"/>
                <a:gd name="T76" fmla="*/ 8 w 58"/>
                <a:gd name="T77" fmla="*/ 46 h 56"/>
                <a:gd name="T78" fmla="*/ 8 w 58"/>
                <a:gd name="T79" fmla="*/ 48 h 56"/>
                <a:gd name="T80" fmla="*/ 2 w 58"/>
                <a:gd name="T81" fmla="*/ 48 h 56"/>
                <a:gd name="T82" fmla="*/ 2 w 58"/>
                <a:gd name="T83" fmla="*/ 43 h 56"/>
                <a:gd name="T84" fmla="*/ 2 w 58"/>
                <a:gd name="T85" fmla="*/ 41 h 56"/>
                <a:gd name="T86" fmla="*/ 0 w 58"/>
                <a:gd name="T87" fmla="*/ 41 h 56"/>
                <a:gd name="T88" fmla="*/ 0 w 58"/>
                <a:gd name="T89" fmla="*/ 39 h 56"/>
                <a:gd name="T90" fmla="*/ 4 w 58"/>
                <a:gd name="T91" fmla="*/ 41 h 56"/>
                <a:gd name="T92" fmla="*/ 6 w 58"/>
                <a:gd name="T93" fmla="*/ 37 h 56"/>
                <a:gd name="T94" fmla="*/ 4 w 58"/>
                <a:gd name="T95" fmla="*/ 37 h 56"/>
                <a:gd name="T96" fmla="*/ 8 w 58"/>
                <a:gd name="T97" fmla="*/ 33 h 56"/>
                <a:gd name="T98" fmla="*/ 10 w 58"/>
                <a:gd name="T99" fmla="*/ 50 h 56"/>
                <a:gd name="T100" fmla="*/ 11 w 58"/>
                <a:gd name="T101" fmla="*/ 54 h 56"/>
                <a:gd name="T102" fmla="*/ 8 w 58"/>
                <a:gd name="T103" fmla="*/ 56 h 56"/>
                <a:gd name="T104" fmla="*/ 10 w 58"/>
                <a:gd name="T105" fmla="*/ 52 h 56"/>
                <a:gd name="T106" fmla="*/ 10 w 58"/>
                <a:gd name="T107" fmla="*/ 5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56">
                  <a:moveTo>
                    <a:pt x="13" y="27"/>
                  </a:moveTo>
                  <a:lnTo>
                    <a:pt x="15" y="27"/>
                  </a:lnTo>
                  <a:lnTo>
                    <a:pt x="15" y="25"/>
                  </a:lnTo>
                  <a:lnTo>
                    <a:pt x="17" y="25"/>
                  </a:lnTo>
                  <a:lnTo>
                    <a:pt x="19" y="25"/>
                  </a:lnTo>
                  <a:lnTo>
                    <a:pt x="19" y="27"/>
                  </a:lnTo>
                  <a:lnTo>
                    <a:pt x="21" y="27"/>
                  </a:lnTo>
                  <a:lnTo>
                    <a:pt x="23" y="27"/>
                  </a:lnTo>
                  <a:lnTo>
                    <a:pt x="23" y="25"/>
                  </a:lnTo>
                  <a:lnTo>
                    <a:pt x="25" y="25"/>
                  </a:lnTo>
                  <a:lnTo>
                    <a:pt x="25" y="23"/>
                  </a:lnTo>
                  <a:lnTo>
                    <a:pt x="25" y="22"/>
                  </a:lnTo>
                  <a:lnTo>
                    <a:pt x="27" y="22"/>
                  </a:lnTo>
                  <a:lnTo>
                    <a:pt x="27" y="20"/>
                  </a:lnTo>
                  <a:lnTo>
                    <a:pt x="25" y="20"/>
                  </a:lnTo>
                  <a:lnTo>
                    <a:pt x="25" y="18"/>
                  </a:lnTo>
                  <a:lnTo>
                    <a:pt x="23" y="16"/>
                  </a:lnTo>
                  <a:lnTo>
                    <a:pt x="21" y="14"/>
                  </a:lnTo>
                  <a:lnTo>
                    <a:pt x="19" y="12"/>
                  </a:lnTo>
                  <a:lnTo>
                    <a:pt x="21" y="12"/>
                  </a:lnTo>
                  <a:lnTo>
                    <a:pt x="21" y="10"/>
                  </a:lnTo>
                  <a:lnTo>
                    <a:pt x="19" y="10"/>
                  </a:lnTo>
                  <a:lnTo>
                    <a:pt x="21" y="10"/>
                  </a:lnTo>
                  <a:lnTo>
                    <a:pt x="21" y="8"/>
                  </a:lnTo>
                  <a:lnTo>
                    <a:pt x="21" y="6"/>
                  </a:lnTo>
                  <a:lnTo>
                    <a:pt x="21" y="4"/>
                  </a:lnTo>
                  <a:lnTo>
                    <a:pt x="23" y="4"/>
                  </a:lnTo>
                  <a:lnTo>
                    <a:pt x="25" y="4"/>
                  </a:lnTo>
                  <a:lnTo>
                    <a:pt x="25" y="2"/>
                  </a:lnTo>
                  <a:lnTo>
                    <a:pt x="27" y="2"/>
                  </a:lnTo>
                  <a:lnTo>
                    <a:pt x="27" y="0"/>
                  </a:lnTo>
                  <a:lnTo>
                    <a:pt x="27" y="2"/>
                  </a:lnTo>
                  <a:lnTo>
                    <a:pt x="29" y="2"/>
                  </a:lnTo>
                  <a:lnTo>
                    <a:pt x="31" y="2"/>
                  </a:lnTo>
                  <a:lnTo>
                    <a:pt x="31" y="4"/>
                  </a:lnTo>
                  <a:lnTo>
                    <a:pt x="33" y="4"/>
                  </a:lnTo>
                  <a:lnTo>
                    <a:pt x="35" y="4"/>
                  </a:lnTo>
                  <a:lnTo>
                    <a:pt x="35" y="6"/>
                  </a:lnTo>
                  <a:lnTo>
                    <a:pt x="36" y="4"/>
                  </a:lnTo>
                  <a:lnTo>
                    <a:pt x="38" y="4"/>
                  </a:lnTo>
                  <a:lnTo>
                    <a:pt x="38" y="6"/>
                  </a:lnTo>
                  <a:lnTo>
                    <a:pt x="40" y="6"/>
                  </a:lnTo>
                  <a:lnTo>
                    <a:pt x="40" y="8"/>
                  </a:lnTo>
                  <a:lnTo>
                    <a:pt x="42" y="8"/>
                  </a:lnTo>
                  <a:lnTo>
                    <a:pt x="44" y="8"/>
                  </a:lnTo>
                  <a:lnTo>
                    <a:pt x="46" y="8"/>
                  </a:lnTo>
                  <a:lnTo>
                    <a:pt x="46" y="6"/>
                  </a:lnTo>
                  <a:lnTo>
                    <a:pt x="46" y="8"/>
                  </a:lnTo>
                  <a:lnTo>
                    <a:pt x="46" y="10"/>
                  </a:lnTo>
                  <a:lnTo>
                    <a:pt x="48" y="10"/>
                  </a:lnTo>
                  <a:lnTo>
                    <a:pt x="48" y="12"/>
                  </a:lnTo>
                  <a:lnTo>
                    <a:pt x="50" y="12"/>
                  </a:lnTo>
                  <a:lnTo>
                    <a:pt x="52" y="12"/>
                  </a:lnTo>
                  <a:lnTo>
                    <a:pt x="52" y="14"/>
                  </a:lnTo>
                  <a:lnTo>
                    <a:pt x="52" y="12"/>
                  </a:lnTo>
                  <a:lnTo>
                    <a:pt x="54" y="12"/>
                  </a:lnTo>
                  <a:lnTo>
                    <a:pt x="54" y="14"/>
                  </a:lnTo>
                  <a:lnTo>
                    <a:pt x="56" y="14"/>
                  </a:lnTo>
                  <a:lnTo>
                    <a:pt x="58" y="14"/>
                  </a:lnTo>
                  <a:lnTo>
                    <a:pt x="58" y="16"/>
                  </a:lnTo>
                  <a:lnTo>
                    <a:pt x="56" y="18"/>
                  </a:lnTo>
                  <a:lnTo>
                    <a:pt x="56" y="20"/>
                  </a:lnTo>
                  <a:lnTo>
                    <a:pt x="56" y="22"/>
                  </a:lnTo>
                  <a:lnTo>
                    <a:pt x="56" y="23"/>
                  </a:lnTo>
                  <a:lnTo>
                    <a:pt x="54" y="23"/>
                  </a:lnTo>
                  <a:lnTo>
                    <a:pt x="52" y="23"/>
                  </a:lnTo>
                  <a:lnTo>
                    <a:pt x="52" y="25"/>
                  </a:lnTo>
                  <a:lnTo>
                    <a:pt x="50" y="25"/>
                  </a:lnTo>
                  <a:lnTo>
                    <a:pt x="48" y="25"/>
                  </a:lnTo>
                  <a:lnTo>
                    <a:pt x="48" y="27"/>
                  </a:lnTo>
                  <a:lnTo>
                    <a:pt x="48" y="29"/>
                  </a:lnTo>
                  <a:lnTo>
                    <a:pt x="46" y="29"/>
                  </a:lnTo>
                  <a:lnTo>
                    <a:pt x="46" y="27"/>
                  </a:lnTo>
                  <a:lnTo>
                    <a:pt x="44" y="27"/>
                  </a:lnTo>
                  <a:lnTo>
                    <a:pt x="44" y="29"/>
                  </a:lnTo>
                  <a:lnTo>
                    <a:pt x="42" y="29"/>
                  </a:lnTo>
                  <a:lnTo>
                    <a:pt x="40" y="29"/>
                  </a:lnTo>
                  <a:lnTo>
                    <a:pt x="40" y="31"/>
                  </a:lnTo>
                  <a:lnTo>
                    <a:pt x="38" y="31"/>
                  </a:lnTo>
                  <a:lnTo>
                    <a:pt x="38" y="29"/>
                  </a:lnTo>
                  <a:lnTo>
                    <a:pt x="38" y="31"/>
                  </a:lnTo>
                  <a:lnTo>
                    <a:pt x="36" y="31"/>
                  </a:lnTo>
                  <a:lnTo>
                    <a:pt x="35" y="33"/>
                  </a:lnTo>
                  <a:lnTo>
                    <a:pt x="33" y="33"/>
                  </a:lnTo>
                  <a:lnTo>
                    <a:pt x="31" y="33"/>
                  </a:lnTo>
                  <a:lnTo>
                    <a:pt x="29" y="33"/>
                  </a:lnTo>
                  <a:lnTo>
                    <a:pt x="29" y="31"/>
                  </a:lnTo>
                  <a:lnTo>
                    <a:pt x="27" y="31"/>
                  </a:lnTo>
                  <a:lnTo>
                    <a:pt x="27" y="29"/>
                  </a:lnTo>
                  <a:lnTo>
                    <a:pt x="27" y="31"/>
                  </a:lnTo>
                  <a:lnTo>
                    <a:pt x="25" y="31"/>
                  </a:lnTo>
                  <a:lnTo>
                    <a:pt x="25" y="29"/>
                  </a:lnTo>
                  <a:lnTo>
                    <a:pt x="25" y="31"/>
                  </a:lnTo>
                  <a:lnTo>
                    <a:pt x="23" y="31"/>
                  </a:lnTo>
                  <a:lnTo>
                    <a:pt x="23" y="29"/>
                  </a:lnTo>
                  <a:lnTo>
                    <a:pt x="21" y="29"/>
                  </a:lnTo>
                  <a:lnTo>
                    <a:pt x="19" y="29"/>
                  </a:lnTo>
                  <a:lnTo>
                    <a:pt x="17" y="29"/>
                  </a:lnTo>
                  <a:lnTo>
                    <a:pt x="15" y="29"/>
                  </a:lnTo>
                  <a:lnTo>
                    <a:pt x="15" y="27"/>
                  </a:lnTo>
                  <a:lnTo>
                    <a:pt x="13" y="27"/>
                  </a:lnTo>
                  <a:close/>
                  <a:moveTo>
                    <a:pt x="8" y="33"/>
                  </a:moveTo>
                  <a:lnTo>
                    <a:pt x="6" y="33"/>
                  </a:lnTo>
                  <a:lnTo>
                    <a:pt x="6" y="35"/>
                  </a:lnTo>
                  <a:lnTo>
                    <a:pt x="8" y="35"/>
                  </a:lnTo>
                  <a:lnTo>
                    <a:pt x="8" y="37"/>
                  </a:lnTo>
                  <a:lnTo>
                    <a:pt x="10" y="37"/>
                  </a:lnTo>
                  <a:lnTo>
                    <a:pt x="8" y="37"/>
                  </a:lnTo>
                  <a:lnTo>
                    <a:pt x="8" y="39"/>
                  </a:lnTo>
                  <a:lnTo>
                    <a:pt x="8" y="41"/>
                  </a:lnTo>
                  <a:lnTo>
                    <a:pt x="10" y="41"/>
                  </a:lnTo>
                  <a:lnTo>
                    <a:pt x="11" y="41"/>
                  </a:lnTo>
                  <a:lnTo>
                    <a:pt x="11" y="43"/>
                  </a:lnTo>
                  <a:lnTo>
                    <a:pt x="11" y="45"/>
                  </a:lnTo>
                  <a:lnTo>
                    <a:pt x="10" y="45"/>
                  </a:lnTo>
                  <a:lnTo>
                    <a:pt x="10" y="46"/>
                  </a:lnTo>
                  <a:lnTo>
                    <a:pt x="8" y="46"/>
                  </a:lnTo>
                  <a:lnTo>
                    <a:pt x="8" y="48"/>
                  </a:lnTo>
                  <a:lnTo>
                    <a:pt x="10" y="48"/>
                  </a:lnTo>
                  <a:lnTo>
                    <a:pt x="8" y="48"/>
                  </a:lnTo>
                  <a:lnTo>
                    <a:pt x="6" y="48"/>
                  </a:lnTo>
                  <a:lnTo>
                    <a:pt x="4" y="48"/>
                  </a:lnTo>
                  <a:lnTo>
                    <a:pt x="2" y="48"/>
                  </a:lnTo>
                  <a:lnTo>
                    <a:pt x="2" y="46"/>
                  </a:lnTo>
                  <a:lnTo>
                    <a:pt x="2" y="45"/>
                  </a:lnTo>
                  <a:lnTo>
                    <a:pt x="2" y="43"/>
                  </a:lnTo>
                  <a:lnTo>
                    <a:pt x="2" y="41"/>
                  </a:lnTo>
                  <a:lnTo>
                    <a:pt x="0" y="41"/>
                  </a:lnTo>
                  <a:lnTo>
                    <a:pt x="2" y="41"/>
                  </a:lnTo>
                  <a:lnTo>
                    <a:pt x="0" y="41"/>
                  </a:lnTo>
                  <a:lnTo>
                    <a:pt x="2" y="41"/>
                  </a:lnTo>
                  <a:lnTo>
                    <a:pt x="0" y="41"/>
                  </a:lnTo>
                  <a:lnTo>
                    <a:pt x="0" y="39"/>
                  </a:lnTo>
                  <a:lnTo>
                    <a:pt x="2" y="39"/>
                  </a:lnTo>
                  <a:lnTo>
                    <a:pt x="0" y="39"/>
                  </a:lnTo>
                  <a:lnTo>
                    <a:pt x="2" y="39"/>
                  </a:lnTo>
                  <a:lnTo>
                    <a:pt x="2" y="41"/>
                  </a:lnTo>
                  <a:lnTo>
                    <a:pt x="4" y="41"/>
                  </a:lnTo>
                  <a:lnTo>
                    <a:pt x="4" y="39"/>
                  </a:lnTo>
                  <a:lnTo>
                    <a:pt x="6" y="39"/>
                  </a:lnTo>
                  <a:lnTo>
                    <a:pt x="6" y="37"/>
                  </a:lnTo>
                  <a:lnTo>
                    <a:pt x="8" y="37"/>
                  </a:lnTo>
                  <a:lnTo>
                    <a:pt x="6" y="37"/>
                  </a:lnTo>
                  <a:lnTo>
                    <a:pt x="4" y="37"/>
                  </a:lnTo>
                  <a:lnTo>
                    <a:pt x="4" y="35"/>
                  </a:lnTo>
                  <a:lnTo>
                    <a:pt x="6" y="33"/>
                  </a:lnTo>
                  <a:lnTo>
                    <a:pt x="8" y="33"/>
                  </a:lnTo>
                  <a:close/>
                  <a:moveTo>
                    <a:pt x="10" y="50"/>
                  </a:moveTo>
                  <a:lnTo>
                    <a:pt x="10" y="48"/>
                  </a:lnTo>
                  <a:lnTo>
                    <a:pt x="10" y="50"/>
                  </a:lnTo>
                  <a:lnTo>
                    <a:pt x="11" y="50"/>
                  </a:lnTo>
                  <a:lnTo>
                    <a:pt x="11" y="52"/>
                  </a:lnTo>
                  <a:lnTo>
                    <a:pt x="11" y="54"/>
                  </a:lnTo>
                  <a:lnTo>
                    <a:pt x="10" y="54"/>
                  </a:lnTo>
                  <a:lnTo>
                    <a:pt x="8" y="54"/>
                  </a:lnTo>
                  <a:lnTo>
                    <a:pt x="8" y="56"/>
                  </a:lnTo>
                  <a:lnTo>
                    <a:pt x="8" y="54"/>
                  </a:lnTo>
                  <a:lnTo>
                    <a:pt x="10" y="54"/>
                  </a:lnTo>
                  <a:lnTo>
                    <a:pt x="10" y="52"/>
                  </a:lnTo>
                  <a:lnTo>
                    <a:pt x="11" y="52"/>
                  </a:lnTo>
                  <a:lnTo>
                    <a:pt x="10" y="52"/>
                  </a:lnTo>
                  <a:lnTo>
                    <a:pt x="10" y="50"/>
                  </a:lnTo>
                  <a:lnTo>
                    <a:pt x="8" y="50"/>
                  </a:lnTo>
                  <a:lnTo>
                    <a:pt x="10" y="50"/>
                  </a:lnTo>
                  <a:close/>
                </a:path>
              </a:pathLst>
            </a:custGeom>
            <a:solidFill>
              <a:srgbClr val="D0D0D0"/>
            </a:solidFill>
            <a:ln w="6350">
              <a:solidFill>
                <a:schemeClr val="tx1">
                  <a:alpha val="38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12" name="Rectangle 211">
            <a:extLst>
              <a:ext uri="{FF2B5EF4-FFF2-40B4-BE49-F238E27FC236}">
                <a16:creationId xmlns:a16="http://schemas.microsoft.com/office/drawing/2014/main" id="{A2014B4F-20DF-496E-BDB3-35354350DBE8}"/>
              </a:ext>
            </a:extLst>
          </p:cNvPr>
          <p:cNvSpPr>
            <a:spLocks/>
          </p:cNvSpPr>
          <p:nvPr/>
        </p:nvSpPr>
        <p:spPr>
          <a:xfrm>
            <a:off x="3675063" y="3373073"/>
            <a:ext cx="2720093" cy="1433399"/>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rtl="0">
              <a:spcBef>
                <a:spcPts val="3800"/>
              </a:spcBef>
              <a:spcAft>
                <a:spcPts val="1100"/>
              </a:spcAft>
            </a:pPr>
            <a:r>
              <a:rPr lang="en-US" sz="800" b="1" i="0" u="none" strike="noStrike" dirty="0">
                <a:solidFill>
                  <a:srgbClr val="000000"/>
                </a:solidFill>
                <a:effectLst/>
                <a:latin typeface="SangBleu Sunrise" panose="020B0504000000000004" pitchFamily="34" charset="-52"/>
                <a:ea typeface="SangBleu Sunrise" panose="020B0504000000000004" pitchFamily="34" charset="-52"/>
              </a:rPr>
              <a:t>Government Involvement: </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In 2023, PROMOMED reported revenue of 15.8 </a:t>
            </a:r>
            <a:r>
              <a:rPr lang="en-US" sz="800" b="0" i="0" u="none" strike="noStrike" dirty="0" err="1">
                <a:solidFill>
                  <a:srgbClr val="000000"/>
                </a:solidFill>
                <a:effectLst/>
                <a:latin typeface="SangBleu Sunrise" panose="020B0504000000000004" pitchFamily="34" charset="-52"/>
                <a:ea typeface="SangBleu Sunrise" panose="020B0504000000000004" pitchFamily="34" charset="-52"/>
              </a:rPr>
              <a:t>bln</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 RUB, with 47% derived from government procurement, underscoring the significant role of the government in the company’s operations. Additionally, the pharmaceutical industry in Russia is subject to strict government licensing and regulatory oversight, particularly in pricing controls for essential and vital medicines. These essential drugs account for 61% of PROMOMED’s revenue and over 80% of its total production</a:t>
            </a:r>
            <a:endParaRPr lang="en-US" sz="800" dirty="0">
              <a:solidFill>
                <a:schemeClr val="tx1"/>
              </a:solidFill>
              <a:latin typeface="SangBleu Sunrise" panose="020B0504000000000004" pitchFamily="34" charset="-52"/>
              <a:ea typeface="SangBleu Sunrise" panose="020B0504000000000004" pitchFamily="34" charset="-52"/>
            </a:endParaRPr>
          </a:p>
        </p:txBody>
      </p:sp>
      <p:graphicFrame>
        <p:nvGraphicFramePr>
          <p:cNvPr id="267" name="Chart 266">
            <a:extLst>
              <a:ext uri="{FF2B5EF4-FFF2-40B4-BE49-F238E27FC236}">
                <a16:creationId xmlns:a16="http://schemas.microsoft.com/office/drawing/2014/main" id="{B2310936-15E8-4A98-AA68-527A41915831}"/>
              </a:ext>
            </a:extLst>
          </p:cNvPr>
          <p:cNvGraphicFramePr/>
          <p:nvPr>
            <p:custDataLst>
              <p:tags r:id="rId5"/>
            </p:custDataLst>
            <p:extLst>
              <p:ext uri="{D42A27DB-BD31-4B8C-83A1-F6EECF244321}">
                <p14:modId xmlns:p14="http://schemas.microsoft.com/office/powerpoint/2010/main" val="117764815"/>
              </p:ext>
            </p:extLst>
          </p:nvPr>
        </p:nvGraphicFramePr>
        <p:xfrm>
          <a:off x="1058863" y="2968625"/>
          <a:ext cx="2312987" cy="1320800"/>
        </p:xfrm>
        <a:graphic>
          <a:graphicData uri="http://schemas.openxmlformats.org/drawingml/2006/chart">
            <c:chart xmlns:c="http://schemas.openxmlformats.org/drawingml/2006/chart" xmlns:r="http://schemas.openxmlformats.org/officeDocument/2006/relationships" r:id="rId61"/>
          </a:graphicData>
        </a:graphic>
      </p:graphicFrame>
      <p:sp>
        <p:nvSpPr>
          <p:cNvPr id="414" name="Text Placeholder 2">
            <a:extLst>
              <a:ext uri="{FF2B5EF4-FFF2-40B4-BE49-F238E27FC236}">
                <a16:creationId xmlns:a16="http://schemas.microsoft.com/office/drawing/2014/main" id="{8A2E131A-A114-4ADE-946B-1EB5B8033C85}"/>
              </a:ext>
            </a:extLst>
          </p:cNvPr>
          <p:cNvSpPr>
            <a:spLocks noGrp="1"/>
          </p:cNvSpPr>
          <p:nvPr>
            <p:custDataLst>
              <p:tags r:id="rId6"/>
            </p:custDataLst>
          </p:nvPr>
        </p:nvSpPr>
        <p:spPr bwMode="auto">
          <a:xfrm>
            <a:off x="915988" y="3173413"/>
            <a:ext cx="17462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D6FEB765-5F41-4767-A561-CE74946AC177}" type="datetime'''''''''''''2''0''2''''''''''1'''''''''''''''''''''''''">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r">
                <a:spcBef>
                  <a:spcPct val="0"/>
                </a:spcBef>
                <a:spcAft>
                  <a:spcPct val="0"/>
                </a:spcAft>
                <a:buNone/>
              </a:pPr>
              <a:t>2021</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15" name="Text Placeholder 2">
            <a:extLst>
              <a:ext uri="{FF2B5EF4-FFF2-40B4-BE49-F238E27FC236}">
                <a16:creationId xmlns:a16="http://schemas.microsoft.com/office/drawing/2014/main" id="{3A82A840-5F87-4D5A-A7F3-E754AB542FAB}"/>
              </a:ext>
            </a:extLst>
          </p:cNvPr>
          <p:cNvSpPr>
            <a:spLocks noGrp="1"/>
          </p:cNvSpPr>
          <p:nvPr>
            <p:custDataLst>
              <p:tags r:id="rId7"/>
            </p:custDataLst>
          </p:nvPr>
        </p:nvSpPr>
        <p:spPr bwMode="auto">
          <a:xfrm>
            <a:off x="900113" y="3379788"/>
            <a:ext cx="1905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D94D50F8-6C63-4A39-A71A-20563B667E6B}" type="datetime'''''2''0''''''''''''''''''''''''''''''''''2''''''''''2'">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r">
                <a:spcBef>
                  <a:spcPct val="0"/>
                </a:spcBef>
                <a:spcAft>
                  <a:spcPct val="0"/>
                </a:spcAft>
                <a:buNone/>
              </a:pPr>
              <a:t>2022</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16" name="Text Placeholder 2">
            <a:extLst>
              <a:ext uri="{FF2B5EF4-FFF2-40B4-BE49-F238E27FC236}">
                <a16:creationId xmlns:a16="http://schemas.microsoft.com/office/drawing/2014/main" id="{AC0DA1DB-3C3C-490F-81DB-8679748C534A}"/>
              </a:ext>
            </a:extLst>
          </p:cNvPr>
          <p:cNvSpPr>
            <a:spLocks noGrp="1"/>
          </p:cNvSpPr>
          <p:nvPr>
            <p:custDataLst>
              <p:tags r:id="rId8"/>
            </p:custDataLst>
          </p:nvPr>
        </p:nvSpPr>
        <p:spPr bwMode="auto">
          <a:xfrm>
            <a:off x="900113" y="3586163"/>
            <a:ext cx="1905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F5B71C23-0BD0-4ADE-8072-3CB1E1D38F9E}" type="datetime'''2''''''''''''''''''''0''''''''''''''''''''''''23'''">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r">
                <a:spcBef>
                  <a:spcPct val="0"/>
                </a:spcBef>
                <a:spcAft>
                  <a:spcPct val="0"/>
                </a:spcAft>
                <a:buNone/>
              </a:pPr>
              <a:t>2023</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17" name="Text Placeholder 2">
            <a:extLst>
              <a:ext uri="{FF2B5EF4-FFF2-40B4-BE49-F238E27FC236}">
                <a16:creationId xmlns:a16="http://schemas.microsoft.com/office/drawing/2014/main" id="{9EF396DA-F39D-406F-A9E2-3F09AAB7CAA5}"/>
              </a:ext>
            </a:extLst>
          </p:cNvPr>
          <p:cNvSpPr>
            <a:spLocks noGrp="1"/>
          </p:cNvSpPr>
          <p:nvPr>
            <p:custDataLst>
              <p:tags r:id="rId9"/>
            </p:custDataLst>
          </p:nvPr>
        </p:nvSpPr>
        <p:spPr bwMode="auto">
          <a:xfrm>
            <a:off x="781050" y="3792538"/>
            <a:ext cx="30956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4035349C-68E3-4EA9-AA81-2D5462214BFC}" type="datetime'''2''''''''''''0''''2''3'' ''''''Q''''1'''''''''''''''''''''">
              <a:rPr lang="en-US"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r">
                <a:spcBef>
                  <a:spcPct val="0"/>
                </a:spcBef>
                <a:spcAft>
                  <a:spcPct val="0"/>
                </a:spcAft>
                <a:buNone/>
              </a:pPr>
              <a:t>2023 Q1</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18" name="Text Placeholder 2">
            <a:extLst>
              <a:ext uri="{FF2B5EF4-FFF2-40B4-BE49-F238E27FC236}">
                <a16:creationId xmlns:a16="http://schemas.microsoft.com/office/drawing/2014/main" id="{1D0DF426-7AD1-4B1E-926E-F1D64B80A294}"/>
              </a:ext>
            </a:extLst>
          </p:cNvPr>
          <p:cNvSpPr>
            <a:spLocks noGrp="1"/>
          </p:cNvSpPr>
          <p:nvPr>
            <p:custDataLst>
              <p:tags r:id="rId10"/>
            </p:custDataLst>
          </p:nvPr>
        </p:nvSpPr>
        <p:spPr bwMode="auto">
          <a:xfrm>
            <a:off x="774700" y="3998913"/>
            <a:ext cx="31591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8B0AF7A8-7AD4-4DBF-A2E7-93E9C0304223}" type="datetime'2''0''''2''''4'''''''''''''''' Q''''''''''''''''1'''''''''''''">
              <a:rPr lang="en-US"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r">
                <a:spcBef>
                  <a:spcPct val="0"/>
                </a:spcBef>
                <a:spcAft>
                  <a:spcPct val="0"/>
                </a:spcAft>
                <a:buNone/>
              </a:pPr>
              <a:t>2024 Q1</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70" name="Text Placeholder 2">
            <a:extLst>
              <a:ext uri="{FF2B5EF4-FFF2-40B4-BE49-F238E27FC236}">
                <a16:creationId xmlns:a16="http://schemas.microsoft.com/office/drawing/2014/main" id="{CF5F3E8C-BF2B-4AB0-A935-850D0D000222}"/>
              </a:ext>
            </a:extLst>
          </p:cNvPr>
          <p:cNvSpPr>
            <a:spLocks noGrp="1"/>
          </p:cNvSpPr>
          <p:nvPr>
            <p:custDataLst>
              <p:tags r:id="rId11"/>
            </p:custDataLst>
          </p:nvPr>
        </p:nvSpPr>
        <p:spPr bwMode="gray">
          <a:xfrm>
            <a:off x="3314700" y="3136900"/>
            <a:ext cx="249238"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8D8AF791-6D1B-4E72-AFE9-2B9707D918B1}" type="datetime'''''10''''''''.''3''''17'''''''">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0.317</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71" name="Text Placeholder 2">
            <a:extLst>
              <a:ext uri="{FF2B5EF4-FFF2-40B4-BE49-F238E27FC236}">
                <a16:creationId xmlns:a16="http://schemas.microsoft.com/office/drawing/2014/main" id="{972D58EB-2A3F-4BFA-B614-DDE54121A847}"/>
              </a:ext>
            </a:extLst>
          </p:cNvPr>
          <p:cNvSpPr>
            <a:spLocks noGrp="1"/>
          </p:cNvSpPr>
          <p:nvPr>
            <p:custDataLst>
              <p:tags r:id="rId12"/>
            </p:custDataLst>
          </p:nvPr>
        </p:nvSpPr>
        <p:spPr bwMode="gray">
          <a:xfrm>
            <a:off x="1773238" y="3211513"/>
            <a:ext cx="214313" cy="82550"/>
          </a:xfrm>
          <a:prstGeom prst="rect">
            <a:avLst/>
          </a:prstGeom>
          <a:noFill/>
          <a:ln>
            <a:noFill/>
          </a:ln>
          <a:effectLst/>
          <a:extLst>
            <a:ext uri="{909E8E84-426E-40DD-AFC4-6F175D3DCCD1}">
              <a14:hiddenFill xmlns:a14="http://schemas.microsoft.com/office/drawing/2010/main">
                <a:solidFill>
                  <a:prstClr val="black"/>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97446F66-14FA-4CA1-A3DF-FF605B212B12}" type="datetime'2''.''''''''''''''''''''''''''91''''''''''5'''''">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2.915</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72" name="Text Placeholder 2">
            <a:extLst>
              <a:ext uri="{FF2B5EF4-FFF2-40B4-BE49-F238E27FC236}">
                <a16:creationId xmlns:a16="http://schemas.microsoft.com/office/drawing/2014/main" id="{956068F0-21E8-455D-BAB9-BA43C5F88989}"/>
              </a:ext>
            </a:extLst>
          </p:cNvPr>
          <p:cNvSpPr>
            <a:spLocks noGrp="1"/>
          </p:cNvSpPr>
          <p:nvPr>
            <p:custDataLst>
              <p:tags r:id="rId13"/>
            </p:custDataLst>
          </p:nvPr>
        </p:nvSpPr>
        <p:spPr bwMode="gray">
          <a:xfrm>
            <a:off x="3152775" y="3343275"/>
            <a:ext cx="230188"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1E10DB97-9DCF-4434-8CB6-ADF289C4B16A}" type="datetime'''9''''''''''.''''''''''5''3''''''''''8'''''''">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9.538</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73" name="Text Placeholder 2">
            <a:extLst>
              <a:ext uri="{FF2B5EF4-FFF2-40B4-BE49-F238E27FC236}">
                <a16:creationId xmlns:a16="http://schemas.microsoft.com/office/drawing/2014/main" id="{CAC75CF9-8DA9-4676-ABCD-5F941B582889}"/>
              </a:ext>
            </a:extLst>
          </p:cNvPr>
          <p:cNvSpPr>
            <a:spLocks noGrp="1"/>
          </p:cNvSpPr>
          <p:nvPr>
            <p:custDataLst>
              <p:tags r:id="rId14"/>
            </p:custDataLst>
          </p:nvPr>
        </p:nvSpPr>
        <p:spPr bwMode="gray">
          <a:xfrm>
            <a:off x="1987550" y="3417888"/>
            <a:ext cx="222250" cy="82550"/>
          </a:xfrm>
          <a:prstGeom prst="rect">
            <a:avLst/>
          </a:prstGeom>
          <a:noFill/>
          <a:ln>
            <a:noFill/>
          </a:ln>
          <a:effectLst/>
          <a:extLst>
            <a:ext uri="{909E8E84-426E-40DD-AFC4-6F175D3DCCD1}">
              <a14:hiddenFill xmlns:a14="http://schemas.microsoft.com/office/drawing/2010/main">
                <a:solidFill>
                  <a:prstClr val="black"/>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1FF89110-6998-4112-B4D9-AD7BB2EED553}" type="datetime'''''''''''''3''''.''''''''''''''9''''4''''''''''''''''''''1'''">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3.941</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74" name="Text Placeholder 2">
            <a:extLst>
              <a:ext uri="{FF2B5EF4-FFF2-40B4-BE49-F238E27FC236}">
                <a16:creationId xmlns:a16="http://schemas.microsoft.com/office/drawing/2014/main" id="{0975A439-CE1A-4B25-B977-301C0FB56A83}"/>
              </a:ext>
            </a:extLst>
          </p:cNvPr>
          <p:cNvSpPr>
            <a:spLocks noGrp="1"/>
          </p:cNvSpPr>
          <p:nvPr>
            <p:custDataLst>
              <p:tags r:id="rId15"/>
            </p:custDataLst>
          </p:nvPr>
        </p:nvSpPr>
        <p:spPr bwMode="gray">
          <a:xfrm>
            <a:off x="3181350" y="3549650"/>
            <a:ext cx="2413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904E70B6-0696-4789-A80E-2984BFDD920C}" type="datetime'''''9''''.''''6''''''''''''''''''''''''''''''''''74'">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9.674</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75" name="Text Placeholder 2">
            <a:extLst>
              <a:ext uri="{FF2B5EF4-FFF2-40B4-BE49-F238E27FC236}">
                <a16:creationId xmlns:a16="http://schemas.microsoft.com/office/drawing/2014/main" id="{C67232E6-C189-4329-9A5B-F71C6483A5DD}"/>
              </a:ext>
            </a:extLst>
          </p:cNvPr>
          <p:cNvSpPr>
            <a:spLocks noGrp="1"/>
          </p:cNvSpPr>
          <p:nvPr>
            <p:custDataLst>
              <p:tags r:id="rId16"/>
            </p:custDataLst>
          </p:nvPr>
        </p:nvSpPr>
        <p:spPr bwMode="gray">
          <a:xfrm>
            <a:off x="2451100" y="3624263"/>
            <a:ext cx="219075" cy="82550"/>
          </a:xfrm>
          <a:prstGeom prst="rect">
            <a:avLst/>
          </a:prstGeom>
          <a:noFill/>
          <a:ln>
            <a:noFill/>
          </a:ln>
          <a:effectLst/>
          <a:extLst>
            <a:ext uri="{909E8E84-426E-40DD-AFC4-6F175D3DCCD1}">
              <a14:hiddenFill xmlns:a14="http://schemas.microsoft.com/office/drawing/2010/main">
                <a:solidFill>
                  <a:prstClr val="black"/>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3B558274-FC32-4253-A0D9-DA94D07E0BCE}" type="datetime'6''''''.1''''''''''''''''6''''''''8'''''''''''''''''''''''''">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6.168</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76" name="Text Placeholder 2">
            <a:extLst>
              <a:ext uri="{FF2B5EF4-FFF2-40B4-BE49-F238E27FC236}">
                <a16:creationId xmlns:a16="http://schemas.microsoft.com/office/drawing/2014/main" id="{CC79665E-D66B-4C89-A05A-8DD09A9CA37F}"/>
              </a:ext>
            </a:extLst>
          </p:cNvPr>
          <p:cNvSpPr>
            <a:spLocks noGrp="1"/>
          </p:cNvSpPr>
          <p:nvPr>
            <p:custDataLst>
              <p:tags r:id="rId17"/>
            </p:custDataLst>
          </p:nvPr>
        </p:nvSpPr>
        <p:spPr bwMode="gray">
          <a:xfrm>
            <a:off x="1473200" y="3756025"/>
            <a:ext cx="21907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D520C2A0-3146-48DB-8215-D24F7C37ABAB}" type="datetime'''''''''''''1.''4''''''''''''''''''7''''''''2'''''''">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472</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77" name="Text Placeholder 2">
            <a:extLst>
              <a:ext uri="{FF2B5EF4-FFF2-40B4-BE49-F238E27FC236}">
                <a16:creationId xmlns:a16="http://schemas.microsoft.com/office/drawing/2014/main" id="{13484FCA-FBC8-4BB2-B650-C6A6CD90CEF1}"/>
              </a:ext>
            </a:extLst>
          </p:cNvPr>
          <p:cNvSpPr>
            <a:spLocks noGrp="1"/>
          </p:cNvSpPr>
          <p:nvPr>
            <p:custDataLst>
              <p:tags r:id="rId18"/>
            </p:custDataLst>
          </p:nvPr>
        </p:nvSpPr>
        <p:spPr bwMode="gray">
          <a:xfrm>
            <a:off x="1457325" y="3962400"/>
            <a:ext cx="20955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76063C3C-0243-4FBB-BE41-E3B8BE71A8A1}" type="datetime'1''''.''''''''4''''0''''''''''''''1'''''''''">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401</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78" name="Text Placeholder 2">
            <a:extLst>
              <a:ext uri="{FF2B5EF4-FFF2-40B4-BE49-F238E27FC236}">
                <a16:creationId xmlns:a16="http://schemas.microsoft.com/office/drawing/2014/main" id="{CE245BC8-E817-43A3-A3E0-04A2F1F35F3A}"/>
              </a:ext>
            </a:extLst>
          </p:cNvPr>
          <p:cNvSpPr>
            <a:spLocks noGrp="1"/>
          </p:cNvSpPr>
          <p:nvPr>
            <p:custDataLst>
              <p:tags r:id="rId19"/>
            </p:custDataLst>
          </p:nvPr>
        </p:nvSpPr>
        <p:spPr bwMode="gray">
          <a:xfrm>
            <a:off x="1376363" y="4037013"/>
            <a:ext cx="209550" cy="82550"/>
          </a:xfrm>
          <a:prstGeom prst="rect">
            <a:avLst/>
          </a:prstGeom>
          <a:noFill/>
          <a:ln>
            <a:noFill/>
          </a:ln>
          <a:effectLst/>
          <a:extLst>
            <a:ext uri="{909E8E84-426E-40DD-AFC4-6F175D3DCCD1}">
              <a14:hiddenFill xmlns:a14="http://schemas.microsoft.com/office/drawing/2010/main">
                <a:solidFill>
                  <a:prstClr val="black"/>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134D450E-1468-453E-BE3C-D890AF07623E}" type="datetime'1''''''''''''''''.''''''''''''0''''''10'''''''">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010</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graphicFrame>
        <p:nvGraphicFramePr>
          <p:cNvPr id="722" name="Chart 721">
            <a:extLst>
              <a:ext uri="{FF2B5EF4-FFF2-40B4-BE49-F238E27FC236}">
                <a16:creationId xmlns:a16="http://schemas.microsoft.com/office/drawing/2014/main" id="{30E27FE6-945E-4EF5-A275-FA88CF18797F}"/>
              </a:ext>
            </a:extLst>
          </p:cNvPr>
          <p:cNvGraphicFramePr/>
          <p:nvPr>
            <p:custDataLst>
              <p:tags r:id="rId20"/>
            </p:custDataLst>
            <p:extLst>
              <p:ext uri="{D42A27DB-BD31-4B8C-83A1-F6EECF244321}">
                <p14:modId xmlns:p14="http://schemas.microsoft.com/office/powerpoint/2010/main" val="1576599383"/>
              </p:ext>
            </p:extLst>
          </p:nvPr>
        </p:nvGraphicFramePr>
        <p:xfrm>
          <a:off x="1058863" y="4225925"/>
          <a:ext cx="2312987" cy="1276350"/>
        </p:xfrm>
        <a:graphic>
          <a:graphicData uri="http://schemas.openxmlformats.org/drawingml/2006/chart">
            <c:chart xmlns:c="http://schemas.openxmlformats.org/drawingml/2006/chart" xmlns:r="http://schemas.openxmlformats.org/officeDocument/2006/relationships" r:id="rId62"/>
          </a:graphicData>
        </a:graphic>
      </p:graphicFrame>
      <p:sp>
        <p:nvSpPr>
          <p:cNvPr id="481" name="Text Placeholder 2">
            <a:extLst>
              <a:ext uri="{FF2B5EF4-FFF2-40B4-BE49-F238E27FC236}">
                <a16:creationId xmlns:a16="http://schemas.microsoft.com/office/drawing/2014/main" id="{B20359C2-E4E8-4CE9-9114-441D783EE645}"/>
              </a:ext>
            </a:extLst>
          </p:cNvPr>
          <p:cNvSpPr>
            <a:spLocks noGrp="1"/>
          </p:cNvSpPr>
          <p:nvPr>
            <p:custDataLst>
              <p:tags r:id="rId21"/>
            </p:custDataLst>
          </p:nvPr>
        </p:nvSpPr>
        <p:spPr bwMode="auto">
          <a:xfrm>
            <a:off x="915988" y="4378325"/>
            <a:ext cx="17462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D1E0BE1E-A358-4A9C-90F1-BEC84C1D0243}" type="datetime'''2''''''''''''''''''''''0''''''''''''''''2''''1'''''">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r">
                <a:spcBef>
                  <a:spcPct val="0"/>
                </a:spcBef>
                <a:spcAft>
                  <a:spcPct val="0"/>
                </a:spcAft>
                <a:buNone/>
              </a:pPr>
              <a:t>2021</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82" name="Text Placeholder 2">
            <a:extLst>
              <a:ext uri="{FF2B5EF4-FFF2-40B4-BE49-F238E27FC236}">
                <a16:creationId xmlns:a16="http://schemas.microsoft.com/office/drawing/2014/main" id="{8CEA3A5A-59BB-41FE-A13F-8361CCABDF91}"/>
              </a:ext>
            </a:extLst>
          </p:cNvPr>
          <p:cNvSpPr>
            <a:spLocks noGrp="1"/>
          </p:cNvSpPr>
          <p:nvPr>
            <p:custDataLst>
              <p:tags r:id="rId22"/>
            </p:custDataLst>
          </p:nvPr>
        </p:nvSpPr>
        <p:spPr bwMode="auto">
          <a:xfrm>
            <a:off x="900113" y="4600575"/>
            <a:ext cx="1905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21D447FD-BCD9-4712-BAE1-398CE76B7F7B}" type="datetime'2''''''''''''''0''2''''''''''''2'''''''''''''''''''">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r">
                <a:spcBef>
                  <a:spcPct val="0"/>
                </a:spcBef>
                <a:spcAft>
                  <a:spcPct val="0"/>
                </a:spcAft>
                <a:buNone/>
              </a:pPr>
              <a:t>2022</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83" name="Text Placeholder 2">
            <a:extLst>
              <a:ext uri="{FF2B5EF4-FFF2-40B4-BE49-F238E27FC236}">
                <a16:creationId xmlns:a16="http://schemas.microsoft.com/office/drawing/2014/main" id="{AE79C97E-35DB-419D-922C-795D564E6EFF}"/>
              </a:ext>
            </a:extLst>
          </p:cNvPr>
          <p:cNvSpPr>
            <a:spLocks noGrp="1"/>
          </p:cNvSpPr>
          <p:nvPr>
            <p:custDataLst>
              <p:tags r:id="rId23"/>
            </p:custDataLst>
          </p:nvPr>
        </p:nvSpPr>
        <p:spPr bwMode="auto">
          <a:xfrm>
            <a:off x="900113" y="4822825"/>
            <a:ext cx="1905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322D0EB3-FC23-4645-BA03-632D8BE66CAF}" type="datetime'''''2''''''''''''''''''02''''''''''''''''''''''''''''3'''">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r">
                <a:spcBef>
                  <a:spcPct val="0"/>
                </a:spcBef>
                <a:spcAft>
                  <a:spcPct val="0"/>
                </a:spcAft>
                <a:buNone/>
              </a:pPr>
              <a:t>2023</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84" name="Text Placeholder 2">
            <a:extLst>
              <a:ext uri="{FF2B5EF4-FFF2-40B4-BE49-F238E27FC236}">
                <a16:creationId xmlns:a16="http://schemas.microsoft.com/office/drawing/2014/main" id="{3EE8DEBB-7A3F-4659-BE91-0BF3CE7A40BA}"/>
              </a:ext>
            </a:extLst>
          </p:cNvPr>
          <p:cNvSpPr>
            <a:spLocks noGrp="1"/>
          </p:cNvSpPr>
          <p:nvPr>
            <p:custDataLst>
              <p:tags r:id="rId24"/>
            </p:custDataLst>
          </p:nvPr>
        </p:nvSpPr>
        <p:spPr bwMode="auto">
          <a:xfrm>
            <a:off x="781050" y="5045075"/>
            <a:ext cx="30956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8CBC747E-19ED-4FA7-AFAB-E86FDADD68B8}" type="datetime'''2''02''3'''''''''''''' Q''''''''1'''">
              <a:rPr lang="en-US"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r">
                <a:spcBef>
                  <a:spcPct val="0"/>
                </a:spcBef>
                <a:spcAft>
                  <a:spcPct val="0"/>
                </a:spcAft>
                <a:buNone/>
              </a:pPr>
              <a:t>2023 Q1</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85" name="Text Placeholder 2">
            <a:extLst>
              <a:ext uri="{FF2B5EF4-FFF2-40B4-BE49-F238E27FC236}">
                <a16:creationId xmlns:a16="http://schemas.microsoft.com/office/drawing/2014/main" id="{D6E34911-BC15-400B-9F48-BE3468AA3CBE}"/>
              </a:ext>
            </a:extLst>
          </p:cNvPr>
          <p:cNvSpPr>
            <a:spLocks noGrp="1"/>
          </p:cNvSpPr>
          <p:nvPr>
            <p:custDataLst>
              <p:tags r:id="rId25"/>
            </p:custDataLst>
          </p:nvPr>
        </p:nvSpPr>
        <p:spPr bwMode="auto">
          <a:xfrm>
            <a:off x="774700" y="5267325"/>
            <a:ext cx="31591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A08129C8-1AE8-4695-84BE-36DD5C2FE77B}" type="datetime'''''''2''''''''''''''''0''24'''''''''' ''''''''''Q''1'''''''''">
              <a:rPr lang="en-US"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r">
                <a:spcBef>
                  <a:spcPct val="0"/>
                </a:spcBef>
                <a:spcAft>
                  <a:spcPct val="0"/>
                </a:spcAft>
                <a:buNone/>
              </a:pPr>
              <a:t>2024 Q1</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87" name="Text Placeholder 2">
            <a:extLst>
              <a:ext uri="{FF2B5EF4-FFF2-40B4-BE49-F238E27FC236}">
                <a16:creationId xmlns:a16="http://schemas.microsoft.com/office/drawing/2014/main" id="{C780A3C0-29A0-426E-B637-53A32B079DAC}"/>
              </a:ext>
            </a:extLst>
          </p:cNvPr>
          <p:cNvSpPr>
            <a:spLocks noGrp="1"/>
          </p:cNvSpPr>
          <p:nvPr>
            <p:custDataLst>
              <p:tags r:id="rId26"/>
            </p:custDataLst>
          </p:nvPr>
        </p:nvSpPr>
        <p:spPr bwMode="gray">
          <a:xfrm>
            <a:off x="3314700" y="4338638"/>
            <a:ext cx="2159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251DB310-33C0-4DDE-A6DC-B8DACFA439DD}" type="datetime'''9''''''''.''''''''''''''1''''''''''''''''''''2''''''8'''''">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9.128</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88" name="Text Placeholder 2">
            <a:extLst>
              <a:ext uri="{FF2B5EF4-FFF2-40B4-BE49-F238E27FC236}">
                <a16:creationId xmlns:a16="http://schemas.microsoft.com/office/drawing/2014/main" id="{BCFD29BA-6FE8-4428-B34D-70F1905BDE1D}"/>
              </a:ext>
            </a:extLst>
          </p:cNvPr>
          <p:cNvSpPr>
            <a:spLocks noGrp="1"/>
          </p:cNvSpPr>
          <p:nvPr>
            <p:custDataLst>
              <p:tags r:id="rId27"/>
            </p:custDataLst>
          </p:nvPr>
        </p:nvSpPr>
        <p:spPr bwMode="gray">
          <a:xfrm>
            <a:off x="2132013" y="4418013"/>
            <a:ext cx="23177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00EDBF73-DB50-48C5-AC80-1742BA112B30}" type="datetime'''4''''.''1''''0''''4'''''''''''''''''''''">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4.104</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89" name="Text Placeholder 2">
            <a:extLst>
              <a:ext uri="{FF2B5EF4-FFF2-40B4-BE49-F238E27FC236}">
                <a16:creationId xmlns:a16="http://schemas.microsoft.com/office/drawing/2014/main" id="{D432978B-7C6F-4CD0-9FD2-2B5966D76E86}"/>
              </a:ext>
            </a:extLst>
          </p:cNvPr>
          <p:cNvSpPr>
            <a:spLocks noGrp="1"/>
          </p:cNvSpPr>
          <p:nvPr>
            <p:custDataLst>
              <p:tags r:id="rId28"/>
            </p:custDataLst>
          </p:nvPr>
        </p:nvSpPr>
        <p:spPr bwMode="gray">
          <a:xfrm>
            <a:off x="3190875" y="4560888"/>
            <a:ext cx="23812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A4F2CE3B-D837-461F-BB30-D049B27FFA1C}" type="datetime'8''''''''.''''''6''''''''0''''''''''''''''''''''''''''''''2'''">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8.602</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0" name="Text Placeholder 2">
            <a:extLst>
              <a:ext uri="{FF2B5EF4-FFF2-40B4-BE49-F238E27FC236}">
                <a16:creationId xmlns:a16="http://schemas.microsoft.com/office/drawing/2014/main" id="{5D1F9CED-B8FA-4A84-8FE3-472C1C051DDD}"/>
              </a:ext>
            </a:extLst>
          </p:cNvPr>
          <p:cNvSpPr>
            <a:spLocks noGrp="1"/>
          </p:cNvSpPr>
          <p:nvPr>
            <p:custDataLst>
              <p:tags r:id="rId29"/>
            </p:custDataLst>
          </p:nvPr>
        </p:nvSpPr>
        <p:spPr bwMode="gray">
          <a:xfrm>
            <a:off x="2314575" y="4640263"/>
            <a:ext cx="23495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063996A8-84DB-4F2C-BBF8-BABCA0692568}" type="datetime'4''''''''''''''''''''''.877'''''''''''''''''">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4.877</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1" name="Text Placeholder 2">
            <a:extLst>
              <a:ext uri="{FF2B5EF4-FFF2-40B4-BE49-F238E27FC236}">
                <a16:creationId xmlns:a16="http://schemas.microsoft.com/office/drawing/2014/main" id="{DD22AE47-3DEB-48F8-BB06-ACAEB45B0D9B}"/>
              </a:ext>
            </a:extLst>
          </p:cNvPr>
          <p:cNvSpPr>
            <a:spLocks noGrp="1"/>
          </p:cNvSpPr>
          <p:nvPr>
            <p:custDataLst>
              <p:tags r:id="rId30"/>
            </p:custDataLst>
          </p:nvPr>
        </p:nvSpPr>
        <p:spPr bwMode="gray">
          <a:xfrm>
            <a:off x="3143250" y="4783138"/>
            <a:ext cx="23177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C1670D35-6C08-4B1D-96F7-ABFC86F95691}" type="datetime'''8''''''.''''3''''''''''9''''7'''''">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8.397</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2" name="Text Placeholder 2">
            <a:extLst>
              <a:ext uri="{FF2B5EF4-FFF2-40B4-BE49-F238E27FC236}">
                <a16:creationId xmlns:a16="http://schemas.microsoft.com/office/drawing/2014/main" id="{A395CB8B-CFEA-41B7-80E8-0C51A3454ECC}"/>
              </a:ext>
            </a:extLst>
          </p:cNvPr>
          <p:cNvSpPr>
            <a:spLocks noGrp="1"/>
          </p:cNvSpPr>
          <p:nvPr>
            <p:custDataLst>
              <p:tags r:id="rId31"/>
            </p:custDataLst>
          </p:nvPr>
        </p:nvSpPr>
        <p:spPr bwMode="gray">
          <a:xfrm>
            <a:off x="2917825" y="4862513"/>
            <a:ext cx="23971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5BEA7F85-1BEC-4C28-81AE-4DEE9E2DF609}" type="datetime'''''''''''7''''''.''''4''''''4''''''''''''5'''''''''''''">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7.445</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3" name="Text Placeholder 2">
            <a:extLst>
              <a:ext uri="{FF2B5EF4-FFF2-40B4-BE49-F238E27FC236}">
                <a16:creationId xmlns:a16="http://schemas.microsoft.com/office/drawing/2014/main" id="{BD35A657-5BD7-46BE-83C1-13AEE19DDA94}"/>
              </a:ext>
            </a:extLst>
          </p:cNvPr>
          <p:cNvSpPr>
            <a:spLocks noGrp="1"/>
          </p:cNvSpPr>
          <p:nvPr>
            <p:custDataLst>
              <p:tags r:id="rId32"/>
            </p:custDataLst>
          </p:nvPr>
        </p:nvSpPr>
        <p:spPr bwMode="gray">
          <a:xfrm>
            <a:off x="1438275" y="5005388"/>
            <a:ext cx="198438"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CF457861-8EC1-40FB-84EB-F23B1DA578F6}" type="datetime'''''''''''''''''''''''1''''''''''''.''''1''''''5''''''''''6'''">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156</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4" name="Text Placeholder 2">
            <a:extLst>
              <a:ext uri="{FF2B5EF4-FFF2-40B4-BE49-F238E27FC236}">
                <a16:creationId xmlns:a16="http://schemas.microsoft.com/office/drawing/2014/main" id="{ECAE6ED4-134E-4D00-97B5-E02BFD7FD729}"/>
              </a:ext>
            </a:extLst>
          </p:cNvPr>
          <p:cNvSpPr>
            <a:spLocks noGrp="1"/>
          </p:cNvSpPr>
          <p:nvPr>
            <p:custDataLst>
              <p:tags r:id="rId33"/>
            </p:custDataLst>
          </p:nvPr>
        </p:nvSpPr>
        <p:spPr bwMode="gray">
          <a:xfrm>
            <a:off x="1430338" y="5084763"/>
            <a:ext cx="19685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B28B7B25-45A5-472D-A40A-0BDCA6FA0F24}" type="datetime'''1.''''''''''''''1''''''''2''''''''2'''''''''''''">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122</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5" name="Text Placeholder 2">
            <a:extLst>
              <a:ext uri="{FF2B5EF4-FFF2-40B4-BE49-F238E27FC236}">
                <a16:creationId xmlns:a16="http://schemas.microsoft.com/office/drawing/2014/main" id="{60CF2B25-E46D-4360-9A0F-A092596DF97F}"/>
              </a:ext>
            </a:extLst>
          </p:cNvPr>
          <p:cNvSpPr>
            <a:spLocks noGrp="1"/>
          </p:cNvSpPr>
          <p:nvPr>
            <p:custDataLst>
              <p:tags r:id="rId34"/>
            </p:custDataLst>
          </p:nvPr>
        </p:nvSpPr>
        <p:spPr bwMode="gray">
          <a:xfrm>
            <a:off x="1412875" y="5227638"/>
            <a:ext cx="22542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D124F7FD-E442-4E4E-9ACE-2484F35C15BB}" type="datetime'''1''''''''''''''''''.''''''0''''''4''''''''''''7'''''''''''''">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047</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6" name="Text Placeholder 2">
            <a:extLst>
              <a:ext uri="{FF2B5EF4-FFF2-40B4-BE49-F238E27FC236}">
                <a16:creationId xmlns:a16="http://schemas.microsoft.com/office/drawing/2014/main" id="{BFE55767-8DD8-4AA5-89E2-2F2CD662778D}"/>
              </a:ext>
            </a:extLst>
          </p:cNvPr>
          <p:cNvSpPr>
            <a:spLocks noGrp="1"/>
          </p:cNvSpPr>
          <p:nvPr>
            <p:custDataLst>
              <p:tags r:id="rId35"/>
            </p:custDataLst>
          </p:nvPr>
        </p:nvSpPr>
        <p:spPr bwMode="gray">
          <a:xfrm>
            <a:off x="1487488" y="5307013"/>
            <a:ext cx="22225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2D25B386-308C-45D5-B954-EE0798B3206B}" type="datetime'''''1''''.''''''''''''3''''''''6''''4'''''''''''">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364</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11" name="Rectangle 510">
            <a:extLst>
              <a:ext uri="{FF2B5EF4-FFF2-40B4-BE49-F238E27FC236}">
                <a16:creationId xmlns:a16="http://schemas.microsoft.com/office/drawing/2014/main" id="{4A340796-0A40-4F67-A064-2113C8560F89}"/>
              </a:ext>
            </a:extLst>
          </p:cNvPr>
          <p:cNvSpPr>
            <a:spLocks/>
          </p:cNvSpPr>
          <p:nvPr/>
        </p:nvSpPr>
        <p:spPr>
          <a:xfrm>
            <a:off x="1026022" y="6045921"/>
            <a:ext cx="2227677" cy="228942"/>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rtl="0">
              <a:spcBef>
                <a:spcPts val="3800"/>
              </a:spcBef>
              <a:spcAft>
                <a:spcPts val="1100"/>
              </a:spcAft>
            </a:pPr>
            <a:r>
              <a:rPr lang="en-US" sz="800" b="1" i="0" u="none" strike="noStrike" dirty="0">
                <a:solidFill>
                  <a:schemeClr val="bg1"/>
                </a:solidFill>
                <a:effectLst/>
                <a:latin typeface="SangBleu Sunrise" panose="020B0504000000000004" pitchFamily="34" charset="-52"/>
                <a:ea typeface="SangBleu Sunrise" panose="020B0504000000000004" pitchFamily="34" charset="-52"/>
              </a:rPr>
              <a:t>Operational Expenditures:</a:t>
            </a:r>
            <a:endParaRPr lang="en-US" sz="800" b="1" dirty="0">
              <a:solidFill>
                <a:schemeClr val="bg1"/>
              </a:solidFill>
              <a:latin typeface="SangBleu Sunrise" panose="020B0504000000000004" pitchFamily="34" charset="-52"/>
              <a:ea typeface="SangBleu Sunrise" panose="020B0504000000000004" pitchFamily="34" charset="-52"/>
            </a:endParaRPr>
          </a:p>
        </p:txBody>
      </p:sp>
      <p:sp>
        <p:nvSpPr>
          <p:cNvPr id="20" name="Rectangle 27">
            <a:extLst>
              <a:ext uri="{FF2B5EF4-FFF2-40B4-BE49-F238E27FC236}">
                <a16:creationId xmlns:a16="http://schemas.microsoft.com/office/drawing/2014/main" id="{32D5FC0A-9040-4B22-A7DE-BB3C022EE653}"/>
              </a:ext>
            </a:extLst>
          </p:cNvPr>
          <p:cNvSpPr>
            <a:spLocks noChangeArrowheads="1"/>
          </p:cNvSpPr>
          <p:nvPr/>
        </p:nvSpPr>
        <p:spPr bwMode="auto">
          <a:xfrm>
            <a:off x="0" y="473075"/>
            <a:ext cx="6858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523" name="Rectangle 522">
            <a:extLst>
              <a:ext uri="{FF2B5EF4-FFF2-40B4-BE49-F238E27FC236}">
                <a16:creationId xmlns:a16="http://schemas.microsoft.com/office/drawing/2014/main" id="{B80D548A-29D0-41F5-A866-D217076C4C80}"/>
              </a:ext>
            </a:extLst>
          </p:cNvPr>
          <p:cNvSpPr>
            <a:spLocks/>
          </p:cNvSpPr>
          <p:nvPr/>
        </p:nvSpPr>
        <p:spPr>
          <a:xfrm>
            <a:off x="1026022" y="6374232"/>
            <a:ext cx="2227677" cy="983831"/>
          </a:xfrm>
          <a:prstGeom prst="rect">
            <a:avLst/>
          </a:prstGeom>
          <a:solidFill>
            <a:schemeClr val="accent1">
              <a:lumMod val="20000"/>
              <a:lumOff val="80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Raw Materials:</a:t>
            </a:r>
          </a:p>
          <a:p>
            <a:r>
              <a:rPr lang="en-US" sz="800" dirty="0">
                <a:solidFill>
                  <a:schemeClr val="tx1"/>
                </a:solidFill>
                <a:latin typeface="SangBleu Sunrise" panose="020B0504000000000004" pitchFamily="34" charset="-52"/>
                <a:ea typeface="SangBleu Sunrise" panose="020B0504000000000004" pitchFamily="34" charset="-52"/>
              </a:rPr>
              <a:t>A significant portion of PROMOMED’s expenses — 36% in 2023 — was attributed to raw materials and supplies, with 40% of that amount denominated in foreign currency, exposing the company to exchange rate risk amid currency volatility.</a:t>
            </a:r>
          </a:p>
          <a:p>
            <a:endParaRPr lang="en-US" sz="800" dirty="0">
              <a:solidFill>
                <a:schemeClr val="tx1"/>
              </a:solidFill>
              <a:latin typeface="SangBleu Sunrise" panose="020B0504000000000004" pitchFamily="34" charset="-52"/>
              <a:ea typeface="SangBleu Sunrise" panose="020B0504000000000004" pitchFamily="34" charset="-52"/>
            </a:endParaRPr>
          </a:p>
          <a:p>
            <a:endParaRPr lang="en-US" sz="800" dirty="0">
              <a:solidFill>
                <a:schemeClr val="tx1"/>
              </a:solidFill>
              <a:latin typeface="SangBleu Sunrise" panose="020B0504000000000004" pitchFamily="34" charset="-52"/>
              <a:ea typeface="SangBleu Sunrise" panose="020B0504000000000004" pitchFamily="34" charset="-52"/>
            </a:endParaRPr>
          </a:p>
          <a:p>
            <a:endParaRPr lang="en-US" sz="800" dirty="0">
              <a:solidFill>
                <a:schemeClr val="tx1"/>
              </a:solidFill>
              <a:latin typeface="SangBleu Sunrise" panose="020B0504000000000004" pitchFamily="34" charset="-52"/>
              <a:ea typeface="SangBleu Sunrise" panose="020B0504000000000004" pitchFamily="34" charset="-52"/>
            </a:endParaRPr>
          </a:p>
          <a:p>
            <a:endParaRPr lang="en-US" sz="800" dirty="0">
              <a:solidFill>
                <a:schemeClr val="tx1"/>
              </a:solidFill>
              <a:latin typeface="SangBleu Sunrise" panose="020B0504000000000004" pitchFamily="34" charset="-52"/>
              <a:ea typeface="SangBleu Sunrise" panose="020B0504000000000004" pitchFamily="34" charset="-52"/>
            </a:endParaRPr>
          </a:p>
        </p:txBody>
      </p:sp>
      <p:graphicFrame>
        <p:nvGraphicFramePr>
          <p:cNvPr id="262" name="Chart 261">
            <a:extLst>
              <a:ext uri="{FF2B5EF4-FFF2-40B4-BE49-F238E27FC236}">
                <a16:creationId xmlns:a16="http://schemas.microsoft.com/office/drawing/2014/main" id="{CFBE2349-5517-4498-9E52-C401C17FCC3C}"/>
              </a:ext>
            </a:extLst>
          </p:cNvPr>
          <p:cNvGraphicFramePr/>
          <p:nvPr>
            <p:custDataLst>
              <p:tags r:id="rId36"/>
            </p:custDataLst>
            <p:extLst>
              <p:ext uri="{D42A27DB-BD31-4B8C-83A1-F6EECF244321}">
                <p14:modId xmlns:p14="http://schemas.microsoft.com/office/powerpoint/2010/main" val="1116586671"/>
              </p:ext>
            </p:extLst>
          </p:nvPr>
        </p:nvGraphicFramePr>
        <p:xfrm>
          <a:off x="3430588" y="6426200"/>
          <a:ext cx="2006600" cy="1951038"/>
        </p:xfrm>
        <a:graphic>
          <a:graphicData uri="http://schemas.openxmlformats.org/drawingml/2006/chart">
            <c:chart xmlns:c="http://schemas.openxmlformats.org/drawingml/2006/chart" xmlns:r="http://schemas.openxmlformats.org/officeDocument/2006/relationships" r:id="rId63"/>
          </a:graphicData>
        </a:graphic>
      </p:graphicFrame>
      <p:sp>
        <p:nvSpPr>
          <p:cNvPr id="49" name="Rectangle 48">
            <a:extLst>
              <a:ext uri="{FF2B5EF4-FFF2-40B4-BE49-F238E27FC236}">
                <a16:creationId xmlns:a16="http://schemas.microsoft.com/office/drawing/2014/main" id="{8D3C1E8C-5DB4-4279-B430-06550D09D3D1}"/>
              </a:ext>
            </a:extLst>
          </p:cNvPr>
          <p:cNvSpPr/>
          <p:nvPr>
            <p:custDataLst>
              <p:tags r:id="rId37"/>
            </p:custDataLst>
          </p:nvPr>
        </p:nvSpPr>
        <p:spPr bwMode="auto">
          <a:xfrm>
            <a:off x="5295900" y="6956425"/>
            <a:ext cx="142875" cy="106363"/>
          </a:xfrm>
          <a:prstGeom prst="rect">
            <a:avLst/>
          </a:prstGeom>
          <a:solidFill>
            <a:srgbClr val="DFE5EF"/>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0" name="Rectangle 49">
            <a:extLst>
              <a:ext uri="{FF2B5EF4-FFF2-40B4-BE49-F238E27FC236}">
                <a16:creationId xmlns:a16="http://schemas.microsoft.com/office/drawing/2014/main" id="{8102B624-6F00-4A23-8E09-D9D6ACA70D50}"/>
              </a:ext>
            </a:extLst>
          </p:cNvPr>
          <p:cNvSpPr/>
          <p:nvPr>
            <p:custDataLst>
              <p:tags r:id="rId38"/>
            </p:custDataLst>
          </p:nvPr>
        </p:nvSpPr>
        <p:spPr bwMode="auto">
          <a:xfrm>
            <a:off x="5295900" y="7121525"/>
            <a:ext cx="142875" cy="106363"/>
          </a:xfrm>
          <a:prstGeom prst="rect">
            <a:avLst/>
          </a:prstGeom>
          <a:solidFill>
            <a:srgbClr val="C3CFE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Rectangle 50">
            <a:extLst>
              <a:ext uri="{FF2B5EF4-FFF2-40B4-BE49-F238E27FC236}">
                <a16:creationId xmlns:a16="http://schemas.microsoft.com/office/drawing/2014/main" id="{B1C00B9D-9102-4634-B920-2558D59CCEF6}"/>
              </a:ext>
            </a:extLst>
          </p:cNvPr>
          <p:cNvSpPr/>
          <p:nvPr>
            <p:custDataLst>
              <p:tags r:id="rId39"/>
            </p:custDataLst>
          </p:nvPr>
        </p:nvSpPr>
        <p:spPr bwMode="auto">
          <a:xfrm>
            <a:off x="5295900" y="7286625"/>
            <a:ext cx="142875" cy="106363"/>
          </a:xfrm>
          <a:prstGeom prst="rect">
            <a:avLst/>
          </a:prstGeom>
          <a:solidFill>
            <a:srgbClr val="6F8DB9"/>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 name="Rectangle 51">
            <a:extLst>
              <a:ext uri="{FF2B5EF4-FFF2-40B4-BE49-F238E27FC236}">
                <a16:creationId xmlns:a16="http://schemas.microsoft.com/office/drawing/2014/main" id="{E0DD04C2-98CD-490D-98BB-CE464258E617}"/>
              </a:ext>
            </a:extLst>
          </p:cNvPr>
          <p:cNvSpPr/>
          <p:nvPr>
            <p:custDataLst>
              <p:tags r:id="rId40"/>
            </p:custDataLst>
          </p:nvPr>
        </p:nvSpPr>
        <p:spPr bwMode="auto">
          <a:xfrm>
            <a:off x="5295900" y="7451725"/>
            <a:ext cx="142875" cy="106363"/>
          </a:xfrm>
          <a:prstGeom prst="rect">
            <a:avLst/>
          </a:prstGeom>
          <a:solidFill>
            <a:srgbClr val="4C6C9C"/>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 name="Rectangle 52">
            <a:extLst>
              <a:ext uri="{FF2B5EF4-FFF2-40B4-BE49-F238E27FC236}">
                <a16:creationId xmlns:a16="http://schemas.microsoft.com/office/drawing/2014/main" id="{34EBCF3F-FB48-42FF-A0ED-7ED2A00E37E0}"/>
              </a:ext>
            </a:extLst>
          </p:cNvPr>
          <p:cNvSpPr/>
          <p:nvPr>
            <p:custDataLst>
              <p:tags r:id="rId41"/>
            </p:custDataLst>
          </p:nvPr>
        </p:nvSpPr>
        <p:spPr bwMode="auto">
          <a:xfrm>
            <a:off x="5295900" y="7616825"/>
            <a:ext cx="142875" cy="106363"/>
          </a:xfrm>
          <a:prstGeom prst="rect">
            <a:avLst/>
          </a:prstGeom>
          <a:solidFill>
            <a:srgbClr val="9DB1CF"/>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18" name="Text Placeholder 2">
            <a:extLst>
              <a:ext uri="{FF2B5EF4-FFF2-40B4-BE49-F238E27FC236}">
                <a16:creationId xmlns:a16="http://schemas.microsoft.com/office/drawing/2014/main" id="{2EEC7BFA-36EC-494F-A9D0-1AF557AF01AD}"/>
              </a:ext>
            </a:extLst>
          </p:cNvPr>
          <p:cNvSpPr>
            <a:spLocks noGrp="1"/>
          </p:cNvSpPr>
          <p:nvPr>
            <p:custDataLst>
              <p:tags r:id="rId42"/>
            </p:custDataLst>
          </p:nvPr>
        </p:nvSpPr>
        <p:spPr bwMode="auto">
          <a:xfrm>
            <a:off x="5489575" y="6961188"/>
            <a:ext cx="7286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B2A3A6F6-AF3F-4AA0-9218-E5970CB8E225}" type="datetime'''R''aw ''''''''''''''''''M''''ate''''''''''''r''ia''ls'''''">
              <a:rPr lang="en-US" altLang="en-US" sz="800" b="1" smtClean="0">
                <a:latin typeface="SangBleu Sunrise" panose="020B0504000000000004" pitchFamily="34" charset="-52"/>
                <a:ea typeface="SangBleu Sunrise" panose="020B0504000000000004" pitchFamily="34" charset="-52"/>
              </a:rPr>
              <a:pPr/>
              <a:t>Raw Materials</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19" name="Text Placeholder 2">
            <a:extLst>
              <a:ext uri="{FF2B5EF4-FFF2-40B4-BE49-F238E27FC236}">
                <a16:creationId xmlns:a16="http://schemas.microsoft.com/office/drawing/2014/main" id="{EF4CE766-41EE-458B-BA6D-8652D42BE5B1}"/>
              </a:ext>
            </a:extLst>
          </p:cNvPr>
          <p:cNvSpPr>
            <a:spLocks noGrp="1"/>
          </p:cNvSpPr>
          <p:nvPr>
            <p:custDataLst>
              <p:tags r:id="rId43"/>
            </p:custDataLst>
          </p:nvPr>
        </p:nvSpPr>
        <p:spPr bwMode="auto">
          <a:xfrm>
            <a:off x="5489575" y="7126288"/>
            <a:ext cx="3984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88E6FA25-0FF4-4765-B6E3-43484B0119E2}" type="datetime'''S''a''''''l''''''a''''''''''r''i''''''''''''''''''e''''s'''">
              <a:rPr lang="en-US" altLang="en-US" sz="8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Salaries</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21" name="Text Placeholder 2">
            <a:extLst>
              <a:ext uri="{FF2B5EF4-FFF2-40B4-BE49-F238E27FC236}">
                <a16:creationId xmlns:a16="http://schemas.microsoft.com/office/drawing/2014/main" id="{431EDBD5-B0D2-4A6E-BE4F-BED187951668}"/>
              </a:ext>
            </a:extLst>
          </p:cNvPr>
          <p:cNvSpPr>
            <a:spLocks noGrp="1"/>
          </p:cNvSpPr>
          <p:nvPr>
            <p:custDataLst>
              <p:tags r:id="rId44"/>
            </p:custDataLst>
          </p:nvPr>
        </p:nvSpPr>
        <p:spPr bwMode="auto">
          <a:xfrm>
            <a:off x="5489575" y="7291388"/>
            <a:ext cx="5254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7331C781-3BF9-4FCA-A6FC-A0E9A2D89B31}" type="datetime'''''''''''M''''a''''r''''''''k''''''e''''''ti''n''''''''''g'">
              <a:rPr lang="en-US" altLang="en-US" sz="8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Marketing</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22" name="Text Placeholder 2">
            <a:extLst>
              <a:ext uri="{FF2B5EF4-FFF2-40B4-BE49-F238E27FC236}">
                <a16:creationId xmlns:a16="http://schemas.microsoft.com/office/drawing/2014/main" id="{5CC4AA0E-1F39-426A-B70A-4302F2D98D11}"/>
              </a:ext>
            </a:extLst>
          </p:cNvPr>
          <p:cNvSpPr>
            <a:spLocks noGrp="1"/>
          </p:cNvSpPr>
          <p:nvPr>
            <p:custDataLst>
              <p:tags r:id="rId45"/>
            </p:custDataLst>
          </p:nvPr>
        </p:nvSpPr>
        <p:spPr bwMode="auto">
          <a:xfrm>
            <a:off x="5489575" y="7456488"/>
            <a:ext cx="6604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1755880C-10FB-431E-81FD-9D175D47C81F}" type="datetime'A''''m''o''''r''''t''''iz''at''''''''i''''''''''o''n'''''">
              <a:rPr lang="en-US" altLang="en-US" sz="8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Amortization</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20" name="Text Placeholder 2">
            <a:extLst>
              <a:ext uri="{FF2B5EF4-FFF2-40B4-BE49-F238E27FC236}">
                <a16:creationId xmlns:a16="http://schemas.microsoft.com/office/drawing/2014/main" id="{FDE3C5FE-87D8-44E0-82F8-D26E58BD4CD1}"/>
              </a:ext>
            </a:extLst>
          </p:cNvPr>
          <p:cNvSpPr>
            <a:spLocks noGrp="1"/>
          </p:cNvSpPr>
          <p:nvPr>
            <p:custDataLst>
              <p:tags r:id="rId46"/>
            </p:custDataLst>
          </p:nvPr>
        </p:nvSpPr>
        <p:spPr bwMode="auto">
          <a:xfrm>
            <a:off x="5489575" y="7621588"/>
            <a:ext cx="9921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112A26D2-D59E-47FB-8357-E4E0834F0805}" type="datetime'''''''O''th''''er'' ''E''xp''e''''n''d''''''itures'''''''">
              <a:rPr lang="en-US" altLang="en-US" sz="8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Other Expenditures</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35" name="Rectangle 634">
            <a:extLst>
              <a:ext uri="{FF2B5EF4-FFF2-40B4-BE49-F238E27FC236}">
                <a16:creationId xmlns:a16="http://schemas.microsoft.com/office/drawing/2014/main" id="{A3722884-67B2-448B-ABD9-BB108BB8A0FB}"/>
              </a:ext>
            </a:extLst>
          </p:cNvPr>
          <p:cNvSpPr>
            <a:spLocks/>
          </p:cNvSpPr>
          <p:nvPr/>
        </p:nvSpPr>
        <p:spPr>
          <a:xfrm>
            <a:off x="1030315" y="7441516"/>
            <a:ext cx="2227677" cy="864064"/>
          </a:xfrm>
          <a:prstGeom prst="rect">
            <a:avLst/>
          </a:prstGeom>
          <a:solidFill>
            <a:schemeClr val="accent1">
              <a:lumMod val="20000"/>
              <a:lumOff val="80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Supply Chain: </a:t>
            </a:r>
            <a:r>
              <a:rPr lang="en-US" sz="800" dirty="0">
                <a:solidFill>
                  <a:schemeClr val="tx1"/>
                </a:solidFill>
                <a:latin typeface="SangBleu Sunrise" panose="020B0504000000000004" pitchFamily="34" charset="-52"/>
                <a:ea typeface="SangBleu Sunrise" panose="020B0504000000000004" pitchFamily="34" charset="-52"/>
              </a:rPr>
              <a:t>The company works with over 290 suppliers, but 80% of raw materials come from 55 core partners. Some critical inputs are sourced from just one or two producers, increasing supply chain dependency.</a:t>
            </a:r>
          </a:p>
          <a:p>
            <a:endParaRPr lang="en-US" sz="800" dirty="0">
              <a:solidFill>
                <a:schemeClr val="tx1"/>
              </a:solidFill>
              <a:latin typeface="SangBleu Sunrise" panose="020B0504000000000004" pitchFamily="34" charset="-52"/>
              <a:ea typeface="SangBleu Sunrise" panose="020B0504000000000004" pitchFamily="34" charset="-52"/>
            </a:endParaRPr>
          </a:p>
          <a:p>
            <a:endParaRPr lang="en-US" sz="800" dirty="0">
              <a:solidFill>
                <a:schemeClr val="tx1"/>
              </a:solidFill>
              <a:latin typeface="SangBleu Sunrise" panose="020B0504000000000004" pitchFamily="34" charset="-52"/>
              <a:ea typeface="SangBleu Sunrise" panose="020B0504000000000004" pitchFamily="34" charset="-52"/>
            </a:endParaRPr>
          </a:p>
        </p:txBody>
      </p:sp>
      <p:sp>
        <p:nvSpPr>
          <p:cNvPr id="639" name="Rectangle 638">
            <a:extLst>
              <a:ext uri="{FF2B5EF4-FFF2-40B4-BE49-F238E27FC236}">
                <a16:creationId xmlns:a16="http://schemas.microsoft.com/office/drawing/2014/main" id="{DA3AD31E-177F-42C0-A869-069172DA9ED5}"/>
              </a:ext>
            </a:extLst>
          </p:cNvPr>
          <p:cNvSpPr>
            <a:spLocks/>
          </p:cNvSpPr>
          <p:nvPr/>
        </p:nvSpPr>
        <p:spPr>
          <a:xfrm>
            <a:off x="1030314" y="8370176"/>
            <a:ext cx="2227678" cy="878584"/>
          </a:xfrm>
          <a:prstGeom prst="rect">
            <a:avLst/>
          </a:prstGeom>
          <a:solidFill>
            <a:schemeClr val="accent1">
              <a:lumMod val="20000"/>
              <a:lumOff val="80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Geopolitics: </a:t>
            </a:r>
            <a:r>
              <a:rPr lang="en-US" sz="800" dirty="0">
                <a:solidFill>
                  <a:schemeClr val="tx1"/>
                </a:solidFill>
                <a:latin typeface="SangBleu Sunrise" panose="020B0504000000000004" pitchFamily="34" charset="-52"/>
                <a:ea typeface="SangBleu Sunrise" panose="020B0504000000000004" pitchFamily="34" charset="-52"/>
              </a:rPr>
              <a:t>Geopolitical risks are also relevant, as a significant portion of materials is imported from China and India. Sanctions and payment disruptions could pose logistical and financial challenges. </a:t>
            </a:r>
          </a:p>
          <a:p>
            <a:endParaRPr lang="en-US" sz="800" dirty="0">
              <a:solidFill>
                <a:schemeClr val="tx1"/>
              </a:solidFill>
              <a:latin typeface="SangBleu Sunrise" panose="020B0504000000000004" pitchFamily="34" charset="-52"/>
              <a:ea typeface="SangBleu Sunrise" panose="020B0504000000000004" pitchFamily="34" charset="-52"/>
            </a:endParaRPr>
          </a:p>
          <a:p>
            <a:endParaRPr lang="en-US" sz="800" dirty="0">
              <a:solidFill>
                <a:schemeClr val="tx1"/>
              </a:solidFill>
              <a:latin typeface="SangBleu Sunrise" panose="020B0504000000000004" pitchFamily="34" charset="-52"/>
              <a:ea typeface="SangBleu Sunrise" panose="020B0504000000000004" pitchFamily="34" charset="-52"/>
            </a:endParaRPr>
          </a:p>
        </p:txBody>
      </p:sp>
      <p:sp>
        <p:nvSpPr>
          <p:cNvPr id="640" name="Rectangle 639">
            <a:extLst>
              <a:ext uri="{FF2B5EF4-FFF2-40B4-BE49-F238E27FC236}">
                <a16:creationId xmlns:a16="http://schemas.microsoft.com/office/drawing/2014/main" id="{72984395-2EF2-48DF-AF7F-A8A24C7E7073}"/>
              </a:ext>
            </a:extLst>
          </p:cNvPr>
          <p:cNvSpPr>
            <a:spLocks/>
          </p:cNvSpPr>
          <p:nvPr/>
        </p:nvSpPr>
        <p:spPr>
          <a:xfrm>
            <a:off x="3667125" y="8500713"/>
            <a:ext cx="2720093" cy="878584"/>
          </a:xfrm>
          <a:prstGeom prst="rect">
            <a:avLst/>
          </a:prstGeom>
          <a:solidFill>
            <a:schemeClr val="accent1">
              <a:lumMod val="20000"/>
              <a:lumOff val="80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Mitigating Supply Risk: </a:t>
            </a:r>
            <a:r>
              <a:rPr lang="en-US" sz="800" dirty="0">
                <a:solidFill>
                  <a:schemeClr val="tx1"/>
                </a:solidFill>
                <a:latin typeface="SangBleu Sunrise" panose="020B0504000000000004" pitchFamily="34" charset="-52"/>
                <a:ea typeface="SangBleu Sunrise" panose="020B0504000000000004" pitchFamily="34" charset="-52"/>
              </a:rPr>
              <a:t>To mitigate risk, PROMOMED is investing in in-house API production via </a:t>
            </a:r>
            <a:r>
              <a:rPr lang="en-US" sz="800" dirty="0" err="1">
                <a:solidFill>
                  <a:schemeClr val="tx1"/>
                </a:solidFill>
                <a:latin typeface="SangBleu Sunrise" panose="020B0504000000000004" pitchFamily="34" charset="-52"/>
                <a:ea typeface="SangBleu Sunrise" panose="020B0504000000000004" pitchFamily="34" charset="-52"/>
              </a:rPr>
              <a:t>Biokhimik</a:t>
            </a:r>
            <a:r>
              <a:rPr lang="en-US" sz="800" dirty="0">
                <a:solidFill>
                  <a:schemeClr val="tx1"/>
                </a:solidFill>
                <a:latin typeface="SangBleu Sunrise" panose="020B0504000000000004" pitchFamily="34" charset="-52"/>
                <a:ea typeface="SangBleu Sunrise" panose="020B0504000000000004" pitchFamily="34" charset="-52"/>
              </a:rPr>
              <a:t> JSC and partnering with Russian firms. Key products like </a:t>
            </a:r>
            <a:r>
              <a:rPr lang="en-US" sz="800" i="1" dirty="0" err="1">
                <a:solidFill>
                  <a:schemeClr val="tx1"/>
                </a:solidFill>
                <a:latin typeface="SangBleu Sunrise" panose="020B0504000000000004" pitchFamily="34" charset="-52"/>
                <a:ea typeface="SangBleu Sunrise" panose="020B0504000000000004" pitchFamily="34" charset="-52"/>
              </a:rPr>
              <a:t>Ambene</a:t>
            </a:r>
            <a:r>
              <a:rPr lang="en-US" sz="800" i="1" dirty="0">
                <a:solidFill>
                  <a:schemeClr val="tx1"/>
                </a:solidFill>
                <a:latin typeface="SangBleu Sunrise" panose="020B0504000000000004" pitchFamily="34" charset="-52"/>
                <a:ea typeface="SangBleu Sunrise" panose="020B0504000000000004" pitchFamily="34" charset="-52"/>
              </a:rPr>
              <a:t> Bio</a:t>
            </a:r>
            <a:r>
              <a:rPr lang="en-US" sz="800" dirty="0">
                <a:solidFill>
                  <a:schemeClr val="tx1"/>
                </a:solidFill>
                <a:latin typeface="SangBleu Sunrise" panose="020B0504000000000004" pitchFamily="34" charset="-52"/>
                <a:ea typeface="SangBleu Sunrise" panose="020B0504000000000004" pitchFamily="34" charset="-52"/>
              </a:rPr>
              <a:t> (6% of revenue) and </a:t>
            </a:r>
            <a:r>
              <a:rPr lang="en-US" sz="800" i="1" dirty="0" err="1">
                <a:solidFill>
                  <a:schemeClr val="tx1"/>
                </a:solidFill>
                <a:latin typeface="SangBleu Sunrise" panose="020B0504000000000004" pitchFamily="34" charset="-52"/>
                <a:ea typeface="SangBleu Sunrise" panose="020B0504000000000004" pitchFamily="34" charset="-52"/>
              </a:rPr>
              <a:t>Reduxin</a:t>
            </a:r>
            <a:r>
              <a:rPr lang="en-US" sz="800" dirty="0">
                <a:solidFill>
                  <a:schemeClr val="tx1"/>
                </a:solidFill>
                <a:latin typeface="SangBleu Sunrise" panose="020B0504000000000004" pitchFamily="34" charset="-52"/>
                <a:ea typeface="SangBleu Sunrise" panose="020B0504000000000004" pitchFamily="34" charset="-52"/>
              </a:rPr>
              <a:t> (20%+) are now supplied internally, enhancing supply stability.</a:t>
            </a:r>
          </a:p>
          <a:p>
            <a:endParaRPr lang="en-US" sz="800" dirty="0">
              <a:solidFill>
                <a:schemeClr val="tx1"/>
              </a:solidFill>
              <a:latin typeface="SangBleu Sunrise" panose="020B0504000000000004" pitchFamily="34" charset="-52"/>
              <a:ea typeface="SangBleu Sunrise" panose="020B0504000000000004" pitchFamily="34" charset="-52"/>
            </a:endParaRPr>
          </a:p>
          <a:p>
            <a:endParaRPr lang="en-US" sz="800" dirty="0">
              <a:solidFill>
                <a:schemeClr val="tx1"/>
              </a:solidFill>
              <a:latin typeface="SangBleu Sunrise" panose="020B0504000000000004" pitchFamily="34" charset="-52"/>
              <a:ea typeface="SangBleu Sunrise" panose="020B0504000000000004" pitchFamily="34" charset="-52"/>
            </a:endParaRPr>
          </a:p>
          <a:p>
            <a:endParaRPr lang="en-US" sz="800" dirty="0">
              <a:solidFill>
                <a:schemeClr val="tx1"/>
              </a:solidFill>
              <a:latin typeface="SangBleu Sunrise" panose="020B0504000000000004" pitchFamily="34" charset="-52"/>
              <a:ea typeface="SangBleu Sunrise" panose="020B0504000000000004" pitchFamily="34" charset="-52"/>
            </a:endParaRPr>
          </a:p>
        </p:txBody>
      </p:sp>
      <p:sp>
        <p:nvSpPr>
          <p:cNvPr id="132" name="Rectangle 131">
            <a:extLst>
              <a:ext uri="{FF2B5EF4-FFF2-40B4-BE49-F238E27FC236}">
                <a16:creationId xmlns:a16="http://schemas.microsoft.com/office/drawing/2014/main" id="{B1F2CE57-4404-4ACF-A90E-D32D6F3C351C}"/>
              </a:ext>
            </a:extLst>
          </p:cNvPr>
          <p:cNvSpPr/>
          <p:nvPr>
            <p:custDataLst>
              <p:tags r:id="rId47"/>
            </p:custDataLst>
          </p:nvPr>
        </p:nvSpPr>
        <p:spPr bwMode="auto">
          <a:xfrm>
            <a:off x="2352675" y="3889375"/>
            <a:ext cx="107950" cy="80963"/>
          </a:xfrm>
          <a:prstGeom prst="rect">
            <a:avLst/>
          </a:prstGeom>
          <a:pattFill prst="pct10">
            <a:fgClr>
              <a:schemeClr val="tx1"/>
            </a:fgClr>
            <a:bgClr>
              <a:schemeClr val="bg1"/>
            </a:bgClr>
          </a:pattFill>
          <a:ln w="12700"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8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133" name="Rectangle 132">
            <a:extLst>
              <a:ext uri="{FF2B5EF4-FFF2-40B4-BE49-F238E27FC236}">
                <a16:creationId xmlns:a16="http://schemas.microsoft.com/office/drawing/2014/main" id="{9C69FC8D-AA18-4DCA-B30B-9B464C737FD3}"/>
              </a:ext>
            </a:extLst>
          </p:cNvPr>
          <p:cNvSpPr/>
          <p:nvPr>
            <p:custDataLst>
              <p:tags r:id="rId48"/>
            </p:custDataLst>
          </p:nvPr>
        </p:nvSpPr>
        <p:spPr bwMode="auto">
          <a:xfrm>
            <a:off x="2352675" y="4027488"/>
            <a:ext cx="107950" cy="80963"/>
          </a:xfrm>
          <a:prstGeom prst="rect">
            <a:avLst/>
          </a:prstGeom>
          <a:solidFill>
            <a:srgbClr val="6F8DB9"/>
          </a:solidFill>
          <a:ln w="12700"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8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427" name="Text Placeholder 2">
            <a:extLst>
              <a:ext uri="{FF2B5EF4-FFF2-40B4-BE49-F238E27FC236}">
                <a16:creationId xmlns:a16="http://schemas.microsoft.com/office/drawing/2014/main" id="{3036CD05-F553-428D-B8F8-208F40195A15}"/>
              </a:ext>
            </a:extLst>
          </p:cNvPr>
          <p:cNvSpPr>
            <a:spLocks noGrp="1"/>
          </p:cNvSpPr>
          <p:nvPr>
            <p:custDataLst>
              <p:tags r:id="rId49"/>
            </p:custDataLst>
          </p:nvPr>
        </p:nvSpPr>
        <p:spPr bwMode="auto">
          <a:xfrm>
            <a:off x="2511425" y="3894138"/>
            <a:ext cx="744538"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84C62B2D-1C50-4D4F-BEB6-CF447AE8426E}" type="datetime'Es''sent''''ia''l ''''M''edi''''''''''ci''n''''''''''''e''''s'">
              <a:rPr lang="en-US" altLang="en-US" sz="6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Essential Medicines</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19" name="Text Placeholder 2">
            <a:extLst>
              <a:ext uri="{FF2B5EF4-FFF2-40B4-BE49-F238E27FC236}">
                <a16:creationId xmlns:a16="http://schemas.microsoft.com/office/drawing/2014/main" id="{1FAFF839-FB0D-4213-95C8-9B48EF837564}"/>
              </a:ext>
            </a:extLst>
          </p:cNvPr>
          <p:cNvSpPr>
            <a:spLocks noGrp="1"/>
          </p:cNvSpPr>
          <p:nvPr>
            <p:custDataLst>
              <p:tags r:id="rId50"/>
            </p:custDataLst>
          </p:nvPr>
        </p:nvSpPr>
        <p:spPr bwMode="auto">
          <a:xfrm>
            <a:off x="2511425" y="4032250"/>
            <a:ext cx="90646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F1475410-3318-4805-8E15-E416F89CB51F}" type="datetime'N''''ot'' E''s''''''se''nti''''al'' ''''Medi''''ci''''n''e''s'">
              <a:rPr lang="en-US" altLang="en-US" sz="600" b="1" smtClean="0">
                <a:latin typeface="SangBleu Sunrise" panose="020B0504000000000004" pitchFamily="34" charset="-52"/>
                <a:ea typeface="SangBleu Sunrise" panose="020B0504000000000004" pitchFamily="34" charset="-52"/>
              </a:rPr>
              <a:pPr/>
              <a:t>Not Essential Medicines</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37" name="Rectangle 136">
            <a:extLst>
              <a:ext uri="{FF2B5EF4-FFF2-40B4-BE49-F238E27FC236}">
                <a16:creationId xmlns:a16="http://schemas.microsoft.com/office/drawing/2014/main" id="{35C593E5-913D-404C-9FBF-D5639EFE48F0}"/>
              </a:ext>
            </a:extLst>
          </p:cNvPr>
          <p:cNvSpPr/>
          <p:nvPr>
            <p:custDataLst>
              <p:tags r:id="rId51"/>
            </p:custDataLst>
          </p:nvPr>
        </p:nvSpPr>
        <p:spPr bwMode="auto">
          <a:xfrm>
            <a:off x="2324100" y="5164138"/>
            <a:ext cx="107950" cy="80963"/>
          </a:xfrm>
          <a:prstGeom prst="rect">
            <a:avLst/>
          </a:prstGeom>
          <a:pattFill prst="pct10">
            <a:fgClr>
              <a:schemeClr val="tx1"/>
            </a:fgClr>
            <a:bgClr>
              <a:schemeClr val="bg1"/>
            </a:bgClr>
          </a:pattFill>
          <a:ln w="12700"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8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138" name="Rectangle 137">
            <a:extLst>
              <a:ext uri="{FF2B5EF4-FFF2-40B4-BE49-F238E27FC236}">
                <a16:creationId xmlns:a16="http://schemas.microsoft.com/office/drawing/2014/main" id="{01651D4E-ECAE-4300-AB20-5E90EB17D7FB}"/>
              </a:ext>
            </a:extLst>
          </p:cNvPr>
          <p:cNvSpPr/>
          <p:nvPr>
            <p:custDataLst>
              <p:tags r:id="rId52"/>
            </p:custDataLst>
          </p:nvPr>
        </p:nvSpPr>
        <p:spPr bwMode="auto">
          <a:xfrm>
            <a:off x="2324100" y="5302250"/>
            <a:ext cx="107950" cy="80963"/>
          </a:xfrm>
          <a:prstGeom prst="rect">
            <a:avLst/>
          </a:prstGeom>
          <a:solidFill>
            <a:srgbClr val="9DB1CF"/>
          </a:solidFill>
          <a:ln w="12700"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8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495" name="Text Placeholder 2">
            <a:extLst>
              <a:ext uri="{FF2B5EF4-FFF2-40B4-BE49-F238E27FC236}">
                <a16:creationId xmlns:a16="http://schemas.microsoft.com/office/drawing/2014/main" id="{9573BBD7-B3D4-40EA-9945-DD67128FEC21}"/>
              </a:ext>
            </a:extLst>
          </p:cNvPr>
          <p:cNvSpPr>
            <a:spLocks noGrp="1"/>
          </p:cNvSpPr>
          <p:nvPr>
            <p:custDataLst>
              <p:tags r:id="rId53"/>
            </p:custDataLst>
          </p:nvPr>
        </p:nvSpPr>
        <p:spPr bwMode="auto">
          <a:xfrm>
            <a:off x="2482850" y="5168900"/>
            <a:ext cx="46037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5A3DD429-97AA-4942-B292-19DE4027A7B0}" type="datetime'C''o''mm''''''''er''''''''''''c''''''''ial'''''">
              <a:rPr lang="en-US" altLang="en-US" sz="6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Commercial</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86" name="Text Placeholder 2">
            <a:extLst>
              <a:ext uri="{FF2B5EF4-FFF2-40B4-BE49-F238E27FC236}">
                <a16:creationId xmlns:a16="http://schemas.microsoft.com/office/drawing/2014/main" id="{65686D8B-034C-4512-8778-F7E1626B1728}"/>
              </a:ext>
            </a:extLst>
          </p:cNvPr>
          <p:cNvSpPr>
            <a:spLocks noGrp="1"/>
          </p:cNvSpPr>
          <p:nvPr>
            <p:custDataLst>
              <p:tags r:id="rId54"/>
            </p:custDataLst>
          </p:nvPr>
        </p:nvSpPr>
        <p:spPr bwMode="auto">
          <a:xfrm>
            <a:off x="2482850" y="5307013"/>
            <a:ext cx="23971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D9D02928-2D7E-468F-99D9-93B559966560}" type="datetime'''''''''''''''''''''P''''''''''u''''''b''l''''''''''i''c'">
              <a:rPr lang="en-US"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Public</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711" name="Rectangle 710">
            <a:extLst>
              <a:ext uri="{FF2B5EF4-FFF2-40B4-BE49-F238E27FC236}">
                <a16:creationId xmlns:a16="http://schemas.microsoft.com/office/drawing/2014/main" id="{85ABB3C4-CE91-4A44-BF65-39D9E76897AE}"/>
              </a:ext>
            </a:extLst>
          </p:cNvPr>
          <p:cNvSpPr>
            <a:spLocks/>
          </p:cNvSpPr>
          <p:nvPr>
            <p:custDataLst>
              <p:tags r:id="rId55"/>
            </p:custDataLst>
          </p:nvPr>
        </p:nvSpPr>
        <p:spPr>
          <a:xfrm>
            <a:off x="3680194" y="8191694"/>
            <a:ext cx="2220913" cy="233363"/>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PROMOMED Costs Structure</a:t>
            </a:r>
          </a:p>
        </p:txBody>
      </p:sp>
      <p:sp>
        <p:nvSpPr>
          <p:cNvPr id="712" name="Rectangle 711">
            <a:extLst>
              <a:ext uri="{FF2B5EF4-FFF2-40B4-BE49-F238E27FC236}">
                <a16:creationId xmlns:a16="http://schemas.microsoft.com/office/drawing/2014/main" id="{1A3CEE49-CC4F-487F-955C-6767D8601FB0}"/>
              </a:ext>
            </a:extLst>
          </p:cNvPr>
          <p:cNvSpPr>
            <a:spLocks/>
          </p:cNvSpPr>
          <p:nvPr>
            <p:custDataLst>
              <p:tags r:id="rId56"/>
            </p:custDataLst>
          </p:nvPr>
        </p:nvSpPr>
        <p:spPr>
          <a:xfrm>
            <a:off x="1032786" y="5567835"/>
            <a:ext cx="2220913" cy="233363"/>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PROMOMED Revenue Breakdown</a:t>
            </a:r>
          </a:p>
        </p:txBody>
      </p:sp>
      <p:sp>
        <p:nvSpPr>
          <p:cNvPr id="260" name="Rectangle 259">
            <a:extLst>
              <a:ext uri="{FF2B5EF4-FFF2-40B4-BE49-F238E27FC236}">
                <a16:creationId xmlns:a16="http://schemas.microsoft.com/office/drawing/2014/main" id="{21FBD1E3-B656-4F24-B68F-E8183BA95EE2}"/>
              </a:ext>
            </a:extLst>
          </p:cNvPr>
          <p:cNvSpPr>
            <a:spLocks/>
          </p:cNvSpPr>
          <p:nvPr/>
        </p:nvSpPr>
        <p:spPr>
          <a:xfrm>
            <a:off x="3675063" y="4786989"/>
            <a:ext cx="2720093" cy="1779099"/>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rtl="0">
              <a:spcBef>
                <a:spcPts val="3800"/>
              </a:spcBef>
              <a:spcAft>
                <a:spcPts val="1100"/>
              </a:spcAft>
            </a:pPr>
            <a:r>
              <a:rPr lang="en-US" sz="800" b="1" i="0" u="none" strike="noStrike" dirty="0">
                <a:solidFill>
                  <a:srgbClr val="000000"/>
                </a:solidFill>
                <a:effectLst/>
                <a:latin typeface="SangBleu Sunrise" panose="020B0504000000000004" pitchFamily="34" charset="-52"/>
                <a:ea typeface="SangBleu Sunrise" panose="020B0504000000000004" pitchFamily="34" charset="-52"/>
              </a:rPr>
              <a:t>“Pharma-2030” : </a:t>
            </a:r>
            <a:r>
              <a:rPr lang="en-US" sz="800" b="0" i="0" u="none" strike="noStrike" dirty="0">
                <a:solidFill>
                  <a:srgbClr val="000000"/>
                </a:solidFill>
                <a:effectLst/>
                <a:latin typeface="SangBleu Sunrise" panose="020B0504000000000004" pitchFamily="34" charset="-52"/>
                <a:ea typeface="SangBleu Sunrise" panose="020B0504000000000004" pitchFamily="34" charset="-52"/>
              </a:rPr>
              <a:t>The Russian government is implementing large-scale support measures to boost domestic pharmaceutical production and import substitution. As part of the “Pharma-2030” strategy, the share of full-cycle Russian-made drugs in the domestic market is expected to reach nearly 70% by 2030, while the total production volume in monetary terms is projected to double to 1.4 trillion RUB. Additionally, the government’s focus on funding oncology treatments is driving higher tender procurement volumes for oncology drugs. This presents a growth opportunity for PROMOMED’s oncology portfolio, strengthening its position in the market.</a:t>
            </a:r>
            <a:endParaRPr lang="en-US" sz="800" dirty="0">
              <a:solidFill>
                <a:schemeClr val="tx1"/>
              </a:solidFill>
              <a:latin typeface="SangBleu Sunrise" panose="020B0504000000000004" pitchFamily="34" charset="-52"/>
              <a:ea typeface="SangBleu Sunrise" panose="020B0504000000000004" pitchFamily="34" charset="-52"/>
            </a:endParaRPr>
          </a:p>
        </p:txBody>
      </p:sp>
      <p:sp>
        <p:nvSpPr>
          <p:cNvPr id="263" name="Freeform 401">
            <a:extLst>
              <a:ext uri="{FF2B5EF4-FFF2-40B4-BE49-F238E27FC236}">
                <a16:creationId xmlns:a16="http://schemas.microsoft.com/office/drawing/2014/main" id="{83641A32-4334-46C2-95D7-78183AC41870}"/>
              </a:ext>
            </a:extLst>
          </p:cNvPr>
          <p:cNvSpPr>
            <a:spLocks noEditPoints="1"/>
          </p:cNvSpPr>
          <p:nvPr/>
        </p:nvSpPr>
        <p:spPr bwMode="gray">
          <a:xfrm>
            <a:off x="4743431" y="1714306"/>
            <a:ext cx="511692" cy="283458"/>
          </a:xfrm>
          <a:custGeom>
            <a:avLst/>
            <a:gdLst>
              <a:gd name="T0" fmla="*/ 571 w 596"/>
              <a:gd name="T1" fmla="*/ 192 h 331"/>
              <a:gd name="T2" fmla="*/ 531 w 596"/>
              <a:gd name="T3" fmla="*/ 198 h 331"/>
              <a:gd name="T4" fmla="*/ 520 w 596"/>
              <a:gd name="T5" fmla="*/ 237 h 331"/>
              <a:gd name="T6" fmla="*/ 491 w 596"/>
              <a:gd name="T7" fmla="*/ 246 h 331"/>
              <a:gd name="T8" fmla="*/ 495 w 596"/>
              <a:gd name="T9" fmla="*/ 286 h 331"/>
              <a:gd name="T10" fmla="*/ 470 w 596"/>
              <a:gd name="T11" fmla="*/ 285 h 331"/>
              <a:gd name="T12" fmla="*/ 424 w 596"/>
              <a:gd name="T13" fmla="*/ 285 h 331"/>
              <a:gd name="T14" fmla="*/ 395 w 596"/>
              <a:gd name="T15" fmla="*/ 292 h 331"/>
              <a:gd name="T16" fmla="*/ 358 w 596"/>
              <a:gd name="T17" fmla="*/ 290 h 331"/>
              <a:gd name="T18" fmla="*/ 335 w 596"/>
              <a:gd name="T19" fmla="*/ 313 h 331"/>
              <a:gd name="T20" fmla="*/ 314 w 596"/>
              <a:gd name="T21" fmla="*/ 325 h 331"/>
              <a:gd name="T22" fmla="*/ 262 w 596"/>
              <a:gd name="T23" fmla="*/ 271 h 331"/>
              <a:gd name="T24" fmla="*/ 126 w 596"/>
              <a:gd name="T25" fmla="*/ 309 h 331"/>
              <a:gd name="T26" fmla="*/ 90 w 596"/>
              <a:gd name="T27" fmla="*/ 286 h 331"/>
              <a:gd name="T28" fmla="*/ 67 w 596"/>
              <a:gd name="T29" fmla="*/ 267 h 331"/>
              <a:gd name="T30" fmla="*/ 71 w 596"/>
              <a:gd name="T31" fmla="*/ 250 h 331"/>
              <a:gd name="T32" fmla="*/ 76 w 596"/>
              <a:gd name="T33" fmla="*/ 233 h 331"/>
              <a:gd name="T34" fmla="*/ 111 w 596"/>
              <a:gd name="T35" fmla="*/ 237 h 331"/>
              <a:gd name="T36" fmla="*/ 119 w 596"/>
              <a:gd name="T37" fmla="*/ 240 h 331"/>
              <a:gd name="T38" fmla="*/ 115 w 596"/>
              <a:gd name="T39" fmla="*/ 233 h 331"/>
              <a:gd name="T40" fmla="*/ 95 w 596"/>
              <a:gd name="T41" fmla="*/ 229 h 331"/>
              <a:gd name="T42" fmla="*/ 97 w 596"/>
              <a:gd name="T43" fmla="*/ 215 h 331"/>
              <a:gd name="T44" fmla="*/ 84 w 596"/>
              <a:gd name="T45" fmla="*/ 198 h 331"/>
              <a:gd name="T46" fmla="*/ 78 w 596"/>
              <a:gd name="T47" fmla="*/ 204 h 331"/>
              <a:gd name="T48" fmla="*/ 67 w 596"/>
              <a:gd name="T49" fmla="*/ 200 h 331"/>
              <a:gd name="T50" fmla="*/ 55 w 596"/>
              <a:gd name="T51" fmla="*/ 204 h 331"/>
              <a:gd name="T52" fmla="*/ 42 w 596"/>
              <a:gd name="T53" fmla="*/ 213 h 331"/>
              <a:gd name="T54" fmla="*/ 34 w 596"/>
              <a:gd name="T55" fmla="*/ 212 h 331"/>
              <a:gd name="T56" fmla="*/ 13 w 596"/>
              <a:gd name="T57" fmla="*/ 183 h 331"/>
              <a:gd name="T58" fmla="*/ 5 w 596"/>
              <a:gd name="T59" fmla="*/ 139 h 331"/>
              <a:gd name="T60" fmla="*/ 32 w 596"/>
              <a:gd name="T61" fmla="*/ 125 h 331"/>
              <a:gd name="T62" fmla="*/ 59 w 596"/>
              <a:gd name="T63" fmla="*/ 94 h 331"/>
              <a:gd name="T64" fmla="*/ 86 w 596"/>
              <a:gd name="T65" fmla="*/ 92 h 331"/>
              <a:gd name="T66" fmla="*/ 105 w 596"/>
              <a:gd name="T67" fmla="*/ 106 h 331"/>
              <a:gd name="T68" fmla="*/ 124 w 596"/>
              <a:gd name="T69" fmla="*/ 112 h 331"/>
              <a:gd name="T70" fmla="*/ 157 w 596"/>
              <a:gd name="T71" fmla="*/ 110 h 331"/>
              <a:gd name="T72" fmla="*/ 184 w 596"/>
              <a:gd name="T73" fmla="*/ 117 h 331"/>
              <a:gd name="T74" fmla="*/ 218 w 596"/>
              <a:gd name="T75" fmla="*/ 100 h 331"/>
              <a:gd name="T76" fmla="*/ 207 w 596"/>
              <a:gd name="T77" fmla="*/ 83 h 331"/>
              <a:gd name="T78" fmla="*/ 222 w 596"/>
              <a:gd name="T79" fmla="*/ 56 h 331"/>
              <a:gd name="T80" fmla="*/ 218 w 596"/>
              <a:gd name="T81" fmla="*/ 35 h 331"/>
              <a:gd name="T82" fmla="*/ 249 w 596"/>
              <a:gd name="T83" fmla="*/ 31 h 331"/>
              <a:gd name="T84" fmla="*/ 282 w 596"/>
              <a:gd name="T85" fmla="*/ 19 h 331"/>
              <a:gd name="T86" fmla="*/ 324 w 596"/>
              <a:gd name="T87" fmla="*/ 4 h 331"/>
              <a:gd name="T88" fmla="*/ 357 w 596"/>
              <a:gd name="T89" fmla="*/ 12 h 331"/>
              <a:gd name="T90" fmla="*/ 374 w 596"/>
              <a:gd name="T91" fmla="*/ 33 h 331"/>
              <a:gd name="T92" fmla="*/ 397 w 596"/>
              <a:gd name="T93" fmla="*/ 37 h 331"/>
              <a:gd name="T94" fmla="*/ 416 w 596"/>
              <a:gd name="T95" fmla="*/ 42 h 331"/>
              <a:gd name="T96" fmla="*/ 439 w 596"/>
              <a:gd name="T97" fmla="*/ 37 h 331"/>
              <a:gd name="T98" fmla="*/ 489 w 596"/>
              <a:gd name="T99" fmla="*/ 115 h 331"/>
              <a:gd name="T100" fmla="*/ 516 w 596"/>
              <a:gd name="T101" fmla="*/ 114 h 331"/>
              <a:gd name="T102" fmla="*/ 550 w 596"/>
              <a:gd name="T103" fmla="*/ 127 h 331"/>
              <a:gd name="T104" fmla="*/ 587 w 596"/>
              <a:gd name="T105" fmla="*/ 139 h 331"/>
              <a:gd name="T106" fmla="*/ 53 w 596"/>
              <a:gd name="T107" fmla="*/ 240 h 331"/>
              <a:gd name="T108" fmla="*/ 72 w 596"/>
              <a:gd name="T109" fmla="*/ 198 h 331"/>
              <a:gd name="T110" fmla="*/ 61 w 596"/>
              <a:gd name="T111" fmla="*/ 244 h 331"/>
              <a:gd name="T112" fmla="*/ 95 w 596"/>
              <a:gd name="T113" fmla="*/ 204 h 331"/>
              <a:gd name="T114" fmla="*/ 103 w 596"/>
              <a:gd name="T115" fmla="*/ 235 h 331"/>
              <a:gd name="T116" fmla="*/ 94 w 596"/>
              <a:gd name="T117" fmla="*/ 215 h 331"/>
              <a:gd name="T118" fmla="*/ 86 w 596"/>
              <a:gd name="T119" fmla="*/ 202 h 331"/>
              <a:gd name="T120" fmla="*/ 95 w 596"/>
              <a:gd name="T121" fmla="*/ 208 h 331"/>
              <a:gd name="T122" fmla="*/ 46 w 596"/>
              <a:gd name="T123" fmla="*/ 212 h 331"/>
              <a:gd name="T124" fmla="*/ 95 w 596"/>
              <a:gd name="T125" fmla="*/ 21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6" h="331">
                <a:moveTo>
                  <a:pt x="594" y="152"/>
                </a:moveTo>
                <a:lnTo>
                  <a:pt x="593" y="152"/>
                </a:lnTo>
                <a:lnTo>
                  <a:pt x="591" y="152"/>
                </a:lnTo>
                <a:lnTo>
                  <a:pt x="589" y="152"/>
                </a:lnTo>
                <a:lnTo>
                  <a:pt x="589" y="154"/>
                </a:lnTo>
                <a:lnTo>
                  <a:pt x="589" y="156"/>
                </a:lnTo>
                <a:lnTo>
                  <a:pt x="587" y="156"/>
                </a:lnTo>
                <a:lnTo>
                  <a:pt x="587" y="158"/>
                </a:lnTo>
                <a:lnTo>
                  <a:pt x="589" y="158"/>
                </a:lnTo>
                <a:lnTo>
                  <a:pt x="589" y="160"/>
                </a:lnTo>
                <a:lnTo>
                  <a:pt x="587" y="160"/>
                </a:lnTo>
                <a:lnTo>
                  <a:pt x="589" y="160"/>
                </a:lnTo>
                <a:lnTo>
                  <a:pt x="589" y="162"/>
                </a:lnTo>
                <a:lnTo>
                  <a:pt x="587" y="162"/>
                </a:lnTo>
                <a:lnTo>
                  <a:pt x="587" y="164"/>
                </a:lnTo>
                <a:lnTo>
                  <a:pt x="585" y="164"/>
                </a:lnTo>
                <a:lnTo>
                  <a:pt x="585" y="165"/>
                </a:lnTo>
                <a:lnTo>
                  <a:pt x="583" y="167"/>
                </a:lnTo>
                <a:lnTo>
                  <a:pt x="581" y="167"/>
                </a:lnTo>
                <a:lnTo>
                  <a:pt x="579" y="167"/>
                </a:lnTo>
                <a:lnTo>
                  <a:pt x="577" y="167"/>
                </a:lnTo>
                <a:lnTo>
                  <a:pt x="575" y="167"/>
                </a:lnTo>
                <a:lnTo>
                  <a:pt x="573" y="167"/>
                </a:lnTo>
                <a:lnTo>
                  <a:pt x="573" y="169"/>
                </a:lnTo>
                <a:lnTo>
                  <a:pt x="571" y="169"/>
                </a:lnTo>
                <a:lnTo>
                  <a:pt x="571" y="171"/>
                </a:lnTo>
                <a:lnTo>
                  <a:pt x="571" y="173"/>
                </a:lnTo>
                <a:lnTo>
                  <a:pt x="570" y="173"/>
                </a:lnTo>
                <a:lnTo>
                  <a:pt x="570" y="175"/>
                </a:lnTo>
                <a:lnTo>
                  <a:pt x="570" y="177"/>
                </a:lnTo>
                <a:lnTo>
                  <a:pt x="570" y="179"/>
                </a:lnTo>
                <a:lnTo>
                  <a:pt x="571" y="183"/>
                </a:lnTo>
                <a:lnTo>
                  <a:pt x="571" y="187"/>
                </a:lnTo>
                <a:lnTo>
                  <a:pt x="571" y="188"/>
                </a:lnTo>
                <a:lnTo>
                  <a:pt x="571" y="190"/>
                </a:lnTo>
                <a:lnTo>
                  <a:pt x="571" y="192"/>
                </a:lnTo>
                <a:lnTo>
                  <a:pt x="571" y="194"/>
                </a:lnTo>
                <a:lnTo>
                  <a:pt x="571" y="196"/>
                </a:lnTo>
                <a:lnTo>
                  <a:pt x="570" y="196"/>
                </a:lnTo>
                <a:lnTo>
                  <a:pt x="570" y="198"/>
                </a:lnTo>
                <a:lnTo>
                  <a:pt x="568" y="198"/>
                </a:lnTo>
                <a:lnTo>
                  <a:pt x="566" y="198"/>
                </a:lnTo>
                <a:lnTo>
                  <a:pt x="564" y="198"/>
                </a:lnTo>
                <a:lnTo>
                  <a:pt x="564" y="200"/>
                </a:lnTo>
                <a:lnTo>
                  <a:pt x="562" y="200"/>
                </a:lnTo>
                <a:lnTo>
                  <a:pt x="562" y="202"/>
                </a:lnTo>
                <a:lnTo>
                  <a:pt x="560" y="202"/>
                </a:lnTo>
                <a:lnTo>
                  <a:pt x="560" y="200"/>
                </a:lnTo>
                <a:lnTo>
                  <a:pt x="558" y="200"/>
                </a:lnTo>
                <a:lnTo>
                  <a:pt x="558" y="198"/>
                </a:lnTo>
                <a:lnTo>
                  <a:pt x="558" y="200"/>
                </a:lnTo>
                <a:lnTo>
                  <a:pt x="556" y="200"/>
                </a:lnTo>
                <a:lnTo>
                  <a:pt x="554" y="200"/>
                </a:lnTo>
                <a:lnTo>
                  <a:pt x="554" y="198"/>
                </a:lnTo>
                <a:lnTo>
                  <a:pt x="554" y="200"/>
                </a:lnTo>
                <a:lnTo>
                  <a:pt x="552" y="200"/>
                </a:lnTo>
                <a:lnTo>
                  <a:pt x="550" y="200"/>
                </a:lnTo>
                <a:lnTo>
                  <a:pt x="548" y="200"/>
                </a:lnTo>
                <a:lnTo>
                  <a:pt x="547" y="200"/>
                </a:lnTo>
                <a:lnTo>
                  <a:pt x="545" y="200"/>
                </a:lnTo>
                <a:lnTo>
                  <a:pt x="545" y="198"/>
                </a:lnTo>
                <a:lnTo>
                  <a:pt x="543" y="198"/>
                </a:lnTo>
                <a:lnTo>
                  <a:pt x="541" y="198"/>
                </a:lnTo>
                <a:lnTo>
                  <a:pt x="541" y="196"/>
                </a:lnTo>
                <a:lnTo>
                  <a:pt x="539" y="196"/>
                </a:lnTo>
                <a:lnTo>
                  <a:pt x="537" y="196"/>
                </a:lnTo>
                <a:lnTo>
                  <a:pt x="537" y="194"/>
                </a:lnTo>
                <a:lnTo>
                  <a:pt x="535" y="194"/>
                </a:lnTo>
                <a:lnTo>
                  <a:pt x="533" y="194"/>
                </a:lnTo>
                <a:lnTo>
                  <a:pt x="533" y="196"/>
                </a:lnTo>
                <a:lnTo>
                  <a:pt x="533" y="198"/>
                </a:lnTo>
                <a:lnTo>
                  <a:pt x="531" y="198"/>
                </a:lnTo>
                <a:lnTo>
                  <a:pt x="531" y="200"/>
                </a:lnTo>
                <a:lnTo>
                  <a:pt x="531" y="202"/>
                </a:lnTo>
                <a:lnTo>
                  <a:pt x="531" y="204"/>
                </a:lnTo>
                <a:lnTo>
                  <a:pt x="529" y="204"/>
                </a:lnTo>
                <a:lnTo>
                  <a:pt x="529" y="206"/>
                </a:lnTo>
                <a:lnTo>
                  <a:pt x="529" y="208"/>
                </a:lnTo>
                <a:lnTo>
                  <a:pt x="529" y="210"/>
                </a:lnTo>
                <a:lnTo>
                  <a:pt x="527" y="210"/>
                </a:lnTo>
                <a:lnTo>
                  <a:pt x="527" y="212"/>
                </a:lnTo>
                <a:lnTo>
                  <a:pt x="527" y="213"/>
                </a:lnTo>
                <a:lnTo>
                  <a:pt x="525" y="213"/>
                </a:lnTo>
                <a:lnTo>
                  <a:pt x="525" y="215"/>
                </a:lnTo>
                <a:lnTo>
                  <a:pt x="525" y="217"/>
                </a:lnTo>
                <a:lnTo>
                  <a:pt x="525" y="219"/>
                </a:lnTo>
                <a:lnTo>
                  <a:pt x="523" y="219"/>
                </a:lnTo>
                <a:lnTo>
                  <a:pt x="525" y="219"/>
                </a:lnTo>
                <a:lnTo>
                  <a:pt x="523" y="219"/>
                </a:lnTo>
                <a:lnTo>
                  <a:pt x="525" y="219"/>
                </a:lnTo>
                <a:lnTo>
                  <a:pt x="525" y="221"/>
                </a:lnTo>
                <a:lnTo>
                  <a:pt x="523" y="221"/>
                </a:lnTo>
                <a:lnTo>
                  <a:pt x="523" y="223"/>
                </a:lnTo>
                <a:lnTo>
                  <a:pt x="523" y="225"/>
                </a:lnTo>
                <a:lnTo>
                  <a:pt x="523" y="227"/>
                </a:lnTo>
                <a:lnTo>
                  <a:pt x="522" y="227"/>
                </a:lnTo>
                <a:lnTo>
                  <a:pt x="522" y="229"/>
                </a:lnTo>
                <a:lnTo>
                  <a:pt x="522" y="231"/>
                </a:lnTo>
                <a:lnTo>
                  <a:pt x="523" y="231"/>
                </a:lnTo>
                <a:lnTo>
                  <a:pt x="525" y="231"/>
                </a:lnTo>
                <a:lnTo>
                  <a:pt x="525" y="233"/>
                </a:lnTo>
                <a:lnTo>
                  <a:pt x="527" y="235"/>
                </a:lnTo>
                <a:lnTo>
                  <a:pt x="527" y="237"/>
                </a:lnTo>
                <a:lnTo>
                  <a:pt x="525" y="238"/>
                </a:lnTo>
                <a:lnTo>
                  <a:pt x="525" y="237"/>
                </a:lnTo>
                <a:lnTo>
                  <a:pt x="523" y="237"/>
                </a:lnTo>
                <a:lnTo>
                  <a:pt x="522" y="237"/>
                </a:lnTo>
                <a:lnTo>
                  <a:pt x="520" y="237"/>
                </a:lnTo>
                <a:lnTo>
                  <a:pt x="518" y="237"/>
                </a:lnTo>
                <a:lnTo>
                  <a:pt x="516" y="237"/>
                </a:lnTo>
                <a:lnTo>
                  <a:pt x="516" y="235"/>
                </a:lnTo>
                <a:lnTo>
                  <a:pt x="516" y="233"/>
                </a:lnTo>
                <a:lnTo>
                  <a:pt x="514" y="233"/>
                </a:lnTo>
                <a:lnTo>
                  <a:pt x="514" y="235"/>
                </a:lnTo>
                <a:lnTo>
                  <a:pt x="512" y="235"/>
                </a:lnTo>
                <a:lnTo>
                  <a:pt x="510" y="235"/>
                </a:lnTo>
                <a:lnTo>
                  <a:pt x="510" y="237"/>
                </a:lnTo>
                <a:lnTo>
                  <a:pt x="510" y="235"/>
                </a:lnTo>
                <a:lnTo>
                  <a:pt x="510" y="237"/>
                </a:lnTo>
                <a:lnTo>
                  <a:pt x="508" y="237"/>
                </a:lnTo>
                <a:lnTo>
                  <a:pt x="506" y="237"/>
                </a:lnTo>
                <a:lnTo>
                  <a:pt x="504" y="237"/>
                </a:lnTo>
                <a:lnTo>
                  <a:pt x="506" y="237"/>
                </a:lnTo>
                <a:lnTo>
                  <a:pt x="504" y="237"/>
                </a:lnTo>
                <a:lnTo>
                  <a:pt x="504" y="238"/>
                </a:lnTo>
                <a:lnTo>
                  <a:pt x="502" y="238"/>
                </a:lnTo>
                <a:lnTo>
                  <a:pt x="500" y="238"/>
                </a:lnTo>
                <a:lnTo>
                  <a:pt x="499" y="238"/>
                </a:lnTo>
                <a:lnTo>
                  <a:pt x="500" y="238"/>
                </a:lnTo>
                <a:lnTo>
                  <a:pt x="499" y="238"/>
                </a:lnTo>
                <a:lnTo>
                  <a:pt x="497" y="238"/>
                </a:lnTo>
                <a:lnTo>
                  <a:pt x="495" y="238"/>
                </a:lnTo>
                <a:lnTo>
                  <a:pt x="495" y="240"/>
                </a:lnTo>
                <a:lnTo>
                  <a:pt x="493" y="240"/>
                </a:lnTo>
                <a:lnTo>
                  <a:pt x="491" y="240"/>
                </a:lnTo>
                <a:lnTo>
                  <a:pt x="489" y="240"/>
                </a:lnTo>
                <a:lnTo>
                  <a:pt x="489" y="242"/>
                </a:lnTo>
                <a:lnTo>
                  <a:pt x="487" y="242"/>
                </a:lnTo>
                <a:lnTo>
                  <a:pt x="487" y="244"/>
                </a:lnTo>
                <a:lnTo>
                  <a:pt x="489" y="244"/>
                </a:lnTo>
                <a:lnTo>
                  <a:pt x="489" y="246"/>
                </a:lnTo>
                <a:lnTo>
                  <a:pt x="491" y="246"/>
                </a:lnTo>
                <a:lnTo>
                  <a:pt x="491" y="244"/>
                </a:lnTo>
                <a:lnTo>
                  <a:pt x="491" y="246"/>
                </a:lnTo>
                <a:lnTo>
                  <a:pt x="491" y="244"/>
                </a:lnTo>
                <a:lnTo>
                  <a:pt x="491" y="246"/>
                </a:lnTo>
                <a:lnTo>
                  <a:pt x="493" y="246"/>
                </a:lnTo>
                <a:lnTo>
                  <a:pt x="493" y="248"/>
                </a:lnTo>
                <a:lnTo>
                  <a:pt x="495" y="248"/>
                </a:lnTo>
                <a:lnTo>
                  <a:pt x="495" y="250"/>
                </a:lnTo>
                <a:lnTo>
                  <a:pt x="495" y="252"/>
                </a:lnTo>
                <a:lnTo>
                  <a:pt x="495" y="254"/>
                </a:lnTo>
                <a:lnTo>
                  <a:pt x="495" y="256"/>
                </a:lnTo>
                <a:lnTo>
                  <a:pt x="495" y="258"/>
                </a:lnTo>
                <a:lnTo>
                  <a:pt x="495" y="260"/>
                </a:lnTo>
                <a:lnTo>
                  <a:pt x="495" y="261"/>
                </a:lnTo>
                <a:lnTo>
                  <a:pt x="497" y="261"/>
                </a:lnTo>
                <a:lnTo>
                  <a:pt x="495" y="261"/>
                </a:lnTo>
                <a:lnTo>
                  <a:pt x="497" y="261"/>
                </a:lnTo>
                <a:lnTo>
                  <a:pt x="497" y="263"/>
                </a:lnTo>
                <a:lnTo>
                  <a:pt x="497" y="265"/>
                </a:lnTo>
                <a:lnTo>
                  <a:pt x="497" y="267"/>
                </a:lnTo>
                <a:lnTo>
                  <a:pt x="499" y="269"/>
                </a:lnTo>
                <a:lnTo>
                  <a:pt x="499" y="271"/>
                </a:lnTo>
                <a:lnTo>
                  <a:pt x="500" y="273"/>
                </a:lnTo>
                <a:lnTo>
                  <a:pt x="500" y="275"/>
                </a:lnTo>
                <a:lnTo>
                  <a:pt x="499" y="275"/>
                </a:lnTo>
                <a:lnTo>
                  <a:pt x="500" y="275"/>
                </a:lnTo>
                <a:lnTo>
                  <a:pt x="500" y="277"/>
                </a:lnTo>
                <a:lnTo>
                  <a:pt x="500" y="279"/>
                </a:lnTo>
                <a:lnTo>
                  <a:pt x="499" y="279"/>
                </a:lnTo>
                <a:lnTo>
                  <a:pt x="497" y="279"/>
                </a:lnTo>
                <a:lnTo>
                  <a:pt x="497" y="281"/>
                </a:lnTo>
                <a:lnTo>
                  <a:pt x="495" y="281"/>
                </a:lnTo>
                <a:lnTo>
                  <a:pt x="495" y="283"/>
                </a:lnTo>
                <a:lnTo>
                  <a:pt x="497" y="283"/>
                </a:lnTo>
                <a:lnTo>
                  <a:pt x="499" y="285"/>
                </a:lnTo>
                <a:lnTo>
                  <a:pt x="497" y="285"/>
                </a:lnTo>
                <a:lnTo>
                  <a:pt x="495" y="285"/>
                </a:lnTo>
                <a:lnTo>
                  <a:pt x="495" y="286"/>
                </a:lnTo>
                <a:lnTo>
                  <a:pt x="495" y="285"/>
                </a:lnTo>
                <a:lnTo>
                  <a:pt x="493" y="285"/>
                </a:lnTo>
                <a:lnTo>
                  <a:pt x="495" y="285"/>
                </a:lnTo>
                <a:lnTo>
                  <a:pt x="493" y="285"/>
                </a:lnTo>
                <a:lnTo>
                  <a:pt x="493" y="286"/>
                </a:lnTo>
                <a:lnTo>
                  <a:pt x="493" y="288"/>
                </a:lnTo>
                <a:lnTo>
                  <a:pt x="491" y="288"/>
                </a:lnTo>
                <a:lnTo>
                  <a:pt x="491" y="290"/>
                </a:lnTo>
                <a:lnTo>
                  <a:pt x="493" y="290"/>
                </a:lnTo>
                <a:lnTo>
                  <a:pt x="493" y="292"/>
                </a:lnTo>
                <a:lnTo>
                  <a:pt x="493" y="294"/>
                </a:lnTo>
                <a:lnTo>
                  <a:pt x="493" y="296"/>
                </a:lnTo>
                <a:lnTo>
                  <a:pt x="493" y="298"/>
                </a:lnTo>
                <a:lnTo>
                  <a:pt x="491" y="298"/>
                </a:lnTo>
                <a:lnTo>
                  <a:pt x="491" y="296"/>
                </a:lnTo>
                <a:lnTo>
                  <a:pt x="491" y="294"/>
                </a:lnTo>
                <a:lnTo>
                  <a:pt x="489" y="294"/>
                </a:lnTo>
                <a:lnTo>
                  <a:pt x="489" y="292"/>
                </a:lnTo>
                <a:lnTo>
                  <a:pt x="489" y="294"/>
                </a:lnTo>
                <a:lnTo>
                  <a:pt x="487" y="294"/>
                </a:lnTo>
                <a:lnTo>
                  <a:pt x="487" y="292"/>
                </a:lnTo>
                <a:lnTo>
                  <a:pt x="485" y="292"/>
                </a:lnTo>
                <a:lnTo>
                  <a:pt x="483" y="292"/>
                </a:lnTo>
                <a:lnTo>
                  <a:pt x="481" y="292"/>
                </a:lnTo>
                <a:lnTo>
                  <a:pt x="481" y="290"/>
                </a:lnTo>
                <a:lnTo>
                  <a:pt x="479" y="290"/>
                </a:lnTo>
                <a:lnTo>
                  <a:pt x="477" y="290"/>
                </a:lnTo>
                <a:lnTo>
                  <a:pt x="477" y="288"/>
                </a:lnTo>
                <a:lnTo>
                  <a:pt x="477" y="286"/>
                </a:lnTo>
                <a:lnTo>
                  <a:pt x="475" y="286"/>
                </a:lnTo>
                <a:lnTo>
                  <a:pt x="474" y="286"/>
                </a:lnTo>
                <a:lnTo>
                  <a:pt x="472" y="286"/>
                </a:lnTo>
                <a:lnTo>
                  <a:pt x="470" y="286"/>
                </a:lnTo>
                <a:lnTo>
                  <a:pt x="470" y="285"/>
                </a:lnTo>
                <a:lnTo>
                  <a:pt x="470" y="286"/>
                </a:lnTo>
                <a:lnTo>
                  <a:pt x="470" y="285"/>
                </a:lnTo>
                <a:lnTo>
                  <a:pt x="468" y="285"/>
                </a:lnTo>
                <a:lnTo>
                  <a:pt x="466" y="285"/>
                </a:lnTo>
                <a:lnTo>
                  <a:pt x="464" y="285"/>
                </a:lnTo>
                <a:lnTo>
                  <a:pt x="462" y="285"/>
                </a:lnTo>
                <a:lnTo>
                  <a:pt x="460" y="285"/>
                </a:lnTo>
                <a:lnTo>
                  <a:pt x="458" y="285"/>
                </a:lnTo>
                <a:lnTo>
                  <a:pt x="456" y="285"/>
                </a:lnTo>
                <a:lnTo>
                  <a:pt x="454" y="285"/>
                </a:lnTo>
                <a:lnTo>
                  <a:pt x="454" y="283"/>
                </a:lnTo>
                <a:lnTo>
                  <a:pt x="452" y="283"/>
                </a:lnTo>
                <a:lnTo>
                  <a:pt x="451" y="283"/>
                </a:lnTo>
                <a:lnTo>
                  <a:pt x="451" y="285"/>
                </a:lnTo>
                <a:lnTo>
                  <a:pt x="449" y="285"/>
                </a:lnTo>
                <a:lnTo>
                  <a:pt x="449" y="283"/>
                </a:lnTo>
                <a:lnTo>
                  <a:pt x="447" y="283"/>
                </a:lnTo>
                <a:lnTo>
                  <a:pt x="445" y="283"/>
                </a:lnTo>
                <a:lnTo>
                  <a:pt x="443" y="283"/>
                </a:lnTo>
                <a:lnTo>
                  <a:pt x="441" y="283"/>
                </a:lnTo>
                <a:lnTo>
                  <a:pt x="441" y="285"/>
                </a:lnTo>
                <a:lnTo>
                  <a:pt x="439" y="285"/>
                </a:lnTo>
                <a:lnTo>
                  <a:pt x="439" y="283"/>
                </a:lnTo>
                <a:lnTo>
                  <a:pt x="437" y="285"/>
                </a:lnTo>
                <a:lnTo>
                  <a:pt x="435" y="285"/>
                </a:lnTo>
                <a:lnTo>
                  <a:pt x="433" y="283"/>
                </a:lnTo>
                <a:lnTo>
                  <a:pt x="433" y="285"/>
                </a:lnTo>
                <a:lnTo>
                  <a:pt x="433" y="283"/>
                </a:lnTo>
                <a:lnTo>
                  <a:pt x="431" y="283"/>
                </a:lnTo>
                <a:lnTo>
                  <a:pt x="431" y="285"/>
                </a:lnTo>
                <a:lnTo>
                  <a:pt x="431" y="283"/>
                </a:lnTo>
                <a:lnTo>
                  <a:pt x="429" y="283"/>
                </a:lnTo>
                <a:lnTo>
                  <a:pt x="428" y="283"/>
                </a:lnTo>
                <a:lnTo>
                  <a:pt x="428" y="285"/>
                </a:lnTo>
                <a:lnTo>
                  <a:pt x="428" y="286"/>
                </a:lnTo>
                <a:lnTo>
                  <a:pt x="426" y="286"/>
                </a:lnTo>
                <a:lnTo>
                  <a:pt x="424" y="286"/>
                </a:lnTo>
                <a:lnTo>
                  <a:pt x="424" y="285"/>
                </a:lnTo>
                <a:lnTo>
                  <a:pt x="422" y="285"/>
                </a:lnTo>
                <a:lnTo>
                  <a:pt x="420" y="285"/>
                </a:lnTo>
                <a:lnTo>
                  <a:pt x="418" y="285"/>
                </a:lnTo>
                <a:lnTo>
                  <a:pt x="416" y="285"/>
                </a:lnTo>
                <a:lnTo>
                  <a:pt x="416" y="283"/>
                </a:lnTo>
                <a:lnTo>
                  <a:pt x="416" y="285"/>
                </a:lnTo>
                <a:lnTo>
                  <a:pt x="416" y="283"/>
                </a:lnTo>
                <a:lnTo>
                  <a:pt x="414" y="283"/>
                </a:lnTo>
                <a:lnTo>
                  <a:pt x="412" y="283"/>
                </a:lnTo>
                <a:lnTo>
                  <a:pt x="412" y="281"/>
                </a:lnTo>
                <a:lnTo>
                  <a:pt x="410" y="281"/>
                </a:lnTo>
                <a:lnTo>
                  <a:pt x="410" y="279"/>
                </a:lnTo>
                <a:lnTo>
                  <a:pt x="408" y="279"/>
                </a:lnTo>
                <a:lnTo>
                  <a:pt x="406" y="279"/>
                </a:lnTo>
                <a:lnTo>
                  <a:pt x="406" y="277"/>
                </a:lnTo>
                <a:lnTo>
                  <a:pt x="404" y="277"/>
                </a:lnTo>
                <a:lnTo>
                  <a:pt x="406" y="277"/>
                </a:lnTo>
                <a:lnTo>
                  <a:pt x="404" y="277"/>
                </a:lnTo>
                <a:lnTo>
                  <a:pt x="404" y="279"/>
                </a:lnTo>
                <a:lnTo>
                  <a:pt x="403" y="279"/>
                </a:lnTo>
                <a:lnTo>
                  <a:pt x="401" y="279"/>
                </a:lnTo>
                <a:lnTo>
                  <a:pt x="401" y="277"/>
                </a:lnTo>
                <a:lnTo>
                  <a:pt x="401" y="279"/>
                </a:lnTo>
                <a:lnTo>
                  <a:pt x="401" y="281"/>
                </a:lnTo>
                <a:lnTo>
                  <a:pt x="399" y="279"/>
                </a:lnTo>
                <a:lnTo>
                  <a:pt x="399" y="281"/>
                </a:lnTo>
                <a:lnTo>
                  <a:pt x="397" y="281"/>
                </a:lnTo>
                <a:lnTo>
                  <a:pt x="395" y="281"/>
                </a:lnTo>
                <a:lnTo>
                  <a:pt x="395" y="283"/>
                </a:lnTo>
                <a:lnTo>
                  <a:pt x="395" y="285"/>
                </a:lnTo>
                <a:lnTo>
                  <a:pt x="395" y="286"/>
                </a:lnTo>
                <a:lnTo>
                  <a:pt x="393" y="286"/>
                </a:lnTo>
                <a:lnTo>
                  <a:pt x="393" y="288"/>
                </a:lnTo>
                <a:lnTo>
                  <a:pt x="393" y="290"/>
                </a:lnTo>
                <a:lnTo>
                  <a:pt x="393" y="292"/>
                </a:lnTo>
                <a:lnTo>
                  <a:pt x="395" y="292"/>
                </a:lnTo>
                <a:lnTo>
                  <a:pt x="395" y="294"/>
                </a:lnTo>
                <a:lnTo>
                  <a:pt x="393" y="294"/>
                </a:lnTo>
                <a:lnTo>
                  <a:pt x="391" y="294"/>
                </a:lnTo>
                <a:lnTo>
                  <a:pt x="391" y="292"/>
                </a:lnTo>
                <a:lnTo>
                  <a:pt x="389" y="292"/>
                </a:lnTo>
                <a:lnTo>
                  <a:pt x="389" y="290"/>
                </a:lnTo>
                <a:lnTo>
                  <a:pt x="387" y="290"/>
                </a:lnTo>
                <a:lnTo>
                  <a:pt x="387" y="292"/>
                </a:lnTo>
                <a:lnTo>
                  <a:pt x="387" y="290"/>
                </a:lnTo>
                <a:lnTo>
                  <a:pt x="387" y="292"/>
                </a:lnTo>
                <a:lnTo>
                  <a:pt x="385" y="292"/>
                </a:lnTo>
                <a:lnTo>
                  <a:pt x="385" y="290"/>
                </a:lnTo>
                <a:lnTo>
                  <a:pt x="383" y="290"/>
                </a:lnTo>
                <a:lnTo>
                  <a:pt x="383" y="288"/>
                </a:lnTo>
                <a:lnTo>
                  <a:pt x="381" y="288"/>
                </a:lnTo>
                <a:lnTo>
                  <a:pt x="380" y="288"/>
                </a:lnTo>
                <a:lnTo>
                  <a:pt x="378" y="288"/>
                </a:lnTo>
                <a:lnTo>
                  <a:pt x="378" y="286"/>
                </a:lnTo>
                <a:lnTo>
                  <a:pt x="376" y="286"/>
                </a:lnTo>
                <a:lnTo>
                  <a:pt x="374" y="286"/>
                </a:lnTo>
                <a:lnTo>
                  <a:pt x="372" y="286"/>
                </a:lnTo>
                <a:lnTo>
                  <a:pt x="370" y="286"/>
                </a:lnTo>
                <a:lnTo>
                  <a:pt x="370" y="285"/>
                </a:lnTo>
                <a:lnTo>
                  <a:pt x="368" y="285"/>
                </a:lnTo>
                <a:lnTo>
                  <a:pt x="368" y="286"/>
                </a:lnTo>
                <a:lnTo>
                  <a:pt x="366" y="286"/>
                </a:lnTo>
                <a:lnTo>
                  <a:pt x="364" y="286"/>
                </a:lnTo>
                <a:lnTo>
                  <a:pt x="362" y="286"/>
                </a:lnTo>
                <a:lnTo>
                  <a:pt x="360" y="286"/>
                </a:lnTo>
                <a:lnTo>
                  <a:pt x="362" y="286"/>
                </a:lnTo>
                <a:lnTo>
                  <a:pt x="360" y="286"/>
                </a:lnTo>
                <a:lnTo>
                  <a:pt x="362" y="286"/>
                </a:lnTo>
                <a:lnTo>
                  <a:pt x="360" y="286"/>
                </a:lnTo>
                <a:lnTo>
                  <a:pt x="360" y="288"/>
                </a:lnTo>
                <a:lnTo>
                  <a:pt x="360" y="290"/>
                </a:lnTo>
                <a:lnTo>
                  <a:pt x="358" y="290"/>
                </a:lnTo>
                <a:lnTo>
                  <a:pt x="357" y="290"/>
                </a:lnTo>
                <a:lnTo>
                  <a:pt x="358" y="290"/>
                </a:lnTo>
                <a:lnTo>
                  <a:pt x="358" y="292"/>
                </a:lnTo>
                <a:lnTo>
                  <a:pt x="357" y="292"/>
                </a:lnTo>
                <a:lnTo>
                  <a:pt x="357" y="294"/>
                </a:lnTo>
                <a:lnTo>
                  <a:pt x="357" y="296"/>
                </a:lnTo>
                <a:lnTo>
                  <a:pt x="355" y="296"/>
                </a:lnTo>
                <a:lnTo>
                  <a:pt x="357" y="296"/>
                </a:lnTo>
                <a:lnTo>
                  <a:pt x="357" y="298"/>
                </a:lnTo>
                <a:lnTo>
                  <a:pt x="355" y="298"/>
                </a:lnTo>
                <a:lnTo>
                  <a:pt x="353" y="298"/>
                </a:lnTo>
                <a:lnTo>
                  <a:pt x="355" y="298"/>
                </a:lnTo>
                <a:lnTo>
                  <a:pt x="353" y="298"/>
                </a:lnTo>
                <a:lnTo>
                  <a:pt x="353" y="300"/>
                </a:lnTo>
                <a:lnTo>
                  <a:pt x="353" y="302"/>
                </a:lnTo>
                <a:lnTo>
                  <a:pt x="351" y="302"/>
                </a:lnTo>
                <a:lnTo>
                  <a:pt x="351" y="300"/>
                </a:lnTo>
                <a:lnTo>
                  <a:pt x="349" y="300"/>
                </a:lnTo>
                <a:lnTo>
                  <a:pt x="347" y="300"/>
                </a:lnTo>
                <a:lnTo>
                  <a:pt x="347" y="302"/>
                </a:lnTo>
                <a:lnTo>
                  <a:pt x="347" y="300"/>
                </a:lnTo>
                <a:lnTo>
                  <a:pt x="347" y="302"/>
                </a:lnTo>
                <a:lnTo>
                  <a:pt x="347" y="304"/>
                </a:lnTo>
                <a:lnTo>
                  <a:pt x="345" y="304"/>
                </a:lnTo>
                <a:lnTo>
                  <a:pt x="345" y="306"/>
                </a:lnTo>
                <a:lnTo>
                  <a:pt x="343" y="306"/>
                </a:lnTo>
                <a:lnTo>
                  <a:pt x="343" y="308"/>
                </a:lnTo>
                <a:lnTo>
                  <a:pt x="341" y="308"/>
                </a:lnTo>
                <a:lnTo>
                  <a:pt x="339" y="308"/>
                </a:lnTo>
                <a:lnTo>
                  <a:pt x="337" y="308"/>
                </a:lnTo>
                <a:lnTo>
                  <a:pt x="337" y="309"/>
                </a:lnTo>
                <a:lnTo>
                  <a:pt x="335" y="309"/>
                </a:lnTo>
                <a:lnTo>
                  <a:pt x="335" y="311"/>
                </a:lnTo>
                <a:lnTo>
                  <a:pt x="333" y="311"/>
                </a:lnTo>
                <a:lnTo>
                  <a:pt x="335" y="311"/>
                </a:lnTo>
                <a:lnTo>
                  <a:pt x="335" y="313"/>
                </a:lnTo>
                <a:lnTo>
                  <a:pt x="333" y="313"/>
                </a:lnTo>
                <a:lnTo>
                  <a:pt x="332" y="313"/>
                </a:lnTo>
                <a:lnTo>
                  <a:pt x="330" y="313"/>
                </a:lnTo>
                <a:lnTo>
                  <a:pt x="330" y="315"/>
                </a:lnTo>
                <a:lnTo>
                  <a:pt x="328" y="315"/>
                </a:lnTo>
                <a:lnTo>
                  <a:pt x="330" y="315"/>
                </a:lnTo>
                <a:lnTo>
                  <a:pt x="328" y="315"/>
                </a:lnTo>
                <a:lnTo>
                  <a:pt x="330" y="317"/>
                </a:lnTo>
                <a:lnTo>
                  <a:pt x="328" y="317"/>
                </a:lnTo>
                <a:lnTo>
                  <a:pt x="326" y="319"/>
                </a:lnTo>
                <a:lnTo>
                  <a:pt x="324" y="319"/>
                </a:lnTo>
                <a:lnTo>
                  <a:pt x="324" y="321"/>
                </a:lnTo>
                <a:lnTo>
                  <a:pt x="324" y="323"/>
                </a:lnTo>
                <a:lnTo>
                  <a:pt x="322" y="323"/>
                </a:lnTo>
                <a:lnTo>
                  <a:pt x="322" y="321"/>
                </a:lnTo>
                <a:lnTo>
                  <a:pt x="324" y="321"/>
                </a:lnTo>
                <a:lnTo>
                  <a:pt x="322" y="321"/>
                </a:lnTo>
                <a:lnTo>
                  <a:pt x="320" y="321"/>
                </a:lnTo>
                <a:lnTo>
                  <a:pt x="320" y="323"/>
                </a:lnTo>
                <a:lnTo>
                  <a:pt x="322" y="323"/>
                </a:lnTo>
                <a:lnTo>
                  <a:pt x="322" y="325"/>
                </a:lnTo>
                <a:lnTo>
                  <a:pt x="322" y="327"/>
                </a:lnTo>
                <a:lnTo>
                  <a:pt x="324" y="329"/>
                </a:lnTo>
                <a:lnTo>
                  <a:pt x="322" y="329"/>
                </a:lnTo>
                <a:lnTo>
                  <a:pt x="324" y="329"/>
                </a:lnTo>
                <a:lnTo>
                  <a:pt x="322" y="329"/>
                </a:lnTo>
                <a:lnTo>
                  <a:pt x="322" y="331"/>
                </a:lnTo>
                <a:lnTo>
                  <a:pt x="322" y="329"/>
                </a:lnTo>
                <a:lnTo>
                  <a:pt x="320" y="329"/>
                </a:lnTo>
                <a:lnTo>
                  <a:pt x="320" y="331"/>
                </a:lnTo>
                <a:lnTo>
                  <a:pt x="320" y="329"/>
                </a:lnTo>
                <a:lnTo>
                  <a:pt x="318" y="329"/>
                </a:lnTo>
                <a:lnTo>
                  <a:pt x="316" y="327"/>
                </a:lnTo>
                <a:lnTo>
                  <a:pt x="314" y="325"/>
                </a:lnTo>
                <a:lnTo>
                  <a:pt x="312" y="325"/>
                </a:lnTo>
                <a:lnTo>
                  <a:pt x="314" y="325"/>
                </a:lnTo>
                <a:lnTo>
                  <a:pt x="314" y="323"/>
                </a:lnTo>
                <a:lnTo>
                  <a:pt x="314" y="321"/>
                </a:lnTo>
                <a:lnTo>
                  <a:pt x="316" y="321"/>
                </a:lnTo>
                <a:lnTo>
                  <a:pt x="316" y="319"/>
                </a:lnTo>
                <a:lnTo>
                  <a:pt x="314" y="319"/>
                </a:lnTo>
                <a:lnTo>
                  <a:pt x="314" y="321"/>
                </a:lnTo>
                <a:lnTo>
                  <a:pt x="314" y="319"/>
                </a:lnTo>
                <a:lnTo>
                  <a:pt x="314" y="321"/>
                </a:lnTo>
                <a:lnTo>
                  <a:pt x="312" y="321"/>
                </a:lnTo>
                <a:lnTo>
                  <a:pt x="314" y="321"/>
                </a:lnTo>
                <a:lnTo>
                  <a:pt x="312" y="321"/>
                </a:lnTo>
                <a:lnTo>
                  <a:pt x="314" y="321"/>
                </a:lnTo>
                <a:lnTo>
                  <a:pt x="312" y="321"/>
                </a:lnTo>
                <a:lnTo>
                  <a:pt x="312" y="319"/>
                </a:lnTo>
                <a:lnTo>
                  <a:pt x="314" y="319"/>
                </a:lnTo>
                <a:lnTo>
                  <a:pt x="312" y="319"/>
                </a:lnTo>
                <a:lnTo>
                  <a:pt x="310" y="319"/>
                </a:lnTo>
                <a:lnTo>
                  <a:pt x="310" y="317"/>
                </a:lnTo>
                <a:lnTo>
                  <a:pt x="309" y="317"/>
                </a:lnTo>
                <a:lnTo>
                  <a:pt x="307" y="317"/>
                </a:lnTo>
                <a:lnTo>
                  <a:pt x="305" y="319"/>
                </a:lnTo>
                <a:lnTo>
                  <a:pt x="303" y="319"/>
                </a:lnTo>
                <a:lnTo>
                  <a:pt x="295" y="319"/>
                </a:lnTo>
                <a:lnTo>
                  <a:pt x="293" y="317"/>
                </a:lnTo>
                <a:lnTo>
                  <a:pt x="293" y="304"/>
                </a:lnTo>
                <a:lnTo>
                  <a:pt x="285" y="304"/>
                </a:lnTo>
                <a:lnTo>
                  <a:pt x="285" y="294"/>
                </a:lnTo>
                <a:lnTo>
                  <a:pt x="285" y="288"/>
                </a:lnTo>
                <a:lnTo>
                  <a:pt x="285" y="283"/>
                </a:lnTo>
                <a:lnTo>
                  <a:pt x="282" y="285"/>
                </a:lnTo>
                <a:lnTo>
                  <a:pt x="278" y="275"/>
                </a:lnTo>
                <a:lnTo>
                  <a:pt x="272" y="273"/>
                </a:lnTo>
                <a:lnTo>
                  <a:pt x="270" y="267"/>
                </a:lnTo>
                <a:lnTo>
                  <a:pt x="268" y="267"/>
                </a:lnTo>
                <a:lnTo>
                  <a:pt x="264" y="269"/>
                </a:lnTo>
                <a:lnTo>
                  <a:pt x="262" y="271"/>
                </a:lnTo>
                <a:lnTo>
                  <a:pt x="253" y="271"/>
                </a:lnTo>
                <a:lnTo>
                  <a:pt x="243" y="269"/>
                </a:lnTo>
                <a:lnTo>
                  <a:pt x="234" y="271"/>
                </a:lnTo>
                <a:lnTo>
                  <a:pt x="226" y="271"/>
                </a:lnTo>
                <a:lnTo>
                  <a:pt x="224" y="269"/>
                </a:lnTo>
                <a:lnTo>
                  <a:pt x="214" y="260"/>
                </a:lnTo>
                <a:lnTo>
                  <a:pt x="213" y="256"/>
                </a:lnTo>
                <a:lnTo>
                  <a:pt x="213" y="254"/>
                </a:lnTo>
                <a:lnTo>
                  <a:pt x="207" y="250"/>
                </a:lnTo>
                <a:lnTo>
                  <a:pt x="197" y="240"/>
                </a:lnTo>
                <a:lnTo>
                  <a:pt x="190" y="237"/>
                </a:lnTo>
                <a:lnTo>
                  <a:pt x="178" y="231"/>
                </a:lnTo>
                <a:lnTo>
                  <a:pt x="176" y="229"/>
                </a:lnTo>
                <a:lnTo>
                  <a:pt x="165" y="233"/>
                </a:lnTo>
                <a:lnTo>
                  <a:pt x="149" y="238"/>
                </a:lnTo>
                <a:lnTo>
                  <a:pt x="138" y="242"/>
                </a:lnTo>
                <a:lnTo>
                  <a:pt x="138" y="244"/>
                </a:lnTo>
                <a:lnTo>
                  <a:pt x="138" y="252"/>
                </a:lnTo>
                <a:lnTo>
                  <a:pt x="138" y="256"/>
                </a:lnTo>
                <a:lnTo>
                  <a:pt x="138" y="267"/>
                </a:lnTo>
                <a:lnTo>
                  <a:pt x="138" y="281"/>
                </a:lnTo>
                <a:lnTo>
                  <a:pt x="138" y="315"/>
                </a:lnTo>
                <a:lnTo>
                  <a:pt x="136" y="315"/>
                </a:lnTo>
                <a:lnTo>
                  <a:pt x="134" y="315"/>
                </a:lnTo>
                <a:lnTo>
                  <a:pt x="132" y="315"/>
                </a:lnTo>
                <a:lnTo>
                  <a:pt x="132" y="317"/>
                </a:lnTo>
                <a:lnTo>
                  <a:pt x="132" y="315"/>
                </a:lnTo>
                <a:lnTo>
                  <a:pt x="132" y="317"/>
                </a:lnTo>
                <a:lnTo>
                  <a:pt x="130" y="317"/>
                </a:lnTo>
                <a:lnTo>
                  <a:pt x="130" y="315"/>
                </a:lnTo>
                <a:lnTo>
                  <a:pt x="128" y="315"/>
                </a:lnTo>
                <a:lnTo>
                  <a:pt x="130" y="315"/>
                </a:lnTo>
                <a:lnTo>
                  <a:pt x="128" y="315"/>
                </a:lnTo>
                <a:lnTo>
                  <a:pt x="128" y="313"/>
                </a:lnTo>
                <a:lnTo>
                  <a:pt x="126" y="311"/>
                </a:lnTo>
                <a:lnTo>
                  <a:pt x="126" y="309"/>
                </a:lnTo>
                <a:lnTo>
                  <a:pt x="124" y="309"/>
                </a:lnTo>
                <a:lnTo>
                  <a:pt x="124" y="308"/>
                </a:lnTo>
                <a:lnTo>
                  <a:pt x="124" y="306"/>
                </a:lnTo>
                <a:lnTo>
                  <a:pt x="122" y="306"/>
                </a:lnTo>
                <a:lnTo>
                  <a:pt x="122" y="304"/>
                </a:lnTo>
                <a:lnTo>
                  <a:pt x="122" y="302"/>
                </a:lnTo>
                <a:lnTo>
                  <a:pt x="120" y="302"/>
                </a:lnTo>
                <a:lnTo>
                  <a:pt x="120" y="300"/>
                </a:lnTo>
                <a:lnTo>
                  <a:pt x="119" y="300"/>
                </a:lnTo>
                <a:lnTo>
                  <a:pt x="115" y="296"/>
                </a:lnTo>
                <a:lnTo>
                  <a:pt x="113" y="294"/>
                </a:lnTo>
                <a:lnTo>
                  <a:pt x="109" y="296"/>
                </a:lnTo>
                <a:lnTo>
                  <a:pt x="103" y="296"/>
                </a:lnTo>
                <a:lnTo>
                  <a:pt x="94" y="298"/>
                </a:lnTo>
                <a:lnTo>
                  <a:pt x="94" y="300"/>
                </a:lnTo>
                <a:lnTo>
                  <a:pt x="92" y="300"/>
                </a:lnTo>
                <a:lnTo>
                  <a:pt x="90" y="304"/>
                </a:lnTo>
                <a:lnTo>
                  <a:pt x="86" y="306"/>
                </a:lnTo>
                <a:lnTo>
                  <a:pt x="86" y="304"/>
                </a:lnTo>
                <a:lnTo>
                  <a:pt x="86" y="302"/>
                </a:lnTo>
                <a:lnTo>
                  <a:pt x="86" y="300"/>
                </a:lnTo>
                <a:lnTo>
                  <a:pt x="86" y="298"/>
                </a:lnTo>
                <a:lnTo>
                  <a:pt x="88" y="298"/>
                </a:lnTo>
                <a:lnTo>
                  <a:pt x="88" y="296"/>
                </a:lnTo>
                <a:lnTo>
                  <a:pt x="88" y="294"/>
                </a:lnTo>
                <a:lnTo>
                  <a:pt x="90" y="294"/>
                </a:lnTo>
                <a:lnTo>
                  <a:pt x="90" y="292"/>
                </a:lnTo>
                <a:lnTo>
                  <a:pt x="90" y="290"/>
                </a:lnTo>
                <a:lnTo>
                  <a:pt x="90" y="288"/>
                </a:lnTo>
                <a:lnTo>
                  <a:pt x="88" y="288"/>
                </a:lnTo>
                <a:lnTo>
                  <a:pt x="88" y="286"/>
                </a:lnTo>
                <a:lnTo>
                  <a:pt x="88" y="288"/>
                </a:lnTo>
                <a:lnTo>
                  <a:pt x="90" y="288"/>
                </a:lnTo>
                <a:lnTo>
                  <a:pt x="90" y="290"/>
                </a:lnTo>
                <a:lnTo>
                  <a:pt x="90" y="288"/>
                </a:lnTo>
                <a:lnTo>
                  <a:pt x="90" y="286"/>
                </a:lnTo>
                <a:lnTo>
                  <a:pt x="88" y="286"/>
                </a:lnTo>
                <a:lnTo>
                  <a:pt x="90" y="286"/>
                </a:lnTo>
                <a:lnTo>
                  <a:pt x="88" y="286"/>
                </a:lnTo>
                <a:lnTo>
                  <a:pt x="88" y="285"/>
                </a:lnTo>
                <a:lnTo>
                  <a:pt x="86" y="285"/>
                </a:lnTo>
                <a:lnTo>
                  <a:pt x="84" y="285"/>
                </a:lnTo>
                <a:lnTo>
                  <a:pt x="84" y="286"/>
                </a:lnTo>
                <a:lnTo>
                  <a:pt x="84" y="285"/>
                </a:lnTo>
                <a:lnTo>
                  <a:pt x="82" y="285"/>
                </a:lnTo>
                <a:lnTo>
                  <a:pt x="80" y="285"/>
                </a:lnTo>
                <a:lnTo>
                  <a:pt x="78" y="285"/>
                </a:lnTo>
                <a:lnTo>
                  <a:pt x="76" y="285"/>
                </a:lnTo>
                <a:lnTo>
                  <a:pt x="76" y="283"/>
                </a:lnTo>
                <a:lnTo>
                  <a:pt x="76" y="281"/>
                </a:lnTo>
                <a:lnTo>
                  <a:pt x="74" y="281"/>
                </a:lnTo>
                <a:lnTo>
                  <a:pt x="74" y="279"/>
                </a:lnTo>
                <a:lnTo>
                  <a:pt x="72" y="279"/>
                </a:lnTo>
                <a:lnTo>
                  <a:pt x="71" y="279"/>
                </a:lnTo>
                <a:lnTo>
                  <a:pt x="69" y="279"/>
                </a:lnTo>
                <a:lnTo>
                  <a:pt x="69" y="277"/>
                </a:lnTo>
                <a:lnTo>
                  <a:pt x="69" y="275"/>
                </a:lnTo>
                <a:lnTo>
                  <a:pt x="69" y="273"/>
                </a:lnTo>
                <a:lnTo>
                  <a:pt x="71" y="273"/>
                </a:lnTo>
                <a:lnTo>
                  <a:pt x="71" y="271"/>
                </a:lnTo>
                <a:lnTo>
                  <a:pt x="69" y="271"/>
                </a:lnTo>
                <a:lnTo>
                  <a:pt x="69" y="269"/>
                </a:lnTo>
                <a:lnTo>
                  <a:pt x="69" y="271"/>
                </a:lnTo>
                <a:lnTo>
                  <a:pt x="69" y="269"/>
                </a:lnTo>
                <a:lnTo>
                  <a:pt x="69" y="271"/>
                </a:lnTo>
                <a:lnTo>
                  <a:pt x="69" y="273"/>
                </a:lnTo>
                <a:lnTo>
                  <a:pt x="71" y="273"/>
                </a:lnTo>
                <a:lnTo>
                  <a:pt x="69" y="273"/>
                </a:lnTo>
                <a:lnTo>
                  <a:pt x="69" y="271"/>
                </a:lnTo>
                <a:lnTo>
                  <a:pt x="69" y="269"/>
                </a:lnTo>
                <a:lnTo>
                  <a:pt x="67" y="269"/>
                </a:lnTo>
                <a:lnTo>
                  <a:pt x="67" y="267"/>
                </a:lnTo>
                <a:lnTo>
                  <a:pt x="65" y="267"/>
                </a:lnTo>
                <a:lnTo>
                  <a:pt x="65" y="265"/>
                </a:lnTo>
                <a:lnTo>
                  <a:pt x="65" y="263"/>
                </a:lnTo>
                <a:lnTo>
                  <a:pt x="65" y="261"/>
                </a:lnTo>
                <a:lnTo>
                  <a:pt x="63" y="261"/>
                </a:lnTo>
                <a:lnTo>
                  <a:pt x="63" y="260"/>
                </a:lnTo>
                <a:lnTo>
                  <a:pt x="63" y="258"/>
                </a:lnTo>
                <a:lnTo>
                  <a:pt x="61" y="258"/>
                </a:lnTo>
                <a:lnTo>
                  <a:pt x="61" y="256"/>
                </a:lnTo>
                <a:lnTo>
                  <a:pt x="59" y="256"/>
                </a:lnTo>
                <a:lnTo>
                  <a:pt x="57" y="256"/>
                </a:lnTo>
                <a:lnTo>
                  <a:pt x="55" y="256"/>
                </a:lnTo>
                <a:lnTo>
                  <a:pt x="55" y="254"/>
                </a:lnTo>
                <a:lnTo>
                  <a:pt x="53" y="254"/>
                </a:lnTo>
                <a:lnTo>
                  <a:pt x="53" y="252"/>
                </a:lnTo>
                <a:lnTo>
                  <a:pt x="53" y="250"/>
                </a:lnTo>
                <a:lnTo>
                  <a:pt x="55" y="250"/>
                </a:lnTo>
                <a:lnTo>
                  <a:pt x="55" y="248"/>
                </a:lnTo>
                <a:lnTo>
                  <a:pt x="57" y="248"/>
                </a:lnTo>
                <a:lnTo>
                  <a:pt x="57" y="250"/>
                </a:lnTo>
                <a:lnTo>
                  <a:pt x="57" y="248"/>
                </a:lnTo>
                <a:lnTo>
                  <a:pt x="57" y="250"/>
                </a:lnTo>
                <a:lnTo>
                  <a:pt x="57" y="248"/>
                </a:lnTo>
                <a:lnTo>
                  <a:pt x="57" y="250"/>
                </a:lnTo>
                <a:lnTo>
                  <a:pt x="59" y="250"/>
                </a:lnTo>
                <a:lnTo>
                  <a:pt x="59" y="248"/>
                </a:lnTo>
                <a:lnTo>
                  <a:pt x="59" y="250"/>
                </a:lnTo>
                <a:lnTo>
                  <a:pt x="61" y="250"/>
                </a:lnTo>
                <a:lnTo>
                  <a:pt x="63" y="248"/>
                </a:lnTo>
                <a:lnTo>
                  <a:pt x="63" y="250"/>
                </a:lnTo>
                <a:lnTo>
                  <a:pt x="65" y="250"/>
                </a:lnTo>
                <a:lnTo>
                  <a:pt x="65" y="252"/>
                </a:lnTo>
                <a:lnTo>
                  <a:pt x="67" y="252"/>
                </a:lnTo>
                <a:lnTo>
                  <a:pt x="69" y="252"/>
                </a:lnTo>
                <a:lnTo>
                  <a:pt x="69" y="250"/>
                </a:lnTo>
                <a:lnTo>
                  <a:pt x="71" y="250"/>
                </a:lnTo>
                <a:lnTo>
                  <a:pt x="71" y="252"/>
                </a:lnTo>
                <a:lnTo>
                  <a:pt x="72" y="252"/>
                </a:lnTo>
                <a:lnTo>
                  <a:pt x="71" y="252"/>
                </a:lnTo>
                <a:lnTo>
                  <a:pt x="72" y="252"/>
                </a:lnTo>
                <a:lnTo>
                  <a:pt x="74" y="252"/>
                </a:lnTo>
                <a:lnTo>
                  <a:pt x="74" y="250"/>
                </a:lnTo>
                <a:lnTo>
                  <a:pt x="72" y="250"/>
                </a:lnTo>
                <a:lnTo>
                  <a:pt x="71" y="250"/>
                </a:lnTo>
                <a:lnTo>
                  <a:pt x="69" y="250"/>
                </a:lnTo>
                <a:lnTo>
                  <a:pt x="71" y="250"/>
                </a:lnTo>
                <a:lnTo>
                  <a:pt x="69" y="250"/>
                </a:lnTo>
                <a:lnTo>
                  <a:pt x="71" y="250"/>
                </a:lnTo>
                <a:lnTo>
                  <a:pt x="69" y="250"/>
                </a:lnTo>
                <a:lnTo>
                  <a:pt x="69" y="248"/>
                </a:lnTo>
                <a:lnTo>
                  <a:pt x="69" y="246"/>
                </a:lnTo>
                <a:lnTo>
                  <a:pt x="67" y="246"/>
                </a:lnTo>
                <a:lnTo>
                  <a:pt x="67" y="244"/>
                </a:lnTo>
                <a:lnTo>
                  <a:pt x="67" y="246"/>
                </a:lnTo>
                <a:lnTo>
                  <a:pt x="67" y="244"/>
                </a:lnTo>
                <a:lnTo>
                  <a:pt x="69" y="244"/>
                </a:lnTo>
                <a:lnTo>
                  <a:pt x="69" y="242"/>
                </a:lnTo>
                <a:lnTo>
                  <a:pt x="69" y="240"/>
                </a:lnTo>
                <a:lnTo>
                  <a:pt x="69" y="238"/>
                </a:lnTo>
                <a:lnTo>
                  <a:pt x="69" y="237"/>
                </a:lnTo>
                <a:lnTo>
                  <a:pt x="69" y="238"/>
                </a:lnTo>
                <a:lnTo>
                  <a:pt x="69" y="240"/>
                </a:lnTo>
                <a:lnTo>
                  <a:pt x="69" y="238"/>
                </a:lnTo>
                <a:lnTo>
                  <a:pt x="69" y="237"/>
                </a:lnTo>
                <a:lnTo>
                  <a:pt x="71" y="237"/>
                </a:lnTo>
                <a:lnTo>
                  <a:pt x="71" y="235"/>
                </a:lnTo>
                <a:lnTo>
                  <a:pt x="72" y="235"/>
                </a:lnTo>
                <a:lnTo>
                  <a:pt x="71" y="235"/>
                </a:lnTo>
                <a:lnTo>
                  <a:pt x="72" y="235"/>
                </a:lnTo>
                <a:lnTo>
                  <a:pt x="74" y="235"/>
                </a:lnTo>
                <a:lnTo>
                  <a:pt x="74" y="233"/>
                </a:lnTo>
                <a:lnTo>
                  <a:pt x="76" y="233"/>
                </a:lnTo>
                <a:lnTo>
                  <a:pt x="78" y="233"/>
                </a:lnTo>
                <a:lnTo>
                  <a:pt x="80" y="233"/>
                </a:lnTo>
                <a:lnTo>
                  <a:pt x="82" y="233"/>
                </a:lnTo>
                <a:lnTo>
                  <a:pt x="82" y="235"/>
                </a:lnTo>
                <a:lnTo>
                  <a:pt x="82" y="233"/>
                </a:lnTo>
                <a:lnTo>
                  <a:pt x="84" y="233"/>
                </a:lnTo>
                <a:lnTo>
                  <a:pt x="86" y="233"/>
                </a:lnTo>
                <a:lnTo>
                  <a:pt x="86" y="235"/>
                </a:lnTo>
                <a:lnTo>
                  <a:pt x="88" y="235"/>
                </a:lnTo>
                <a:lnTo>
                  <a:pt x="90" y="235"/>
                </a:lnTo>
                <a:lnTo>
                  <a:pt x="92" y="235"/>
                </a:lnTo>
                <a:lnTo>
                  <a:pt x="94" y="235"/>
                </a:lnTo>
                <a:lnTo>
                  <a:pt x="94" y="237"/>
                </a:lnTo>
                <a:lnTo>
                  <a:pt x="95" y="237"/>
                </a:lnTo>
                <a:lnTo>
                  <a:pt x="95" y="235"/>
                </a:lnTo>
                <a:lnTo>
                  <a:pt x="95" y="237"/>
                </a:lnTo>
                <a:lnTo>
                  <a:pt x="97" y="237"/>
                </a:lnTo>
                <a:lnTo>
                  <a:pt x="97" y="235"/>
                </a:lnTo>
                <a:lnTo>
                  <a:pt x="99" y="235"/>
                </a:lnTo>
                <a:lnTo>
                  <a:pt x="101" y="235"/>
                </a:lnTo>
                <a:lnTo>
                  <a:pt x="99" y="235"/>
                </a:lnTo>
                <a:lnTo>
                  <a:pt x="101" y="235"/>
                </a:lnTo>
                <a:lnTo>
                  <a:pt x="99" y="235"/>
                </a:lnTo>
                <a:lnTo>
                  <a:pt x="101" y="235"/>
                </a:lnTo>
                <a:lnTo>
                  <a:pt x="103" y="235"/>
                </a:lnTo>
                <a:lnTo>
                  <a:pt x="103" y="237"/>
                </a:lnTo>
                <a:lnTo>
                  <a:pt x="103" y="235"/>
                </a:lnTo>
                <a:lnTo>
                  <a:pt x="105" y="235"/>
                </a:lnTo>
                <a:lnTo>
                  <a:pt x="105" y="237"/>
                </a:lnTo>
                <a:lnTo>
                  <a:pt x="107" y="237"/>
                </a:lnTo>
                <a:lnTo>
                  <a:pt x="107" y="235"/>
                </a:lnTo>
                <a:lnTo>
                  <a:pt x="109" y="235"/>
                </a:lnTo>
                <a:lnTo>
                  <a:pt x="109" y="237"/>
                </a:lnTo>
                <a:lnTo>
                  <a:pt x="109" y="235"/>
                </a:lnTo>
                <a:lnTo>
                  <a:pt x="111" y="235"/>
                </a:lnTo>
                <a:lnTo>
                  <a:pt x="111" y="237"/>
                </a:lnTo>
                <a:lnTo>
                  <a:pt x="111" y="238"/>
                </a:lnTo>
                <a:lnTo>
                  <a:pt x="109" y="238"/>
                </a:lnTo>
                <a:lnTo>
                  <a:pt x="107" y="238"/>
                </a:lnTo>
                <a:lnTo>
                  <a:pt x="107" y="240"/>
                </a:lnTo>
                <a:lnTo>
                  <a:pt x="105" y="240"/>
                </a:lnTo>
                <a:lnTo>
                  <a:pt x="103" y="240"/>
                </a:lnTo>
                <a:lnTo>
                  <a:pt x="103" y="242"/>
                </a:lnTo>
                <a:lnTo>
                  <a:pt x="101" y="242"/>
                </a:lnTo>
                <a:lnTo>
                  <a:pt x="101" y="244"/>
                </a:lnTo>
                <a:lnTo>
                  <a:pt x="101" y="246"/>
                </a:lnTo>
                <a:lnTo>
                  <a:pt x="99" y="246"/>
                </a:lnTo>
                <a:lnTo>
                  <a:pt x="99" y="248"/>
                </a:lnTo>
                <a:lnTo>
                  <a:pt x="97" y="248"/>
                </a:lnTo>
                <a:lnTo>
                  <a:pt x="97" y="250"/>
                </a:lnTo>
                <a:lnTo>
                  <a:pt x="97" y="252"/>
                </a:lnTo>
                <a:lnTo>
                  <a:pt x="95" y="252"/>
                </a:lnTo>
                <a:lnTo>
                  <a:pt x="95" y="254"/>
                </a:lnTo>
                <a:lnTo>
                  <a:pt x="97" y="254"/>
                </a:lnTo>
                <a:lnTo>
                  <a:pt x="99" y="254"/>
                </a:lnTo>
                <a:lnTo>
                  <a:pt x="99" y="252"/>
                </a:lnTo>
                <a:lnTo>
                  <a:pt x="101" y="252"/>
                </a:lnTo>
                <a:lnTo>
                  <a:pt x="101" y="250"/>
                </a:lnTo>
                <a:lnTo>
                  <a:pt x="101" y="248"/>
                </a:lnTo>
                <a:lnTo>
                  <a:pt x="101" y="246"/>
                </a:lnTo>
                <a:lnTo>
                  <a:pt x="103" y="246"/>
                </a:lnTo>
                <a:lnTo>
                  <a:pt x="103" y="244"/>
                </a:lnTo>
                <a:lnTo>
                  <a:pt x="105" y="244"/>
                </a:lnTo>
                <a:lnTo>
                  <a:pt x="105" y="242"/>
                </a:lnTo>
                <a:lnTo>
                  <a:pt x="107" y="242"/>
                </a:lnTo>
                <a:lnTo>
                  <a:pt x="109" y="242"/>
                </a:lnTo>
                <a:lnTo>
                  <a:pt x="111" y="242"/>
                </a:lnTo>
                <a:lnTo>
                  <a:pt x="111" y="240"/>
                </a:lnTo>
                <a:lnTo>
                  <a:pt x="113" y="240"/>
                </a:lnTo>
                <a:lnTo>
                  <a:pt x="115" y="240"/>
                </a:lnTo>
                <a:lnTo>
                  <a:pt x="117" y="240"/>
                </a:lnTo>
                <a:lnTo>
                  <a:pt x="119" y="240"/>
                </a:lnTo>
                <a:lnTo>
                  <a:pt x="119" y="238"/>
                </a:lnTo>
                <a:lnTo>
                  <a:pt x="120" y="238"/>
                </a:lnTo>
                <a:lnTo>
                  <a:pt x="120" y="237"/>
                </a:lnTo>
                <a:lnTo>
                  <a:pt x="120" y="238"/>
                </a:lnTo>
                <a:lnTo>
                  <a:pt x="120" y="237"/>
                </a:lnTo>
                <a:lnTo>
                  <a:pt x="122" y="237"/>
                </a:lnTo>
                <a:lnTo>
                  <a:pt x="122" y="235"/>
                </a:lnTo>
                <a:lnTo>
                  <a:pt x="122" y="237"/>
                </a:lnTo>
                <a:lnTo>
                  <a:pt x="122" y="235"/>
                </a:lnTo>
                <a:lnTo>
                  <a:pt x="122" y="237"/>
                </a:lnTo>
                <a:lnTo>
                  <a:pt x="120" y="237"/>
                </a:lnTo>
                <a:lnTo>
                  <a:pt x="122" y="237"/>
                </a:lnTo>
                <a:lnTo>
                  <a:pt x="120" y="237"/>
                </a:lnTo>
                <a:lnTo>
                  <a:pt x="119" y="237"/>
                </a:lnTo>
                <a:lnTo>
                  <a:pt x="119" y="235"/>
                </a:lnTo>
                <a:lnTo>
                  <a:pt x="119" y="237"/>
                </a:lnTo>
                <a:lnTo>
                  <a:pt x="117" y="237"/>
                </a:lnTo>
                <a:lnTo>
                  <a:pt x="119" y="237"/>
                </a:lnTo>
                <a:lnTo>
                  <a:pt x="119" y="238"/>
                </a:lnTo>
                <a:lnTo>
                  <a:pt x="117" y="238"/>
                </a:lnTo>
                <a:lnTo>
                  <a:pt x="117" y="237"/>
                </a:lnTo>
                <a:lnTo>
                  <a:pt x="115" y="237"/>
                </a:lnTo>
                <a:lnTo>
                  <a:pt x="117" y="237"/>
                </a:lnTo>
                <a:lnTo>
                  <a:pt x="115" y="237"/>
                </a:lnTo>
                <a:lnTo>
                  <a:pt x="117" y="237"/>
                </a:lnTo>
                <a:lnTo>
                  <a:pt x="115" y="237"/>
                </a:lnTo>
                <a:lnTo>
                  <a:pt x="115" y="235"/>
                </a:lnTo>
                <a:lnTo>
                  <a:pt x="113" y="235"/>
                </a:lnTo>
                <a:lnTo>
                  <a:pt x="115" y="235"/>
                </a:lnTo>
                <a:lnTo>
                  <a:pt x="113" y="235"/>
                </a:lnTo>
                <a:lnTo>
                  <a:pt x="113" y="233"/>
                </a:lnTo>
                <a:lnTo>
                  <a:pt x="113" y="235"/>
                </a:lnTo>
                <a:lnTo>
                  <a:pt x="113" y="233"/>
                </a:lnTo>
                <a:lnTo>
                  <a:pt x="115" y="233"/>
                </a:lnTo>
                <a:lnTo>
                  <a:pt x="115" y="235"/>
                </a:lnTo>
                <a:lnTo>
                  <a:pt x="115" y="233"/>
                </a:lnTo>
                <a:lnTo>
                  <a:pt x="113" y="233"/>
                </a:lnTo>
                <a:lnTo>
                  <a:pt x="115" y="233"/>
                </a:lnTo>
                <a:lnTo>
                  <a:pt x="115" y="231"/>
                </a:lnTo>
                <a:lnTo>
                  <a:pt x="115" y="233"/>
                </a:lnTo>
                <a:lnTo>
                  <a:pt x="117" y="233"/>
                </a:lnTo>
                <a:lnTo>
                  <a:pt x="117" y="231"/>
                </a:lnTo>
                <a:lnTo>
                  <a:pt x="115" y="231"/>
                </a:lnTo>
                <a:lnTo>
                  <a:pt x="113" y="231"/>
                </a:lnTo>
                <a:lnTo>
                  <a:pt x="113" y="229"/>
                </a:lnTo>
                <a:lnTo>
                  <a:pt x="111" y="229"/>
                </a:lnTo>
                <a:lnTo>
                  <a:pt x="113" y="229"/>
                </a:lnTo>
                <a:lnTo>
                  <a:pt x="111" y="229"/>
                </a:lnTo>
                <a:lnTo>
                  <a:pt x="109" y="229"/>
                </a:lnTo>
                <a:lnTo>
                  <a:pt x="107" y="229"/>
                </a:lnTo>
                <a:lnTo>
                  <a:pt x="107" y="231"/>
                </a:lnTo>
                <a:lnTo>
                  <a:pt x="105" y="231"/>
                </a:lnTo>
                <a:lnTo>
                  <a:pt x="103" y="231"/>
                </a:lnTo>
                <a:lnTo>
                  <a:pt x="101" y="231"/>
                </a:lnTo>
                <a:lnTo>
                  <a:pt x="103" y="231"/>
                </a:lnTo>
                <a:lnTo>
                  <a:pt x="103" y="233"/>
                </a:lnTo>
                <a:lnTo>
                  <a:pt x="105" y="233"/>
                </a:lnTo>
                <a:lnTo>
                  <a:pt x="105" y="235"/>
                </a:lnTo>
                <a:lnTo>
                  <a:pt x="103" y="235"/>
                </a:lnTo>
                <a:lnTo>
                  <a:pt x="103" y="233"/>
                </a:lnTo>
                <a:lnTo>
                  <a:pt x="103" y="235"/>
                </a:lnTo>
                <a:lnTo>
                  <a:pt x="101" y="235"/>
                </a:lnTo>
                <a:lnTo>
                  <a:pt x="101" y="233"/>
                </a:lnTo>
                <a:lnTo>
                  <a:pt x="101" y="235"/>
                </a:lnTo>
                <a:lnTo>
                  <a:pt x="99" y="235"/>
                </a:lnTo>
                <a:lnTo>
                  <a:pt x="97" y="235"/>
                </a:lnTo>
                <a:lnTo>
                  <a:pt x="97" y="233"/>
                </a:lnTo>
                <a:lnTo>
                  <a:pt x="95" y="233"/>
                </a:lnTo>
                <a:lnTo>
                  <a:pt x="95" y="231"/>
                </a:lnTo>
                <a:lnTo>
                  <a:pt x="95" y="233"/>
                </a:lnTo>
                <a:lnTo>
                  <a:pt x="95" y="231"/>
                </a:lnTo>
                <a:lnTo>
                  <a:pt x="95" y="229"/>
                </a:lnTo>
                <a:lnTo>
                  <a:pt x="95" y="227"/>
                </a:lnTo>
                <a:lnTo>
                  <a:pt x="97" y="227"/>
                </a:lnTo>
                <a:lnTo>
                  <a:pt x="97" y="229"/>
                </a:lnTo>
                <a:lnTo>
                  <a:pt x="97" y="227"/>
                </a:lnTo>
                <a:lnTo>
                  <a:pt x="95" y="227"/>
                </a:lnTo>
                <a:lnTo>
                  <a:pt x="97" y="227"/>
                </a:lnTo>
                <a:lnTo>
                  <a:pt x="95" y="227"/>
                </a:lnTo>
                <a:lnTo>
                  <a:pt x="94" y="227"/>
                </a:lnTo>
                <a:lnTo>
                  <a:pt x="95" y="227"/>
                </a:lnTo>
                <a:lnTo>
                  <a:pt x="94" y="227"/>
                </a:lnTo>
                <a:lnTo>
                  <a:pt x="95" y="227"/>
                </a:lnTo>
                <a:lnTo>
                  <a:pt x="95" y="225"/>
                </a:lnTo>
                <a:lnTo>
                  <a:pt x="95" y="223"/>
                </a:lnTo>
                <a:lnTo>
                  <a:pt x="95" y="221"/>
                </a:lnTo>
                <a:lnTo>
                  <a:pt x="95" y="223"/>
                </a:lnTo>
                <a:lnTo>
                  <a:pt x="97" y="223"/>
                </a:lnTo>
                <a:lnTo>
                  <a:pt x="97" y="221"/>
                </a:lnTo>
                <a:lnTo>
                  <a:pt x="95" y="221"/>
                </a:lnTo>
                <a:lnTo>
                  <a:pt x="97" y="221"/>
                </a:lnTo>
                <a:lnTo>
                  <a:pt x="95" y="221"/>
                </a:lnTo>
                <a:lnTo>
                  <a:pt x="97" y="221"/>
                </a:lnTo>
                <a:lnTo>
                  <a:pt x="95" y="221"/>
                </a:lnTo>
                <a:lnTo>
                  <a:pt x="97" y="221"/>
                </a:lnTo>
                <a:lnTo>
                  <a:pt x="95" y="221"/>
                </a:lnTo>
                <a:lnTo>
                  <a:pt x="97" y="221"/>
                </a:lnTo>
                <a:lnTo>
                  <a:pt x="97" y="219"/>
                </a:lnTo>
                <a:lnTo>
                  <a:pt x="97" y="221"/>
                </a:lnTo>
                <a:lnTo>
                  <a:pt x="97" y="219"/>
                </a:lnTo>
                <a:lnTo>
                  <a:pt x="97" y="217"/>
                </a:lnTo>
                <a:lnTo>
                  <a:pt x="97" y="215"/>
                </a:lnTo>
                <a:lnTo>
                  <a:pt x="99" y="215"/>
                </a:lnTo>
                <a:lnTo>
                  <a:pt x="97" y="215"/>
                </a:lnTo>
                <a:lnTo>
                  <a:pt x="99" y="215"/>
                </a:lnTo>
                <a:lnTo>
                  <a:pt x="97" y="215"/>
                </a:lnTo>
                <a:lnTo>
                  <a:pt x="99" y="215"/>
                </a:lnTo>
                <a:lnTo>
                  <a:pt x="97" y="215"/>
                </a:lnTo>
                <a:lnTo>
                  <a:pt x="97" y="213"/>
                </a:lnTo>
                <a:lnTo>
                  <a:pt x="97" y="212"/>
                </a:lnTo>
                <a:lnTo>
                  <a:pt x="97" y="210"/>
                </a:lnTo>
                <a:lnTo>
                  <a:pt x="99" y="210"/>
                </a:lnTo>
                <a:lnTo>
                  <a:pt x="97" y="210"/>
                </a:lnTo>
                <a:lnTo>
                  <a:pt x="97" y="208"/>
                </a:lnTo>
                <a:lnTo>
                  <a:pt x="97" y="206"/>
                </a:lnTo>
                <a:lnTo>
                  <a:pt x="97" y="204"/>
                </a:lnTo>
                <a:lnTo>
                  <a:pt x="95" y="204"/>
                </a:lnTo>
                <a:lnTo>
                  <a:pt x="95" y="206"/>
                </a:lnTo>
                <a:lnTo>
                  <a:pt x="95" y="204"/>
                </a:lnTo>
                <a:lnTo>
                  <a:pt x="95" y="202"/>
                </a:lnTo>
                <a:lnTo>
                  <a:pt x="95" y="200"/>
                </a:lnTo>
                <a:lnTo>
                  <a:pt x="95" y="202"/>
                </a:lnTo>
                <a:lnTo>
                  <a:pt x="95" y="200"/>
                </a:lnTo>
                <a:lnTo>
                  <a:pt x="94" y="200"/>
                </a:lnTo>
                <a:lnTo>
                  <a:pt x="94" y="202"/>
                </a:lnTo>
                <a:lnTo>
                  <a:pt x="94" y="200"/>
                </a:lnTo>
                <a:lnTo>
                  <a:pt x="94" y="202"/>
                </a:lnTo>
                <a:lnTo>
                  <a:pt x="94" y="200"/>
                </a:lnTo>
                <a:lnTo>
                  <a:pt x="92" y="200"/>
                </a:lnTo>
                <a:lnTo>
                  <a:pt x="92" y="198"/>
                </a:lnTo>
                <a:lnTo>
                  <a:pt x="92" y="200"/>
                </a:lnTo>
                <a:lnTo>
                  <a:pt x="92" y="198"/>
                </a:lnTo>
                <a:lnTo>
                  <a:pt x="92" y="200"/>
                </a:lnTo>
                <a:lnTo>
                  <a:pt x="90" y="200"/>
                </a:lnTo>
                <a:lnTo>
                  <a:pt x="92" y="200"/>
                </a:lnTo>
                <a:lnTo>
                  <a:pt x="94" y="200"/>
                </a:lnTo>
                <a:lnTo>
                  <a:pt x="92" y="200"/>
                </a:lnTo>
                <a:lnTo>
                  <a:pt x="90" y="200"/>
                </a:lnTo>
                <a:lnTo>
                  <a:pt x="92" y="200"/>
                </a:lnTo>
                <a:lnTo>
                  <a:pt x="90" y="200"/>
                </a:lnTo>
                <a:lnTo>
                  <a:pt x="88" y="200"/>
                </a:lnTo>
                <a:lnTo>
                  <a:pt x="86" y="200"/>
                </a:lnTo>
                <a:lnTo>
                  <a:pt x="86" y="198"/>
                </a:lnTo>
                <a:lnTo>
                  <a:pt x="84" y="198"/>
                </a:lnTo>
                <a:lnTo>
                  <a:pt x="86" y="198"/>
                </a:lnTo>
                <a:lnTo>
                  <a:pt x="86" y="200"/>
                </a:lnTo>
                <a:lnTo>
                  <a:pt x="86" y="202"/>
                </a:lnTo>
                <a:lnTo>
                  <a:pt x="86" y="200"/>
                </a:lnTo>
                <a:lnTo>
                  <a:pt x="86" y="202"/>
                </a:lnTo>
                <a:lnTo>
                  <a:pt x="86" y="200"/>
                </a:lnTo>
                <a:lnTo>
                  <a:pt x="86" y="202"/>
                </a:lnTo>
                <a:lnTo>
                  <a:pt x="86" y="200"/>
                </a:lnTo>
                <a:lnTo>
                  <a:pt x="86" y="202"/>
                </a:lnTo>
                <a:lnTo>
                  <a:pt x="84" y="202"/>
                </a:lnTo>
                <a:lnTo>
                  <a:pt x="84" y="204"/>
                </a:lnTo>
                <a:lnTo>
                  <a:pt x="82" y="204"/>
                </a:lnTo>
                <a:lnTo>
                  <a:pt x="84" y="204"/>
                </a:lnTo>
                <a:lnTo>
                  <a:pt x="82" y="204"/>
                </a:lnTo>
                <a:lnTo>
                  <a:pt x="82" y="202"/>
                </a:lnTo>
                <a:lnTo>
                  <a:pt x="82" y="204"/>
                </a:lnTo>
                <a:lnTo>
                  <a:pt x="82" y="202"/>
                </a:lnTo>
                <a:lnTo>
                  <a:pt x="80" y="202"/>
                </a:lnTo>
                <a:lnTo>
                  <a:pt x="78" y="202"/>
                </a:lnTo>
                <a:lnTo>
                  <a:pt x="78" y="200"/>
                </a:lnTo>
                <a:lnTo>
                  <a:pt x="78" y="202"/>
                </a:lnTo>
                <a:lnTo>
                  <a:pt x="76" y="202"/>
                </a:lnTo>
                <a:lnTo>
                  <a:pt x="76" y="200"/>
                </a:lnTo>
                <a:lnTo>
                  <a:pt x="76" y="202"/>
                </a:lnTo>
                <a:lnTo>
                  <a:pt x="76" y="200"/>
                </a:lnTo>
                <a:lnTo>
                  <a:pt x="76" y="202"/>
                </a:lnTo>
                <a:lnTo>
                  <a:pt x="76" y="200"/>
                </a:lnTo>
                <a:lnTo>
                  <a:pt x="76" y="202"/>
                </a:lnTo>
                <a:lnTo>
                  <a:pt x="78" y="202"/>
                </a:lnTo>
                <a:lnTo>
                  <a:pt x="80" y="202"/>
                </a:lnTo>
                <a:lnTo>
                  <a:pt x="80" y="204"/>
                </a:lnTo>
                <a:lnTo>
                  <a:pt x="82" y="204"/>
                </a:lnTo>
                <a:lnTo>
                  <a:pt x="80" y="204"/>
                </a:lnTo>
                <a:lnTo>
                  <a:pt x="78" y="204"/>
                </a:lnTo>
                <a:lnTo>
                  <a:pt x="78" y="202"/>
                </a:lnTo>
                <a:lnTo>
                  <a:pt x="78" y="204"/>
                </a:lnTo>
                <a:lnTo>
                  <a:pt x="78" y="202"/>
                </a:lnTo>
                <a:lnTo>
                  <a:pt x="76" y="202"/>
                </a:lnTo>
                <a:lnTo>
                  <a:pt x="76" y="204"/>
                </a:lnTo>
                <a:lnTo>
                  <a:pt x="74" y="204"/>
                </a:lnTo>
                <a:lnTo>
                  <a:pt x="74" y="202"/>
                </a:lnTo>
                <a:lnTo>
                  <a:pt x="72" y="202"/>
                </a:lnTo>
                <a:lnTo>
                  <a:pt x="74" y="202"/>
                </a:lnTo>
                <a:lnTo>
                  <a:pt x="72" y="202"/>
                </a:lnTo>
                <a:lnTo>
                  <a:pt x="74" y="202"/>
                </a:lnTo>
                <a:lnTo>
                  <a:pt x="74" y="200"/>
                </a:lnTo>
                <a:lnTo>
                  <a:pt x="72" y="200"/>
                </a:lnTo>
                <a:lnTo>
                  <a:pt x="74" y="200"/>
                </a:lnTo>
                <a:lnTo>
                  <a:pt x="72" y="200"/>
                </a:lnTo>
                <a:lnTo>
                  <a:pt x="72" y="202"/>
                </a:lnTo>
                <a:lnTo>
                  <a:pt x="72" y="200"/>
                </a:lnTo>
                <a:lnTo>
                  <a:pt x="71" y="200"/>
                </a:lnTo>
                <a:lnTo>
                  <a:pt x="69" y="200"/>
                </a:lnTo>
                <a:lnTo>
                  <a:pt x="67" y="200"/>
                </a:lnTo>
                <a:lnTo>
                  <a:pt x="69" y="200"/>
                </a:lnTo>
                <a:lnTo>
                  <a:pt x="67" y="200"/>
                </a:lnTo>
                <a:lnTo>
                  <a:pt x="69" y="200"/>
                </a:lnTo>
                <a:lnTo>
                  <a:pt x="67" y="200"/>
                </a:lnTo>
                <a:lnTo>
                  <a:pt x="65" y="200"/>
                </a:lnTo>
                <a:lnTo>
                  <a:pt x="63" y="200"/>
                </a:lnTo>
                <a:lnTo>
                  <a:pt x="61" y="200"/>
                </a:lnTo>
                <a:lnTo>
                  <a:pt x="63" y="200"/>
                </a:lnTo>
                <a:lnTo>
                  <a:pt x="65" y="200"/>
                </a:lnTo>
                <a:lnTo>
                  <a:pt x="65" y="198"/>
                </a:lnTo>
                <a:lnTo>
                  <a:pt x="65" y="200"/>
                </a:lnTo>
                <a:lnTo>
                  <a:pt x="65" y="198"/>
                </a:lnTo>
                <a:lnTo>
                  <a:pt x="65" y="200"/>
                </a:lnTo>
                <a:lnTo>
                  <a:pt x="65" y="198"/>
                </a:lnTo>
                <a:lnTo>
                  <a:pt x="67" y="198"/>
                </a:lnTo>
                <a:lnTo>
                  <a:pt x="65" y="198"/>
                </a:lnTo>
                <a:lnTo>
                  <a:pt x="65" y="200"/>
                </a:lnTo>
                <a:lnTo>
                  <a:pt x="67" y="200"/>
                </a:lnTo>
                <a:lnTo>
                  <a:pt x="67" y="198"/>
                </a:lnTo>
                <a:lnTo>
                  <a:pt x="69" y="198"/>
                </a:lnTo>
                <a:lnTo>
                  <a:pt x="71" y="198"/>
                </a:lnTo>
                <a:lnTo>
                  <a:pt x="72" y="198"/>
                </a:lnTo>
                <a:lnTo>
                  <a:pt x="72" y="200"/>
                </a:lnTo>
                <a:lnTo>
                  <a:pt x="72" y="198"/>
                </a:lnTo>
                <a:lnTo>
                  <a:pt x="72" y="200"/>
                </a:lnTo>
                <a:lnTo>
                  <a:pt x="72" y="198"/>
                </a:lnTo>
                <a:lnTo>
                  <a:pt x="72" y="200"/>
                </a:lnTo>
                <a:lnTo>
                  <a:pt x="72" y="198"/>
                </a:lnTo>
                <a:lnTo>
                  <a:pt x="72" y="200"/>
                </a:lnTo>
                <a:lnTo>
                  <a:pt x="74" y="200"/>
                </a:lnTo>
                <a:lnTo>
                  <a:pt x="74" y="198"/>
                </a:lnTo>
                <a:lnTo>
                  <a:pt x="72" y="198"/>
                </a:lnTo>
                <a:lnTo>
                  <a:pt x="74" y="198"/>
                </a:lnTo>
                <a:lnTo>
                  <a:pt x="72" y="198"/>
                </a:lnTo>
                <a:lnTo>
                  <a:pt x="71" y="198"/>
                </a:lnTo>
                <a:lnTo>
                  <a:pt x="71" y="196"/>
                </a:lnTo>
                <a:lnTo>
                  <a:pt x="69" y="196"/>
                </a:lnTo>
                <a:lnTo>
                  <a:pt x="67" y="196"/>
                </a:lnTo>
                <a:lnTo>
                  <a:pt x="67" y="198"/>
                </a:lnTo>
                <a:lnTo>
                  <a:pt x="65" y="198"/>
                </a:lnTo>
                <a:lnTo>
                  <a:pt x="63" y="198"/>
                </a:lnTo>
                <a:lnTo>
                  <a:pt x="61" y="198"/>
                </a:lnTo>
                <a:lnTo>
                  <a:pt x="61" y="200"/>
                </a:lnTo>
                <a:lnTo>
                  <a:pt x="61" y="198"/>
                </a:lnTo>
                <a:lnTo>
                  <a:pt x="61" y="200"/>
                </a:lnTo>
                <a:lnTo>
                  <a:pt x="59" y="200"/>
                </a:lnTo>
                <a:lnTo>
                  <a:pt x="59" y="202"/>
                </a:lnTo>
                <a:lnTo>
                  <a:pt x="57" y="202"/>
                </a:lnTo>
                <a:lnTo>
                  <a:pt x="57" y="200"/>
                </a:lnTo>
                <a:lnTo>
                  <a:pt x="57" y="202"/>
                </a:lnTo>
                <a:lnTo>
                  <a:pt x="55" y="202"/>
                </a:lnTo>
                <a:lnTo>
                  <a:pt x="55" y="204"/>
                </a:lnTo>
                <a:lnTo>
                  <a:pt x="55" y="202"/>
                </a:lnTo>
                <a:lnTo>
                  <a:pt x="55" y="204"/>
                </a:lnTo>
                <a:lnTo>
                  <a:pt x="55" y="202"/>
                </a:lnTo>
                <a:lnTo>
                  <a:pt x="55" y="204"/>
                </a:lnTo>
                <a:lnTo>
                  <a:pt x="53" y="204"/>
                </a:lnTo>
                <a:lnTo>
                  <a:pt x="53" y="206"/>
                </a:lnTo>
                <a:lnTo>
                  <a:pt x="53" y="204"/>
                </a:lnTo>
                <a:lnTo>
                  <a:pt x="53" y="206"/>
                </a:lnTo>
                <a:lnTo>
                  <a:pt x="51" y="206"/>
                </a:lnTo>
                <a:lnTo>
                  <a:pt x="51" y="208"/>
                </a:lnTo>
                <a:lnTo>
                  <a:pt x="49" y="208"/>
                </a:lnTo>
                <a:lnTo>
                  <a:pt x="51" y="208"/>
                </a:lnTo>
                <a:lnTo>
                  <a:pt x="49" y="208"/>
                </a:lnTo>
                <a:lnTo>
                  <a:pt x="51" y="208"/>
                </a:lnTo>
                <a:lnTo>
                  <a:pt x="49" y="208"/>
                </a:lnTo>
                <a:lnTo>
                  <a:pt x="49" y="210"/>
                </a:lnTo>
                <a:lnTo>
                  <a:pt x="47" y="210"/>
                </a:lnTo>
                <a:lnTo>
                  <a:pt x="49" y="210"/>
                </a:lnTo>
                <a:lnTo>
                  <a:pt x="49" y="212"/>
                </a:lnTo>
                <a:lnTo>
                  <a:pt x="47" y="212"/>
                </a:lnTo>
                <a:lnTo>
                  <a:pt x="47" y="210"/>
                </a:lnTo>
                <a:lnTo>
                  <a:pt x="47" y="212"/>
                </a:lnTo>
                <a:lnTo>
                  <a:pt x="47" y="213"/>
                </a:lnTo>
                <a:lnTo>
                  <a:pt x="47" y="212"/>
                </a:lnTo>
                <a:lnTo>
                  <a:pt x="46" y="212"/>
                </a:lnTo>
                <a:lnTo>
                  <a:pt x="46" y="213"/>
                </a:lnTo>
                <a:lnTo>
                  <a:pt x="46" y="215"/>
                </a:lnTo>
                <a:lnTo>
                  <a:pt x="44" y="215"/>
                </a:lnTo>
                <a:lnTo>
                  <a:pt x="46" y="215"/>
                </a:lnTo>
                <a:lnTo>
                  <a:pt x="44" y="215"/>
                </a:lnTo>
                <a:lnTo>
                  <a:pt x="44" y="213"/>
                </a:lnTo>
                <a:lnTo>
                  <a:pt x="42" y="213"/>
                </a:lnTo>
                <a:lnTo>
                  <a:pt x="44" y="213"/>
                </a:lnTo>
                <a:lnTo>
                  <a:pt x="42" y="213"/>
                </a:lnTo>
                <a:lnTo>
                  <a:pt x="44" y="213"/>
                </a:lnTo>
                <a:lnTo>
                  <a:pt x="44" y="215"/>
                </a:lnTo>
                <a:lnTo>
                  <a:pt x="42" y="215"/>
                </a:lnTo>
                <a:lnTo>
                  <a:pt x="42" y="213"/>
                </a:lnTo>
                <a:lnTo>
                  <a:pt x="40" y="213"/>
                </a:lnTo>
                <a:lnTo>
                  <a:pt x="42" y="213"/>
                </a:lnTo>
                <a:lnTo>
                  <a:pt x="40" y="213"/>
                </a:lnTo>
                <a:lnTo>
                  <a:pt x="42" y="213"/>
                </a:lnTo>
                <a:lnTo>
                  <a:pt x="40" y="213"/>
                </a:lnTo>
                <a:lnTo>
                  <a:pt x="40" y="212"/>
                </a:lnTo>
                <a:lnTo>
                  <a:pt x="40" y="213"/>
                </a:lnTo>
                <a:lnTo>
                  <a:pt x="40" y="212"/>
                </a:lnTo>
                <a:lnTo>
                  <a:pt x="40" y="213"/>
                </a:lnTo>
                <a:lnTo>
                  <a:pt x="40" y="212"/>
                </a:lnTo>
                <a:lnTo>
                  <a:pt x="38" y="212"/>
                </a:lnTo>
                <a:lnTo>
                  <a:pt x="40" y="212"/>
                </a:lnTo>
                <a:lnTo>
                  <a:pt x="38" y="212"/>
                </a:lnTo>
                <a:lnTo>
                  <a:pt x="40" y="212"/>
                </a:lnTo>
                <a:lnTo>
                  <a:pt x="38" y="212"/>
                </a:lnTo>
                <a:lnTo>
                  <a:pt x="38" y="213"/>
                </a:lnTo>
                <a:lnTo>
                  <a:pt x="40" y="213"/>
                </a:lnTo>
                <a:lnTo>
                  <a:pt x="40" y="215"/>
                </a:lnTo>
                <a:lnTo>
                  <a:pt x="40" y="213"/>
                </a:lnTo>
                <a:lnTo>
                  <a:pt x="40" y="215"/>
                </a:lnTo>
                <a:lnTo>
                  <a:pt x="42" y="215"/>
                </a:lnTo>
                <a:lnTo>
                  <a:pt x="40" y="215"/>
                </a:lnTo>
                <a:lnTo>
                  <a:pt x="40" y="213"/>
                </a:lnTo>
                <a:lnTo>
                  <a:pt x="38" y="213"/>
                </a:lnTo>
                <a:lnTo>
                  <a:pt x="40" y="213"/>
                </a:lnTo>
                <a:lnTo>
                  <a:pt x="38" y="213"/>
                </a:lnTo>
                <a:lnTo>
                  <a:pt x="40" y="213"/>
                </a:lnTo>
                <a:lnTo>
                  <a:pt x="40" y="215"/>
                </a:lnTo>
                <a:lnTo>
                  <a:pt x="38" y="215"/>
                </a:lnTo>
                <a:lnTo>
                  <a:pt x="40" y="215"/>
                </a:lnTo>
                <a:lnTo>
                  <a:pt x="40" y="217"/>
                </a:lnTo>
                <a:lnTo>
                  <a:pt x="38" y="215"/>
                </a:lnTo>
                <a:lnTo>
                  <a:pt x="38" y="213"/>
                </a:lnTo>
                <a:lnTo>
                  <a:pt x="38" y="212"/>
                </a:lnTo>
                <a:lnTo>
                  <a:pt x="36" y="212"/>
                </a:lnTo>
                <a:lnTo>
                  <a:pt x="34" y="212"/>
                </a:lnTo>
                <a:lnTo>
                  <a:pt x="34" y="210"/>
                </a:lnTo>
                <a:lnTo>
                  <a:pt x="32" y="210"/>
                </a:lnTo>
                <a:lnTo>
                  <a:pt x="30" y="210"/>
                </a:lnTo>
                <a:lnTo>
                  <a:pt x="30" y="208"/>
                </a:lnTo>
                <a:lnTo>
                  <a:pt x="30" y="210"/>
                </a:lnTo>
                <a:lnTo>
                  <a:pt x="30" y="208"/>
                </a:lnTo>
                <a:lnTo>
                  <a:pt x="28" y="208"/>
                </a:lnTo>
                <a:lnTo>
                  <a:pt x="30" y="208"/>
                </a:lnTo>
                <a:lnTo>
                  <a:pt x="28" y="208"/>
                </a:lnTo>
                <a:lnTo>
                  <a:pt x="28" y="206"/>
                </a:lnTo>
                <a:lnTo>
                  <a:pt x="28" y="204"/>
                </a:lnTo>
                <a:lnTo>
                  <a:pt x="30" y="204"/>
                </a:lnTo>
                <a:lnTo>
                  <a:pt x="32" y="206"/>
                </a:lnTo>
                <a:lnTo>
                  <a:pt x="34" y="206"/>
                </a:lnTo>
                <a:lnTo>
                  <a:pt x="36" y="206"/>
                </a:lnTo>
                <a:lnTo>
                  <a:pt x="36" y="204"/>
                </a:lnTo>
                <a:lnTo>
                  <a:pt x="36" y="202"/>
                </a:lnTo>
                <a:lnTo>
                  <a:pt x="34" y="202"/>
                </a:lnTo>
                <a:lnTo>
                  <a:pt x="32" y="198"/>
                </a:lnTo>
                <a:lnTo>
                  <a:pt x="30" y="198"/>
                </a:lnTo>
                <a:lnTo>
                  <a:pt x="30" y="196"/>
                </a:lnTo>
                <a:lnTo>
                  <a:pt x="30" y="194"/>
                </a:lnTo>
                <a:lnTo>
                  <a:pt x="30" y="192"/>
                </a:lnTo>
                <a:lnTo>
                  <a:pt x="28" y="190"/>
                </a:lnTo>
                <a:lnTo>
                  <a:pt x="26" y="190"/>
                </a:lnTo>
                <a:lnTo>
                  <a:pt x="26" y="187"/>
                </a:lnTo>
                <a:lnTo>
                  <a:pt x="24" y="185"/>
                </a:lnTo>
                <a:lnTo>
                  <a:pt x="23" y="185"/>
                </a:lnTo>
                <a:lnTo>
                  <a:pt x="23" y="183"/>
                </a:lnTo>
                <a:lnTo>
                  <a:pt x="21" y="183"/>
                </a:lnTo>
                <a:lnTo>
                  <a:pt x="19" y="183"/>
                </a:lnTo>
                <a:lnTo>
                  <a:pt x="17" y="183"/>
                </a:lnTo>
                <a:lnTo>
                  <a:pt x="15" y="183"/>
                </a:lnTo>
                <a:lnTo>
                  <a:pt x="13" y="183"/>
                </a:lnTo>
                <a:lnTo>
                  <a:pt x="13" y="181"/>
                </a:lnTo>
                <a:lnTo>
                  <a:pt x="13" y="183"/>
                </a:lnTo>
                <a:lnTo>
                  <a:pt x="13" y="185"/>
                </a:lnTo>
                <a:lnTo>
                  <a:pt x="11" y="185"/>
                </a:lnTo>
                <a:lnTo>
                  <a:pt x="11" y="183"/>
                </a:lnTo>
                <a:lnTo>
                  <a:pt x="9" y="183"/>
                </a:lnTo>
                <a:lnTo>
                  <a:pt x="9" y="181"/>
                </a:lnTo>
                <a:lnTo>
                  <a:pt x="7" y="179"/>
                </a:lnTo>
                <a:lnTo>
                  <a:pt x="7" y="177"/>
                </a:lnTo>
                <a:lnTo>
                  <a:pt x="9" y="177"/>
                </a:lnTo>
                <a:lnTo>
                  <a:pt x="9" y="175"/>
                </a:lnTo>
                <a:lnTo>
                  <a:pt x="7" y="175"/>
                </a:lnTo>
                <a:lnTo>
                  <a:pt x="9" y="175"/>
                </a:lnTo>
                <a:lnTo>
                  <a:pt x="7" y="173"/>
                </a:lnTo>
                <a:lnTo>
                  <a:pt x="7" y="171"/>
                </a:lnTo>
                <a:lnTo>
                  <a:pt x="5" y="171"/>
                </a:lnTo>
                <a:lnTo>
                  <a:pt x="3" y="169"/>
                </a:lnTo>
                <a:lnTo>
                  <a:pt x="1" y="169"/>
                </a:lnTo>
                <a:lnTo>
                  <a:pt x="0" y="167"/>
                </a:lnTo>
                <a:lnTo>
                  <a:pt x="1" y="164"/>
                </a:lnTo>
                <a:lnTo>
                  <a:pt x="1" y="162"/>
                </a:lnTo>
                <a:lnTo>
                  <a:pt x="1" y="160"/>
                </a:lnTo>
                <a:lnTo>
                  <a:pt x="3" y="158"/>
                </a:lnTo>
                <a:lnTo>
                  <a:pt x="3" y="156"/>
                </a:lnTo>
                <a:lnTo>
                  <a:pt x="5" y="156"/>
                </a:lnTo>
                <a:lnTo>
                  <a:pt x="5" y="154"/>
                </a:lnTo>
                <a:lnTo>
                  <a:pt x="7" y="154"/>
                </a:lnTo>
                <a:lnTo>
                  <a:pt x="7" y="152"/>
                </a:lnTo>
                <a:lnTo>
                  <a:pt x="7" y="150"/>
                </a:lnTo>
                <a:lnTo>
                  <a:pt x="5" y="150"/>
                </a:lnTo>
                <a:lnTo>
                  <a:pt x="5" y="148"/>
                </a:lnTo>
                <a:lnTo>
                  <a:pt x="3" y="148"/>
                </a:lnTo>
                <a:lnTo>
                  <a:pt x="3" y="146"/>
                </a:lnTo>
                <a:lnTo>
                  <a:pt x="3" y="144"/>
                </a:lnTo>
                <a:lnTo>
                  <a:pt x="3" y="142"/>
                </a:lnTo>
                <a:lnTo>
                  <a:pt x="3" y="140"/>
                </a:lnTo>
                <a:lnTo>
                  <a:pt x="5" y="140"/>
                </a:lnTo>
                <a:lnTo>
                  <a:pt x="5" y="139"/>
                </a:lnTo>
                <a:lnTo>
                  <a:pt x="5" y="137"/>
                </a:lnTo>
                <a:lnTo>
                  <a:pt x="5" y="135"/>
                </a:lnTo>
                <a:lnTo>
                  <a:pt x="5" y="137"/>
                </a:lnTo>
                <a:lnTo>
                  <a:pt x="7" y="135"/>
                </a:lnTo>
                <a:lnTo>
                  <a:pt x="9" y="135"/>
                </a:lnTo>
                <a:lnTo>
                  <a:pt x="9" y="133"/>
                </a:lnTo>
                <a:lnTo>
                  <a:pt x="11" y="131"/>
                </a:lnTo>
                <a:lnTo>
                  <a:pt x="11" y="129"/>
                </a:lnTo>
                <a:lnTo>
                  <a:pt x="11" y="127"/>
                </a:lnTo>
                <a:lnTo>
                  <a:pt x="11" y="125"/>
                </a:lnTo>
                <a:lnTo>
                  <a:pt x="13" y="125"/>
                </a:lnTo>
                <a:lnTo>
                  <a:pt x="13" y="123"/>
                </a:lnTo>
                <a:lnTo>
                  <a:pt x="15" y="123"/>
                </a:lnTo>
                <a:lnTo>
                  <a:pt x="17" y="123"/>
                </a:lnTo>
                <a:lnTo>
                  <a:pt x="15" y="123"/>
                </a:lnTo>
                <a:lnTo>
                  <a:pt x="17" y="123"/>
                </a:lnTo>
                <a:lnTo>
                  <a:pt x="17" y="125"/>
                </a:lnTo>
                <a:lnTo>
                  <a:pt x="19" y="125"/>
                </a:lnTo>
                <a:lnTo>
                  <a:pt x="19" y="127"/>
                </a:lnTo>
                <a:lnTo>
                  <a:pt x="21" y="127"/>
                </a:lnTo>
                <a:lnTo>
                  <a:pt x="21" y="129"/>
                </a:lnTo>
                <a:lnTo>
                  <a:pt x="21" y="131"/>
                </a:lnTo>
                <a:lnTo>
                  <a:pt x="23" y="131"/>
                </a:lnTo>
                <a:lnTo>
                  <a:pt x="23" y="133"/>
                </a:lnTo>
                <a:lnTo>
                  <a:pt x="23" y="135"/>
                </a:lnTo>
                <a:lnTo>
                  <a:pt x="24" y="135"/>
                </a:lnTo>
                <a:lnTo>
                  <a:pt x="24" y="137"/>
                </a:lnTo>
                <a:lnTo>
                  <a:pt x="26" y="137"/>
                </a:lnTo>
                <a:lnTo>
                  <a:pt x="28" y="137"/>
                </a:lnTo>
                <a:lnTo>
                  <a:pt x="32" y="135"/>
                </a:lnTo>
                <a:lnTo>
                  <a:pt x="34" y="133"/>
                </a:lnTo>
                <a:lnTo>
                  <a:pt x="34" y="131"/>
                </a:lnTo>
                <a:lnTo>
                  <a:pt x="32" y="131"/>
                </a:lnTo>
                <a:lnTo>
                  <a:pt x="32" y="129"/>
                </a:lnTo>
                <a:lnTo>
                  <a:pt x="32" y="127"/>
                </a:lnTo>
                <a:lnTo>
                  <a:pt x="32" y="125"/>
                </a:lnTo>
                <a:lnTo>
                  <a:pt x="30" y="123"/>
                </a:lnTo>
                <a:lnTo>
                  <a:pt x="30" y="121"/>
                </a:lnTo>
                <a:lnTo>
                  <a:pt x="30" y="119"/>
                </a:lnTo>
                <a:lnTo>
                  <a:pt x="30" y="117"/>
                </a:lnTo>
                <a:lnTo>
                  <a:pt x="30" y="119"/>
                </a:lnTo>
                <a:lnTo>
                  <a:pt x="32" y="119"/>
                </a:lnTo>
                <a:lnTo>
                  <a:pt x="34" y="119"/>
                </a:lnTo>
                <a:lnTo>
                  <a:pt x="34" y="117"/>
                </a:lnTo>
                <a:lnTo>
                  <a:pt x="36" y="117"/>
                </a:lnTo>
                <a:lnTo>
                  <a:pt x="36" y="115"/>
                </a:lnTo>
                <a:lnTo>
                  <a:pt x="38" y="115"/>
                </a:lnTo>
                <a:lnTo>
                  <a:pt x="38" y="114"/>
                </a:lnTo>
                <a:lnTo>
                  <a:pt x="40" y="114"/>
                </a:lnTo>
                <a:lnTo>
                  <a:pt x="42" y="114"/>
                </a:lnTo>
                <a:lnTo>
                  <a:pt x="42" y="112"/>
                </a:lnTo>
                <a:lnTo>
                  <a:pt x="42" y="110"/>
                </a:lnTo>
                <a:lnTo>
                  <a:pt x="40" y="110"/>
                </a:lnTo>
                <a:lnTo>
                  <a:pt x="42" y="110"/>
                </a:lnTo>
                <a:lnTo>
                  <a:pt x="42" y="108"/>
                </a:lnTo>
                <a:lnTo>
                  <a:pt x="44" y="108"/>
                </a:lnTo>
                <a:lnTo>
                  <a:pt x="46" y="108"/>
                </a:lnTo>
                <a:lnTo>
                  <a:pt x="47" y="108"/>
                </a:lnTo>
                <a:lnTo>
                  <a:pt x="47" y="106"/>
                </a:lnTo>
                <a:lnTo>
                  <a:pt x="49" y="106"/>
                </a:lnTo>
                <a:lnTo>
                  <a:pt x="49" y="104"/>
                </a:lnTo>
                <a:lnTo>
                  <a:pt x="51" y="104"/>
                </a:lnTo>
                <a:lnTo>
                  <a:pt x="53" y="104"/>
                </a:lnTo>
                <a:lnTo>
                  <a:pt x="53" y="102"/>
                </a:lnTo>
                <a:lnTo>
                  <a:pt x="55" y="102"/>
                </a:lnTo>
                <a:lnTo>
                  <a:pt x="55" y="100"/>
                </a:lnTo>
                <a:lnTo>
                  <a:pt x="57" y="100"/>
                </a:lnTo>
                <a:lnTo>
                  <a:pt x="57" y="98"/>
                </a:lnTo>
                <a:lnTo>
                  <a:pt x="59" y="98"/>
                </a:lnTo>
                <a:lnTo>
                  <a:pt x="57" y="98"/>
                </a:lnTo>
                <a:lnTo>
                  <a:pt x="59" y="96"/>
                </a:lnTo>
                <a:lnTo>
                  <a:pt x="59" y="94"/>
                </a:lnTo>
                <a:lnTo>
                  <a:pt x="61" y="94"/>
                </a:lnTo>
                <a:lnTo>
                  <a:pt x="61" y="96"/>
                </a:lnTo>
                <a:lnTo>
                  <a:pt x="63" y="96"/>
                </a:lnTo>
                <a:lnTo>
                  <a:pt x="63" y="94"/>
                </a:lnTo>
                <a:lnTo>
                  <a:pt x="63" y="96"/>
                </a:lnTo>
                <a:lnTo>
                  <a:pt x="61" y="96"/>
                </a:lnTo>
                <a:lnTo>
                  <a:pt x="63" y="94"/>
                </a:lnTo>
                <a:lnTo>
                  <a:pt x="61" y="94"/>
                </a:lnTo>
                <a:lnTo>
                  <a:pt x="61" y="92"/>
                </a:lnTo>
                <a:lnTo>
                  <a:pt x="63" y="92"/>
                </a:lnTo>
                <a:lnTo>
                  <a:pt x="63" y="94"/>
                </a:lnTo>
                <a:lnTo>
                  <a:pt x="65" y="94"/>
                </a:lnTo>
                <a:lnTo>
                  <a:pt x="67" y="94"/>
                </a:lnTo>
                <a:lnTo>
                  <a:pt x="69" y="94"/>
                </a:lnTo>
                <a:lnTo>
                  <a:pt x="71" y="94"/>
                </a:lnTo>
                <a:lnTo>
                  <a:pt x="71" y="96"/>
                </a:lnTo>
                <a:lnTo>
                  <a:pt x="69" y="96"/>
                </a:lnTo>
                <a:lnTo>
                  <a:pt x="69" y="98"/>
                </a:lnTo>
                <a:lnTo>
                  <a:pt x="71" y="98"/>
                </a:lnTo>
                <a:lnTo>
                  <a:pt x="72" y="98"/>
                </a:lnTo>
                <a:lnTo>
                  <a:pt x="74" y="98"/>
                </a:lnTo>
                <a:lnTo>
                  <a:pt x="72" y="96"/>
                </a:lnTo>
                <a:lnTo>
                  <a:pt x="74" y="96"/>
                </a:lnTo>
                <a:lnTo>
                  <a:pt x="74" y="98"/>
                </a:lnTo>
                <a:lnTo>
                  <a:pt x="74" y="96"/>
                </a:lnTo>
                <a:lnTo>
                  <a:pt x="74" y="98"/>
                </a:lnTo>
                <a:lnTo>
                  <a:pt x="74" y="100"/>
                </a:lnTo>
                <a:lnTo>
                  <a:pt x="76" y="98"/>
                </a:lnTo>
                <a:lnTo>
                  <a:pt x="76" y="96"/>
                </a:lnTo>
                <a:lnTo>
                  <a:pt x="76" y="94"/>
                </a:lnTo>
                <a:lnTo>
                  <a:pt x="78" y="94"/>
                </a:lnTo>
                <a:lnTo>
                  <a:pt x="80" y="94"/>
                </a:lnTo>
                <a:lnTo>
                  <a:pt x="82" y="94"/>
                </a:lnTo>
                <a:lnTo>
                  <a:pt x="82" y="92"/>
                </a:lnTo>
                <a:lnTo>
                  <a:pt x="84" y="92"/>
                </a:lnTo>
                <a:lnTo>
                  <a:pt x="86" y="92"/>
                </a:lnTo>
                <a:lnTo>
                  <a:pt x="86" y="94"/>
                </a:lnTo>
                <a:lnTo>
                  <a:pt x="86" y="96"/>
                </a:lnTo>
                <a:lnTo>
                  <a:pt x="88" y="96"/>
                </a:lnTo>
                <a:lnTo>
                  <a:pt x="86" y="98"/>
                </a:lnTo>
                <a:lnTo>
                  <a:pt x="88" y="98"/>
                </a:lnTo>
                <a:lnTo>
                  <a:pt x="86" y="98"/>
                </a:lnTo>
                <a:lnTo>
                  <a:pt x="88" y="98"/>
                </a:lnTo>
                <a:lnTo>
                  <a:pt x="88" y="100"/>
                </a:lnTo>
                <a:lnTo>
                  <a:pt x="88" y="98"/>
                </a:lnTo>
                <a:lnTo>
                  <a:pt x="88" y="100"/>
                </a:lnTo>
                <a:lnTo>
                  <a:pt x="88" y="98"/>
                </a:lnTo>
                <a:lnTo>
                  <a:pt x="90" y="98"/>
                </a:lnTo>
                <a:lnTo>
                  <a:pt x="92" y="98"/>
                </a:lnTo>
                <a:lnTo>
                  <a:pt x="94" y="98"/>
                </a:lnTo>
                <a:lnTo>
                  <a:pt x="92" y="98"/>
                </a:lnTo>
                <a:lnTo>
                  <a:pt x="94" y="98"/>
                </a:lnTo>
                <a:lnTo>
                  <a:pt x="94" y="100"/>
                </a:lnTo>
                <a:lnTo>
                  <a:pt x="94" y="98"/>
                </a:lnTo>
                <a:lnTo>
                  <a:pt x="95" y="98"/>
                </a:lnTo>
                <a:lnTo>
                  <a:pt x="97" y="98"/>
                </a:lnTo>
                <a:lnTo>
                  <a:pt x="95" y="98"/>
                </a:lnTo>
                <a:lnTo>
                  <a:pt x="97" y="98"/>
                </a:lnTo>
                <a:lnTo>
                  <a:pt x="99" y="98"/>
                </a:lnTo>
                <a:lnTo>
                  <a:pt x="101" y="98"/>
                </a:lnTo>
                <a:lnTo>
                  <a:pt x="101" y="100"/>
                </a:lnTo>
                <a:lnTo>
                  <a:pt x="103" y="100"/>
                </a:lnTo>
                <a:lnTo>
                  <a:pt x="103" y="102"/>
                </a:lnTo>
                <a:lnTo>
                  <a:pt x="103" y="104"/>
                </a:lnTo>
                <a:lnTo>
                  <a:pt x="103" y="102"/>
                </a:lnTo>
                <a:lnTo>
                  <a:pt x="103" y="104"/>
                </a:lnTo>
                <a:lnTo>
                  <a:pt x="105" y="104"/>
                </a:lnTo>
                <a:lnTo>
                  <a:pt x="103" y="104"/>
                </a:lnTo>
                <a:lnTo>
                  <a:pt x="105" y="104"/>
                </a:lnTo>
                <a:lnTo>
                  <a:pt x="105" y="106"/>
                </a:lnTo>
                <a:lnTo>
                  <a:pt x="105" y="104"/>
                </a:lnTo>
                <a:lnTo>
                  <a:pt x="105" y="106"/>
                </a:lnTo>
                <a:lnTo>
                  <a:pt x="105" y="104"/>
                </a:lnTo>
                <a:lnTo>
                  <a:pt x="105" y="106"/>
                </a:lnTo>
                <a:lnTo>
                  <a:pt x="107" y="106"/>
                </a:lnTo>
                <a:lnTo>
                  <a:pt x="109" y="106"/>
                </a:lnTo>
                <a:lnTo>
                  <a:pt x="109" y="108"/>
                </a:lnTo>
                <a:lnTo>
                  <a:pt x="111" y="108"/>
                </a:lnTo>
                <a:lnTo>
                  <a:pt x="111" y="110"/>
                </a:lnTo>
                <a:lnTo>
                  <a:pt x="111" y="112"/>
                </a:lnTo>
                <a:lnTo>
                  <a:pt x="113" y="112"/>
                </a:lnTo>
                <a:lnTo>
                  <a:pt x="113" y="110"/>
                </a:lnTo>
                <a:lnTo>
                  <a:pt x="113" y="112"/>
                </a:lnTo>
                <a:lnTo>
                  <a:pt x="115" y="112"/>
                </a:lnTo>
                <a:lnTo>
                  <a:pt x="115" y="114"/>
                </a:lnTo>
                <a:lnTo>
                  <a:pt x="117" y="114"/>
                </a:lnTo>
                <a:lnTo>
                  <a:pt x="117" y="115"/>
                </a:lnTo>
                <a:lnTo>
                  <a:pt x="115" y="115"/>
                </a:lnTo>
                <a:lnTo>
                  <a:pt x="115" y="117"/>
                </a:lnTo>
                <a:lnTo>
                  <a:pt x="115" y="119"/>
                </a:lnTo>
                <a:lnTo>
                  <a:pt x="117" y="121"/>
                </a:lnTo>
                <a:lnTo>
                  <a:pt x="117" y="119"/>
                </a:lnTo>
                <a:lnTo>
                  <a:pt x="119" y="119"/>
                </a:lnTo>
                <a:lnTo>
                  <a:pt x="119" y="117"/>
                </a:lnTo>
                <a:lnTo>
                  <a:pt x="119" y="115"/>
                </a:lnTo>
                <a:lnTo>
                  <a:pt x="119" y="114"/>
                </a:lnTo>
                <a:lnTo>
                  <a:pt x="119" y="112"/>
                </a:lnTo>
                <a:lnTo>
                  <a:pt x="117" y="112"/>
                </a:lnTo>
                <a:lnTo>
                  <a:pt x="117" y="110"/>
                </a:lnTo>
                <a:lnTo>
                  <a:pt x="119" y="110"/>
                </a:lnTo>
                <a:lnTo>
                  <a:pt x="117" y="110"/>
                </a:lnTo>
                <a:lnTo>
                  <a:pt x="119" y="110"/>
                </a:lnTo>
                <a:lnTo>
                  <a:pt x="120" y="110"/>
                </a:lnTo>
                <a:lnTo>
                  <a:pt x="119" y="110"/>
                </a:lnTo>
                <a:lnTo>
                  <a:pt x="120" y="110"/>
                </a:lnTo>
                <a:lnTo>
                  <a:pt x="122" y="110"/>
                </a:lnTo>
                <a:lnTo>
                  <a:pt x="122" y="112"/>
                </a:lnTo>
                <a:lnTo>
                  <a:pt x="124" y="112"/>
                </a:lnTo>
                <a:lnTo>
                  <a:pt x="126" y="112"/>
                </a:lnTo>
                <a:lnTo>
                  <a:pt x="124" y="112"/>
                </a:lnTo>
                <a:lnTo>
                  <a:pt x="124" y="114"/>
                </a:lnTo>
                <a:lnTo>
                  <a:pt x="126" y="114"/>
                </a:lnTo>
                <a:lnTo>
                  <a:pt x="126" y="115"/>
                </a:lnTo>
                <a:lnTo>
                  <a:pt x="128" y="117"/>
                </a:lnTo>
                <a:lnTo>
                  <a:pt x="130" y="117"/>
                </a:lnTo>
                <a:lnTo>
                  <a:pt x="132" y="117"/>
                </a:lnTo>
                <a:lnTo>
                  <a:pt x="130" y="117"/>
                </a:lnTo>
                <a:lnTo>
                  <a:pt x="130" y="119"/>
                </a:lnTo>
                <a:lnTo>
                  <a:pt x="132" y="119"/>
                </a:lnTo>
                <a:lnTo>
                  <a:pt x="134" y="119"/>
                </a:lnTo>
                <a:lnTo>
                  <a:pt x="136" y="119"/>
                </a:lnTo>
                <a:lnTo>
                  <a:pt x="136" y="117"/>
                </a:lnTo>
                <a:lnTo>
                  <a:pt x="138" y="117"/>
                </a:lnTo>
                <a:lnTo>
                  <a:pt x="140" y="117"/>
                </a:lnTo>
                <a:lnTo>
                  <a:pt x="140" y="115"/>
                </a:lnTo>
                <a:lnTo>
                  <a:pt x="140" y="114"/>
                </a:lnTo>
                <a:lnTo>
                  <a:pt x="140" y="112"/>
                </a:lnTo>
                <a:lnTo>
                  <a:pt x="142" y="112"/>
                </a:lnTo>
                <a:lnTo>
                  <a:pt x="143" y="112"/>
                </a:lnTo>
                <a:lnTo>
                  <a:pt x="143" y="110"/>
                </a:lnTo>
                <a:lnTo>
                  <a:pt x="145" y="110"/>
                </a:lnTo>
                <a:lnTo>
                  <a:pt x="145" y="108"/>
                </a:lnTo>
                <a:lnTo>
                  <a:pt x="145" y="110"/>
                </a:lnTo>
                <a:lnTo>
                  <a:pt x="145" y="108"/>
                </a:lnTo>
                <a:lnTo>
                  <a:pt x="145" y="110"/>
                </a:lnTo>
                <a:lnTo>
                  <a:pt x="147" y="110"/>
                </a:lnTo>
                <a:lnTo>
                  <a:pt x="149" y="110"/>
                </a:lnTo>
                <a:lnTo>
                  <a:pt x="147" y="108"/>
                </a:lnTo>
                <a:lnTo>
                  <a:pt x="149" y="108"/>
                </a:lnTo>
                <a:lnTo>
                  <a:pt x="151" y="108"/>
                </a:lnTo>
                <a:lnTo>
                  <a:pt x="153" y="108"/>
                </a:lnTo>
                <a:lnTo>
                  <a:pt x="155" y="108"/>
                </a:lnTo>
                <a:lnTo>
                  <a:pt x="155" y="110"/>
                </a:lnTo>
                <a:lnTo>
                  <a:pt x="157" y="110"/>
                </a:lnTo>
                <a:lnTo>
                  <a:pt x="157" y="112"/>
                </a:lnTo>
                <a:lnTo>
                  <a:pt x="159" y="112"/>
                </a:lnTo>
                <a:lnTo>
                  <a:pt x="159" y="114"/>
                </a:lnTo>
                <a:lnTo>
                  <a:pt x="159" y="112"/>
                </a:lnTo>
                <a:lnTo>
                  <a:pt x="161" y="114"/>
                </a:lnTo>
                <a:lnTo>
                  <a:pt x="161" y="112"/>
                </a:lnTo>
                <a:lnTo>
                  <a:pt x="163" y="112"/>
                </a:lnTo>
                <a:lnTo>
                  <a:pt x="165" y="112"/>
                </a:lnTo>
                <a:lnTo>
                  <a:pt x="163" y="112"/>
                </a:lnTo>
                <a:lnTo>
                  <a:pt x="165" y="112"/>
                </a:lnTo>
                <a:lnTo>
                  <a:pt x="165" y="110"/>
                </a:lnTo>
                <a:lnTo>
                  <a:pt x="163" y="110"/>
                </a:lnTo>
                <a:lnTo>
                  <a:pt x="163" y="108"/>
                </a:lnTo>
                <a:lnTo>
                  <a:pt x="165" y="106"/>
                </a:lnTo>
                <a:lnTo>
                  <a:pt x="165" y="108"/>
                </a:lnTo>
                <a:lnTo>
                  <a:pt x="166" y="108"/>
                </a:lnTo>
                <a:lnTo>
                  <a:pt x="168" y="108"/>
                </a:lnTo>
                <a:lnTo>
                  <a:pt x="170" y="108"/>
                </a:lnTo>
                <a:lnTo>
                  <a:pt x="170" y="106"/>
                </a:lnTo>
                <a:lnTo>
                  <a:pt x="172" y="106"/>
                </a:lnTo>
                <a:lnTo>
                  <a:pt x="172" y="108"/>
                </a:lnTo>
                <a:lnTo>
                  <a:pt x="174" y="108"/>
                </a:lnTo>
                <a:lnTo>
                  <a:pt x="176" y="108"/>
                </a:lnTo>
                <a:lnTo>
                  <a:pt x="176" y="110"/>
                </a:lnTo>
                <a:lnTo>
                  <a:pt x="176" y="112"/>
                </a:lnTo>
                <a:lnTo>
                  <a:pt x="176" y="114"/>
                </a:lnTo>
                <a:lnTo>
                  <a:pt x="176" y="112"/>
                </a:lnTo>
                <a:lnTo>
                  <a:pt x="178" y="112"/>
                </a:lnTo>
                <a:lnTo>
                  <a:pt x="178" y="114"/>
                </a:lnTo>
                <a:lnTo>
                  <a:pt x="176" y="114"/>
                </a:lnTo>
                <a:lnTo>
                  <a:pt x="178" y="114"/>
                </a:lnTo>
                <a:lnTo>
                  <a:pt x="178" y="115"/>
                </a:lnTo>
                <a:lnTo>
                  <a:pt x="180" y="115"/>
                </a:lnTo>
                <a:lnTo>
                  <a:pt x="180" y="117"/>
                </a:lnTo>
                <a:lnTo>
                  <a:pt x="182" y="117"/>
                </a:lnTo>
                <a:lnTo>
                  <a:pt x="184" y="117"/>
                </a:lnTo>
                <a:lnTo>
                  <a:pt x="186" y="117"/>
                </a:lnTo>
                <a:lnTo>
                  <a:pt x="188" y="117"/>
                </a:lnTo>
                <a:lnTo>
                  <a:pt x="190" y="117"/>
                </a:lnTo>
                <a:lnTo>
                  <a:pt x="190" y="119"/>
                </a:lnTo>
                <a:lnTo>
                  <a:pt x="188" y="121"/>
                </a:lnTo>
                <a:lnTo>
                  <a:pt x="190" y="121"/>
                </a:lnTo>
                <a:lnTo>
                  <a:pt x="191" y="121"/>
                </a:lnTo>
                <a:lnTo>
                  <a:pt x="193" y="121"/>
                </a:lnTo>
                <a:lnTo>
                  <a:pt x="193" y="119"/>
                </a:lnTo>
                <a:lnTo>
                  <a:pt x="195" y="119"/>
                </a:lnTo>
                <a:lnTo>
                  <a:pt x="195" y="117"/>
                </a:lnTo>
                <a:lnTo>
                  <a:pt x="197" y="117"/>
                </a:lnTo>
                <a:lnTo>
                  <a:pt x="197" y="115"/>
                </a:lnTo>
                <a:lnTo>
                  <a:pt x="195" y="115"/>
                </a:lnTo>
                <a:lnTo>
                  <a:pt x="197" y="115"/>
                </a:lnTo>
                <a:lnTo>
                  <a:pt x="197" y="114"/>
                </a:lnTo>
                <a:lnTo>
                  <a:pt x="199" y="114"/>
                </a:lnTo>
                <a:lnTo>
                  <a:pt x="199" y="115"/>
                </a:lnTo>
                <a:lnTo>
                  <a:pt x="201" y="117"/>
                </a:lnTo>
                <a:lnTo>
                  <a:pt x="203" y="117"/>
                </a:lnTo>
                <a:lnTo>
                  <a:pt x="205" y="117"/>
                </a:lnTo>
                <a:lnTo>
                  <a:pt x="207" y="117"/>
                </a:lnTo>
                <a:lnTo>
                  <a:pt x="209" y="117"/>
                </a:lnTo>
                <a:lnTo>
                  <a:pt x="211" y="117"/>
                </a:lnTo>
                <a:lnTo>
                  <a:pt x="213" y="115"/>
                </a:lnTo>
                <a:lnTo>
                  <a:pt x="214" y="115"/>
                </a:lnTo>
                <a:lnTo>
                  <a:pt x="216" y="115"/>
                </a:lnTo>
                <a:lnTo>
                  <a:pt x="218" y="114"/>
                </a:lnTo>
                <a:lnTo>
                  <a:pt x="218" y="112"/>
                </a:lnTo>
                <a:lnTo>
                  <a:pt x="218" y="110"/>
                </a:lnTo>
                <a:lnTo>
                  <a:pt x="218" y="108"/>
                </a:lnTo>
                <a:lnTo>
                  <a:pt x="220" y="104"/>
                </a:lnTo>
                <a:lnTo>
                  <a:pt x="222" y="104"/>
                </a:lnTo>
                <a:lnTo>
                  <a:pt x="220" y="102"/>
                </a:lnTo>
                <a:lnTo>
                  <a:pt x="218" y="102"/>
                </a:lnTo>
                <a:lnTo>
                  <a:pt x="218" y="100"/>
                </a:lnTo>
                <a:lnTo>
                  <a:pt x="216" y="100"/>
                </a:lnTo>
                <a:lnTo>
                  <a:pt x="214" y="100"/>
                </a:lnTo>
                <a:lnTo>
                  <a:pt x="214" y="98"/>
                </a:lnTo>
                <a:lnTo>
                  <a:pt x="214" y="100"/>
                </a:lnTo>
                <a:lnTo>
                  <a:pt x="213" y="100"/>
                </a:lnTo>
                <a:lnTo>
                  <a:pt x="213" y="98"/>
                </a:lnTo>
                <a:lnTo>
                  <a:pt x="213" y="100"/>
                </a:lnTo>
                <a:lnTo>
                  <a:pt x="213" y="98"/>
                </a:lnTo>
                <a:lnTo>
                  <a:pt x="213" y="100"/>
                </a:lnTo>
                <a:lnTo>
                  <a:pt x="213" y="98"/>
                </a:lnTo>
                <a:lnTo>
                  <a:pt x="213" y="100"/>
                </a:lnTo>
                <a:lnTo>
                  <a:pt x="213" y="98"/>
                </a:lnTo>
                <a:lnTo>
                  <a:pt x="211" y="98"/>
                </a:lnTo>
                <a:lnTo>
                  <a:pt x="211" y="96"/>
                </a:lnTo>
                <a:lnTo>
                  <a:pt x="209" y="96"/>
                </a:lnTo>
                <a:lnTo>
                  <a:pt x="205" y="96"/>
                </a:lnTo>
                <a:lnTo>
                  <a:pt x="205" y="94"/>
                </a:lnTo>
                <a:lnTo>
                  <a:pt x="203" y="94"/>
                </a:lnTo>
                <a:lnTo>
                  <a:pt x="201" y="94"/>
                </a:lnTo>
                <a:lnTo>
                  <a:pt x="203" y="94"/>
                </a:lnTo>
                <a:lnTo>
                  <a:pt x="203" y="92"/>
                </a:lnTo>
                <a:lnTo>
                  <a:pt x="205" y="92"/>
                </a:lnTo>
                <a:lnTo>
                  <a:pt x="205" y="91"/>
                </a:lnTo>
                <a:lnTo>
                  <a:pt x="203" y="91"/>
                </a:lnTo>
                <a:lnTo>
                  <a:pt x="201" y="91"/>
                </a:lnTo>
                <a:lnTo>
                  <a:pt x="199" y="89"/>
                </a:lnTo>
                <a:lnTo>
                  <a:pt x="199" y="91"/>
                </a:lnTo>
                <a:lnTo>
                  <a:pt x="199" y="89"/>
                </a:lnTo>
                <a:lnTo>
                  <a:pt x="197" y="89"/>
                </a:lnTo>
                <a:lnTo>
                  <a:pt x="197" y="87"/>
                </a:lnTo>
                <a:lnTo>
                  <a:pt x="199" y="87"/>
                </a:lnTo>
                <a:lnTo>
                  <a:pt x="201" y="87"/>
                </a:lnTo>
                <a:lnTo>
                  <a:pt x="201" y="85"/>
                </a:lnTo>
                <a:lnTo>
                  <a:pt x="203" y="83"/>
                </a:lnTo>
                <a:lnTo>
                  <a:pt x="205" y="83"/>
                </a:lnTo>
                <a:lnTo>
                  <a:pt x="207" y="83"/>
                </a:lnTo>
                <a:lnTo>
                  <a:pt x="207" y="81"/>
                </a:lnTo>
                <a:lnTo>
                  <a:pt x="209" y="81"/>
                </a:lnTo>
                <a:lnTo>
                  <a:pt x="211" y="81"/>
                </a:lnTo>
                <a:lnTo>
                  <a:pt x="211" y="79"/>
                </a:lnTo>
                <a:lnTo>
                  <a:pt x="213" y="79"/>
                </a:lnTo>
                <a:lnTo>
                  <a:pt x="213" y="77"/>
                </a:lnTo>
                <a:lnTo>
                  <a:pt x="211" y="77"/>
                </a:lnTo>
                <a:lnTo>
                  <a:pt x="211" y="75"/>
                </a:lnTo>
                <a:lnTo>
                  <a:pt x="211" y="73"/>
                </a:lnTo>
                <a:lnTo>
                  <a:pt x="209" y="73"/>
                </a:lnTo>
                <a:lnTo>
                  <a:pt x="209" y="71"/>
                </a:lnTo>
                <a:lnTo>
                  <a:pt x="207" y="71"/>
                </a:lnTo>
                <a:lnTo>
                  <a:pt x="207" y="69"/>
                </a:lnTo>
                <a:lnTo>
                  <a:pt x="207" y="67"/>
                </a:lnTo>
                <a:lnTo>
                  <a:pt x="209" y="67"/>
                </a:lnTo>
                <a:lnTo>
                  <a:pt x="209" y="66"/>
                </a:lnTo>
                <a:lnTo>
                  <a:pt x="211" y="66"/>
                </a:lnTo>
                <a:lnTo>
                  <a:pt x="213" y="66"/>
                </a:lnTo>
                <a:lnTo>
                  <a:pt x="213" y="64"/>
                </a:lnTo>
                <a:lnTo>
                  <a:pt x="211" y="64"/>
                </a:lnTo>
                <a:lnTo>
                  <a:pt x="213" y="64"/>
                </a:lnTo>
                <a:lnTo>
                  <a:pt x="213" y="62"/>
                </a:lnTo>
                <a:lnTo>
                  <a:pt x="214" y="62"/>
                </a:lnTo>
                <a:lnTo>
                  <a:pt x="216" y="62"/>
                </a:lnTo>
                <a:lnTo>
                  <a:pt x="218" y="62"/>
                </a:lnTo>
                <a:lnTo>
                  <a:pt x="220" y="62"/>
                </a:lnTo>
                <a:lnTo>
                  <a:pt x="220" y="64"/>
                </a:lnTo>
                <a:lnTo>
                  <a:pt x="222" y="62"/>
                </a:lnTo>
                <a:lnTo>
                  <a:pt x="224" y="62"/>
                </a:lnTo>
                <a:lnTo>
                  <a:pt x="226" y="64"/>
                </a:lnTo>
                <a:lnTo>
                  <a:pt x="228" y="62"/>
                </a:lnTo>
                <a:lnTo>
                  <a:pt x="228" y="60"/>
                </a:lnTo>
                <a:lnTo>
                  <a:pt x="226" y="58"/>
                </a:lnTo>
                <a:lnTo>
                  <a:pt x="224" y="58"/>
                </a:lnTo>
                <a:lnTo>
                  <a:pt x="222" y="58"/>
                </a:lnTo>
                <a:lnTo>
                  <a:pt x="222" y="56"/>
                </a:lnTo>
                <a:lnTo>
                  <a:pt x="220" y="56"/>
                </a:lnTo>
                <a:lnTo>
                  <a:pt x="218" y="58"/>
                </a:lnTo>
                <a:lnTo>
                  <a:pt x="218" y="56"/>
                </a:lnTo>
                <a:lnTo>
                  <a:pt x="216" y="56"/>
                </a:lnTo>
                <a:lnTo>
                  <a:pt x="214" y="56"/>
                </a:lnTo>
                <a:lnTo>
                  <a:pt x="214" y="54"/>
                </a:lnTo>
                <a:lnTo>
                  <a:pt x="214" y="52"/>
                </a:lnTo>
                <a:lnTo>
                  <a:pt x="214" y="50"/>
                </a:lnTo>
                <a:lnTo>
                  <a:pt x="216" y="50"/>
                </a:lnTo>
                <a:lnTo>
                  <a:pt x="218" y="50"/>
                </a:lnTo>
                <a:lnTo>
                  <a:pt x="220" y="50"/>
                </a:lnTo>
                <a:lnTo>
                  <a:pt x="220" y="48"/>
                </a:lnTo>
                <a:lnTo>
                  <a:pt x="218" y="48"/>
                </a:lnTo>
                <a:lnTo>
                  <a:pt x="216" y="48"/>
                </a:lnTo>
                <a:lnTo>
                  <a:pt x="214" y="48"/>
                </a:lnTo>
                <a:lnTo>
                  <a:pt x="213" y="48"/>
                </a:lnTo>
                <a:lnTo>
                  <a:pt x="213" y="46"/>
                </a:lnTo>
                <a:lnTo>
                  <a:pt x="209" y="46"/>
                </a:lnTo>
                <a:lnTo>
                  <a:pt x="211" y="46"/>
                </a:lnTo>
                <a:lnTo>
                  <a:pt x="213" y="46"/>
                </a:lnTo>
                <a:lnTo>
                  <a:pt x="213" y="44"/>
                </a:lnTo>
                <a:lnTo>
                  <a:pt x="214" y="42"/>
                </a:lnTo>
                <a:lnTo>
                  <a:pt x="214" y="41"/>
                </a:lnTo>
                <a:lnTo>
                  <a:pt x="213" y="41"/>
                </a:lnTo>
                <a:lnTo>
                  <a:pt x="211" y="41"/>
                </a:lnTo>
                <a:lnTo>
                  <a:pt x="211" y="39"/>
                </a:lnTo>
                <a:lnTo>
                  <a:pt x="213" y="39"/>
                </a:lnTo>
                <a:lnTo>
                  <a:pt x="214" y="39"/>
                </a:lnTo>
                <a:lnTo>
                  <a:pt x="214" y="41"/>
                </a:lnTo>
                <a:lnTo>
                  <a:pt x="214" y="39"/>
                </a:lnTo>
                <a:lnTo>
                  <a:pt x="214" y="37"/>
                </a:lnTo>
                <a:lnTo>
                  <a:pt x="216" y="37"/>
                </a:lnTo>
                <a:lnTo>
                  <a:pt x="216" y="35"/>
                </a:lnTo>
                <a:lnTo>
                  <a:pt x="216" y="37"/>
                </a:lnTo>
                <a:lnTo>
                  <a:pt x="216" y="35"/>
                </a:lnTo>
                <a:lnTo>
                  <a:pt x="218" y="35"/>
                </a:lnTo>
                <a:lnTo>
                  <a:pt x="218" y="37"/>
                </a:lnTo>
                <a:lnTo>
                  <a:pt x="220" y="37"/>
                </a:lnTo>
                <a:lnTo>
                  <a:pt x="220" y="39"/>
                </a:lnTo>
                <a:lnTo>
                  <a:pt x="220" y="37"/>
                </a:lnTo>
                <a:lnTo>
                  <a:pt x="222" y="37"/>
                </a:lnTo>
                <a:lnTo>
                  <a:pt x="222" y="39"/>
                </a:lnTo>
                <a:lnTo>
                  <a:pt x="222" y="37"/>
                </a:lnTo>
                <a:lnTo>
                  <a:pt x="222" y="39"/>
                </a:lnTo>
                <a:lnTo>
                  <a:pt x="222" y="37"/>
                </a:lnTo>
                <a:lnTo>
                  <a:pt x="224" y="37"/>
                </a:lnTo>
                <a:lnTo>
                  <a:pt x="224" y="39"/>
                </a:lnTo>
                <a:lnTo>
                  <a:pt x="226" y="39"/>
                </a:lnTo>
                <a:lnTo>
                  <a:pt x="226" y="37"/>
                </a:lnTo>
                <a:lnTo>
                  <a:pt x="228" y="37"/>
                </a:lnTo>
                <a:lnTo>
                  <a:pt x="230" y="37"/>
                </a:lnTo>
                <a:lnTo>
                  <a:pt x="232" y="37"/>
                </a:lnTo>
                <a:lnTo>
                  <a:pt x="234" y="37"/>
                </a:lnTo>
                <a:lnTo>
                  <a:pt x="232" y="37"/>
                </a:lnTo>
                <a:lnTo>
                  <a:pt x="232" y="39"/>
                </a:lnTo>
                <a:lnTo>
                  <a:pt x="234" y="39"/>
                </a:lnTo>
                <a:lnTo>
                  <a:pt x="234" y="41"/>
                </a:lnTo>
                <a:lnTo>
                  <a:pt x="234" y="39"/>
                </a:lnTo>
                <a:lnTo>
                  <a:pt x="234" y="37"/>
                </a:lnTo>
                <a:lnTo>
                  <a:pt x="236" y="37"/>
                </a:lnTo>
                <a:lnTo>
                  <a:pt x="236" y="35"/>
                </a:lnTo>
                <a:lnTo>
                  <a:pt x="238" y="35"/>
                </a:lnTo>
                <a:lnTo>
                  <a:pt x="239" y="35"/>
                </a:lnTo>
                <a:lnTo>
                  <a:pt x="241" y="35"/>
                </a:lnTo>
                <a:lnTo>
                  <a:pt x="243" y="35"/>
                </a:lnTo>
                <a:lnTo>
                  <a:pt x="243" y="33"/>
                </a:lnTo>
                <a:lnTo>
                  <a:pt x="245" y="33"/>
                </a:lnTo>
                <a:lnTo>
                  <a:pt x="247" y="33"/>
                </a:lnTo>
                <a:lnTo>
                  <a:pt x="249" y="33"/>
                </a:lnTo>
                <a:lnTo>
                  <a:pt x="249" y="31"/>
                </a:lnTo>
                <a:lnTo>
                  <a:pt x="249" y="33"/>
                </a:lnTo>
                <a:lnTo>
                  <a:pt x="249" y="31"/>
                </a:lnTo>
                <a:lnTo>
                  <a:pt x="251" y="31"/>
                </a:lnTo>
                <a:lnTo>
                  <a:pt x="253" y="31"/>
                </a:lnTo>
                <a:lnTo>
                  <a:pt x="253" y="33"/>
                </a:lnTo>
                <a:lnTo>
                  <a:pt x="255" y="33"/>
                </a:lnTo>
                <a:lnTo>
                  <a:pt x="255" y="31"/>
                </a:lnTo>
                <a:lnTo>
                  <a:pt x="255" y="29"/>
                </a:lnTo>
                <a:lnTo>
                  <a:pt x="255" y="31"/>
                </a:lnTo>
                <a:lnTo>
                  <a:pt x="257" y="31"/>
                </a:lnTo>
                <a:lnTo>
                  <a:pt x="257" y="29"/>
                </a:lnTo>
                <a:lnTo>
                  <a:pt x="259" y="29"/>
                </a:lnTo>
                <a:lnTo>
                  <a:pt x="261" y="29"/>
                </a:lnTo>
                <a:lnTo>
                  <a:pt x="262" y="29"/>
                </a:lnTo>
                <a:lnTo>
                  <a:pt x="264" y="29"/>
                </a:lnTo>
                <a:lnTo>
                  <a:pt x="264" y="27"/>
                </a:lnTo>
                <a:lnTo>
                  <a:pt x="264" y="29"/>
                </a:lnTo>
                <a:lnTo>
                  <a:pt x="266" y="29"/>
                </a:lnTo>
                <a:lnTo>
                  <a:pt x="268" y="27"/>
                </a:lnTo>
                <a:lnTo>
                  <a:pt x="270" y="27"/>
                </a:lnTo>
                <a:lnTo>
                  <a:pt x="270" y="29"/>
                </a:lnTo>
                <a:lnTo>
                  <a:pt x="272" y="29"/>
                </a:lnTo>
                <a:lnTo>
                  <a:pt x="274" y="29"/>
                </a:lnTo>
                <a:lnTo>
                  <a:pt x="274" y="27"/>
                </a:lnTo>
                <a:lnTo>
                  <a:pt x="272" y="27"/>
                </a:lnTo>
                <a:lnTo>
                  <a:pt x="272" y="25"/>
                </a:lnTo>
                <a:lnTo>
                  <a:pt x="272" y="23"/>
                </a:lnTo>
                <a:lnTo>
                  <a:pt x="274" y="23"/>
                </a:lnTo>
                <a:lnTo>
                  <a:pt x="276" y="23"/>
                </a:lnTo>
                <a:lnTo>
                  <a:pt x="278" y="23"/>
                </a:lnTo>
                <a:lnTo>
                  <a:pt x="276" y="23"/>
                </a:lnTo>
                <a:lnTo>
                  <a:pt x="276" y="21"/>
                </a:lnTo>
                <a:lnTo>
                  <a:pt x="278" y="21"/>
                </a:lnTo>
                <a:lnTo>
                  <a:pt x="280" y="21"/>
                </a:lnTo>
                <a:lnTo>
                  <a:pt x="280" y="23"/>
                </a:lnTo>
                <a:lnTo>
                  <a:pt x="282" y="23"/>
                </a:lnTo>
                <a:lnTo>
                  <a:pt x="282" y="21"/>
                </a:lnTo>
                <a:lnTo>
                  <a:pt x="282" y="19"/>
                </a:lnTo>
                <a:lnTo>
                  <a:pt x="284" y="19"/>
                </a:lnTo>
                <a:lnTo>
                  <a:pt x="284" y="21"/>
                </a:lnTo>
                <a:lnTo>
                  <a:pt x="285" y="21"/>
                </a:lnTo>
                <a:lnTo>
                  <a:pt x="287" y="21"/>
                </a:lnTo>
                <a:lnTo>
                  <a:pt x="289" y="19"/>
                </a:lnTo>
                <a:lnTo>
                  <a:pt x="291" y="19"/>
                </a:lnTo>
                <a:lnTo>
                  <a:pt x="293" y="19"/>
                </a:lnTo>
                <a:lnTo>
                  <a:pt x="295" y="19"/>
                </a:lnTo>
                <a:lnTo>
                  <a:pt x="295" y="18"/>
                </a:lnTo>
                <a:lnTo>
                  <a:pt x="297" y="18"/>
                </a:lnTo>
                <a:lnTo>
                  <a:pt x="299" y="18"/>
                </a:lnTo>
                <a:lnTo>
                  <a:pt x="301" y="18"/>
                </a:lnTo>
                <a:lnTo>
                  <a:pt x="303" y="18"/>
                </a:lnTo>
                <a:lnTo>
                  <a:pt x="303" y="16"/>
                </a:lnTo>
                <a:lnTo>
                  <a:pt x="305" y="16"/>
                </a:lnTo>
                <a:lnTo>
                  <a:pt x="307" y="16"/>
                </a:lnTo>
                <a:lnTo>
                  <a:pt x="309" y="16"/>
                </a:lnTo>
                <a:lnTo>
                  <a:pt x="310" y="16"/>
                </a:lnTo>
                <a:lnTo>
                  <a:pt x="310" y="14"/>
                </a:lnTo>
                <a:lnTo>
                  <a:pt x="312" y="14"/>
                </a:lnTo>
                <a:lnTo>
                  <a:pt x="314" y="14"/>
                </a:lnTo>
                <a:lnTo>
                  <a:pt x="316" y="14"/>
                </a:lnTo>
                <a:lnTo>
                  <a:pt x="316" y="12"/>
                </a:lnTo>
                <a:lnTo>
                  <a:pt x="318" y="12"/>
                </a:lnTo>
                <a:lnTo>
                  <a:pt x="318" y="10"/>
                </a:lnTo>
                <a:lnTo>
                  <a:pt x="316" y="10"/>
                </a:lnTo>
                <a:lnTo>
                  <a:pt x="316" y="8"/>
                </a:lnTo>
                <a:lnTo>
                  <a:pt x="318" y="8"/>
                </a:lnTo>
                <a:lnTo>
                  <a:pt x="320" y="8"/>
                </a:lnTo>
                <a:lnTo>
                  <a:pt x="322" y="8"/>
                </a:lnTo>
                <a:lnTo>
                  <a:pt x="322" y="6"/>
                </a:lnTo>
                <a:lnTo>
                  <a:pt x="322" y="8"/>
                </a:lnTo>
                <a:lnTo>
                  <a:pt x="324" y="6"/>
                </a:lnTo>
                <a:lnTo>
                  <a:pt x="322" y="6"/>
                </a:lnTo>
                <a:lnTo>
                  <a:pt x="324" y="6"/>
                </a:lnTo>
                <a:lnTo>
                  <a:pt x="324" y="4"/>
                </a:lnTo>
                <a:lnTo>
                  <a:pt x="324" y="2"/>
                </a:lnTo>
                <a:lnTo>
                  <a:pt x="326" y="2"/>
                </a:lnTo>
                <a:lnTo>
                  <a:pt x="326" y="4"/>
                </a:lnTo>
                <a:lnTo>
                  <a:pt x="328" y="4"/>
                </a:lnTo>
                <a:lnTo>
                  <a:pt x="328" y="6"/>
                </a:lnTo>
                <a:lnTo>
                  <a:pt x="328" y="4"/>
                </a:lnTo>
                <a:lnTo>
                  <a:pt x="328" y="2"/>
                </a:lnTo>
                <a:lnTo>
                  <a:pt x="328" y="0"/>
                </a:lnTo>
                <a:lnTo>
                  <a:pt x="328" y="2"/>
                </a:lnTo>
                <a:lnTo>
                  <a:pt x="330" y="2"/>
                </a:lnTo>
                <a:lnTo>
                  <a:pt x="332" y="4"/>
                </a:lnTo>
                <a:lnTo>
                  <a:pt x="333" y="4"/>
                </a:lnTo>
                <a:lnTo>
                  <a:pt x="333" y="2"/>
                </a:lnTo>
                <a:lnTo>
                  <a:pt x="333" y="4"/>
                </a:lnTo>
                <a:lnTo>
                  <a:pt x="335" y="4"/>
                </a:lnTo>
                <a:lnTo>
                  <a:pt x="337" y="4"/>
                </a:lnTo>
                <a:lnTo>
                  <a:pt x="339" y="4"/>
                </a:lnTo>
                <a:lnTo>
                  <a:pt x="341" y="4"/>
                </a:lnTo>
                <a:lnTo>
                  <a:pt x="341" y="6"/>
                </a:lnTo>
                <a:lnTo>
                  <a:pt x="341" y="8"/>
                </a:lnTo>
                <a:lnTo>
                  <a:pt x="343" y="8"/>
                </a:lnTo>
                <a:lnTo>
                  <a:pt x="345" y="8"/>
                </a:lnTo>
                <a:lnTo>
                  <a:pt x="347" y="8"/>
                </a:lnTo>
                <a:lnTo>
                  <a:pt x="349" y="8"/>
                </a:lnTo>
                <a:lnTo>
                  <a:pt x="349" y="6"/>
                </a:lnTo>
                <a:lnTo>
                  <a:pt x="351" y="6"/>
                </a:lnTo>
                <a:lnTo>
                  <a:pt x="353" y="6"/>
                </a:lnTo>
                <a:lnTo>
                  <a:pt x="353" y="4"/>
                </a:lnTo>
                <a:lnTo>
                  <a:pt x="355" y="4"/>
                </a:lnTo>
                <a:lnTo>
                  <a:pt x="355" y="6"/>
                </a:lnTo>
                <a:lnTo>
                  <a:pt x="355" y="8"/>
                </a:lnTo>
                <a:lnTo>
                  <a:pt x="357" y="8"/>
                </a:lnTo>
                <a:lnTo>
                  <a:pt x="357" y="10"/>
                </a:lnTo>
                <a:lnTo>
                  <a:pt x="358" y="10"/>
                </a:lnTo>
                <a:lnTo>
                  <a:pt x="357" y="10"/>
                </a:lnTo>
                <a:lnTo>
                  <a:pt x="357" y="12"/>
                </a:lnTo>
                <a:lnTo>
                  <a:pt x="357" y="14"/>
                </a:lnTo>
                <a:lnTo>
                  <a:pt x="358" y="14"/>
                </a:lnTo>
                <a:lnTo>
                  <a:pt x="357" y="14"/>
                </a:lnTo>
                <a:lnTo>
                  <a:pt x="358" y="14"/>
                </a:lnTo>
                <a:lnTo>
                  <a:pt x="357" y="14"/>
                </a:lnTo>
                <a:lnTo>
                  <a:pt x="357" y="16"/>
                </a:lnTo>
                <a:lnTo>
                  <a:pt x="358" y="16"/>
                </a:lnTo>
                <a:lnTo>
                  <a:pt x="358" y="18"/>
                </a:lnTo>
                <a:lnTo>
                  <a:pt x="358" y="19"/>
                </a:lnTo>
                <a:lnTo>
                  <a:pt x="360" y="19"/>
                </a:lnTo>
                <a:lnTo>
                  <a:pt x="360" y="21"/>
                </a:lnTo>
                <a:lnTo>
                  <a:pt x="362" y="21"/>
                </a:lnTo>
                <a:lnTo>
                  <a:pt x="362" y="23"/>
                </a:lnTo>
                <a:lnTo>
                  <a:pt x="360" y="23"/>
                </a:lnTo>
                <a:lnTo>
                  <a:pt x="360" y="25"/>
                </a:lnTo>
                <a:lnTo>
                  <a:pt x="360" y="27"/>
                </a:lnTo>
                <a:lnTo>
                  <a:pt x="360" y="29"/>
                </a:lnTo>
                <a:lnTo>
                  <a:pt x="358" y="29"/>
                </a:lnTo>
                <a:lnTo>
                  <a:pt x="357" y="29"/>
                </a:lnTo>
                <a:lnTo>
                  <a:pt x="357" y="31"/>
                </a:lnTo>
                <a:lnTo>
                  <a:pt x="358" y="31"/>
                </a:lnTo>
                <a:lnTo>
                  <a:pt x="358" y="33"/>
                </a:lnTo>
                <a:lnTo>
                  <a:pt x="360" y="33"/>
                </a:lnTo>
                <a:lnTo>
                  <a:pt x="358" y="35"/>
                </a:lnTo>
                <a:lnTo>
                  <a:pt x="360" y="35"/>
                </a:lnTo>
                <a:lnTo>
                  <a:pt x="362" y="35"/>
                </a:lnTo>
                <a:lnTo>
                  <a:pt x="362" y="33"/>
                </a:lnTo>
                <a:lnTo>
                  <a:pt x="364" y="33"/>
                </a:lnTo>
                <a:lnTo>
                  <a:pt x="364" y="35"/>
                </a:lnTo>
                <a:lnTo>
                  <a:pt x="366" y="35"/>
                </a:lnTo>
                <a:lnTo>
                  <a:pt x="368" y="35"/>
                </a:lnTo>
                <a:lnTo>
                  <a:pt x="368" y="33"/>
                </a:lnTo>
                <a:lnTo>
                  <a:pt x="368" y="31"/>
                </a:lnTo>
                <a:lnTo>
                  <a:pt x="370" y="31"/>
                </a:lnTo>
                <a:lnTo>
                  <a:pt x="372" y="31"/>
                </a:lnTo>
                <a:lnTo>
                  <a:pt x="374" y="33"/>
                </a:lnTo>
                <a:lnTo>
                  <a:pt x="374" y="35"/>
                </a:lnTo>
                <a:lnTo>
                  <a:pt x="376" y="33"/>
                </a:lnTo>
                <a:lnTo>
                  <a:pt x="374" y="33"/>
                </a:lnTo>
                <a:lnTo>
                  <a:pt x="374" y="31"/>
                </a:lnTo>
                <a:lnTo>
                  <a:pt x="374" y="29"/>
                </a:lnTo>
                <a:lnTo>
                  <a:pt x="372" y="29"/>
                </a:lnTo>
                <a:lnTo>
                  <a:pt x="376" y="29"/>
                </a:lnTo>
                <a:lnTo>
                  <a:pt x="376" y="31"/>
                </a:lnTo>
                <a:lnTo>
                  <a:pt x="378" y="31"/>
                </a:lnTo>
                <a:lnTo>
                  <a:pt x="376" y="33"/>
                </a:lnTo>
                <a:lnTo>
                  <a:pt x="378" y="33"/>
                </a:lnTo>
                <a:lnTo>
                  <a:pt x="378" y="35"/>
                </a:lnTo>
                <a:lnTo>
                  <a:pt x="380" y="35"/>
                </a:lnTo>
                <a:lnTo>
                  <a:pt x="378" y="35"/>
                </a:lnTo>
                <a:lnTo>
                  <a:pt x="378" y="37"/>
                </a:lnTo>
                <a:lnTo>
                  <a:pt x="378" y="39"/>
                </a:lnTo>
                <a:lnTo>
                  <a:pt x="378" y="41"/>
                </a:lnTo>
                <a:lnTo>
                  <a:pt x="380" y="41"/>
                </a:lnTo>
                <a:lnTo>
                  <a:pt x="380" y="39"/>
                </a:lnTo>
                <a:lnTo>
                  <a:pt x="381" y="39"/>
                </a:lnTo>
                <a:lnTo>
                  <a:pt x="383" y="39"/>
                </a:lnTo>
                <a:lnTo>
                  <a:pt x="383" y="37"/>
                </a:lnTo>
                <a:lnTo>
                  <a:pt x="381" y="37"/>
                </a:lnTo>
                <a:lnTo>
                  <a:pt x="380" y="37"/>
                </a:lnTo>
                <a:lnTo>
                  <a:pt x="380" y="35"/>
                </a:lnTo>
                <a:lnTo>
                  <a:pt x="381" y="35"/>
                </a:lnTo>
                <a:lnTo>
                  <a:pt x="383" y="35"/>
                </a:lnTo>
                <a:lnTo>
                  <a:pt x="387" y="35"/>
                </a:lnTo>
                <a:lnTo>
                  <a:pt x="387" y="37"/>
                </a:lnTo>
                <a:lnTo>
                  <a:pt x="387" y="39"/>
                </a:lnTo>
                <a:lnTo>
                  <a:pt x="389" y="39"/>
                </a:lnTo>
                <a:lnTo>
                  <a:pt x="391" y="39"/>
                </a:lnTo>
                <a:lnTo>
                  <a:pt x="393" y="39"/>
                </a:lnTo>
                <a:lnTo>
                  <a:pt x="395" y="39"/>
                </a:lnTo>
                <a:lnTo>
                  <a:pt x="395" y="37"/>
                </a:lnTo>
                <a:lnTo>
                  <a:pt x="397" y="37"/>
                </a:lnTo>
                <a:lnTo>
                  <a:pt x="395" y="37"/>
                </a:lnTo>
                <a:lnTo>
                  <a:pt x="397" y="37"/>
                </a:lnTo>
                <a:lnTo>
                  <a:pt x="399" y="37"/>
                </a:lnTo>
                <a:lnTo>
                  <a:pt x="397" y="39"/>
                </a:lnTo>
                <a:lnTo>
                  <a:pt x="397" y="41"/>
                </a:lnTo>
                <a:lnTo>
                  <a:pt x="395" y="41"/>
                </a:lnTo>
                <a:lnTo>
                  <a:pt x="393" y="41"/>
                </a:lnTo>
                <a:lnTo>
                  <a:pt x="393" y="42"/>
                </a:lnTo>
                <a:lnTo>
                  <a:pt x="391" y="42"/>
                </a:lnTo>
                <a:lnTo>
                  <a:pt x="391" y="44"/>
                </a:lnTo>
                <a:lnTo>
                  <a:pt x="391" y="46"/>
                </a:lnTo>
                <a:lnTo>
                  <a:pt x="391" y="48"/>
                </a:lnTo>
                <a:lnTo>
                  <a:pt x="393" y="50"/>
                </a:lnTo>
                <a:lnTo>
                  <a:pt x="391" y="50"/>
                </a:lnTo>
                <a:lnTo>
                  <a:pt x="393" y="52"/>
                </a:lnTo>
                <a:lnTo>
                  <a:pt x="395" y="50"/>
                </a:lnTo>
                <a:lnTo>
                  <a:pt x="395" y="48"/>
                </a:lnTo>
                <a:lnTo>
                  <a:pt x="397" y="48"/>
                </a:lnTo>
                <a:lnTo>
                  <a:pt x="397" y="46"/>
                </a:lnTo>
                <a:lnTo>
                  <a:pt x="397" y="48"/>
                </a:lnTo>
                <a:lnTo>
                  <a:pt x="399" y="48"/>
                </a:lnTo>
                <a:lnTo>
                  <a:pt x="401" y="46"/>
                </a:lnTo>
                <a:lnTo>
                  <a:pt x="403" y="46"/>
                </a:lnTo>
                <a:lnTo>
                  <a:pt x="403" y="48"/>
                </a:lnTo>
                <a:lnTo>
                  <a:pt x="404" y="48"/>
                </a:lnTo>
                <a:lnTo>
                  <a:pt x="406" y="48"/>
                </a:lnTo>
                <a:lnTo>
                  <a:pt x="404" y="50"/>
                </a:lnTo>
                <a:lnTo>
                  <a:pt x="406" y="50"/>
                </a:lnTo>
                <a:lnTo>
                  <a:pt x="408" y="48"/>
                </a:lnTo>
                <a:lnTo>
                  <a:pt x="408" y="44"/>
                </a:lnTo>
                <a:lnTo>
                  <a:pt x="410" y="46"/>
                </a:lnTo>
                <a:lnTo>
                  <a:pt x="410" y="44"/>
                </a:lnTo>
                <a:lnTo>
                  <a:pt x="412" y="44"/>
                </a:lnTo>
                <a:lnTo>
                  <a:pt x="412" y="42"/>
                </a:lnTo>
                <a:lnTo>
                  <a:pt x="414" y="42"/>
                </a:lnTo>
                <a:lnTo>
                  <a:pt x="416" y="42"/>
                </a:lnTo>
                <a:lnTo>
                  <a:pt x="418" y="42"/>
                </a:lnTo>
                <a:lnTo>
                  <a:pt x="418" y="41"/>
                </a:lnTo>
                <a:lnTo>
                  <a:pt x="420" y="41"/>
                </a:lnTo>
                <a:lnTo>
                  <a:pt x="420" y="39"/>
                </a:lnTo>
                <a:lnTo>
                  <a:pt x="422" y="39"/>
                </a:lnTo>
                <a:lnTo>
                  <a:pt x="422" y="37"/>
                </a:lnTo>
                <a:lnTo>
                  <a:pt x="422" y="35"/>
                </a:lnTo>
                <a:lnTo>
                  <a:pt x="424" y="35"/>
                </a:lnTo>
                <a:lnTo>
                  <a:pt x="426" y="35"/>
                </a:lnTo>
                <a:lnTo>
                  <a:pt x="429" y="33"/>
                </a:lnTo>
                <a:lnTo>
                  <a:pt x="431" y="33"/>
                </a:lnTo>
                <a:lnTo>
                  <a:pt x="433" y="31"/>
                </a:lnTo>
                <a:lnTo>
                  <a:pt x="433" y="29"/>
                </a:lnTo>
                <a:lnTo>
                  <a:pt x="435" y="29"/>
                </a:lnTo>
                <a:lnTo>
                  <a:pt x="437" y="29"/>
                </a:lnTo>
                <a:lnTo>
                  <a:pt x="439" y="29"/>
                </a:lnTo>
                <a:lnTo>
                  <a:pt x="441" y="29"/>
                </a:lnTo>
                <a:lnTo>
                  <a:pt x="441" y="27"/>
                </a:lnTo>
                <a:lnTo>
                  <a:pt x="443" y="27"/>
                </a:lnTo>
                <a:lnTo>
                  <a:pt x="445" y="25"/>
                </a:lnTo>
                <a:lnTo>
                  <a:pt x="445" y="27"/>
                </a:lnTo>
                <a:lnTo>
                  <a:pt x="443" y="27"/>
                </a:lnTo>
                <a:lnTo>
                  <a:pt x="441" y="29"/>
                </a:lnTo>
                <a:lnTo>
                  <a:pt x="443" y="29"/>
                </a:lnTo>
                <a:lnTo>
                  <a:pt x="443" y="31"/>
                </a:lnTo>
                <a:lnTo>
                  <a:pt x="443" y="33"/>
                </a:lnTo>
                <a:lnTo>
                  <a:pt x="441" y="33"/>
                </a:lnTo>
                <a:lnTo>
                  <a:pt x="441" y="35"/>
                </a:lnTo>
                <a:lnTo>
                  <a:pt x="439" y="35"/>
                </a:lnTo>
                <a:lnTo>
                  <a:pt x="439" y="33"/>
                </a:lnTo>
                <a:lnTo>
                  <a:pt x="439" y="35"/>
                </a:lnTo>
                <a:lnTo>
                  <a:pt x="439" y="33"/>
                </a:lnTo>
                <a:lnTo>
                  <a:pt x="437" y="33"/>
                </a:lnTo>
                <a:lnTo>
                  <a:pt x="437" y="35"/>
                </a:lnTo>
                <a:lnTo>
                  <a:pt x="437" y="37"/>
                </a:lnTo>
                <a:lnTo>
                  <a:pt x="439" y="37"/>
                </a:lnTo>
                <a:lnTo>
                  <a:pt x="439" y="39"/>
                </a:lnTo>
                <a:lnTo>
                  <a:pt x="443" y="41"/>
                </a:lnTo>
                <a:lnTo>
                  <a:pt x="445" y="44"/>
                </a:lnTo>
                <a:lnTo>
                  <a:pt x="447" y="44"/>
                </a:lnTo>
                <a:lnTo>
                  <a:pt x="451" y="48"/>
                </a:lnTo>
                <a:lnTo>
                  <a:pt x="452" y="50"/>
                </a:lnTo>
                <a:lnTo>
                  <a:pt x="454" y="50"/>
                </a:lnTo>
                <a:lnTo>
                  <a:pt x="454" y="52"/>
                </a:lnTo>
                <a:lnTo>
                  <a:pt x="456" y="52"/>
                </a:lnTo>
                <a:lnTo>
                  <a:pt x="458" y="54"/>
                </a:lnTo>
                <a:lnTo>
                  <a:pt x="458" y="56"/>
                </a:lnTo>
                <a:lnTo>
                  <a:pt x="460" y="58"/>
                </a:lnTo>
                <a:lnTo>
                  <a:pt x="460" y="60"/>
                </a:lnTo>
                <a:lnTo>
                  <a:pt x="462" y="62"/>
                </a:lnTo>
                <a:lnTo>
                  <a:pt x="464" y="64"/>
                </a:lnTo>
                <a:lnTo>
                  <a:pt x="464" y="66"/>
                </a:lnTo>
                <a:lnTo>
                  <a:pt x="466" y="67"/>
                </a:lnTo>
                <a:lnTo>
                  <a:pt x="468" y="73"/>
                </a:lnTo>
                <a:lnTo>
                  <a:pt x="470" y="73"/>
                </a:lnTo>
                <a:lnTo>
                  <a:pt x="472" y="77"/>
                </a:lnTo>
                <a:lnTo>
                  <a:pt x="472" y="79"/>
                </a:lnTo>
                <a:lnTo>
                  <a:pt x="474" y="83"/>
                </a:lnTo>
                <a:lnTo>
                  <a:pt x="475" y="87"/>
                </a:lnTo>
                <a:lnTo>
                  <a:pt x="477" y="87"/>
                </a:lnTo>
                <a:lnTo>
                  <a:pt x="477" y="89"/>
                </a:lnTo>
                <a:lnTo>
                  <a:pt x="477" y="91"/>
                </a:lnTo>
                <a:lnTo>
                  <a:pt x="479" y="92"/>
                </a:lnTo>
                <a:lnTo>
                  <a:pt x="481" y="96"/>
                </a:lnTo>
                <a:lnTo>
                  <a:pt x="481" y="98"/>
                </a:lnTo>
                <a:lnTo>
                  <a:pt x="483" y="100"/>
                </a:lnTo>
                <a:lnTo>
                  <a:pt x="483" y="102"/>
                </a:lnTo>
                <a:lnTo>
                  <a:pt x="485" y="106"/>
                </a:lnTo>
                <a:lnTo>
                  <a:pt x="487" y="108"/>
                </a:lnTo>
                <a:lnTo>
                  <a:pt x="487" y="110"/>
                </a:lnTo>
                <a:lnTo>
                  <a:pt x="489" y="112"/>
                </a:lnTo>
                <a:lnTo>
                  <a:pt x="489" y="115"/>
                </a:lnTo>
                <a:lnTo>
                  <a:pt x="491" y="115"/>
                </a:lnTo>
                <a:lnTo>
                  <a:pt x="491" y="114"/>
                </a:lnTo>
                <a:lnTo>
                  <a:pt x="489" y="114"/>
                </a:lnTo>
                <a:lnTo>
                  <a:pt x="491" y="114"/>
                </a:lnTo>
                <a:lnTo>
                  <a:pt x="493" y="114"/>
                </a:lnTo>
                <a:lnTo>
                  <a:pt x="493" y="112"/>
                </a:lnTo>
                <a:lnTo>
                  <a:pt x="495" y="112"/>
                </a:lnTo>
                <a:lnTo>
                  <a:pt x="495" y="110"/>
                </a:lnTo>
                <a:lnTo>
                  <a:pt x="497" y="110"/>
                </a:lnTo>
                <a:lnTo>
                  <a:pt x="497" y="108"/>
                </a:lnTo>
                <a:lnTo>
                  <a:pt x="495" y="108"/>
                </a:lnTo>
                <a:lnTo>
                  <a:pt x="495" y="106"/>
                </a:lnTo>
                <a:lnTo>
                  <a:pt x="497" y="106"/>
                </a:lnTo>
                <a:lnTo>
                  <a:pt x="497" y="104"/>
                </a:lnTo>
                <a:lnTo>
                  <a:pt x="497" y="106"/>
                </a:lnTo>
                <a:lnTo>
                  <a:pt x="499" y="106"/>
                </a:lnTo>
                <a:lnTo>
                  <a:pt x="499" y="104"/>
                </a:lnTo>
                <a:lnTo>
                  <a:pt x="499" y="102"/>
                </a:lnTo>
                <a:lnTo>
                  <a:pt x="500" y="104"/>
                </a:lnTo>
                <a:lnTo>
                  <a:pt x="502" y="104"/>
                </a:lnTo>
                <a:lnTo>
                  <a:pt x="504" y="106"/>
                </a:lnTo>
                <a:lnTo>
                  <a:pt x="506" y="104"/>
                </a:lnTo>
                <a:lnTo>
                  <a:pt x="506" y="106"/>
                </a:lnTo>
                <a:lnTo>
                  <a:pt x="506" y="108"/>
                </a:lnTo>
                <a:lnTo>
                  <a:pt x="504" y="110"/>
                </a:lnTo>
                <a:lnTo>
                  <a:pt x="504" y="112"/>
                </a:lnTo>
                <a:lnTo>
                  <a:pt x="506" y="112"/>
                </a:lnTo>
                <a:lnTo>
                  <a:pt x="508" y="112"/>
                </a:lnTo>
                <a:lnTo>
                  <a:pt x="508" y="110"/>
                </a:lnTo>
                <a:lnTo>
                  <a:pt x="510" y="110"/>
                </a:lnTo>
                <a:lnTo>
                  <a:pt x="510" y="112"/>
                </a:lnTo>
                <a:lnTo>
                  <a:pt x="510" y="114"/>
                </a:lnTo>
                <a:lnTo>
                  <a:pt x="510" y="115"/>
                </a:lnTo>
                <a:lnTo>
                  <a:pt x="512" y="115"/>
                </a:lnTo>
                <a:lnTo>
                  <a:pt x="514" y="115"/>
                </a:lnTo>
                <a:lnTo>
                  <a:pt x="516" y="114"/>
                </a:lnTo>
                <a:lnTo>
                  <a:pt x="516" y="115"/>
                </a:lnTo>
                <a:lnTo>
                  <a:pt x="516" y="114"/>
                </a:lnTo>
                <a:lnTo>
                  <a:pt x="518" y="115"/>
                </a:lnTo>
                <a:lnTo>
                  <a:pt x="520" y="115"/>
                </a:lnTo>
                <a:lnTo>
                  <a:pt x="522" y="115"/>
                </a:lnTo>
                <a:lnTo>
                  <a:pt x="523" y="115"/>
                </a:lnTo>
                <a:lnTo>
                  <a:pt x="525" y="115"/>
                </a:lnTo>
                <a:lnTo>
                  <a:pt x="527" y="115"/>
                </a:lnTo>
                <a:lnTo>
                  <a:pt x="527" y="114"/>
                </a:lnTo>
                <a:lnTo>
                  <a:pt x="529" y="114"/>
                </a:lnTo>
                <a:lnTo>
                  <a:pt x="529" y="112"/>
                </a:lnTo>
                <a:lnTo>
                  <a:pt x="531" y="112"/>
                </a:lnTo>
                <a:lnTo>
                  <a:pt x="533" y="112"/>
                </a:lnTo>
                <a:lnTo>
                  <a:pt x="533" y="114"/>
                </a:lnTo>
                <a:lnTo>
                  <a:pt x="533" y="112"/>
                </a:lnTo>
                <a:lnTo>
                  <a:pt x="535" y="112"/>
                </a:lnTo>
                <a:lnTo>
                  <a:pt x="535" y="110"/>
                </a:lnTo>
                <a:lnTo>
                  <a:pt x="537" y="110"/>
                </a:lnTo>
                <a:lnTo>
                  <a:pt x="539" y="110"/>
                </a:lnTo>
                <a:lnTo>
                  <a:pt x="541" y="110"/>
                </a:lnTo>
                <a:lnTo>
                  <a:pt x="541" y="112"/>
                </a:lnTo>
                <a:lnTo>
                  <a:pt x="543" y="112"/>
                </a:lnTo>
                <a:lnTo>
                  <a:pt x="545" y="112"/>
                </a:lnTo>
                <a:lnTo>
                  <a:pt x="545" y="114"/>
                </a:lnTo>
                <a:lnTo>
                  <a:pt x="547" y="114"/>
                </a:lnTo>
                <a:lnTo>
                  <a:pt x="547" y="115"/>
                </a:lnTo>
                <a:lnTo>
                  <a:pt x="547" y="117"/>
                </a:lnTo>
                <a:lnTo>
                  <a:pt x="548" y="117"/>
                </a:lnTo>
                <a:lnTo>
                  <a:pt x="548" y="119"/>
                </a:lnTo>
                <a:lnTo>
                  <a:pt x="550" y="119"/>
                </a:lnTo>
                <a:lnTo>
                  <a:pt x="550" y="121"/>
                </a:lnTo>
                <a:lnTo>
                  <a:pt x="550" y="123"/>
                </a:lnTo>
                <a:lnTo>
                  <a:pt x="550" y="125"/>
                </a:lnTo>
                <a:lnTo>
                  <a:pt x="552" y="125"/>
                </a:lnTo>
                <a:lnTo>
                  <a:pt x="550" y="125"/>
                </a:lnTo>
                <a:lnTo>
                  <a:pt x="550" y="127"/>
                </a:lnTo>
                <a:lnTo>
                  <a:pt x="552" y="127"/>
                </a:lnTo>
                <a:lnTo>
                  <a:pt x="552" y="129"/>
                </a:lnTo>
                <a:lnTo>
                  <a:pt x="554" y="129"/>
                </a:lnTo>
                <a:lnTo>
                  <a:pt x="554" y="127"/>
                </a:lnTo>
                <a:lnTo>
                  <a:pt x="556" y="129"/>
                </a:lnTo>
                <a:lnTo>
                  <a:pt x="558" y="129"/>
                </a:lnTo>
                <a:lnTo>
                  <a:pt x="560" y="129"/>
                </a:lnTo>
                <a:lnTo>
                  <a:pt x="560" y="131"/>
                </a:lnTo>
                <a:lnTo>
                  <a:pt x="562" y="131"/>
                </a:lnTo>
                <a:lnTo>
                  <a:pt x="562" y="133"/>
                </a:lnTo>
                <a:lnTo>
                  <a:pt x="562" y="135"/>
                </a:lnTo>
                <a:lnTo>
                  <a:pt x="564" y="135"/>
                </a:lnTo>
                <a:lnTo>
                  <a:pt x="564" y="137"/>
                </a:lnTo>
                <a:lnTo>
                  <a:pt x="564" y="139"/>
                </a:lnTo>
                <a:lnTo>
                  <a:pt x="566" y="139"/>
                </a:lnTo>
                <a:lnTo>
                  <a:pt x="566" y="140"/>
                </a:lnTo>
                <a:lnTo>
                  <a:pt x="566" y="142"/>
                </a:lnTo>
                <a:lnTo>
                  <a:pt x="568" y="142"/>
                </a:lnTo>
                <a:lnTo>
                  <a:pt x="568" y="140"/>
                </a:lnTo>
                <a:lnTo>
                  <a:pt x="570" y="140"/>
                </a:lnTo>
                <a:lnTo>
                  <a:pt x="570" y="142"/>
                </a:lnTo>
                <a:lnTo>
                  <a:pt x="571" y="142"/>
                </a:lnTo>
                <a:lnTo>
                  <a:pt x="573" y="142"/>
                </a:lnTo>
                <a:lnTo>
                  <a:pt x="575" y="142"/>
                </a:lnTo>
                <a:lnTo>
                  <a:pt x="575" y="144"/>
                </a:lnTo>
                <a:lnTo>
                  <a:pt x="577" y="144"/>
                </a:lnTo>
                <a:lnTo>
                  <a:pt x="579" y="144"/>
                </a:lnTo>
                <a:lnTo>
                  <a:pt x="581" y="144"/>
                </a:lnTo>
                <a:lnTo>
                  <a:pt x="581" y="142"/>
                </a:lnTo>
                <a:lnTo>
                  <a:pt x="583" y="142"/>
                </a:lnTo>
                <a:lnTo>
                  <a:pt x="583" y="140"/>
                </a:lnTo>
                <a:lnTo>
                  <a:pt x="585" y="140"/>
                </a:lnTo>
                <a:lnTo>
                  <a:pt x="585" y="139"/>
                </a:lnTo>
                <a:lnTo>
                  <a:pt x="585" y="137"/>
                </a:lnTo>
                <a:lnTo>
                  <a:pt x="587" y="137"/>
                </a:lnTo>
                <a:lnTo>
                  <a:pt x="587" y="139"/>
                </a:lnTo>
                <a:lnTo>
                  <a:pt x="587" y="137"/>
                </a:lnTo>
                <a:lnTo>
                  <a:pt x="589" y="137"/>
                </a:lnTo>
                <a:lnTo>
                  <a:pt x="589" y="139"/>
                </a:lnTo>
                <a:lnTo>
                  <a:pt x="589" y="140"/>
                </a:lnTo>
                <a:lnTo>
                  <a:pt x="587" y="140"/>
                </a:lnTo>
                <a:lnTo>
                  <a:pt x="585" y="140"/>
                </a:lnTo>
                <a:lnTo>
                  <a:pt x="585" y="142"/>
                </a:lnTo>
                <a:lnTo>
                  <a:pt x="587" y="142"/>
                </a:lnTo>
                <a:lnTo>
                  <a:pt x="589" y="142"/>
                </a:lnTo>
                <a:lnTo>
                  <a:pt x="589" y="144"/>
                </a:lnTo>
                <a:lnTo>
                  <a:pt x="589" y="146"/>
                </a:lnTo>
                <a:lnTo>
                  <a:pt x="591" y="146"/>
                </a:lnTo>
                <a:lnTo>
                  <a:pt x="591" y="148"/>
                </a:lnTo>
                <a:lnTo>
                  <a:pt x="593" y="148"/>
                </a:lnTo>
                <a:lnTo>
                  <a:pt x="593" y="150"/>
                </a:lnTo>
                <a:lnTo>
                  <a:pt x="591" y="150"/>
                </a:lnTo>
                <a:lnTo>
                  <a:pt x="593" y="150"/>
                </a:lnTo>
                <a:lnTo>
                  <a:pt x="594" y="150"/>
                </a:lnTo>
                <a:lnTo>
                  <a:pt x="596" y="150"/>
                </a:lnTo>
                <a:lnTo>
                  <a:pt x="596" y="152"/>
                </a:lnTo>
                <a:lnTo>
                  <a:pt x="594" y="152"/>
                </a:lnTo>
                <a:close/>
                <a:moveTo>
                  <a:pt x="46" y="212"/>
                </a:moveTo>
                <a:lnTo>
                  <a:pt x="47" y="212"/>
                </a:lnTo>
                <a:lnTo>
                  <a:pt x="47" y="215"/>
                </a:lnTo>
                <a:lnTo>
                  <a:pt x="46" y="215"/>
                </a:lnTo>
                <a:lnTo>
                  <a:pt x="46" y="212"/>
                </a:lnTo>
                <a:close/>
                <a:moveTo>
                  <a:pt x="65" y="240"/>
                </a:moveTo>
                <a:lnTo>
                  <a:pt x="69" y="240"/>
                </a:lnTo>
                <a:lnTo>
                  <a:pt x="69" y="244"/>
                </a:lnTo>
                <a:lnTo>
                  <a:pt x="65" y="244"/>
                </a:lnTo>
                <a:lnTo>
                  <a:pt x="65" y="240"/>
                </a:lnTo>
                <a:close/>
                <a:moveTo>
                  <a:pt x="53" y="240"/>
                </a:moveTo>
                <a:lnTo>
                  <a:pt x="55" y="240"/>
                </a:lnTo>
                <a:lnTo>
                  <a:pt x="55" y="244"/>
                </a:lnTo>
                <a:lnTo>
                  <a:pt x="53" y="244"/>
                </a:lnTo>
                <a:lnTo>
                  <a:pt x="53" y="240"/>
                </a:lnTo>
                <a:close/>
                <a:moveTo>
                  <a:pt x="49" y="240"/>
                </a:moveTo>
                <a:lnTo>
                  <a:pt x="53" y="240"/>
                </a:lnTo>
                <a:lnTo>
                  <a:pt x="53" y="244"/>
                </a:lnTo>
                <a:lnTo>
                  <a:pt x="49" y="244"/>
                </a:lnTo>
                <a:lnTo>
                  <a:pt x="49" y="240"/>
                </a:lnTo>
                <a:close/>
                <a:moveTo>
                  <a:pt x="88" y="202"/>
                </a:moveTo>
                <a:lnTo>
                  <a:pt x="92" y="202"/>
                </a:lnTo>
                <a:lnTo>
                  <a:pt x="92" y="206"/>
                </a:lnTo>
                <a:lnTo>
                  <a:pt x="88" y="206"/>
                </a:lnTo>
                <a:lnTo>
                  <a:pt x="88" y="202"/>
                </a:lnTo>
                <a:close/>
                <a:moveTo>
                  <a:pt x="84" y="202"/>
                </a:moveTo>
                <a:lnTo>
                  <a:pt x="86" y="202"/>
                </a:lnTo>
                <a:lnTo>
                  <a:pt x="86" y="204"/>
                </a:lnTo>
                <a:lnTo>
                  <a:pt x="84" y="204"/>
                </a:lnTo>
                <a:lnTo>
                  <a:pt x="84" y="202"/>
                </a:lnTo>
                <a:close/>
                <a:moveTo>
                  <a:pt x="90" y="200"/>
                </a:moveTo>
                <a:lnTo>
                  <a:pt x="92" y="200"/>
                </a:lnTo>
                <a:lnTo>
                  <a:pt x="92" y="202"/>
                </a:lnTo>
                <a:lnTo>
                  <a:pt x="90" y="202"/>
                </a:lnTo>
                <a:lnTo>
                  <a:pt x="90" y="200"/>
                </a:lnTo>
                <a:close/>
                <a:moveTo>
                  <a:pt x="88" y="231"/>
                </a:moveTo>
                <a:lnTo>
                  <a:pt x="90" y="231"/>
                </a:lnTo>
                <a:lnTo>
                  <a:pt x="90" y="233"/>
                </a:lnTo>
                <a:lnTo>
                  <a:pt x="88" y="233"/>
                </a:lnTo>
                <a:lnTo>
                  <a:pt x="88" y="231"/>
                </a:lnTo>
                <a:close/>
                <a:moveTo>
                  <a:pt x="57" y="204"/>
                </a:moveTo>
                <a:lnTo>
                  <a:pt x="59" y="204"/>
                </a:lnTo>
                <a:lnTo>
                  <a:pt x="57" y="204"/>
                </a:lnTo>
                <a:close/>
                <a:moveTo>
                  <a:pt x="88" y="202"/>
                </a:moveTo>
                <a:lnTo>
                  <a:pt x="88" y="204"/>
                </a:lnTo>
                <a:lnTo>
                  <a:pt x="88" y="202"/>
                </a:lnTo>
                <a:close/>
                <a:moveTo>
                  <a:pt x="59" y="244"/>
                </a:moveTo>
                <a:lnTo>
                  <a:pt x="59" y="246"/>
                </a:lnTo>
                <a:lnTo>
                  <a:pt x="59" y="244"/>
                </a:lnTo>
                <a:close/>
                <a:moveTo>
                  <a:pt x="71" y="198"/>
                </a:moveTo>
                <a:lnTo>
                  <a:pt x="72" y="198"/>
                </a:lnTo>
                <a:lnTo>
                  <a:pt x="71" y="198"/>
                </a:lnTo>
                <a:close/>
                <a:moveTo>
                  <a:pt x="92" y="217"/>
                </a:moveTo>
                <a:lnTo>
                  <a:pt x="94" y="217"/>
                </a:lnTo>
                <a:lnTo>
                  <a:pt x="94" y="219"/>
                </a:lnTo>
                <a:lnTo>
                  <a:pt x="92" y="219"/>
                </a:lnTo>
                <a:lnTo>
                  <a:pt x="92" y="217"/>
                </a:lnTo>
                <a:close/>
                <a:moveTo>
                  <a:pt x="88" y="200"/>
                </a:moveTo>
                <a:lnTo>
                  <a:pt x="90" y="200"/>
                </a:lnTo>
                <a:lnTo>
                  <a:pt x="90" y="202"/>
                </a:lnTo>
                <a:lnTo>
                  <a:pt x="88" y="202"/>
                </a:lnTo>
                <a:lnTo>
                  <a:pt x="88" y="200"/>
                </a:lnTo>
                <a:close/>
                <a:moveTo>
                  <a:pt x="92" y="219"/>
                </a:moveTo>
                <a:lnTo>
                  <a:pt x="94" y="219"/>
                </a:lnTo>
                <a:lnTo>
                  <a:pt x="92" y="219"/>
                </a:lnTo>
                <a:close/>
                <a:moveTo>
                  <a:pt x="59" y="200"/>
                </a:moveTo>
                <a:lnTo>
                  <a:pt x="61" y="200"/>
                </a:lnTo>
                <a:lnTo>
                  <a:pt x="61" y="202"/>
                </a:lnTo>
                <a:lnTo>
                  <a:pt x="59" y="202"/>
                </a:lnTo>
                <a:lnTo>
                  <a:pt x="59" y="200"/>
                </a:lnTo>
                <a:close/>
                <a:moveTo>
                  <a:pt x="92" y="229"/>
                </a:moveTo>
                <a:lnTo>
                  <a:pt x="92" y="231"/>
                </a:lnTo>
                <a:lnTo>
                  <a:pt x="92" y="229"/>
                </a:lnTo>
                <a:close/>
                <a:moveTo>
                  <a:pt x="94" y="212"/>
                </a:moveTo>
                <a:lnTo>
                  <a:pt x="94" y="213"/>
                </a:lnTo>
                <a:lnTo>
                  <a:pt x="94" y="212"/>
                </a:lnTo>
                <a:close/>
                <a:moveTo>
                  <a:pt x="97" y="210"/>
                </a:moveTo>
                <a:lnTo>
                  <a:pt x="97" y="212"/>
                </a:lnTo>
                <a:lnTo>
                  <a:pt x="97" y="210"/>
                </a:lnTo>
                <a:close/>
                <a:moveTo>
                  <a:pt x="95" y="208"/>
                </a:moveTo>
                <a:lnTo>
                  <a:pt x="97" y="208"/>
                </a:lnTo>
                <a:lnTo>
                  <a:pt x="95" y="208"/>
                </a:lnTo>
                <a:close/>
                <a:moveTo>
                  <a:pt x="63" y="244"/>
                </a:moveTo>
                <a:lnTo>
                  <a:pt x="65" y="244"/>
                </a:lnTo>
                <a:lnTo>
                  <a:pt x="63" y="244"/>
                </a:lnTo>
                <a:close/>
                <a:moveTo>
                  <a:pt x="61" y="242"/>
                </a:moveTo>
                <a:lnTo>
                  <a:pt x="61" y="244"/>
                </a:lnTo>
                <a:lnTo>
                  <a:pt x="61" y="242"/>
                </a:lnTo>
                <a:close/>
                <a:moveTo>
                  <a:pt x="55" y="244"/>
                </a:moveTo>
                <a:lnTo>
                  <a:pt x="55" y="246"/>
                </a:lnTo>
                <a:lnTo>
                  <a:pt x="55" y="244"/>
                </a:lnTo>
                <a:close/>
                <a:moveTo>
                  <a:pt x="90" y="219"/>
                </a:moveTo>
                <a:lnTo>
                  <a:pt x="92" y="219"/>
                </a:lnTo>
                <a:lnTo>
                  <a:pt x="90" y="219"/>
                </a:lnTo>
                <a:close/>
                <a:moveTo>
                  <a:pt x="90" y="233"/>
                </a:moveTo>
                <a:lnTo>
                  <a:pt x="92" y="233"/>
                </a:lnTo>
                <a:lnTo>
                  <a:pt x="90" y="233"/>
                </a:lnTo>
                <a:close/>
                <a:moveTo>
                  <a:pt x="65" y="244"/>
                </a:moveTo>
                <a:lnTo>
                  <a:pt x="67" y="244"/>
                </a:lnTo>
                <a:lnTo>
                  <a:pt x="65" y="244"/>
                </a:lnTo>
                <a:close/>
                <a:moveTo>
                  <a:pt x="95" y="212"/>
                </a:moveTo>
                <a:lnTo>
                  <a:pt x="95" y="213"/>
                </a:lnTo>
                <a:lnTo>
                  <a:pt x="95" y="212"/>
                </a:lnTo>
                <a:close/>
                <a:moveTo>
                  <a:pt x="94" y="229"/>
                </a:moveTo>
                <a:lnTo>
                  <a:pt x="94" y="231"/>
                </a:lnTo>
                <a:lnTo>
                  <a:pt x="94" y="229"/>
                </a:lnTo>
                <a:close/>
                <a:moveTo>
                  <a:pt x="94" y="210"/>
                </a:moveTo>
                <a:lnTo>
                  <a:pt x="95" y="210"/>
                </a:lnTo>
                <a:lnTo>
                  <a:pt x="95" y="212"/>
                </a:lnTo>
                <a:lnTo>
                  <a:pt x="94" y="212"/>
                </a:lnTo>
                <a:lnTo>
                  <a:pt x="94" y="210"/>
                </a:lnTo>
                <a:close/>
                <a:moveTo>
                  <a:pt x="55" y="202"/>
                </a:moveTo>
                <a:lnTo>
                  <a:pt x="57" y="202"/>
                </a:lnTo>
                <a:lnTo>
                  <a:pt x="57" y="204"/>
                </a:lnTo>
                <a:lnTo>
                  <a:pt x="55" y="204"/>
                </a:lnTo>
                <a:lnTo>
                  <a:pt x="55" y="202"/>
                </a:lnTo>
                <a:close/>
                <a:moveTo>
                  <a:pt x="86" y="198"/>
                </a:moveTo>
                <a:lnTo>
                  <a:pt x="86" y="200"/>
                </a:lnTo>
                <a:lnTo>
                  <a:pt x="86" y="198"/>
                </a:lnTo>
                <a:close/>
                <a:moveTo>
                  <a:pt x="63" y="198"/>
                </a:moveTo>
                <a:lnTo>
                  <a:pt x="65" y="198"/>
                </a:lnTo>
                <a:lnTo>
                  <a:pt x="63" y="198"/>
                </a:lnTo>
                <a:close/>
                <a:moveTo>
                  <a:pt x="95" y="204"/>
                </a:moveTo>
                <a:lnTo>
                  <a:pt x="95" y="206"/>
                </a:lnTo>
                <a:lnTo>
                  <a:pt x="95" y="204"/>
                </a:lnTo>
                <a:close/>
                <a:moveTo>
                  <a:pt x="92" y="204"/>
                </a:moveTo>
                <a:lnTo>
                  <a:pt x="94" y="204"/>
                </a:lnTo>
                <a:lnTo>
                  <a:pt x="94" y="206"/>
                </a:lnTo>
                <a:lnTo>
                  <a:pt x="92" y="206"/>
                </a:lnTo>
                <a:lnTo>
                  <a:pt x="92" y="204"/>
                </a:lnTo>
                <a:close/>
                <a:moveTo>
                  <a:pt x="88" y="231"/>
                </a:moveTo>
                <a:lnTo>
                  <a:pt x="90" y="231"/>
                </a:lnTo>
                <a:lnTo>
                  <a:pt x="88" y="231"/>
                </a:lnTo>
                <a:close/>
                <a:moveTo>
                  <a:pt x="94" y="210"/>
                </a:moveTo>
                <a:lnTo>
                  <a:pt x="95" y="210"/>
                </a:lnTo>
                <a:lnTo>
                  <a:pt x="94" y="210"/>
                </a:lnTo>
                <a:close/>
                <a:moveTo>
                  <a:pt x="97" y="208"/>
                </a:moveTo>
                <a:lnTo>
                  <a:pt x="97" y="210"/>
                </a:lnTo>
                <a:lnTo>
                  <a:pt x="97" y="208"/>
                </a:lnTo>
                <a:close/>
                <a:moveTo>
                  <a:pt x="92" y="208"/>
                </a:moveTo>
                <a:lnTo>
                  <a:pt x="94" y="208"/>
                </a:lnTo>
                <a:lnTo>
                  <a:pt x="92" y="208"/>
                </a:lnTo>
                <a:close/>
                <a:moveTo>
                  <a:pt x="71" y="235"/>
                </a:moveTo>
                <a:lnTo>
                  <a:pt x="72" y="235"/>
                </a:lnTo>
                <a:lnTo>
                  <a:pt x="71" y="235"/>
                </a:lnTo>
                <a:close/>
                <a:moveTo>
                  <a:pt x="92" y="215"/>
                </a:moveTo>
                <a:lnTo>
                  <a:pt x="94" y="215"/>
                </a:lnTo>
                <a:lnTo>
                  <a:pt x="94" y="217"/>
                </a:lnTo>
                <a:lnTo>
                  <a:pt x="92" y="217"/>
                </a:lnTo>
                <a:lnTo>
                  <a:pt x="92" y="215"/>
                </a:lnTo>
                <a:close/>
                <a:moveTo>
                  <a:pt x="94" y="215"/>
                </a:moveTo>
                <a:lnTo>
                  <a:pt x="95" y="215"/>
                </a:lnTo>
                <a:lnTo>
                  <a:pt x="94" y="215"/>
                </a:lnTo>
                <a:close/>
                <a:moveTo>
                  <a:pt x="86" y="200"/>
                </a:moveTo>
                <a:lnTo>
                  <a:pt x="86" y="202"/>
                </a:lnTo>
                <a:lnTo>
                  <a:pt x="86" y="200"/>
                </a:lnTo>
                <a:close/>
                <a:moveTo>
                  <a:pt x="103" y="235"/>
                </a:moveTo>
                <a:lnTo>
                  <a:pt x="105" y="235"/>
                </a:lnTo>
                <a:lnTo>
                  <a:pt x="103" y="235"/>
                </a:lnTo>
                <a:close/>
                <a:moveTo>
                  <a:pt x="90" y="227"/>
                </a:moveTo>
                <a:lnTo>
                  <a:pt x="92" y="227"/>
                </a:lnTo>
                <a:lnTo>
                  <a:pt x="92" y="229"/>
                </a:lnTo>
                <a:lnTo>
                  <a:pt x="90" y="229"/>
                </a:lnTo>
                <a:lnTo>
                  <a:pt x="90" y="227"/>
                </a:lnTo>
                <a:close/>
                <a:moveTo>
                  <a:pt x="94" y="229"/>
                </a:moveTo>
                <a:lnTo>
                  <a:pt x="95" y="229"/>
                </a:lnTo>
                <a:lnTo>
                  <a:pt x="94" y="229"/>
                </a:lnTo>
                <a:close/>
                <a:moveTo>
                  <a:pt x="94" y="215"/>
                </a:moveTo>
                <a:lnTo>
                  <a:pt x="94" y="217"/>
                </a:lnTo>
                <a:lnTo>
                  <a:pt x="94" y="215"/>
                </a:lnTo>
                <a:close/>
                <a:moveTo>
                  <a:pt x="88" y="200"/>
                </a:moveTo>
                <a:lnTo>
                  <a:pt x="90" y="200"/>
                </a:lnTo>
                <a:lnTo>
                  <a:pt x="88" y="200"/>
                </a:lnTo>
                <a:close/>
                <a:moveTo>
                  <a:pt x="84" y="204"/>
                </a:moveTo>
                <a:lnTo>
                  <a:pt x="84" y="206"/>
                </a:lnTo>
                <a:lnTo>
                  <a:pt x="84" y="204"/>
                </a:lnTo>
                <a:close/>
                <a:moveTo>
                  <a:pt x="53" y="206"/>
                </a:moveTo>
                <a:lnTo>
                  <a:pt x="55" y="206"/>
                </a:lnTo>
                <a:lnTo>
                  <a:pt x="53" y="206"/>
                </a:lnTo>
                <a:close/>
                <a:moveTo>
                  <a:pt x="95" y="213"/>
                </a:moveTo>
                <a:lnTo>
                  <a:pt x="95" y="215"/>
                </a:lnTo>
                <a:lnTo>
                  <a:pt x="95" y="213"/>
                </a:lnTo>
                <a:close/>
                <a:moveTo>
                  <a:pt x="94" y="206"/>
                </a:moveTo>
                <a:lnTo>
                  <a:pt x="95" y="206"/>
                </a:lnTo>
                <a:lnTo>
                  <a:pt x="95" y="208"/>
                </a:lnTo>
                <a:lnTo>
                  <a:pt x="94" y="208"/>
                </a:lnTo>
                <a:lnTo>
                  <a:pt x="94" y="206"/>
                </a:lnTo>
                <a:close/>
                <a:moveTo>
                  <a:pt x="55" y="202"/>
                </a:moveTo>
                <a:lnTo>
                  <a:pt x="57" y="202"/>
                </a:lnTo>
                <a:lnTo>
                  <a:pt x="57" y="204"/>
                </a:lnTo>
                <a:lnTo>
                  <a:pt x="55" y="204"/>
                </a:lnTo>
                <a:lnTo>
                  <a:pt x="55" y="202"/>
                </a:lnTo>
                <a:close/>
                <a:moveTo>
                  <a:pt x="94" y="215"/>
                </a:moveTo>
                <a:lnTo>
                  <a:pt x="95" y="215"/>
                </a:lnTo>
                <a:lnTo>
                  <a:pt x="94" y="215"/>
                </a:lnTo>
                <a:close/>
                <a:moveTo>
                  <a:pt x="90" y="229"/>
                </a:moveTo>
                <a:lnTo>
                  <a:pt x="92" y="229"/>
                </a:lnTo>
                <a:lnTo>
                  <a:pt x="90" y="229"/>
                </a:lnTo>
                <a:close/>
                <a:moveTo>
                  <a:pt x="94" y="210"/>
                </a:moveTo>
                <a:lnTo>
                  <a:pt x="95" y="210"/>
                </a:lnTo>
                <a:lnTo>
                  <a:pt x="94" y="210"/>
                </a:lnTo>
                <a:close/>
                <a:moveTo>
                  <a:pt x="90" y="229"/>
                </a:moveTo>
                <a:lnTo>
                  <a:pt x="92" y="229"/>
                </a:lnTo>
                <a:lnTo>
                  <a:pt x="90" y="229"/>
                </a:lnTo>
                <a:close/>
                <a:moveTo>
                  <a:pt x="94" y="215"/>
                </a:moveTo>
                <a:lnTo>
                  <a:pt x="95" y="215"/>
                </a:lnTo>
                <a:lnTo>
                  <a:pt x="94" y="215"/>
                </a:lnTo>
                <a:close/>
                <a:moveTo>
                  <a:pt x="95" y="210"/>
                </a:moveTo>
                <a:lnTo>
                  <a:pt x="97" y="210"/>
                </a:lnTo>
                <a:lnTo>
                  <a:pt x="95" y="210"/>
                </a:lnTo>
                <a:close/>
                <a:moveTo>
                  <a:pt x="67" y="246"/>
                </a:moveTo>
                <a:lnTo>
                  <a:pt x="69" y="246"/>
                </a:lnTo>
                <a:lnTo>
                  <a:pt x="67" y="246"/>
                </a:lnTo>
                <a:close/>
                <a:moveTo>
                  <a:pt x="86" y="204"/>
                </a:moveTo>
                <a:lnTo>
                  <a:pt x="88" y="204"/>
                </a:lnTo>
                <a:lnTo>
                  <a:pt x="86" y="204"/>
                </a:lnTo>
                <a:close/>
                <a:moveTo>
                  <a:pt x="88" y="231"/>
                </a:moveTo>
                <a:lnTo>
                  <a:pt x="88" y="233"/>
                </a:lnTo>
                <a:lnTo>
                  <a:pt x="88" y="231"/>
                </a:lnTo>
                <a:close/>
                <a:moveTo>
                  <a:pt x="95" y="212"/>
                </a:moveTo>
                <a:lnTo>
                  <a:pt x="95" y="213"/>
                </a:lnTo>
                <a:lnTo>
                  <a:pt x="95" y="212"/>
                </a:lnTo>
                <a:close/>
                <a:moveTo>
                  <a:pt x="86" y="202"/>
                </a:moveTo>
                <a:lnTo>
                  <a:pt x="86" y="204"/>
                </a:lnTo>
                <a:lnTo>
                  <a:pt x="86" y="202"/>
                </a:lnTo>
                <a:close/>
                <a:moveTo>
                  <a:pt x="84" y="206"/>
                </a:moveTo>
                <a:lnTo>
                  <a:pt x="86" y="206"/>
                </a:lnTo>
                <a:lnTo>
                  <a:pt x="84" y="206"/>
                </a:lnTo>
                <a:close/>
                <a:moveTo>
                  <a:pt x="86" y="202"/>
                </a:moveTo>
                <a:lnTo>
                  <a:pt x="88" y="202"/>
                </a:lnTo>
                <a:lnTo>
                  <a:pt x="86" y="202"/>
                </a:lnTo>
                <a:close/>
                <a:moveTo>
                  <a:pt x="95" y="206"/>
                </a:moveTo>
                <a:lnTo>
                  <a:pt x="95" y="208"/>
                </a:lnTo>
                <a:lnTo>
                  <a:pt x="95" y="206"/>
                </a:lnTo>
                <a:close/>
                <a:moveTo>
                  <a:pt x="88" y="200"/>
                </a:moveTo>
                <a:lnTo>
                  <a:pt x="90" y="200"/>
                </a:lnTo>
                <a:lnTo>
                  <a:pt x="88" y="200"/>
                </a:lnTo>
                <a:close/>
                <a:moveTo>
                  <a:pt x="92" y="225"/>
                </a:moveTo>
                <a:lnTo>
                  <a:pt x="92" y="227"/>
                </a:lnTo>
                <a:lnTo>
                  <a:pt x="92" y="225"/>
                </a:lnTo>
                <a:close/>
                <a:moveTo>
                  <a:pt x="95" y="229"/>
                </a:moveTo>
                <a:lnTo>
                  <a:pt x="95" y="231"/>
                </a:lnTo>
                <a:lnTo>
                  <a:pt x="95" y="229"/>
                </a:lnTo>
                <a:close/>
                <a:moveTo>
                  <a:pt x="90" y="231"/>
                </a:moveTo>
                <a:lnTo>
                  <a:pt x="92" y="231"/>
                </a:lnTo>
                <a:lnTo>
                  <a:pt x="92" y="233"/>
                </a:lnTo>
                <a:lnTo>
                  <a:pt x="90" y="233"/>
                </a:lnTo>
                <a:lnTo>
                  <a:pt x="90" y="231"/>
                </a:lnTo>
                <a:close/>
                <a:moveTo>
                  <a:pt x="95" y="227"/>
                </a:moveTo>
                <a:lnTo>
                  <a:pt x="95" y="229"/>
                </a:lnTo>
                <a:lnTo>
                  <a:pt x="95" y="227"/>
                </a:lnTo>
                <a:close/>
                <a:moveTo>
                  <a:pt x="53" y="242"/>
                </a:moveTo>
                <a:lnTo>
                  <a:pt x="55" y="242"/>
                </a:lnTo>
                <a:lnTo>
                  <a:pt x="53" y="242"/>
                </a:lnTo>
                <a:close/>
                <a:moveTo>
                  <a:pt x="92" y="225"/>
                </a:moveTo>
                <a:lnTo>
                  <a:pt x="92" y="227"/>
                </a:lnTo>
                <a:lnTo>
                  <a:pt x="92" y="225"/>
                </a:lnTo>
                <a:close/>
                <a:moveTo>
                  <a:pt x="90" y="231"/>
                </a:moveTo>
                <a:lnTo>
                  <a:pt x="92" y="231"/>
                </a:lnTo>
                <a:lnTo>
                  <a:pt x="90" y="231"/>
                </a:lnTo>
                <a:close/>
                <a:moveTo>
                  <a:pt x="90" y="229"/>
                </a:moveTo>
                <a:lnTo>
                  <a:pt x="92" y="229"/>
                </a:lnTo>
                <a:lnTo>
                  <a:pt x="90" y="229"/>
                </a:lnTo>
                <a:close/>
                <a:moveTo>
                  <a:pt x="97" y="215"/>
                </a:moveTo>
                <a:lnTo>
                  <a:pt x="99" y="215"/>
                </a:lnTo>
                <a:lnTo>
                  <a:pt x="97" y="215"/>
                </a:lnTo>
                <a:close/>
                <a:moveTo>
                  <a:pt x="95" y="208"/>
                </a:moveTo>
                <a:lnTo>
                  <a:pt x="95" y="210"/>
                </a:lnTo>
                <a:lnTo>
                  <a:pt x="95" y="208"/>
                </a:lnTo>
                <a:close/>
                <a:moveTo>
                  <a:pt x="97" y="212"/>
                </a:moveTo>
                <a:lnTo>
                  <a:pt x="97" y="213"/>
                </a:lnTo>
                <a:lnTo>
                  <a:pt x="97" y="212"/>
                </a:lnTo>
                <a:close/>
                <a:moveTo>
                  <a:pt x="90" y="229"/>
                </a:moveTo>
                <a:lnTo>
                  <a:pt x="92" y="229"/>
                </a:lnTo>
                <a:lnTo>
                  <a:pt x="90" y="229"/>
                </a:lnTo>
                <a:close/>
                <a:moveTo>
                  <a:pt x="95" y="221"/>
                </a:moveTo>
                <a:lnTo>
                  <a:pt x="97" y="221"/>
                </a:lnTo>
                <a:lnTo>
                  <a:pt x="95" y="221"/>
                </a:lnTo>
                <a:close/>
                <a:moveTo>
                  <a:pt x="69" y="246"/>
                </a:moveTo>
                <a:lnTo>
                  <a:pt x="69" y="248"/>
                </a:lnTo>
                <a:lnTo>
                  <a:pt x="69" y="246"/>
                </a:lnTo>
                <a:close/>
                <a:moveTo>
                  <a:pt x="94" y="210"/>
                </a:moveTo>
                <a:lnTo>
                  <a:pt x="95" y="210"/>
                </a:lnTo>
                <a:lnTo>
                  <a:pt x="94" y="210"/>
                </a:lnTo>
                <a:close/>
                <a:moveTo>
                  <a:pt x="95" y="227"/>
                </a:moveTo>
                <a:lnTo>
                  <a:pt x="95" y="229"/>
                </a:lnTo>
                <a:lnTo>
                  <a:pt x="95" y="227"/>
                </a:lnTo>
                <a:close/>
                <a:moveTo>
                  <a:pt x="94" y="227"/>
                </a:moveTo>
                <a:lnTo>
                  <a:pt x="95" y="227"/>
                </a:lnTo>
                <a:lnTo>
                  <a:pt x="94" y="227"/>
                </a:lnTo>
                <a:close/>
                <a:moveTo>
                  <a:pt x="95" y="227"/>
                </a:moveTo>
                <a:lnTo>
                  <a:pt x="95" y="229"/>
                </a:lnTo>
                <a:lnTo>
                  <a:pt x="95" y="227"/>
                </a:lnTo>
                <a:close/>
                <a:moveTo>
                  <a:pt x="88" y="233"/>
                </a:moveTo>
                <a:lnTo>
                  <a:pt x="90" y="233"/>
                </a:lnTo>
                <a:lnTo>
                  <a:pt x="88" y="233"/>
                </a:lnTo>
                <a:close/>
                <a:moveTo>
                  <a:pt x="94" y="204"/>
                </a:moveTo>
                <a:lnTo>
                  <a:pt x="94" y="206"/>
                </a:lnTo>
                <a:lnTo>
                  <a:pt x="94" y="204"/>
                </a:lnTo>
                <a:close/>
                <a:moveTo>
                  <a:pt x="90" y="202"/>
                </a:moveTo>
                <a:lnTo>
                  <a:pt x="90" y="204"/>
                </a:lnTo>
                <a:lnTo>
                  <a:pt x="90" y="202"/>
                </a:lnTo>
                <a:close/>
                <a:moveTo>
                  <a:pt x="46" y="212"/>
                </a:moveTo>
                <a:lnTo>
                  <a:pt x="46" y="213"/>
                </a:lnTo>
                <a:lnTo>
                  <a:pt x="46" y="212"/>
                </a:lnTo>
                <a:close/>
                <a:moveTo>
                  <a:pt x="92" y="217"/>
                </a:moveTo>
                <a:lnTo>
                  <a:pt x="94" y="217"/>
                </a:lnTo>
                <a:lnTo>
                  <a:pt x="92" y="217"/>
                </a:lnTo>
                <a:close/>
                <a:moveTo>
                  <a:pt x="92" y="217"/>
                </a:moveTo>
                <a:lnTo>
                  <a:pt x="94" y="217"/>
                </a:lnTo>
                <a:lnTo>
                  <a:pt x="92" y="217"/>
                </a:lnTo>
                <a:close/>
                <a:moveTo>
                  <a:pt x="86" y="204"/>
                </a:moveTo>
                <a:lnTo>
                  <a:pt x="88" y="204"/>
                </a:lnTo>
                <a:lnTo>
                  <a:pt x="86" y="204"/>
                </a:lnTo>
                <a:close/>
                <a:moveTo>
                  <a:pt x="95" y="223"/>
                </a:moveTo>
                <a:lnTo>
                  <a:pt x="95" y="225"/>
                </a:lnTo>
                <a:lnTo>
                  <a:pt x="95" y="223"/>
                </a:lnTo>
                <a:close/>
                <a:moveTo>
                  <a:pt x="82" y="204"/>
                </a:moveTo>
                <a:lnTo>
                  <a:pt x="84" y="204"/>
                </a:lnTo>
                <a:lnTo>
                  <a:pt x="82" y="204"/>
                </a:lnTo>
                <a:close/>
                <a:moveTo>
                  <a:pt x="92" y="231"/>
                </a:moveTo>
                <a:lnTo>
                  <a:pt x="92" y="233"/>
                </a:lnTo>
                <a:lnTo>
                  <a:pt x="92" y="231"/>
                </a:lnTo>
                <a:close/>
                <a:moveTo>
                  <a:pt x="92" y="219"/>
                </a:moveTo>
                <a:lnTo>
                  <a:pt x="94" y="219"/>
                </a:lnTo>
                <a:lnTo>
                  <a:pt x="92" y="219"/>
                </a:lnTo>
                <a:close/>
                <a:moveTo>
                  <a:pt x="90" y="231"/>
                </a:moveTo>
                <a:lnTo>
                  <a:pt x="90" y="233"/>
                </a:lnTo>
                <a:lnTo>
                  <a:pt x="90" y="231"/>
                </a:lnTo>
                <a:close/>
                <a:moveTo>
                  <a:pt x="95" y="206"/>
                </a:moveTo>
                <a:lnTo>
                  <a:pt x="95" y="208"/>
                </a:lnTo>
                <a:lnTo>
                  <a:pt x="95" y="206"/>
                </a:lnTo>
                <a:close/>
                <a:moveTo>
                  <a:pt x="94" y="229"/>
                </a:moveTo>
                <a:lnTo>
                  <a:pt x="95" y="229"/>
                </a:lnTo>
                <a:lnTo>
                  <a:pt x="94" y="229"/>
                </a:lnTo>
                <a:close/>
                <a:moveTo>
                  <a:pt x="86" y="198"/>
                </a:moveTo>
                <a:lnTo>
                  <a:pt x="86" y="200"/>
                </a:lnTo>
                <a:lnTo>
                  <a:pt x="86" y="198"/>
                </a:lnTo>
                <a:close/>
                <a:moveTo>
                  <a:pt x="95" y="210"/>
                </a:moveTo>
                <a:lnTo>
                  <a:pt x="95" y="212"/>
                </a:lnTo>
                <a:lnTo>
                  <a:pt x="95" y="210"/>
                </a:lnTo>
                <a:close/>
                <a:moveTo>
                  <a:pt x="86" y="202"/>
                </a:moveTo>
                <a:lnTo>
                  <a:pt x="88" y="202"/>
                </a:lnTo>
                <a:lnTo>
                  <a:pt x="86" y="202"/>
                </a:lnTo>
                <a:close/>
                <a:moveTo>
                  <a:pt x="90" y="200"/>
                </a:moveTo>
                <a:lnTo>
                  <a:pt x="92" y="200"/>
                </a:lnTo>
                <a:lnTo>
                  <a:pt x="90" y="200"/>
                </a:lnTo>
                <a:close/>
                <a:moveTo>
                  <a:pt x="94" y="229"/>
                </a:moveTo>
                <a:lnTo>
                  <a:pt x="95" y="229"/>
                </a:lnTo>
                <a:lnTo>
                  <a:pt x="94" y="229"/>
                </a:lnTo>
                <a:close/>
                <a:moveTo>
                  <a:pt x="95" y="221"/>
                </a:moveTo>
                <a:lnTo>
                  <a:pt x="95" y="223"/>
                </a:lnTo>
                <a:lnTo>
                  <a:pt x="95" y="221"/>
                </a:lnTo>
                <a:close/>
                <a:moveTo>
                  <a:pt x="94" y="213"/>
                </a:moveTo>
                <a:lnTo>
                  <a:pt x="94" y="215"/>
                </a:lnTo>
                <a:lnTo>
                  <a:pt x="94" y="213"/>
                </a:lnTo>
                <a:close/>
                <a:moveTo>
                  <a:pt x="94" y="208"/>
                </a:moveTo>
                <a:lnTo>
                  <a:pt x="95" y="208"/>
                </a:lnTo>
                <a:lnTo>
                  <a:pt x="94" y="208"/>
                </a:lnTo>
                <a:close/>
                <a:moveTo>
                  <a:pt x="97" y="217"/>
                </a:moveTo>
                <a:lnTo>
                  <a:pt x="97" y="219"/>
                </a:lnTo>
                <a:lnTo>
                  <a:pt x="97" y="217"/>
                </a:lnTo>
                <a:close/>
              </a:path>
            </a:pathLst>
          </a:custGeom>
          <a:solidFill>
            <a:schemeClr val="accent1">
              <a:lumMod val="75000"/>
            </a:schemeClr>
          </a:solidFill>
          <a:ln w="6350">
            <a:solidFill>
              <a:srgbClr val="B3B3B3"/>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5. Source">
            <a:extLst>
              <a:ext uri="{FF2B5EF4-FFF2-40B4-BE49-F238E27FC236}">
                <a16:creationId xmlns:a16="http://schemas.microsoft.com/office/drawing/2014/main" id="{3DF2CD19-E54F-486F-BEEC-6F9131FFD8D3}"/>
              </a:ext>
            </a:extLst>
          </p:cNvPr>
          <p:cNvSpPr txBox="1"/>
          <p:nvPr>
            <p:custDataLst>
              <p:tags r:id="rId57"/>
            </p:custDataLst>
          </p:nvPr>
        </p:nvSpPr>
        <p:spPr>
          <a:xfrm>
            <a:off x="642937" y="9649539"/>
            <a:ext cx="5700713" cy="123111"/>
          </a:xfrm>
          <a:prstGeom prst="rect">
            <a:avLst/>
          </a:prstGeom>
          <a:noFill/>
        </p:spPr>
        <p:txBody>
          <a:bodyPr vert="horz" wrap="square" lIns="0" tIns="0" rIns="0" bIns="0" rtlCol="0" anchor="b" anchorCtr="0">
            <a:spAutoFit/>
          </a:bodyPr>
          <a:lstStyle/>
          <a:p>
            <a:r>
              <a:rPr lang="fr-FR" sz="800" dirty="0">
                <a:latin typeface="SangBleu Sunrise" panose="020B0504000000000004" pitchFamily="34" charset="-52"/>
                <a:ea typeface="SangBleu Sunrise" panose="020B0504000000000004" pitchFamily="34" charset="-52"/>
              </a:rPr>
              <a:t>SOURCE: </a:t>
            </a:r>
            <a:r>
              <a:rPr lang="en-US" sz="800" dirty="0">
                <a:latin typeface="SangBleu Sunrise" panose="020B0504000000000004" pitchFamily="34" charset="-52"/>
                <a:ea typeface="SangBleu Sunrise" panose="020B0504000000000004" pitchFamily="34" charset="-52"/>
              </a:rPr>
              <a:t>“For PROMOMED’s Investors” presentations</a:t>
            </a:r>
            <a:r>
              <a:rPr lang="ru-RU" sz="800" dirty="0">
                <a:latin typeface="SangBleu Sunrise" panose="020B0504000000000004" pitchFamily="34" charset="-52"/>
                <a:ea typeface="SangBleu Sunrise" panose="020B0504000000000004" pitchFamily="34" charset="-52"/>
              </a:rPr>
              <a:t> </a:t>
            </a:r>
            <a:r>
              <a:rPr lang="en-US" sz="800" dirty="0">
                <a:latin typeface="SangBleu Sunrise" panose="020B0504000000000004" pitchFamily="34" charset="-52"/>
                <a:ea typeface="SangBleu Sunrise" panose="020B0504000000000004" pitchFamily="34" charset="-52"/>
              </a:rPr>
              <a:t>, PROMOMED prospectus, Strategy Partners report</a:t>
            </a:r>
            <a:endParaRPr lang="fr-FR" sz="800" dirty="0">
              <a:latin typeface="SangBleu Sunrise" panose="020B0504000000000004" pitchFamily="34" charset="-52"/>
              <a:ea typeface="SangBleu Sunrise" panose="020B0504000000000004" pitchFamily="34" charset="-52"/>
            </a:endParaRPr>
          </a:p>
        </p:txBody>
      </p:sp>
    </p:spTree>
    <p:extLst>
      <p:ext uri="{BB962C8B-B14F-4D97-AF65-F5344CB8AC3E}">
        <p14:creationId xmlns:p14="http://schemas.microsoft.com/office/powerpoint/2010/main" val="27941738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D4FE7E-DE6C-4F35-B505-6CC6CC141975}"/>
              </a:ext>
            </a:extLst>
          </p:cNvPr>
          <p:cNvGraphicFramePr>
            <a:graphicFrameLocks noChangeAspect="1"/>
          </p:cNvGraphicFramePr>
          <p:nvPr>
            <p:custDataLst>
              <p:tags r:id="rId2"/>
            </p:custDataLst>
            <p:extLst>
              <p:ext uri="{D42A27DB-BD31-4B8C-83A1-F6EECF244321}">
                <p14:modId xmlns:p14="http://schemas.microsoft.com/office/powerpoint/2010/main" val="583596427"/>
              </p:ext>
            </p:extLst>
          </p:nvPr>
        </p:nvGraphicFramePr>
        <p:xfrm>
          <a:off x="644228" y="1290"/>
          <a:ext cx="1290" cy="1290"/>
        </p:xfrm>
        <a:graphic>
          <a:graphicData uri="http://schemas.openxmlformats.org/presentationml/2006/ole">
            <mc:AlternateContent xmlns:mc="http://schemas.openxmlformats.org/markup-compatibility/2006">
              <mc:Choice xmlns:v="urn:schemas-microsoft-com:vml" Requires="v">
                <p:oleObj spid="_x0000_s20552" name="think-cell Slide" r:id="rId19" imgW="395" imgH="396" progId="TCLayout.ActiveDocument.1">
                  <p:embed/>
                </p:oleObj>
              </mc:Choice>
              <mc:Fallback>
                <p:oleObj name="think-cell Slide" r:id="rId19" imgW="395" imgH="396" progId="TCLayout.ActiveDocument.1">
                  <p:embed/>
                  <p:pic>
                    <p:nvPicPr>
                      <p:cNvPr id="3" name="think-cell data - do not delete" hidden="1">
                        <a:extLst>
                          <a:ext uri="{FF2B5EF4-FFF2-40B4-BE49-F238E27FC236}">
                            <a16:creationId xmlns:a16="http://schemas.microsoft.com/office/drawing/2014/main" id="{89D4FE7E-DE6C-4F35-B505-6CC6CC141975}"/>
                          </a:ext>
                        </a:extLst>
                      </p:cNvPr>
                      <p:cNvPicPr/>
                      <p:nvPr/>
                    </p:nvPicPr>
                    <p:blipFill>
                      <a:blip r:embed="rId20"/>
                      <a:stretch>
                        <a:fillRect/>
                      </a:stretch>
                    </p:blipFill>
                    <p:spPr>
                      <a:xfrm>
                        <a:off x="644228" y="1290"/>
                        <a:ext cx="1290" cy="12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DC6F282-9C52-4591-8034-371A789171B5}"/>
              </a:ext>
            </a:extLst>
          </p:cNvPr>
          <p:cNvSpPr>
            <a:spLocks noGrp="1"/>
          </p:cNvSpPr>
          <p:nvPr>
            <p:ph type="title"/>
          </p:nvPr>
        </p:nvSpPr>
        <p:spPr>
          <a:xfrm>
            <a:off x="1026023" y="315188"/>
            <a:ext cx="4805958" cy="424732"/>
          </a:xfrm>
          <a:noFill/>
          <a:ln>
            <a:solidFill>
              <a:schemeClr val="bg1">
                <a:alpha val="98000"/>
              </a:schemeClr>
            </a:solidFill>
          </a:ln>
        </p:spPr>
        <p:txBody>
          <a:bodyPr vert="horz" wrap="square" anchor="ctr" anchorCtr="0">
            <a:spAutoFit/>
          </a:bodyPr>
          <a:lstStyle/>
          <a:p>
            <a:r>
              <a:rPr lang="en-US" sz="2400" i="0" u="none" strike="noStrike" dirty="0">
                <a:effectLst/>
                <a:latin typeface="SangBleu Sunrise" panose="020B0504000000000004" pitchFamily="34" charset="-52"/>
                <a:ea typeface="SangBleu Sunrise" panose="020B0504000000000004" pitchFamily="34" charset="-52"/>
              </a:rPr>
              <a:t>R&amp;D, Innovation, and Science</a:t>
            </a:r>
            <a:endParaRPr lang="ru-RU" sz="2400" dirty="0">
              <a:latin typeface="SangBleu Sunrise" panose="020B0504000000000004" pitchFamily="34" charset="-52"/>
              <a:ea typeface="SangBleu Sunrise" panose="020B0504000000000004" pitchFamily="34" charset="-52"/>
            </a:endParaRPr>
          </a:p>
        </p:txBody>
      </p:sp>
      <p:sp>
        <p:nvSpPr>
          <p:cNvPr id="12" name="Title 3">
            <a:extLst>
              <a:ext uri="{FF2B5EF4-FFF2-40B4-BE49-F238E27FC236}">
                <a16:creationId xmlns:a16="http://schemas.microsoft.com/office/drawing/2014/main" id="{46B4D404-F0F8-476D-BAA5-A678BD56703E}"/>
              </a:ext>
            </a:extLst>
          </p:cNvPr>
          <p:cNvSpPr txBox="1">
            <a:spLocks/>
          </p:cNvSpPr>
          <p:nvPr/>
        </p:nvSpPr>
        <p:spPr>
          <a:xfrm>
            <a:off x="1026022" y="951283"/>
            <a:ext cx="5555848" cy="228942"/>
          </a:xfrm>
          <a:prstGeom prst="rect">
            <a:avLst/>
          </a:prstGeom>
          <a:solidFill>
            <a:schemeClr val="accent1">
              <a:lumMod val="50000"/>
            </a:schemeClr>
          </a:solidFill>
          <a:ln>
            <a:noFill/>
          </a:ln>
        </p:spPr>
        <p:txBody>
          <a:bodyPr vert="horz" wrap="square" lIns="58500" tIns="58500" rIns="58500" bIns="58500" rtlCol="0"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a:solidFill>
                  <a:schemeClr val="bg1"/>
                </a:solidFill>
                <a:latin typeface="SangBleu Sunrise" panose="020B0504000000000004" pitchFamily="34" charset="-52"/>
                <a:ea typeface="SangBleu Sunrise" panose="020B0504000000000004" pitchFamily="34" charset="-52"/>
              </a:rPr>
              <a:t>Research Process:</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136" name="1. On-page tracker">
            <a:extLst>
              <a:ext uri="{FF2B5EF4-FFF2-40B4-BE49-F238E27FC236}">
                <a16:creationId xmlns:a16="http://schemas.microsoft.com/office/drawing/2014/main" id="{446AE41F-44AB-41C4-8747-E53ABBB5FD84}"/>
              </a:ext>
            </a:extLst>
          </p:cNvPr>
          <p:cNvSpPr txBox="1"/>
          <p:nvPr>
            <p:custDataLst>
              <p:tags r:id="rId3"/>
            </p:custDataLst>
          </p:nvPr>
        </p:nvSpPr>
        <p:spPr>
          <a:xfrm>
            <a:off x="746125" y="51596"/>
            <a:ext cx="1547813" cy="123111"/>
          </a:xfrm>
          <a:prstGeom prst="rect">
            <a:avLst/>
          </a:prstGeom>
          <a:solidFill>
            <a:schemeClr val="bg2"/>
          </a:solidFill>
        </p:spPr>
        <p:txBody>
          <a:bodyPr vert="horz" wrap="square" lIns="0" tIns="0" rIns="0" bIns="0" rtlCol="0">
            <a:spAutoFit/>
          </a:bodyPr>
          <a:lstStyle/>
          <a:p>
            <a:r>
              <a:rPr lang="en-US" sz="800" dirty="0">
                <a:latin typeface="SangBleu Sunrise" panose="020B0504000000000004" pitchFamily="34" charset="-52"/>
                <a:ea typeface="SangBleu Sunrise" panose="020B0504000000000004" pitchFamily="34" charset="-52"/>
              </a:rPr>
              <a:t>Business Model</a:t>
            </a:r>
            <a:endParaRPr lang="ru-RU" sz="800" dirty="0">
              <a:latin typeface="SangBleu Sunrise" panose="020B0504000000000004" pitchFamily="34" charset="-52"/>
              <a:ea typeface="SangBleu Sunrise" panose="020B0504000000000004" pitchFamily="34" charset="-52"/>
            </a:endParaRPr>
          </a:p>
        </p:txBody>
      </p:sp>
      <p:sp>
        <p:nvSpPr>
          <p:cNvPr id="169" name="Rectangle 168">
            <a:extLst>
              <a:ext uri="{FF2B5EF4-FFF2-40B4-BE49-F238E27FC236}">
                <a16:creationId xmlns:a16="http://schemas.microsoft.com/office/drawing/2014/main" id="{DF96BFAE-FA65-4AFA-9A69-05F699762379}"/>
              </a:ext>
            </a:extLst>
          </p:cNvPr>
          <p:cNvSpPr>
            <a:spLocks/>
          </p:cNvSpPr>
          <p:nvPr/>
        </p:nvSpPr>
        <p:spPr>
          <a:xfrm>
            <a:off x="1026022" y="1316934"/>
            <a:ext cx="2263278" cy="4010716"/>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i="0" u="none" strike="noStrike" dirty="0">
                <a:solidFill>
                  <a:schemeClr val="tx1"/>
                </a:solidFill>
                <a:effectLst/>
                <a:latin typeface="SangBleu Sunrise" panose="020B0504000000000004" pitchFamily="34" charset="-52"/>
                <a:ea typeface="SangBleu Sunrise" panose="020B0504000000000004" pitchFamily="34" charset="-52"/>
              </a:rPr>
              <a:t>R&amp;D center: </a:t>
            </a:r>
            <a:r>
              <a:rPr lang="en-US" sz="800" dirty="0">
                <a:solidFill>
                  <a:schemeClr val="tx1"/>
                </a:solidFill>
                <a:latin typeface="SangBleu Sunrise" panose="020B0504000000000004" pitchFamily="34" charset="-52"/>
                <a:ea typeface="SangBleu Sunrise" panose="020B0504000000000004" pitchFamily="34" charset="-52"/>
              </a:rPr>
              <a:t>PROMOMED operates a fully integrated R&amp;D center, covering the entire development cycle — from molecule discovery to technology transfer and product registration. </a:t>
            </a:r>
            <a:endParaRPr lang="ru-RU" sz="800" dirty="0">
              <a:solidFill>
                <a:schemeClr val="tx1"/>
              </a:solidFill>
              <a:latin typeface="SangBleu Sunrise" panose="020B0504000000000004" pitchFamily="34" charset="-52"/>
              <a:ea typeface="SangBleu Sunrise" panose="020B0504000000000004" pitchFamily="34" charset="-52"/>
            </a:endParaRPr>
          </a:p>
          <a:p>
            <a:endParaRPr lang="ru-RU" sz="800" dirty="0">
              <a:solidFill>
                <a:schemeClr val="tx1"/>
              </a:solidFill>
              <a:latin typeface="SangBleu Sunrise" panose="020B0504000000000004" pitchFamily="34" charset="-52"/>
              <a:ea typeface="SangBleu Sunrise" panose="020B0504000000000004" pitchFamily="34" charset="-52"/>
            </a:endParaRPr>
          </a:p>
          <a:p>
            <a:r>
              <a:rPr lang="en-US" sz="800" dirty="0">
                <a:solidFill>
                  <a:schemeClr val="tx1"/>
                </a:solidFill>
                <a:latin typeface="SangBleu Sunrise" panose="020B0504000000000004" pitchFamily="34" charset="-52"/>
                <a:ea typeface="SangBleu Sunrise" panose="020B0504000000000004" pitchFamily="34" charset="-52"/>
              </a:rPr>
              <a:t>R&amp;D is a key growth driver for the company, with over 10% of annual revenue invested into innovation.</a:t>
            </a:r>
            <a:endParaRPr lang="ru-RU" sz="800" dirty="0">
              <a:solidFill>
                <a:schemeClr val="tx1"/>
              </a:solidFill>
              <a:latin typeface="SangBleu Sunrise" panose="020B0504000000000004" pitchFamily="34" charset="-52"/>
              <a:ea typeface="SangBleu Sunrise" panose="020B0504000000000004" pitchFamily="34" charset="-52"/>
            </a:endParaRPr>
          </a:p>
          <a:p>
            <a:endParaRPr lang="en-US" sz="800" dirty="0">
              <a:solidFill>
                <a:schemeClr val="tx1"/>
              </a:solidFill>
              <a:latin typeface="SangBleu Sunrise" panose="020B0504000000000004" pitchFamily="34" charset="-52"/>
              <a:ea typeface="SangBleu Sunrise" panose="020B0504000000000004" pitchFamily="34" charset="-52"/>
            </a:endParaRPr>
          </a:p>
          <a:p>
            <a:r>
              <a:rPr lang="en-US" sz="800" dirty="0">
                <a:solidFill>
                  <a:schemeClr val="tx1"/>
                </a:solidFill>
                <a:latin typeface="SangBleu Sunrise" panose="020B0504000000000004" pitchFamily="34" charset="-52"/>
                <a:ea typeface="SangBleu Sunrise" panose="020B0504000000000004" pitchFamily="34" charset="-52"/>
              </a:rPr>
              <a:t>The Group’s drugs have a strong evidence base and are regularly included in official guidelines that influence specialist prescriptions and government procurement (including the Essential Drugs List, clinical guidelines, treatment standards, etc.).</a:t>
            </a:r>
            <a:endParaRPr lang="ru-RU" sz="800" dirty="0">
              <a:solidFill>
                <a:schemeClr val="tx1"/>
              </a:solidFill>
              <a:latin typeface="SangBleu Sunrise" panose="020B0504000000000004" pitchFamily="34" charset="-52"/>
              <a:ea typeface="SangBleu Sunrise" panose="020B0504000000000004" pitchFamily="34" charset="-52"/>
            </a:endParaRPr>
          </a:p>
          <a:p>
            <a:endParaRPr lang="en-US" sz="800" dirty="0">
              <a:solidFill>
                <a:schemeClr val="tx1"/>
              </a:solidFill>
              <a:latin typeface="SangBleu Sunrise" panose="020B0504000000000004" pitchFamily="34" charset="-52"/>
              <a:ea typeface="SangBleu Sunrise" panose="020B0504000000000004" pitchFamily="34" charset="-52"/>
            </a:endParaRPr>
          </a:p>
          <a:p>
            <a:r>
              <a:rPr lang="en-US" sz="800" dirty="0">
                <a:solidFill>
                  <a:schemeClr val="tx1"/>
                </a:solidFill>
                <a:latin typeface="SangBleu Sunrise" panose="020B0504000000000004" pitchFamily="34" charset="-52"/>
                <a:ea typeface="SangBleu Sunrise" panose="020B0504000000000004" pitchFamily="34" charset="-52"/>
              </a:rPr>
              <a:t>The R&amp;D hub is equipped with advanced technologies that enable both the improvement of existing drug formulations and the creation of innovative therapies. By 2028, over 70% of PROMOMED’s portfolio is expected to consist of innovative products.</a:t>
            </a:r>
          </a:p>
          <a:p>
            <a:endParaRPr lang="en-US" sz="800" dirty="0">
              <a:solidFill>
                <a:schemeClr val="tx1"/>
              </a:solidFill>
              <a:latin typeface="SangBleu Sunrise" panose="020B0504000000000004" pitchFamily="34" charset="-52"/>
              <a:ea typeface="SangBleu Sunrise" panose="020B0504000000000004" pitchFamily="34" charset="-52"/>
            </a:endParaRPr>
          </a:p>
          <a:p>
            <a:r>
              <a:rPr lang="en-US" sz="800" dirty="0">
                <a:solidFill>
                  <a:schemeClr val="tx1"/>
                </a:solidFill>
                <a:latin typeface="SangBleu Sunrise" panose="020B0504000000000004" pitchFamily="34" charset="-52"/>
                <a:ea typeface="SangBleu Sunrise" panose="020B0504000000000004" pitchFamily="34" charset="-52"/>
              </a:rPr>
              <a:t>Having an in-house research center also supports the flexibility of PROMOMED’s business model. The center’s manufacturing and laboratory capabilities allow for rapid scaling and efficient technology</a:t>
            </a:r>
            <a:r>
              <a:rPr lang="ru-RU" sz="800" dirty="0">
                <a:solidFill>
                  <a:schemeClr val="tx1"/>
                </a:solidFill>
                <a:latin typeface="SangBleu Sunrise" panose="020B0504000000000004" pitchFamily="34" charset="-52"/>
                <a:ea typeface="SangBleu Sunrise" panose="020B0504000000000004" pitchFamily="34" charset="-52"/>
              </a:rPr>
              <a:t>.</a:t>
            </a:r>
            <a:endParaRPr lang="en-US" sz="800" dirty="0">
              <a:solidFill>
                <a:schemeClr val="tx1"/>
              </a:solidFill>
              <a:latin typeface="SangBleu Sunrise" panose="020B0504000000000004" pitchFamily="34" charset="-52"/>
              <a:ea typeface="SangBleu Sunrise" panose="020B0504000000000004" pitchFamily="34" charset="-52"/>
            </a:endParaRPr>
          </a:p>
          <a:p>
            <a:pPr rtl="0">
              <a:spcBef>
                <a:spcPts val="3800"/>
              </a:spcBef>
              <a:spcAft>
                <a:spcPts val="1100"/>
              </a:spcAft>
            </a:pPr>
            <a:endParaRPr lang="en-US" sz="800" dirty="0">
              <a:solidFill>
                <a:schemeClr val="tx1"/>
              </a:solidFill>
              <a:latin typeface="SangBleu Sunrise" panose="020B0504000000000004" pitchFamily="34" charset="-52"/>
              <a:ea typeface="SangBleu Sunrise" panose="020B0504000000000004" pitchFamily="34" charset="-52"/>
            </a:endParaRPr>
          </a:p>
        </p:txBody>
      </p:sp>
      <p:sp>
        <p:nvSpPr>
          <p:cNvPr id="177" name="Rectangle 1" hidden="1">
            <a:extLst>
              <a:ext uri="{FF2B5EF4-FFF2-40B4-BE49-F238E27FC236}">
                <a16:creationId xmlns:a16="http://schemas.microsoft.com/office/drawing/2014/main" id="{26FB405B-A820-4F19-B7BF-69C9AEC015F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Rectangle 27">
            <a:extLst>
              <a:ext uri="{FF2B5EF4-FFF2-40B4-BE49-F238E27FC236}">
                <a16:creationId xmlns:a16="http://schemas.microsoft.com/office/drawing/2014/main" id="{32D5FC0A-9040-4B22-A7DE-BB3C022EE653}"/>
              </a:ext>
            </a:extLst>
          </p:cNvPr>
          <p:cNvSpPr>
            <a:spLocks noChangeArrowheads="1"/>
          </p:cNvSpPr>
          <p:nvPr/>
        </p:nvSpPr>
        <p:spPr bwMode="auto">
          <a:xfrm>
            <a:off x="0" y="473075"/>
            <a:ext cx="6858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340" name="Rectangle 339">
            <a:extLst>
              <a:ext uri="{FF2B5EF4-FFF2-40B4-BE49-F238E27FC236}">
                <a16:creationId xmlns:a16="http://schemas.microsoft.com/office/drawing/2014/main" id="{3038B568-1266-4451-BDE9-67F337E498C4}"/>
              </a:ext>
            </a:extLst>
          </p:cNvPr>
          <p:cNvSpPr>
            <a:spLocks/>
          </p:cNvSpPr>
          <p:nvPr/>
        </p:nvSpPr>
        <p:spPr>
          <a:xfrm>
            <a:off x="3983373" y="7275916"/>
            <a:ext cx="2263278" cy="1405263"/>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Company Staff:</a:t>
            </a:r>
            <a:r>
              <a:rPr lang="ru-RU" sz="800" b="1" dirty="0">
                <a:solidFill>
                  <a:schemeClr val="tx1"/>
                </a:solidFill>
                <a:latin typeface="SangBleu Sunrise" panose="020B0504000000000004" pitchFamily="34" charset="-52"/>
                <a:ea typeface="SangBleu Sunrise" panose="020B0504000000000004" pitchFamily="34" charset="-52"/>
              </a:rPr>
              <a:t> </a:t>
            </a:r>
            <a:r>
              <a:rPr lang="en-US" sz="800" dirty="0">
                <a:solidFill>
                  <a:schemeClr val="tx1"/>
                </a:solidFill>
                <a:latin typeface="SangBleu Sunrise" panose="020B0504000000000004" pitchFamily="34" charset="-52"/>
                <a:ea typeface="SangBleu Sunrise" panose="020B0504000000000004" pitchFamily="34" charset="-52"/>
              </a:rPr>
              <a:t>PROMOMED’s team consists of over 2,000 employees, with more than 350 working in R&amp;D. Over 100 employees have been awarded state honors and titles for their contributions to the development and production of new drugs and pharmaceutical substances. The Group also collaborates with a wide scientific network, including over 200 PhDs and Candidates of Science.</a:t>
            </a:r>
          </a:p>
        </p:txBody>
      </p:sp>
      <p:sp>
        <p:nvSpPr>
          <p:cNvPr id="342" name="Rectangle 341">
            <a:extLst>
              <a:ext uri="{FF2B5EF4-FFF2-40B4-BE49-F238E27FC236}">
                <a16:creationId xmlns:a16="http://schemas.microsoft.com/office/drawing/2014/main" id="{E007A0B4-BD23-4309-B87F-9F53CE201CD0}"/>
              </a:ext>
            </a:extLst>
          </p:cNvPr>
          <p:cNvSpPr>
            <a:spLocks/>
          </p:cNvSpPr>
          <p:nvPr/>
        </p:nvSpPr>
        <p:spPr>
          <a:xfrm>
            <a:off x="1026022" y="7275916"/>
            <a:ext cx="2263278" cy="2031977"/>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Science and Education:</a:t>
            </a:r>
            <a:br>
              <a:rPr lang="en-US" sz="800" dirty="0">
                <a:solidFill>
                  <a:schemeClr val="tx1"/>
                </a:solidFill>
                <a:latin typeface="SangBleu Sunrise" panose="020B0504000000000004" pitchFamily="34" charset="-52"/>
                <a:ea typeface="SangBleu Sunrise" panose="020B0504000000000004" pitchFamily="34" charset="-52"/>
              </a:rPr>
            </a:br>
            <a:r>
              <a:rPr lang="en-US" sz="800" dirty="0">
                <a:solidFill>
                  <a:schemeClr val="tx1"/>
                </a:solidFill>
                <a:latin typeface="SangBleu Sunrise" panose="020B0504000000000004" pitchFamily="34" charset="-52"/>
                <a:ea typeface="SangBleu Sunrise" panose="020B0504000000000004" pitchFamily="34" charset="-52"/>
              </a:rPr>
              <a:t>The company actively collaborates with academic institutions specializing in medicine, pharmaceuticals, and biotechnology. PROMOMED runs targeted educational programs in partnership with </a:t>
            </a:r>
            <a:r>
              <a:rPr lang="en-US" sz="800" dirty="0" err="1">
                <a:solidFill>
                  <a:schemeClr val="tx1"/>
                </a:solidFill>
                <a:latin typeface="SangBleu Sunrise" panose="020B0504000000000004" pitchFamily="34" charset="-52"/>
                <a:ea typeface="SangBleu Sunrise" panose="020B0504000000000004" pitchFamily="34" charset="-52"/>
              </a:rPr>
              <a:t>Ogarev</a:t>
            </a:r>
            <a:r>
              <a:rPr lang="en-US" sz="800" dirty="0">
                <a:solidFill>
                  <a:schemeClr val="tx1"/>
                </a:solidFill>
                <a:latin typeface="SangBleu Sunrise" panose="020B0504000000000004" pitchFamily="34" charset="-52"/>
                <a:ea typeface="SangBleu Sunrise" panose="020B0504000000000004" pitchFamily="34" charset="-52"/>
              </a:rPr>
              <a:t> Mordovia State University, Mendeleev University of Chemical Technology, </a:t>
            </a:r>
            <a:r>
              <a:rPr lang="en-US" sz="800" dirty="0" err="1">
                <a:solidFill>
                  <a:schemeClr val="tx1"/>
                </a:solidFill>
                <a:latin typeface="SangBleu Sunrise" panose="020B0504000000000004" pitchFamily="34" charset="-52"/>
                <a:ea typeface="SangBleu Sunrise" panose="020B0504000000000004" pitchFamily="34" charset="-52"/>
              </a:rPr>
              <a:t>RosUniMed</a:t>
            </a:r>
            <a:r>
              <a:rPr lang="en-US" sz="800" dirty="0">
                <a:solidFill>
                  <a:schemeClr val="tx1"/>
                </a:solidFill>
                <a:latin typeface="SangBleu Sunrise" panose="020B0504000000000004" pitchFamily="34" charset="-52"/>
                <a:ea typeface="SangBleu Sunrise" panose="020B0504000000000004" pitchFamily="34" charset="-52"/>
              </a:rPr>
              <a:t>, and Lobachevsky State University of </a:t>
            </a:r>
            <a:r>
              <a:rPr lang="en-US" sz="800" dirty="0" err="1">
                <a:solidFill>
                  <a:schemeClr val="tx1"/>
                </a:solidFill>
                <a:latin typeface="SangBleu Sunrise" panose="020B0504000000000004" pitchFamily="34" charset="-52"/>
                <a:ea typeface="SangBleu Sunrise" panose="020B0504000000000004" pitchFamily="34" charset="-52"/>
              </a:rPr>
              <a:t>Nizhni</a:t>
            </a:r>
            <a:r>
              <a:rPr lang="en-US" sz="800" dirty="0">
                <a:solidFill>
                  <a:schemeClr val="tx1"/>
                </a:solidFill>
                <a:latin typeface="SangBleu Sunrise" panose="020B0504000000000004" pitchFamily="34" charset="-52"/>
                <a:ea typeface="SangBleu Sunrise" panose="020B0504000000000004" pitchFamily="34" charset="-52"/>
              </a:rPr>
              <a:t> Novgorod.</a:t>
            </a:r>
            <a:br>
              <a:rPr lang="en-US" sz="800" dirty="0">
                <a:solidFill>
                  <a:schemeClr val="tx1"/>
                </a:solidFill>
                <a:latin typeface="SangBleu Sunrise" panose="020B0504000000000004" pitchFamily="34" charset="-52"/>
                <a:ea typeface="SangBleu Sunrise" panose="020B0504000000000004" pitchFamily="34" charset="-52"/>
              </a:rPr>
            </a:br>
            <a:r>
              <a:rPr lang="en-US" sz="800" dirty="0">
                <a:solidFill>
                  <a:schemeClr val="tx1"/>
                </a:solidFill>
                <a:latin typeface="SangBleu Sunrise" panose="020B0504000000000004" pitchFamily="34" charset="-52"/>
                <a:ea typeface="SangBleu Sunrise" panose="020B0504000000000004" pitchFamily="34" charset="-52"/>
              </a:rPr>
              <a:t>This cooperation ensures a steady pipeline of talent, attracting both young professionals and highly qualified specialists to support the company’s growth.</a:t>
            </a:r>
          </a:p>
          <a:p>
            <a:br>
              <a:rPr lang="en-US" sz="800" dirty="0">
                <a:solidFill>
                  <a:schemeClr val="tx1"/>
                </a:solidFill>
                <a:effectLst/>
                <a:latin typeface="SangBleu Sunrise" panose="020B0504000000000004" pitchFamily="34" charset="-52"/>
                <a:ea typeface="SangBleu Sunrise" panose="020B0504000000000004" pitchFamily="34" charset="-52"/>
              </a:rPr>
            </a:br>
            <a:endParaRPr lang="en-US" sz="800" dirty="0">
              <a:solidFill>
                <a:schemeClr val="tx1"/>
              </a:solidFill>
              <a:latin typeface="SangBleu Sunrise" panose="020B0504000000000004" pitchFamily="34" charset="-52"/>
              <a:ea typeface="SangBleu Sunrise" panose="020B0504000000000004" pitchFamily="34" charset="-52"/>
            </a:endParaRPr>
          </a:p>
        </p:txBody>
      </p:sp>
      <p:sp>
        <p:nvSpPr>
          <p:cNvPr id="343" name="Rectangle 342">
            <a:extLst>
              <a:ext uri="{FF2B5EF4-FFF2-40B4-BE49-F238E27FC236}">
                <a16:creationId xmlns:a16="http://schemas.microsoft.com/office/drawing/2014/main" id="{CC90440E-038B-46BD-97D6-0502BD60C4D9}"/>
              </a:ext>
            </a:extLst>
          </p:cNvPr>
          <p:cNvSpPr>
            <a:spLocks/>
          </p:cNvSpPr>
          <p:nvPr/>
        </p:nvSpPr>
        <p:spPr>
          <a:xfrm>
            <a:off x="3983372" y="1286218"/>
            <a:ext cx="2541183" cy="2521570"/>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Innovation:</a:t>
            </a:r>
            <a:r>
              <a:rPr lang="ru-RU" sz="800" b="1" dirty="0">
                <a:solidFill>
                  <a:schemeClr val="tx1"/>
                </a:solidFill>
                <a:latin typeface="SangBleu Sunrise" panose="020B0504000000000004" pitchFamily="34" charset="-52"/>
                <a:ea typeface="SangBleu Sunrise" panose="020B0504000000000004" pitchFamily="34" charset="-52"/>
              </a:rPr>
              <a:t> </a:t>
            </a:r>
            <a:r>
              <a:rPr lang="en-US" sz="800" dirty="0">
                <a:solidFill>
                  <a:schemeClr val="tx1"/>
                </a:solidFill>
                <a:latin typeface="SangBleu Sunrise" panose="020B0504000000000004" pitchFamily="34" charset="-52"/>
                <a:ea typeface="SangBleu Sunrise" panose="020B0504000000000004" pitchFamily="34" charset="-52"/>
              </a:rPr>
              <a:t>PROMOMED’s core portfolio includes innovative drugs across 10 therapeutic areas, including: targeted therapies for aggressive cancers, pain management, HIV and hepatitis treatment, weight control and diabetes, autoimmune diseases, neurology, respiratory infections (ARVI), antivirals, and veterinary medicine.</a:t>
            </a:r>
            <a:endParaRPr lang="ru-RU" sz="800" dirty="0">
              <a:solidFill>
                <a:schemeClr val="tx1"/>
              </a:solidFill>
              <a:latin typeface="SangBleu Sunrise" panose="020B0504000000000004" pitchFamily="34" charset="-52"/>
              <a:ea typeface="SangBleu Sunrise" panose="020B0504000000000004" pitchFamily="34" charset="-52"/>
            </a:endParaRPr>
          </a:p>
          <a:p>
            <a:br>
              <a:rPr lang="en-US" sz="800" dirty="0">
                <a:solidFill>
                  <a:schemeClr val="tx1"/>
                </a:solidFill>
                <a:latin typeface="SangBleu Sunrise" panose="020B0504000000000004" pitchFamily="34" charset="-52"/>
                <a:ea typeface="SangBleu Sunrise" panose="020B0504000000000004" pitchFamily="34" charset="-52"/>
              </a:rPr>
            </a:br>
            <a:r>
              <a:rPr lang="en-US" sz="800" dirty="0">
                <a:solidFill>
                  <a:schemeClr val="tx1"/>
                </a:solidFill>
                <a:latin typeface="SangBleu Sunrise" panose="020B0504000000000004" pitchFamily="34" charset="-52"/>
                <a:ea typeface="SangBleu Sunrise" panose="020B0504000000000004" pitchFamily="34" charset="-52"/>
              </a:rPr>
              <a:t>The company plans to bring these drugs to market between 2025 and 2028, aiming to generate over ₽170 billion in total revenue from their sales by 2032.</a:t>
            </a:r>
            <a:endParaRPr lang="ru-RU" sz="800" dirty="0">
              <a:solidFill>
                <a:schemeClr val="tx1"/>
              </a:solidFill>
              <a:latin typeface="SangBleu Sunrise" panose="020B0504000000000004" pitchFamily="34" charset="-52"/>
              <a:ea typeface="SangBleu Sunrise" panose="020B0504000000000004" pitchFamily="34" charset="-52"/>
            </a:endParaRPr>
          </a:p>
          <a:p>
            <a:endParaRPr lang="en-US" sz="800" dirty="0">
              <a:solidFill>
                <a:schemeClr val="tx1"/>
              </a:solidFill>
              <a:latin typeface="SangBleu Sunrise" panose="020B0504000000000004" pitchFamily="34" charset="-52"/>
              <a:ea typeface="SangBleu Sunrise" panose="020B0504000000000004" pitchFamily="34" charset="-52"/>
            </a:endParaRPr>
          </a:p>
          <a:p>
            <a:r>
              <a:rPr lang="en-US" sz="800" dirty="0">
                <a:solidFill>
                  <a:schemeClr val="tx1"/>
                </a:solidFill>
                <a:latin typeface="SangBleu Sunrise" panose="020B0504000000000004" pitchFamily="34" charset="-52"/>
                <a:ea typeface="SangBleu Sunrise" panose="020B0504000000000004" pitchFamily="34" charset="-52"/>
              </a:rPr>
              <a:t>With continued investment in R&amp;D and the withdrawal of foreign competitors from the Russian market, PROMOMED anticipates a significant increase in sales from its innovative drug portfolio as a share of total net revenue.</a:t>
            </a:r>
          </a:p>
        </p:txBody>
      </p:sp>
      <p:sp>
        <p:nvSpPr>
          <p:cNvPr id="344" name="Title 3">
            <a:extLst>
              <a:ext uri="{FF2B5EF4-FFF2-40B4-BE49-F238E27FC236}">
                <a16:creationId xmlns:a16="http://schemas.microsoft.com/office/drawing/2014/main" id="{CC9B269E-1108-494E-82BC-9A919616D0EC}"/>
              </a:ext>
            </a:extLst>
          </p:cNvPr>
          <p:cNvSpPr txBox="1">
            <a:spLocks/>
          </p:cNvSpPr>
          <p:nvPr/>
        </p:nvSpPr>
        <p:spPr>
          <a:xfrm>
            <a:off x="1026022" y="6852055"/>
            <a:ext cx="5555848" cy="228942"/>
          </a:xfrm>
          <a:prstGeom prst="rect">
            <a:avLst/>
          </a:prstGeom>
          <a:solidFill>
            <a:schemeClr val="accent1">
              <a:lumMod val="50000"/>
            </a:schemeClr>
          </a:solidFill>
          <a:ln>
            <a:noFill/>
          </a:ln>
        </p:spPr>
        <p:txBody>
          <a:bodyPr vert="horz" wrap="square" lIns="58500" tIns="58500" rIns="58500" bIns="58500" rtlCol="0"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err="1">
                <a:solidFill>
                  <a:schemeClr val="bg1"/>
                </a:solidFill>
                <a:latin typeface="SangBleu Sunrise" panose="020B0504000000000004" pitchFamily="34" charset="-52"/>
                <a:ea typeface="SangBleu Sunrise" panose="020B0504000000000004" pitchFamily="34" charset="-52"/>
              </a:rPr>
              <a:t>Laborforce</a:t>
            </a:r>
            <a:r>
              <a:rPr lang="en-US" sz="800" b="1" dirty="0">
                <a:solidFill>
                  <a:schemeClr val="bg1"/>
                </a:solidFill>
                <a:latin typeface="SangBleu Sunrise" panose="020B0504000000000004" pitchFamily="34" charset="-52"/>
                <a:ea typeface="SangBleu Sunrise" panose="020B0504000000000004" pitchFamily="34" charset="-52"/>
              </a:rPr>
              <a:t>:</a:t>
            </a:r>
            <a:endParaRPr lang="ru-RU" sz="800" b="1" dirty="0">
              <a:solidFill>
                <a:schemeClr val="bg1"/>
              </a:solidFill>
              <a:latin typeface="SangBleu Sunrise" panose="020B0504000000000004" pitchFamily="34" charset="-52"/>
              <a:ea typeface="SangBleu Sunrise" panose="020B0504000000000004" pitchFamily="34" charset="-52"/>
            </a:endParaRPr>
          </a:p>
        </p:txBody>
      </p:sp>
      <p:grpSp>
        <p:nvGrpSpPr>
          <p:cNvPr id="24" name="Group 23">
            <a:extLst>
              <a:ext uri="{FF2B5EF4-FFF2-40B4-BE49-F238E27FC236}">
                <a16:creationId xmlns:a16="http://schemas.microsoft.com/office/drawing/2014/main" id="{A00ADD33-F898-4B23-B27D-B125B198E5BF}"/>
              </a:ext>
            </a:extLst>
          </p:cNvPr>
          <p:cNvGrpSpPr/>
          <p:nvPr/>
        </p:nvGrpSpPr>
        <p:grpSpPr>
          <a:xfrm rot="16200000">
            <a:off x="3213919" y="3213720"/>
            <a:ext cx="1180056" cy="5555850"/>
            <a:chOff x="4657419" y="495014"/>
            <a:chExt cx="1329649" cy="4062691"/>
          </a:xfrm>
        </p:grpSpPr>
        <p:sp>
          <p:nvSpPr>
            <p:cNvPr id="23" name="Arrow: Chevron 22">
              <a:extLst>
                <a:ext uri="{FF2B5EF4-FFF2-40B4-BE49-F238E27FC236}">
                  <a16:creationId xmlns:a16="http://schemas.microsoft.com/office/drawing/2014/main" id="{F4AF889A-03AF-4D85-A381-C89C3B9004F8}"/>
                </a:ext>
              </a:extLst>
            </p:cNvPr>
            <p:cNvSpPr>
              <a:spLocks/>
            </p:cNvSpPr>
            <p:nvPr/>
          </p:nvSpPr>
          <p:spPr>
            <a:xfrm rot="5400000">
              <a:off x="4813207" y="339226"/>
              <a:ext cx="1018070" cy="1329645"/>
            </a:xfrm>
            <a:prstGeom prst="chevron">
              <a:avLst>
                <a:gd name="adj" fmla="val 50000"/>
              </a:avLst>
            </a:prstGeom>
            <a:solidFill>
              <a:srgbClr val="CFA038">
                <a:alpha val="2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36000" tIns="36000" rIns="36000" bIns="36000" rtlCol="0" anchor="t" anchorCtr="1">
              <a:noAutofit/>
            </a:bodyPr>
            <a:lstStyle/>
            <a:p>
              <a:pPr algn="l" rtl="0">
                <a:spcBef>
                  <a:spcPts val="3800"/>
                </a:spcBef>
                <a:spcAft>
                  <a:spcPts val="1100"/>
                </a:spcAft>
              </a:pPr>
              <a:r>
                <a:rPr lang="en-US" sz="800" dirty="0">
                  <a:solidFill>
                    <a:schemeClr val="tx1"/>
                  </a:solidFill>
                  <a:latin typeface="SangBleu Sunrise" panose="020B0504000000000004" pitchFamily="34" charset="-52"/>
                  <a:ea typeface="SangBleu Sunrise" panose="020B0504000000000004" pitchFamily="34" charset="-52"/>
                </a:rPr>
                <a:t>Discovery of Molecules</a:t>
              </a:r>
              <a:endParaRPr lang="ru-RU" sz="800" b="1" i="0" u="none" strike="noStrike" dirty="0">
                <a:solidFill>
                  <a:schemeClr val="tx1"/>
                </a:solidFill>
                <a:effectLst/>
                <a:latin typeface="SangBleu Sunrise" panose="020B0504000000000004" pitchFamily="34" charset="-52"/>
                <a:ea typeface="SangBleu Sunrise" panose="020B0504000000000004" pitchFamily="34" charset="-52"/>
              </a:endParaRPr>
            </a:p>
          </p:txBody>
        </p:sp>
        <p:sp>
          <p:nvSpPr>
            <p:cNvPr id="443" name="Arrow: Chevron 442">
              <a:extLst>
                <a:ext uri="{FF2B5EF4-FFF2-40B4-BE49-F238E27FC236}">
                  <a16:creationId xmlns:a16="http://schemas.microsoft.com/office/drawing/2014/main" id="{BFE05119-AE15-4B24-B57A-5607A475ABD9}"/>
                </a:ext>
              </a:extLst>
            </p:cNvPr>
            <p:cNvSpPr>
              <a:spLocks/>
            </p:cNvSpPr>
            <p:nvPr/>
          </p:nvSpPr>
          <p:spPr>
            <a:xfrm rot="5400000">
              <a:off x="4755066" y="1028354"/>
              <a:ext cx="1134358" cy="1329645"/>
            </a:xfrm>
            <a:prstGeom prst="chevron">
              <a:avLst>
                <a:gd name="adj" fmla="val 50000"/>
              </a:avLst>
            </a:prstGeom>
            <a:solidFill>
              <a:srgbClr val="CFA038">
                <a:alpha val="3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58500" tIns="58500" rIns="58500" bIns="58500" rtlCol="0" anchor="t" anchorCtr="1">
              <a:noAutofit/>
            </a:bodyPr>
            <a:lstStyle/>
            <a:p>
              <a:pPr algn="l" rtl="0">
                <a:spcBef>
                  <a:spcPts val="3800"/>
                </a:spcBef>
                <a:spcAft>
                  <a:spcPts val="1100"/>
                </a:spcAft>
              </a:pPr>
              <a:r>
                <a:rPr lang="en-US" sz="800" dirty="0">
                  <a:solidFill>
                    <a:schemeClr val="tx1"/>
                  </a:solidFill>
                  <a:latin typeface="SangBleu Sunrise" panose="020B0504000000000004" pitchFamily="34" charset="-52"/>
                  <a:ea typeface="SangBleu Sunrise" panose="020B0504000000000004" pitchFamily="34" charset="-52"/>
                </a:rPr>
                <a:t>Computer Modeling</a:t>
              </a:r>
              <a:endParaRPr lang="ru-RU" sz="800" b="1" i="0" u="none" strike="noStrike" dirty="0">
                <a:solidFill>
                  <a:schemeClr val="tx1"/>
                </a:solidFill>
                <a:effectLst/>
                <a:latin typeface="SangBleu Sunrise" panose="020B0504000000000004" pitchFamily="34" charset="-52"/>
                <a:ea typeface="SangBleu Sunrise" panose="020B0504000000000004" pitchFamily="34" charset="-52"/>
              </a:endParaRPr>
            </a:p>
          </p:txBody>
        </p:sp>
        <p:sp>
          <p:nvSpPr>
            <p:cNvPr id="444" name="Arrow: Chevron 443">
              <a:extLst>
                <a:ext uri="{FF2B5EF4-FFF2-40B4-BE49-F238E27FC236}">
                  <a16:creationId xmlns:a16="http://schemas.microsoft.com/office/drawing/2014/main" id="{62476193-D4A1-45DC-AD48-A4B7C83BDAD6}"/>
                </a:ext>
              </a:extLst>
            </p:cNvPr>
            <p:cNvSpPr>
              <a:spLocks/>
            </p:cNvSpPr>
            <p:nvPr/>
          </p:nvSpPr>
          <p:spPr>
            <a:xfrm rot="5400000">
              <a:off x="4755067" y="3325704"/>
              <a:ext cx="1134357" cy="1329645"/>
            </a:xfrm>
            <a:prstGeom prst="chevron">
              <a:avLst>
                <a:gd name="adj" fmla="val 50000"/>
              </a:avLst>
            </a:prstGeom>
            <a:solidFill>
              <a:srgbClr val="CFA038">
                <a:alpha val="6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58500" tIns="58500" rIns="58500" bIns="58500" rtlCol="0" anchor="t" anchorCtr="1">
              <a:noAutofit/>
            </a:bodyPr>
            <a:lstStyle/>
            <a:p>
              <a:pPr algn="l" rtl="0">
                <a:spcBef>
                  <a:spcPts val="3800"/>
                </a:spcBef>
                <a:spcAft>
                  <a:spcPts val="1100"/>
                </a:spcAft>
              </a:pPr>
              <a:r>
                <a:rPr lang="en-US" sz="800" dirty="0">
                  <a:solidFill>
                    <a:schemeClr val="tx1"/>
                  </a:solidFill>
                  <a:latin typeface="SangBleu Sunrise" panose="020B0504000000000004" pitchFamily="34" charset="-52"/>
                  <a:ea typeface="SangBleu Sunrise" panose="020B0504000000000004" pitchFamily="34" charset="-52"/>
                </a:rPr>
                <a:t>Patent Application</a:t>
              </a:r>
              <a:endParaRPr lang="ru-RU" sz="800" b="1" i="0" u="none" strike="noStrike" dirty="0">
                <a:solidFill>
                  <a:schemeClr val="tx1"/>
                </a:solidFill>
                <a:effectLst/>
                <a:latin typeface="SangBleu Sunrise" panose="020B0504000000000004" pitchFamily="34" charset="-52"/>
                <a:ea typeface="SangBleu Sunrise" panose="020B0504000000000004" pitchFamily="34" charset="-52"/>
              </a:endParaRPr>
            </a:p>
          </p:txBody>
        </p:sp>
        <p:sp>
          <p:nvSpPr>
            <p:cNvPr id="445" name="Arrow: Chevron 444">
              <a:extLst>
                <a:ext uri="{FF2B5EF4-FFF2-40B4-BE49-F238E27FC236}">
                  <a16:creationId xmlns:a16="http://schemas.microsoft.com/office/drawing/2014/main" id="{20ADCDF0-19D6-4EAF-A8F5-A4656B4AD882}"/>
                </a:ext>
              </a:extLst>
            </p:cNvPr>
            <p:cNvSpPr>
              <a:spLocks/>
            </p:cNvSpPr>
            <p:nvPr/>
          </p:nvSpPr>
          <p:spPr>
            <a:xfrm rot="5400000">
              <a:off x="4755064" y="2559920"/>
              <a:ext cx="1134358" cy="1329646"/>
            </a:xfrm>
            <a:prstGeom prst="chevron">
              <a:avLst>
                <a:gd name="adj" fmla="val 50000"/>
              </a:avLst>
            </a:prstGeom>
            <a:solidFill>
              <a:srgbClr val="CFA038">
                <a:alpha val="5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58500" tIns="58500" rIns="58500" bIns="58500" rtlCol="0" anchor="t" anchorCtr="1">
              <a:noAutofit/>
            </a:bodyPr>
            <a:lstStyle/>
            <a:p>
              <a:pPr algn="l" rtl="0">
                <a:spcBef>
                  <a:spcPts val="3800"/>
                </a:spcBef>
                <a:spcAft>
                  <a:spcPts val="1100"/>
                </a:spcAft>
              </a:pPr>
              <a:r>
                <a:rPr lang="en-US" sz="800" dirty="0">
                  <a:solidFill>
                    <a:schemeClr val="tx1"/>
                  </a:solidFill>
                  <a:latin typeface="SangBleu Sunrise" panose="020B0504000000000004" pitchFamily="34" charset="-52"/>
                  <a:ea typeface="SangBleu Sunrise" panose="020B0504000000000004" pitchFamily="34" charset="-52"/>
                </a:rPr>
                <a:t>Pharmaceutical Development</a:t>
              </a:r>
              <a:endParaRPr lang="ru-RU" sz="800" b="1" i="0" u="none" strike="noStrike" dirty="0">
                <a:solidFill>
                  <a:schemeClr val="tx1"/>
                </a:solidFill>
                <a:effectLst/>
                <a:latin typeface="SangBleu Sunrise" panose="020B0504000000000004" pitchFamily="34" charset="-52"/>
                <a:ea typeface="SangBleu Sunrise" panose="020B0504000000000004" pitchFamily="34" charset="-52"/>
              </a:endParaRPr>
            </a:p>
          </p:txBody>
        </p:sp>
        <p:sp>
          <p:nvSpPr>
            <p:cNvPr id="446" name="Arrow: Chevron 445">
              <a:extLst>
                <a:ext uri="{FF2B5EF4-FFF2-40B4-BE49-F238E27FC236}">
                  <a16:creationId xmlns:a16="http://schemas.microsoft.com/office/drawing/2014/main" id="{1EFD89DA-3AE7-409F-980D-360F44EAAE70}"/>
                </a:ext>
              </a:extLst>
            </p:cNvPr>
            <p:cNvSpPr>
              <a:spLocks/>
            </p:cNvSpPr>
            <p:nvPr/>
          </p:nvSpPr>
          <p:spPr>
            <a:xfrm rot="5400000">
              <a:off x="4755066" y="1794137"/>
              <a:ext cx="1134358" cy="1329646"/>
            </a:xfrm>
            <a:prstGeom prst="chevron">
              <a:avLst>
                <a:gd name="adj" fmla="val 50000"/>
              </a:avLst>
            </a:prstGeom>
            <a:solidFill>
              <a:srgbClr val="CFA038">
                <a:alpha val="4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58500" tIns="58500" rIns="58500" bIns="58500" rtlCol="0" anchor="t" anchorCtr="1">
              <a:noAutofit/>
            </a:bodyPr>
            <a:lstStyle/>
            <a:p>
              <a:pPr algn="l" rtl="0">
                <a:spcBef>
                  <a:spcPts val="3800"/>
                </a:spcBef>
                <a:spcAft>
                  <a:spcPts val="1100"/>
                </a:spcAft>
              </a:pPr>
              <a:r>
                <a:rPr lang="en-US" sz="800" dirty="0">
                  <a:solidFill>
                    <a:schemeClr val="tx1"/>
                  </a:solidFill>
                  <a:latin typeface="SangBleu Sunrise" panose="020B0504000000000004" pitchFamily="34" charset="-52"/>
                  <a:ea typeface="SangBleu Sunrise" panose="020B0504000000000004" pitchFamily="34" charset="-52"/>
                </a:rPr>
                <a:t>Preliminary Studies</a:t>
              </a:r>
              <a:endParaRPr lang="ru-RU" sz="800" b="1" i="0" u="none" strike="noStrike" dirty="0">
                <a:solidFill>
                  <a:schemeClr val="tx1"/>
                </a:solidFill>
                <a:effectLst/>
                <a:latin typeface="SangBleu Sunrise" panose="020B0504000000000004" pitchFamily="34" charset="-52"/>
                <a:ea typeface="SangBleu Sunrise" panose="020B0504000000000004" pitchFamily="34" charset="-52"/>
              </a:endParaRPr>
            </a:p>
          </p:txBody>
        </p:sp>
      </p:grpSp>
      <p:sp>
        <p:nvSpPr>
          <p:cNvPr id="447" name="TextBox 446">
            <a:extLst>
              <a:ext uri="{FF2B5EF4-FFF2-40B4-BE49-F238E27FC236}">
                <a16:creationId xmlns:a16="http://schemas.microsoft.com/office/drawing/2014/main" id="{06064861-9BB6-4EB0-9DCF-3F09A3C9091F}"/>
              </a:ext>
            </a:extLst>
          </p:cNvPr>
          <p:cNvSpPr txBox="1">
            <a:spLocks/>
          </p:cNvSpPr>
          <p:nvPr/>
        </p:nvSpPr>
        <p:spPr>
          <a:xfrm>
            <a:off x="2555600" y="6643858"/>
            <a:ext cx="2203407" cy="171807"/>
          </a:xfrm>
          <a:prstGeom prst="rect">
            <a:avLst/>
          </a:prstGeom>
          <a:noFill/>
          <a:ln>
            <a:solidFill>
              <a:schemeClr val="tx1"/>
            </a:solidFill>
          </a:ln>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None/>
              <a:defRPr lang="en-US" sz="1400" dirty="0">
                <a:cs typeface="Arial" panose="020B0604020202020204" pitchFamily="34" charset="0"/>
              </a:defRPr>
            </a:lvl1pPr>
            <a:lvl2pPr marL="216000" lvl="1" indent="-216000">
              <a:lnSpc>
                <a:spcPct val="100000"/>
              </a:lnSpc>
              <a:spcBef>
                <a:spcPts val="0"/>
              </a:spcBef>
              <a:spcAft>
                <a:spcPts val="300"/>
              </a:spcAft>
              <a:buClr>
                <a:schemeClr val="tx1"/>
              </a:buClr>
              <a:buSzPct val="110000"/>
              <a:buFont typeface="Wingdings" panose="05000000000000000000" pitchFamily="2" charset="2"/>
              <a:buChar char=""/>
              <a:defRPr lang="en-US" sz="1400" dirty="0"/>
            </a:lvl2pPr>
            <a:lvl3pPr marL="432000" lvl="2" indent="-198000">
              <a:lnSpc>
                <a:spcPct val="100000"/>
              </a:lnSpc>
              <a:spcBef>
                <a:spcPts val="0"/>
              </a:spcBef>
              <a:spcAft>
                <a:spcPts val="300"/>
              </a:spcAft>
              <a:buClr>
                <a:schemeClr val="tx1"/>
              </a:buClr>
              <a:buSzPct val="110000"/>
              <a:buFont typeface="Arial" panose="020B0604020202020204" pitchFamily="34" charset="0"/>
              <a:buChar char="‒"/>
              <a:defRPr lang="en-US" sz="1400" dirty="0"/>
            </a:lvl3pPr>
            <a:lvl4pPr marL="576000" lvl="3" indent="-136800">
              <a:lnSpc>
                <a:spcPct val="100000"/>
              </a:lnSpc>
              <a:spcBef>
                <a:spcPts val="0"/>
              </a:spcBef>
              <a:spcAft>
                <a:spcPts val="300"/>
              </a:spcAft>
              <a:buClr>
                <a:schemeClr val="tx1"/>
              </a:buClr>
              <a:buSzPct val="100000"/>
              <a:buFont typeface="Arial" panose="020B0604020202020204" pitchFamily="34" charset="0"/>
              <a:buChar char="•"/>
              <a:defRPr lang="en-US" sz="1400" dirty="0"/>
            </a:lvl4pPr>
            <a:lvl5pPr marL="788400" lvl="4" indent="-144000">
              <a:lnSpc>
                <a:spcPct val="100000"/>
              </a:lnSpc>
              <a:spcBef>
                <a:spcPts val="0"/>
              </a:spcBef>
              <a:spcAft>
                <a:spcPts val="300"/>
              </a:spcAft>
              <a:buClr>
                <a:schemeClr val="tx1"/>
              </a:buClr>
              <a:buSzPct val="100000"/>
              <a:buFont typeface="Arial" panose="020B0604020202020204" pitchFamily="34" charset="0"/>
              <a:buChar char="̶"/>
              <a:defRPr lang="en-US" sz="14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dirty="0">
                <a:latin typeface="SangBleu Sunrise" panose="020B0504000000000004" pitchFamily="34" charset="-52"/>
                <a:ea typeface="SangBleu Sunrise" panose="020B0504000000000004" pitchFamily="34" charset="-52"/>
              </a:rPr>
              <a:t>Drug Development Process (~6 months)</a:t>
            </a:r>
            <a:endParaRPr lang="en-GB" sz="800" dirty="0">
              <a:latin typeface="SangBleu Sunrise" panose="020B0504000000000004" pitchFamily="34" charset="-52"/>
              <a:ea typeface="SangBleu Sunrise" panose="020B0504000000000004" pitchFamily="34" charset="-52"/>
            </a:endParaRPr>
          </a:p>
        </p:txBody>
      </p:sp>
      <p:cxnSp>
        <p:nvCxnSpPr>
          <p:cNvPr id="448" name="LineSpecialityArrow 75">
            <a:extLst>
              <a:ext uri="{FF2B5EF4-FFF2-40B4-BE49-F238E27FC236}">
                <a16:creationId xmlns:a16="http://schemas.microsoft.com/office/drawing/2014/main" id="{B0F48399-955F-47C5-8D1B-9EBE2F7AE882}"/>
              </a:ext>
            </a:extLst>
          </p:cNvPr>
          <p:cNvCxnSpPr>
            <a:cxnSpLocks/>
          </p:cNvCxnSpPr>
          <p:nvPr>
            <p:custDataLst>
              <p:tags r:id="rId5"/>
            </p:custDataLst>
          </p:nvPr>
        </p:nvCxnSpPr>
        <p:spPr>
          <a:xfrm>
            <a:off x="4835958" y="6712637"/>
            <a:ext cx="1688598" cy="0"/>
          </a:xfrm>
          <a:prstGeom prst="straightConnector1">
            <a:avLst/>
          </a:prstGeom>
          <a:ln w="12700" cap="flat" cmpd="thinThick">
            <a:solidFill>
              <a:schemeClr val="tx1"/>
            </a:solidFill>
            <a:prstDash val="solid"/>
            <a:miter lim="800000"/>
            <a:headEnd type="oval"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49" name="LineSpecialityArrow 75">
            <a:extLst>
              <a:ext uri="{FF2B5EF4-FFF2-40B4-BE49-F238E27FC236}">
                <a16:creationId xmlns:a16="http://schemas.microsoft.com/office/drawing/2014/main" id="{D115D178-E8AB-4E5C-AA94-FDF6BA57C138}"/>
              </a:ext>
            </a:extLst>
          </p:cNvPr>
          <p:cNvCxnSpPr>
            <a:cxnSpLocks/>
          </p:cNvCxnSpPr>
          <p:nvPr>
            <p:custDataLst>
              <p:tags r:id="rId6"/>
            </p:custDataLst>
          </p:nvPr>
        </p:nvCxnSpPr>
        <p:spPr>
          <a:xfrm>
            <a:off x="1026021" y="6712637"/>
            <a:ext cx="1392241" cy="0"/>
          </a:xfrm>
          <a:prstGeom prst="straightConnector1">
            <a:avLst/>
          </a:prstGeom>
          <a:ln w="12700" cap="flat" cmpd="thinThick">
            <a:solidFill>
              <a:schemeClr val="tx1"/>
            </a:solidFill>
            <a:prstDash val="solid"/>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13" name="Chart 612">
            <a:extLst>
              <a:ext uri="{FF2B5EF4-FFF2-40B4-BE49-F238E27FC236}">
                <a16:creationId xmlns:a16="http://schemas.microsoft.com/office/drawing/2014/main" id="{05685772-5789-48FA-B8AB-CD21E9A19779}"/>
              </a:ext>
            </a:extLst>
          </p:cNvPr>
          <p:cNvGraphicFramePr/>
          <p:nvPr>
            <p:custDataLst>
              <p:tags r:id="rId7"/>
            </p:custDataLst>
            <p:extLst>
              <p:ext uri="{D42A27DB-BD31-4B8C-83A1-F6EECF244321}">
                <p14:modId xmlns:p14="http://schemas.microsoft.com/office/powerpoint/2010/main" val="3935046083"/>
              </p:ext>
            </p:extLst>
          </p:nvPr>
        </p:nvGraphicFramePr>
        <p:xfrm>
          <a:off x="3975100" y="3663950"/>
          <a:ext cx="2322513" cy="1169988"/>
        </p:xfrm>
        <a:graphic>
          <a:graphicData uri="http://schemas.openxmlformats.org/drawingml/2006/chart">
            <c:chart xmlns:c="http://schemas.openxmlformats.org/drawingml/2006/chart" xmlns:r="http://schemas.openxmlformats.org/officeDocument/2006/relationships" r:id="rId21"/>
          </a:graphicData>
        </a:graphic>
      </p:graphicFrame>
      <p:sp>
        <p:nvSpPr>
          <p:cNvPr id="583" name="Text Placeholder 2">
            <a:extLst>
              <a:ext uri="{FF2B5EF4-FFF2-40B4-BE49-F238E27FC236}">
                <a16:creationId xmlns:a16="http://schemas.microsoft.com/office/drawing/2014/main" id="{1B8F0404-0A61-4E11-B0C6-49D081960AFA}"/>
              </a:ext>
            </a:extLst>
          </p:cNvPr>
          <p:cNvSpPr>
            <a:spLocks noGrp="1"/>
          </p:cNvSpPr>
          <p:nvPr>
            <p:custDataLst>
              <p:tags r:id="rId8"/>
            </p:custDataLst>
          </p:nvPr>
        </p:nvSpPr>
        <p:spPr bwMode="auto">
          <a:xfrm>
            <a:off x="4494213" y="4714875"/>
            <a:ext cx="20637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FC55B19-17D7-4EF4-B77C-5C05ED15ECD1}" type="datetime'''''''''''''''''''20''''2''''''''''''''''''''6'''''">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6</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84" name="Text Placeholder 2">
            <a:extLst>
              <a:ext uri="{FF2B5EF4-FFF2-40B4-BE49-F238E27FC236}">
                <a16:creationId xmlns:a16="http://schemas.microsoft.com/office/drawing/2014/main" id="{BBD6FA01-1249-4693-AD43-506D5AAE76C7}"/>
              </a:ext>
            </a:extLst>
          </p:cNvPr>
          <p:cNvSpPr>
            <a:spLocks noGrp="1"/>
          </p:cNvSpPr>
          <p:nvPr>
            <p:custDataLst>
              <p:tags r:id="rId9"/>
            </p:custDataLst>
          </p:nvPr>
        </p:nvSpPr>
        <p:spPr bwMode="auto">
          <a:xfrm>
            <a:off x="4854575" y="4714875"/>
            <a:ext cx="2032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9CACA65-6D77-4787-8319-94614A86DCD8}" type="datetime'''''''''''''''''''''''''''''2''''0''''''2''''''''''7'''">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7</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85" name="Text Placeholder 2">
            <a:extLst>
              <a:ext uri="{FF2B5EF4-FFF2-40B4-BE49-F238E27FC236}">
                <a16:creationId xmlns:a16="http://schemas.microsoft.com/office/drawing/2014/main" id="{09002B78-952C-46DA-9439-D5CA1596F171}"/>
              </a:ext>
            </a:extLst>
          </p:cNvPr>
          <p:cNvSpPr>
            <a:spLocks noGrp="1"/>
          </p:cNvSpPr>
          <p:nvPr>
            <p:custDataLst>
              <p:tags r:id="rId10"/>
            </p:custDataLst>
          </p:nvPr>
        </p:nvSpPr>
        <p:spPr bwMode="auto">
          <a:xfrm>
            <a:off x="5214938" y="4714875"/>
            <a:ext cx="2032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F178A5D-C94B-4397-88FB-0AD32C43D61E}" type="datetime'''2''02''''''''''''''''''8'''''''''''''''''''''''''''">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8</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86" name="Text Placeholder 2">
            <a:extLst>
              <a:ext uri="{FF2B5EF4-FFF2-40B4-BE49-F238E27FC236}">
                <a16:creationId xmlns:a16="http://schemas.microsoft.com/office/drawing/2014/main" id="{97C65295-036D-43C5-A0E7-DF0B343ECFB0}"/>
              </a:ext>
            </a:extLst>
          </p:cNvPr>
          <p:cNvSpPr>
            <a:spLocks noGrp="1"/>
          </p:cNvSpPr>
          <p:nvPr>
            <p:custDataLst>
              <p:tags r:id="rId11"/>
            </p:custDataLst>
          </p:nvPr>
        </p:nvSpPr>
        <p:spPr bwMode="auto">
          <a:xfrm>
            <a:off x="5570538" y="4714875"/>
            <a:ext cx="20955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FDCF2F4-BA37-4E3A-BDD4-C612580CE07F}" type="datetime'''''''''''''2''''0''''3''''''''''0'''''''''">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30</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87" name="Text Placeholder 2">
            <a:extLst>
              <a:ext uri="{FF2B5EF4-FFF2-40B4-BE49-F238E27FC236}">
                <a16:creationId xmlns:a16="http://schemas.microsoft.com/office/drawing/2014/main" id="{3CC9F1EE-C785-49FA-8146-01B74A26191F}"/>
              </a:ext>
            </a:extLst>
          </p:cNvPr>
          <p:cNvSpPr>
            <a:spLocks noGrp="1"/>
          </p:cNvSpPr>
          <p:nvPr>
            <p:custDataLst>
              <p:tags r:id="rId12"/>
            </p:custDataLst>
          </p:nvPr>
        </p:nvSpPr>
        <p:spPr bwMode="auto">
          <a:xfrm>
            <a:off x="5934075" y="4714875"/>
            <a:ext cx="2032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D9A9B34-2BB9-4E62-922C-22E1DB575535}" type="datetime'2''0''''''''''''''''''''''''''''''3''''2'''''">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32</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02" name="Text Placeholder 2">
            <a:extLst>
              <a:ext uri="{FF2B5EF4-FFF2-40B4-BE49-F238E27FC236}">
                <a16:creationId xmlns:a16="http://schemas.microsoft.com/office/drawing/2014/main" id="{1C550107-E592-45AA-BA64-AF38048D0B1A}"/>
              </a:ext>
            </a:extLst>
          </p:cNvPr>
          <p:cNvSpPr>
            <a:spLocks noGrp="1"/>
          </p:cNvSpPr>
          <p:nvPr>
            <p:custDataLst>
              <p:tags r:id="rId13"/>
            </p:custDataLst>
          </p:nvPr>
        </p:nvSpPr>
        <p:spPr bwMode="auto">
          <a:xfrm>
            <a:off x="4137025" y="4714875"/>
            <a:ext cx="20161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753E09E5-A824-4AE6-8612-D37B0351C6AD}" type="datetime'2''''''''''''''''''''''''''''0''2''5'''''''''''''''''''''''''">
              <a:rPr lang="ru-RU" altLang="en-US" sz="600" b="1" smtClean="0">
                <a:latin typeface="SangBleu Sunrise" panose="020B0504000000000004" pitchFamily="34" charset="-52"/>
                <a:ea typeface="SangBleu Sunrise" panose="020B0504000000000004" pitchFamily="34" charset="-52"/>
              </a:rPr>
              <a:pPr/>
              <a:t>2025</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0" name="Rectangle 59">
            <a:extLst>
              <a:ext uri="{FF2B5EF4-FFF2-40B4-BE49-F238E27FC236}">
                <a16:creationId xmlns:a16="http://schemas.microsoft.com/office/drawing/2014/main" id="{72572DAD-C49B-4B02-AAAD-98F6DB0B6156}"/>
              </a:ext>
            </a:extLst>
          </p:cNvPr>
          <p:cNvSpPr/>
          <p:nvPr>
            <p:custDataLst>
              <p:tags r:id="rId14"/>
            </p:custDataLst>
          </p:nvPr>
        </p:nvSpPr>
        <p:spPr bwMode="auto">
          <a:xfrm>
            <a:off x="4087813" y="3838575"/>
            <a:ext cx="107950" cy="80963"/>
          </a:xfrm>
          <a:prstGeom prst="rect">
            <a:avLst/>
          </a:prstGeom>
          <a:solidFill>
            <a:srgbClr val="BF9000"/>
          </a:solidFill>
          <a:ln w="9525"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8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609" name="Text Placeholder 2">
            <a:extLst>
              <a:ext uri="{FF2B5EF4-FFF2-40B4-BE49-F238E27FC236}">
                <a16:creationId xmlns:a16="http://schemas.microsoft.com/office/drawing/2014/main" id="{B733CED0-D36C-4B4F-A2B0-B9B4CBDC8600}"/>
              </a:ext>
            </a:extLst>
          </p:cNvPr>
          <p:cNvSpPr>
            <a:spLocks noGrp="1"/>
          </p:cNvSpPr>
          <p:nvPr>
            <p:custDataLst>
              <p:tags r:id="rId15"/>
            </p:custDataLst>
          </p:nvPr>
        </p:nvSpPr>
        <p:spPr bwMode="auto">
          <a:xfrm>
            <a:off x="4246563" y="3843338"/>
            <a:ext cx="31432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720FDF1E-3D6B-45A8-BD1C-7A7991FD5BA5}" type="datetime'''''''''''''''bl''n'''''''' R''UB'''''''''''''''''''''''''''">
              <a:rPr lang="en-US"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bln RUB</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12" name="Rectangle 611">
            <a:extLst>
              <a:ext uri="{FF2B5EF4-FFF2-40B4-BE49-F238E27FC236}">
                <a16:creationId xmlns:a16="http://schemas.microsoft.com/office/drawing/2014/main" id="{224F7104-FC8B-4296-B82F-3D149D71FB8E}"/>
              </a:ext>
            </a:extLst>
          </p:cNvPr>
          <p:cNvSpPr>
            <a:spLocks/>
          </p:cNvSpPr>
          <p:nvPr>
            <p:custDataLst>
              <p:tags r:id="rId16"/>
            </p:custDataLst>
          </p:nvPr>
        </p:nvSpPr>
        <p:spPr>
          <a:xfrm>
            <a:off x="4025900" y="4868863"/>
            <a:ext cx="2220913" cy="233363"/>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Innovative Drugs Revenue Projection</a:t>
            </a:r>
          </a:p>
        </p:txBody>
      </p:sp>
      <p:sp>
        <p:nvSpPr>
          <p:cNvPr id="34" name="5. Source">
            <a:extLst>
              <a:ext uri="{FF2B5EF4-FFF2-40B4-BE49-F238E27FC236}">
                <a16:creationId xmlns:a16="http://schemas.microsoft.com/office/drawing/2014/main" id="{89F51F76-68B1-412E-94B0-332CD4D49A96}"/>
              </a:ext>
            </a:extLst>
          </p:cNvPr>
          <p:cNvSpPr txBox="1"/>
          <p:nvPr>
            <p:custDataLst>
              <p:tags r:id="rId17"/>
            </p:custDataLst>
          </p:nvPr>
        </p:nvSpPr>
        <p:spPr>
          <a:xfrm>
            <a:off x="642937" y="9649539"/>
            <a:ext cx="5700713" cy="123111"/>
          </a:xfrm>
          <a:prstGeom prst="rect">
            <a:avLst/>
          </a:prstGeom>
          <a:noFill/>
        </p:spPr>
        <p:txBody>
          <a:bodyPr vert="horz" wrap="square" lIns="0" tIns="0" rIns="0" bIns="0" rtlCol="0" anchor="b" anchorCtr="0">
            <a:spAutoFit/>
          </a:bodyPr>
          <a:lstStyle/>
          <a:p>
            <a:r>
              <a:rPr lang="fr-FR" sz="800" dirty="0">
                <a:latin typeface="SangBleu Sunrise" panose="020B0504000000000004" pitchFamily="34" charset="-52"/>
                <a:ea typeface="SangBleu Sunrise" panose="020B0504000000000004" pitchFamily="34" charset="-52"/>
              </a:rPr>
              <a:t>SOURCE: </a:t>
            </a:r>
            <a:r>
              <a:rPr lang="en-US" sz="800" dirty="0">
                <a:latin typeface="SangBleu Sunrise" panose="020B0504000000000004" pitchFamily="34" charset="-52"/>
                <a:ea typeface="SangBleu Sunrise" panose="020B0504000000000004" pitchFamily="34" charset="-52"/>
              </a:rPr>
              <a:t>“For PROMOMED’s Investors” presentations</a:t>
            </a:r>
            <a:r>
              <a:rPr lang="ru-RU" sz="800" dirty="0">
                <a:latin typeface="SangBleu Sunrise" panose="020B0504000000000004" pitchFamily="34" charset="-52"/>
                <a:ea typeface="SangBleu Sunrise" panose="020B0504000000000004" pitchFamily="34" charset="-52"/>
              </a:rPr>
              <a:t> </a:t>
            </a:r>
            <a:r>
              <a:rPr lang="en-US" sz="800" dirty="0">
                <a:latin typeface="SangBleu Sunrise" panose="020B0504000000000004" pitchFamily="34" charset="-52"/>
                <a:ea typeface="SangBleu Sunrise" panose="020B0504000000000004" pitchFamily="34" charset="-52"/>
              </a:rPr>
              <a:t>, PROMOMED prospectus, Strategy Partners report</a:t>
            </a:r>
            <a:endParaRPr lang="fr-FR" sz="800" dirty="0">
              <a:latin typeface="SangBleu Sunrise" panose="020B0504000000000004" pitchFamily="34" charset="-52"/>
              <a:ea typeface="SangBleu Sunrise" panose="020B0504000000000004" pitchFamily="34" charset="-52"/>
            </a:endParaRPr>
          </a:p>
        </p:txBody>
      </p:sp>
    </p:spTree>
    <p:extLst>
      <p:ext uri="{BB962C8B-B14F-4D97-AF65-F5344CB8AC3E}">
        <p14:creationId xmlns:p14="http://schemas.microsoft.com/office/powerpoint/2010/main" val="32763522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D4FE7E-DE6C-4F35-B505-6CC6CC141975}"/>
              </a:ext>
            </a:extLst>
          </p:cNvPr>
          <p:cNvGraphicFramePr>
            <a:graphicFrameLocks noChangeAspect="1"/>
          </p:cNvGraphicFramePr>
          <p:nvPr>
            <p:custDataLst>
              <p:tags r:id="rId2"/>
            </p:custDataLst>
            <p:extLst>
              <p:ext uri="{D42A27DB-BD31-4B8C-83A1-F6EECF244321}">
                <p14:modId xmlns:p14="http://schemas.microsoft.com/office/powerpoint/2010/main" val="2133204082"/>
              </p:ext>
            </p:extLst>
          </p:nvPr>
        </p:nvGraphicFramePr>
        <p:xfrm>
          <a:off x="644228" y="1290"/>
          <a:ext cx="1290" cy="1290"/>
        </p:xfrm>
        <a:graphic>
          <a:graphicData uri="http://schemas.openxmlformats.org/presentationml/2006/ole">
            <mc:AlternateContent xmlns:mc="http://schemas.openxmlformats.org/markup-compatibility/2006">
              <mc:Choice xmlns:v="urn:schemas-microsoft-com:vml" Requires="v">
                <p:oleObj spid="_x0000_s19528" name="think-cell Slide" r:id="rId140" imgW="395" imgH="396" progId="TCLayout.ActiveDocument.1">
                  <p:embed/>
                </p:oleObj>
              </mc:Choice>
              <mc:Fallback>
                <p:oleObj name="think-cell Slide" r:id="rId140" imgW="395" imgH="396" progId="TCLayout.ActiveDocument.1">
                  <p:embed/>
                  <p:pic>
                    <p:nvPicPr>
                      <p:cNvPr id="3" name="think-cell data - do not delete" hidden="1">
                        <a:extLst>
                          <a:ext uri="{FF2B5EF4-FFF2-40B4-BE49-F238E27FC236}">
                            <a16:creationId xmlns:a16="http://schemas.microsoft.com/office/drawing/2014/main" id="{89D4FE7E-DE6C-4F35-B505-6CC6CC141975}"/>
                          </a:ext>
                        </a:extLst>
                      </p:cNvPr>
                      <p:cNvPicPr/>
                      <p:nvPr/>
                    </p:nvPicPr>
                    <p:blipFill>
                      <a:blip r:embed="rId141"/>
                      <a:stretch>
                        <a:fillRect/>
                      </a:stretch>
                    </p:blipFill>
                    <p:spPr>
                      <a:xfrm>
                        <a:off x="644228" y="1290"/>
                        <a:ext cx="1290" cy="12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DC6F282-9C52-4591-8034-371A789171B5}"/>
              </a:ext>
            </a:extLst>
          </p:cNvPr>
          <p:cNvSpPr>
            <a:spLocks noGrp="1"/>
          </p:cNvSpPr>
          <p:nvPr>
            <p:ph type="title"/>
          </p:nvPr>
        </p:nvSpPr>
        <p:spPr>
          <a:xfrm>
            <a:off x="1026023" y="315188"/>
            <a:ext cx="4805958" cy="424732"/>
          </a:xfrm>
          <a:noFill/>
          <a:ln>
            <a:solidFill>
              <a:schemeClr val="bg1">
                <a:alpha val="98000"/>
              </a:schemeClr>
            </a:solidFill>
          </a:ln>
        </p:spPr>
        <p:txBody>
          <a:bodyPr vert="horz" wrap="square" anchor="ctr" anchorCtr="0">
            <a:spAutoFit/>
          </a:bodyPr>
          <a:lstStyle/>
          <a:p>
            <a:r>
              <a:rPr lang="en-US" sz="2400" dirty="0">
                <a:latin typeface="SangBleu Sunrise" panose="020B0504000000000004" pitchFamily="34" charset="-52"/>
                <a:ea typeface="SangBleu Sunrise" panose="020B0504000000000004" pitchFamily="34" charset="-52"/>
              </a:rPr>
              <a:t>Pharmaceutical Market</a:t>
            </a:r>
            <a:endParaRPr lang="ru-RU" sz="2400" dirty="0">
              <a:latin typeface="SangBleu Sunrise" panose="020B0504000000000004" pitchFamily="34" charset="-52"/>
              <a:ea typeface="SangBleu Sunrise" panose="020B0504000000000004" pitchFamily="34" charset="-52"/>
            </a:endParaRPr>
          </a:p>
        </p:txBody>
      </p:sp>
      <p:sp>
        <p:nvSpPr>
          <p:cNvPr id="12" name="Title 3">
            <a:extLst>
              <a:ext uri="{FF2B5EF4-FFF2-40B4-BE49-F238E27FC236}">
                <a16:creationId xmlns:a16="http://schemas.microsoft.com/office/drawing/2014/main" id="{46B4D404-F0F8-476D-BAA5-A678BD56703E}"/>
              </a:ext>
            </a:extLst>
          </p:cNvPr>
          <p:cNvSpPr txBox="1">
            <a:spLocks/>
          </p:cNvSpPr>
          <p:nvPr/>
        </p:nvSpPr>
        <p:spPr>
          <a:xfrm>
            <a:off x="1026022" y="951283"/>
            <a:ext cx="2227677" cy="228942"/>
          </a:xfrm>
          <a:prstGeom prst="rect">
            <a:avLst/>
          </a:prstGeom>
          <a:solidFill>
            <a:schemeClr val="accent1">
              <a:lumMod val="50000"/>
            </a:schemeClr>
          </a:solidFill>
          <a:ln>
            <a:noFill/>
          </a:ln>
        </p:spPr>
        <p:txBody>
          <a:bodyPr vert="horz" wrap="square" lIns="58500" tIns="58500" rIns="58500" bIns="58500" rtlCol="0"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a:solidFill>
                  <a:schemeClr val="bg1"/>
                </a:solidFill>
                <a:latin typeface="SangBleu Sunrise" panose="020B0504000000000004" pitchFamily="34" charset="-52"/>
                <a:ea typeface="SangBleu Sunrise" panose="020B0504000000000004" pitchFamily="34" charset="-52"/>
              </a:rPr>
              <a:t>Global Situation and Russian Positions:</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23" name="Rectangle 22">
            <a:extLst>
              <a:ext uri="{FF2B5EF4-FFF2-40B4-BE49-F238E27FC236}">
                <a16:creationId xmlns:a16="http://schemas.microsoft.com/office/drawing/2014/main" id="{DCA3F849-D468-4066-A24A-F48B2A434F38}"/>
              </a:ext>
            </a:extLst>
          </p:cNvPr>
          <p:cNvSpPr>
            <a:spLocks/>
          </p:cNvSpPr>
          <p:nvPr/>
        </p:nvSpPr>
        <p:spPr>
          <a:xfrm>
            <a:off x="1026022" y="1316933"/>
            <a:ext cx="2263278" cy="3680517"/>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Global: </a:t>
            </a:r>
            <a:r>
              <a:rPr lang="en-US" sz="800" dirty="0">
                <a:solidFill>
                  <a:schemeClr val="tx1"/>
                </a:solidFill>
                <a:latin typeface="SangBleu Sunrise" panose="020B0504000000000004" pitchFamily="34" charset="-52"/>
                <a:ea typeface="SangBleu Sunrise" panose="020B0504000000000004" pitchFamily="34" charset="-52"/>
              </a:rPr>
              <a:t>The global pharmaceutical market is one of the largest and most innovation-driven consumer markets. Over the past seven years, it has been growing at an average annual rate of 6.4%.</a:t>
            </a:r>
            <a:br>
              <a:rPr lang="en-US" sz="800" dirty="0">
                <a:solidFill>
                  <a:schemeClr val="tx1"/>
                </a:solidFill>
                <a:latin typeface="SangBleu Sunrise" panose="020B0504000000000004" pitchFamily="34" charset="-52"/>
                <a:ea typeface="SangBleu Sunrise" panose="020B0504000000000004" pitchFamily="34" charset="-52"/>
              </a:rPr>
            </a:br>
            <a:r>
              <a:rPr lang="en-US" sz="800" dirty="0">
                <a:solidFill>
                  <a:schemeClr val="tx1"/>
                </a:solidFill>
                <a:latin typeface="SangBleu Sunrise" panose="020B0504000000000004" pitchFamily="34" charset="-52"/>
                <a:ea typeface="SangBleu Sunrise" panose="020B0504000000000004" pitchFamily="34" charset="-52"/>
              </a:rPr>
              <a:t>By the end of 2023, the market reached a size of 1.5 trillion USD. (For comparison, the global oil and gas market stood at 2.1 trillion USD.)</a:t>
            </a:r>
          </a:p>
          <a:p>
            <a:endParaRPr lang="en-US" sz="800" dirty="0">
              <a:solidFill>
                <a:schemeClr val="tx1"/>
              </a:solidFill>
              <a:latin typeface="SangBleu Sunrise" panose="020B0504000000000004" pitchFamily="34" charset="-52"/>
              <a:ea typeface="SangBleu Sunrise" panose="020B0504000000000004" pitchFamily="34" charset="-52"/>
            </a:endParaRPr>
          </a:p>
          <a:p>
            <a:r>
              <a:rPr lang="en-US" sz="800" b="1" dirty="0">
                <a:solidFill>
                  <a:schemeClr val="tx1"/>
                </a:solidFill>
                <a:latin typeface="SangBleu Sunrise" panose="020B0504000000000004" pitchFamily="34" charset="-52"/>
                <a:ea typeface="SangBleu Sunrise" panose="020B0504000000000004" pitchFamily="34" charset="-52"/>
              </a:rPr>
              <a:t>Russian Positions: </a:t>
            </a:r>
            <a:r>
              <a:rPr lang="en-US" sz="800" dirty="0">
                <a:solidFill>
                  <a:schemeClr val="tx1"/>
                </a:solidFill>
                <a:latin typeface="SangBleu Sunrise" panose="020B0504000000000004" pitchFamily="34" charset="-52"/>
                <a:ea typeface="SangBleu Sunrise" panose="020B0504000000000004" pitchFamily="34" charset="-52"/>
              </a:rPr>
              <a:t>Russia's pharmaceutical market ranks among the largest in the world — in 2021, it held 7th place globally, and by the end of 2022, it was 9th.</a:t>
            </a:r>
          </a:p>
          <a:p>
            <a:r>
              <a:rPr lang="en-US" sz="800" dirty="0">
                <a:solidFill>
                  <a:schemeClr val="tx1"/>
                </a:solidFill>
                <a:latin typeface="SangBleu Sunrise" panose="020B0504000000000004" pitchFamily="34" charset="-52"/>
                <a:ea typeface="SangBleu Sunrise" panose="020B0504000000000004" pitchFamily="34" charset="-52"/>
              </a:rPr>
              <a:t>The Russian pharma market continued its growth, reaching 3 trillion RUB in 2024, with an estimated 18% increase.</a:t>
            </a:r>
          </a:p>
          <a:p>
            <a:br>
              <a:rPr lang="en-US" sz="800" dirty="0">
                <a:solidFill>
                  <a:schemeClr val="tx1"/>
                </a:solidFill>
                <a:latin typeface="SangBleu Sunrise" panose="020B0504000000000004" pitchFamily="34" charset="-52"/>
                <a:ea typeface="SangBleu Sunrise" panose="020B0504000000000004" pitchFamily="34" charset="-52"/>
              </a:rPr>
            </a:br>
            <a:r>
              <a:rPr lang="en-US" sz="800" b="1" dirty="0">
                <a:solidFill>
                  <a:schemeClr val="tx1"/>
                </a:solidFill>
                <a:latin typeface="SangBleu Sunrise" panose="020B0504000000000004" pitchFamily="34" charset="-52"/>
                <a:ea typeface="SangBleu Sunrise" panose="020B0504000000000004" pitchFamily="34" charset="-52"/>
              </a:rPr>
              <a:t>Market Structure in Russia: </a:t>
            </a:r>
            <a:r>
              <a:rPr lang="en-US" sz="800" dirty="0">
                <a:solidFill>
                  <a:schemeClr val="tx1"/>
                </a:solidFill>
                <a:latin typeface="SangBleu Sunrise" panose="020B0504000000000004" pitchFamily="34" charset="-52"/>
                <a:ea typeface="SangBleu Sunrise" panose="020B0504000000000004" pitchFamily="34" charset="-52"/>
              </a:rPr>
              <a:t>The market is segmented into three key sectors: the commercial market for prescription drugs, the commercial market for </a:t>
            </a:r>
            <a:r>
              <a:rPr lang="en-US" sz="800" dirty="0" err="1">
                <a:solidFill>
                  <a:schemeClr val="tx1"/>
                </a:solidFill>
                <a:latin typeface="SangBleu Sunrise" panose="020B0504000000000004" pitchFamily="34" charset="-52"/>
                <a:ea typeface="SangBleu Sunrise" panose="020B0504000000000004" pitchFamily="34" charset="-52"/>
              </a:rPr>
              <a:t>parapharmaceuticals</a:t>
            </a:r>
            <a:r>
              <a:rPr lang="en-US" sz="800" dirty="0">
                <a:solidFill>
                  <a:schemeClr val="tx1"/>
                </a:solidFill>
                <a:latin typeface="SangBleu Sunrise" panose="020B0504000000000004" pitchFamily="34" charset="-52"/>
                <a:ea typeface="SangBleu Sunrise" panose="020B0504000000000004" pitchFamily="34" charset="-52"/>
              </a:rPr>
              <a:t>, and the public sector.</a:t>
            </a:r>
          </a:p>
          <a:p>
            <a:r>
              <a:rPr lang="en-US" sz="800" dirty="0">
                <a:solidFill>
                  <a:schemeClr val="tx1"/>
                </a:solidFill>
                <a:latin typeface="SangBleu Sunrise" panose="020B0504000000000004" pitchFamily="34" charset="-52"/>
                <a:ea typeface="SangBleu Sunrise" panose="020B0504000000000004" pitchFamily="34" charset="-52"/>
              </a:rPr>
              <a:t>The share of the public sector has remained stable at around 32% recently. PROMOMED derives a significantly higher share of its revenue from the state — 47% of its total revenue comes from government contracts.</a:t>
            </a:r>
          </a:p>
        </p:txBody>
      </p:sp>
      <p:sp>
        <p:nvSpPr>
          <p:cNvPr id="136" name="1. On-page tracker">
            <a:extLst>
              <a:ext uri="{FF2B5EF4-FFF2-40B4-BE49-F238E27FC236}">
                <a16:creationId xmlns:a16="http://schemas.microsoft.com/office/drawing/2014/main" id="{446AE41F-44AB-41C4-8747-E53ABBB5FD84}"/>
              </a:ext>
            </a:extLst>
          </p:cNvPr>
          <p:cNvSpPr txBox="1"/>
          <p:nvPr>
            <p:custDataLst>
              <p:tags r:id="rId3"/>
            </p:custDataLst>
          </p:nvPr>
        </p:nvSpPr>
        <p:spPr>
          <a:xfrm>
            <a:off x="746125" y="51596"/>
            <a:ext cx="1547813" cy="123111"/>
          </a:xfrm>
          <a:prstGeom prst="rect">
            <a:avLst/>
          </a:prstGeom>
          <a:solidFill>
            <a:schemeClr val="bg2"/>
          </a:solidFill>
        </p:spPr>
        <p:txBody>
          <a:bodyPr vert="horz" wrap="square" lIns="0" tIns="0" rIns="0" bIns="0" rtlCol="0">
            <a:spAutoFit/>
          </a:bodyPr>
          <a:lstStyle/>
          <a:p>
            <a:r>
              <a:rPr lang="en-US" sz="800" dirty="0">
                <a:latin typeface="SangBleu Sunrise" panose="020B0504000000000004" pitchFamily="34" charset="-52"/>
                <a:ea typeface="SangBleu Sunrise" panose="020B0504000000000004" pitchFamily="34" charset="-52"/>
              </a:rPr>
              <a:t>Market, Sales, Competitors</a:t>
            </a:r>
            <a:endParaRPr lang="ru-RU" sz="800" dirty="0">
              <a:latin typeface="SangBleu Sunrise" panose="020B0504000000000004" pitchFamily="34" charset="-52"/>
              <a:ea typeface="SangBleu Sunrise" panose="020B0504000000000004" pitchFamily="34" charset="-52"/>
            </a:endParaRPr>
          </a:p>
        </p:txBody>
      </p:sp>
      <p:sp>
        <p:nvSpPr>
          <p:cNvPr id="67" name="Title 3">
            <a:extLst>
              <a:ext uri="{FF2B5EF4-FFF2-40B4-BE49-F238E27FC236}">
                <a16:creationId xmlns:a16="http://schemas.microsoft.com/office/drawing/2014/main" id="{8C2C8109-FA37-4108-B478-A057EA509A66}"/>
              </a:ext>
            </a:extLst>
          </p:cNvPr>
          <p:cNvSpPr txBox="1">
            <a:spLocks/>
          </p:cNvSpPr>
          <p:nvPr/>
        </p:nvSpPr>
        <p:spPr>
          <a:xfrm>
            <a:off x="4167479" y="4619105"/>
            <a:ext cx="2220075" cy="232489"/>
          </a:xfrm>
          <a:prstGeom prst="rect">
            <a:avLst/>
          </a:prstGeom>
          <a:solidFill>
            <a:schemeClr val="accent1">
              <a:lumMod val="50000"/>
            </a:schemeClr>
          </a:solidFill>
          <a:ln>
            <a:noFill/>
          </a:ln>
        </p:spPr>
        <p:txBody>
          <a:bodyPr vert="horz" wrap="square" lIns="58500" tIns="58500" rIns="58500" bIns="58500" rtlCol="0"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a:solidFill>
                  <a:schemeClr val="bg1"/>
                </a:solidFill>
                <a:latin typeface="SangBleu Sunrise" panose="020B0504000000000004" pitchFamily="34" charset="-52"/>
                <a:ea typeface="SangBleu Sunrise" panose="020B0504000000000004" pitchFamily="34" charset="-52"/>
              </a:rPr>
              <a:t>Russian Pharmaceutical Market:</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68" name="Rectangle 67">
            <a:extLst>
              <a:ext uri="{FF2B5EF4-FFF2-40B4-BE49-F238E27FC236}">
                <a16:creationId xmlns:a16="http://schemas.microsoft.com/office/drawing/2014/main" id="{74C56523-338B-47DB-9262-756B8C8E0058}"/>
              </a:ext>
            </a:extLst>
          </p:cNvPr>
          <p:cNvSpPr>
            <a:spLocks/>
          </p:cNvSpPr>
          <p:nvPr/>
        </p:nvSpPr>
        <p:spPr>
          <a:xfrm>
            <a:off x="4167479" y="4870454"/>
            <a:ext cx="2227677" cy="2499613"/>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Import: </a:t>
            </a:r>
            <a:r>
              <a:rPr lang="en-US" sz="800" dirty="0">
                <a:solidFill>
                  <a:schemeClr val="tx1"/>
                </a:solidFill>
                <a:latin typeface="SangBleu Sunrise" panose="020B0504000000000004" pitchFamily="34" charset="-52"/>
                <a:ea typeface="SangBleu Sunrise" panose="020B0504000000000004" pitchFamily="34" charset="-52"/>
              </a:rPr>
              <a:t>Imported drugs still account for a significant share of the Russian pharmaceutical market — 64% by value in 2024.</a:t>
            </a:r>
          </a:p>
          <a:p>
            <a:endParaRPr lang="en-US" sz="800" dirty="0">
              <a:solidFill>
                <a:schemeClr val="tx1"/>
              </a:solidFill>
              <a:latin typeface="SangBleu Sunrise" panose="020B0504000000000004" pitchFamily="34" charset="-52"/>
              <a:ea typeface="SangBleu Sunrise" panose="020B0504000000000004" pitchFamily="34" charset="-52"/>
            </a:endParaRPr>
          </a:p>
          <a:p>
            <a:r>
              <a:rPr lang="en-US" sz="800" dirty="0">
                <a:solidFill>
                  <a:schemeClr val="tx1"/>
                </a:solidFill>
                <a:latin typeface="SangBleu Sunrise" panose="020B0504000000000004" pitchFamily="34" charset="-52"/>
                <a:ea typeface="SangBleu Sunrise" panose="020B0504000000000004" pitchFamily="34" charset="-52"/>
              </a:rPr>
              <a:t>The government's import substitution policy and the current geopolitical climate have driven growth in domestic pharmaceutical production and increased the market share of Russian companies. From 2018 to 2022, the share of imported drugs dropped from 70% to 56%.</a:t>
            </a:r>
          </a:p>
          <a:p>
            <a:endParaRPr lang="en-US" sz="800" dirty="0">
              <a:solidFill>
                <a:schemeClr val="tx1"/>
              </a:solidFill>
              <a:latin typeface="SangBleu Sunrise" panose="020B0504000000000004" pitchFamily="34" charset="-52"/>
              <a:ea typeface="SangBleu Sunrise" panose="020B0504000000000004" pitchFamily="34" charset="-52"/>
            </a:endParaRPr>
          </a:p>
          <a:p>
            <a:r>
              <a:rPr lang="en-US" sz="800" dirty="0">
                <a:solidFill>
                  <a:schemeClr val="tx1"/>
                </a:solidFill>
                <a:latin typeface="SangBleu Sunrise" panose="020B0504000000000004" pitchFamily="34" charset="-52"/>
                <a:ea typeface="SangBleu Sunrise" panose="020B0504000000000004" pitchFamily="34" charset="-52"/>
              </a:rPr>
              <a:t>Government support has intensified in recent years, with initiatives like subsidies and national programs. In 2023, the </a:t>
            </a:r>
            <a:r>
              <a:rPr lang="en-US" sz="800" i="1" dirty="0">
                <a:solidFill>
                  <a:schemeClr val="tx1"/>
                </a:solidFill>
                <a:latin typeface="SangBleu Sunrise" panose="020B0504000000000004" pitchFamily="34" charset="-52"/>
                <a:ea typeface="SangBleu Sunrise" panose="020B0504000000000004" pitchFamily="34" charset="-52"/>
              </a:rPr>
              <a:t>“Products to the Shelf”</a:t>
            </a:r>
            <a:r>
              <a:rPr lang="en-US" sz="800" dirty="0">
                <a:solidFill>
                  <a:schemeClr val="tx1"/>
                </a:solidFill>
                <a:latin typeface="SangBleu Sunrise" panose="020B0504000000000004" pitchFamily="34" charset="-52"/>
                <a:ea typeface="SangBleu Sunrise" panose="020B0504000000000004" pitchFamily="34" charset="-52"/>
              </a:rPr>
              <a:t> project was launched, aimed at developing analogs of patented drugs from unfriendly countries.</a:t>
            </a:r>
          </a:p>
        </p:txBody>
      </p:sp>
      <p:graphicFrame>
        <p:nvGraphicFramePr>
          <p:cNvPr id="191" name="Chart 190">
            <a:extLst>
              <a:ext uri="{FF2B5EF4-FFF2-40B4-BE49-F238E27FC236}">
                <a16:creationId xmlns:a16="http://schemas.microsoft.com/office/drawing/2014/main" id="{3DE14F60-511B-479E-81EC-D9AE1977D3B8}"/>
              </a:ext>
            </a:extLst>
          </p:cNvPr>
          <p:cNvGraphicFramePr/>
          <p:nvPr>
            <p:custDataLst>
              <p:tags r:id="rId4"/>
            </p:custDataLst>
            <p:extLst>
              <p:ext uri="{D42A27DB-BD31-4B8C-83A1-F6EECF244321}">
                <p14:modId xmlns:p14="http://schemas.microsoft.com/office/powerpoint/2010/main" val="1987683016"/>
              </p:ext>
            </p:extLst>
          </p:nvPr>
        </p:nvGraphicFramePr>
        <p:xfrm>
          <a:off x="4094163" y="2665413"/>
          <a:ext cx="2006600" cy="1633537"/>
        </p:xfrm>
        <a:graphic>
          <a:graphicData uri="http://schemas.openxmlformats.org/drawingml/2006/chart">
            <c:chart xmlns:c="http://schemas.openxmlformats.org/drawingml/2006/chart" xmlns:r="http://schemas.openxmlformats.org/officeDocument/2006/relationships" r:id="rId142"/>
          </a:graphicData>
        </a:graphic>
      </p:graphicFrame>
      <p:cxnSp>
        <p:nvCxnSpPr>
          <p:cNvPr id="559" name="Straight Connector 558">
            <a:extLst>
              <a:ext uri="{FF2B5EF4-FFF2-40B4-BE49-F238E27FC236}">
                <a16:creationId xmlns:a16="http://schemas.microsoft.com/office/drawing/2014/main" id="{CA0EEF0D-FE0B-47B4-A3D6-F00DFCC65667}"/>
              </a:ext>
            </a:extLst>
          </p:cNvPr>
          <p:cNvCxnSpPr/>
          <p:nvPr>
            <p:custDataLst>
              <p:tags r:id="rId5"/>
            </p:custDataLst>
          </p:nvPr>
        </p:nvCxnSpPr>
        <p:spPr bwMode="auto">
          <a:xfrm>
            <a:off x="4845050" y="3203575"/>
            <a:ext cx="33338"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9" name="Text Placeholder 2">
            <a:extLst>
              <a:ext uri="{FF2B5EF4-FFF2-40B4-BE49-F238E27FC236}">
                <a16:creationId xmlns:a16="http://schemas.microsoft.com/office/drawing/2014/main" id="{FE884F03-82FF-4500-8485-E28DA1B5D5E9}"/>
              </a:ext>
            </a:extLst>
          </p:cNvPr>
          <p:cNvSpPr>
            <a:spLocks noGrp="1"/>
          </p:cNvSpPr>
          <p:nvPr>
            <p:custDataLst>
              <p:tags r:id="rId6"/>
            </p:custDataLst>
          </p:nvPr>
        </p:nvSpPr>
        <p:spPr bwMode="gray">
          <a:xfrm>
            <a:off x="4248150" y="3348038"/>
            <a:ext cx="163513"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18CD06D2-ECCE-4B86-B46C-FFCB5681AB7E}" type="datetime'''''''''''''''''''2''''''''''''''6''''''''''''''''''''''2'">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62</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52" name="Text Placeholder 2">
            <a:extLst>
              <a:ext uri="{FF2B5EF4-FFF2-40B4-BE49-F238E27FC236}">
                <a16:creationId xmlns:a16="http://schemas.microsoft.com/office/drawing/2014/main" id="{D67D9F22-D55C-408E-876F-C045C11B50A1}"/>
              </a:ext>
            </a:extLst>
          </p:cNvPr>
          <p:cNvSpPr>
            <a:spLocks noGrp="1"/>
          </p:cNvSpPr>
          <p:nvPr>
            <p:custDataLst>
              <p:tags r:id="rId7"/>
            </p:custDataLst>
          </p:nvPr>
        </p:nvSpPr>
        <p:spPr bwMode="gray">
          <a:xfrm>
            <a:off x="4249737" y="3533775"/>
            <a:ext cx="158750"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A532C0E-2FB2-41CE-B7BC-6009751F7B0F}" type="datetime'''''''5''''''''''''''''7''''''''''''''''''''''''''7'''''''''''">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577</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80" name="Text Placeholder 2">
            <a:extLst>
              <a:ext uri="{FF2B5EF4-FFF2-40B4-BE49-F238E27FC236}">
                <a16:creationId xmlns:a16="http://schemas.microsoft.com/office/drawing/2014/main" id="{F5B3350B-180C-46E6-B9C8-147148F86D09}"/>
              </a:ext>
            </a:extLst>
          </p:cNvPr>
          <p:cNvSpPr>
            <a:spLocks noGrp="1"/>
          </p:cNvSpPr>
          <p:nvPr>
            <p:custDataLst>
              <p:tags r:id="rId8"/>
            </p:custDataLst>
          </p:nvPr>
        </p:nvSpPr>
        <p:spPr bwMode="gray">
          <a:xfrm>
            <a:off x="4216400" y="3887788"/>
            <a:ext cx="225425"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9701D65-32FB-4DCC-94DF-65BB51BF2CB9}" type="datetime'''''''''''''''''''''''''''''''''1.''''''0''''''2''0'''''''''''">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1.020</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63" name="Text Placeholder 2">
            <a:extLst>
              <a:ext uri="{FF2B5EF4-FFF2-40B4-BE49-F238E27FC236}">
                <a16:creationId xmlns:a16="http://schemas.microsoft.com/office/drawing/2014/main" id="{C45ABD20-81E2-4250-AE8C-5E0F40085E69}"/>
              </a:ext>
            </a:extLst>
          </p:cNvPr>
          <p:cNvSpPr>
            <a:spLocks noGrp="1"/>
          </p:cNvSpPr>
          <p:nvPr>
            <p:custDataLst>
              <p:tags r:id="rId9"/>
            </p:custDataLst>
          </p:nvPr>
        </p:nvSpPr>
        <p:spPr bwMode="auto">
          <a:xfrm>
            <a:off x="4233862" y="4179888"/>
            <a:ext cx="1905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759AB695-A95E-49E4-B8D8-EC641D0FD3F2}" type="datetime'''''''''''''''''''''''''''''''''''20''''''''''''1''''''''9'">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19</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71" name="Text Placeholder 2">
            <a:extLst>
              <a:ext uri="{FF2B5EF4-FFF2-40B4-BE49-F238E27FC236}">
                <a16:creationId xmlns:a16="http://schemas.microsoft.com/office/drawing/2014/main" id="{06E55C3C-2D7F-401B-9A12-D5CE15C56FA5}"/>
              </a:ext>
            </a:extLst>
          </p:cNvPr>
          <p:cNvSpPr>
            <a:spLocks noGrp="1"/>
          </p:cNvSpPr>
          <p:nvPr>
            <p:custDataLst>
              <p:tags r:id="rId10"/>
            </p:custDataLst>
          </p:nvPr>
        </p:nvSpPr>
        <p:spPr bwMode="gray">
          <a:xfrm>
            <a:off x="4557713" y="3273425"/>
            <a:ext cx="160338"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FE05D3B-9F45-45B5-9097-074FC41AA4F3}" type="datetime'''2''''''''''''''''''''''''''''''''''''''7''8'">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78</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54" name="Text Placeholder 2">
            <a:extLst>
              <a:ext uri="{FF2B5EF4-FFF2-40B4-BE49-F238E27FC236}">
                <a16:creationId xmlns:a16="http://schemas.microsoft.com/office/drawing/2014/main" id="{E42D5EE5-756D-4E25-B882-550E3E1C2427}"/>
              </a:ext>
            </a:extLst>
          </p:cNvPr>
          <p:cNvSpPr>
            <a:spLocks noGrp="1"/>
          </p:cNvSpPr>
          <p:nvPr>
            <p:custDataLst>
              <p:tags r:id="rId11"/>
            </p:custDataLst>
          </p:nvPr>
        </p:nvSpPr>
        <p:spPr bwMode="gray">
          <a:xfrm>
            <a:off x="4564063" y="3475038"/>
            <a:ext cx="147638"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5D44591-DE92-4C0B-9D86-9D86DDE54CD6}" type="datetime'''''''''''''''6''''''3''1'''">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631</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81" name="Text Placeholder 2">
            <a:extLst>
              <a:ext uri="{FF2B5EF4-FFF2-40B4-BE49-F238E27FC236}">
                <a16:creationId xmlns:a16="http://schemas.microsoft.com/office/drawing/2014/main" id="{CB135BCA-2C0C-49B9-895C-6E5416750FDF}"/>
              </a:ext>
            </a:extLst>
          </p:cNvPr>
          <p:cNvSpPr>
            <a:spLocks noGrp="1"/>
          </p:cNvSpPr>
          <p:nvPr>
            <p:custDataLst>
              <p:tags r:id="rId12"/>
            </p:custDataLst>
          </p:nvPr>
        </p:nvSpPr>
        <p:spPr bwMode="gray">
          <a:xfrm>
            <a:off x="4538663" y="3863975"/>
            <a:ext cx="196850"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AFFAF4B6-7A3A-4FE2-9AC3-3CF45BE133E6}" type="datetime'''''''''''''''''1''''''''''''''''''''''.1''''''''''''''28'''">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1.128</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64" name="Text Placeholder 2">
            <a:extLst>
              <a:ext uri="{FF2B5EF4-FFF2-40B4-BE49-F238E27FC236}">
                <a16:creationId xmlns:a16="http://schemas.microsoft.com/office/drawing/2014/main" id="{F5485150-D13E-41CF-86D2-9C89DB241EF7}"/>
              </a:ext>
            </a:extLst>
          </p:cNvPr>
          <p:cNvSpPr>
            <a:spLocks noGrp="1"/>
          </p:cNvSpPr>
          <p:nvPr>
            <p:custDataLst>
              <p:tags r:id="rId13"/>
            </p:custDataLst>
          </p:nvPr>
        </p:nvSpPr>
        <p:spPr bwMode="auto">
          <a:xfrm>
            <a:off x="4532313" y="4179888"/>
            <a:ext cx="20955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FA32EE9-088C-4255-B701-B9C8B0021F6A}" type="datetime'''''''2''''''''''''0''''2''''''''''''''''''''''''''''0'''">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0</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55" name="Text Placeholder 2">
            <a:extLst>
              <a:ext uri="{FF2B5EF4-FFF2-40B4-BE49-F238E27FC236}">
                <a16:creationId xmlns:a16="http://schemas.microsoft.com/office/drawing/2014/main" id="{0D59903E-EE9F-428C-A6EE-097C15E57340}"/>
              </a:ext>
            </a:extLst>
          </p:cNvPr>
          <p:cNvSpPr>
            <a:spLocks noGrp="1"/>
          </p:cNvSpPr>
          <p:nvPr>
            <p:custDataLst>
              <p:tags r:id="rId14"/>
            </p:custDataLst>
          </p:nvPr>
        </p:nvSpPr>
        <p:spPr bwMode="gray">
          <a:xfrm>
            <a:off x="4857750" y="3411538"/>
            <a:ext cx="173038"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FB6E2AD2-64DE-49BB-BD7C-814B86BAB4DA}" type="datetime'''''''8''4''''''''''''''''''''''''''''''''''0'''''''''''''">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840</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82" name="Text Placeholder 2">
            <a:extLst>
              <a:ext uri="{FF2B5EF4-FFF2-40B4-BE49-F238E27FC236}">
                <a16:creationId xmlns:a16="http://schemas.microsoft.com/office/drawing/2014/main" id="{795BF121-62BA-494E-85B0-B2DF9D147ED9}"/>
              </a:ext>
            </a:extLst>
          </p:cNvPr>
          <p:cNvSpPr>
            <a:spLocks noGrp="1"/>
          </p:cNvSpPr>
          <p:nvPr>
            <p:custDataLst>
              <p:tags r:id="rId15"/>
            </p:custDataLst>
          </p:nvPr>
        </p:nvSpPr>
        <p:spPr bwMode="gray">
          <a:xfrm>
            <a:off x="4841875" y="3854450"/>
            <a:ext cx="203200"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5C55667-E563-4323-8C7C-13A9C0784D4A}" type="datetime'''1''''.''''''''''''''''''''''1''6''''''''''''''''6'''''''''">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1.166</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65" name="Text Placeholder 2">
            <a:extLst>
              <a:ext uri="{FF2B5EF4-FFF2-40B4-BE49-F238E27FC236}">
                <a16:creationId xmlns:a16="http://schemas.microsoft.com/office/drawing/2014/main" id="{BFE7A75D-F641-4B25-961A-F02E9E0719E8}"/>
              </a:ext>
            </a:extLst>
          </p:cNvPr>
          <p:cNvSpPr>
            <a:spLocks noGrp="1"/>
          </p:cNvSpPr>
          <p:nvPr>
            <p:custDataLst>
              <p:tags r:id="rId16"/>
            </p:custDataLst>
          </p:nvPr>
        </p:nvSpPr>
        <p:spPr bwMode="auto">
          <a:xfrm>
            <a:off x="4849813" y="4179888"/>
            <a:ext cx="18732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527D03F-4E7F-4574-A695-90027C5B5083}" type="datetime'''''2''''''''''''''''''''0''''''''''''''2''''''1'''''''''''">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1</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73" name="Text Placeholder 2">
            <a:extLst>
              <a:ext uri="{FF2B5EF4-FFF2-40B4-BE49-F238E27FC236}">
                <a16:creationId xmlns:a16="http://schemas.microsoft.com/office/drawing/2014/main" id="{ABE1BC5B-474E-49A4-B73A-423C9C2981F5}"/>
              </a:ext>
            </a:extLst>
          </p:cNvPr>
          <p:cNvSpPr>
            <a:spLocks noGrp="1"/>
          </p:cNvSpPr>
          <p:nvPr>
            <p:custDataLst>
              <p:tags r:id="rId17"/>
            </p:custDataLst>
          </p:nvPr>
        </p:nvSpPr>
        <p:spPr bwMode="gray">
          <a:xfrm>
            <a:off x="5170488" y="3048000"/>
            <a:ext cx="160338"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D8A68ED-94CB-492D-8AA1-E6172AEDB3FA}" type="datetime'''''''''''''''''''''''''''''''''''''''''''3''''2''7'">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327</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56" name="Text Placeholder 2">
            <a:extLst>
              <a:ext uri="{FF2B5EF4-FFF2-40B4-BE49-F238E27FC236}">
                <a16:creationId xmlns:a16="http://schemas.microsoft.com/office/drawing/2014/main" id="{0CEFBFA4-33B9-4FF5-B665-CAE090F3385E}"/>
              </a:ext>
            </a:extLst>
          </p:cNvPr>
          <p:cNvSpPr>
            <a:spLocks noGrp="1"/>
          </p:cNvSpPr>
          <p:nvPr>
            <p:custDataLst>
              <p:tags r:id="rId18"/>
            </p:custDataLst>
          </p:nvPr>
        </p:nvSpPr>
        <p:spPr bwMode="gray">
          <a:xfrm>
            <a:off x="5165725" y="3317875"/>
            <a:ext cx="169863"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46F6932-A968-4907-B9C0-56F4DC686570}" type="datetime'''''''''''''''''''8''''9''''''''''''''''''''''''''''''''4'">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894</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83" name="Text Placeholder 2">
            <a:extLst>
              <a:ext uri="{FF2B5EF4-FFF2-40B4-BE49-F238E27FC236}">
                <a16:creationId xmlns:a16="http://schemas.microsoft.com/office/drawing/2014/main" id="{B5CF5231-D8FA-4741-AA05-916DF55B571B}"/>
              </a:ext>
            </a:extLst>
          </p:cNvPr>
          <p:cNvSpPr>
            <a:spLocks noGrp="1"/>
          </p:cNvSpPr>
          <p:nvPr>
            <p:custDataLst>
              <p:tags r:id="rId19"/>
            </p:custDataLst>
          </p:nvPr>
        </p:nvSpPr>
        <p:spPr bwMode="gray">
          <a:xfrm>
            <a:off x="5141912" y="3814763"/>
            <a:ext cx="217488"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03FC9CD3-6069-4AB4-9773-84E89C67FDE0}" type="datetime'''1''''''''''''''''''''''''.3''''''5''''''''''''''''''0'''''''">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1.350</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66" name="Text Placeholder 2">
            <a:extLst>
              <a:ext uri="{FF2B5EF4-FFF2-40B4-BE49-F238E27FC236}">
                <a16:creationId xmlns:a16="http://schemas.microsoft.com/office/drawing/2014/main" id="{2647B3AC-1147-43F7-8B8E-3E5ADE459596}"/>
              </a:ext>
            </a:extLst>
          </p:cNvPr>
          <p:cNvSpPr>
            <a:spLocks noGrp="1"/>
          </p:cNvSpPr>
          <p:nvPr>
            <p:custDataLst>
              <p:tags r:id="rId20"/>
            </p:custDataLst>
          </p:nvPr>
        </p:nvSpPr>
        <p:spPr bwMode="auto">
          <a:xfrm>
            <a:off x="5148263" y="4179888"/>
            <a:ext cx="2032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34B56B9-CB30-40BC-AA12-77983724BC7A}" type="datetime'''''2''''''0''''''''''''''''''2''''2'">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2</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74" name="Text Placeholder 2">
            <a:extLst>
              <a:ext uri="{FF2B5EF4-FFF2-40B4-BE49-F238E27FC236}">
                <a16:creationId xmlns:a16="http://schemas.microsoft.com/office/drawing/2014/main" id="{FE24C853-9326-4EA6-BC0A-4E8A077E1746}"/>
              </a:ext>
            </a:extLst>
          </p:cNvPr>
          <p:cNvSpPr>
            <a:spLocks noGrp="1"/>
          </p:cNvSpPr>
          <p:nvPr>
            <p:custDataLst>
              <p:tags r:id="rId21"/>
            </p:custDataLst>
          </p:nvPr>
        </p:nvSpPr>
        <p:spPr bwMode="gray">
          <a:xfrm>
            <a:off x="5473700" y="3049588"/>
            <a:ext cx="169863"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043DD94-7922-4B02-81A2-D5C0F87CDE79}" type="datetime'''''3''4''''6'''''''''''''''''">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346</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57" name="Text Placeholder 2">
            <a:extLst>
              <a:ext uri="{FF2B5EF4-FFF2-40B4-BE49-F238E27FC236}">
                <a16:creationId xmlns:a16="http://schemas.microsoft.com/office/drawing/2014/main" id="{54DC3838-8FA5-42FC-9B9F-A824CAFBF818}"/>
              </a:ext>
            </a:extLst>
          </p:cNvPr>
          <p:cNvSpPr>
            <a:spLocks noGrp="1"/>
          </p:cNvSpPr>
          <p:nvPr>
            <p:custDataLst>
              <p:tags r:id="rId22"/>
            </p:custDataLst>
          </p:nvPr>
        </p:nvSpPr>
        <p:spPr bwMode="gray">
          <a:xfrm>
            <a:off x="5472113" y="3303588"/>
            <a:ext cx="173038"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DAA45AA-0FF4-4BD8-93F3-C70B5FC497D5}" type="datetime'''''''80''''''''''''''''''''''''''''''''''''''''0'''''">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800</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84" name="Text Placeholder 2">
            <a:extLst>
              <a:ext uri="{FF2B5EF4-FFF2-40B4-BE49-F238E27FC236}">
                <a16:creationId xmlns:a16="http://schemas.microsoft.com/office/drawing/2014/main" id="{6805B642-3961-46CB-9DF5-AAB4ADD29E7C}"/>
              </a:ext>
            </a:extLst>
          </p:cNvPr>
          <p:cNvSpPr>
            <a:spLocks noGrp="1"/>
          </p:cNvSpPr>
          <p:nvPr>
            <p:custDataLst>
              <p:tags r:id="rId23"/>
            </p:custDataLst>
          </p:nvPr>
        </p:nvSpPr>
        <p:spPr bwMode="gray">
          <a:xfrm>
            <a:off x="5448300" y="3795713"/>
            <a:ext cx="219075"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12C117E0-AFEE-49DB-BFDC-169AC3CF4B39}" type="datetime'''''''''''1''''.''''''''''''''''''''''''''4''''32'''''">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1.432</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67" name="Text Placeholder 2">
            <a:extLst>
              <a:ext uri="{FF2B5EF4-FFF2-40B4-BE49-F238E27FC236}">
                <a16:creationId xmlns:a16="http://schemas.microsoft.com/office/drawing/2014/main" id="{64FFBE87-1520-4943-BC63-163B2F437440}"/>
              </a:ext>
            </a:extLst>
          </p:cNvPr>
          <p:cNvSpPr>
            <a:spLocks noGrp="1"/>
          </p:cNvSpPr>
          <p:nvPr>
            <p:custDataLst>
              <p:tags r:id="rId24"/>
            </p:custDataLst>
          </p:nvPr>
        </p:nvSpPr>
        <p:spPr bwMode="auto">
          <a:xfrm>
            <a:off x="5456238" y="4179888"/>
            <a:ext cx="2032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A15D4B0-2014-4D0C-9B09-0E4096D59C41}" type="datetime'''2''''''''''''''''''0''''''2''3'''''">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3</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75" name="Text Placeholder 2">
            <a:extLst>
              <a:ext uri="{FF2B5EF4-FFF2-40B4-BE49-F238E27FC236}">
                <a16:creationId xmlns:a16="http://schemas.microsoft.com/office/drawing/2014/main" id="{15FE829D-E6E9-4F4D-8215-B0316E0F5FC9}"/>
              </a:ext>
            </a:extLst>
          </p:cNvPr>
          <p:cNvSpPr>
            <a:spLocks noGrp="1"/>
          </p:cNvSpPr>
          <p:nvPr>
            <p:custDataLst>
              <p:tags r:id="rId25"/>
            </p:custDataLst>
          </p:nvPr>
        </p:nvSpPr>
        <p:spPr bwMode="gray">
          <a:xfrm>
            <a:off x="5778500" y="2859088"/>
            <a:ext cx="173038"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CC07022-BEB9-4DEB-9CB9-7DF0DB54DF4F}" type="datetime'''''''''''''''''''''''''''''''''''''''4''''''''''''''''0''8'">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408</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58" name="Text Placeholder 2">
            <a:extLst>
              <a:ext uri="{FF2B5EF4-FFF2-40B4-BE49-F238E27FC236}">
                <a16:creationId xmlns:a16="http://schemas.microsoft.com/office/drawing/2014/main" id="{8BC9F0FE-1D43-4512-BD41-57E0D4326368}"/>
              </a:ext>
            </a:extLst>
          </p:cNvPr>
          <p:cNvSpPr>
            <a:spLocks noGrp="1"/>
          </p:cNvSpPr>
          <p:nvPr>
            <p:custDataLst>
              <p:tags r:id="rId26"/>
            </p:custDataLst>
          </p:nvPr>
        </p:nvSpPr>
        <p:spPr bwMode="gray">
          <a:xfrm>
            <a:off x="5776913" y="3157538"/>
            <a:ext cx="176213"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9B773CE-8200-42A9-B563-88D2C5BCAA57}" type="datetime'''''''9''''''''''''''''''''''''''''''''''''44'''''''''''''''">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944</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85" name="Text Placeholder 2">
            <a:extLst>
              <a:ext uri="{FF2B5EF4-FFF2-40B4-BE49-F238E27FC236}">
                <a16:creationId xmlns:a16="http://schemas.microsoft.com/office/drawing/2014/main" id="{F2C0FED8-D991-4B82-B43B-6DF6E89B85C8}"/>
              </a:ext>
            </a:extLst>
          </p:cNvPr>
          <p:cNvSpPr>
            <a:spLocks noGrp="1"/>
          </p:cNvSpPr>
          <p:nvPr>
            <p:custDataLst>
              <p:tags r:id="rId27"/>
            </p:custDataLst>
          </p:nvPr>
        </p:nvSpPr>
        <p:spPr bwMode="gray">
          <a:xfrm>
            <a:off x="5751513" y="3740150"/>
            <a:ext cx="225425" cy="82550"/>
          </a:xfrm>
          <a:prstGeom prst="rect">
            <a:avLst/>
          </a:prstGeom>
          <a:solidFill>
            <a:schemeClr val="bg1"/>
          </a:solidFill>
          <a:ln>
            <a:noFill/>
          </a:ln>
          <a:effec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9E1CB53-BF07-4113-8FCA-58BCF951E767}" type="datetime'''''''1''''.''''''''''''''''''''''''''''6''90'''''''">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1.690</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68" name="Text Placeholder 2">
            <a:extLst>
              <a:ext uri="{FF2B5EF4-FFF2-40B4-BE49-F238E27FC236}">
                <a16:creationId xmlns:a16="http://schemas.microsoft.com/office/drawing/2014/main" id="{AA8D1B6D-F505-4C48-A6F7-16D389F1DE3B}"/>
              </a:ext>
            </a:extLst>
          </p:cNvPr>
          <p:cNvSpPr>
            <a:spLocks noGrp="1"/>
          </p:cNvSpPr>
          <p:nvPr>
            <p:custDataLst>
              <p:tags r:id="rId28"/>
            </p:custDataLst>
          </p:nvPr>
        </p:nvSpPr>
        <p:spPr bwMode="auto">
          <a:xfrm>
            <a:off x="5759450" y="4179888"/>
            <a:ext cx="20955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3C06614-CAA9-4971-957F-5AC26E38A611}" type="datetime'''''''''''''2''''''''''''0''''''''''2''''''''''''''''''4'''''">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4</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71" name="Text Placeholder 2">
            <a:extLst>
              <a:ext uri="{FF2B5EF4-FFF2-40B4-BE49-F238E27FC236}">
                <a16:creationId xmlns:a16="http://schemas.microsoft.com/office/drawing/2014/main" id="{43464C5D-5EAA-4FDE-834D-1FFFEDA0887B}"/>
              </a:ext>
            </a:extLst>
          </p:cNvPr>
          <p:cNvSpPr>
            <a:spLocks noGrp="1"/>
          </p:cNvSpPr>
          <p:nvPr>
            <p:custDataLst>
              <p:tags r:id="rId29"/>
            </p:custDataLst>
          </p:nvPr>
        </p:nvSpPr>
        <p:spPr bwMode="gray">
          <a:xfrm>
            <a:off x="4222750" y="3224213"/>
            <a:ext cx="21431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AC2E01AF-E7AE-4C32-9885-C8DA8E8D7227}" type="datetime'1''.''''''''''''''''8''''''''''''5''''9'''''''''''''''''''''">
              <a:rPr lang="ru-RU" altLang="en-US" sz="600" b="1" smtClean="0">
                <a:latin typeface="SangBleu Sunrise" panose="020B0504000000000004" pitchFamily="34" charset="-52"/>
                <a:ea typeface="SangBleu Sunrise" panose="020B0504000000000004" pitchFamily="34" charset="-52"/>
              </a:rPr>
              <a:pPr/>
              <a:t>1.859</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72" name="Text Placeholder 2">
            <a:extLst>
              <a:ext uri="{FF2B5EF4-FFF2-40B4-BE49-F238E27FC236}">
                <a16:creationId xmlns:a16="http://schemas.microsoft.com/office/drawing/2014/main" id="{9B341E2A-B12B-4E4F-A3B9-CCBC7460DD5F}"/>
              </a:ext>
            </a:extLst>
          </p:cNvPr>
          <p:cNvSpPr>
            <a:spLocks noGrp="1"/>
          </p:cNvSpPr>
          <p:nvPr>
            <p:custDataLst>
              <p:tags r:id="rId30"/>
            </p:custDataLst>
          </p:nvPr>
        </p:nvSpPr>
        <p:spPr bwMode="gray">
          <a:xfrm>
            <a:off x="4519613" y="3089275"/>
            <a:ext cx="23495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F5543A5F-0EF2-4B32-BF10-25E60E7F59F4}" type="datetime'2''''''''.''''''''''''''''''''''''0''''''3''''''''7'">
              <a:rPr lang="ru-RU" altLang="en-US" sz="600" b="1" smtClean="0">
                <a:latin typeface="SangBleu Sunrise" panose="020B0504000000000004" pitchFamily="34" charset="-52"/>
                <a:ea typeface="SangBleu Sunrise" panose="020B0504000000000004" pitchFamily="34" charset="-52"/>
              </a:rPr>
              <a:pPr/>
              <a:t>2.037</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73" name="Text Placeholder 2">
            <a:extLst>
              <a:ext uri="{FF2B5EF4-FFF2-40B4-BE49-F238E27FC236}">
                <a16:creationId xmlns:a16="http://schemas.microsoft.com/office/drawing/2014/main" id="{C736F8B0-B67D-4E97-8B84-C0B73898C332}"/>
              </a:ext>
            </a:extLst>
          </p:cNvPr>
          <p:cNvSpPr>
            <a:spLocks noGrp="1"/>
          </p:cNvSpPr>
          <p:nvPr>
            <p:custDataLst>
              <p:tags r:id="rId31"/>
            </p:custDataLst>
          </p:nvPr>
        </p:nvSpPr>
        <p:spPr bwMode="gray">
          <a:xfrm>
            <a:off x="4829174" y="3032125"/>
            <a:ext cx="230188"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8FCEBD8-AB3D-4863-A297-C9B3747343FC}" type="datetime'''''''''''''2''.''''''''2''''''95'''''">
              <a:rPr lang="ru-RU" altLang="en-US" sz="600" b="1" smtClean="0">
                <a:latin typeface="SangBleu Sunrise" panose="020B0504000000000004" pitchFamily="34" charset="-52"/>
                <a:ea typeface="SangBleu Sunrise" panose="020B0504000000000004" pitchFamily="34" charset="-52"/>
              </a:rPr>
              <a:pPr/>
              <a:t>2.295</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74" name="Text Placeholder 2">
            <a:extLst>
              <a:ext uri="{FF2B5EF4-FFF2-40B4-BE49-F238E27FC236}">
                <a16:creationId xmlns:a16="http://schemas.microsoft.com/office/drawing/2014/main" id="{78BB3471-F970-418D-AB27-77B4316F363B}"/>
              </a:ext>
            </a:extLst>
          </p:cNvPr>
          <p:cNvSpPr>
            <a:spLocks noGrp="1"/>
          </p:cNvSpPr>
          <p:nvPr>
            <p:custDataLst>
              <p:tags r:id="rId32"/>
            </p:custDataLst>
          </p:nvPr>
        </p:nvSpPr>
        <p:spPr bwMode="gray">
          <a:xfrm>
            <a:off x="5145088" y="2909888"/>
            <a:ext cx="211138"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ACF4E558-B39E-45BD-A32A-9067C42C7E81}" type="datetime'''''''''''''''''''''''''''''2''''''''''.''57''1'''''''''">
              <a:rPr lang="ru-RU" altLang="en-US" sz="600" b="1" smtClean="0">
                <a:latin typeface="SangBleu Sunrise" panose="020B0504000000000004" pitchFamily="34" charset="-52"/>
                <a:ea typeface="SangBleu Sunrise" panose="020B0504000000000004" pitchFamily="34" charset="-52"/>
              </a:rPr>
              <a:pPr/>
              <a:t>2.571</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75" name="Text Placeholder 2">
            <a:extLst>
              <a:ext uri="{FF2B5EF4-FFF2-40B4-BE49-F238E27FC236}">
                <a16:creationId xmlns:a16="http://schemas.microsoft.com/office/drawing/2014/main" id="{B12BB9E8-8F67-4A63-BBFB-E33FFBEF5DD6}"/>
              </a:ext>
            </a:extLst>
          </p:cNvPr>
          <p:cNvSpPr>
            <a:spLocks noGrp="1"/>
          </p:cNvSpPr>
          <p:nvPr>
            <p:custDataLst>
              <p:tags r:id="rId33"/>
            </p:custDataLst>
          </p:nvPr>
        </p:nvSpPr>
        <p:spPr bwMode="gray">
          <a:xfrm>
            <a:off x="5445125" y="2906713"/>
            <a:ext cx="22701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D10234B-5199-4075-B5CB-37B94A0D7B99}" type="datetime'''''2''''''''''''''''''.''''''5''7''''''''''''''''8'''">
              <a:rPr lang="ru-RU" altLang="en-US" sz="600" b="1" smtClean="0">
                <a:latin typeface="SangBleu Sunrise" panose="020B0504000000000004" pitchFamily="34" charset="-52"/>
                <a:ea typeface="SangBleu Sunrise" panose="020B0504000000000004" pitchFamily="34" charset="-52"/>
              </a:rPr>
              <a:pPr/>
              <a:t>2.578</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76" name="Text Placeholder 2">
            <a:extLst>
              <a:ext uri="{FF2B5EF4-FFF2-40B4-BE49-F238E27FC236}">
                <a16:creationId xmlns:a16="http://schemas.microsoft.com/office/drawing/2014/main" id="{D98B65D7-7612-46BD-8B4F-53FAE2F26AEB}"/>
              </a:ext>
            </a:extLst>
          </p:cNvPr>
          <p:cNvSpPr>
            <a:spLocks noGrp="1"/>
          </p:cNvSpPr>
          <p:nvPr>
            <p:custDataLst>
              <p:tags r:id="rId34"/>
            </p:custDataLst>
          </p:nvPr>
        </p:nvSpPr>
        <p:spPr bwMode="gray">
          <a:xfrm>
            <a:off x="5743574" y="2701925"/>
            <a:ext cx="2413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82C8973-1FCA-495C-B0C0-0D5E836F0B20}" type="datetime'''3''''''''''''''.''''0''''''''''''4''''''''''''''''''''''2'">
              <a:rPr lang="ru-RU" altLang="en-US" sz="600" b="1" smtClean="0">
                <a:latin typeface="SangBleu Sunrise" panose="020B0504000000000004" pitchFamily="34" charset="-52"/>
                <a:ea typeface="SangBleu Sunrise" panose="020B0504000000000004" pitchFamily="34" charset="-52"/>
              </a:rPr>
              <a:pPr/>
              <a:t>3.042</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graphicFrame>
        <p:nvGraphicFramePr>
          <p:cNvPr id="192" name="Chart 191">
            <a:extLst>
              <a:ext uri="{FF2B5EF4-FFF2-40B4-BE49-F238E27FC236}">
                <a16:creationId xmlns:a16="http://schemas.microsoft.com/office/drawing/2014/main" id="{D2F7B8C1-E041-48C8-9F12-F1304718AA21}"/>
              </a:ext>
            </a:extLst>
          </p:cNvPr>
          <p:cNvGraphicFramePr/>
          <p:nvPr>
            <p:custDataLst>
              <p:tags r:id="rId35"/>
            </p:custDataLst>
            <p:extLst>
              <p:ext uri="{D42A27DB-BD31-4B8C-83A1-F6EECF244321}">
                <p14:modId xmlns:p14="http://schemas.microsoft.com/office/powerpoint/2010/main" val="300451706"/>
              </p:ext>
            </p:extLst>
          </p:nvPr>
        </p:nvGraphicFramePr>
        <p:xfrm>
          <a:off x="4102100" y="806450"/>
          <a:ext cx="1365250" cy="1276350"/>
        </p:xfrm>
        <a:graphic>
          <a:graphicData uri="http://schemas.openxmlformats.org/drawingml/2006/chart">
            <c:chart xmlns:c="http://schemas.openxmlformats.org/drawingml/2006/chart" xmlns:r="http://schemas.openxmlformats.org/officeDocument/2006/relationships" r:id="rId143"/>
          </a:graphicData>
        </a:graphic>
      </p:graphicFrame>
      <p:sp useBgFill="1">
        <p:nvSpPr>
          <p:cNvPr id="29" name="Freeform: Shape 28">
            <a:extLst>
              <a:ext uri="{FF2B5EF4-FFF2-40B4-BE49-F238E27FC236}">
                <a16:creationId xmlns:a16="http://schemas.microsoft.com/office/drawing/2014/main" id="{D8FC3120-7D32-48C6-B902-A4AFEEE1450D}"/>
              </a:ext>
            </a:extLst>
          </p:cNvPr>
          <p:cNvSpPr/>
          <p:nvPr>
            <p:custDataLst>
              <p:tags r:id="rId36"/>
            </p:custDataLst>
          </p:nvPr>
        </p:nvSpPr>
        <p:spPr bwMode="auto">
          <a:xfrm>
            <a:off x="5076825" y="931863"/>
            <a:ext cx="96839" cy="146051"/>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Freeform: Shape 26">
            <a:extLst>
              <a:ext uri="{FF2B5EF4-FFF2-40B4-BE49-F238E27FC236}">
                <a16:creationId xmlns:a16="http://schemas.microsoft.com/office/drawing/2014/main" id="{5F68DC9E-3DE0-4A11-A05A-780D361BA226}"/>
              </a:ext>
            </a:extLst>
          </p:cNvPr>
          <p:cNvSpPr/>
          <p:nvPr>
            <p:custDataLst>
              <p:tags r:id="rId37"/>
            </p:custDataLst>
          </p:nvPr>
        </p:nvSpPr>
        <p:spPr bwMode="auto">
          <a:xfrm>
            <a:off x="5076825" y="931863"/>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8" name="Freeform: Shape 27">
            <a:extLst>
              <a:ext uri="{FF2B5EF4-FFF2-40B4-BE49-F238E27FC236}">
                <a16:creationId xmlns:a16="http://schemas.microsoft.com/office/drawing/2014/main" id="{99A73200-E0CD-402B-92E7-53FB0532630B}"/>
              </a:ext>
            </a:extLst>
          </p:cNvPr>
          <p:cNvSpPr/>
          <p:nvPr>
            <p:custDataLst>
              <p:tags r:id="rId38"/>
            </p:custDataLst>
          </p:nvPr>
        </p:nvSpPr>
        <p:spPr bwMode="auto">
          <a:xfrm>
            <a:off x="5133975" y="931863"/>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12" name="Text Placeholder 2">
            <a:extLst>
              <a:ext uri="{FF2B5EF4-FFF2-40B4-BE49-F238E27FC236}">
                <a16:creationId xmlns:a16="http://schemas.microsoft.com/office/drawing/2014/main" id="{7EB3D3FD-AAAF-4769-9C30-25B77AB10914}"/>
              </a:ext>
            </a:extLst>
          </p:cNvPr>
          <p:cNvSpPr>
            <a:spLocks noGrp="1"/>
          </p:cNvSpPr>
          <p:nvPr>
            <p:custDataLst>
              <p:tags r:id="rId39"/>
            </p:custDataLst>
          </p:nvPr>
        </p:nvSpPr>
        <p:spPr bwMode="auto">
          <a:xfrm>
            <a:off x="5456238" y="963613"/>
            <a:ext cx="16986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780EDBDD-E21C-40CF-A77F-2F3E2B8D3FE9}" type="datetime'U''''''''''''''S''''''''''''''''''A'''''''''''''''''''''''''">
              <a:rPr lang="en-US" altLang="en-US" sz="6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USA</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14" name="Text Placeholder 2">
            <a:extLst>
              <a:ext uri="{FF2B5EF4-FFF2-40B4-BE49-F238E27FC236}">
                <a16:creationId xmlns:a16="http://schemas.microsoft.com/office/drawing/2014/main" id="{C438B525-82D4-470B-AC6C-EF7C060F8C0E}"/>
              </a:ext>
            </a:extLst>
          </p:cNvPr>
          <p:cNvSpPr>
            <a:spLocks noGrp="1"/>
          </p:cNvSpPr>
          <p:nvPr>
            <p:custDataLst>
              <p:tags r:id="rId40"/>
            </p:custDataLst>
          </p:nvPr>
        </p:nvSpPr>
        <p:spPr bwMode="auto">
          <a:xfrm>
            <a:off x="5456238" y="1073150"/>
            <a:ext cx="22225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7414DA7B-D3AA-4FBF-9708-1C54D630BF0C}" type="datetime'''''''''C''''''''''''''''hi''''''''n''''''''''''''a'''''''''">
              <a:rPr lang="en-US" altLang="en-US" sz="6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China</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15" name="Text Placeholder 2">
            <a:extLst>
              <a:ext uri="{FF2B5EF4-FFF2-40B4-BE49-F238E27FC236}">
                <a16:creationId xmlns:a16="http://schemas.microsoft.com/office/drawing/2014/main" id="{6F103B91-6F74-4B1B-9D26-490D386B2B27}"/>
              </a:ext>
            </a:extLst>
          </p:cNvPr>
          <p:cNvSpPr>
            <a:spLocks noGrp="1"/>
          </p:cNvSpPr>
          <p:nvPr>
            <p:custDataLst>
              <p:tags r:id="rId41"/>
            </p:custDataLst>
          </p:nvPr>
        </p:nvSpPr>
        <p:spPr bwMode="auto">
          <a:xfrm>
            <a:off x="5456238" y="1182688"/>
            <a:ext cx="1112838"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17CCD627-2A5F-41C0-B77E-1CA7D069927C}" type="datetime'G''''''er''many, ''Fr''an''ce,'' I''ta''ly,'' S''pai''n'''''''">
              <a:rPr lang="en-US" altLang="en-US" sz="6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Germany, France, Italy, Spain</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16" name="Text Placeholder 2">
            <a:extLst>
              <a:ext uri="{FF2B5EF4-FFF2-40B4-BE49-F238E27FC236}">
                <a16:creationId xmlns:a16="http://schemas.microsoft.com/office/drawing/2014/main" id="{D3C0F8D3-D1EE-4FFB-9610-CCAD253DEE21}"/>
              </a:ext>
            </a:extLst>
          </p:cNvPr>
          <p:cNvSpPr>
            <a:spLocks noGrp="1"/>
          </p:cNvSpPr>
          <p:nvPr>
            <p:custDataLst>
              <p:tags r:id="rId42"/>
            </p:custDataLst>
          </p:nvPr>
        </p:nvSpPr>
        <p:spPr bwMode="auto">
          <a:xfrm>
            <a:off x="5456238" y="1292225"/>
            <a:ext cx="62071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83F76A93-C282-4F6A-B8C6-3D54FB864A14}" type="datetime'''''''''Un''i''''t''e''d ''King''''d''''''o''''''''''''m'''''">
              <a:rPr lang="en-US" altLang="en-US" sz="6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United Kingdom</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17" name="Text Placeholder 2">
            <a:extLst>
              <a:ext uri="{FF2B5EF4-FFF2-40B4-BE49-F238E27FC236}">
                <a16:creationId xmlns:a16="http://schemas.microsoft.com/office/drawing/2014/main" id="{80617B8B-6393-4B05-97D5-5BA1C019CFF2}"/>
              </a:ext>
            </a:extLst>
          </p:cNvPr>
          <p:cNvSpPr>
            <a:spLocks noGrp="1"/>
          </p:cNvSpPr>
          <p:nvPr>
            <p:custDataLst>
              <p:tags r:id="rId43"/>
            </p:custDataLst>
          </p:nvPr>
        </p:nvSpPr>
        <p:spPr bwMode="auto">
          <a:xfrm>
            <a:off x="5456238" y="1401763"/>
            <a:ext cx="18891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60BDB1A8-77F5-4574-B5C0-87EC9514BE82}" type="datetime'''I''''''''''''''nd''''''''''''''''''''''i''''''''''''a'">
              <a:rPr lang="en-US" altLang="en-US" sz="6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India</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18" name="Text Placeholder 2">
            <a:extLst>
              <a:ext uri="{FF2B5EF4-FFF2-40B4-BE49-F238E27FC236}">
                <a16:creationId xmlns:a16="http://schemas.microsoft.com/office/drawing/2014/main" id="{8196E1A5-5A2E-415D-9017-321FEA4CC5FA}"/>
              </a:ext>
            </a:extLst>
          </p:cNvPr>
          <p:cNvSpPr>
            <a:spLocks noGrp="1"/>
          </p:cNvSpPr>
          <p:nvPr>
            <p:custDataLst>
              <p:tags r:id="rId44"/>
            </p:custDataLst>
          </p:nvPr>
        </p:nvSpPr>
        <p:spPr bwMode="auto">
          <a:xfrm>
            <a:off x="5456237" y="1512888"/>
            <a:ext cx="2921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6CB3EC4B-5D3E-4203-AC49-031B4C9BD4BD}" type="datetime'C''''a''''''''''''''''''''''''''''''n''''''''a''''d''''''''a'">
              <a:rPr lang="en-US" altLang="en-US" sz="6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Canada</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19" name="Text Placeholder 2">
            <a:extLst>
              <a:ext uri="{FF2B5EF4-FFF2-40B4-BE49-F238E27FC236}">
                <a16:creationId xmlns:a16="http://schemas.microsoft.com/office/drawing/2014/main" id="{493677AA-F2F0-4DF8-8254-89F09060DCBF}"/>
              </a:ext>
            </a:extLst>
          </p:cNvPr>
          <p:cNvSpPr>
            <a:spLocks noGrp="1"/>
          </p:cNvSpPr>
          <p:nvPr>
            <p:custDataLst>
              <p:tags r:id="rId45"/>
            </p:custDataLst>
          </p:nvPr>
        </p:nvSpPr>
        <p:spPr bwMode="auto">
          <a:xfrm>
            <a:off x="5456237" y="1622425"/>
            <a:ext cx="24765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6BB59A7F-0426-4CF6-BB93-7646E07A45F0}" type="datetime'Russi''''''''''a'">
              <a:rPr lang="en-US" altLang="en-US" sz="6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Russia</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20" name="Text Placeholder 2">
            <a:extLst>
              <a:ext uri="{FF2B5EF4-FFF2-40B4-BE49-F238E27FC236}">
                <a16:creationId xmlns:a16="http://schemas.microsoft.com/office/drawing/2014/main" id="{C4A10F80-FE95-4B1F-ADF1-DD6CB5EB278E}"/>
              </a:ext>
            </a:extLst>
          </p:cNvPr>
          <p:cNvSpPr>
            <a:spLocks noGrp="1"/>
          </p:cNvSpPr>
          <p:nvPr>
            <p:custDataLst>
              <p:tags r:id="rId46"/>
            </p:custDataLst>
          </p:nvPr>
        </p:nvSpPr>
        <p:spPr bwMode="auto">
          <a:xfrm>
            <a:off x="5456238" y="1731963"/>
            <a:ext cx="2159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E44DF920-A958-4109-8CC1-DFD598694235}" type="datetime'''''''''''''''B''''''''''''ra''''''''z''''''''''''''''''''il'">
              <a:rPr lang="en-US" altLang="en-US" sz="6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Brazil</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21" name="Text Placeholder 2">
            <a:extLst>
              <a:ext uri="{FF2B5EF4-FFF2-40B4-BE49-F238E27FC236}">
                <a16:creationId xmlns:a16="http://schemas.microsoft.com/office/drawing/2014/main" id="{F5C3A4D4-8800-47CB-AA12-3B9E0C7868C7}"/>
              </a:ext>
            </a:extLst>
          </p:cNvPr>
          <p:cNvSpPr>
            <a:spLocks noGrp="1"/>
          </p:cNvSpPr>
          <p:nvPr>
            <p:custDataLst>
              <p:tags r:id="rId47"/>
            </p:custDataLst>
          </p:nvPr>
        </p:nvSpPr>
        <p:spPr bwMode="auto">
          <a:xfrm>
            <a:off x="5456238" y="1841500"/>
            <a:ext cx="37147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8691337F-2D14-4099-BBF6-C9314B653C0F}" type="datetime'''''''''''Ar''''''''''''''ge''nt''i''''''''''''n''''''a'''''">
              <a:rPr lang="en-US" altLang="en-US" sz="600" b="1" smtClean="0">
                <a:latin typeface="SangBleu Sunrise" panose="020B0504000000000004" pitchFamily="34" charset="-52"/>
                <a:ea typeface="SangBleu Sunrise" panose="020B0504000000000004" pitchFamily="34" charset="-52"/>
              </a:rPr>
              <a:pPr marL="0" lvl="0" indent="0">
                <a:spcBef>
                  <a:spcPct val="0"/>
                </a:spcBef>
                <a:spcAft>
                  <a:spcPct val="0"/>
                </a:spcAft>
                <a:buNone/>
              </a:pPr>
              <a:t>Argentina</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24" name="Text Placeholder 2">
            <a:extLst>
              <a:ext uri="{FF2B5EF4-FFF2-40B4-BE49-F238E27FC236}">
                <a16:creationId xmlns:a16="http://schemas.microsoft.com/office/drawing/2014/main" id="{E2751C0D-4093-42E2-8C6C-614C02C2EC35}"/>
              </a:ext>
            </a:extLst>
          </p:cNvPr>
          <p:cNvSpPr>
            <a:spLocks noGrp="1"/>
          </p:cNvSpPr>
          <p:nvPr>
            <p:custDataLst>
              <p:tags r:id="rId48"/>
            </p:custDataLst>
          </p:nvPr>
        </p:nvSpPr>
        <p:spPr bwMode="auto">
          <a:xfrm>
            <a:off x="4575175" y="831850"/>
            <a:ext cx="31432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9682F0C-1282-41C7-B2C3-3B294FD00D36}" type="datetime'''''''b''''l''''''''''''''''''''''''''''n'' ''''''U''S''D'">
              <a:rPr lang="en-US" altLang="en-US" sz="600" b="1" smtClean="0">
                <a:latin typeface="SangBleu Sunrise" panose="020B0504000000000004" pitchFamily="34" charset="-52"/>
                <a:ea typeface="SangBleu Sunrise" panose="020B0504000000000004" pitchFamily="34" charset="-52"/>
              </a:rPr>
              <a:pPr/>
              <a:t>bln USD</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41" name="Text Placeholder 2">
            <a:extLst>
              <a:ext uri="{FF2B5EF4-FFF2-40B4-BE49-F238E27FC236}">
                <a16:creationId xmlns:a16="http://schemas.microsoft.com/office/drawing/2014/main" id="{7ED2CCA4-9ECD-4903-8417-0AECF2A85177}"/>
              </a:ext>
            </a:extLst>
          </p:cNvPr>
          <p:cNvSpPr>
            <a:spLocks noGrp="1"/>
          </p:cNvSpPr>
          <p:nvPr>
            <p:custDataLst>
              <p:tags r:id="rId49"/>
            </p:custDataLst>
          </p:nvPr>
        </p:nvSpPr>
        <p:spPr bwMode="gray">
          <a:xfrm>
            <a:off x="5224463" y="963613"/>
            <a:ext cx="16192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F184DE34-3FE9-4144-99A8-4F6345F1311E}" type="datetime'''''''''''''''''''''''5''''6''''''''''7'''''''">
              <a:rPr lang="ru-RU" altLang="en-US" sz="6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567</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graphicFrame>
        <p:nvGraphicFramePr>
          <p:cNvPr id="151" name="Chart 150">
            <a:extLst>
              <a:ext uri="{FF2B5EF4-FFF2-40B4-BE49-F238E27FC236}">
                <a16:creationId xmlns:a16="http://schemas.microsoft.com/office/drawing/2014/main" id="{F960E3FA-AEA0-4395-A50F-B5C3469841E5}"/>
              </a:ext>
            </a:extLst>
          </p:cNvPr>
          <p:cNvGraphicFramePr/>
          <p:nvPr>
            <p:custDataLst>
              <p:tags r:id="rId50"/>
            </p:custDataLst>
            <p:extLst>
              <p:ext uri="{D42A27DB-BD31-4B8C-83A1-F6EECF244321}">
                <p14:modId xmlns:p14="http://schemas.microsoft.com/office/powerpoint/2010/main" val="4096004694"/>
              </p:ext>
            </p:extLst>
          </p:nvPr>
        </p:nvGraphicFramePr>
        <p:xfrm>
          <a:off x="998538" y="5067300"/>
          <a:ext cx="2239962" cy="1125538"/>
        </p:xfrm>
        <a:graphic>
          <a:graphicData uri="http://schemas.openxmlformats.org/drawingml/2006/chart">
            <c:chart xmlns:c="http://schemas.openxmlformats.org/drawingml/2006/chart" xmlns:r="http://schemas.openxmlformats.org/officeDocument/2006/relationships" r:id="rId144"/>
          </a:graphicData>
        </a:graphic>
      </p:graphicFrame>
      <p:sp>
        <p:nvSpPr>
          <p:cNvPr id="225" name="Text Placeholder 2">
            <a:extLst>
              <a:ext uri="{FF2B5EF4-FFF2-40B4-BE49-F238E27FC236}">
                <a16:creationId xmlns:a16="http://schemas.microsoft.com/office/drawing/2014/main" id="{EDC53EDC-389F-4DB2-AE6C-CDCC93C16A5E}"/>
              </a:ext>
            </a:extLst>
          </p:cNvPr>
          <p:cNvSpPr>
            <a:spLocks noGrp="1"/>
          </p:cNvSpPr>
          <p:nvPr>
            <p:custDataLst>
              <p:tags r:id="rId51"/>
            </p:custDataLst>
          </p:nvPr>
        </p:nvSpPr>
        <p:spPr bwMode="gray">
          <a:xfrm>
            <a:off x="3222625" y="6059488"/>
            <a:ext cx="16351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B4A6DEF5-AF7B-4F25-91AE-A324E2A675ED}" type="datetime'''''''''''0''''''''''''''''''''''''''%'''''">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0%</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30" name="Text Placeholder 2">
            <a:extLst>
              <a:ext uri="{FF2B5EF4-FFF2-40B4-BE49-F238E27FC236}">
                <a16:creationId xmlns:a16="http://schemas.microsoft.com/office/drawing/2014/main" id="{6F2D2108-D574-4540-BB01-F5339A4CFE4E}"/>
              </a:ext>
            </a:extLst>
          </p:cNvPr>
          <p:cNvSpPr>
            <a:spLocks noGrp="1"/>
          </p:cNvSpPr>
          <p:nvPr>
            <p:custDataLst>
              <p:tags r:id="rId52"/>
            </p:custDataLst>
          </p:nvPr>
        </p:nvSpPr>
        <p:spPr bwMode="gray">
          <a:xfrm>
            <a:off x="3222625" y="5867400"/>
            <a:ext cx="2254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67B12B44-9F62-4A69-B326-D911B3E49327}" type="datetime'''''''''''''''''''''''''''''''''2''''0''''''''''''%'''''''">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20%</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31" name="Text Placeholder 2">
            <a:extLst>
              <a:ext uri="{FF2B5EF4-FFF2-40B4-BE49-F238E27FC236}">
                <a16:creationId xmlns:a16="http://schemas.microsoft.com/office/drawing/2014/main" id="{8E9288A8-15B1-4686-8D86-15D0FF9F63EA}"/>
              </a:ext>
            </a:extLst>
          </p:cNvPr>
          <p:cNvSpPr>
            <a:spLocks noGrp="1"/>
          </p:cNvSpPr>
          <p:nvPr>
            <p:custDataLst>
              <p:tags r:id="rId53"/>
            </p:custDataLst>
          </p:nvPr>
        </p:nvSpPr>
        <p:spPr bwMode="gray">
          <a:xfrm>
            <a:off x="3222625" y="5675313"/>
            <a:ext cx="2333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2F012FF1-EECB-42D7-9F5B-59CDD3E1CA92}" type="datetime'''''''4''''''''''''''''''''''''''''''''''0%'''''''''''''">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40%</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32" name="Text Placeholder 2">
            <a:extLst>
              <a:ext uri="{FF2B5EF4-FFF2-40B4-BE49-F238E27FC236}">
                <a16:creationId xmlns:a16="http://schemas.microsoft.com/office/drawing/2014/main" id="{D45F778C-20FB-4E65-835A-C1D678B39BA6}"/>
              </a:ext>
            </a:extLst>
          </p:cNvPr>
          <p:cNvSpPr>
            <a:spLocks noGrp="1"/>
          </p:cNvSpPr>
          <p:nvPr>
            <p:custDataLst>
              <p:tags r:id="rId54"/>
            </p:custDataLst>
          </p:nvPr>
        </p:nvSpPr>
        <p:spPr bwMode="gray">
          <a:xfrm>
            <a:off x="3222625" y="5483225"/>
            <a:ext cx="2301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D0CB742C-0F2F-4977-B42D-BC2D33F32049}" type="datetime'''''''''6''''''''''''''''''''''0%'''''''''">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60%</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33" name="Text Placeholder 2">
            <a:extLst>
              <a:ext uri="{FF2B5EF4-FFF2-40B4-BE49-F238E27FC236}">
                <a16:creationId xmlns:a16="http://schemas.microsoft.com/office/drawing/2014/main" id="{1220201D-5F99-4BBA-B183-BE4FFE763D6B}"/>
              </a:ext>
            </a:extLst>
          </p:cNvPr>
          <p:cNvSpPr>
            <a:spLocks noGrp="1"/>
          </p:cNvSpPr>
          <p:nvPr>
            <p:custDataLst>
              <p:tags r:id="rId55"/>
            </p:custDataLst>
          </p:nvPr>
        </p:nvSpPr>
        <p:spPr bwMode="gray">
          <a:xfrm>
            <a:off x="3222625" y="5291138"/>
            <a:ext cx="2254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451217C1-9213-460B-B4D5-C0CE12496518}" type="datetime'''''8''''''0''''''''%'''''''">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80%</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34" name="Text Placeholder 2">
            <a:extLst>
              <a:ext uri="{FF2B5EF4-FFF2-40B4-BE49-F238E27FC236}">
                <a16:creationId xmlns:a16="http://schemas.microsoft.com/office/drawing/2014/main" id="{3579A3AA-CAE2-41F0-9463-85CDF4988D8B}"/>
              </a:ext>
            </a:extLst>
          </p:cNvPr>
          <p:cNvSpPr>
            <a:spLocks noGrp="1"/>
          </p:cNvSpPr>
          <p:nvPr>
            <p:custDataLst>
              <p:tags r:id="rId56"/>
            </p:custDataLst>
          </p:nvPr>
        </p:nvSpPr>
        <p:spPr bwMode="gray">
          <a:xfrm>
            <a:off x="3222625" y="5099050"/>
            <a:ext cx="27463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40F244B8-2A14-4E73-8509-6F0F841274AD}" type="datetime'''''''1''''''''''''''''0''''''''0%'">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00%</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62" name="Text Placeholder 2">
            <a:extLst>
              <a:ext uri="{FF2B5EF4-FFF2-40B4-BE49-F238E27FC236}">
                <a16:creationId xmlns:a16="http://schemas.microsoft.com/office/drawing/2014/main" id="{C4CB9520-4D6C-499E-A816-1CE53B955EFD}"/>
              </a:ext>
            </a:extLst>
          </p:cNvPr>
          <p:cNvSpPr>
            <a:spLocks noGrp="1"/>
          </p:cNvSpPr>
          <p:nvPr>
            <p:custDataLst>
              <p:tags r:id="rId57"/>
            </p:custDataLst>
          </p:nvPr>
        </p:nvSpPr>
        <p:spPr bwMode="auto">
          <a:xfrm>
            <a:off x="957262" y="6143625"/>
            <a:ext cx="2476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11AE7038-4011-4883-8CD5-0E0EE41159B2}" type="datetime'''''''''''''''''''''2''0''''''''1''''''''''''''''''''8'">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18</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63" name="Text Placeholder 2">
            <a:extLst>
              <a:ext uri="{FF2B5EF4-FFF2-40B4-BE49-F238E27FC236}">
                <a16:creationId xmlns:a16="http://schemas.microsoft.com/office/drawing/2014/main" id="{1EF79A2A-301D-40A3-8D03-995449A73FAF}"/>
              </a:ext>
            </a:extLst>
          </p:cNvPr>
          <p:cNvSpPr>
            <a:spLocks noGrp="1"/>
          </p:cNvSpPr>
          <p:nvPr>
            <p:custDataLst>
              <p:tags r:id="rId58"/>
            </p:custDataLst>
          </p:nvPr>
        </p:nvSpPr>
        <p:spPr bwMode="auto">
          <a:xfrm>
            <a:off x="1301750" y="6143625"/>
            <a:ext cx="25241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1A6E3839-08AD-4923-86AB-7934AB2BAE4A}" type="datetime'''2''''''''''0''''''''''''''''1''9'''''''''''">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19</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64" name="Text Placeholder 2">
            <a:extLst>
              <a:ext uri="{FF2B5EF4-FFF2-40B4-BE49-F238E27FC236}">
                <a16:creationId xmlns:a16="http://schemas.microsoft.com/office/drawing/2014/main" id="{040E299F-DFF4-455D-BA55-C48BCAF6D446}"/>
              </a:ext>
            </a:extLst>
          </p:cNvPr>
          <p:cNvSpPr>
            <a:spLocks noGrp="1"/>
          </p:cNvSpPr>
          <p:nvPr>
            <p:custDataLst>
              <p:tags r:id="rId59"/>
            </p:custDataLst>
          </p:nvPr>
        </p:nvSpPr>
        <p:spPr bwMode="auto">
          <a:xfrm>
            <a:off x="1635125" y="6143625"/>
            <a:ext cx="2762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7F96967-708D-4B70-BD91-7FBE6CE9D37D}" type="datetime'2''''''''''02''''''''''''''''''''''''''0'''''''''''''''">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0</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65" name="Text Placeholder 2">
            <a:extLst>
              <a:ext uri="{FF2B5EF4-FFF2-40B4-BE49-F238E27FC236}">
                <a16:creationId xmlns:a16="http://schemas.microsoft.com/office/drawing/2014/main" id="{9111BD26-C41B-4907-9B64-1E4B17B4F9B8}"/>
              </a:ext>
            </a:extLst>
          </p:cNvPr>
          <p:cNvSpPr>
            <a:spLocks noGrp="1"/>
          </p:cNvSpPr>
          <p:nvPr>
            <p:custDataLst>
              <p:tags r:id="rId60"/>
            </p:custDataLst>
          </p:nvPr>
        </p:nvSpPr>
        <p:spPr bwMode="auto">
          <a:xfrm>
            <a:off x="1995487" y="6143625"/>
            <a:ext cx="2476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B653A68-28CA-4E4D-86F6-50D06335C1AB}" type="datetime'''''''''''''''''2''''''0''''''''''21'''''''''''''''''''''''''">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1</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66" name="Text Placeholder 2">
            <a:extLst>
              <a:ext uri="{FF2B5EF4-FFF2-40B4-BE49-F238E27FC236}">
                <a16:creationId xmlns:a16="http://schemas.microsoft.com/office/drawing/2014/main" id="{434C8038-A8BD-406B-96E4-25EE13B5437B}"/>
              </a:ext>
            </a:extLst>
          </p:cNvPr>
          <p:cNvSpPr>
            <a:spLocks noGrp="1"/>
          </p:cNvSpPr>
          <p:nvPr>
            <p:custDataLst>
              <p:tags r:id="rId61"/>
            </p:custDataLst>
          </p:nvPr>
        </p:nvSpPr>
        <p:spPr bwMode="auto">
          <a:xfrm>
            <a:off x="2330450" y="6143625"/>
            <a:ext cx="2682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7EF2345-0883-488F-B497-C3AC07E665E4}" type="datetime'''''''''''''20''''''''''''2''''''''''''''''2'">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2</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67" name="Text Placeholder 2">
            <a:extLst>
              <a:ext uri="{FF2B5EF4-FFF2-40B4-BE49-F238E27FC236}">
                <a16:creationId xmlns:a16="http://schemas.microsoft.com/office/drawing/2014/main" id="{90F2BBAD-C737-4588-A711-BDE2AA1B1032}"/>
              </a:ext>
            </a:extLst>
          </p:cNvPr>
          <p:cNvSpPr>
            <a:spLocks noGrp="1"/>
          </p:cNvSpPr>
          <p:nvPr>
            <p:custDataLst>
              <p:tags r:id="rId62"/>
            </p:custDataLst>
          </p:nvPr>
        </p:nvSpPr>
        <p:spPr bwMode="auto">
          <a:xfrm>
            <a:off x="2676525" y="6143625"/>
            <a:ext cx="2667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7AB6F210-8A28-4179-8FB3-10CF58464160}" type="datetime'''''''''''''''''''''''''2''''''0''2''''''''''''''3'''''''">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3</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68" name="Text Placeholder 2">
            <a:extLst>
              <a:ext uri="{FF2B5EF4-FFF2-40B4-BE49-F238E27FC236}">
                <a16:creationId xmlns:a16="http://schemas.microsoft.com/office/drawing/2014/main" id="{9B76176D-62AF-454C-899D-B1D76FA9E474}"/>
              </a:ext>
            </a:extLst>
          </p:cNvPr>
          <p:cNvSpPr>
            <a:spLocks noGrp="1"/>
          </p:cNvSpPr>
          <p:nvPr>
            <p:custDataLst>
              <p:tags r:id="rId63"/>
            </p:custDataLst>
          </p:nvPr>
        </p:nvSpPr>
        <p:spPr bwMode="auto">
          <a:xfrm>
            <a:off x="3017838" y="6143625"/>
            <a:ext cx="2762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1B4982A2-56E6-4D4D-94E6-1178EEFC0EE7}" type="datetime'''''''''''2''''0''''''''''''''''''''''24'''''''''''''">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4</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163" name="Rectangle 3162">
            <a:extLst>
              <a:ext uri="{FF2B5EF4-FFF2-40B4-BE49-F238E27FC236}">
                <a16:creationId xmlns:a16="http://schemas.microsoft.com/office/drawing/2014/main" id="{C46A9067-D420-4BF0-9DF3-2109AA950719}"/>
              </a:ext>
            </a:extLst>
          </p:cNvPr>
          <p:cNvSpPr/>
          <p:nvPr>
            <p:custDataLst>
              <p:tags r:id="rId64"/>
            </p:custDataLst>
          </p:nvPr>
        </p:nvSpPr>
        <p:spPr bwMode="auto">
          <a:xfrm>
            <a:off x="1122363" y="6350000"/>
            <a:ext cx="142875" cy="106363"/>
          </a:xfrm>
          <a:prstGeom prst="rect">
            <a:avLst/>
          </a:prstGeom>
          <a:pattFill prst="pct50">
            <a:fgClr>
              <a:schemeClr val="tx1"/>
            </a:fgClr>
            <a:bgClr>
              <a:schemeClr val="bg1"/>
            </a:bgClr>
          </a:patt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61" name="Rectangle 3160">
            <a:extLst>
              <a:ext uri="{FF2B5EF4-FFF2-40B4-BE49-F238E27FC236}">
                <a16:creationId xmlns:a16="http://schemas.microsoft.com/office/drawing/2014/main" id="{47A4323C-8AF3-4D23-8209-A5E0C248537F}"/>
              </a:ext>
            </a:extLst>
          </p:cNvPr>
          <p:cNvSpPr/>
          <p:nvPr>
            <p:custDataLst>
              <p:tags r:id="rId65"/>
            </p:custDataLst>
          </p:nvPr>
        </p:nvSpPr>
        <p:spPr bwMode="auto">
          <a:xfrm>
            <a:off x="1122363" y="6515100"/>
            <a:ext cx="142875" cy="106363"/>
          </a:xfrm>
          <a:prstGeom prst="rect">
            <a:avLst/>
          </a:prstGeom>
          <a:solidFill>
            <a:srgbClr val="BF900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1" name="Text Placeholder 2">
            <a:extLst>
              <a:ext uri="{FF2B5EF4-FFF2-40B4-BE49-F238E27FC236}">
                <a16:creationId xmlns:a16="http://schemas.microsoft.com/office/drawing/2014/main" id="{06CDFD55-D20E-4017-95E9-5E0CDB43D632}"/>
              </a:ext>
            </a:extLst>
          </p:cNvPr>
          <p:cNvSpPr>
            <a:spLocks noGrp="1"/>
          </p:cNvSpPr>
          <p:nvPr>
            <p:custDataLst>
              <p:tags r:id="rId66"/>
            </p:custDataLst>
          </p:nvPr>
        </p:nvSpPr>
        <p:spPr bwMode="auto">
          <a:xfrm>
            <a:off x="1316038" y="6354763"/>
            <a:ext cx="79851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152FDBD6-7017-4FE2-8D51-93EC6AAD7D7A}" type="datetime'''''''''I''m''''''''p''orted'''''' Dr''''ugs'''''''''''''''">
              <a:rPr lang="en-US" altLang="en-US" sz="800" b="1" smtClean="0">
                <a:latin typeface="SangBleu Sunrise" panose="020B0504000000000004" pitchFamily="34" charset="-52"/>
                <a:ea typeface="SangBleu Sunrise" panose="020B0504000000000004" pitchFamily="34" charset="-52"/>
              </a:rPr>
              <a:pPr/>
              <a:t>Imported Drugs</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60" name="Text Placeholder 2">
            <a:extLst>
              <a:ext uri="{FF2B5EF4-FFF2-40B4-BE49-F238E27FC236}">
                <a16:creationId xmlns:a16="http://schemas.microsoft.com/office/drawing/2014/main" id="{CA642ED5-40C7-4452-833C-D76747C9DCE6}"/>
              </a:ext>
            </a:extLst>
          </p:cNvPr>
          <p:cNvSpPr>
            <a:spLocks noGrp="1"/>
          </p:cNvSpPr>
          <p:nvPr>
            <p:custDataLst>
              <p:tags r:id="rId67"/>
            </p:custDataLst>
          </p:nvPr>
        </p:nvSpPr>
        <p:spPr bwMode="auto">
          <a:xfrm>
            <a:off x="1316038" y="6519863"/>
            <a:ext cx="150971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BF46DBC0-B416-423D-A93D-5D556537B3B1}" type="datetime'''''''Domesti''''''ca''''lly'' Pr''oduced'' ''''D''''ru''gs'">
              <a:rPr lang="en-US" altLang="en-US" sz="800" b="1" smtClean="0">
                <a:latin typeface="SangBleu Sunrise" panose="020B0504000000000004" pitchFamily="34" charset="-52"/>
                <a:ea typeface="SangBleu Sunrise" panose="020B0504000000000004" pitchFamily="34" charset="-52"/>
              </a:rPr>
              <a:pPr/>
              <a:t>Domestically Produced Drugs</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graphicFrame>
        <p:nvGraphicFramePr>
          <p:cNvPr id="150" name="Chart 149">
            <a:extLst>
              <a:ext uri="{FF2B5EF4-FFF2-40B4-BE49-F238E27FC236}">
                <a16:creationId xmlns:a16="http://schemas.microsoft.com/office/drawing/2014/main" id="{B6B6561E-C5A6-41BF-984B-B7806887B03F}"/>
              </a:ext>
            </a:extLst>
          </p:cNvPr>
          <p:cNvGraphicFramePr/>
          <p:nvPr>
            <p:custDataLst>
              <p:tags r:id="rId68"/>
            </p:custDataLst>
            <p:extLst>
              <p:ext uri="{D42A27DB-BD31-4B8C-83A1-F6EECF244321}">
                <p14:modId xmlns:p14="http://schemas.microsoft.com/office/powerpoint/2010/main" val="3643860340"/>
              </p:ext>
            </p:extLst>
          </p:nvPr>
        </p:nvGraphicFramePr>
        <p:xfrm>
          <a:off x="2436813" y="7188200"/>
          <a:ext cx="1927225" cy="1951038"/>
        </p:xfrm>
        <a:graphic>
          <a:graphicData uri="http://schemas.openxmlformats.org/drawingml/2006/chart">
            <c:chart xmlns:c="http://schemas.openxmlformats.org/drawingml/2006/chart" xmlns:r="http://schemas.openxmlformats.org/officeDocument/2006/relationships" r:id="rId145"/>
          </a:graphicData>
        </a:graphic>
      </p:graphicFrame>
      <p:sp>
        <p:nvSpPr>
          <p:cNvPr id="497" name="Arc 496">
            <a:extLst>
              <a:ext uri="{FF2B5EF4-FFF2-40B4-BE49-F238E27FC236}">
                <a16:creationId xmlns:a16="http://schemas.microsoft.com/office/drawing/2014/main" id="{685D1DCE-F88C-4C67-AAEA-8EFEF2197C5D}"/>
              </a:ext>
            </a:extLst>
          </p:cNvPr>
          <p:cNvSpPr/>
          <p:nvPr>
            <p:custDataLst>
              <p:tags r:id="rId69"/>
            </p:custDataLst>
          </p:nvPr>
        </p:nvSpPr>
        <p:spPr bwMode="gray">
          <a:xfrm>
            <a:off x="2692400" y="7454900"/>
            <a:ext cx="1416050" cy="1416050"/>
          </a:xfrm>
          <a:prstGeom prst="arc">
            <a:avLst>
              <a:gd name="adj1" fmla="val 16207725"/>
              <a:gd name="adj2" fmla="val 19668256"/>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506" name="Straight Connector 505">
            <a:extLst>
              <a:ext uri="{FF2B5EF4-FFF2-40B4-BE49-F238E27FC236}">
                <a16:creationId xmlns:a16="http://schemas.microsoft.com/office/drawing/2014/main" id="{7F935A32-BA75-4B70-9B16-80944DEB5D38}"/>
              </a:ext>
            </a:extLst>
          </p:cNvPr>
          <p:cNvCxnSpPr/>
          <p:nvPr>
            <p:custDataLst>
              <p:tags r:id="rId70"/>
            </p:custDataLst>
          </p:nvPr>
        </p:nvCxnSpPr>
        <p:spPr bwMode="auto">
          <a:xfrm flipV="1">
            <a:off x="3633788" y="7785100"/>
            <a:ext cx="365125" cy="230188"/>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9" name="Arc 508">
            <a:extLst>
              <a:ext uri="{FF2B5EF4-FFF2-40B4-BE49-F238E27FC236}">
                <a16:creationId xmlns:a16="http://schemas.microsoft.com/office/drawing/2014/main" id="{5D88C5B7-3A77-4308-B06D-5ADCC52864C8}"/>
              </a:ext>
            </a:extLst>
          </p:cNvPr>
          <p:cNvSpPr/>
          <p:nvPr>
            <p:custDataLst>
              <p:tags r:id="rId71"/>
            </p:custDataLst>
          </p:nvPr>
        </p:nvSpPr>
        <p:spPr bwMode="gray">
          <a:xfrm>
            <a:off x="3124200" y="7886700"/>
            <a:ext cx="552450" cy="552450"/>
          </a:xfrm>
          <a:prstGeom prst="arc">
            <a:avLst>
              <a:gd name="adj1" fmla="val 19668256"/>
              <a:gd name="adj2" fmla="val 1514928"/>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14" name="Arc 513">
            <a:extLst>
              <a:ext uri="{FF2B5EF4-FFF2-40B4-BE49-F238E27FC236}">
                <a16:creationId xmlns:a16="http://schemas.microsoft.com/office/drawing/2014/main" id="{099A25E1-928B-40DB-8B90-A11D63FE7817}"/>
              </a:ext>
            </a:extLst>
          </p:cNvPr>
          <p:cNvSpPr/>
          <p:nvPr>
            <p:custDataLst>
              <p:tags r:id="rId72"/>
            </p:custDataLst>
          </p:nvPr>
        </p:nvSpPr>
        <p:spPr bwMode="gray">
          <a:xfrm>
            <a:off x="2692400" y="7454900"/>
            <a:ext cx="1416050" cy="1416050"/>
          </a:xfrm>
          <a:prstGeom prst="arc">
            <a:avLst>
              <a:gd name="adj1" fmla="val 19668256"/>
              <a:gd name="adj2" fmla="val 1514928"/>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518" name="Straight Connector 517">
            <a:extLst>
              <a:ext uri="{FF2B5EF4-FFF2-40B4-BE49-F238E27FC236}">
                <a16:creationId xmlns:a16="http://schemas.microsoft.com/office/drawing/2014/main" id="{0724778C-095E-4168-8BFB-583802E206F6}"/>
              </a:ext>
            </a:extLst>
          </p:cNvPr>
          <p:cNvCxnSpPr/>
          <p:nvPr>
            <p:custDataLst>
              <p:tags r:id="rId73"/>
            </p:custDataLst>
          </p:nvPr>
        </p:nvCxnSpPr>
        <p:spPr bwMode="auto">
          <a:xfrm>
            <a:off x="3649663" y="8280400"/>
            <a:ext cx="390525" cy="18415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20" name="Arc 519">
            <a:extLst>
              <a:ext uri="{FF2B5EF4-FFF2-40B4-BE49-F238E27FC236}">
                <a16:creationId xmlns:a16="http://schemas.microsoft.com/office/drawing/2014/main" id="{DFBF67F6-9C9B-4425-9C29-46E1120F0EF4}"/>
              </a:ext>
            </a:extLst>
          </p:cNvPr>
          <p:cNvSpPr/>
          <p:nvPr>
            <p:custDataLst>
              <p:tags r:id="rId74"/>
            </p:custDataLst>
          </p:nvPr>
        </p:nvSpPr>
        <p:spPr bwMode="gray">
          <a:xfrm>
            <a:off x="3124200" y="7886700"/>
            <a:ext cx="552450" cy="552450"/>
          </a:xfrm>
          <a:prstGeom prst="arc">
            <a:avLst>
              <a:gd name="adj1" fmla="val 1514928"/>
              <a:gd name="adj2" fmla="val 3668660"/>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21" name="Arc 520">
            <a:extLst>
              <a:ext uri="{FF2B5EF4-FFF2-40B4-BE49-F238E27FC236}">
                <a16:creationId xmlns:a16="http://schemas.microsoft.com/office/drawing/2014/main" id="{1A6E4CD8-D817-4B98-90C8-688B704AC7D1}"/>
              </a:ext>
            </a:extLst>
          </p:cNvPr>
          <p:cNvSpPr/>
          <p:nvPr>
            <p:custDataLst>
              <p:tags r:id="rId75"/>
            </p:custDataLst>
          </p:nvPr>
        </p:nvSpPr>
        <p:spPr bwMode="gray">
          <a:xfrm>
            <a:off x="2692400" y="7454900"/>
            <a:ext cx="1416050" cy="1416050"/>
          </a:xfrm>
          <a:prstGeom prst="arc">
            <a:avLst>
              <a:gd name="adj1" fmla="val 1514928"/>
              <a:gd name="adj2" fmla="val 3668660"/>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527" name="Straight Connector 526">
            <a:extLst>
              <a:ext uri="{FF2B5EF4-FFF2-40B4-BE49-F238E27FC236}">
                <a16:creationId xmlns:a16="http://schemas.microsoft.com/office/drawing/2014/main" id="{831FB6D5-BAA1-4E19-8CEC-1E143F51D10A}"/>
              </a:ext>
            </a:extLst>
          </p:cNvPr>
          <p:cNvCxnSpPr/>
          <p:nvPr>
            <p:custDataLst>
              <p:tags r:id="rId76"/>
            </p:custDataLst>
          </p:nvPr>
        </p:nvCxnSpPr>
        <p:spPr bwMode="auto">
          <a:xfrm>
            <a:off x="3533775" y="8404225"/>
            <a:ext cx="207963" cy="379413"/>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28" name="Arc 527">
            <a:extLst>
              <a:ext uri="{FF2B5EF4-FFF2-40B4-BE49-F238E27FC236}">
                <a16:creationId xmlns:a16="http://schemas.microsoft.com/office/drawing/2014/main" id="{7942C3E7-690C-42B3-A360-D04F88F64786}"/>
              </a:ext>
            </a:extLst>
          </p:cNvPr>
          <p:cNvSpPr/>
          <p:nvPr>
            <p:custDataLst>
              <p:tags r:id="rId77"/>
            </p:custDataLst>
          </p:nvPr>
        </p:nvSpPr>
        <p:spPr bwMode="gray">
          <a:xfrm>
            <a:off x="3124200" y="7886700"/>
            <a:ext cx="552450" cy="552450"/>
          </a:xfrm>
          <a:prstGeom prst="arc">
            <a:avLst>
              <a:gd name="adj1" fmla="val 3668660"/>
              <a:gd name="adj2" fmla="val 5824635"/>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29" name="Arc 528">
            <a:extLst>
              <a:ext uri="{FF2B5EF4-FFF2-40B4-BE49-F238E27FC236}">
                <a16:creationId xmlns:a16="http://schemas.microsoft.com/office/drawing/2014/main" id="{1509D8C2-DF71-4505-8DDD-3E4EECC57BBA}"/>
              </a:ext>
            </a:extLst>
          </p:cNvPr>
          <p:cNvSpPr/>
          <p:nvPr>
            <p:custDataLst>
              <p:tags r:id="rId78"/>
            </p:custDataLst>
          </p:nvPr>
        </p:nvSpPr>
        <p:spPr bwMode="gray">
          <a:xfrm>
            <a:off x="2692400" y="7454900"/>
            <a:ext cx="1416050" cy="1416050"/>
          </a:xfrm>
          <a:prstGeom prst="arc">
            <a:avLst>
              <a:gd name="adj1" fmla="val 3668660"/>
              <a:gd name="adj2" fmla="val 5824635"/>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530" name="Straight Connector 529">
            <a:extLst>
              <a:ext uri="{FF2B5EF4-FFF2-40B4-BE49-F238E27FC236}">
                <a16:creationId xmlns:a16="http://schemas.microsoft.com/office/drawing/2014/main" id="{2D39752F-EE7D-4AC9-B565-2EF6E8710C93}"/>
              </a:ext>
            </a:extLst>
          </p:cNvPr>
          <p:cNvCxnSpPr/>
          <p:nvPr>
            <p:custDataLst>
              <p:tags r:id="rId79"/>
            </p:custDataLst>
          </p:nvPr>
        </p:nvCxnSpPr>
        <p:spPr bwMode="auto">
          <a:xfrm flipH="1">
            <a:off x="3313113" y="8437563"/>
            <a:ext cx="53975" cy="428625"/>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1" name="Arc 530">
            <a:extLst>
              <a:ext uri="{FF2B5EF4-FFF2-40B4-BE49-F238E27FC236}">
                <a16:creationId xmlns:a16="http://schemas.microsoft.com/office/drawing/2014/main" id="{7E440E42-3321-48FF-8A21-1B33769FA91A}"/>
              </a:ext>
            </a:extLst>
          </p:cNvPr>
          <p:cNvSpPr/>
          <p:nvPr>
            <p:custDataLst>
              <p:tags r:id="rId80"/>
            </p:custDataLst>
          </p:nvPr>
        </p:nvSpPr>
        <p:spPr bwMode="gray">
          <a:xfrm>
            <a:off x="3124200" y="7886700"/>
            <a:ext cx="552450" cy="552450"/>
          </a:xfrm>
          <a:prstGeom prst="arc">
            <a:avLst>
              <a:gd name="adj1" fmla="val 5824635"/>
              <a:gd name="adj2" fmla="val 7761701"/>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32" name="Arc 531">
            <a:extLst>
              <a:ext uri="{FF2B5EF4-FFF2-40B4-BE49-F238E27FC236}">
                <a16:creationId xmlns:a16="http://schemas.microsoft.com/office/drawing/2014/main" id="{9B863BEC-16BB-4059-9F4B-9841A810F8AC}"/>
              </a:ext>
            </a:extLst>
          </p:cNvPr>
          <p:cNvSpPr/>
          <p:nvPr>
            <p:custDataLst>
              <p:tags r:id="rId81"/>
            </p:custDataLst>
          </p:nvPr>
        </p:nvSpPr>
        <p:spPr bwMode="gray">
          <a:xfrm>
            <a:off x="2692400" y="7454900"/>
            <a:ext cx="1416050" cy="1416050"/>
          </a:xfrm>
          <a:prstGeom prst="arc">
            <a:avLst>
              <a:gd name="adj1" fmla="val 5824635"/>
              <a:gd name="adj2" fmla="val 7761701"/>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533" name="Straight Connector 532">
            <a:extLst>
              <a:ext uri="{FF2B5EF4-FFF2-40B4-BE49-F238E27FC236}">
                <a16:creationId xmlns:a16="http://schemas.microsoft.com/office/drawing/2014/main" id="{B08AD28A-AE1E-4510-92CC-6F4613BE3F9A}"/>
              </a:ext>
            </a:extLst>
          </p:cNvPr>
          <p:cNvCxnSpPr/>
          <p:nvPr>
            <p:custDataLst>
              <p:tags r:id="rId82"/>
            </p:custDataLst>
          </p:nvPr>
        </p:nvCxnSpPr>
        <p:spPr bwMode="auto">
          <a:xfrm flipH="1">
            <a:off x="2951163" y="8377238"/>
            <a:ext cx="274638" cy="333375"/>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4" name="Arc 533">
            <a:extLst>
              <a:ext uri="{FF2B5EF4-FFF2-40B4-BE49-F238E27FC236}">
                <a16:creationId xmlns:a16="http://schemas.microsoft.com/office/drawing/2014/main" id="{6B9D4D54-8748-4EE5-9580-DB21A35468B1}"/>
              </a:ext>
            </a:extLst>
          </p:cNvPr>
          <p:cNvSpPr/>
          <p:nvPr>
            <p:custDataLst>
              <p:tags r:id="rId83"/>
            </p:custDataLst>
          </p:nvPr>
        </p:nvSpPr>
        <p:spPr bwMode="gray">
          <a:xfrm>
            <a:off x="3124200" y="7886700"/>
            <a:ext cx="552450" cy="552450"/>
          </a:xfrm>
          <a:prstGeom prst="arc">
            <a:avLst>
              <a:gd name="adj1" fmla="val 7761701"/>
              <a:gd name="adj2" fmla="val 9708552"/>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35" name="Arc 534">
            <a:extLst>
              <a:ext uri="{FF2B5EF4-FFF2-40B4-BE49-F238E27FC236}">
                <a16:creationId xmlns:a16="http://schemas.microsoft.com/office/drawing/2014/main" id="{6AD71018-C9D4-45A7-A7F0-F6E0ABA91E0E}"/>
              </a:ext>
            </a:extLst>
          </p:cNvPr>
          <p:cNvSpPr/>
          <p:nvPr>
            <p:custDataLst>
              <p:tags r:id="rId84"/>
            </p:custDataLst>
          </p:nvPr>
        </p:nvSpPr>
        <p:spPr bwMode="gray">
          <a:xfrm>
            <a:off x="2692400" y="7454900"/>
            <a:ext cx="1416050" cy="1416050"/>
          </a:xfrm>
          <a:prstGeom prst="arc">
            <a:avLst>
              <a:gd name="adj1" fmla="val 7761701"/>
              <a:gd name="adj2" fmla="val 9708552"/>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536" name="Straight Connector 535">
            <a:extLst>
              <a:ext uri="{FF2B5EF4-FFF2-40B4-BE49-F238E27FC236}">
                <a16:creationId xmlns:a16="http://schemas.microsoft.com/office/drawing/2014/main" id="{8004C741-E0B0-4C71-BE77-01442ADE4DE2}"/>
              </a:ext>
            </a:extLst>
          </p:cNvPr>
          <p:cNvCxnSpPr/>
          <p:nvPr>
            <p:custDataLst>
              <p:tags r:id="rId85"/>
            </p:custDataLst>
          </p:nvPr>
        </p:nvCxnSpPr>
        <p:spPr bwMode="auto">
          <a:xfrm flipH="1">
            <a:off x="2727325" y="8248650"/>
            <a:ext cx="411163" cy="134938"/>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7" name="Arc 536">
            <a:extLst>
              <a:ext uri="{FF2B5EF4-FFF2-40B4-BE49-F238E27FC236}">
                <a16:creationId xmlns:a16="http://schemas.microsoft.com/office/drawing/2014/main" id="{76F3F27A-65F9-4162-81D7-9673921FEA9B}"/>
              </a:ext>
            </a:extLst>
          </p:cNvPr>
          <p:cNvSpPr/>
          <p:nvPr>
            <p:custDataLst>
              <p:tags r:id="rId86"/>
            </p:custDataLst>
          </p:nvPr>
        </p:nvSpPr>
        <p:spPr bwMode="gray">
          <a:xfrm>
            <a:off x="3124200" y="7886700"/>
            <a:ext cx="552450" cy="552450"/>
          </a:xfrm>
          <a:prstGeom prst="arc">
            <a:avLst>
              <a:gd name="adj1" fmla="val 9708552"/>
              <a:gd name="adj2" fmla="val 11445250"/>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491" name="Arc 490">
            <a:extLst>
              <a:ext uri="{FF2B5EF4-FFF2-40B4-BE49-F238E27FC236}">
                <a16:creationId xmlns:a16="http://schemas.microsoft.com/office/drawing/2014/main" id="{15CC38D7-E26F-4A16-AB0F-E188D9B3CB5F}"/>
              </a:ext>
            </a:extLst>
          </p:cNvPr>
          <p:cNvSpPr/>
          <p:nvPr>
            <p:custDataLst>
              <p:tags r:id="rId87"/>
            </p:custDataLst>
          </p:nvPr>
        </p:nvSpPr>
        <p:spPr bwMode="gray">
          <a:xfrm>
            <a:off x="3124200" y="7886700"/>
            <a:ext cx="552450" cy="552450"/>
          </a:xfrm>
          <a:prstGeom prst="arc">
            <a:avLst>
              <a:gd name="adj1" fmla="val 16207725"/>
              <a:gd name="adj2" fmla="val 19668256"/>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539" name="Straight Connector 538">
            <a:extLst>
              <a:ext uri="{FF2B5EF4-FFF2-40B4-BE49-F238E27FC236}">
                <a16:creationId xmlns:a16="http://schemas.microsoft.com/office/drawing/2014/main" id="{A2265C32-1F21-4CBB-B2AF-E7112D604B69}"/>
              </a:ext>
            </a:extLst>
          </p:cNvPr>
          <p:cNvCxnSpPr/>
          <p:nvPr>
            <p:custDataLst>
              <p:tags r:id="rId88"/>
            </p:custDataLst>
          </p:nvPr>
        </p:nvCxnSpPr>
        <p:spPr bwMode="auto">
          <a:xfrm flipH="1" flipV="1">
            <a:off x="2705100" y="8031163"/>
            <a:ext cx="423863" cy="80963"/>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0" name="Arc 539">
            <a:extLst>
              <a:ext uri="{FF2B5EF4-FFF2-40B4-BE49-F238E27FC236}">
                <a16:creationId xmlns:a16="http://schemas.microsoft.com/office/drawing/2014/main" id="{C6D29249-67B9-4F3D-ADBD-46A63557615D}"/>
              </a:ext>
            </a:extLst>
          </p:cNvPr>
          <p:cNvSpPr/>
          <p:nvPr>
            <p:custDataLst>
              <p:tags r:id="rId89"/>
            </p:custDataLst>
          </p:nvPr>
        </p:nvSpPr>
        <p:spPr bwMode="gray">
          <a:xfrm>
            <a:off x="3124200" y="7886700"/>
            <a:ext cx="552450" cy="552450"/>
          </a:xfrm>
          <a:prstGeom prst="arc">
            <a:avLst>
              <a:gd name="adj1" fmla="val 11445250"/>
              <a:gd name="adj2" fmla="val 12956526"/>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41" name="Arc 540">
            <a:extLst>
              <a:ext uri="{FF2B5EF4-FFF2-40B4-BE49-F238E27FC236}">
                <a16:creationId xmlns:a16="http://schemas.microsoft.com/office/drawing/2014/main" id="{68B4B1F3-03CA-40F4-9A07-4E77D5D66BA8}"/>
              </a:ext>
            </a:extLst>
          </p:cNvPr>
          <p:cNvSpPr/>
          <p:nvPr>
            <p:custDataLst>
              <p:tags r:id="rId90"/>
            </p:custDataLst>
          </p:nvPr>
        </p:nvSpPr>
        <p:spPr bwMode="gray">
          <a:xfrm>
            <a:off x="2692400" y="7454900"/>
            <a:ext cx="1416050" cy="1416050"/>
          </a:xfrm>
          <a:prstGeom prst="arc">
            <a:avLst>
              <a:gd name="adj1" fmla="val 11445250"/>
              <a:gd name="adj2" fmla="val 12956526"/>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542" name="Straight Connector 541">
            <a:extLst>
              <a:ext uri="{FF2B5EF4-FFF2-40B4-BE49-F238E27FC236}">
                <a16:creationId xmlns:a16="http://schemas.microsoft.com/office/drawing/2014/main" id="{A2B9BDC6-39FB-423D-966E-9533B650E1DB}"/>
              </a:ext>
            </a:extLst>
          </p:cNvPr>
          <p:cNvCxnSpPr/>
          <p:nvPr>
            <p:custDataLst>
              <p:tags r:id="rId91"/>
            </p:custDataLst>
          </p:nvPr>
        </p:nvCxnSpPr>
        <p:spPr bwMode="auto">
          <a:xfrm flipH="1" flipV="1">
            <a:off x="2827338" y="7747000"/>
            <a:ext cx="349250" cy="25400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3" name="Arc 542">
            <a:extLst>
              <a:ext uri="{FF2B5EF4-FFF2-40B4-BE49-F238E27FC236}">
                <a16:creationId xmlns:a16="http://schemas.microsoft.com/office/drawing/2014/main" id="{C7C260C4-73CA-4499-90FA-39DBF81C1D86}"/>
              </a:ext>
            </a:extLst>
          </p:cNvPr>
          <p:cNvSpPr/>
          <p:nvPr>
            <p:custDataLst>
              <p:tags r:id="rId92"/>
            </p:custDataLst>
          </p:nvPr>
        </p:nvSpPr>
        <p:spPr bwMode="gray">
          <a:xfrm>
            <a:off x="3124200" y="7886700"/>
            <a:ext cx="552450" cy="552450"/>
          </a:xfrm>
          <a:prstGeom prst="arc">
            <a:avLst>
              <a:gd name="adj1" fmla="val 12956526"/>
              <a:gd name="adj2" fmla="val 14260023"/>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44" name="Arc 543">
            <a:extLst>
              <a:ext uri="{FF2B5EF4-FFF2-40B4-BE49-F238E27FC236}">
                <a16:creationId xmlns:a16="http://schemas.microsoft.com/office/drawing/2014/main" id="{18F4233A-1732-478A-8C4F-D4E786D93799}"/>
              </a:ext>
            </a:extLst>
          </p:cNvPr>
          <p:cNvSpPr/>
          <p:nvPr>
            <p:custDataLst>
              <p:tags r:id="rId93"/>
            </p:custDataLst>
          </p:nvPr>
        </p:nvSpPr>
        <p:spPr bwMode="gray">
          <a:xfrm>
            <a:off x="2692400" y="7454900"/>
            <a:ext cx="1416050" cy="1416050"/>
          </a:xfrm>
          <a:prstGeom prst="arc">
            <a:avLst>
              <a:gd name="adj1" fmla="val 12956526"/>
              <a:gd name="adj2" fmla="val 14260023"/>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545" name="Straight Connector 544">
            <a:extLst>
              <a:ext uri="{FF2B5EF4-FFF2-40B4-BE49-F238E27FC236}">
                <a16:creationId xmlns:a16="http://schemas.microsoft.com/office/drawing/2014/main" id="{6E915D55-A069-41A0-8F2B-A8B7DBD3914E}"/>
              </a:ext>
            </a:extLst>
          </p:cNvPr>
          <p:cNvCxnSpPr/>
          <p:nvPr>
            <p:custDataLst>
              <p:tags r:id="rId94"/>
            </p:custDataLst>
          </p:nvPr>
        </p:nvCxnSpPr>
        <p:spPr bwMode="auto">
          <a:xfrm flipH="1" flipV="1">
            <a:off x="3021013" y="7564438"/>
            <a:ext cx="231775" cy="365125"/>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6" name="Arc 545">
            <a:extLst>
              <a:ext uri="{FF2B5EF4-FFF2-40B4-BE49-F238E27FC236}">
                <a16:creationId xmlns:a16="http://schemas.microsoft.com/office/drawing/2014/main" id="{F5948727-AD01-42DB-8E89-001255704D91}"/>
              </a:ext>
            </a:extLst>
          </p:cNvPr>
          <p:cNvSpPr/>
          <p:nvPr>
            <p:custDataLst>
              <p:tags r:id="rId95"/>
            </p:custDataLst>
          </p:nvPr>
        </p:nvSpPr>
        <p:spPr bwMode="gray">
          <a:xfrm>
            <a:off x="3124200" y="7886700"/>
            <a:ext cx="552450" cy="552450"/>
          </a:xfrm>
          <a:prstGeom prst="arc">
            <a:avLst>
              <a:gd name="adj1" fmla="val 14260023"/>
              <a:gd name="adj2" fmla="val 15340955"/>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47" name="Arc 546">
            <a:extLst>
              <a:ext uri="{FF2B5EF4-FFF2-40B4-BE49-F238E27FC236}">
                <a16:creationId xmlns:a16="http://schemas.microsoft.com/office/drawing/2014/main" id="{8462807A-2F01-4D8E-B27B-4D2F27662EDB}"/>
              </a:ext>
            </a:extLst>
          </p:cNvPr>
          <p:cNvSpPr/>
          <p:nvPr>
            <p:custDataLst>
              <p:tags r:id="rId96"/>
            </p:custDataLst>
          </p:nvPr>
        </p:nvSpPr>
        <p:spPr bwMode="gray">
          <a:xfrm>
            <a:off x="2692400" y="7454900"/>
            <a:ext cx="1416050" cy="1416050"/>
          </a:xfrm>
          <a:prstGeom prst="arc">
            <a:avLst>
              <a:gd name="adj1" fmla="val 14260023"/>
              <a:gd name="adj2" fmla="val 15340955"/>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548" name="Straight Connector 547">
            <a:extLst>
              <a:ext uri="{FF2B5EF4-FFF2-40B4-BE49-F238E27FC236}">
                <a16:creationId xmlns:a16="http://schemas.microsoft.com/office/drawing/2014/main" id="{E9435C93-F116-406A-B173-8A02FD7699A2}"/>
              </a:ext>
            </a:extLst>
          </p:cNvPr>
          <p:cNvCxnSpPr/>
          <p:nvPr>
            <p:custDataLst>
              <p:tags r:id="rId97"/>
            </p:custDataLst>
          </p:nvPr>
        </p:nvCxnSpPr>
        <p:spPr bwMode="auto">
          <a:xfrm flipH="1" flipV="1">
            <a:off x="3225800" y="7477125"/>
            <a:ext cx="106363" cy="417513"/>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9" name="Arc 548">
            <a:extLst>
              <a:ext uri="{FF2B5EF4-FFF2-40B4-BE49-F238E27FC236}">
                <a16:creationId xmlns:a16="http://schemas.microsoft.com/office/drawing/2014/main" id="{54CD755B-28C8-4444-8444-8C33831A5822}"/>
              </a:ext>
            </a:extLst>
          </p:cNvPr>
          <p:cNvSpPr/>
          <p:nvPr>
            <p:custDataLst>
              <p:tags r:id="rId98"/>
            </p:custDataLst>
          </p:nvPr>
        </p:nvSpPr>
        <p:spPr bwMode="gray">
          <a:xfrm>
            <a:off x="3124200" y="7886700"/>
            <a:ext cx="552450" cy="552450"/>
          </a:xfrm>
          <a:prstGeom prst="arc">
            <a:avLst>
              <a:gd name="adj1" fmla="val 15340955"/>
              <a:gd name="adj2" fmla="val 16207725"/>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50" name="Arc 549">
            <a:extLst>
              <a:ext uri="{FF2B5EF4-FFF2-40B4-BE49-F238E27FC236}">
                <a16:creationId xmlns:a16="http://schemas.microsoft.com/office/drawing/2014/main" id="{8B758571-B0FD-4B23-BEBC-9B32269D1424}"/>
              </a:ext>
            </a:extLst>
          </p:cNvPr>
          <p:cNvSpPr/>
          <p:nvPr>
            <p:custDataLst>
              <p:tags r:id="rId99"/>
            </p:custDataLst>
          </p:nvPr>
        </p:nvSpPr>
        <p:spPr bwMode="gray">
          <a:xfrm>
            <a:off x="2692400" y="7454900"/>
            <a:ext cx="1416050" cy="1416050"/>
          </a:xfrm>
          <a:prstGeom prst="arc">
            <a:avLst>
              <a:gd name="adj1" fmla="val 15340955"/>
              <a:gd name="adj2" fmla="val 16207725"/>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551" name="Straight Connector 550">
            <a:extLst>
              <a:ext uri="{FF2B5EF4-FFF2-40B4-BE49-F238E27FC236}">
                <a16:creationId xmlns:a16="http://schemas.microsoft.com/office/drawing/2014/main" id="{71596B42-B0B0-411C-AD5F-6DACA5996527}"/>
              </a:ext>
            </a:extLst>
          </p:cNvPr>
          <p:cNvCxnSpPr/>
          <p:nvPr>
            <p:custDataLst>
              <p:tags r:id="rId100"/>
            </p:custDataLst>
          </p:nvPr>
        </p:nvCxnSpPr>
        <p:spPr bwMode="auto">
          <a:xfrm flipV="1">
            <a:off x="3400425" y="7454900"/>
            <a:ext cx="1588" cy="43180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8" name="Arc 537">
            <a:extLst>
              <a:ext uri="{FF2B5EF4-FFF2-40B4-BE49-F238E27FC236}">
                <a16:creationId xmlns:a16="http://schemas.microsoft.com/office/drawing/2014/main" id="{819E9D01-6F13-40A0-B221-1DAD3E57667D}"/>
              </a:ext>
            </a:extLst>
          </p:cNvPr>
          <p:cNvSpPr/>
          <p:nvPr>
            <p:custDataLst>
              <p:tags r:id="rId101"/>
            </p:custDataLst>
          </p:nvPr>
        </p:nvSpPr>
        <p:spPr bwMode="gray">
          <a:xfrm>
            <a:off x="2692400" y="7454900"/>
            <a:ext cx="1416050" cy="1416050"/>
          </a:xfrm>
          <a:prstGeom prst="arc">
            <a:avLst>
              <a:gd name="adj1" fmla="val 9708552"/>
              <a:gd name="adj2" fmla="val 11445250"/>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13" name="Text Placeholder 2">
            <a:extLst>
              <a:ext uri="{FF2B5EF4-FFF2-40B4-BE49-F238E27FC236}">
                <a16:creationId xmlns:a16="http://schemas.microsoft.com/office/drawing/2014/main" id="{93BA6AA3-BEA6-4FF4-9A25-826C8F116F77}"/>
              </a:ext>
            </a:extLst>
          </p:cNvPr>
          <p:cNvSpPr>
            <a:spLocks noGrp="1"/>
          </p:cNvSpPr>
          <p:nvPr>
            <p:custDataLst>
              <p:tags r:id="rId102"/>
            </p:custDataLst>
          </p:nvPr>
        </p:nvSpPr>
        <p:spPr bwMode="gray">
          <a:xfrm>
            <a:off x="2700338" y="8147050"/>
            <a:ext cx="184150" cy="109538"/>
          </a:xfrm>
          <a:prstGeom prst="rect">
            <a:avLst/>
          </a:prstGeom>
          <a:solidFill>
            <a:schemeClr val="bg1"/>
          </a:solidFill>
          <a:ln>
            <a:noFill/>
          </a:ln>
          <a:effectLst/>
        </p:spPr>
        <p:txBody>
          <a:bodyPr vert="horz" wrap="none" lIns="14288" tIns="0" rIns="14288"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842AF04-5F35-4427-8D70-0C38421EE046}" type="datetime'''8''''''''%'''''''''''''''">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8%</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17" name="Text Placeholder 2">
            <a:extLst>
              <a:ext uri="{FF2B5EF4-FFF2-40B4-BE49-F238E27FC236}">
                <a16:creationId xmlns:a16="http://schemas.microsoft.com/office/drawing/2014/main" id="{C86F2EC5-6999-43F8-93B8-1F453A33BCEE}"/>
              </a:ext>
            </a:extLst>
          </p:cNvPr>
          <p:cNvSpPr>
            <a:spLocks noGrp="1"/>
          </p:cNvSpPr>
          <p:nvPr>
            <p:custDataLst>
              <p:tags r:id="rId103"/>
            </p:custDataLst>
          </p:nvPr>
        </p:nvSpPr>
        <p:spPr bwMode="gray">
          <a:xfrm>
            <a:off x="2897188" y="7672388"/>
            <a:ext cx="188913" cy="109538"/>
          </a:xfrm>
          <a:prstGeom prst="rect">
            <a:avLst/>
          </a:prstGeom>
          <a:solidFill>
            <a:schemeClr val="bg1"/>
          </a:solidFill>
          <a:ln>
            <a:noFill/>
          </a:ln>
          <a:effectLst/>
        </p:spPr>
        <p:txBody>
          <a:bodyPr vert="horz" wrap="none" lIns="14288" tIns="0" rIns="14288"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ABA16280-4F15-44EE-8415-56E41C166CE1}" type="datetime'''''''''''''''''''''''''''6''%'''''''''''''''''''''''">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6%</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28" name="Text Placeholder 2">
            <a:extLst>
              <a:ext uri="{FF2B5EF4-FFF2-40B4-BE49-F238E27FC236}">
                <a16:creationId xmlns:a16="http://schemas.microsoft.com/office/drawing/2014/main" id="{A911E21F-9603-42D9-88A8-24A9520BE2BF}"/>
              </a:ext>
            </a:extLst>
          </p:cNvPr>
          <p:cNvSpPr>
            <a:spLocks noGrp="1"/>
          </p:cNvSpPr>
          <p:nvPr>
            <p:custDataLst>
              <p:tags r:id="rId104"/>
            </p:custDataLst>
          </p:nvPr>
        </p:nvSpPr>
        <p:spPr bwMode="gray">
          <a:xfrm>
            <a:off x="3233738" y="7543800"/>
            <a:ext cx="192088" cy="109538"/>
          </a:xfrm>
          <a:prstGeom prst="rect">
            <a:avLst/>
          </a:prstGeom>
          <a:solidFill>
            <a:srgbClr val="000000"/>
          </a:solidFill>
          <a:ln>
            <a:noFill/>
          </a:ln>
          <a:effectLst/>
        </p:spPr>
        <p:txBody>
          <a:bodyPr vert="horz" wrap="none" lIns="14288" tIns="0" rIns="14288"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00899AA-20BD-4E6B-B104-49F75595A025}" type="datetime'''''4''''''''''%'''''''''''''''''''''''''''''''''''''''''">
              <a:rPr lang="ru-RU" altLang="en-US" sz="800" b="1" smtClean="0">
                <a:solidFill>
                  <a:schemeClr val="bg1"/>
                </a:solidFill>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4%</a:t>
            </a:fld>
            <a:endParaRPr lang="ru-RU" sz="800" b="1" dirty="0">
              <a:solidFill>
                <a:schemeClr val="bg1"/>
              </a:solidFill>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08" name="Text Placeholder 2">
            <a:extLst>
              <a:ext uri="{FF2B5EF4-FFF2-40B4-BE49-F238E27FC236}">
                <a16:creationId xmlns:a16="http://schemas.microsoft.com/office/drawing/2014/main" id="{CE503DBE-DC7C-4534-8AD3-A927B9742210}"/>
              </a:ext>
            </a:extLst>
          </p:cNvPr>
          <p:cNvSpPr>
            <a:spLocks noGrp="1"/>
          </p:cNvSpPr>
          <p:nvPr>
            <p:custDataLst>
              <p:tags r:id="rId105"/>
            </p:custDataLst>
          </p:nvPr>
        </p:nvSpPr>
        <p:spPr bwMode="gray">
          <a:xfrm>
            <a:off x="2759075" y="7870825"/>
            <a:ext cx="184150" cy="109538"/>
          </a:xfrm>
          <a:prstGeom prst="rect">
            <a:avLst/>
          </a:prstGeom>
          <a:solidFill>
            <a:schemeClr val="bg1"/>
          </a:solidFill>
          <a:ln>
            <a:noFill/>
          </a:ln>
          <a:effectLst/>
        </p:spPr>
        <p:txBody>
          <a:bodyPr vert="horz" wrap="none" lIns="14288" tIns="0" rIns="14288"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11773BE-B57B-4986-A840-CB3902B8BBB7}" type="datetime'''''''''''''''''''''''''''''''''7''''''''%'''''''''''''''''''">
              <a:rPr lang="ru-RU" altLang="en-US" sz="800" b="1"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7%</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186" name="Rectangle 3185">
            <a:extLst>
              <a:ext uri="{FF2B5EF4-FFF2-40B4-BE49-F238E27FC236}">
                <a16:creationId xmlns:a16="http://schemas.microsoft.com/office/drawing/2014/main" id="{458E9B1A-A03E-46B8-8F4F-77BBD8B083A8}"/>
              </a:ext>
            </a:extLst>
          </p:cNvPr>
          <p:cNvSpPr/>
          <p:nvPr>
            <p:custDataLst>
              <p:tags r:id="rId106"/>
            </p:custDataLst>
          </p:nvPr>
        </p:nvSpPr>
        <p:spPr bwMode="auto">
          <a:xfrm>
            <a:off x="1120775" y="7177088"/>
            <a:ext cx="142875" cy="106363"/>
          </a:xfrm>
          <a:prstGeom prst="rect">
            <a:avLst/>
          </a:prstGeom>
          <a:solidFill>
            <a:srgbClr val="364D6E"/>
          </a:solid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87" name="Rectangle 3186">
            <a:extLst>
              <a:ext uri="{FF2B5EF4-FFF2-40B4-BE49-F238E27FC236}">
                <a16:creationId xmlns:a16="http://schemas.microsoft.com/office/drawing/2014/main" id="{CE5794F4-FA47-4D51-94C3-BCADCEFBB109}"/>
              </a:ext>
            </a:extLst>
          </p:cNvPr>
          <p:cNvSpPr/>
          <p:nvPr>
            <p:custDataLst>
              <p:tags r:id="rId107"/>
            </p:custDataLst>
          </p:nvPr>
        </p:nvSpPr>
        <p:spPr bwMode="auto">
          <a:xfrm>
            <a:off x="1120775" y="7342188"/>
            <a:ext cx="142875" cy="106363"/>
          </a:xfrm>
          <a:prstGeom prst="rect">
            <a:avLst/>
          </a:prstGeom>
          <a:solidFill>
            <a:srgbClr val="4C6C9C"/>
          </a:solid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88" name="Rectangle 3187">
            <a:extLst>
              <a:ext uri="{FF2B5EF4-FFF2-40B4-BE49-F238E27FC236}">
                <a16:creationId xmlns:a16="http://schemas.microsoft.com/office/drawing/2014/main" id="{DF173F9E-6CBB-444F-8190-A41FDA9C87C8}"/>
              </a:ext>
            </a:extLst>
          </p:cNvPr>
          <p:cNvSpPr/>
          <p:nvPr>
            <p:custDataLst>
              <p:tags r:id="rId108"/>
            </p:custDataLst>
          </p:nvPr>
        </p:nvSpPr>
        <p:spPr bwMode="auto">
          <a:xfrm>
            <a:off x="1120775" y="7507288"/>
            <a:ext cx="142875" cy="106363"/>
          </a:xfrm>
          <a:prstGeom prst="rect">
            <a:avLst/>
          </a:prstGeom>
          <a:solidFill>
            <a:srgbClr val="6F8DB9"/>
          </a:solid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89" name="Rectangle 3188">
            <a:extLst>
              <a:ext uri="{FF2B5EF4-FFF2-40B4-BE49-F238E27FC236}">
                <a16:creationId xmlns:a16="http://schemas.microsoft.com/office/drawing/2014/main" id="{1B8DDD45-00EC-4609-A5D1-36120F3A24C5}"/>
              </a:ext>
            </a:extLst>
          </p:cNvPr>
          <p:cNvSpPr/>
          <p:nvPr>
            <p:custDataLst>
              <p:tags r:id="rId109"/>
            </p:custDataLst>
          </p:nvPr>
        </p:nvSpPr>
        <p:spPr bwMode="auto">
          <a:xfrm>
            <a:off x="1120775" y="7672388"/>
            <a:ext cx="142875" cy="106363"/>
          </a:xfrm>
          <a:prstGeom prst="rect">
            <a:avLst/>
          </a:prstGeom>
          <a:solidFill>
            <a:srgbClr val="9DB1CF"/>
          </a:solid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90" name="Rectangle 3189">
            <a:extLst>
              <a:ext uri="{FF2B5EF4-FFF2-40B4-BE49-F238E27FC236}">
                <a16:creationId xmlns:a16="http://schemas.microsoft.com/office/drawing/2014/main" id="{A88BD34C-DDD4-4D5A-91FF-969D15D57848}"/>
              </a:ext>
            </a:extLst>
          </p:cNvPr>
          <p:cNvSpPr/>
          <p:nvPr>
            <p:custDataLst>
              <p:tags r:id="rId110"/>
            </p:custDataLst>
          </p:nvPr>
        </p:nvSpPr>
        <p:spPr bwMode="auto">
          <a:xfrm>
            <a:off x="1120775" y="7837488"/>
            <a:ext cx="142875" cy="106363"/>
          </a:xfrm>
          <a:prstGeom prst="rect">
            <a:avLst/>
          </a:prstGeom>
          <a:solidFill>
            <a:srgbClr val="C3CFE1"/>
          </a:solid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91" name="Rectangle 3190">
            <a:extLst>
              <a:ext uri="{FF2B5EF4-FFF2-40B4-BE49-F238E27FC236}">
                <a16:creationId xmlns:a16="http://schemas.microsoft.com/office/drawing/2014/main" id="{4CF85091-FB2E-4BA2-8F53-845A7740214D}"/>
              </a:ext>
            </a:extLst>
          </p:cNvPr>
          <p:cNvSpPr/>
          <p:nvPr>
            <p:custDataLst>
              <p:tags r:id="rId111"/>
            </p:custDataLst>
          </p:nvPr>
        </p:nvSpPr>
        <p:spPr bwMode="auto">
          <a:xfrm>
            <a:off x="1120775" y="8002588"/>
            <a:ext cx="142875" cy="106363"/>
          </a:xfrm>
          <a:prstGeom prst="rect">
            <a:avLst/>
          </a:prstGeom>
          <a:solidFill>
            <a:srgbClr val="DFE5EF"/>
          </a:solid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92" name="Rectangle 3191">
            <a:extLst>
              <a:ext uri="{FF2B5EF4-FFF2-40B4-BE49-F238E27FC236}">
                <a16:creationId xmlns:a16="http://schemas.microsoft.com/office/drawing/2014/main" id="{5C791ADE-8C50-4045-9115-F0ABB9B78D07}"/>
              </a:ext>
            </a:extLst>
          </p:cNvPr>
          <p:cNvSpPr/>
          <p:nvPr>
            <p:custDataLst>
              <p:tags r:id="rId112"/>
            </p:custDataLst>
          </p:nvPr>
        </p:nvSpPr>
        <p:spPr bwMode="auto">
          <a:xfrm>
            <a:off x="1120775" y="8167688"/>
            <a:ext cx="142875" cy="106363"/>
          </a:xfrm>
          <a:prstGeom prst="rect">
            <a:avLst/>
          </a:prstGeom>
          <a:pattFill prst="pct10">
            <a:fgClr>
              <a:schemeClr val="tx1"/>
            </a:fgClr>
            <a:bgClr>
              <a:schemeClr val="bg1"/>
            </a:bgClr>
          </a:patt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93" name="Rectangle 3192">
            <a:extLst>
              <a:ext uri="{FF2B5EF4-FFF2-40B4-BE49-F238E27FC236}">
                <a16:creationId xmlns:a16="http://schemas.microsoft.com/office/drawing/2014/main" id="{4767E129-C2BD-4F34-B422-0A76512851D7}"/>
              </a:ext>
            </a:extLst>
          </p:cNvPr>
          <p:cNvSpPr/>
          <p:nvPr>
            <p:custDataLst>
              <p:tags r:id="rId113"/>
            </p:custDataLst>
          </p:nvPr>
        </p:nvSpPr>
        <p:spPr bwMode="auto">
          <a:xfrm>
            <a:off x="1120775" y="8332788"/>
            <a:ext cx="142875" cy="106363"/>
          </a:xfrm>
          <a:prstGeom prst="rect">
            <a:avLst/>
          </a:prstGeom>
          <a:pattFill prst="pct50">
            <a:fgClr>
              <a:schemeClr val="tx1"/>
            </a:fgClr>
            <a:bgClr>
              <a:schemeClr val="bg1"/>
            </a:bgClr>
          </a:patt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94" name="Rectangle 3193">
            <a:extLst>
              <a:ext uri="{FF2B5EF4-FFF2-40B4-BE49-F238E27FC236}">
                <a16:creationId xmlns:a16="http://schemas.microsoft.com/office/drawing/2014/main" id="{0C04C6E2-2D3E-4A16-B702-54AF86E910CD}"/>
              </a:ext>
            </a:extLst>
          </p:cNvPr>
          <p:cNvSpPr/>
          <p:nvPr>
            <p:custDataLst>
              <p:tags r:id="rId114"/>
            </p:custDataLst>
          </p:nvPr>
        </p:nvSpPr>
        <p:spPr bwMode="auto">
          <a:xfrm>
            <a:off x="1120775" y="8497888"/>
            <a:ext cx="142875" cy="106363"/>
          </a:xfrm>
          <a:prstGeom prst="rect">
            <a:avLst/>
          </a:prstGeom>
          <a:solidFill>
            <a:srgbClr val="393939"/>
          </a:solid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95" name="Rectangle 3194">
            <a:extLst>
              <a:ext uri="{FF2B5EF4-FFF2-40B4-BE49-F238E27FC236}">
                <a16:creationId xmlns:a16="http://schemas.microsoft.com/office/drawing/2014/main" id="{5F4B170E-039D-4341-A8F2-22D229E6A56C}"/>
              </a:ext>
            </a:extLst>
          </p:cNvPr>
          <p:cNvSpPr/>
          <p:nvPr>
            <p:custDataLst>
              <p:tags r:id="rId115"/>
            </p:custDataLst>
          </p:nvPr>
        </p:nvSpPr>
        <p:spPr bwMode="auto">
          <a:xfrm>
            <a:off x="1120775" y="8662988"/>
            <a:ext cx="142875" cy="106363"/>
          </a:xfrm>
          <a:prstGeom prst="rect">
            <a:avLst/>
          </a:prstGeom>
          <a:solidFill>
            <a:srgbClr val="000000"/>
          </a:solid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96" name="Rectangle 3195">
            <a:extLst>
              <a:ext uri="{FF2B5EF4-FFF2-40B4-BE49-F238E27FC236}">
                <a16:creationId xmlns:a16="http://schemas.microsoft.com/office/drawing/2014/main" id="{CED229AF-554B-47D6-9837-C45D8EEA533F}"/>
              </a:ext>
            </a:extLst>
          </p:cNvPr>
          <p:cNvSpPr/>
          <p:nvPr>
            <p:custDataLst>
              <p:tags r:id="rId116"/>
            </p:custDataLst>
          </p:nvPr>
        </p:nvSpPr>
        <p:spPr bwMode="auto">
          <a:xfrm>
            <a:off x="1120775" y="8828088"/>
            <a:ext cx="142875" cy="106363"/>
          </a:xfrm>
          <a:prstGeom prst="rect">
            <a:avLst/>
          </a:prstGeom>
          <a:pattFill prst="pct75">
            <a:fgClr>
              <a:schemeClr val="tx1"/>
            </a:fgClr>
            <a:bgClr>
              <a:schemeClr val="bg1"/>
            </a:bgClr>
          </a:patt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0" name="Text Placeholder 2">
            <a:extLst>
              <a:ext uri="{FF2B5EF4-FFF2-40B4-BE49-F238E27FC236}">
                <a16:creationId xmlns:a16="http://schemas.microsoft.com/office/drawing/2014/main" id="{385CC4A2-1872-4563-AFEE-3F101C05AFD4}"/>
              </a:ext>
            </a:extLst>
          </p:cNvPr>
          <p:cNvSpPr>
            <a:spLocks noGrp="1"/>
          </p:cNvSpPr>
          <p:nvPr>
            <p:custDataLst>
              <p:tags r:id="rId117"/>
            </p:custDataLst>
          </p:nvPr>
        </p:nvSpPr>
        <p:spPr bwMode="auto">
          <a:xfrm>
            <a:off x="1314450" y="7181850"/>
            <a:ext cx="19573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03CEB751-F1C2-43DB-9EF4-9E4E60EEAB11}" type="datetime'G''astro''intest''in''al Tract and'' ''M''et''''abo''li''sm'">
              <a:rPr lang="en-US" altLang="en-US" sz="800" b="1" smtClean="0">
                <a:latin typeface="SangBleu Sunrise" panose="020B0504000000000004" pitchFamily="34" charset="-52"/>
                <a:ea typeface="SangBleu Sunrise" panose="020B0504000000000004" pitchFamily="34" charset="-52"/>
              </a:rPr>
              <a:pPr/>
              <a:t>Gastrointestinal Tract and Metabolism</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41" name="Text Placeholder 2">
            <a:extLst>
              <a:ext uri="{FF2B5EF4-FFF2-40B4-BE49-F238E27FC236}">
                <a16:creationId xmlns:a16="http://schemas.microsoft.com/office/drawing/2014/main" id="{0D8F55AC-B87C-45B9-BDCD-648C840BCC3D}"/>
              </a:ext>
            </a:extLst>
          </p:cNvPr>
          <p:cNvSpPr>
            <a:spLocks noGrp="1"/>
          </p:cNvSpPr>
          <p:nvPr>
            <p:custDataLst>
              <p:tags r:id="rId118"/>
            </p:custDataLst>
          </p:nvPr>
        </p:nvSpPr>
        <p:spPr bwMode="auto">
          <a:xfrm>
            <a:off x="1314450" y="7346950"/>
            <a:ext cx="16652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3BAB0A97-B5DF-4510-8EE3-940736A80A5F}" type="datetime'''''O''''ncolog''y'''' an''d I''mmun''odefic''ienc''''''y'">
              <a:rPr lang="en-US" altLang="en-US" sz="800" b="1" smtClean="0">
                <a:latin typeface="SangBleu Sunrise" panose="020B0504000000000004" pitchFamily="34" charset="-52"/>
                <a:ea typeface="SangBleu Sunrise" panose="020B0504000000000004" pitchFamily="34" charset="-52"/>
              </a:rPr>
              <a:pPr/>
              <a:t>Oncology and Immunodeficiency</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42" name="Text Placeholder 2">
            <a:extLst>
              <a:ext uri="{FF2B5EF4-FFF2-40B4-BE49-F238E27FC236}">
                <a16:creationId xmlns:a16="http://schemas.microsoft.com/office/drawing/2014/main" id="{370DE063-3F8F-4EF9-8E19-74D3C53E96D2}"/>
              </a:ext>
            </a:extLst>
          </p:cNvPr>
          <p:cNvSpPr>
            <a:spLocks noGrp="1"/>
          </p:cNvSpPr>
          <p:nvPr>
            <p:custDataLst>
              <p:tags r:id="rId119"/>
            </p:custDataLst>
          </p:nvPr>
        </p:nvSpPr>
        <p:spPr bwMode="auto">
          <a:xfrm>
            <a:off x="1314450" y="7512050"/>
            <a:ext cx="115887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65704616-973A-48A6-A2F8-E8516C50A7A5}" type="datetime'C''a''''rdio''''''''''vas''c''''u''''l''a''r Syste''''''''m'">
              <a:rPr lang="en-US" altLang="en-US" sz="800" b="1" smtClean="0">
                <a:latin typeface="SangBleu Sunrise" panose="020B0504000000000004" pitchFamily="34" charset="-52"/>
                <a:ea typeface="SangBleu Sunrise" panose="020B0504000000000004" pitchFamily="34" charset="-52"/>
              </a:rPr>
              <a:pPr/>
              <a:t>Cardiovascular System</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43" name="Text Placeholder 2">
            <a:extLst>
              <a:ext uri="{FF2B5EF4-FFF2-40B4-BE49-F238E27FC236}">
                <a16:creationId xmlns:a16="http://schemas.microsoft.com/office/drawing/2014/main" id="{C8614D72-6CC4-4EEB-9799-682655F13EE1}"/>
              </a:ext>
            </a:extLst>
          </p:cNvPr>
          <p:cNvSpPr>
            <a:spLocks noGrp="1"/>
          </p:cNvSpPr>
          <p:nvPr>
            <p:custDataLst>
              <p:tags r:id="rId120"/>
            </p:custDataLst>
          </p:nvPr>
        </p:nvSpPr>
        <p:spPr bwMode="auto">
          <a:xfrm>
            <a:off x="1314450" y="7677150"/>
            <a:ext cx="106997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0718DAC9-4310-4D1A-A236-4B0AFCE7AE5C}" type="datetime'''''''Ant''''''i''mi''''cr''''''ob''ia''l ''Age''nts'">
              <a:rPr lang="en-US" altLang="en-US" sz="800" b="1" smtClean="0">
                <a:latin typeface="SangBleu Sunrise" panose="020B0504000000000004" pitchFamily="34" charset="-52"/>
                <a:ea typeface="SangBleu Sunrise" panose="020B0504000000000004" pitchFamily="34" charset="-52"/>
              </a:rPr>
              <a:pPr/>
              <a:t>Antimicrobial Agents</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44" name="Text Placeholder 2">
            <a:extLst>
              <a:ext uri="{FF2B5EF4-FFF2-40B4-BE49-F238E27FC236}">
                <a16:creationId xmlns:a16="http://schemas.microsoft.com/office/drawing/2014/main" id="{72AF820D-9C84-4E21-96CA-AEA2A4B71D0F}"/>
              </a:ext>
            </a:extLst>
          </p:cNvPr>
          <p:cNvSpPr>
            <a:spLocks noGrp="1"/>
          </p:cNvSpPr>
          <p:nvPr>
            <p:custDataLst>
              <p:tags r:id="rId121"/>
            </p:custDataLst>
          </p:nvPr>
        </p:nvSpPr>
        <p:spPr bwMode="auto">
          <a:xfrm>
            <a:off x="1314450" y="7842250"/>
            <a:ext cx="9906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D6931C30-D389-4AF2-8AE7-9F6DF46650F6}" type="datetime'R''e''''''''sp''''''''ira''''''tory S''y''s''''''''''''''tem'">
              <a:rPr lang="en-US" altLang="en-US" sz="800" b="1" smtClean="0">
                <a:latin typeface="SangBleu Sunrise" panose="020B0504000000000004" pitchFamily="34" charset="-52"/>
                <a:ea typeface="SangBleu Sunrise" panose="020B0504000000000004" pitchFamily="34" charset="-52"/>
              </a:rPr>
              <a:pPr/>
              <a:t>Respiratory System</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45" name="Text Placeholder 2">
            <a:extLst>
              <a:ext uri="{FF2B5EF4-FFF2-40B4-BE49-F238E27FC236}">
                <a16:creationId xmlns:a16="http://schemas.microsoft.com/office/drawing/2014/main" id="{467F1F1F-A796-4F42-942D-52560F3B9000}"/>
              </a:ext>
            </a:extLst>
          </p:cNvPr>
          <p:cNvSpPr>
            <a:spLocks noGrp="1"/>
          </p:cNvSpPr>
          <p:nvPr>
            <p:custDataLst>
              <p:tags r:id="rId122"/>
            </p:custDataLst>
          </p:nvPr>
        </p:nvSpPr>
        <p:spPr bwMode="auto">
          <a:xfrm>
            <a:off x="1314450" y="8007350"/>
            <a:ext cx="8175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6EA51F53-4ACE-402B-9A9E-58229E80390B}" type="datetime'''Ne''''''rv''''o''u''s'''''' Sy''s''''''''t''''em'''''''''''">
              <a:rPr lang="en-US" altLang="en-US" sz="800" b="1" smtClean="0">
                <a:latin typeface="SangBleu Sunrise" panose="020B0504000000000004" pitchFamily="34" charset="-52"/>
                <a:ea typeface="SangBleu Sunrise" panose="020B0504000000000004" pitchFamily="34" charset="-52"/>
              </a:rPr>
              <a:pPr/>
              <a:t>Nervous System</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46" name="Text Placeholder 2">
            <a:extLst>
              <a:ext uri="{FF2B5EF4-FFF2-40B4-BE49-F238E27FC236}">
                <a16:creationId xmlns:a16="http://schemas.microsoft.com/office/drawing/2014/main" id="{BCF5CB54-38BA-4684-B4C6-72AF4B7D0CBF}"/>
              </a:ext>
            </a:extLst>
          </p:cNvPr>
          <p:cNvSpPr>
            <a:spLocks noGrp="1"/>
          </p:cNvSpPr>
          <p:nvPr>
            <p:custDataLst>
              <p:tags r:id="rId123"/>
            </p:custDataLst>
          </p:nvPr>
        </p:nvSpPr>
        <p:spPr bwMode="auto">
          <a:xfrm>
            <a:off x="1314450" y="8172450"/>
            <a:ext cx="2968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10046B92-5935-4296-98CA-07B7F4452B01}" type="datetime'''B''''''''''l''o''''''''o''''''''''''''''''''''d'''''''''''">
              <a:rPr lang="en-US" altLang="en-US" sz="800" b="1" smtClean="0">
                <a:latin typeface="SangBleu Sunrise" panose="020B0504000000000004" pitchFamily="34" charset="-52"/>
                <a:ea typeface="SangBleu Sunrise" panose="020B0504000000000004" pitchFamily="34" charset="-52"/>
              </a:rPr>
              <a:pPr/>
              <a:t>Blood</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47" name="Text Placeholder 2">
            <a:extLst>
              <a:ext uri="{FF2B5EF4-FFF2-40B4-BE49-F238E27FC236}">
                <a16:creationId xmlns:a16="http://schemas.microsoft.com/office/drawing/2014/main" id="{9243461A-B527-4678-A4CE-EDDA6EA8C1FD}"/>
              </a:ext>
            </a:extLst>
          </p:cNvPr>
          <p:cNvSpPr>
            <a:spLocks noGrp="1"/>
          </p:cNvSpPr>
          <p:nvPr>
            <p:custDataLst>
              <p:tags r:id="rId124"/>
            </p:custDataLst>
          </p:nvPr>
        </p:nvSpPr>
        <p:spPr bwMode="auto">
          <a:xfrm>
            <a:off x="1314450" y="8337550"/>
            <a:ext cx="12207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85A8C0D7-A2CE-4AED-A3D5-3273962202D5}" type="datetime'''M''''us''cu''''''''''''''''loskel''''e''''tal ''Syste''m'">
              <a:rPr lang="en-US" altLang="en-US" sz="800" b="1" smtClean="0">
                <a:latin typeface="SangBleu Sunrise" panose="020B0504000000000004" pitchFamily="34" charset="-52"/>
                <a:ea typeface="SangBleu Sunrise" panose="020B0504000000000004" pitchFamily="34" charset="-52"/>
              </a:rPr>
              <a:pPr/>
              <a:t>Musculoskeletal System</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48" name="Text Placeholder 2">
            <a:extLst>
              <a:ext uri="{FF2B5EF4-FFF2-40B4-BE49-F238E27FC236}">
                <a16:creationId xmlns:a16="http://schemas.microsoft.com/office/drawing/2014/main" id="{DB80FF1D-7DE6-4CCC-8825-B71D101ED6B0}"/>
              </a:ext>
            </a:extLst>
          </p:cNvPr>
          <p:cNvSpPr>
            <a:spLocks noGrp="1"/>
          </p:cNvSpPr>
          <p:nvPr>
            <p:custDataLst>
              <p:tags r:id="rId125"/>
            </p:custDataLst>
          </p:nvPr>
        </p:nvSpPr>
        <p:spPr bwMode="auto">
          <a:xfrm>
            <a:off x="1314450" y="8502650"/>
            <a:ext cx="10985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214EB4F9-2278-4E85-A43A-6C99DB0ED8B2}" type="datetime'Ge''''n''''''''''i''t''our''i''''''nar''''y Sy''s''t''e''m'">
              <a:rPr lang="en-US" altLang="en-US" sz="800" b="1" smtClean="0">
                <a:latin typeface="SangBleu Sunrise" panose="020B0504000000000004" pitchFamily="34" charset="-52"/>
                <a:ea typeface="SangBleu Sunrise" panose="020B0504000000000004" pitchFamily="34" charset="-52"/>
              </a:rPr>
              <a:pPr/>
              <a:t>Genitourinary System</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49" name="Text Placeholder 2">
            <a:extLst>
              <a:ext uri="{FF2B5EF4-FFF2-40B4-BE49-F238E27FC236}">
                <a16:creationId xmlns:a16="http://schemas.microsoft.com/office/drawing/2014/main" id="{E5DF40CE-B3BD-4E13-A8DD-484665B5FC8D}"/>
              </a:ext>
            </a:extLst>
          </p:cNvPr>
          <p:cNvSpPr>
            <a:spLocks noGrp="1"/>
          </p:cNvSpPr>
          <p:nvPr>
            <p:custDataLst>
              <p:tags r:id="rId126"/>
            </p:custDataLst>
          </p:nvPr>
        </p:nvSpPr>
        <p:spPr bwMode="auto">
          <a:xfrm>
            <a:off x="1314450" y="8667750"/>
            <a:ext cx="6619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637813D3-D4F8-4C3F-BADC-BAF23FC8821C}" type="datetime'''''D''''''''e''''''''rm''a''''''t''''ol''og''''y'''''''''''''">
              <a:rPr lang="en-US" altLang="en-US" sz="800" b="1" smtClean="0">
                <a:latin typeface="SangBleu Sunrise" panose="020B0504000000000004" pitchFamily="34" charset="-52"/>
                <a:ea typeface="SangBleu Sunrise" panose="020B0504000000000004" pitchFamily="34" charset="-52"/>
              </a:rPr>
              <a:pPr/>
              <a:t>Dermatology</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50" name="Text Placeholder 2">
            <a:extLst>
              <a:ext uri="{FF2B5EF4-FFF2-40B4-BE49-F238E27FC236}">
                <a16:creationId xmlns:a16="http://schemas.microsoft.com/office/drawing/2014/main" id="{C35A1D04-2CEE-4E8A-9696-E634DD41E72A}"/>
              </a:ext>
            </a:extLst>
          </p:cNvPr>
          <p:cNvSpPr>
            <a:spLocks noGrp="1"/>
          </p:cNvSpPr>
          <p:nvPr>
            <p:custDataLst>
              <p:tags r:id="rId127"/>
            </p:custDataLst>
          </p:nvPr>
        </p:nvSpPr>
        <p:spPr bwMode="auto">
          <a:xfrm>
            <a:off x="1314450" y="8832850"/>
            <a:ext cx="3016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88F151BB-4043-49DF-A7DC-07722DB019D6}" type="datetime'''''''''''''''''O''''''''''''t''''''h''e''''''r'''''''''">
              <a:rPr lang="en-US" altLang="en-US" sz="800" b="1" smtClean="0">
                <a:latin typeface="SangBleu Sunrise" panose="020B0504000000000004" pitchFamily="34" charset="-52"/>
                <a:ea typeface="SangBleu Sunrise" panose="020B0504000000000004" pitchFamily="34" charset="-52"/>
              </a:rPr>
              <a:pPr/>
              <a:t>Other</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81" name="Rectangle 580">
            <a:extLst>
              <a:ext uri="{FF2B5EF4-FFF2-40B4-BE49-F238E27FC236}">
                <a16:creationId xmlns:a16="http://schemas.microsoft.com/office/drawing/2014/main" id="{27D0B06E-3D0F-40CE-A055-6EA8CD3D10DC}"/>
              </a:ext>
            </a:extLst>
          </p:cNvPr>
          <p:cNvSpPr/>
          <p:nvPr>
            <p:custDataLst>
              <p:tags r:id="rId128"/>
            </p:custDataLst>
          </p:nvPr>
        </p:nvSpPr>
        <p:spPr bwMode="auto">
          <a:xfrm>
            <a:off x="4206875" y="2271713"/>
            <a:ext cx="107950" cy="80963"/>
          </a:xfrm>
          <a:prstGeom prst="rect">
            <a:avLst/>
          </a:prstGeom>
          <a:pattFill prst="pct75">
            <a:fgClr>
              <a:schemeClr val="tx1"/>
            </a:fgClr>
            <a:bgClr>
              <a:schemeClr val="bg1"/>
            </a:bgClr>
          </a:pattFill>
          <a:ln w="63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2" name="Rectangle 581">
            <a:extLst>
              <a:ext uri="{FF2B5EF4-FFF2-40B4-BE49-F238E27FC236}">
                <a16:creationId xmlns:a16="http://schemas.microsoft.com/office/drawing/2014/main" id="{B83920E2-C919-406B-8254-520CBD052B73}"/>
              </a:ext>
            </a:extLst>
          </p:cNvPr>
          <p:cNvSpPr/>
          <p:nvPr>
            <p:custDataLst>
              <p:tags r:id="rId129"/>
            </p:custDataLst>
          </p:nvPr>
        </p:nvSpPr>
        <p:spPr bwMode="auto">
          <a:xfrm>
            <a:off x="4206875" y="2409825"/>
            <a:ext cx="107950" cy="80963"/>
          </a:xfrm>
          <a:prstGeom prst="rect">
            <a:avLst/>
          </a:prstGeom>
          <a:pattFill prst="pct50">
            <a:fgClr>
              <a:schemeClr val="tx1"/>
            </a:fgClr>
            <a:bgClr>
              <a:schemeClr val="bg1"/>
            </a:bgClr>
          </a:pattFill>
          <a:ln w="63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3" name="Rectangle 582">
            <a:extLst>
              <a:ext uri="{FF2B5EF4-FFF2-40B4-BE49-F238E27FC236}">
                <a16:creationId xmlns:a16="http://schemas.microsoft.com/office/drawing/2014/main" id="{83FF6E1A-89A4-4673-A279-4CE55C3369D6}"/>
              </a:ext>
            </a:extLst>
          </p:cNvPr>
          <p:cNvSpPr/>
          <p:nvPr>
            <p:custDataLst>
              <p:tags r:id="rId130"/>
            </p:custDataLst>
          </p:nvPr>
        </p:nvSpPr>
        <p:spPr bwMode="auto">
          <a:xfrm>
            <a:off x="4206875" y="2547938"/>
            <a:ext cx="107950" cy="80963"/>
          </a:xfrm>
          <a:prstGeom prst="rect">
            <a:avLst/>
          </a:prstGeom>
          <a:pattFill prst="pct10">
            <a:fgClr>
              <a:schemeClr val="tx1"/>
            </a:fgClr>
            <a:bgClr>
              <a:schemeClr val="bg1"/>
            </a:bgClr>
          </a:pattFill>
          <a:ln w="63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8" name="Text Placeholder 2">
            <a:extLst>
              <a:ext uri="{FF2B5EF4-FFF2-40B4-BE49-F238E27FC236}">
                <a16:creationId xmlns:a16="http://schemas.microsoft.com/office/drawing/2014/main" id="{83D3DAAD-BA40-4C14-A6F4-D50DB30AA1CE}"/>
              </a:ext>
            </a:extLst>
          </p:cNvPr>
          <p:cNvSpPr>
            <a:spLocks noGrp="1"/>
          </p:cNvSpPr>
          <p:nvPr>
            <p:custDataLst>
              <p:tags r:id="rId131"/>
            </p:custDataLst>
          </p:nvPr>
        </p:nvSpPr>
        <p:spPr bwMode="auto">
          <a:xfrm>
            <a:off x="4365625" y="2276475"/>
            <a:ext cx="180022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EADD9F42-326D-42AE-8514-EE87C11D4816}" type="datetime'Comme''rcial'' Pre''sc''ription Drug'' Sect''or, mln RU''''B'">
              <a:rPr lang="en-US" altLang="en-US" sz="600" b="1" smtClean="0">
                <a:latin typeface="SangBleu Sunrise" panose="020B0504000000000004" pitchFamily="34" charset="-52"/>
                <a:ea typeface="SangBleu Sunrise" panose="020B0504000000000004" pitchFamily="34" charset="-52"/>
              </a:rPr>
              <a:pPr/>
              <a:t>Commercial Prescription Drug Sector, mln RUB</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97" name="Text Placeholder 2">
            <a:extLst>
              <a:ext uri="{FF2B5EF4-FFF2-40B4-BE49-F238E27FC236}">
                <a16:creationId xmlns:a16="http://schemas.microsoft.com/office/drawing/2014/main" id="{720736B1-6DFF-4F54-9D93-F45B1B2B9194}"/>
              </a:ext>
            </a:extLst>
          </p:cNvPr>
          <p:cNvSpPr>
            <a:spLocks noGrp="1"/>
          </p:cNvSpPr>
          <p:nvPr>
            <p:custDataLst>
              <p:tags r:id="rId132"/>
            </p:custDataLst>
          </p:nvPr>
        </p:nvSpPr>
        <p:spPr bwMode="auto">
          <a:xfrm>
            <a:off x="4365625" y="2414588"/>
            <a:ext cx="211772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63AFE157-D9B9-4E92-9051-98F0912B6F61}" type="datetime'P''u''blic (Gover''nment) Prescription Drug Sector, mln RU''B'">
              <a:rPr lang="en-US" altLang="en-US" sz="600" b="1" smtClean="0">
                <a:latin typeface="SangBleu Sunrise" panose="020B0504000000000004" pitchFamily="34" charset="-52"/>
                <a:ea typeface="SangBleu Sunrise" panose="020B0504000000000004" pitchFamily="34" charset="-52"/>
              </a:rPr>
              <a:pPr/>
              <a:t>Public (Government) Prescription Drug Sector, mln RUB</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95" name="Text Placeholder 2">
            <a:extLst>
              <a:ext uri="{FF2B5EF4-FFF2-40B4-BE49-F238E27FC236}">
                <a16:creationId xmlns:a16="http://schemas.microsoft.com/office/drawing/2014/main" id="{0CDC6DEC-EC16-4023-8F38-A4295AD31CA4}"/>
              </a:ext>
            </a:extLst>
          </p:cNvPr>
          <p:cNvSpPr>
            <a:spLocks noGrp="1"/>
          </p:cNvSpPr>
          <p:nvPr>
            <p:custDataLst>
              <p:tags r:id="rId133"/>
            </p:custDataLst>
          </p:nvPr>
        </p:nvSpPr>
        <p:spPr bwMode="auto">
          <a:xfrm>
            <a:off x="4365624" y="2552700"/>
            <a:ext cx="1887538"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56794A40-B4AB-4B64-9723-92174C4847DC}" type="datetime'Comme''r''cial Par''''aphar''ma''''ceutical Sector, m''ln RUB'">
              <a:rPr lang="en-US" altLang="en-US" sz="600" b="1" smtClean="0">
                <a:latin typeface="SangBleu Sunrise" panose="020B0504000000000004" pitchFamily="34" charset="-52"/>
                <a:ea typeface="SangBleu Sunrise" panose="020B0504000000000004" pitchFamily="34" charset="-52"/>
              </a:rPr>
              <a:pPr/>
              <a:t>Commercial Parapharmaceutical Sector, mln RUB</a:t>
            </a:fld>
            <a:endParaRPr lang="ru-RU" sz="6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41" name="Rectangle 140">
            <a:extLst>
              <a:ext uri="{FF2B5EF4-FFF2-40B4-BE49-F238E27FC236}">
                <a16:creationId xmlns:a16="http://schemas.microsoft.com/office/drawing/2014/main" id="{3334A56F-55A0-4348-A27F-7AB0C6687299}"/>
              </a:ext>
            </a:extLst>
          </p:cNvPr>
          <p:cNvSpPr/>
          <p:nvPr/>
        </p:nvSpPr>
        <p:spPr>
          <a:xfrm>
            <a:off x="4176713" y="7392194"/>
            <a:ext cx="2227677" cy="2112961"/>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endParaRPr lang="en-US" sz="800" dirty="0">
              <a:solidFill>
                <a:schemeClr val="tx1"/>
              </a:solidFill>
              <a:latin typeface="SangBleu Sunrise" panose="020B0504000000000004" pitchFamily="34" charset="-52"/>
              <a:ea typeface="SangBleu Sunrise" panose="020B0504000000000004" pitchFamily="34" charset="-52"/>
            </a:endParaRPr>
          </a:p>
          <a:p>
            <a:r>
              <a:rPr lang="en-US" sz="800" b="1" dirty="0">
                <a:solidFill>
                  <a:schemeClr val="tx1"/>
                </a:solidFill>
                <a:latin typeface="SangBleu Sunrise" panose="020B0504000000000004" pitchFamily="34" charset="-52"/>
                <a:ea typeface="SangBleu Sunrise" panose="020B0504000000000004" pitchFamily="34" charset="-52"/>
              </a:rPr>
              <a:t>Market fragmentation</a:t>
            </a:r>
            <a:r>
              <a:rPr lang="en-US" sz="800" dirty="0">
                <a:solidFill>
                  <a:schemeClr val="tx1"/>
                </a:solidFill>
                <a:latin typeface="SangBleu Sunrise" panose="020B0504000000000004" pitchFamily="34" charset="-52"/>
                <a:ea typeface="SangBleu Sunrise" panose="020B0504000000000004" pitchFamily="34" charset="-52"/>
              </a:rPr>
              <a:t>: Russian pharma market is highly fragmented. No company holds more than 2% overall market share. </a:t>
            </a:r>
          </a:p>
          <a:p>
            <a:endParaRPr lang="en-US" sz="800" dirty="0">
              <a:solidFill>
                <a:schemeClr val="tx1"/>
              </a:solidFill>
              <a:latin typeface="SangBleu Sunrise" panose="020B0504000000000004" pitchFamily="34" charset="-52"/>
              <a:ea typeface="SangBleu Sunrise" panose="020B0504000000000004" pitchFamily="34" charset="-52"/>
            </a:endParaRPr>
          </a:p>
          <a:p>
            <a:r>
              <a:rPr lang="en-US" sz="800" dirty="0">
                <a:solidFill>
                  <a:schemeClr val="tx1"/>
                </a:solidFill>
                <a:latin typeface="SangBleu Sunrise" panose="020B0504000000000004" pitchFamily="34" charset="-52"/>
                <a:ea typeface="SangBleu Sunrise" panose="020B0504000000000004" pitchFamily="34" charset="-52"/>
              </a:rPr>
              <a:t>At the same time, many specific segments within the Russian pharmaceutical market are dominated by clear leaders.</a:t>
            </a:r>
          </a:p>
          <a:p>
            <a:endParaRPr lang="en-US" sz="800" dirty="0">
              <a:solidFill>
                <a:schemeClr val="tx1"/>
              </a:solidFill>
              <a:latin typeface="SangBleu Sunrise" panose="020B0504000000000004" pitchFamily="34" charset="-52"/>
              <a:ea typeface="SangBleu Sunrise" panose="020B0504000000000004" pitchFamily="34" charset="-52"/>
            </a:endParaRPr>
          </a:p>
          <a:p>
            <a:endParaRPr lang="en-US" sz="800" dirty="0">
              <a:solidFill>
                <a:schemeClr val="tx1"/>
              </a:solidFill>
              <a:latin typeface="SangBleu Sunrise" panose="020B0504000000000004" pitchFamily="34" charset="-52"/>
              <a:ea typeface="SangBleu Sunrise" panose="020B0504000000000004" pitchFamily="34" charset="-52"/>
            </a:endParaRPr>
          </a:p>
          <a:p>
            <a:r>
              <a:rPr lang="en-US" sz="800" dirty="0">
                <a:solidFill>
                  <a:schemeClr val="tx1"/>
                </a:solidFill>
                <a:latin typeface="SangBleu Sunrise" panose="020B0504000000000004" pitchFamily="34" charset="-52"/>
                <a:ea typeface="SangBleu Sunrise" panose="020B0504000000000004" pitchFamily="34" charset="-52"/>
              </a:rPr>
              <a:t>PROMOMED ranks 18th with a 0.7% share but has significantly outpaced both the market average and the top 10 domestic producers in terms of revenue growth over the past three years.</a:t>
            </a:r>
          </a:p>
        </p:txBody>
      </p:sp>
      <p:sp>
        <p:nvSpPr>
          <p:cNvPr id="222" name="Rectangle 221">
            <a:extLst>
              <a:ext uri="{FF2B5EF4-FFF2-40B4-BE49-F238E27FC236}">
                <a16:creationId xmlns:a16="http://schemas.microsoft.com/office/drawing/2014/main" id="{1E7A7545-81D1-4F24-8D5A-96C800D70D73}"/>
              </a:ext>
            </a:extLst>
          </p:cNvPr>
          <p:cNvSpPr>
            <a:spLocks/>
          </p:cNvSpPr>
          <p:nvPr>
            <p:custDataLst>
              <p:tags r:id="rId134"/>
            </p:custDataLst>
          </p:nvPr>
        </p:nvSpPr>
        <p:spPr>
          <a:xfrm>
            <a:off x="4167479" y="2003653"/>
            <a:ext cx="2220075" cy="232489"/>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Pharmaceutical Market Size by Country</a:t>
            </a:r>
          </a:p>
        </p:txBody>
      </p:sp>
      <p:sp>
        <p:nvSpPr>
          <p:cNvPr id="228" name="Rectangle 227">
            <a:extLst>
              <a:ext uri="{FF2B5EF4-FFF2-40B4-BE49-F238E27FC236}">
                <a16:creationId xmlns:a16="http://schemas.microsoft.com/office/drawing/2014/main" id="{1A11C35A-D9AA-471E-9A82-D644245ED462}"/>
              </a:ext>
            </a:extLst>
          </p:cNvPr>
          <p:cNvSpPr>
            <a:spLocks/>
          </p:cNvSpPr>
          <p:nvPr>
            <p:custDataLst>
              <p:tags r:id="rId135"/>
            </p:custDataLst>
          </p:nvPr>
        </p:nvSpPr>
        <p:spPr>
          <a:xfrm>
            <a:off x="4167479" y="4316412"/>
            <a:ext cx="2220075" cy="232489"/>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Revenue of PROMOMED by nosology</a:t>
            </a:r>
          </a:p>
        </p:txBody>
      </p:sp>
      <p:sp>
        <p:nvSpPr>
          <p:cNvPr id="138" name="Rectangle 137">
            <a:extLst>
              <a:ext uri="{FF2B5EF4-FFF2-40B4-BE49-F238E27FC236}">
                <a16:creationId xmlns:a16="http://schemas.microsoft.com/office/drawing/2014/main" id="{A97A8927-05B0-4D57-B6D1-5845283904A5}"/>
              </a:ext>
            </a:extLst>
          </p:cNvPr>
          <p:cNvSpPr>
            <a:spLocks/>
          </p:cNvSpPr>
          <p:nvPr>
            <p:custDataLst>
              <p:tags r:id="rId136"/>
            </p:custDataLst>
          </p:nvPr>
        </p:nvSpPr>
        <p:spPr>
          <a:xfrm>
            <a:off x="994272" y="6748150"/>
            <a:ext cx="2290266" cy="225911"/>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Market Share: Imported vs. Domestic Drugs</a:t>
            </a:r>
          </a:p>
        </p:txBody>
      </p:sp>
      <p:sp>
        <p:nvSpPr>
          <p:cNvPr id="161" name="Rectangle 160">
            <a:extLst>
              <a:ext uri="{FF2B5EF4-FFF2-40B4-BE49-F238E27FC236}">
                <a16:creationId xmlns:a16="http://schemas.microsoft.com/office/drawing/2014/main" id="{0974FEB8-24E1-4ADA-8747-81BD7B7F3D51}"/>
              </a:ext>
            </a:extLst>
          </p:cNvPr>
          <p:cNvSpPr>
            <a:spLocks/>
          </p:cNvSpPr>
          <p:nvPr>
            <p:custDataLst>
              <p:tags r:id="rId137"/>
            </p:custDataLst>
          </p:nvPr>
        </p:nvSpPr>
        <p:spPr>
          <a:xfrm>
            <a:off x="994272" y="9124950"/>
            <a:ext cx="2290266" cy="225911"/>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Market Share by Therapeutic Area</a:t>
            </a:r>
          </a:p>
        </p:txBody>
      </p:sp>
      <p:sp>
        <p:nvSpPr>
          <p:cNvPr id="146" name="5. Source">
            <a:extLst>
              <a:ext uri="{FF2B5EF4-FFF2-40B4-BE49-F238E27FC236}">
                <a16:creationId xmlns:a16="http://schemas.microsoft.com/office/drawing/2014/main" id="{A04AECA2-B633-4F70-BB95-CD7E03DC1A8E}"/>
              </a:ext>
            </a:extLst>
          </p:cNvPr>
          <p:cNvSpPr txBox="1"/>
          <p:nvPr>
            <p:custDataLst>
              <p:tags r:id="rId138"/>
            </p:custDataLst>
          </p:nvPr>
        </p:nvSpPr>
        <p:spPr>
          <a:xfrm>
            <a:off x="642937" y="9649539"/>
            <a:ext cx="5700713" cy="123111"/>
          </a:xfrm>
          <a:prstGeom prst="rect">
            <a:avLst/>
          </a:prstGeom>
          <a:noFill/>
        </p:spPr>
        <p:txBody>
          <a:bodyPr vert="horz" wrap="square" lIns="0" tIns="0" rIns="0" bIns="0" rtlCol="0" anchor="b" anchorCtr="0">
            <a:spAutoFit/>
          </a:bodyPr>
          <a:lstStyle/>
          <a:p>
            <a:r>
              <a:rPr lang="fr-FR" sz="800" dirty="0">
                <a:latin typeface="SangBleu Sunrise" panose="020B0504000000000004" pitchFamily="34" charset="-52"/>
                <a:ea typeface="SangBleu Sunrise" panose="020B0504000000000004" pitchFamily="34" charset="-52"/>
              </a:rPr>
              <a:t>SOURCE: </a:t>
            </a:r>
            <a:r>
              <a:rPr lang="en-US" sz="800" dirty="0">
                <a:latin typeface="SangBleu Sunrise" panose="020B0504000000000004" pitchFamily="34" charset="-52"/>
                <a:ea typeface="SangBleu Sunrise" panose="020B0504000000000004" pitchFamily="34" charset="-52"/>
              </a:rPr>
              <a:t>“For PROMOMED’s Investors” presentations</a:t>
            </a:r>
            <a:r>
              <a:rPr lang="ru-RU" sz="800" dirty="0">
                <a:latin typeface="SangBleu Sunrise" panose="020B0504000000000004" pitchFamily="34" charset="-52"/>
                <a:ea typeface="SangBleu Sunrise" panose="020B0504000000000004" pitchFamily="34" charset="-52"/>
              </a:rPr>
              <a:t> </a:t>
            </a:r>
            <a:r>
              <a:rPr lang="en-US" sz="800" dirty="0">
                <a:latin typeface="SangBleu Sunrise" panose="020B0504000000000004" pitchFamily="34" charset="-52"/>
                <a:ea typeface="SangBleu Sunrise" panose="020B0504000000000004" pitchFamily="34" charset="-52"/>
              </a:rPr>
              <a:t>, Strategy Partners report, own calculations</a:t>
            </a:r>
            <a:endParaRPr lang="fr-FR" sz="800" dirty="0">
              <a:latin typeface="SangBleu Sunrise" panose="020B0504000000000004" pitchFamily="34" charset="-52"/>
              <a:ea typeface="SangBleu Sunrise" panose="020B0504000000000004" pitchFamily="34" charset="-52"/>
            </a:endParaRPr>
          </a:p>
        </p:txBody>
      </p:sp>
    </p:spTree>
    <p:extLst>
      <p:ext uri="{BB962C8B-B14F-4D97-AF65-F5344CB8AC3E}">
        <p14:creationId xmlns:p14="http://schemas.microsoft.com/office/powerpoint/2010/main" val="32887967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D4FE7E-DE6C-4F35-B505-6CC6CC141975}"/>
              </a:ext>
            </a:extLst>
          </p:cNvPr>
          <p:cNvGraphicFramePr>
            <a:graphicFrameLocks noChangeAspect="1"/>
          </p:cNvGraphicFramePr>
          <p:nvPr>
            <p:custDataLst>
              <p:tags r:id="rId2"/>
            </p:custDataLst>
            <p:extLst>
              <p:ext uri="{D42A27DB-BD31-4B8C-83A1-F6EECF244321}">
                <p14:modId xmlns:p14="http://schemas.microsoft.com/office/powerpoint/2010/main" val="3925357874"/>
              </p:ext>
            </p:extLst>
          </p:nvPr>
        </p:nvGraphicFramePr>
        <p:xfrm>
          <a:off x="644228" y="1290"/>
          <a:ext cx="1290" cy="1290"/>
        </p:xfrm>
        <a:graphic>
          <a:graphicData uri="http://schemas.openxmlformats.org/presentationml/2006/ole">
            <mc:AlternateContent xmlns:mc="http://schemas.openxmlformats.org/markup-compatibility/2006">
              <mc:Choice xmlns:v="urn:schemas-microsoft-com:vml" Requires="v">
                <p:oleObj spid="_x0000_s13442" name="think-cell Slide" r:id="rId82" imgW="395" imgH="396" progId="TCLayout.ActiveDocument.1">
                  <p:embed/>
                </p:oleObj>
              </mc:Choice>
              <mc:Fallback>
                <p:oleObj name="think-cell Slide" r:id="rId82" imgW="395" imgH="396" progId="TCLayout.ActiveDocument.1">
                  <p:embed/>
                  <p:pic>
                    <p:nvPicPr>
                      <p:cNvPr id="3" name="think-cell data - do not delete" hidden="1">
                        <a:extLst>
                          <a:ext uri="{FF2B5EF4-FFF2-40B4-BE49-F238E27FC236}">
                            <a16:creationId xmlns:a16="http://schemas.microsoft.com/office/drawing/2014/main" id="{89D4FE7E-DE6C-4F35-B505-6CC6CC141975}"/>
                          </a:ext>
                        </a:extLst>
                      </p:cNvPr>
                      <p:cNvPicPr/>
                      <p:nvPr/>
                    </p:nvPicPr>
                    <p:blipFill>
                      <a:blip r:embed="rId83"/>
                      <a:stretch>
                        <a:fillRect/>
                      </a:stretch>
                    </p:blipFill>
                    <p:spPr>
                      <a:xfrm>
                        <a:off x="644228" y="1290"/>
                        <a:ext cx="1290" cy="12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DC6F282-9C52-4591-8034-371A789171B5}"/>
              </a:ext>
            </a:extLst>
          </p:cNvPr>
          <p:cNvSpPr>
            <a:spLocks noGrp="1"/>
          </p:cNvSpPr>
          <p:nvPr>
            <p:ph type="title"/>
          </p:nvPr>
        </p:nvSpPr>
        <p:spPr>
          <a:xfrm>
            <a:off x="1026023" y="315188"/>
            <a:ext cx="4805958" cy="424732"/>
          </a:xfrm>
          <a:noFill/>
          <a:ln>
            <a:solidFill>
              <a:schemeClr val="bg1">
                <a:alpha val="98000"/>
              </a:schemeClr>
            </a:solidFill>
          </a:ln>
        </p:spPr>
        <p:txBody>
          <a:bodyPr vert="horz" wrap="square" anchor="ctr" anchorCtr="0">
            <a:spAutoFit/>
          </a:bodyPr>
          <a:lstStyle/>
          <a:p>
            <a:r>
              <a:rPr lang="en-US" sz="2400" dirty="0">
                <a:latin typeface="SangBleu Sunrise" panose="020B0504000000000004" pitchFamily="34" charset="-52"/>
                <a:ea typeface="SangBleu Sunrise" panose="020B0504000000000004" pitchFamily="34" charset="-52"/>
              </a:rPr>
              <a:t>Sales and Competitors 1</a:t>
            </a:r>
            <a:endParaRPr lang="ru-RU" sz="2400" dirty="0">
              <a:latin typeface="SangBleu Sunrise" panose="020B0504000000000004" pitchFamily="34" charset="-52"/>
              <a:ea typeface="SangBleu Sunrise" panose="020B0504000000000004" pitchFamily="34" charset="-52"/>
            </a:endParaRPr>
          </a:p>
        </p:txBody>
      </p:sp>
      <p:sp>
        <p:nvSpPr>
          <p:cNvPr id="12" name="Title 3">
            <a:extLst>
              <a:ext uri="{FF2B5EF4-FFF2-40B4-BE49-F238E27FC236}">
                <a16:creationId xmlns:a16="http://schemas.microsoft.com/office/drawing/2014/main" id="{46B4D404-F0F8-476D-BAA5-A678BD56703E}"/>
              </a:ext>
            </a:extLst>
          </p:cNvPr>
          <p:cNvSpPr txBox="1">
            <a:spLocks/>
          </p:cNvSpPr>
          <p:nvPr/>
        </p:nvSpPr>
        <p:spPr>
          <a:xfrm>
            <a:off x="1032475" y="2502478"/>
            <a:ext cx="4799506" cy="228942"/>
          </a:xfrm>
          <a:prstGeom prst="rect">
            <a:avLst/>
          </a:prstGeom>
          <a:solidFill>
            <a:schemeClr val="accent1">
              <a:lumMod val="50000"/>
            </a:schemeClr>
          </a:solidFill>
          <a:ln>
            <a:noFill/>
          </a:ln>
        </p:spPr>
        <p:txBody>
          <a:bodyPr vert="horz" wrap="square" lIns="58500" tIns="58500" rIns="58500" bIns="58500" rtlCol="0" anchor="ctr" anchorCtr="0">
            <a:sp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rtl="0">
              <a:spcBef>
                <a:spcPts val="0"/>
              </a:spcBef>
              <a:spcAft>
                <a:spcPts val="0"/>
              </a:spcAft>
            </a:pPr>
            <a:r>
              <a:rPr lang="en-US" sz="800" b="1" dirty="0">
                <a:solidFill>
                  <a:schemeClr val="bg1"/>
                </a:solidFill>
                <a:latin typeface="SangBleu Sunrise" panose="020B0504000000000004" pitchFamily="34" charset="-52"/>
                <a:ea typeface="SangBleu Sunrise" panose="020B0504000000000004" pitchFamily="34" charset="-52"/>
              </a:rPr>
              <a:t>Endocrinology:</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23" name="Rectangle 22">
            <a:extLst>
              <a:ext uri="{FF2B5EF4-FFF2-40B4-BE49-F238E27FC236}">
                <a16:creationId xmlns:a16="http://schemas.microsoft.com/office/drawing/2014/main" id="{DCA3F849-D468-4066-A24A-F48B2A434F38}"/>
              </a:ext>
            </a:extLst>
          </p:cNvPr>
          <p:cNvSpPr/>
          <p:nvPr/>
        </p:nvSpPr>
        <p:spPr>
          <a:xfrm>
            <a:off x="1026022" y="1316934"/>
            <a:ext cx="2227677" cy="990262"/>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Key Markets of PROMOMED:</a:t>
            </a:r>
            <a:r>
              <a:rPr lang="en-US" sz="800" dirty="0">
                <a:solidFill>
                  <a:schemeClr val="tx1"/>
                </a:solidFill>
                <a:latin typeface="SangBleu Sunrise" panose="020B0504000000000004" pitchFamily="34" charset="-52"/>
                <a:ea typeface="SangBleu Sunrise" panose="020B0504000000000004" pitchFamily="34" charset="-52"/>
              </a:rPr>
              <a:t> </a:t>
            </a:r>
            <a:r>
              <a:rPr lang="en-US" sz="800" dirty="0"/>
              <a:t>The </a:t>
            </a:r>
            <a:r>
              <a:rPr lang="en-US" sz="800" dirty="0">
                <a:solidFill>
                  <a:schemeClr val="tx1"/>
                </a:solidFill>
                <a:latin typeface="SangBleu Sunrise" panose="020B0504000000000004" pitchFamily="34" charset="-52"/>
                <a:ea typeface="SangBleu Sunrise" panose="020B0504000000000004" pitchFamily="34" charset="-52"/>
              </a:rPr>
              <a:t>Company primarily focuses on five core therapeutic areas, also referred to as </a:t>
            </a:r>
            <a:r>
              <a:rPr lang="en-US" sz="800" b="1" i="1" dirty="0" err="1">
                <a:solidFill>
                  <a:schemeClr val="tx1"/>
                </a:solidFill>
                <a:latin typeface="SangBleu Sunrise" panose="020B0504000000000004" pitchFamily="34" charset="-52"/>
                <a:ea typeface="SangBleu Sunrise" panose="020B0504000000000004" pitchFamily="34" charset="-52"/>
              </a:rPr>
              <a:t>nosologies</a:t>
            </a:r>
            <a:r>
              <a:rPr lang="en-US" sz="800" dirty="0">
                <a:solidFill>
                  <a:schemeClr val="tx1"/>
                </a:solidFill>
                <a:latin typeface="SangBleu Sunrise" panose="020B0504000000000004" pitchFamily="34" charset="-52"/>
                <a:ea typeface="SangBleu Sunrise" panose="020B0504000000000004" pitchFamily="34" charset="-52"/>
              </a:rPr>
              <a:t> — endocrinology, oncology, neurology, and antiviral treatments — which together accounted for 71% of its revenue in 2023.</a:t>
            </a:r>
          </a:p>
          <a:p>
            <a:endParaRPr lang="en-US" sz="800" dirty="0">
              <a:solidFill>
                <a:schemeClr val="tx1"/>
              </a:solidFill>
              <a:latin typeface="SangBleu Sunrise" panose="020B0504000000000004" pitchFamily="34" charset="-52"/>
              <a:ea typeface="SangBleu Sunrise" panose="020B0504000000000004" pitchFamily="34" charset="-52"/>
            </a:endParaRPr>
          </a:p>
        </p:txBody>
      </p:sp>
      <p:sp>
        <p:nvSpPr>
          <p:cNvPr id="136" name="1. On-page tracker">
            <a:extLst>
              <a:ext uri="{FF2B5EF4-FFF2-40B4-BE49-F238E27FC236}">
                <a16:creationId xmlns:a16="http://schemas.microsoft.com/office/drawing/2014/main" id="{446AE41F-44AB-41C4-8747-E53ABBB5FD84}"/>
              </a:ext>
            </a:extLst>
          </p:cNvPr>
          <p:cNvSpPr txBox="1"/>
          <p:nvPr>
            <p:custDataLst>
              <p:tags r:id="rId3"/>
            </p:custDataLst>
          </p:nvPr>
        </p:nvSpPr>
        <p:spPr>
          <a:xfrm>
            <a:off x="746125" y="51596"/>
            <a:ext cx="1547813" cy="123111"/>
          </a:xfrm>
          <a:prstGeom prst="rect">
            <a:avLst/>
          </a:prstGeom>
          <a:solidFill>
            <a:schemeClr val="bg2"/>
          </a:solidFill>
        </p:spPr>
        <p:txBody>
          <a:bodyPr vert="horz" wrap="square" lIns="0" tIns="0" rIns="0" bIns="0" rtlCol="0">
            <a:spAutoFit/>
          </a:bodyPr>
          <a:lstStyle/>
          <a:p>
            <a:r>
              <a:rPr lang="en-US" sz="800" dirty="0">
                <a:latin typeface="SangBleu Sunrise" panose="020B0504000000000004" pitchFamily="34" charset="-52"/>
                <a:ea typeface="SangBleu Sunrise" panose="020B0504000000000004" pitchFamily="34" charset="-52"/>
              </a:rPr>
              <a:t>Market, Sales, Competitors</a:t>
            </a:r>
            <a:endParaRPr lang="ru-RU" sz="800" dirty="0">
              <a:latin typeface="SangBleu Sunrise" panose="020B0504000000000004" pitchFamily="34" charset="-52"/>
              <a:ea typeface="SangBleu Sunrise" panose="020B0504000000000004" pitchFamily="34" charset="-52"/>
            </a:endParaRPr>
          </a:p>
        </p:txBody>
      </p:sp>
      <p:graphicFrame>
        <p:nvGraphicFramePr>
          <p:cNvPr id="119" name="Chart 118">
            <a:extLst>
              <a:ext uri="{FF2B5EF4-FFF2-40B4-BE49-F238E27FC236}">
                <a16:creationId xmlns:a16="http://schemas.microsoft.com/office/drawing/2014/main" id="{0902AD8F-6284-4560-9DD4-BDC2913ECE87}"/>
              </a:ext>
            </a:extLst>
          </p:cNvPr>
          <p:cNvGraphicFramePr/>
          <p:nvPr>
            <p:custDataLst>
              <p:tags r:id="rId4"/>
            </p:custDataLst>
            <p:extLst>
              <p:ext uri="{D42A27DB-BD31-4B8C-83A1-F6EECF244321}">
                <p14:modId xmlns:p14="http://schemas.microsoft.com/office/powerpoint/2010/main" val="1561993512"/>
              </p:ext>
            </p:extLst>
          </p:nvPr>
        </p:nvGraphicFramePr>
        <p:xfrm>
          <a:off x="3024188" y="1049338"/>
          <a:ext cx="1998662" cy="1333500"/>
        </p:xfrm>
        <a:graphic>
          <a:graphicData uri="http://schemas.openxmlformats.org/drawingml/2006/chart">
            <c:chart xmlns:c="http://schemas.openxmlformats.org/drawingml/2006/chart" xmlns:r="http://schemas.openxmlformats.org/officeDocument/2006/relationships" r:id="rId84"/>
          </a:graphicData>
        </a:graphic>
      </p:graphicFrame>
      <p:sp>
        <p:nvSpPr>
          <p:cNvPr id="379" name="Text Placeholder 2">
            <a:extLst>
              <a:ext uri="{FF2B5EF4-FFF2-40B4-BE49-F238E27FC236}">
                <a16:creationId xmlns:a16="http://schemas.microsoft.com/office/drawing/2014/main" id="{1FD5C78C-5238-409B-A4E4-98330189F1C7}"/>
              </a:ext>
            </a:extLst>
          </p:cNvPr>
          <p:cNvSpPr>
            <a:spLocks noGrp="1"/>
          </p:cNvSpPr>
          <p:nvPr>
            <p:custDataLst>
              <p:tags r:id="rId5"/>
            </p:custDataLst>
          </p:nvPr>
        </p:nvSpPr>
        <p:spPr bwMode="gray">
          <a:xfrm>
            <a:off x="4016375" y="1366838"/>
            <a:ext cx="185738" cy="109538"/>
          </a:xfrm>
          <a:prstGeom prst="rect">
            <a:avLst/>
          </a:prstGeom>
          <a:solidFill>
            <a:schemeClr val="bg1"/>
          </a:solidFill>
          <a:ln>
            <a:noFill/>
          </a:ln>
          <a:effectLst/>
        </p:spPr>
        <p:txBody>
          <a:bodyPr vert="horz" wrap="none" lIns="14288" tIns="0" rIns="14288"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FF186BF9-AAFC-4CA7-B4ED-F9DFE2E26621}" type="datetime'''''9''%'">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9%</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76" name="Text Placeholder 2">
            <a:extLst>
              <a:ext uri="{FF2B5EF4-FFF2-40B4-BE49-F238E27FC236}">
                <a16:creationId xmlns:a16="http://schemas.microsoft.com/office/drawing/2014/main" id="{0DCC5DE1-5892-47C4-A69D-4016DD61A870}"/>
              </a:ext>
            </a:extLst>
          </p:cNvPr>
          <p:cNvSpPr>
            <a:spLocks noGrp="1"/>
          </p:cNvSpPr>
          <p:nvPr>
            <p:custDataLst>
              <p:tags r:id="rId6"/>
            </p:custDataLst>
          </p:nvPr>
        </p:nvSpPr>
        <p:spPr bwMode="gray">
          <a:xfrm>
            <a:off x="4117975" y="1489075"/>
            <a:ext cx="230188" cy="109538"/>
          </a:xfrm>
          <a:prstGeom prst="rect">
            <a:avLst/>
          </a:prstGeom>
          <a:solidFill>
            <a:schemeClr val="bg1"/>
          </a:solidFill>
          <a:ln>
            <a:noFill/>
          </a:ln>
          <a:effectLst/>
        </p:spPr>
        <p:txBody>
          <a:bodyPr vert="horz" wrap="none" lIns="14288" tIns="0" rIns="14288"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4849571-47F2-44B3-B207-88C32E3AB461}" type="datetime'''''''''''''1''''''''''''''''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1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71" name="Text Placeholder 2">
            <a:extLst>
              <a:ext uri="{FF2B5EF4-FFF2-40B4-BE49-F238E27FC236}">
                <a16:creationId xmlns:a16="http://schemas.microsoft.com/office/drawing/2014/main" id="{BDFAB0CC-1BA6-4082-A6F6-DDCD67234523}"/>
              </a:ext>
            </a:extLst>
          </p:cNvPr>
          <p:cNvSpPr>
            <a:spLocks noGrp="1"/>
          </p:cNvSpPr>
          <p:nvPr>
            <p:custDataLst>
              <p:tags r:id="rId7"/>
            </p:custDataLst>
          </p:nvPr>
        </p:nvSpPr>
        <p:spPr bwMode="gray">
          <a:xfrm>
            <a:off x="4138613" y="1757363"/>
            <a:ext cx="252413" cy="109538"/>
          </a:xfrm>
          <a:prstGeom prst="rect">
            <a:avLst/>
          </a:prstGeom>
          <a:solidFill>
            <a:schemeClr val="bg1"/>
          </a:solidFill>
          <a:ln>
            <a:noFill/>
          </a:ln>
          <a:effectLst/>
        </p:spPr>
        <p:txBody>
          <a:bodyPr vert="horz" wrap="none" lIns="14288" tIns="0" rIns="14288"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CDE9D91-6C15-4091-9094-289E75B18181}" type="datetime'''''''''''''''2''''''''''''''''''''4''%'''''''">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4%</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5" name="Rectangle 14">
            <a:extLst>
              <a:ext uri="{FF2B5EF4-FFF2-40B4-BE49-F238E27FC236}">
                <a16:creationId xmlns:a16="http://schemas.microsoft.com/office/drawing/2014/main" id="{8070CC76-24A1-41FE-B6AB-1A493CDB04E4}"/>
              </a:ext>
            </a:extLst>
          </p:cNvPr>
          <p:cNvSpPr/>
          <p:nvPr>
            <p:custDataLst>
              <p:tags r:id="rId8"/>
            </p:custDataLst>
          </p:nvPr>
        </p:nvSpPr>
        <p:spPr bwMode="auto">
          <a:xfrm>
            <a:off x="4611688" y="1358900"/>
            <a:ext cx="142875" cy="106363"/>
          </a:xfrm>
          <a:prstGeom prst="rect">
            <a:avLst/>
          </a:prstGeom>
          <a:solidFill>
            <a:srgbClr val="BF900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Rectangle 15">
            <a:extLst>
              <a:ext uri="{FF2B5EF4-FFF2-40B4-BE49-F238E27FC236}">
                <a16:creationId xmlns:a16="http://schemas.microsoft.com/office/drawing/2014/main" id="{244B348D-ABD0-4F89-B569-D8683F1D5102}"/>
              </a:ext>
            </a:extLst>
          </p:cNvPr>
          <p:cNvSpPr/>
          <p:nvPr>
            <p:custDataLst>
              <p:tags r:id="rId9"/>
            </p:custDataLst>
          </p:nvPr>
        </p:nvSpPr>
        <p:spPr bwMode="auto">
          <a:xfrm>
            <a:off x="4611688" y="1524000"/>
            <a:ext cx="142875" cy="106363"/>
          </a:xfrm>
          <a:prstGeom prst="rect">
            <a:avLst/>
          </a:prstGeom>
          <a:pattFill prst="pct75">
            <a:fgClr>
              <a:schemeClr val="tx1"/>
            </a:fgClr>
            <a:bgClr>
              <a:schemeClr val="bg1"/>
            </a:bgClr>
          </a:patt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Rectangle 16">
            <a:extLst>
              <a:ext uri="{FF2B5EF4-FFF2-40B4-BE49-F238E27FC236}">
                <a16:creationId xmlns:a16="http://schemas.microsoft.com/office/drawing/2014/main" id="{295E4349-1266-41BA-B7D1-6B9E7F1625D8}"/>
              </a:ext>
            </a:extLst>
          </p:cNvPr>
          <p:cNvSpPr/>
          <p:nvPr>
            <p:custDataLst>
              <p:tags r:id="rId10"/>
            </p:custDataLst>
          </p:nvPr>
        </p:nvSpPr>
        <p:spPr bwMode="auto">
          <a:xfrm>
            <a:off x="4611688" y="1689100"/>
            <a:ext cx="142875" cy="106363"/>
          </a:xfrm>
          <a:prstGeom prst="rect">
            <a:avLst/>
          </a:prstGeom>
          <a:pattFill prst="pct50">
            <a:fgClr>
              <a:schemeClr val="tx1"/>
            </a:fgClr>
            <a:bgClr>
              <a:schemeClr val="bg1"/>
            </a:bgClr>
          </a:patt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Rectangle 17">
            <a:extLst>
              <a:ext uri="{FF2B5EF4-FFF2-40B4-BE49-F238E27FC236}">
                <a16:creationId xmlns:a16="http://schemas.microsoft.com/office/drawing/2014/main" id="{0B45C72C-1CC0-476C-A087-73C72B8AC69F}"/>
              </a:ext>
            </a:extLst>
          </p:cNvPr>
          <p:cNvSpPr/>
          <p:nvPr>
            <p:custDataLst>
              <p:tags r:id="rId11"/>
            </p:custDataLst>
          </p:nvPr>
        </p:nvSpPr>
        <p:spPr bwMode="auto">
          <a:xfrm>
            <a:off x="4611688" y="1854200"/>
            <a:ext cx="142875" cy="106363"/>
          </a:xfrm>
          <a:prstGeom prst="rect">
            <a:avLst/>
          </a:prstGeom>
          <a:pattFill prst="pct10">
            <a:fgClr>
              <a:schemeClr val="tx1"/>
            </a:fgClr>
            <a:bgClr>
              <a:schemeClr val="bg1"/>
            </a:bgClr>
          </a:patt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Rectangle 5">
            <a:extLst>
              <a:ext uri="{FF2B5EF4-FFF2-40B4-BE49-F238E27FC236}">
                <a16:creationId xmlns:a16="http://schemas.microsoft.com/office/drawing/2014/main" id="{092F8B73-564D-42EB-A5BE-2E4D84E74E83}"/>
              </a:ext>
            </a:extLst>
          </p:cNvPr>
          <p:cNvSpPr/>
          <p:nvPr>
            <p:custDataLst>
              <p:tags r:id="rId12"/>
            </p:custDataLst>
          </p:nvPr>
        </p:nvSpPr>
        <p:spPr bwMode="auto">
          <a:xfrm>
            <a:off x="4611688" y="2019300"/>
            <a:ext cx="142875" cy="106363"/>
          </a:xfrm>
          <a:prstGeom prst="rect">
            <a:avLst/>
          </a:prstGeom>
          <a:solidFill>
            <a:srgbClr val="C0C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8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65" name="Text Placeholder 2">
            <a:extLst>
              <a:ext uri="{FF2B5EF4-FFF2-40B4-BE49-F238E27FC236}">
                <a16:creationId xmlns:a16="http://schemas.microsoft.com/office/drawing/2014/main" id="{CBCB6D1B-C890-45A2-90FC-03894A60DE5A}"/>
              </a:ext>
            </a:extLst>
          </p:cNvPr>
          <p:cNvSpPr>
            <a:spLocks noGrp="1"/>
          </p:cNvSpPr>
          <p:nvPr>
            <p:custDataLst>
              <p:tags r:id="rId13"/>
            </p:custDataLst>
          </p:nvPr>
        </p:nvSpPr>
        <p:spPr bwMode="auto">
          <a:xfrm>
            <a:off x="4805363" y="1363663"/>
            <a:ext cx="7207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6F67596B-6952-4474-809C-FEE3FAFB0E04}" type="datetime'''''''''''En''''docr''in''''''''''''''''ol''''og''''''y'''''''">
              <a:rPr lang="en-US" altLang="en-US" sz="800" smtClean="0">
                <a:latin typeface="SangBleu Sunrise" panose="020B0504000000000004" pitchFamily="34" charset="-52"/>
                <a:ea typeface="SangBleu Sunrise" panose="020B0504000000000004" pitchFamily="34" charset="-52"/>
                <a:sym typeface="SangBleu Sunrise" panose="020B0504000000000004" pitchFamily="34" charset="-52"/>
              </a:rPr>
              <a:pPr/>
              <a:t>Endocrinolog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6" name="Text Placeholder 2">
            <a:extLst>
              <a:ext uri="{FF2B5EF4-FFF2-40B4-BE49-F238E27FC236}">
                <a16:creationId xmlns:a16="http://schemas.microsoft.com/office/drawing/2014/main" id="{02B69EAD-BBD8-463A-A4B3-E0EBB3F22215}"/>
              </a:ext>
            </a:extLst>
          </p:cNvPr>
          <p:cNvSpPr>
            <a:spLocks noGrp="1"/>
          </p:cNvSpPr>
          <p:nvPr>
            <p:custDataLst>
              <p:tags r:id="rId14"/>
            </p:custDataLst>
          </p:nvPr>
        </p:nvSpPr>
        <p:spPr bwMode="auto">
          <a:xfrm>
            <a:off x="4805363" y="1528763"/>
            <a:ext cx="4889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92457CE4-AE3A-486D-A3B7-C6A11A8B131D}" type="datetime'''O''''''''''nco''''l''''''''''''o''g''''''''y'''''''''''">
              <a:rPr lang="en-US" altLang="en-US" sz="800" smtClean="0">
                <a:latin typeface="SangBleu Sunrise" panose="020B0504000000000004" pitchFamily="34" charset="-52"/>
                <a:ea typeface="SangBleu Sunrise" panose="020B0504000000000004" pitchFamily="34" charset="-52"/>
                <a:sym typeface="SangBleu Sunrise" panose="020B0504000000000004" pitchFamily="34" charset="-52"/>
              </a:rPr>
              <a:pPr/>
              <a:t>Oncolog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7" name="Text Placeholder 2">
            <a:extLst>
              <a:ext uri="{FF2B5EF4-FFF2-40B4-BE49-F238E27FC236}">
                <a16:creationId xmlns:a16="http://schemas.microsoft.com/office/drawing/2014/main" id="{EFCAD3BB-B855-48D7-9262-C2DAF5FE9C2E}"/>
              </a:ext>
            </a:extLst>
          </p:cNvPr>
          <p:cNvSpPr>
            <a:spLocks noGrp="1"/>
          </p:cNvSpPr>
          <p:nvPr>
            <p:custDataLst>
              <p:tags r:id="rId15"/>
            </p:custDataLst>
          </p:nvPr>
        </p:nvSpPr>
        <p:spPr bwMode="auto">
          <a:xfrm>
            <a:off x="4805363" y="1693863"/>
            <a:ext cx="5207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5C48A8BB-BCEC-46D6-A867-9653B2CB2A6F}" type="datetime'''N''''''eu''''''''ro''''l''o''''''g''''''''''''''y'''">
              <a:rPr lang="en-US" altLang="en-US" sz="800" smtClean="0">
                <a:latin typeface="SangBleu Sunrise" panose="020B0504000000000004" pitchFamily="34" charset="-52"/>
                <a:ea typeface="SangBleu Sunrise" panose="020B0504000000000004" pitchFamily="34" charset="-52"/>
                <a:sym typeface="SangBleu Sunrise" panose="020B0504000000000004" pitchFamily="34" charset="-52"/>
              </a:rPr>
              <a:pPr/>
              <a:t>Neurolog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 name="Text Placeholder 2">
            <a:extLst>
              <a:ext uri="{FF2B5EF4-FFF2-40B4-BE49-F238E27FC236}">
                <a16:creationId xmlns:a16="http://schemas.microsoft.com/office/drawing/2014/main" id="{1CA568B5-06C0-4C08-A6D2-0E6FC61EC537}"/>
              </a:ext>
            </a:extLst>
          </p:cNvPr>
          <p:cNvSpPr>
            <a:spLocks noGrp="1"/>
          </p:cNvSpPr>
          <p:nvPr>
            <p:custDataLst>
              <p:tags r:id="rId16"/>
            </p:custDataLst>
          </p:nvPr>
        </p:nvSpPr>
        <p:spPr bwMode="auto">
          <a:xfrm>
            <a:off x="4805363" y="1858963"/>
            <a:ext cx="98583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11D27C4C-DF86-42D3-8CAD-991E7E5D8533}" type="datetime'A''n''t''''iv''ir''''''''''''al t''r''e''''a''''''tm''e''nts'">
              <a:rPr lang="en-US" altLang="en-US" sz="800" smtClean="0">
                <a:latin typeface="SangBleu Sunrise" panose="020B0504000000000004" pitchFamily="34" charset="-52"/>
                <a:ea typeface="SangBleu Sunrise" panose="020B0504000000000004" pitchFamily="34" charset="-52"/>
                <a:sym typeface="SangBleu Sunrise" panose="020B0504000000000004" pitchFamily="34" charset="-52"/>
              </a:rPr>
              <a:pPr/>
              <a:t>Antiviral treatments</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00" name="Text Placeholder 2">
            <a:extLst>
              <a:ext uri="{FF2B5EF4-FFF2-40B4-BE49-F238E27FC236}">
                <a16:creationId xmlns:a16="http://schemas.microsoft.com/office/drawing/2014/main" id="{AB02AEF1-6FA9-4412-A794-8D920505E317}"/>
              </a:ext>
            </a:extLst>
          </p:cNvPr>
          <p:cNvSpPr>
            <a:spLocks noGrp="1"/>
          </p:cNvSpPr>
          <p:nvPr>
            <p:custDataLst>
              <p:tags r:id="rId17"/>
            </p:custDataLst>
          </p:nvPr>
        </p:nvSpPr>
        <p:spPr bwMode="auto">
          <a:xfrm>
            <a:off x="4805363" y="2024063"/>
            <a:ext cx="2968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4DB429C8-7775-4738-9BBB-147BDD53A4D9}" type="datetime'O''''''t''''''''''''''''''''''''her'''''''''''''''''''">
              <a:rPr lang="en-US" altLang="en-US" sz="800" smtClean="0">
                <a:latin typeface="SangBleu Sunrise" panose="020B0504000000000004" pitchFamily="34" charset="-52"/>
                <a:ea typeface="SangBleu Sunrise" panose="020B0504000000000004" pitchFamily="34" charset="-52"/>
              </a:rPr>
              <a:pPr/>
              <a:t>Other</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93" name="Title 3">
            <a:extLst>
              <a:ext uri="{FF2B5EF4-FFF2-40B4-BE49-F238E27FC236}">
                <a16:creationId xmlns:a16="http://schemas.microsoft.com/office/drawing/2014/main" id="{F3F0DCD5-8683-42F4-92B5-7B3167C46F86}"/>
              </a:ext>
            </a:extLst>
          </p:cNvPr>
          <p:cNvSpPr txBox="1">
            <a:spLocks/>
          </p:cNvSpPr>
          <p:nvPr/>
        </p:nvSpPr>
        <p:spPr>
          <a:xfrm>
            <a:off x="1032475" y="1037030"/>
            <a:ext cx="4799506" cy="230738"/>
          </a:xfrm>
          <a:prstGeom prst="rect">
            <a:avLst/>
          </a:prstGeom>
          <a:solidFill>
            <a:schemeClr val="accent1">
              <a:lumMod val="50000"/>
            </a:schemeClr>
          </a:solidFill>
          <a:ln>
            <a:noFill/>
          </a:ln>
        </p:spPr>
        <p:txBody>
          <a:bodyPr vert="horz" wrap="square" lIns="58500" tIns="58500" rIns="58500" bIns="58500" rtlCol="0" anchor="ctr" anchorCtr="0">
            <a:sp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a:solidFill>
                  <a:schemeClr val="bg1"/>
                </a:solidFill>
                <a:latin typeface="SangBleu Sunrise" panose="020B0504000000000004" pitchFamily="34" charset="-52"/>
                <a:ea typeface="SangBleu Sunrise" panose="020B0504000000000004" pitchFamily="34" charset="-52"/>
              </a:rPr>
              <a:t>Key Sales Areas:</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102" name="Rectangle 101">
            <a:extLst>
              <a:ext uri="{FF2B5EF4-FFF2-40B4-BE49-F238E27FC236}">
                <a16:creationId xmlns:a16="http://schemas.microsoft.com/office/drawing/2014/main" id="{C81FCF7F-850D-4850-93BE-4920AC5900BD}"/>
              </a:ext>
            </a:extLst>
          </p:cNvPr>
          <p:cNvSpPr/>
          <p:nvPr/>
        </p:nvSpPr>
        <p:spPr>
          <a:xfrm>
            <a:off x="1026023" y="2750492"/>
            <a:ext cx="1630469" cy="1399129"/>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Endocrinology Market: </a:t>
            </a:r>
          </a:p>
          <a:p>
            <a:r>
              <a:rPr lang="en-US" sz="800" dirty="0">
                <a:solidFill>
                  <a:schemeClr val="tx1"/>
                </a:solidFill>
                <a:latin typeface="SangBleu Sunrise" panose="020B0504000000000004" pitchFamily="34" charset="-52"/>
                <a:ea typeface="SangBleu Sunrise" panose="020B0504000000000004" pitchFamily="34" charset="-52"/>
              </a:rPr>
              <a:t>The endocrinology market is the largest for the company. PROMOMED holds leading positions in the production of medications for weight management and diabetes, including well-known products such as </a:t>
            </a:r>
            <a:r>
              <a:rPr lang="en-US" sz="800" i="1" dirty="0" err="1">
                <a:solidFill>
                  <a:schemeClr val="tx1"/>
                </a:solidFill>
                <a:latin typeface="SangBleu Sunrise" panose="020B0504000000000004" pitchFamily="34" charset="-52"/>
                <a:ea typeface="SangBleu Sunrise" panose="020B0504000000000004" pitchFamily="34" charset="-52"/>
              </a:rPr>
              <a:t>Reduxin</a:t>
            </a:r>
            <a:r>
              <a:rPr lang="en-US" sz="800" dirty="0">
                <a:solidFill>
                  <a:schemeClr val="tx1"/>
                </a:solidFill>
                <a:latin typeface="SangBleu Sunrise" panose="020B0504000000000004" pitchFamily="34" charset="-52"/>
                <a:ea typeface="SangBleu Sunrise" panose="020B0504000000000004" pitchFamily="34" charset="-52"/>
              </a:rPr>
              <a:t>, </a:t>
            </a:r>
            <a:r>
              <a:rPr lang="en-US" sz="800" i="1" dirty="0" err="1">
                <a:solidFill>
                  <a:schemeClr val="tx1"/>
                </a:solidFill>
                <a:latin typeface="SangBleu Sunrise" panose="020B0504000000000004" pitchFamily="34" charset="-52"/>
                <a:ea typeface="SangBleu Sunrise" panose="020B0504000000000004" pitchFamily="34" charset="-52"/>
              </a:rPr>
              <a:t>Enligria</a:t>
            </a:r>
            <a:r>
              <a:rPr lang="en-US" sz="800" dirty="0">
                <a:solidFill>
                  <a:schemeClr val="tx1"/>
                </a:solidFill>
                <a:latin typeface="SangBleu Sunrise" panose="020B0504000000000004" pitchFamily="34" charset="-52"/>
                <a:ea typeface="SangBleu Sunrise" panose="020B0504000000000004" pitchFamily="34" charset="-52"/>
              </a:rPr>
              <a:t>, </a:t>
            </a:r>
            <a:r>
              <a:rPr lang="en-US" sz="800" i="1" dirty="0" err="1">
                <a:solidFill>
                  <a:schemeClr val="tx1"/>
                </a:solidFill>
                <a:latin typeface="SangBleu Sunrise" panose="020B0504000000000004" pitchFamily="34" charset="-52"/>
                <a:ea typeface="SangBleu Sunrise" panose="020B0504000000000004" pitchFamily="34" charset="-52"/>
              </a:rPr>
              <a:t>Velgia</a:t>
            </a:r>
            <a:r>
              <a:rPr lang="en-US" sz="800" dirty="0">
                <a:solidFill>
                  <a:schemeClr val="tx1"/>
                </a:solidFill>
                <a:latin typeface="SangBleu Sunrise" panose="020B0504000000000004" pitchFamily="34" charset="-52"/>
                <a:ea typeface="SangBleu Sunrise" panose="020B0504000000000004" pitchFamily="34" charset="-52"/>
              </a:rPr>
              <a:t>, and </a:t>
            </a:r>
            <a:r>
              <a:rPr lang="en-US" sz="800" i="1" dirty="0" err="1">
                <a:solidFill>
                  <a:schemeClr val="tx1"/>
                </a:solidFill>
                <a:latin typeface="SangBleu Sunrise" panose="020B0504000000000004" pitchFamily="34" charset="-52"/>
                <a:ea typeface="SangBleu Sunrise" panose="020B0504000000000004" pitchFamily="34" charset="-52"/>
              </a:rPr>
              <a:t>Quinsenta</a:t>
            </a:r>
            <a:r>
              <a:rPr lang="en-US" sz="800" dirty="0">
                <a:solidFill>
                  <a:schemeClr val="tx1"/>
                </a:solidFill>
                <a:latin typeface="SangBleu Sunrise" panose="020B0504000000000004" pitchFamily="34" charset="-52"/>
                <a:ea typeface="SangBleu Sunrise" panose="020B0504000000000004" pitchFamily="34" charset="-52"/>
              </a:rPr>
              <a:t>.</a:t>
            </a:r>
          </a:p>
        </p:txBody>
      </p:sp>
      <p:sp>
        <p:nvSpPr>
          <p:cNvPr id="103" name="Rectangle 102">
            <a:extLst>
              <a:ext uri="{FF2B5EF4-FFF2-40B4-BE49-F238E27FC236}">
                <a16:creationId xmlns:a16="http://schemas.microsoft.com/office/drawing/2014/main" id="{9BBD11FE-B656-45EE-9342-8CDE2AF1243C}"/>
              </a:ext>
            </a:extLst>
          </p:cNvPr>
          <p:cNvSpPr/>
          <p:nvPr/>
        </p:nvSpPr>
        <p:spPr>
          <a:xfrm>
            <a:off x="1058723" y="4178101"/>
            <a:ext cx="1730362" cy="1238255"/>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Novo Nordisk’s Exit:</a:t>
            </a:r>
            <a:br>
              <a:rPr lang="en-US" sz="800" dirty="0">
                <a:solidFill>
                  <a:schemeClr val="tx1"/>
                </a:solidFill>
                <a:latin typeface="SangBleu Sunrise" panose="020B0504000000000004" pitchFamily="34" charset="-52"/>
                <a:ea typeface="SangBleu Sunrise" panose="020B0504000000000004" pitchFamily="34" charset="-52"/>
              </a:rPr>
            </a:br>
            <a:r>
              <a:rPr lang="en-US" sz="800" dirty="0">
                <a:solidFill>
                  <a:schemeClr val="tx1"/>
                </a:solidFill>
                <a:latin typeface="SangBleu Sunrise" panose="020B0504000000000004" pitchFamily="34" charset="-52"/>
                <a:ea typeface="SangBleu Sunrise" panose="020B0504000000000004" pitchFamily="34" charset="-52"/>
              </a:rPr>
              <a:t>Until 2022, Novo Nordisk held a leading position in the Russian market for type 2 diabetes treatments and weight-loss medications. The company produced drugs based on the active ingredients </a:t>
            </a:r>
            <a:r>
              <a:rPr lang="en-US" sz="800" b="1" dirty="0" err="1">
                <a:solidFill>
                  <a:schemeClr val="tx1"/>
                </a:solidFill>
                <a:latin typeface="SangBleu Sunrise" panose="020B0504000000000004" pitchFamily="34" charset="-52"/>
                <a:ea typeface="SangBleu Sunrise" panose="020B0504000000000004" pitchFamily="34" charset="-52"/>
              </a:rPr>
              <a:t>semaglutide</a:t>
            </a:r>
            <a:r>
              <a:rPr lang="en-US" sz="800" dirty="0">
                <a:solidFill>
                  <a:schemeClr val="tx1"/>
                </a:solidFill>
                <a:latin typeface="SangBleu Sunrise" panose="020B0504000000000004" pitchFamily="34" charset="-52"/>
                <a:ea typeface="SangBleu Sunrise" panose="020B0504000000000004" pitchFamily="34" charset="-52"/>
              </a:rPr>
              <a:t> and </a:t>
            </a:r>
            <a:r>
              <a:rPr lang="en-US" sz="800" b="1" dirty="0">
                <a:solidFill>
                  <a:schemeClr val="tx1"/>
                </a:solidFill>
                <a:latin typeface="SangBleu Sunrise" panose="020B0504000000000004" pitchFamily="34" charset="-52"/>
                <a:ea typeface="SangBleu Sunrise" panose="020B0504000000000004" pitchFamily="34" charset="-52"/>
              </a:rPr>
              <a:t>liraglutide</a:t>
            </a:r>
            <a:r>
              <a:rPr lang="en-US" sz="800" dirty="0">
                <a:solidFill>
                  <a:schemeClr val="tx1"/>
                </a:solidFill>
                <a:latin typeface="SangBleu Sunrise" panose="020B0504000000000004" pitchFamily="34" charset="-52"/>
                <a:ea typeface="SangBleu Sunrise" panose="020B0504000000000004" pitchFamily="34" charset="-52"/>
              </a:rPr>
              <a:t>.</a:t>
            </a:r>
          </a:p>
        </p:txBody>
      </p:sp>
      <p:sp>
        <p:nvSpPr>
          <p:cNvPr id="108" name="TextBox 107">
            <a:extLst>
              <a:ext uri="{FF2B5EF4-FFF2-40B4-BE49-F238E27FC236}">
                <a16:creationId xmlns:a16="http://schemas.microsoft.com/office/drawing/2014/main" id="{79A0649E-6EBA-426F-8359-D9EB96F05908}"/>
              </a:ext>
            </a:extLst>
          </p:cNvPr>
          <p:cNvSpPr txBox="1">
            <a:spLocks/>
          </p:cNvSpPr>
          <p:nvPr/>
        </p:nvSpPr>
        <p:spPr>
          <a:xfrm>
            <a:off x="1051734" y="5847607"/>
            <a:ext cx="1630468" cy="1692771"/>
          </a:xfrm>
          <a:prstGeom prst="rect">
            <a:avLst/>
          </a:prstGeom>
          <a:noFill/>
        </p:spPr>
        <p:txBody>
          <a:bodyPr wrap="square">
            <a:noAutofit/>
          </a:bodyPr>
          <a:lstStyle/>
          <a:p>
            <a:r>
              <a:rPr lang="en-US" sz="800" b="1" dirty="0">
                <a:latin typeface="SangBleu Sunrise" panose="020B0504000000000004" pitchFamily="34" charset="-52"/>
                <a:ea typeface="SangBleu Sunrise" panose="020B0504000000000004" pitchFamily="34" charset="-52"/>
              </a:rPr>
              <a:t>Sibutramine-Based Drugs:</a:t>
            </a:r>
            <a:br>
              <a:rPr lang="en-US" sz="800" dirty="0">
                <a:latin typeface="SangBleu Sunrise" panose="020B0504000000000004" pitchFamily="34" charset="-52"/>
                <a:ea typeface="SangBleu Sunrise" panose="020B0504000000000004" pitchFamily="34" charset="-52"/>
              </a:rPr>
            </a:br>
            <a:r>
              <a:rPr lang="en-US" sz="800" i="1" dirty="0" err="1">
                <a:latin typeface="SangBleu Sunrise" panose="020B0504000000000004" pitchFamily="34" charset="-52"/>
                <a:ea typeface="SangBleu Sunrise" panose="020B0504000000000004" pitchFamily="34" charset="-52"/>
              </a:rPr>
              <a:t>Reduxin</a:t>
            </a:r>
            <a:r>
              <a:rPr lang="en-US" sz="800" dirty="0">
                <a:latin typeface="SangBleu Sunrise" panose="020B0504000000000004" pitchFamily="34" charset="-52"/>
                <a:ea typeface="SangBleu Sunrise" panose="020B0504000000000004" pitchFamily="34" charset="-52"/>
              </a:rPr>
              <a:t> is a weight-loss medication that contains the active ingredient sibutramine.</a:t>
            </a:r>
            <a:br>
              <a:rPr lang="en-US" sz="800" dirty="0">
                <a:latin typeface="SangBleu Sunrise" panose="020B0504000000000004" pitchFamily="34" charset="-52"/>
                <a:ea typeface="SangBleu Sunrise" panose="020B0504000000000004" pitchFamily="34" charset="-52"/>
              </a:rPr>
            </a:br>
            <a:r>
              <a:rPr lang="en-US" sz="800" dirty="0">
                <a:latin typeface="SangBleu Sunrise" panose="020B0504000000000004" pitchFamily="34" charset="-52"/>
                <a:ea typeface="SangBleu Sunrise" panose="020B0504000000000004" pitchFamily="34" charset="-52"/>
              </a:rPr>
              <a:t>In the first half of 2023, sales of weight management drugs increased by 20.3% year-over-year in volume, reaching 1.5 million packages. In value terms, sales rose by 15.5%, totaling ₽4.2 billion.</a:t>
            </a:r>
          </a:p>
        </p:txBody>
      </p:sp>
      <p:sp>
        <p:nvSpPr>
          <p:cNvPr id="110" name="TextBox 109">
            <a:extLst>
              <a:ext uri="{FF2B5EF4-FFF2-40B4-BE49-F238E27FC236}">
                <a16:creationId xmlns:a16="http://schemas.microsoft.com/office/drawing/2014/main" id="{46CB7D83-EBC5-4C80-AA00-C5D448775A1D}"/>
              </a:ext>
            </a:extLst>
          </p:cNvPr>
          <p:cNvSpPr txBox="1">
            <a:spLocks/>
          </p:cNvSpPr>
          <p:nvPr/>
        </p:nvSpPr>
        <p:spPr>
          <a:xfrm>
            <a:off x="2789085" y="5847607"/>
            <a:ext cx="1630468" cy="1692771"/>
          </a:xfrm>
          <a:prstGeom prst="rect">
            <a:avLst/>
          </a:prstGeom>
          <a:noFill/>
        </p:spPr>
        <p:txBody>
          <a:bodyPr wrap="square">
            <a:noAutofit/>
          </a:bodyPr>
          <a:lstStyle/>
          <a:p>
            <a:r>
              <a:rPr lang="en-US" sz="800" b="1" dirty="0" err="1">
                <a:latin typeface="SangBleu Sunrise" panose="020B0504000000000004" pitchFamily="34" charset="-52"/>
                <a:ea typeface="SangBleu Sunrise" panose="020B0504000000000004" pitchFamily="34" charset="-52"/>
              </a:rPr>
              <a:t>Semaglutide</a:t>
            </a:r>
            <a:r>
              <a:rPr lang="en-US" sz="800" b="1" dirty="0">
                <a:latin typeface="SangBleu Sunrise" panose="020B0504000000000004" pitchFamily="34" charset="-52"/>
                <a:ea typeface="SangBleu Sunrise" panose="020B0504000000000004" pitchFamily="34" charset="-52"/>
              </a:rPr>
              <a:t>-Based Drugs:</a:t>
            </a:r>
          </a:p>
          <a:p>
            <a:r>
              <a:rPr lang="en-US" sz="800" dirty="0">
                <a:latin typeface="SangBleu Sunrise" panose="020B0504000000000004" pitchFamily="34" charset="-52"/>
                <a:ea typeface="SangBleu Sunrise" panose="020B0504000000000004" pitchFamily="34" charset="-52"/>
              </a:rPr>
              <a:t>PROMOMED produces two </a:t>
            </a:r>
            <a:r>
              <a:rPr lang="en-US" sz="800" dirty="0" err="1">
                <a:latin typeface="SangBleu Sunrise" panose="020B0504000000000004" pitchFamily="34" charset="-52"/>
                <a:ea typeface="SangBleu Sunrise" panose="020B0504000000000004" pitchFamily="34" charset="-52"/>
              </a:rPr>
              <a:t>semaglutide</a:t>
            </a:r>
            <a:r>
              <a:rPr lang="en-US" sz="800" dirty="0">
                <a:latin typeface="SangBleu Sunrise" panose="020B0504000000000004" pitchFamily="34" charset="-52"/>
                <a:ea typeface="SangBleu Sunrise" panose="020B0504000000000004" pitchFamily="34" charset="-52"/>
              </a:rPr>
              <a:t>-based medications — </a:t>
            </a:r>
            <a:r>
              <a:rPr lang="en-US" sz="800" dirty="0" err="1">
                <a:latin typeface="SangBleu Sunrise" panose="020B0504000000000004" pitchFamily="34" charset="-52"/>
                <a:ea typeface="SangBleu Sunrise" panose="020B0504000000000004" pitchFamily="34" charset="-52"/>
              </a:rPr>
              <a:t>Quinsenta</a:t>
            </a:r>
            <a:r>
              <a:rPr lang="en-US" sz="800" dirty="0">
                <a:latin typeface="SangBleu Sunrise" panose="020B0504000000000004" pitchFamily="34" charset="-52"/>
                <a:ea typeface="SangBleu Sunrise" panose="020B0504000000000004" pitchFamily="34" charset="-52"/>
              </a:rPr>
              <a:t> and </a:t>
            </a:r>
            <a:r>
              <a:rPr lang="en-US" sz="800" dirty="0" err="1">
                <a:latin typeface="SangBleu Sunrise" panose="020B0504000000000004" pitchFamily="34" charset="-52"/>
                <a:ea typeface="SangBleu Sunrise" panose="020B0504000000000004" pitchFamily="34" charset="-52"/>
              </a:rPr>
              <a:t>Velgia</a:t>
            </a:r>
            <a:r>
              <a:rPr lang="en-US" sz="800" dirty="0">
                <a:latin typeface="SangBleu Sunrise" panose="020B0504000000000004" pitchFamily="34" charset="-52"/>
                <a:ea typeface="SangBleu Sunrise" panose="020B0504000000000004" pitchFamily="34" charset="-52"/>
              </a:rPr>
              <a:t>.</a:t>
            </a:r>
          </a:p>
          <a:p>
            <a:r>
              <a:rPr lang="en-US" sz="800" dirty="0">
                <a:latin typeface="SangBleu Sunrise" panose="020B0504000000000004" pitchFamily="34" charset="-52"/>
                <a:ea typeface="SangBleu Sunrise" panose="020B0504000000000004" pitchFamily="34" charset="-52"/>
              </a:rPr>
              <a:t>In 2023, the company held a 30% share of the Russian market for type 2 diabetes treatments. In 2024, revenue from </a:t>
            </a:r>
            <a:r>
              <a:rPr lang="en-US" sz="800" dirty="0" err="1">
                <a:latin typeface="SangBleu Sunrise" panose="020B0504000000000004" pitchFamily="34" charset="-52"/>
                <a:ea typeface="SangBleu Sunrise" panose="020B0504000000000004" pitchFamily="34" charset="-52"/>
              </a:rPr>
              <a:t>Quinsenta</a:t>
            </a:r>
            <a:r>
              <a:rPr lang="en-US" sz="800" dirty="0">
                <a:latin typeface="SangBleu Sunrise" panose="020B0504000000000004" pitchFamily="34" charset="-52"/>
                <a:ea typeface="SangBleu Sunrise" panose="020B0504000000000004" pitchFamily="34" charset="-52"/>
              </a:rPr>
              <a:t> reached ₽2.85 billion, accounting for 13% of PROMOMED’s total revenue for the year.</a:t>
            </a:r>
          </a:p>
        </p:txBody>
      </p:sp>
      <p:sp>
        <p:nvSpPr>
          <p:cNvPr id="112" name="TextBox 111">
            <a:extLst>
              <a:ext uri="{FF2B5EF4-FFF2-40B4-BE49-F238E27FC236}">
                <a16:creationId xmlns:a16="http://schemas.microsoft.com/office/drawing/2014/main" id="{BF51ACE4-CB46-4962-B5A6-E8C767273077}"/>
              </a:ext>
            </a:extLst>
          </p:cNvPr>
          <p:cNvSpPr txBox="1">
            <a:spLocks/>
          </p:cNvSpPr>
          <p:nvPr/>
        </p:nvSpPr>
        <p:spPr>
          <a:xfrm>
            <a:off x="4620736" y="5847607"/>
            <a:ext cx="1630468" cy="954107"/>
          </a:xfrm>
          <a:prstGeom prst="rect">
            <a:avLst/>
          </a:prstGeom>
          <a:noFill/>
        </p:spPr>
        <p:txBody>
          <a:bodyPr wrap="square">
            <a:noAutofit/>
          </a:bodyPr>
          <a:lstStyle/>
          <a:p>
            <a:r>
              <a:rPr lang="en-US" sz="800" b="1" dirty="0">
                <a:latin typeface="SangBleu Sunrise" panose="020B0504000000000004" pitchFamily="34" charset="-52"/>
                <a:ea typeface="SangBleu Sunrise" panose="020B0504000000000004" pitchFamily="34" charset="-52"/>
              </a:rPr>
              <a:t>Liraglutide-Based Drugs:</a:t>
            </a:r>
            <a:br>
              <a:rPr lang="en-US" sz="800" dirty="0">
                <a:latin typeface="SangBleu Sunrise" panose="020B0504000000000004" pitchFamily="34" charset="-52"/>
                <a:ea typeface="SangBleu Sunrise" panose="020B0504000000000004" pitchFamily="34" charset="-52"/>
              </a:rPr>
            </a:br>
            <a:r>
              <a:rPr lang="en-US" sz="800" dirty="0">
                <a:latin typeface="SangBleu Sunrise" panose="020B0504000000000004" pitchFamily="34" charset="-52"/>
                <a:ea typeface="SangBleu Sunrise" panose="020B0504000000000004" pitchFamily="34" charset="-52"/>
              </a:rPr>
              <a:t>PROMOMED’s liraglutide-based medication, </a:t>
            </a:r>
            <a:r>
              <a:rPr lang="en-US" sz="800" i="1" dirty="0" err="1">
                <a:latin typeface="SangBleu Sunrise" panose="020B0504000000000004" pitchFamily="34" charset="-52"/>
                <a:ea typeface="SangBleu Sunrise" panose="020B0504000000000004" pitchFamily="34" charset="-52"/>
              </a:rPr>
              <a:t>Enligria</a:t>
            </a:r>
            <a:r>
              <a:rPr lang="en-US" sz="800" dirty="0">
                <a:latin typeface="SangBleu Sunrise" panose="020B0504000000000004" pitchFamily="34" charset="-52"/>
                <a:ea typeface="SangBleu Sunrise" panose="020B0504000000000004" pitchFamily="34" charset="-52"/>
              </a:rPr>
              <a:t>, held a 54% share of its respective market. In 2023, revenue from this product totaled ₽509 million.</a:t>
            </a:r>
          </a:p>
        </p:txBody>
      </p:sp>
      <p:graphicFrame>
        <p:nvGraphicFramePr>
          <p:cNvPr id="144" name="Chart 143">
            <a:extLst>
              <a:ext uri="{FF2B5EF4-FFF2-40B4-BE49-F238E27FC236}">
                <a16:creationId xmlns:a16="http://schemas.microsoft.com/office/drawing/2014/main" id="{884BBED2-799E-4D47-A447-0E86B0EB6995}"/>
              </a:ext>
            </a:extLst>
          </p:cNvPr>
          <p:cNvGraphicFramePr/>
          <p:nvPr>
            <p:custDataLst>
              <p:tags r:id="rId18"/>
            </p:custDataLst>
            <p:extLst>
              <p:ext uri="{D42A27DB-BD31-4B8C-83A1-F6EECF244321}">
                <p14:modId xmlns:p14="http://schemas.microsoft.com/office/powerpoint/2010/main" val="3578094228"/>
              </p:ext>
            </p:extLst>
          </p:nvPr>
        </p:nvGraphicFramePr>
        <p:xfrm>
          <a:off x="3154363" y="2606675"/>
          <a:ext cx="2711450" cy="2360613"/>
        </p:xfrm>
        <a:graphic>
          <a:graphicData uri="http://schemas.openxmlformats.org/drawingml/2006/chart">
            <c:chart xmlns:c="http://schemas.openxmlformats.org/drawingml/2006/chart" xmlns:r="http://schemas.openxmlformats.org/officeDocument/2006/relationships" r:id="rId85"/>
          </a:graphicData>
        </a:graphic>
      </p:graphicFrame>
      <p:cxnSp>
        <p:nvCxnSpPr>
          <p:cNvPr id="318" name="Straight Connector 317">
            <a:extLst>
              <a:ext uri="{FF2B5EF4-FFF2-40B4-BE49-F238E27FC236}">
                <a16:creationId xmlns:a16="http://schemas.microsoft.com/office/drawing/2014/main" id="{D7A7BE93-CC1B-4798-A351-9E85615256FF}"/>
              </a:ext>
            </a:extLst>
          </p:cNvPr>
          <p:cNvCxnSpPr/>
          <p:nvPr>
            <p:custDataLst>
              <p:tags r:id="rId19"/>
            </p:custDataLst>
          </p:nvPr>
        </p:nvCxnSpPr>
        <p:spPr bwMode="auto">
          <a:xfrm>
            <a:off x="3278188" y="4695825"/>
            <a:ext cx="0" cy="90488"/>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93964256-0191-404A-8B42-BD95949597F1}"/>
              </a:ext>
            </a:extLst>
          </p:cNvPr>
          <p:cNvCxnSpPr/>
          <p:nvPr>
            <p:custDataLst>
              <p:tags r:id="rId20"/>
            </p:custDataLst>
          </p:nvPr>
        </p:nvCxnSpPr>
        <p:spPr bwMode="auto">
          <a:xfrm>
            <a:off x="3241675" y="4786313"/>
            <a:ext cx="365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1079B33B-7293-4D4E-A6B5-A47E23F12CF8}"/>
              </a:ext>
            </a:extLst>
          </p:cNvPr>
          <p:cNvCxnSpPr/>
          <p:nvPr>
            <p:custDataLst>
              <p:tags r:id="rId21"/>
            </p:custDataLst>
          </p:nvPr>
        </p:nvCxnSpPr>
        <p:spPr bwMode="auto">
          <a:xfrm>
            <a:off x="3248025" y="4695825"/>
            <a:ext cx="301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F55E152B-CA78-44CF-80F5-7A9B6983F0B7}"/>
              </a:ext>
            </a:extLst>
          </p:cNvPr>
          <p:cNvCxnSpPr/>
          <p:nvPr>
            <p:custDataLst>
              <p:tags r:id="rId22"/>
            </p:custDataLst>
          </p:nvPr>
        </p:nvCxnSpPr>
        <p:spPr bwMode="auto">
          <a:xfrm>
            <a:off x="3241675" y="4695825"/>
            <a:ext cx="63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3B62959C-3790-40F2-B09F-994EAB9DE75C}"/>
              </a:ext>
            </a:extLst>
          </p:cNvPr>
          <p:cNvCxnSpPr/>
          <p:nvPr>
            <p:custDataLst>
              <p:tags r:id="rId23"/>
            </p:custDataLst>
          </p:nvPr>
        </p:nvCxnSpPr>
        <p:spPr bwMode="auto">
          <a:xfrm>
            <a:off x="3241675" y="4603750"/>
            <a:ext cx="63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4EB49B96-7677-41FB-89FF-9121B13BFA87}"/>
              </a:ext>
            </a:extLst>
          </p:cNvPr>
          <p:cNvCxnSpPr/>
          <p:nvPr>
            <p:custDataLst>
              <p:tags r:id="rId24"/>
            </p:custDataLst>
          </p:nvPr>
        </p:nvCxnSpPr>
        <p:spPr bwMode="auto">
          <a:xfrm>
            <a:off x="3248025" y="4603750"/>
            <a:ext cx="0" cy="92075"/>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DA3F607A-537A-4D0F-B01D-8DD2022A33B1}"/>
              </a:ext>
            </a:extLst>
          </p:cNvPr>
          <p:cNvCxnSpPr/>
          <p:nvPr>
            <p:custDataLst>
              <p:tags r:id="rId25"/>
            </p:custDataLst>
          </p:nvPr>
        </p:nvCxnSpPr>
        <p:spPr bwMode="auto">
          <a:xfrm>
            <a:off x="3241675" y="4441825"/>
            <a:ext cx="317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71B9308A-D158-4AC1-93FF-8CF0815500A8}"/>
              </a:ext>
            </a:extLst>
          </p:cNvPr>
          <p:cNvCxnSpPr/>
          <p:nvPr>
            <p:custDataLst>
              <p:tags r:id="rId26"/>
            </p:custDataLst>
          </p:nvPr>
        </p:nvCxnSpPr>
        <p:spPr bwMode="auto">
          <a:xfrm>
            <a:off x="3255963" y="4349750"/>
            <a:ext cx="174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2BCA53BA-6FC1-47B1-AF7F-1EC8ED6C92DB}"/>
              </a:ext>
            </a:extLst>
          </p:cNvPr>
          <p:cNvCxnSpPr/>
          <p:nvPr>
            <p:custDataLst>
              <p:tags r:id="rId27"/>
            </p:custDataLst>
          </p:nvPr>
        </p:nvCxnSpPr>
        <p:spPr bwMode="auto">
          <a:xfrm>
            <a:off x="3273425" y="4349750"/>
            <a:ext cx="0" cy="92075"/>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2D6A258A-5C40-4EC7-9782-111F94EA0C21}"/>
              </a:ext>
            </a:extLst>
          </p:cNvPr>
          <p:cNvCxnSpPr/>
          <p:nvPr>
            <p:custDataLst>
              <p:tags r:id="rId28"/>
            </p:custDataLst>
          </p:nvPr>
        </p:nvCxnSpPr>
        <p:spPr bwMode="auto">
          <a:xfrm>
            <a:off x="3241675" y="4259263"/>
            <a:ext cx="142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3C078EDA-E2B0-486A-A773-A3DEF3E15CAC}"/>
              </a:ext>
            </a:extLst>
          </p:cNvPr>
          <p:cNvCxnSpPr/>
          <p:nvPr>
            <p:custDataLst>
              <p:tags r:id="rId29"/>
            </p:custDataLst>
          </p:nvPr>
        </p:nvCxnSpPr>
        <p:spPr bwMode="auto">
          <a:xfrm>
            <a:off x="3241675" y="4349750"/>
            <a:ext cx="142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051256F2-BDBC-4E69-8966-C0D559CB95C8}"/>
              </a:ext>
            </a:extLst>
          </p:cNvPr>
          <p:cNvCxnSpPr/>
          <p:nvPr>
            <p:custDataLst>
              <p:tags r:id="rId30"/>
            </p:custDataLst>
          </p:nvPr>
        </p:nvCxnSpPr>
        <p:spPr bwMode="auto">
          <a:xfrm>
            <a:off x="3255963" y="4259263"/>
            <a:ext cx="0" cy="90488"/>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E343A131-0883-40CB-B9A8-A70DBBEC0AD3}"/>
              </a:ext>
            </a:extLst>
          </p:cNvPr>
          <p:cNvCxnSpPr/>
          <p:nvPr>
            <p:custDataLst>
              <p:tags r:id="rId31"/>
            </p:custDataLst>
          </p:nvPr>
        </p:nvCxnSpPr>
        <p:spPr bwMode="auto">
          <a:xfrm>
            <a:off x="3241675" y="4095750"/>
            <a:ext cx="190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C4CA15C6-D7F9-4E2D-971D-0C5979244B27}"/>
              </a:ext>
            </a:extLst>
          </p:cNvPr>
          <p:cNvCxnSpPr/>
          <p:nvPr>
            <p:custDataLst>
              <p:tags r:id="rId32"/>
            </p:custDataLst>
          </p:nvPr>
        </p:nvCxnSpPr>
        <p:spPr bwMode="auto">
          <a:xfrm>
            <a:off x="3260725" y="4005263"/>
            <a:ext cx="0" cy="90488"/>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35F4C89B-ACB5-4FBB-9A55-9583400DD568}"/>
              </a:ext>
            </a:extLst>
          </p:cNvPr>
          <p:cNvCxnSpPr/>
          <p:nvPr>
            <p:custDataLst>
              <p:tags r:id="rId33"/>
            </p:custDataLst>
          </p:nvPr>
        </p:nvCxnSpPr>
        <p:spPr bwMode="auto">
          <a:xfrm>
            <a:off x="3513138" y="3913188"/>
            <a:ext cx="0" cy="92075"/>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08D77CE3-2366-4295-8144-C5D2C823F8B1}"/>
              </a:ext>
            </a:extLst>
          </p:cNvPr>
          <p:cNvCxnSpPr/>
          <p:nvPr>
            <p:custDataLst>
              <p:tags r:id="rId34"/>
            </p:custDataLst>
          </p:nvPr>
        </p:nvCxnSpPr>
        <p:spPr bwMode="auto">
          <a:xfrm>
            <a:off x="3241675" y="4005263"/>
            <a:ext cx="2714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8D729166-6541-4F80-93A8-950FBFA3EF89}"/>
              </a:ext>
            </a:extLst>
          </p:cNvPr>
          <p:cNvCxnSpPr/>
          <p:nvPr>
            <p:custDataLst>
              <p:tags r:id="rId35"/>
            </p:custDataLst>
          </p:nvPr>
        </p:nvCxnSpPr>
        <p:spPr bwMode="auto">
          <a:xfrm>
            <a:off x="3241675" y="3913188"/>
            <a:ext cx="3968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1AE81A0A-D96D-4337-8807-B3CF67133877}"/>
              </a:ext>
            </a:extLst>
          </p:cNvPr>
          <p:cNvCxnSpPr/>
          <p:nvPr>
            <p:custDataLst>
              <p:tags r:id="rId36"/>
            </p:custDataLst>
          </p:nvPr>
        </p:nvCxnSpPr>
        <p:spPr bwMode="auto">
          <a:xfrm>
            <a:off x="3241675" y="3822700"/>
            <a:ext cx="3968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A75B9567-4E4B-4BC0-B47B-B96FEEF7668B}"/>
              </a:ext>
            </a:extLst>
          </p:cNvPr>
          <p:cNvCxnSpPr/>
          <p:nvPr>
            <p:custDataLst>
              <p:tags r:id="rId37"/>
            </p:custDataLst>
          </p:nvPr>
        </p:nvCxnSpPr>
        <p:spPr bwMode="auto">
          <a:xfrm>
            <a:off x="3638550" y="3822700"/>
            <a:ext cx="0" cy="90488"/>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F30A3F5-D9D9-4637-8FA6-05ED7161FFCB}"/>
              </a:ext>
            </a:extLst>
          </p:cNvPr>
          <p:cNvCxnSpPr/>
          <p:nvPr>
            <p:custDataLst>
              <p:tags r:id="rId38"/>
            </p:custDataLst>
          </p:nvPr>
        </p:nvCxnSpPr>
        <p:spPr bwMode="auto">
          <a:xfrm>
            <a:off x="3360738" y="3568700"/>
            <a:ext cx="0" cy="90488"/>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B01CE4B2-ECA0-4D8F-80AF-6C73A7034318}"/>
              </a:ext>
            </a:extLst>
          </p:cNvPr>
          <p:cNvCxnSpPr/>
          <p:nvPr>
            <p:custDataLst>
              <p:tags r:id="rId39"/>
            </p:custDataLst>
          </p:nvPr>
        </p:nvCxnSpPr>
        <p:spPr bwMode="auto">
          <a:xfrm>
            <a:off x="3241675" y="3659188"/>
            <a:ext cx="1190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F5DB3B44-4FA7-4869-A6BA-AC1149BF5AA0}"/>
              </a:ext>
            </a:extLst>
          </p:cNvPr>
          <p:cNvCxnSpPr/>
          <p:nvPr>
            <p:custDataLst>
              <p:tags r:id="rId40"/>
            </p:custDataLst>
          </p:nvPr>
        </p:nvCxnSpPr>
        <p:spPr bwMode="auto">
          <a:xfrm>
            <a:off x="3241675" y="3568700"/>
            <a:ext cx="6540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D8CB62F2-1DEF-4D87-9923-11CBEF2281AA}"/>
              </a:ext>
            </a:extLst>
          </p:cNvPr>
          <p:cNvCxnSpPr/>
          <p:nvPr>
            <p:custDataLst>
              <p:tags r:id="rId41"/>
            </p:custDataLst>
          </p:nvPr>
        </p:nvCxnSpPr>
        <p:spPr bwMode="auto">
          <a:xfrm>
            <a:off x="3895725" y="3476625"/>
            <a:ext cx="0" cy="92075"/>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B24DA842-6E7C-4CDD-BD17-EAC8EA50791A}"/>
              </a:ext>
            </a:extLst>
          </p:cNvPr>
          <p:cNvCxnSpPr/>
          <p:nvPr>
            <p:custDataLst>
              <p:tags r:id="rId42"/>
            </p:custDataLst>
          </p:nvPr>
        </p:nvCxnSpPr>
        <p:spPr bwMode="auto">
          <a:xfrm>
            <a:off x="3241675" y="3476625"/>
            <a:ext cx="6540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94EC9826-7E96-4718-B8F3-2E43E2463FE1}"/>
              </a:ext>
            </a:extLst>
          </p:cNvPr>
          <p:cNvCxnSpPr/>
          <p:nvPr>
            <p:custDataLst>
              <p:tags r:id="rId43"/>
            </p:custDataLst>
          </p:nvPr>
        </p:nvCxnSpPr>
        <p:spPr bwMode="auto">
          <a:xfrm>
            <a:off x="3417888" y="3314700"/>
            <a:ext cx="0" cy="90488"/>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141B8B57-AA62-4303-9923-FD641C4CEC83}"/>
              </a:ext>
            </a:extLst>
          </p:cNvPr>
          <p:cNvCxnSpPr/>
          <p:nvPr>
            <p:custDataLst>
              <p:tags r:id="rId44"/>
            </p:custDataLst>
          </p:nvPr>
        </p:nvCxnSpPr>
        <p:spPr bwMode="auto">
          <a:xfrm>
            <a:off x="3241675" y="3405188"/>
            <a:ext cx="1762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8006DB95-19BB-41A6-8A49-0DA9CDE1FC6B}"/>
              </a:ext>
            </a:extLst>
          </p:cNvPr>
          <p:cNvCxnSpPr/>
          <p:nvPr>
            <p:custDataLst>
              <p:tags r:id="rId45"/>
            </p:custDataLst>
          </p:nvPr>
        </p:nvCxnSpPr>
        <p:spPr bwMode="auto">
          <a:xfrm>
            <a:off x="4318000" y="3222625"/>
            <a:ext cx="0" cy="92075"/>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41637628-79FA-4DFC-B68A-5F8EF2D5165F}"/>
              </a:ext>
            </a:extLst>
          </p:cNvPr>
          <p:cNvCxnSpPr/>
          <p:nvPr>
            <p:custDataLst>
              <p:tags r:id="rId46"/>
            </p:custDataLst>
          </p:nvPr>
        </p:nvCxnSpPr>
        <p:spPr bwMode="auto">
          <a:xfrm>
            <a:off x="3241675" y="3314700"/>
            <a:ext cx="107632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262D9D8C-3396-4DEC-B787-D6ACED7B92CD}"/>
              </a:ext>
            </a:extLst>
          </p:cNvPr>
          <p:cNvCxnSpPr/>
          <p:nvPr>
            <p:custDataLst>
              <p:tags r:id="rId47"/>
            </p:custDataLst>
          </p:nvPr>
        </p:nvCxnSpPr>
        <p:spPr bwMode="auto">
          <a:xfrm>
            <a:off x="3248025" y="3222625"/>
            <a:ext cx="10699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A2BBE7A2-F991-465A-894D-28F7D4F22A0C}"/>
              </a:ext>
            </a:extLst>
          </p:cNvPr>
          <p:cNvCxnSpPr/>
          <p:nvPr>
            <p:custDataLst>
              <p:tags r:id="rId48"/>
            </p:custDataLst>
          </p:nvPr>
        </p:nvCxnSpPr>
        <p:spPr bwMode="auto">
          <a:xfrm>
            <a:off x="3248025" y="3132138"/>
            <a:ext cx="0" cy="90488"/>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5EAD2B43-3071-4B12-BE0E-C680FF94E35E}"/>
              </a:ext>
            </a:extLst>
          </p:cNvPr>
          <p:cNvCxnSpPr/>
          <p:nvPr>
            <p:custDataLst>
              <p:tags r:id="rId49"/>
            </p:custDataLst>
          </p:nvPr>
        </p:nvCxnSpPr>
        <p:spPr bwMode="auto">
          <a:xfrm>
            <a:off x="3241675" y="3132138"/>
            <a:ext cx="63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6ED844D7-17AF-41FD-9151-0E9B3D68E125}"/>
              </a:ext>
            </a:extLst>
          </p:cNvPr>
          <p:cNvCxnSpPr/>
          <p:nvPr>
            <p:custDataLst>
              <p:tags r:id="rId50"/>
            </p:custDataLst>
          </p:nvPr>
        </p:nvCxnSpPr>
        <p:spPr bwMode="auto">
          <a:xfrm>
            <a:off x="3241675" y="3222625"/>
            <a:ext cx="63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3B18F8EB-8132-4854-8915-FCF7B1EE0A09}"/>
              </a:ext>
            </a:extLst>
          </p:cNvPr>
          <p:cNvCxnSpPr/>
          <p:nvPr>
            <p:custDataLst>
              <p:tags r:id="rId51"/>
            </p:custDataLst>
          </p:nvPr>
        </p:nvCxnSpPr>
        <p:spPr bwMode="auto">
          <a:xfrm>
            <a:off x="3241675" y="3060700"/>
            <a:ext cx="46196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3636A522-A016-479A-96FB-925CEF38C407}"/>
              </a:ext>
            </a:extLst>
          </p:cNvPr>
          <p:cNvCxnSpPr/>
          <p:nvPr>
            <p:custDataLst>
              <p:tags r:id="rId52"/>
            </p:custDataLst>
          </p:nvPr>
        </p:nvCxnSpPr>
        <p:spPr bwMode="auto">
          <a:xfrm>
            <a:off x="3703638" y="2968625"/>
            <a:ext cx="0" cy="92075"/>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02DD9AA8-B2AC-478E-8EAC-0D50904F8509}"/>
              </a:ext>
            </a:extLst>
          </p:cNvPr>
          <p:cNvCxnSpPr/>
          <p:nvPr>
            <p:custDataLst>
              <p:tags r:id="rId53"/>
            </p:custDataLst>
          </p:nvPr>
        </p:nvCxnSpPr>
        <p:spPr bwMode="auto">
          <a:xfrm>
            <a:off x="5783263" y="2878138"/>
            <a:ext cx="0" cy="90488"/>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0DBC8393-36A8-48B1-AF15-B4E8345F439F}"/>
              </a:ext>
            </a:extLst>
          </p:cNvPr>
          <p:cNvCxnSpPr/>
          <p:nvPr>
            <p:custDataLst>
              <p:tags r:id="rId54"/>
            </p:custDataLst>
          </p:nvPr>
        </p:nvCxnSpPr>
        <p:spPr bwMode="auto">
          <a:xfrm>
            <a:off x="3243263" y="2878138"/>
            <a:ext cx="254000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20F28D55-3C25-4160-A342-270F55E22F28}"/>
              </a:ext>
            </a:extLst>
          </p:cNvPr>
          <p:cNvCxnSpPr/>
          <p:nvPr>
            <p:custDataLst>
              <p:tags r:id="rId55"/>
            </p:custDataLst>
          </p:nvPr>
        </p:nvCxnSpPr>
        <p:spPr bwMode="auto">
          <a:xfrm>
            <a:off x="3241675" y="2968625"/>
            <a:ext cx="25415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ED72C43A-51A1-4F93-9395-7A8A7A65A252}"/>
              </a:ext>
            </a:extLst>
          </p:cNvPr>
          <p:cNvCxnSpPr/>
          <p:nvPr>
            <p:custDataLst>
              <p:tags r:id="rId56"/>
            </p:custDataLst>
          </p:nvPr>
        </p:nvCxnSpPr>
        <p:spPr bwMode="auto">
          <a:xfrm>
            <a:off x="3241675" y="2786063"/>
            <a:ext cx="15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4" name="Straight Connector 323">
            <a:extLst>
              <a:ext uri="{FF2B5EF4-FFF2-40B4-BE49-F238E27FC236}">
                <a16:creationId xmlns:a16="http://schemas.microsoft.com/office/drawing/2014/main" id="{6581B97E-1BFC-4D85-A87B-44B5165EA73E}"/>
              </a:ext>
            </a:extLst>
          </p:cNvPr>
          <p:cNvCxnSpPr/>
          <p:nvPr>
            <p:custDataLst>
              <p:tags r:id="rId57"/>
            </p:custDataLst>
          </p:nvPr>
        </p:nvCxnSpPr>
        <p:spPr bwMode="auto">
          <a:xfrm>
            <a:off x="3241675" y="2878138"/>
            <a:ext cx="15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CA9661C3-6E90-4ECD-8788-FAAEF3284007}"/>
              </a:ext>
            </a:extLst>
          </p:cNvPr>
          <p:cNvCxnSpPr/>
          <p:nvPr>
            <p:custDataLst>
              <p:tags r:id="rId58"/>
            </p:custDataLst>
          </p:nvPr>
        </p:nvCxnSpPr>
        <p:spPr bwMode="auto">
          <a:xfrm>
            <a:off x="3243263" y="2786063"/>
            <a:ext cx="0" cy="92075"/>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3" name="Text Placeholder 2">
            <a:extLst>
              <a:ext uri="{FF2B5EF4-FFF2-40B4-BE49-F238E27FC236}">
                <a16:creationId xmlns:a16="http://schemas.microsoft.com/office/drawing/2014/main" id="{0FD4FD49-8E62-46B3-A50A-A32A5050CD6B}"/>
              </a:ext>
            </a:extLst>
          </p:cNvPr>
          <p:cNvSpPr>
            <a:spLocks noGrp="1"/>
          </p:cNvSpPr>
          <p:nvPr>
            <p:custDataLst>
              <p:tags r:id="rId59"/>
            </p:custDataLst>
          </p:nvPr>
        </p:nvSpPr>
        <p:spPr bwMode="auto">
          <a:xfrm>
            <a:off x="2805113" y="2881313"/>
            <a:ext cx="3810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751D36FD-7409-45F1-AEDE-75442FC6CD31}" type="datetime'S''''em''''''''''''w''a''''''''''v''''ik'''''''''''''''">
              <a:rPr lang="en-US" altLang="en-US" sz="600" smtClean="0">
                <a:latin typeface="SangBleu Sunrise" panose="020B0504000000000004" pitchFamily="34" charset="-52"/>
                <a:ea typeface="SangBleu Sunrise" panose="020B0504000000000004" pitchFamily="34" charset="-52"/>
                <a:sym typeface="SangBleu Sunrise" panose="020B0504000000000004" pitchFamily="34" charset="-52"/>
              </a:rPr>
              <a:pPr/>
              <a:t>Semwavik</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31" name="Text Placeholder 2">
            <a:extLst>
              <a:ext uri="{FF2B5EF4-FFF2-40B4-BE49-F238E27FC236}">
                <a16:creationId xmlns:a16="http://schemas.microsoft.com/office/drawing/2014/main" id="{EA5EFB55-9EED-467C-8A92-3AD1F306B4DD}"/>
              </a:ext>
            </a:extLst>
          </p:cNvPr>
          <p:cNvSpPr>
            <a:spLocks noGrp="1"/>
          </p:cNvSpPr>
          <p:nvPr>
            <p:custDataLst>
              <p:tags r:id="rId60"/>
            </p:custDataLst>
          </p:nvPr>
        </p:nvSpPr>
        <p:spPr bwMode="auto">
          <a:xfrm>
            <a:off x="2846388" y="3917950"/>
            <a:ext cx="33972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B74FCBB9-76A2-4325-9954-FC0717174841}" type="datetime'''''''''''O''z''e''mp''''''''''''''''''i''''''''''''c'''">
              <a:rPr lang="en-US" altLang="en-US" sz="600" smtClean="0">
                <a:latin typeface="SangBleu Sunrise" panose="020B0504000000000004" pitchFamily="34" charset="-52"/>
                <a:ea typeface="SangBleu Sunrise" panose="020B0504000000000004" pitchFamily="34" charset="-52"/>
                <a:sym typeface="SangBleu Sunrise" panose="020B0504000000000004" pitchFamily="34" charset="-52"/>
              </a:rPr>
              <a:pPr/>
              <a:t>Ozempic</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30" name="Text Placeholder 2">
            <a:extLst>
              <a:ext uri="{FF2B5EF4-FFF2-40B4-BE49-F238E27FC236}">
                <a16:creationId xmlns:a16="http://schemas.microsoft.com/office/drawing/2014/main" id="{F3BF799D-10C2-4266-837B-DB229B965531}"/>
              </a:ext>
            </a:extLst>
          </p:cNvPr>
          <p:cNvSpPr>
            <a:spLocks noGrp="1"/>
          </p:cNvSpPr>
          <p:nvPr>
            <p:custDataLst>
              <p:tags r:id="rId61"/>
            </p:custDataLst>
          </p:nvPr>
        </p:nvSpPr>
        <p:spPr bwMode="auto">
          <a:xfrm>
            <a:off x="2800350" y="3227388"/>
            <a:ext cx="38576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C67CBD9E-0B9F-4D48-B2E6-A37641CD9C2B}" type="datetime'Q''''''''''''u''''''i''''''n''''''''s''ent''''''''a'''''''">
              <a:rPr lang="en-US" altLang="en-US" sz="600" smtClean="0">
                <a:latin typeface="SangBleu Sunrise" panose="020B0504000000000004" pitchFamily="34" charset="-52"/>
                <a:ea typeface="SangBleu Sunrise" panose="020B0504000000000004" pitchFamily="34" charset="-52"/>
                <a:sym typeface="SangBleu Sunrise" panose="020B0504000000000004" pitchFamily="34" charset="-52"/>
              </a:rPr>
              <a:pPr/>
              <a:t>Quinsenta</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32" name="Text Placeholder 2">
            <a:extLst>
              <a:ext uri="{FF2B5EF4-FFF2-40B4-BE49-F238E27FC236}">
                <a16:creationId xmlns:a16="http://schemas.microsoft.com/office/drawing/2014/main" id="{82FFD830-6294-4AB5-9ADB-DBA8CEA04A69}"/>
              </a:ext>
            </a:extLst>
          </p:cNvPr>
          <p:cNvSpPr>
            <a:spLocks noGrp="1"/>
          </p:cNvSpPr>
          <p:nvPr>
            <p:custDataLst>
              <p:tags r:id="rId62"/>
            </p:custDataLst>
          </p:nvPr>
        </p:nvSpPr>
        <p:spPr bwMode="auto">
          <a:xfrm>
            <a:off x="2854325" y="3571875"/>
            <a:ext cx="331788"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69970872-FDEA-46AC-A70E-A440BF44089F}" type="datetime'''''''''''''''''''R''''''''''''y''b''''''''''el''s''us'''">
              <a:rPr lang="en-US" altLang="en-US" sz="600" smtClean="0">
                <a:latin typeface="SangBleu Sunrise" panose="020B0504000000000004" pitchFamily="34" charset="-52"/>
                <a:ea typeface="SangBleu Sunrise" panose="020B0504000000000004" pitchFamily="34" charset="-52"/>
                <a:sym typeface="SangBleu Sunrise" panose="020B0504000000000004" pitchFamily="34" charset="-52"/>
              </a:rPr>
              <a:pPr/>
              <a:t>Rybelsus</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27" name="Text Placeholder 2">
            <a:extLst>
              <a:ext uri="{FF2B5EF4-FFF2-40B4-BE49-F238E27FC236}">
                <a16:creationId xmlns:a16="http://schemas.microsoft.com/office/drawing/2014/main" id="{24CA98D1-9807-408F-9A1A-D50E086DBE1D}"/>
              </a:ext>
            </a:extLst>
          </p:cNvPr>
          <p:cNvSpPr>
            <a:spLocks noGrp="1"/>
          </p:cNvSpPr>
          <p:nvPr>
            <p:custDataLst>
              <p:tags r:id="rId63"/>
            </p:custDataLst>
          </p:nvPr>
        </p:nvSpPr>
        <p:spPr bwMode="auto">
          <a:xfrm>
            <a:off x="2954338" y="4262438"/>
            <a:ext cx="23177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47111691-D18D-4601-8E3E-69DD7F76376F}" type="datetime'''V''e''''''''''l''''''''''''''''''g''i''''''''''''a'''''">
              <a:rPr lang="en-US" altLang="en-US" sz="600" smtClean="0">
                <a:latin typeface="SangBleu Sunrise" panose="020B0504000000000004" pitchFamily="34" charset="-52"/>
                <a:ea typeface="SangBleu Sunrise" panose="020B0504000000000004" pitchFamily="34" charset="-52"/>
                <a:sym typeface="SangBleu Sunrise" panose="020B0504000000000004" pitchFamily="34" charset="-52"/>
              </a:rPr>
              <a:pPr/>
              <a:t>Velgia</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29" name="Text Placeholder 2">
            <a:extLst>
              <a:ext uri="{FF2B5EF4-FFF2-40B4-BE49-F238E27FC236}">
                <a16:creationId xmlns:a16="http://schemas.microsoft.com/office/drawing/2014/main" id="{F17D7FAA-FFBB-44D2-ADC0-66DFD5F0183C}"/>
              </a:ext>
            </a:extLst>
          </p:cNvPr>
          <p:cNvSpPr>
            <a:spLocks noGrp="1"/>
          </p:cNvSpPr>
          <p:nvPr>
            <p:custDataLst>
              <p:tags r:id="rId64"/>
            </p:custDataLst>
          </p:nvPr>
        </p:nvSpPr>
        <p:spPr bwMode="auto">
          <a:xfrm>
            <a:off x="2878138" y="4608513"/>
            <a:ext cx="30797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BE026899-A9A3-4934-81CB-64BFCC951B74}" type="datetime'I''''''''''''''nsu''''''''''''''''''''''''''d''i''''ve'''''">
              <a:rPr lang="en-US" altLang="en-US" sz="600" smtClean="0">
                <a:latin typeface="SangBleu Sunrise" panose="020B0504000000000004" pitchFamily="34" charset="-52"/>
                <a:ea typeface="SangBleu Sunrise" panose="020B0504000000000004" pitchFamily="34" charset="-52"/>
                <a:sym typeface="SangBleu Sunrise" panose="020B0504000000000004" pitchFamily="34" charset="-52"/>
              </a:rPr>
              <a:pPr/>
              <a:t>Insudive</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81" name="Text Placeholder 2">
            <a:extLst>
              <a:ext uri="{FF2B5EF4-FFF2-40B4-BE49-F238E27FC236}">
                <a16:creationId xmlns:a16="http://schemas.microsoft.com/office/drawing/2014/main" id="{3657F39B-578E-4B5D-85E1-7BE47CC16D82}"/>
              </a:ext>
            </a:extLst>
          </p:cNvPr>
          <p:cNvSpPr>
            <a:spLocks noGrp="1"/>
          </p:cNvSpPr>
          <p:nvPr>
            <p:custDataLst>
              <p:tags r:id="rId65"/>
            </p:custDataLst>
          </p:nvPr>
        </p:nvSpPr>
        <p:spPr bwMode="gray">
          <a:xfrm>
            <a:off x="5808663" y="2881313"/>
            <a:ext cx="23336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5505A1DC-2B0C-4ABC-BBBB-41D07D4444A3}" type="datetime'''''''''6''''''''''''''''''''.''''''''7''''20'''''''">
              <a:rPr lang="ru-RU" altLang="en-US" sz="6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6.720</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82" name="Text Placeholder 2">
            <a:extLst>
              <a:ext uri="{FF2B5EF4-FFF2-40B4-BE49-F238E27FC236}">
                <a16:creationId xmlns:a16="http://schemas.microsoft.com/office/drawing/2014/main" id="{61637570-F3E9-405F-BF8F-9E16CAD0EB42}"/>
              </a:ext>
            </a:extLst>
          </p:cNvPr>
          <p:cNvSpPr>
            <a:spLocks noGrp="1"/>
          </p:cNvSpPr>
          <p:nvPr>
            <p:custDataLst>
              <p:tags r:id="rId66"/>
            </p:custDataLst>
          </p:nvPr>
        </p:nvSpPr>
        <p:spPr bwMode="gray">
          <a:xfrm>
            <a:off x="3729038" y="2973388"/>
            <a:ext cx="21431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A028B6A9-9D90-4147-9445-8DCDAD5E61F7}" type="datetime'''1''''''''''''''''''.''''''2''''''''3''''''0'''''''''''''''">
              <a:rPr lang="ru-RU" altLang="en-US" sz="6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230</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84" name="Text Placeholder 2">
            <a:extLst>
              <a:ext uri="{FF2B5EF4-FFF2-40B4-BE49-F238E27FC236}">
                <a16:creationId xmlns:a16="http://schemas.microsoft.com/office/drawing/2014/main" id="{6756B0C9-6364-4D53-A061-8467463784AC}"/>
              </a:ext>
            </a:extLst>
          </p:cNvPr>
          <p:cNvSpPr>
            <a:spLocks noGrp="1"/>
          </p:cNvSpPr>
          <p:nvPr>
            <p:custDataLst>
              <p:tags r:id="rId67"/>
            </p:custDataLst>
          </p:nvPr>
        </p:nvSpPr>
        <p:spPr bwMode="gray">
          <a:xfrm>
            <a:off x="3921125" y="3481388"/>
            <a:ext cx="20637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F4949E34-BF14-44CC-9D76-43B1375391B4}" type="datetime'''''''1''.''7''''''''''''''''''''3''''''''''8'''''''''''">
              <a:rPr lang="ru-RU" altLang="en-US" sz="6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738</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85" name="Text Placeholder 2">
            <a:extLst>
              <a:ext uri="{FF2B5EF4-FFF2-40B4-BE49-F238E27FC236}">
                <a16:creationId xmlns:a16="http://schemas.microsoft.com/office/drawing/2014/main" id="{BB85D2F1-6B24-4033-BB25-D356535E8FBB}"/>
              </a:ext>
            </a:extLst>
          </p:cNvPr>
          <p:cNvSpPr>
            <a:spLocks noGrp="1"/>
          </p:cNvSpPr>
          <p:nvPr>
            <p:custDataLst>
              <p:tags r:id="rId68"/>
            </p:custDataLst>
          </p:nvPr>
        </p:nvSpPr>
        <p:spPr bwMode="gray">
          <a:xfrm>
            <a:off x="3263900" y="3663950"/>
            <a:ext cx="6667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A67A4C3C-D961-49DF-BC8A-F7B75F833BFE}" type="datetime'5'''''''''''''''''''''''''''''''''''''''''''''''''">
              <a:rPr lang="ru-RU" altLang="en-US" sz="6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5</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86" name="Text Placeholder 2">
            <a:extLst>
              <a:ext uri="{FF2B5EF4-FFF2-40B4-BE49-F238E27FC236}">
                <a16:creationId xmlns:a16="http://schemas.microsoft.com/office/drawing/2014/main" id="{C2CF1121-3950-46A9-83EA-DCA47FA15AA5}"/>
              </a:ext>
            </a:extLst>
          </p:cNvPr>
          <p:cNvSpPr>
            <a:spLocks noGrp="1"/>
          </p:cNvSpPr>
          <p:nvPr>
            <p:custDataLst>
              <p:tags r:id="rId69"/>
            </p:custDataLst>
          </p:nvPr>
        </p:nvSpPr>
        <p:spPr bwMode="gray">
          <a:xfrm>
            <a:off x="3663950" y="3825875"/>
            <a:ext cx="200025"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189C52AE-6B17-4718-AD06-308FC99B4655}" type="datetime'''''1''''.''''''''''''0''''''''''6''''''''''1'''''">
              <a:rPr lang="ru-RU" altLang="en-US" sz="6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061</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87" name="Text Placeholder 2">
            <a:extLst>
              <a:ext uri="{FF2B5EF4-FFF2-40B4-BE49-F238E27FC236}">
                <a16:creationId xmlns:a16="http://schemas.microsoft.com/office/drawing/2014/main" id="{DAB316B2-D9ED-45AB-BE73-D57232635CAC}"/>
              </a:ext>
            </a:extLst>
          </p:cNvPr>
          <p:cNvSpPr>
            <a:spLocks noGrp="1"/>
          </p:cNvSpPr>
          <p:nvPr>
            <p:custDataLst>
              <p:tags r:id="rId70"/>
            </p:custDataLst>
          </p:nvPr>
        </p:nvSpPr>
        <p:spPr bwMode="gray">
          <a:xfrm>
            <a:off x="3262313" y="4171950"/>
            <a:ext cx="7461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58F434B3-961E-42B8-A620-9B421B2D6679}" type="datetime'''''''''''''''''''''''''''''''''''''''''''0'''''''''''''">
              <a:rPr lang="ru-RU" altLang="en-US" sz="6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0</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88" name="Text Placeholder 2">
            <a:extLst>
              <a:ext uri="{FF2B5EF4-FFF2-40B4-BE49-F238E27FC236}">
                <a16:creationId xmlns:a16="http://schemas.microsoft.com/office/drawing/2014/main" id="{3F394FF9-153A-414B-B1FB-C2217E82A134}"/>
              </a:ext>
            </a:extLst>
          </p:cNvPr>
          <p:cNvSpPr>
            <a:spLocks noGrp="1"/>
          </p:cNvSpPr>
          <p:nvPr>
            <p:custDataLst>
              <p:tags r:id="rId71"/>
            </p:custDataLst>
          </p:nvPr>
        </p:nvSpPr>
        <p:spPr bwMode="gray">
          <a:xfrm>
            <a:off x="3262313" y="4516438"/>
            <a:ext cx="74613"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8C9EE166-08A3-464C-B7F8-BF0CF30F5008}" type="datetime'''''0'''''''''''''''''''''''''''''''''''''">
              <a:rPr lang="ru-RU" altLang="en-US" sz="6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0</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83" name="Text Placeholder 2">
            <a:extLst>
              <a:ext uri="{FF2B5EF4-FFF2-40B4-BE49-F238E27FC236}">
                <a16:creationId xmlns:a16="http://schemas.microsoft.com/office/drawing/2014/main" id="{34B82F9D-A787-41A9-8223-144C0E079752}"/>
              </a:ext>
            </a:extLst>
          </p:cNvPr>
          <p:cNvSpPr>
            <a:spLocks noGrp="1"/>
          </p:cNvSpPr>
          <p:nvPr>
            <p:custDataLst>
              <p:tags r:id="rId72"/>
            </p:custDataLst>
          </p:nvPr>
        </p:nvSpPr>
        <p:spPr bwMode="gray">
          <a:xfrm>
            <a:off x="4343400" y="3227388"/>
            <a:ext cx="230188"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1113" tIns="0" rIns="111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98ED65F1-DC03-445D-8BF8-81B74F196449}" type="datetime'''''''''''''''''2''.''''''85''''''''''''''''''4'''">
              <a:rPr lang="ru-RU" altLang="en-US" sz="6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2.854</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79" name="Rectangle 78">
            <a:extLst>
              <a:ext uri="{FF2B5EF4-FFF2-40B4-BE49-F238E27FC236}">
                <a16:creationId xmlns:a16="http://schemas.microsoft.com/office/drawing/2014/main" id="{CAFA7157-A089-4502-ADD1-F94D8B45B030}"/>
              </a:ext>
            </a:extLst>
          </p:cNvPr>
          <p:cNvSpPr/>
          <p:nvPr>
            <p:custDataLst>
              <p:tags r:id="rId73"/>
            </p:custDataLst>
          </p:nvPr>
        </p:nvSpPr>
        <p:spPr bwMode="auto">
          <a:xfrm>
            <a:off x="4179888" y="4000500"/>
            <a:ext cx="107950" cy="80963"/>
          </a:xfrm>
          <a:prstGeom prst="rect">
            <a:avLst/>
          </a:prstGeom>
          <a:pattFill prst="pct10">
            <a:fgClr>
              <a:schemeClr val="tx1"/>
            </a:fgClr>
            <a:bgClr>
              <a:schemeClr val="bg1"/>
            </a:bgClr>
          </a:patt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6" name="Rectangle 55">
            <a:extLst>
              <a:ext uri="{FF2B5EF4-FFF2-40B4-BE49-F238E27FC236}">
                <a16:creationId xmlns:a16="http://schemas.microsoft.com/office/drawing/2014/main" id="{3DDFCD04-A49D-425E-8CE0-30BCD57403D3}"/>
              </a:ext>
            </a:extLst>
          </p:cNvPr>
          <p:cNvSpPr/>
          <p:nvPr>
            <p:custDataLst>
              <p:tags r:id="rId74"/>
            </p:custDataLst>
          </p:nvPr>
        </p:nvSpPr>
        <p:spPr bwMode="auto">
          <a:xfrm>
            <a:off x="4179888" y="4138613"/>
            <a:ext cx="107950" cy="80963"/>
          </a:xfrm>
          <a:prstGeom prst="rect">
            <a:avLst/>
          </a:prstGeom>
          <a:pattFill prst="pct50">
            <a:fgClr>
              <a:schemeClr val="tx1"/>
            </a:fgClr>
            <a:bgClr>
              <a:schemeClr val="bg1"/>
            </a:bgClr>
          </a:patt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7" name="Rectangle 56">
            <a:extLst>
              <a:ext uri="{FF2B5EF4-FFF2-40B4-BE49-F238E27FC236}">
                <a16:creationId xmlns:a16="http://schemas.microsoft.com/office/drawing/2014/main" id="{D074BBC7-9D10-4337-9AB8-DB6C4A065998}"/>
              </a:ext>
            </a:extLst>
          </p:cNvPr>
          <p:cNvSpPr/>
          <p:nvPr>
            <p:custDataLst>
              <p:tags r:id="rId75"/>
            </p:custDataLst>
          </p:nvPr>
        </p:nvSpPr>
        <p:spPr bwMode="auto">
          <a:xfrm>
            <a:off x="4179888" y="4276725"/>
            <a:ext cx="107950" cy="80963"/>
          </a:xfrm>
          <a:prstGeom prst="rect">
            <a:avLst/>
          </a:prstGeom>
          <a:pattFill prst="pct75">
            <a:fgClr>
              <a:schemeClr val="tx1"/>
            </a:fgClr>
            <a:bgClr>
              <a:schemeClr val="bg1"/>
            </a:bgClr>
          </a:pattFill>
          <a:ln w="6350" cap="flat" cmpd="sng" algn="ctr">
            <a:solidFill>
              <a:schemeClr val="tx1"/>
            </a:solidFill>
            <a:prstDash val="dash"/>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6" name="Text Placeholder 2">
            <a:extLst>
              <a:ext uri="{FF2B5EF4-FFF2-40B4-BE49-F238E27FC236}">
                <a16:creationId xmlns:a16="http://schemas.microsoft.com/office/drawing/2014/main" id="{C71A259E-ACFC-48D6-8177-92C5FD7DAEC1}"/>
              </a:ext>
            </a:extLst>
          </p:cNvPr>
          <p:cNvSpPr>
            <a:spLocks noGrp="1"/>
          </p:cNvSpPr>
          <p:nvPr>
            <p:custDataLst>
              <p:tags r:id="rId76"/>
            </p:custDataLst>
          </p:nvPr>
        </p:nvSpPr>
        <p:spPr bwMode="auto">
          <a:xfrm>
            <a:off x="4338638" y="4005263"/>
            <a:ext cx="19050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6C5E0DB3-216A-47F5-A6C2-29467A400449}" type="datetime'''''20''2''''''''3'''''''''''''''''''''''''''''">
              <a:rPr lang="ru-RU" altLang="en-US" sz="600" smtClean="0">
                <a:latin typeface="SangBleu Sunrise" panose="020B0504000000000004" pitchFamily="34" charset="-52"/>
                <a:ea typeface="SangBleu Sunrise" panose="020B0504000000000004" pitchFamily="34" charset="-52"/>
              </a:rPr>
              <a:pPr/>
              <a:t>2023</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35" name="Text Placeholder 2">
            <a:extLst>
              <a:ext uri="{FF2B5EF4-FFF2-40B4-BE49-F238E27FC236}">
                <a16:creationId xmlns:a16="http://schemas.microsoft.com/office/drawing/2014/main" id="{9EFEF2FA-3332-47A3-A1E9-560EB1ACEE8E}"/>
              </a:ext>
            </a:extLst>
          </p:cNvPr>
          <p:cNvSpPr>
            <a:spLocks noGrp="1"/>
          </p:cNvSpPr>
          <p:nvPr>
            <p:custDataLst>
              <p:tags r:id="rId77"/>
            </p:custDataLst>
          </p:nvPr>
        </p:nvSpPr>
        <p:spPr bwMode="auto">
          <a:xfrm>
            <a:off x="4338638" y="4143375"/>
            <a:ext cx="196850"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93512818-CA11-4E42-A27E-54062AC6EF19}" type="datetime'''''''''''2''''''''''0''''2''''''''''''''''''''''''''4'">
              <a:rPr lang="ru-RU" altLang="en-US" sz="6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2024</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34" name="Text Placeholder 2">
            <a:extLst>
              <a:ext uri="{FF2B5EF4-FFF2-40B4-BE49-F238E27FC236}">
                <a16:creationId xmlns:a16="http://schemas.microsoft.com/office/drawing/2014/main" id="{713BF461-6AD6-4C2B-8885-1DDAAB54B8F6}"/>
              </a:ext>
            </a:extLst>
          </p:cNvPr>
          <p:cNvSpPr>
            <a:spLocks noGrp="1"/>
          </p:cNvSpPr>
          <p:nvPr>
            <p:custDataLst>
              <p:tags r:id="rId78"/>
            </p:custDataLst>
          </p:nvPr>
        </p:nvSpPr>
        <p:spPr bwMode="auto">
          <a:xfrm>
            <a:off x="4338638" y="4281488"/>
            <a:ext cx="503238" cy="82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098D13C4-2175-4D6C-AF10-88882C609770}" type="datetime'J''an''''''ua''''''''''''r''''''''y,'''' 20''''''''''''2''5'">
              <a:rPr lang="en-US" altLang="en-US" sz="600" smtClean="0">
                <a:latin typeface="SangBleu Sunrise" panose="020B0504000000000004" pitchFamily="34" charset="-52"/>
                <a:ea typeface="SangBleu Sunrise" panose="020B0504000000000004" pitchFamily="34" charset="-52"/>
              </a:rPr>
              <a:pPr/>
              <a:t>January, 2025</a:t>
            </a:fld>
            <a:endParaRPr lang="ru-RU" sz="6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64" name="TextBox 363">
            <a:extLst>
              <a:ext uri="{FF2B5EF4-FFF2-40B4-BE49-F238E27FC236}">
                <a16:creationId xmlns:a16="http://schemas.microsoft.com/office/drawing/2014/main" id="{45602682-02C0-45D3-9373-7F2D79B0EA69}"/>
              </a:ext>
            </a:extLst>
          </p:cNvPr>
          <p:cNvSpPr txBox="1"/>
          <p:nvPr/>
        </p:nvSpPr>
        <p:spPr>
          <a:xfrm>
            <a:off x="2789085" y="7525517"/>
            <a:ext cx="1630468" cy="1077218"/>
          </a:xfrm>
          <a:prstGeom prst="rect">
            <a:avLst/>
          </a:prstGeom>
          <a:noFill/>
        </p:spPr>
        <p:txBody>
          <a:bodyPr wrap="square">
            <a:spAutoFit/>
          </a:bodyPr>
          <a:lstStyle/>
          <a:p>
            <a:r>
              <a:rPr lang="en-US" sz="800" b="1" dirty="0">
                <a:latin typeface="SangBleu Sunrise" panose="020B0504000000000004" pitchFamily="34" charset="-52"/>
                <a:ea typeface="SangBleu Sunrise" panose="020B0504000000000004" pitchFamily="34" charset="-52"/>
              </a:rPr>
              <a:t>Competition in the </a:t>
            </a:r>
            <a:r>
              <a:rPr lang="en-US" sz="800" b="1" dirty="0" err="1">
                <a:latin typeface="SangBleu Sunrise" panose="020B0504000000000004" pitchFamily="34" charset="-52"/>
                <a:ea typeface="SangBleu Sunrise" panose="020B0504000000000004" pitchFamily="34" charset="-52"/>
              </a:rPr>
              <a:t>Semaglutide</a:t>
            </a:r>
            <a:r>
              <a:rPr lang="en-US" sz="800" b="1" dirty="0">
                <a:latin typeface="SangBleu Sunrise" panose="020B0504000000000004" pitchFamily="34" charset="-52"/>
                <a:ea typeface="SangBleu Sunrise" panose="020B0504000000000004" pitchFamily="34" charset="-52"/>
              </a:rPr>
              <a:t> Market:</a:t>
            </a:r>
          </a:p>
          <a:p>
            <a:r>
              <a:rPr lang="en-US" sz="800" dirty="0">
                <a:latin typeface="SangBleu Sunrise" panose="020B0504000000000004" pitchFamily="34" charset="-52"/>
                <a:ea typeface="SangBleu Sunrise" panose="020B0504000000000004" pitchFamily="34" charset="-52"/>
              </a:rPr>
              <a:t>PROMOMED’s main competitor in the </a:t>
            </a:r>
            <a:r>
              <a:rPr lang="en-US" sz="800" dirty="0" err="1">
                <a:latin typeface="SangBleu Sunrise" panose="020B0504000000000004" pitchFamily="34" charset="-52"/>
                <a:ea typeface="SangBleu Sunrise" panose="020B0504000000000004" pitchFamily="34" charset="-52"/>
              </a:rPr>
              <a:t>semaglutide</a:t>
            </a:r>
            <a:r>
              <a:rPr lang="en-US" sz="800" dirty="0">
                <a:latin typeface="SangBleu Sunrise" panose="020B0504000000000004" pitchFamily="34" charset="-52"/>
                <a:ea typeface="SangBleu Sunrise" panose="020B0504000000000004" pitchFamily="34" charset="-52"/>
              </a:rPr>
              <a:t>-based drug segment is </a:t>
            </a:r>
            <a:r>
              <a:rPr lang="en-US" sz="800" dirty="0" err="1">
                <a:latin typeface="SangBleu Sunrise" panose="020B0504000000000004" pitchFamily="34" charset="-52"/>
                <a:ea typeface="SangBleu Sunrise" panose="020B0504000000000004" pitchFamily="34" charset="-52"/>
              </a:rPr>
              <a:t>Geropharm</a:t>
            </a:r>
            <a:r>
              <a:rPr lang="en-US" sz="800" dirty="0">
                <a:latin typeface="SangBleu Sunrise" panose="020B0504000000000004" pitchFamily="34" charset="-52"/>
                <a:ea typeface="SangBleu Sunrise" panose="020B0504000000000004" pitchFamily="34" charset="-52"/>
              </a:rPr>
              <a:t>, which holds approximately 70% of the market share.</a:t>
            </a:r>
          </a:p>
        </p:txBody>
      </p:sp>
      <p:sp>
        <p:nvSpPr>
          <p:cNvPr id="365" name="TextBox 364">
            <a:extLst>
              <a:ext uri="{FF2B5EF4-FFF2-40B4-BE49-F238E27FC236}">
                <a16:creationId xmlns:a16="http://schemas.microsoft.com/office/drawing/2014/main" id="{5580C847-834F-4B22-BEF9-B189201F1161}"/>
              </a:ext>
            </a:extLst>
          </p:cNvPr>
          <p:cNvSpPr txBox="1"/>
          <p:nvPr/>
        </p:nvSpPr>
        <p:spPr>
          <a:xfrm>
            <a:off x="4659419" y="7525517"/>
            <a:ext cx="1630468" cy="1938992"/>
          </a:xfrm>
          <a:prstGeom prst="rect">
            <a:avLst/>
          </a:prstGeom>
          <a:noFill/>
        </p:spPr>
        <p:txBody>
          <a:bodyPr wrap="square">
            <a:spAutoFit/>
          </a:bodyPr>
          <a:lstStyle/>
          <a:p>
            <a:r>
              <a:rPr lang="en-US" sz="800" b="1" dirty="0">
                <a:latin typeface="SangBleu Sunrise" panose="020B0504000000000004" pitchFamily="34" charset="-52"/>
                <a:ea typeface="SangBleu Sunrise" panose="020B0504000000000004" pitchFamily="34" charset="-52"/>
              </a:rPr>
              <a:t>Competition in the Liraglutide Market:</a:t>
            </a:r>
            <a:br>
              <a:rPr lang="en-US" sz="800" dirty="0">
                <a:latin typeface="SangBleu Sunrise" panose="020B0504000000000004" pitchFamily="34" charset="-52"/>
                <a:ea typeface="SangBleu Sunrise" panose="020B0504000000000004" pitchFamily="34" charset="-52"/>
              </a:rPr>
            </a:br>
            <a:r>
              <a:rPr lang="en-US" sz="800" dirty="0">
                <a:latin typeface="SangBleu Sunrise" panose="020B0504000000000004" pitchFamily="34" charset="-52"/>
                <a:ea typeface="SangBleu Sunrise" panose="020B0504000000000004" pitchFamily="34" charset="-52"/>
              </a:rPr>
              <a:t>PROMOMED was one of the first in producing liraglutide-based drugs, which allowed it to capture a significant share of Russian market.</a:t>
            </a:r>
            <a:br>
              <a:rPr lang="en-US" sz="800" dirty="0">
                <a:latin typeface="SangBleu Sunrise" panose="020B0504000000000004" pitchFamily="34" charset="-52"/>
                <a:ea typeface="SangBleu Sunrise" panose="020B0504000000000004" pitchFamily="34" charset="-52"/>
              </a:rPr>
            </a:br>
            <a:r>
              <a:rPr lang="en-US" sz="800" dirty="0" err="1">
                <a:latin typeface="SangBleu Sunrise" panose="020B0504000000000004" pitchFamily="34" charset="-52"/>
                <a:ea typeface="SangBleu Sunrise" panose="020B0504000000000004" pitchFamily="34" charset="-52"/>
              </a:rPr>
              <a:t>CinnaGen</a:t>
            </a:r>
            <a:r>
              <a:rPr lang="en-US" sz="800" dirty="0">
                <a:latin typeface="SangBleu Sunrise" panose="020B0504000000000004" pitchFamily="34" charset="-52"/>
                <a:ea typeface="SangBleu Sunrise" panose="020B0504000000000004" pitchFamily="34" charset="-52"/>
              </a:rPr>
              <a:t> also entered the market with liraglutide, following the expiration of its patent protection. However, according to estimates, </a:t>
            </a:r>
            <a:r>
              <a:rPr lang="en-US" sz="800" dirty="0" err="1">
                <a:latin typeface="SangBleu Sunrise" panose="020B0504000000000004" pitchFamily="34" charset="-52"/>
                <a:ea typeface="SangBleu Sunrise" panose="020B0504000000000004" pitchFamily="34" charset="-52"/>
              </a:rPr>
              <a:t>CinnaGen’s</a:t>
            </a:r>
            <a:r>
              <a:rPr lang="en-US" sz="800" dirty="0">
                <a:latin typeface="SangBleu Sunrise" panose="020B0504000000000004" pitchFamily="34" charset="-52"/>
                <a:ea typeface="SangBleu Sunrise" panose="020B0504000000000004" pitchFamily="34" charset="-52"/>
              </a:rPr>
              <a:t> market share is not expected to exceed 10–15%.</a:t>
            </a:r>
          </a:p>
        </p:txBody>
      </p:sp>
      <p:sp>
        <p:nvSpPr>
          <p:cNvPr id="367" name="TextBox 366">
            <a:extLst>
              <a:ext uri="{FF2B5EF4-FFF2-40B4-BE49-F238E27FC236}">
                <a16:creationId xmlns:a16="http://schemas.microsoft.com/office/drawing/2014/main" id="{B3787D7B-E6FF-4938-9994-E02780C6EA53}"/>
              </a:ext>
            </a:extLst>
          </p:cNvPr>
          <p:cNvSpPr txBox="1"/>
          <p:nvPr/>
        </p:nvSpPr>
        <p:spPr>
          <a:xfrm>
            <a:off x="1051734" y="7525517"/>
            <a:ext cx="1630468" cy="1692771"/>
          </a:xfrm>
          <a:prstGeom prst="rect">
            <a:avLst/>
          </a:prstGeom>
          <a:noFill/>
        </p:spPr>
        <p:txBody>
          <a:bodyPr wrap="square">
            <a:spAutoFit/>
          </a:bodyPr>
          <a:lstStyle/>
          <a:p>
            <a:r>
              <a:rPr lang="en-US" sz="800" b="1" dirty="0">
                <a:latin typeface="SangBleu Sunrise" panose="020B0504000000000004" pitchFamily="34" charset="-52"/>
                <a:ea typeface="SangBleu Sunrise" panose="020B0504000000000004" pitchFamily="34" charset="-52"/>
              </a:rPr>
              <a:t>Competition in the Sibutramine Market:</a:t>
            </a:r>
          </a:p>
          <a:p>
            <a:r>
              <a:rPr lang="en-US" sz="800" dirty="0" err="1">
                <a:latin typeface="SangBleu Sunrise" panose="020B0504000000000004" pitchFamily="34" charset="-52"/>
                <a:ea typeface="SangBleu Sunrise" panose="020B0504000000000004" pitchFamily="34" charset="-52"/>
              </a:rPr>
              <a:t>Reduxin</a:t>
            </a:r>
            <a:r>
              <a:rPr lang="en-US" sz="800" dirty="0">
                <a:latin typeface="SangBleu Sunrise" panose="020B0504000000000004" pitchFamily="34" charset="-52"/>
                <a:ea typeface="SangBleu Sunrise" panose="020B0504000000000004" pitchFamily="34" charset="-52"/>
              </a:rPr>
              <a:t> held a 44% share of the sibutramine market in value terms. PROMOMED generated ₽3.39 billion in revenue from this drug alone, which accounted for over 20% of the company’s total revenue in 2023. Its main competitor in this segment was </a:t>
            </a:r>
            <a:r>
              <a:rPr lang="en-US" sz="800" dirty="0" err="1">
                <a:latin typeface="SangBleu Sunrise" panose="020B0504000000000004" pitchFamily="34" charset="-52"/>
                <a:ea typeface="SangBleu Sunrise" panose="020B0504000000000004" pitchFamily="34" charset="-52"/>
              </a:rPr>
              <a:t>Goldline</a:t>
            </a:r>
            <a:r>
              <a:rPr lang="en-US" sz="800" dirty="0">
                <a:latin typeface="SangBleu Sunrise" panose="020B0504000000000004" pitchFamily="34" charset="-52"/>
                <a:ea typeface="SangBleu Sunrise" panose="020B0504000000000004" pitchFamily="34" charset="-52"/>
              </a:rPr>
              <a:t>, which held a 33% market share.</a:t>
            </a:r>
          </a:p>
        </p:txBody>
      </p:sp>
      <p:sp>
        <p:nvSpPr>
          <p:cNvPr id="106" name="Title 3">
            <a:extLst>
              <a:ext uri="{FF2B5EF4-FFF2-40B4-BE49-F238E27FC236}">
                <a16:creationId xmlns:a16="http://schemas.microsoft.com/office/drawing/2014/main" id="{ACEDB7FA-A80F-4D9C-90CA-E1738B529369}"/>
              </a:ext>
            </a:extLst>
          </p:cNvPr>
          <p:cNvSpPr txBox="1">
            <a:spLocks/>
          </p:cNvSpPr>
          <p:nvPr/>
        </p:nvSpPr>
        <p:spPr>
          <a:xfrm>
            <a:off x="1051734" y="5506092"/>
            <a:ext cx="1630468" cy="228942"/>
          </a:xfrm>
          <a:prstGeom prst="rect">
            <a:avLst/>
          </a:prstGeom>
          <a:solidFill>
            <a:schemeClr val="accent1">
              <a:lumMod val="50000"/>
            </a:schemeClr>
          </a:solidFill>
          <a:ln>
            <a:noFill/>
          </a:ln>
        </p:spPr>
        <p:txBody>
          <a:bodyPr vert="horz" wrap="square" lIns="58500" tIns="58500" rIns="58500" bIns="58500" rtlCol="0"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rtl="0">
              <a:spcBef>
                <a:spcPts val="0"/>
              </a:spcBef>
              <a:spcAft>
                <a:spcPts val="0"/>
              </a:spcAft>
            </a:pPr>
            <a:r>
              <a:rPr lang="en-US" sz="800" b="1" dirty="0">
                <a:solidFill>
                  <a:schemeClr val="bg1"/>
                </a:solidFill>
                <a:latin typeface="SangBleu Sunrise" panose="020B0504000000000004" pitchFamily="34" charset="-52"/>
                <a:ea typeface="SangBleu Sunrise" panose="020B0504000000000004" pitchFamily="34" charset="-52"/>
              </a:rPr>
              <a:t>Sibutramine</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107" name="Title 3">
            <a:extLst>
              <a:ext uri="{FF2B5EF4-FFF2-40B4-BE49-F238E27FC236}">
                <a16:creationId xmlns:a16="http://schemas.microsoft.com/office/drawing/2014/main" id="{E12D8A3D-79B0-4B01-9B0D-5437F4BE15C3}"/>
              </a:ext>
            </a:extLst>
          </p:cNvPr>
          <p:cNvSpPr txBox="1">
            <a:spLocks/>
          </p:cNvSpPr>
          <p:nvPr/>
        </p:nvSpPr>
        <p:spPr>
          <a:xfrm>
            <a:off x="2789085" y="5506092"/>
            <a:ext cx="1630468" cy="228942"/>
          </a:xfrm>
          <a:prstGeom prst="rect">
            <a:avLst/>
          </a:prstGeom>
          <a:solidFill>
            <a:schemeClr val="accent1">
              <a:lumMod val="50000"/>
            </a:schemeClr>
          </a:solidFill>
          <a:ln>
            <a:noFill/>
          </a:ln>
        </p:spPr>
        <p:txBody>
          <a:bodyPr vert="horz" wrap="square" lIns="58500" tIns="58500" rIns="58500" bIns="58500" rtlCol="0"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rtl="0">
              <a:spcBef>
                <a:spcPts val="0"/>
              </a:spcBef>
              <a:spcAft>
                <a:spcPts val="0"/>
              </a:spcAft>
            </a:pPr>
            <a:r>
              <a:rPr lang="en-US" sz="800" b="1" dirty="0" err="1">
                <a:solidFill>
                  <a:schemeClr val="bg1"/>
                </a:solidFill>
                <a:latin typeface="SangBleu Sunrise" panose="020B0504000000000004" pitchFamily="34" charset="-52"/>
                <a:ea typeface="SangBleu Sunrise" panose="020B0504000000000004" pitchFamily="34" charset="-52"/>
              </a:rPr>
              <a:t>Semaglutide</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109" name="Title 3">
            <a:extLst>
              <a:ext uri="{FF2B5EF4-FFF2-40B4-BE49-F238E27FC236}">
                <a16:creationId xmlns:a16="http://schemas.microsoft.com/office/drawing/2014/main" id="{EAF41716-2C87-4FB6-B04C-A6A01B9F109D}"/>
              </a:ext>
            </a:extLst>
          </p:cNvPr>
          <p:cNvSpPr txBox="1">
            <a:spLocks/>
          </p:cNvSpPr>
          <p:nvPr/>
        </p:nvSpPr>
        <p:spPr>
          <a:xfrm>
            <a:off x="4620736" y="5506092"/>
            <a:ext cx="1630468" cy="228942"/>
          </a:xfrm>
          <a:prstGeom prst="rect">
            <a:avLst/>
          </a:prstGeom>
          <a:solidFill>
            <a:schemeClr val="accent1">
              <a:lumMod val="50000"/>
            </a:schemeClr>
          </a:solidFill>
          <a:ln>
            <a:noFill/>
          </a:ln>
        </p:spPr>
        <p:txBody>
          <a:bodyPr vert="horz" wrap="square" lIns="58500" tIns="58500" rIns="58500" bIns="58500" rtlCol="0"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rtl="0">
              <a:spcBef>
                <a:spcPts val="0"/>
              </a:spcBef>
              <a:spcAft>
                <a:spcPts val="0"/>
              </a:spcAft>
            </a:pPr>
            <a:r>
              <a:rPr lang="en-US" sz="800" b="1" dirty="0">
                <a:solidFill>
                  <a:schemeClr val="bg1"/>
                </a:solidFill>
                <a:latin typeface="SangBleu Sunrise" panose="020B0504000000000004" pitchFamily="34" charset="-52"/>
                <a:ea typeface="SangBleu Sunrise" panose="020B0504000000000004" pitchFamily="34" charset="-52"/>
              </a:rPr>
              <a:t>Liraglutide</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139" name="Rectangle 138">
            <a:extLst>
              <a:ext uri="{FF2B5EF4-FFF2-40B4-BE49-F238E27FC236}">
                <a16:creationId xmlns:a16="http://schemas.microsoft.com/office/drawing/2014/main" id="{A68766A1-BF80-4602-9FEA-72EA54BE8EC1}"/>
              </a:ext>
            </a:extLst>
          </p:cNvPr>
          <p:cNvSpPr>
            <a:spLocks/>
          </p:cNvSpPr>
          <p:nvPr/>
        </p:nvSpPr>
        <p:spPr>
          <a:xfrm>
            <a:off x="3491675" y="2152554"/>
            <a:ext cx="2225676" cy="332660"/>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Revenue distribution of PROMOMED between </a:t>
            </a:r>
            <a:r>
              <a:rPr lang="en-US" sz="800" dirty="0" err="1">
                <a:solidFill>
                  <a:schemeClr val="tx1"/>
                </a:solidFill>
                <a:latin typeface="SangBleu Sunrise" panose="020B0504000000000004" pitchFamily="34" charset="-52"/>
                <a:ea typeface="SangBleu Sunrise" panose="020B0504000000000004" pitchFamily="34" charset="-52"/>
              </a:rPr>
              <a:t>nosologies</a:t>
            </a:r>
            <a:endParaRPr lang="en-US" sz="800" dirty="0">
              <a:solidFill>
                <a:schemeClr val="tx1"/>
              </a:solidFill>
              <a:latin typeface="SangBleu Sunrise" panose="020B0504000000000004" pitchFamily="34" charset="-52"/>
              <a:ea typeface="SangBleu Sunrise" panose="020B0504000000000004" pitchFamily="34" charset="-52"/>
            </a:endParaRPr>
          </a:p>
        </p:txBody>
      </p:sp>
      <p:sp>
        <p:nvSpPr>
          <p:cNvPr id="141" name="Rectangle 140">
            <a:extLst>
              <a:ext uri="{FF2B5EF4-FFF2-40B4-BE49-F238E27FC236}">
                <a16:creationId xmlns:a16="http://schemas.microsoft.com/office/drawing/2014/main" id="{B93E2B6C-5D1C-47A7-BD57-8D8CCC62FE20}"/>
              </a:ext>
            </a:extLst>
          </p:cNvPr>
          <p:cNvSpPr>
            <a:spLocks/>
          </p:cNvSpPr>
          <p:nvPr>
            <p:custDataLst>
              <p:tags r:id="rId79"/>
            </p:custDataLst>
          </p:nvPr>
        </p:nvSpPr>
        <p:spPr>
          <a:xfrm>
            <a:off x="3491675" y="5011922"/>
            <a:ext cx="2225676" cy="229926"/>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Key players on </a:t>
            </a:r>
            <a:r>
              <a:rPr lang="en-US" sz="800" dirty="0" err="1">
                <a:solidFill>
                  <a:schemeClr val="tx1"/>
                </a:solidFill>
                <a:latin typeface="SangBleu Sunrise" panose="020B0504000000000004" pitchFamily="34" charset="-52"/>
                <a:ea typeface="SangBleu Sunrise" panose="020B0504000000000004" pitchFamily="34" charset="-52"/>
              </a:rPr>
              <a:t>semaglutide</a:t>
            </a:r>
            <a:r>
              <a:rPr lang="en-US" sz="800" dirty="0">
                <a:solidFill>
                  <a:schemeClr val="tx1"/>
                </a:solidFill>
                <a:latin typeface="SangBleu Sunrise" panose="020B0504000000000004" pitchFamily="34" charset="-52"/>
                <a:ea typeface="SangBleu Sunrise" panose="020B0504000000000004" pitchFamily="34" charset="-52"/>
              </a:rPr>
              <a:t> market</a:t>
            </a:r>
          </a:p>
        </p:txBody>
      </p:sp>
      <p:sp>
        <p:nvSpPr>
          <p:cNvPr id="97" name="5. Source">
            <a:extLst>
              <a:ext uri="{FF2B5EF4-FFF2-40B4-BE49-F238E27FC236}">
                <a16:creationId xmlns:a16="http://schemas.microsoft.com/office/drawing/2014/main" id="{178DD327-1FBD-4235-880B-445DBE4EDD51}"/>
              </a:ext>
            </a:extLst>
          </p:cNvPr>
          <p:cNvSpPr txBox="1"/>
          <p:nvPr>
            <p:custDataLst>
              <p:tags r:id="rId80"/>
            </p:custDataLst>
          </p:nvPr>
        </p:nvSpPr>
        <p:spPr>
          <a:xfrm>
            <a:off x="642937" y="9649539"/>
            <a:ext cx="5700713" cy="123111"/>
          </a:xfrm>
          <a:prstGeom prst="rect">
            <a:avLst/>
          </a:prstGeom>
          <a:noFill/>
        </p:spPr>
        <p:txBody>
          <a:bodyPr vert="horz" wrap="square" lIns="0" tIns="0" rIns="0" bIns="0" rtlCol="0" anchor="b" anchorCtr="0">
            <a:spAutoFit/>
          </a:bodyPr>
          <a:lstStyle/>
          <a:p>
            <a:r>
              <a:rPr lang="fr-FR" sz="800" dirty="0">
                <a:latin typeface="SangBleu Sunrise" panose="020B0504000000000004" pitchFamily="34" charset="-52"/>
                <a:ea typeface="SangBleu Sunrise" panose="020B0504000000000004" pitchFamily="34" charset="-52"/>
              </a:rPr>
              <a:t>SOURCE: </a:t>
            </a:r>
            <a:r>
              <a:rPr lang="en-US" sz="800" dirty="0">
                <a:latin typeface="SangBleu Sunrise" panose="020B0504000000000004" pitchFamily="34" charset="-52"/>
                <a:ea typeface="SangBleu Sunrise" panose="020B0504000000000004" pitchFamily="34" charset="-52"/>
              </a:rPr>
              <a:t>“For PROMOMED’s Investors” presentations</a:t>
            </a:r>
            <a:r>
              <a:rPr lang="ru-RU" sz="800" dirty="0">
                <a:latin typeface="SangBleu Sunrise" panose="020B0504000000000004" pitchFamily="34" charset="-52"/>
                <a:ea typeface="SangBleu Sunrise" panose="020B0504000000000004" pitchFamily="34" charset="-52"/>
              </a:rPr>
              <a:t> </a:t>
            </a:r>
            <a:r>
              <a:rPr lang="en-US" sz="800" dirty="0">
                <a:latin typeface="SangBleu Sunrise" panose="020B0504000000000004" pitchFamily="34" charset="-52"/>
                <a:ea typeface="SangBleu Sunrise" panose="020B0504000000000004" pitchFamily="34" charset="-52"/>
              </a:rPr>
              <a:t>, Strategy Partners report, own calculations</a:t>
            </a:r>
            <a:endParaRPr lang="fr-FR" sz="800" dirty="0">
              <a:latin typeface="SangBleu Sunrise" panose="020B0504000000000004" pitchFamily="34" charset="-52"/>
              <a:ea typeface="SangBleu Sunrise" panose="020B0504000000000004" pitchFamily="34" charset="-52"/>
            </a:endParaRPr>
          </a:p>
        </p:txBody>
      </p:sp>
    </p:spTree>
    <p:extLst>
      <p:ext uri="{BB962C8B-B14F-4D97-AF65-F5344CB8AC3E}">
        <p14:creationId xmlns:p14="http://schemas.microsoft.com/office/powerpoint/2010/main" val="2311254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D4FE7E-DE6C-4F35-B505-6CC6CC141975}"/>
              </a:ext>
            </a:extLst>
          </p:cNvPr>
          <p:cNvGraphicFramePr>
            <a:graphicFrameLocks noChangeAspect="1"/>
          </p:cNvGraphicFramePr>
          <p:nvPr>
            <p:custDataLst>
              <p:tags r:id="rId2"/>
            </p:custDataLst>
            <p:extLst>
              <p:ext uri="{D42A27DB-BD31-4B8C-83A1-F6EECF244321}">
                <p14:modId xmlns:p14="http://schemas.microsoft.com/office/powerpoint/2010/main" val="1083760759"/>
              </p:ext>
            </p:extLst>
          </p:nvPr>
        </p:nvGraphicFramePr>
        <p:xfrm>
          <a:off x="644228" y="1290"/>
          <a:ext cx="1290" cy="1290"/>
        </p:xfrm>
        <a:graphic>
          <a:graphicData uri="http://schemas.openxmlformats.org/presentationml/2006/ole">
            <mc:AlternateContent xmlns:mc="http://schemas.openxmlformats.org/markup-compatibility/2006">
              <mc:Choice xmlns:v="urn:schemas-microsoft-com:vml" Requires="v">
                <p:oleObj spid="_x0000_s17504" name="think-cell Slide" r:id="rId62" imgW="395" imgH="396" progId="TCLayout.ActiveDocument.1">
                  <p:embed/>
                </p:oleObj>
              </mc:Choice>
              <mc:Fallback>
                <p:oleObj name="think-cell Slide" r:id="rId62" imgW="395" imgH="396" progId="TCLayout.ActiveDocument.1">
                  <p:embed/>
                  <p:pic>
                    <p:nvPicPr>
                      <p:cNvPr id="3" name="think-cell data - do not delete" hidden="1">
                        <a:extLst>
                          <a:ext uri="{FF2B5EF4-FFF2-40B4-BE49-F238E27FC236}">
                            <a16:creationId xmlns:a16="http://schemas.microsoft.com/office/drawing/2014/main" id="{89D4FE7E-DE6C-4F35-B505-6CC6CC141975}"/>
                          </a:ext>
                        </a:extLst>
                      </p:cNvPr>
                      <p:cNvPicPr/>
                      <p:nvPr/>
                    </p:nvPicPr>
                    <p:blipFill>
                      <a:blip r:embed="rId63"/>
                      <a:stretch>
                        <a:fillRect/>
                      </a:stretch>
                    </p:blipFill>
                    <p:spPr>
                      <a:xfrm>
                        <a:off x="644228" y="1290"/>
                        <a:ext cx="1290" cy="12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DC6F282-9C52-4591-8034-371A789171B5}"/>
              </a:ext>
            </a:extLst>
          </p:cNvPr>
          <p:cNvSpPr>
            <a:spLocks noGrp="1"/>
          </p:cNvSpPr>
          <p:nvPr>
            <p:ph type="title"/>
          </p:nvPr>
        </p:nvSpPr>
        <p:spPr>
          <a:xfrm>
            <a:off x="1026023" y="315188"/>
            <a:ext cx="4805958" cy="424732"/>
          </a:xfrm>
          <a:noFill/>
          <a:ln>
            <a:solidFill>
              <a:schemeClr val="bg1">
                <a:alpha val="98000"/>
              </a:schemeClr>
            </a:solidFill>
          </a:ln>
        </p:spPr>
        <p:txBody>
          <a:bodyPr vert="horz" wrap="square" anchor="ctr" anchorCtr="0">
            <a:spAutoFit/>
          </a:bodyPr>
          <a:lstStyle/>
          <a:p>
            <a:r>
              <a:rPr lang="en-US" sz="2400" dirty="0">
                <a:latin typeface="SangBleu Sunrise" panose="020B0504000000000004" pitchFamily="34" charset="-52"/>
                <a:ea typeface="SangBleu Sunrise" panose="020B0504000000000004" pitchFamily="34" charset="-52"/>
              </a:rPr>
              <a:t>Sales and Competitors 2</a:t>
            </a:r>
            <a:endParaRPr lang="ru-RU" sz="2400" dirty="0">
              <a:latin typeface="SangBleu Sunrise" panose="020B0504000000000004" pitchFamily="34" charset="-52"/>
              <a:ea typeface="SangBleu Sunrise" panose="020B0504000000000004" pitchFamily="34" charset="-52"/>
            </a:endParaRPr>
          </a:p>
        </p:txBody>
      </p:sp>
      <p:sp>
        <p:nvSpPr>
          <p:cNvPr id="23" name="Rectangle 22">
            <a:extLst>
              <a:ext uri="{FF2B5EF4-FFF2-40B4-BE49-F238E27FC236}">
                <a16:creationId xmlns:a16="http://schemas.microsoft.com/office/drawing/2014/main" id="{DCA3F849-D468-4066-A24A-F48B2A434F38}"/>
              </a:ext>
            </a:extLst>
          </p:cNvPr>
          <p:cNvSpPr/>
          <p:nvPr/>
        </p:nvSpPr>
        <p:spPr>
          <a:xfrm>
            <a:off x="1026022" y="1316933"/>
            <a:ext cx="2227677" cy="1157609"/>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Growing Demand: </a:t>
            </a:r>
            <a:r>
              <a:rPr lang="en-US" sz="800" dirty="0">
                <a:solidFill>
                  <a:schemeClr val="tx1"/>
                </a:solidFill>
                <a:latin typeface="SangBleu Sunrise" panose="020B0504000000000004" pitchFamily="34" charset="-52"/>
                <a:ea typeface="SangBleu Sunrise" panose="020B0504000000000004" pitchFamily="34" charset="-52"/>
              </a:rPr>
              <a:t>The growing prevalence of chronic diseases is expected to be a key driver of the global biopharmaceutical market. Biopharmaceutical drugs are particularly effective in treating a range of chronic conditions, including cancer, cardiovascular diseases, diabetes, and others.</a:t>
            </a:r>
          </a:p>
        </p:txBody>
      </p:sp>
      <p:sp>
        <p:nvSpPr>
          <p:cNvPr id="136" name="1. On-page tracker">
            <a:extLst>
              <a:ext uri="{FF2B5EF4-FFF2-40B4-BE49-F238E27FC236}">
                <a16:creationId xmlns:a16="http://schemas.microsoft.com/office/drawing/2014/main" id="{446AE41F-44AB-41C4-8747-E53ABBB5FD84}"/>
              </a:ext>
            </a:extLst>
          </p:cNvPr>
          <p:cNvSpPr txBox="1"/>
          <p:nvPr>
            <p:custDataLst>
              <p:tags r:id="rId3"/>
            </p:custDataLst>
          </p:nvPr>
        </p:nvSpPr>
        <p:spPr>
          <a:xfrm>
            <a:off x="746125" y="51596"/>
            <a:ext cx="1547813" cy="123111"/>
          </a:xfrm>
          <a:prstGeom prst="rect">
            <a:avLst/>
          </a:prstGeom>
          <a:solidFill>
            <a:schemeClr val="bg2"/>
          </a:solidFill>
        </p:spPr>
        <p:txBody>
          <a:bodyPr vert="horz" wrap="square" lIns="0" tIns="0" rIns="0" bIns="0" rtlCol="0">
            <a:spAutoFit/>
          </a:bodyPr>
          <a:lstStyle/>
          <a:p>
            <a:r>
              <a:rPr lang="en-US" sz="800" dirty="0">
                <a:latin typeface="SangBleu Sunrise" panose="020B0504000000000004" pitchFamily="34" charset="-52"/>
                <a:ea typeface="SangBleu Sunrise" panose="020B0504000000000004" pitchFamily="34" charset="-52"/>
              </a:rPr>
              <a:t>Market, Sales, Competitors</a:t>
            </a:r>
            <a:endParaRPr lang="ru-RU" sz="800" dirty="0">
              <a:latin typeface="SangBleu Sunrise" panose="020B0504000000000004" pitchFamily="34" charset="-52"/>
              <a:ea typeface="SangBleu Sunrise" panose="020B0504000000000004" pitchFamily="34" charset="-52"/>
            </a:endParaRPr>
          </a:p>
        </p:txBody>
      </p:sp>
      <p:sp>
        <p:nvSpPr>
          <p:cNvPr id="93" name="Title 3">
            <a:extLst>
              <a:ext uri="{FF2B5EF4-FFF2-40B4-BE49-F238E27FC236}">
                <a16:creationId xmlns:a16="http://schemas.microsoft.com/office/drawing/2014/main" id="{F3F0DCD5-8683-42F4-92B5-7B3167C46F86}"/>
              </a:ext>
            </a:extLst>
          </p:cNvPr>
          <p:cNvSpPr txBox="1">
            <a:spLocks/>
          </p:cNvSpPr>
          <p:nvPr/>
        </p:nvSpPr>
        <p:spPr>
          <a:xfrm>
            <a:off x="1032475" y="1037030"/>
            <a:ext cx="2221222" cy="230738"/>
          </a:xfrm>
          <a:prstGeom prst="rect">
            <a:avLst/>
          </a:prstGeom>
          <a:solidFill>
            <a:schemeClr val="accent1">
              <a:lumMod val="50000"/>
            </a:schemeClr>
          </a:solidFill>
          <a:ln>
            <a:noFill/>
          </a:ln>
        </p:spPr>
        <p:txBody>
          <a:bodyPr vert="horz" wrap="square" lIns="58500" tIns="58500" rIns="58500" bIns="58500" rtlCol="0"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a:solidFill>
                  <a:schemeClr val="bg1"/>
                </a:solidFill>
                <a:latin typeface="SangBleu Sunrise" panose="020B0504000000000004" pitchFamily="34" charset="-52"/>
                <a:ea typeface="SangBleu Sunrise" panose="020B0504000000000004" pitchFamily="34" charset="-52"/>
              </a:rPr>
              <a:t>Oncology:</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119" name="Rectangle 118">
            <a:extLst>
              <a:ext uri="{FF2B5EF4-FFF2-40B4-BE49-F238E27FC236}">
                <a16:creationId xmlns:a16="http://schemas.microsoft.com/office/drawing/2014/main" id="{5FE32943-1BDB-4B26-9250-2611E5081442}"/>
              </a:ext>
            </a:extLst>
          </p:cNvPr>
          <p:cNvSpPr/>
          <p:nvPr/>
        </p:nvSpPr>
        <p:spPr>
          <a:xfrm>
            <a:off x="1026020" y="2534549"/>
            <a:ext cx="2227677" cy="947105"/>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Revenue from Oncology: </a:t>
            </a:r>
            <a:r>
              <a:rPr lang="en-US" sz="800" dirty="0">
                <a:solidFill>
                  <a:schemeClr val="tx1"/>
                </a:solidFill>
                <a:latin typeface="SangBleu Sunrise" panose="020B0504000000000004" pitchFamily="34" charset="-52"/>
                <a:ea typeface="SangBleu Sunrise" panose="020B0504000000000004" pitchFamily="34" charset="-52"/>
              </a:rPr>
              <a:t>The oncology segment is the second-largest revenue source for PROMOMED. In 2023, the company’s oncology drug portfolio generated ₽3.8 billion, accounting for approximately one-quarter of total revenue.</a:t>
            </a:r>
          </a:p>
        </p:txBody>
      </p:sp>
      <p:sp>
        <p:nvSpPr>
          <p:cNvPr id="120" name="Rectangle 119">
            <a:extLst>
              <a:ext uri="{FF2B5EF4-FFF2-40B4-BE49-F238E27FC236}">
                <a16:creationId xmlns:a16="http://schemas.microsoft.com/office/drawing/2014/main" id="{16F5B5DE-BC6B-438F-88FB-663B26D09555}"/>
              </a:ext>
            </a:extLst>
          </p:cNvPr>
          <p:cNvSpPr/>
          <p:nvPr/>
        </p:nvSpPr>
        <p:spPr>
          <a:xfrm>
            <a:off x="1020762" y="3541661"/>
            <a:ext cx="2228850" cy="1335068"/>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Leader in Oncotherapy:</a:t>
            </a:r>
            <a:br>
              <a:rPr lang="en-US" sz="800" dirty="0">
                <a:solidFill>
                  <a:schemeClr val="tx1"/>
                </a:solidFill>
                <a:latin typeface="SangBleu Sunrise" panose="020B0504000000000004" pitchFamily="34" charset="-52"/>
                <a:ea typeface="SangBleu Sunrise" panose="020B0504000000000004" pitchFamily="34" charset="-52"/>
              </a:rPr>
            </a:br>
            <a:r>
              <a:rPr lang="en-US" sz="800" dirty="0">
                <a:solidFill>
                  <a:schemeClr val="tx1"/>
                </a:solidFill>
                <a:latin typeface="SangBleu Sunrise" panose="020B0504000000000004" pitchFamily="34" charset="-52"/>
                <a:ea typeface="SangBleu Sunrise" panose="020B0504000000000004" pitchFamily="34" charset="-52"/>
              </a:rPr>
              <a:t>PROMOMED holds a leading position in oncotherapy. The company produces </a:t>
            </a:r>
            <a:r>
              <a:rPr lang="en-US" sz="800" i="1" dirty="0">
                <a:solidFill>
                  <a:schemeClr val="tx1"/>
                </a:solidFill>
                <a:latin typeface="SangBleu Sunrise" panose="020B0504000000000004" pitchFamily="34" charset="-52"/>
                <a:ea typeface="SangBleu Sunrise" panose="020B0504000000000004" pitchFamily="34" charset="-52"/>
              </a:rPr>
              <a:t>Sunitinib</a:t>
            </a:r>
            <a:r>
              <a:rPr lang="en-US" sz="800" dirty="0">
                <a:solidFill>
                  <a:schemeClr val="tx1"/>
                </a:solidFill>
                <a:latin typeface="SangBleu Sunrise" panose="020B0504000000000004" pitchFamily="34" charset="-52"/>
                <a:ea typeface="SangBleu Sunrise" panose="020B0504000000000004" pitchFamily="34" charset="-52"/>
              </a:rPr>
              <a:t>, </a:t>
            </a:r>
            <a:r>
              <a:rPr lang="en-US" sz="800" i="1" dirty="0">
                <a:solidFill>
                  <a:schemeClr val="tx1"/>
                </a:solidFill>
                <a:latin typeface="SangBleu Sunrise" panose="020B0504000000000004" pitchFamily="34" charset="-52"/>
                <a:ea typeface="SangBleu Sunrise" panose="020B0504000000000004" pitchFamily="34" charset="-52"/>
              </a:rPr>
              <a:t>Docetaxel</a:t>
            </a:r>
            <a:r>
              <a:rPr lang="en-US" sz="800" dirty="0">
                <a:solidFill>
                  <a:schemeClr val="tx1"/>
                </a:solidFill>
                <a:latin typeface="SangBleu Sunrise" panose="020B0504000000000004" pitchFamily="34" charset="-52"/>
                <a:ea typeface="SangBleu Sunrise" panose="020B0504000000000004" pitchFamily="34" charset="-52"/>
              </a:rPr>
              <a:t>, </a:t>
            </a:r>
            <a:r>
              <a:rPr lang="en-US" sz="800" i="1" dirty="0">
                <a:solidFill>
                  <a:schemeClr val="tx1"/>
                </a:solidFill>
                <a:latin typeface="SangBleu Sunrise" panose="020B0504000000000004" pitchFamily="34" charset="-52"/>
                <a:ea typeface="SangBleu Sunrise" panose="020B0504000000000004" pitchFamily="34" charset="-52"/>
              </a:rPr>
              <a:t>Lenalidomide</a:t>
            </a:r>
            <a:r>
              <a:rPr lang="en-US" sz="800" dirty="0">
                <a:solidFill>
                  <a:schemeClr val="tx1"/>
                </a:solidFill>
                <a:latin typeface="SangBleu Sunrise" panose="020B0504000000000004" pitchFamily="34" charset="-52"/>
                <a:ea typeface="SangBleu Sunrise" panose="020B0504000000000004" pitchFamily="34" charset="-52"/>
              </a:rPr>
              <a:t>, </a:t>
            </a:r>
            <a:r>
              <a:rPr lang="en-US" sz="800" i="1" dirty="0" err="1">
                <a:solidFill>
                  <a:schemeClr val="tx1"/>
                </a:solidFill>
                <a:latin typeface="SangBleu Sunrise" panose="020B0504000000000004" pitchFamily="34" charset="-52"/>
                <a:ea typeface="SangBleu Sunrise" panose="020B0504000000000004" pitchFamily="34" charset="-52"/>
              </a:rPr>
              <a:t>Eribulin</a:t>
            </a:r>
            <a:r>
              <a:rPr lang="en-US" sz="800" dirty="0">
                <a:solidFill>
                  <a:schemeClr val="tx1"/>
                </a:solidFill>
                <a:latin typeface="SangBleu Sunrise" panose="020B0504000000000004" pitchFamily="34" charset="-52"/>
                <a:ea typeface="SangBleu Sunrise" panose="020B0504000000000004" pitchFamily="34" charset="-52"/>
              </a:rPr>
              <a:t>, and </a:t>
            </a:r>
            <a:r>
              <a:rPr lang="en-US" sz="800" i="1" dirty="0">
                <a:solidFill>
                  <a:schemeClr val="tx1"/>
                </a:solidFill>
                <a:latin typeface="SangBleu Sunrise" panose="020B0504000000000004" pitchFamily="34" charset="-52"/>
                <a:ea typeface="SangBleu Sunrise" panose="020B0504000000000004" pitchFamily="34" charset="-52"/>
              </a:rPr>
              <a:t>Oxaliplatin</a:t>
            </a:r>
            <a:r>
              <a:rPr lang="en-US" sz="800" dirty="0">
                <a:solidFill>
                  <a:schemeClr val="tx1"/>
                </a:solidFill>
                <a:latin typeface="SangBleu Sunrise" panose="020B0504000000000004" pitchFamily="34" charset="-52"/>
                <a:ea typeface="SangBleu Sunrise" panose="020B0504000000000004" pitchFamily="34" charset="-52"/>
              </a:rPr>
              <a:t> for the oncology market. The first three drugs each captured over 20% of their respective molecule markets and collectively brought in ₽1.9 billion in 2023 — equivalent to 12% of PROMOMED’s total revenue.</a:t>
            </a:r>
          </a:p>
        </p:txBody>
      </p:sp>
      <p:sp>
        <p:nvSpPr>
          <p:cNvPr id="121" name="Rectangle 120">
            <a:extLst>
              <a:ext uri="{FF2B5EF4-FFF2-40B4-BE49-F238E27FC236}">
                <a16:creationId xmlns:a16="http://schemas.microsoft.com/office/drawing/2014/main" id="{BDCC7487-B2DB-48C2-B4FE-BF820AC7114A}"/>
              </a:ext>
            </a:extLst>
          </p:cNvPr>
          <p:cNvSpPr/>
          <p:nvPr/>
        </p:nvSpPr>
        <p:spPr>
          <a:xfrm>
            <a:off x="1026019" y="4936736"/>
            <a:ext cx="2227677" cy="792677"/>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Largest Number of Oncology Drugs:</a:t>
            </a:r>
            <a:br>
              <a:rPr lang="en-US" sz="800" dirty="0">
                <a:solidFill>
                  <a:schemeClr val="tx1"/>
                </a:solidFill>
                <a:latin typeface="SangBleu Sunrise" panose="020B0504000000000004" pitchFamily="34" charset="-52"/>
                <a:ea typeface="SangBleu Sunrise" panose="020B0504000000000004" pitchFamily="34" charset="-52"/>
              </a:rPr>
            </a:br>
            <a:r>
              <a:rPr lang="en-US" sz="800" dirty="0">
                <a:solidFill>
                  <a:schemeClr val="tx1"/>
                </a:solidFill>
                <a:latin typeface="SangBleu Sunrise" panose="020B0504000000000004" pitchFamily="34" charset="-52"/>
                <a:ea typeface="SangBleu Sunrise" panose="020B0504000000000004" pitchFamily="34" charset="-52"/>
              </a:rPr>
              <a:t>PROMOMED has the largest number of strategically important products in the oncology segment, with 32 drugs across various indications — and this number continues to grow.</a:t>
            </a:r>
          </a:p>
        </p:txBody>
      </p:sp>
      <p:sp>
        <p:nvSpPr>
          <p:cNvPr id="122" name="Title 3">
            <a:extLst>
              <a:ext uri="{FF2B5EF4-FFF2-40B4-BE49-F238E27FC236}">
                <a16:creationId xmlns:a16="http://schemas.microsoft.com/office/drawing/2014/main" id="{742BC110-E927-48C3-9766-3E8AE392BB38}"/>
              </a:ext>
            </a:extLst>
          </p:cNvPr>
          <p:cNvSpPr txBox="1">
            <a:spLocks/>
          </p:cNvSpPr>
          <p:nvPr/>
        </p:nvSpPr>
        <p:spPr>
          <a:xfrm>
            <a:off x="3597848" y="1037030"/>
            <a:ext cx="2403475" cy="230738"/>
          </a:xfrm>
          <a:prstGeom prst="rect">
            <a:avLst/>
          </a:prstGeom>
          <a:solidFill>
            <a:schemeClr val="accent1">
              <a:lumMod val="50000"/>
            </a:schemeClr>
          </a:solidFill>
          <a:ln>
            <a:noFill/>
          </a:ln>
        </p:spPr>
        <p:txBody>
          <a:bodyPr vert="horz" wrap="square" lIns="58500" tIns="58500" rIns="58500" bIns="58500" rtlCol="0"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a:solidFill>
                  <a:schemeClr val="bg1"/>
                </a:solidFill>
                <a:latin typeface="SangBleu Sunrise" panose="020B0504000000000004" pitchFamily="34" charset="-52"/>
                <a:ea typeface="SangBleu Sunrise" panose="020B0504000000000004" pitchFamily="34" charset="-52"/>
              </a:rPr>
              <a:t>Neurological, Antiviral and other treatments:</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123" name="Rectangle 122">
            <a:extLst>
              <a:ext uri="{FF2B5EF4-FFF2-40B4-BE49-F238E27FC236}">
                <a16:creationId xmlns:a16="http://schemas.microsoft.com/office/drawing/2014/main" id="{33E5FE0D-1555-491C-AF29-D1E31BEF678D}"/>
              </a:ext>
            </a:extLst>
          </p:cNvPr>
          <p:cNvSpPr/>
          <p:nvPr/>
        </p:nvSpPr>
        <p:spPr>
          <a:xfrm>
            <a:off x="3597848" y="1316933"/>
            <a:ext cx="2227677" cy="990262"/>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Neurology</a:t>
            </a:r>
            <a:r>
              <a:rPr lang="en-US" sz="800" dirty="0">
                <a:solidFill>
                  <a:schemeClr val="tx1"/>
                </a:solidFill>
                <a:latin typeface="SangBleu Sunrise" panose="020B0504000000000004" pitchFamily="34" charset="-52"/>
                <a:ea typeface="SangBleu Sunrise" panose="020B0504000000000004" pitchFamily="34" charset="-52"/>
              </a:rPr>
              <a:t>: Neurology is PROMOMED’s third-largest therapeutic area by revenue, consistently contributing around </a:t>
            </a:r>
            <a:r>
              <a:rPr lang="en-US" sz="800" b="1" dirty="0">
                <a:solidFill>
                  <a:schemeClr val="tx1"/>
                </a:solidFill>
                <a:latin typeface="SangBleu Sunrise" panose="020B0504000000000004" pitchFamily="34" charset="-52"/>
                <a:ea typeface="SangBleu Sunrise" panose="020B0504000000000004" pitchFamily="34" charset="-52"/>
              </a:rPr>
              <a:t>10%</a:t>
            </a:r>
            <a:r>
              <a:rPr lang="en-US" sz="800" dirty="0">
                <a:solidFill>
                  <a:schemeClr val="tx1"/>
                </a:solidFill>
                <a:latin typeface="SangBleu Sunrise" panose="020B0504000000000004" pitchFamily="34" charset="-52"/>
                <a:ea typeface="SangBleu Sunrise" panose="020B0504000000000004" pitchFamily="34" charset="-52"/>
              </a:rPr>
              <a:t> of the company’s income over the past five years. The most prominent drugs in this segment are </a:t>
            </a:r>
            <a:r>
              <a:rPr lang="en-US" sz="800" i="1" dirty="0" err="1">
                <a:solidFill>
                  <a:schemeClr val="tx1"/>
                </a:solidFill>
                <a:latin typeface="SangBleu Sunrise" panose="020B0504000000000004" pitchFamily="34" charset="-52"/>
                <a:ea typeface="SangBleu Sunrise" panose="020B0504000000000004" pitchFamily="34" charset="-52"/>
              </a:rPr>
              <a:t>Etaria</a:t>
            </a:r>
            <a:r>
              <a:rPr lang="en-US" sz="800" dirty="0">
                <a:solidFill>
                  <a:schemeClr val="tx1"/>
                </a:solidFill>
                <a:latin typeface="SangBleu Sunrise" panose="020B0504000000000004" pitchFamily="34" charset="-52"/>
                <a:ea typeface="SangBleu Sunrise" panose="020B0504000000000004" pitchFamily="34" charset="-52"/>
              </a:rPr>
              <a:t> and </a:t>
            </a:r>
            <a:r>
              <a:rPr lang="en-US" sz="800" i="1" dirty="0" err="1">
                <a:solidFill>
                  <a:schemeClr val="tx1"/>
                </a:solidFill>
                <a:latin typeface="SangBleu Sunrise" panose="020B0504000000000004" pitchFamily="34" charset="-52"/>
                <a:ea typeface="SangBleu Sunrise" panose="020B0504000000000004" pitchFamily="34" charset="-52"/>
              </a:rPr>
              <a:t>Lornia</a:t>
            </a:r>
            <a:r>
              <a:rPr lang="en-US" sz="800" dirty="0">
                <a:solidFill>
                  <a:schemeClr val="tx1"/>
                </a:solidFill>
                <a:latin typeface="SangBleu Sunrise" panose="020B0504000000000004" pitchFamily="34" charset="-52"/>
                <a:ea typeface="SangBleu Sunrise" panose="020B0504000000000004" pitchFamily="34" charset="-52"/>
              </a:rPr>
              <a:t>.</a:t>
            </a:r>
          </a:p>
        </p:txBody>
      </p:sp>
      <p:sp>
        <p:nvSpPr>
          <p:cNvPr id="130" name="Rectangle 129">
            <a:extLst>
              <a:ext uri="{FF2B5EF4-FFF2-40B4-BE49-F238E27FC236}">
                <a16:creationId xmlns:a16="http://schemas.microsoft.com/office/drawing/2014/main" id="{4E528B75-EA1C-4073-9684-710630B7E434}"/>
              </a:ext>
            </a:extLst>
          </p:cNvPr>
          <p:cNvSpPr/>
          <p:nvPr/>
        </p:nvSpPr>
        <p:spPr>
          <a:xfrm>
            <a:off x="3604303" y="2530545"/>
            <a:ext cx="2227677" cy="990262"/>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Antiviral and Others: </a:t>
            </a:r>
            <a:r>
              <a:rPr lang="en-US" sz="800" dirty="0">
                <a:solidFill>
                  <a:schemeClr val="tx1"/>
                </a:solidFill>
                <a:latin typeface="SangBleu Sunrise" panose="020B0504000000000004" pitchFamily="34" charset="-52"/>
                <a:ea typeface="SangBleu Sunrise" panose="020B0504000000000004" pitchFamily="34" charset="-52"/>
              </a:rPr>
              <a:t>Among PROMOMED’s remaining therapeutic areas, </a:t>
            </a:r>
            <a:r>
              <a:rPr lang="en-US" sz="800" i="1" dirty="0" err="1">
                <a:solidFill>
                  <a:schemeClr val="tx1"/>
                </a:solidFill>
                <a:latin typeface="SangBleu Sunrise" panose="020B0504000000000004" pitchFamily="34" charset="-52"/>
                <a:ea typeface="SangBleu Sunrise" panose="020B0504000000000004" pitchFamily="34" charset="-52"/>
              </a:rPr>
              <a:t>Ambene</a:t>
            </a:r>
            <a:r>
              <a:rPr lang="en-US" sz="800" i="1" dirty="0">
                <a:solidFill>
                  <a:schemeClr val="tx1"/>
                </a:solidFill>
                <a:latin typeface="SangBleu Sunrise" panose="020B0504000000000004" pitchFamily="34" charset="-52"/>
                <a:ea typeface="SangBleu Sunrise" panose="020B0504000000000004" pitchFamily="34" charset="-52"/>
              </a:rPr>
              <a:t> Bio</a:t>
            </a:r>
            <a:r>
              <a:rPr lang="en-US" sz="800" dirty="0">
                <a:solidFill>
                  <a:schemeClr val="tx1"/>
                </a:solidFill>
                <a:latin typeface="SangBleu Sunrise" panose="020B0504000000000004" pitchFamily="34" charset="-52"/>
                <a:ea typeface="SangBleu Sunrise" panose="020B0504000000000004" pitchFamily="34" charset="-52"/>
              </a:rPr>
              <a:t> and </a:t>
            </a:r>
            <a:r>
              <a:rPr lang="en-US" sz="800" i="1" dirty="0" err="1">
                <a:solidFill>
                  <a:schemeClr val="tx1"/>
                </a:solidFill>
                <a:latin typeface="SangBleu Sunrise" panose="020B0504000000000004" pitchFamily="34" charset="-52"/>
                <a:ea typeface="SangBleu Sunrise" panose="020B0504000000000004" pitchFamily="34" charset="-52"/>
              </a:rPr>
              <a:t>Rolnavir</a:t>
            </a:r>
            <a:r>
              <a:rPr lang="en-US" sz="800" dirty="0">
                <a:solidFill>
                  <a:schemeClr val="tx1"/>
                </a:solidFill>
                <a:latin typeface="SangBleu Sunrise" panose="020B0504000000000004" pitchFamily="34" charset="-52"/>
                <a:ea typeface="SangBleu Sunrise" panose="020B0504000000000004" pitchFamily="34" charset="-52"/>
              </a:rPr>
              <a:t> stand out. In 2023, these drugs generated ₽948 million and ₽895 million in revenue, respectively — accounting for 6% and 5.6% of the company’s total revenue.</a:t>
            </a:r>
          </a:p>
        </p:txBody>
      </p:sp>
      <p:sp>
        <p:nvSpPr>
          <p:cNvPr id="131" name="Rectangle 130">
            <a:extLst>
              <a:ext uri="{FF2B5EF4-FFF2-40B4-BE49-F238E27FC236}">
                <a16:creationId xmlns:a16="http://schemas.microsoft.com/office/drawing/2014/main" id="{58324888-2D8D-4022-8F1C-A569F34C7DB7}"/>
              </a:ext>
            </a:extLst>
          </p:cNvPr>
          <p:cNvSpPr/>
          <p:nvPr/>
        </p:nvSpPr>
        <p:spPr>
          <a:xfrm>
            <a:off x="1038224" y="6170613"/>
            <a:ext cx="2228850" cy="1195020"/>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dirty="0">
                <a:solidFill>
                  <a:schemeClr val="tx1"/>
                </a:solidFill>
                <a:latin typeface="SangBleu Sunrise" panose="020B0504000000000004" pitchFamily="34" charset="-52"/>
                <a:ea typeface="SangBleu Sunrise" panose="020B0504000000000004" pitchFamily="34" charset="-52"/>
              </a:rPr>
              <a:t>A key factor influencing the Group’s performance in 2021–2022 was the COVID-19 pandemic. The strong financial results generated from the development and commercialization of these drugs enabled the company to invest in high-potential areas, which now serve as the primary growth drivers for PROMOMED’s business.</a:t>
            </a:r>
          </a:p>
        </p:txBody>
      </p:sp>
      <p:sp>
        <p:nvSpPr>
          <p:cNvPr id="132" name="Title 3">
            <a:extLst>
              <a:ext uri="{FF2B5EF4-FFF2-40B4-BE49-F238E27FC236}">
                <a16:creationId xmlns:a16="http://schemas.microsoft.com/office/drawing/2014/main" id="{70E190DD-D2D8-4A99-9792-6ECE0EAC4986}"/>
              </a:ext>
            </a:extLst>
          </p:cNvPr>
          <p:cNvSpPr txBox="1">
            <a:spLocks/>
          </p:cNvSpPr>
          <p:nvPr/>
        </p:nvSpPr>
        <p:spPr>
          <a:xfrm>
            <a:off x="1044575" y="5889625"/>
            <a:ext cx="2222500" cy="231775"/>
          </a:xfrm>
          <a:prstGeom prst="rect">
            <a:avLst/>
          </a:prstGeom>
          <a:solidFill>
            <a:schemeClr val="accent1">
              <a:lumMod val="50000"/>
            </a:schemeClr>
          </a:solidFill>
          <a:ln>
            <a:noFill/>
          </a:ln>
        </p:spPr>
        <p:txBody>
          <a:bodyPr vert="horz" wrap="square" lIns="58500" tIns="58500" rIns="58500" bIns="58500" rtlCol="0" anchor="ctr"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a:solidFill>
                  <a:schemeClr val="bg1"/>
                </a:solidFill>
                <a:latin typeface="SangBleu Sunrise" panose="020B0504000000000004" pitchFamily="34" charset="-52"/>
                <a:ea typeface="SangBleu Sunrise" panose="020B0504000000000004" pitchFamily="34" charset="-52"/>
              </a:rPr>
              <a:t>COVID:</a:t>
            </a:r>
            <a:endParaRPr lang="ru-RU" sz="800" b="1" dirty="0">
              <a:solidFill>
                <a:schemeClr val="bg1"/>
              </a:solidFill>
              <a:latin typeface="SangBleu Sunrise" panose="020B0504000000000004" pitchFamily="34" charset="-52"/>
              <a:ea typeface="SangBleu Sunrise" panose="020B0504000000000004" pitchFamily="34" charset="-52"/>
            </a:endParaRPr>
          </a:p>
        </p:txBody>
      </p:sp>
      <p:graphicFrame>
        <p:nvGraphicFramePr>
          <p:cNvPr id="444" name="Chart 443">
            <a:extLst>
              <a:ext uri="{FF2B5EF4-FFF2-40B4-BE49-F238E27FC236}">
                <a16:creationId xmlns:a16="http://schemas.microsoft.com/office/drawing/2014/main" id="{B48E7913-7851-4355-8DC3-6E97CFD05F1A}"/>
              </a:ext>
            </a:extLst>
          </p:cNvPr>
          <p:cNvGraphicFramePr/>
          <p:nvPr>
            <p:custDataLst>
              <p:tags r:id="rId4"/>
            </p:custDataLst>
            <p:extLst>
              <p:ext uri="{D42A27DB-BD31-4B8C-83A1-F6EECF244321}">
                <p14:modId xmlns:p14="http://schemas.microsoft.com/office/powerpoint/2010/main" val="1312125262"/>
              </p:ext>
            </p:extLst>
          </p:nvPr>
        </p:nvGraphicFramePr>
        <p:xfrm>
          <a:off x="949325" y="7404100"/>
          <a:ext cx="2393950" cy="1239838"/>
        </p:xfrm>
        <a:graphic>
          <a:graphicData uri="http://schemas.openxmlformats.org/drawingml/2006/chart">
            <c:chart xmlns:c="http://schemas.openxmlformats.org/drawingml/2006/chart" xmlns:r="http://schemas.openxmlformats.org/officeDocument/2006/relationships" r:id="rId64"/>
          </a:graphicData>
        </a:graphic>
      </p:graphicFrame>
      <p:sp>
        <p:nvSpPr>
          <p:cNvPr id="180" name="Text Placeholder 2">
            <a:extLst>
              <a:ext uri="{FF2B5EF4-FFF2-40B4-BE49-F238E27FC236}">
                <a16:creationId xmlns:a16="http://schemas.microsoft.com/office/drawing/2014/main" id="{F8D3760A-13B7-4CB5-936D-8382DE7D12B0}"/>
              </a:ext>
            </a:extLst>
          </p:cNvPr>
          <p:cNvSpPr>
            <a:spLocks noGrp="1"/>
          </p:cNvSpPr>
          <p:nvPr>
            <p:custDataLst>
              <p:tags r:id="rId5"/>
            </p:custDataLst>
          </p:nvPr>
        </p:nvSpPr>
        <p:spPr bwMode="auto">
          <a:xfrm>
            <a:off x="1079500" y="8491538"/>
            <a:ext cx="2762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2619ACC-3B6B-4B0B-9D5D-DDBD9A4C52F4}" type="datetime'''''''2''''''0''''2''''''''''''''''''''''''4'">
              <a:rPr lang="ru-RU" altLang="en-US" sz="800" smtClean="0">
                <a:latin typeface="SangBleu Sunrise" panose="020B0504000000000004" pitchFamily="34" charset="-52"/>
                <a:ea typeface="SangBleu Sunrise" panose="020B0504000000000004" pitchFamily="34" charset="-52"/>
              </a:rPr>
              <a:pPr/>
              <a:t>2024</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58" name="Text Placeholder 2">
            <a:extLst>
              <a:ext uri="{FF2B5EF4-FFF2-40B4-BE49-F238E27FC236}">
                <a16:creationId xmlns:a16="http://schemas.microsoft.com/office/drawing/2014/main" id="{37605E66-1FFF-4F18-997E-CEEAC27023C8}"/>
              </a:ext>
            </a:extLst>
          </p:cNvPr>
          <p:cNvSpPr>
            <a:spLocks noGrp="1"/>
          </p:cNvSpPr>
          <p:nvPr>
            <p:custDataLst>
              <p:tags r:id="rId6"/>
            </p:custDataLst>
          </p:nvPr>
        </p:nvSpPr>
        <p:spPr bwMode="auto">
          <a:xfrm>
            <a:off x="1455738" y="8491538"/>
            <a:ext cx="2667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F8CEB4A4-010A-47D2-91D3-351E038FC230}" type="datetime'''2''0''''''''''''''''''''''''''''2''3'''''''">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3</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59" name="Text Placeholder 2">
            <a:extLst>
              <a:ext uri="{FF2B5EF4-FFF2-40B4-BE49-F238E27FC236}">
                <a16:creationId xmlns:a16="http://schemas.microsoft.com/office/drawing/2014/main" id="{B07EFEF9-85F5-4CC8-A03D-C1C8809AAEB6}"/>
              </a:ext>
            </a:extLst>
          </p:cNvPr>
          <p:cNvSpPr>
            <a:spLocks noGrp="1"/>
          </p:cNvSpPr>
          <p:nvPr>
            <p:custDataLst>
              <p:tags r:id="rId7"/>
            </p:custDataLst>
          </p:nvPr>
        </p:nvSpPr>
        <p:spPr bwMode="auto">
          <a:xfrm>
            <a:off x="1827213" y="8491538"/>
            <a:ext cx="2682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25BF58D-82A1-4AB2-89D7-23CA4827BC3A}" type="datetime'2''''''''''0''''''''''''''''''''2''''''''2'''''''''">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2</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60" name="Text Placeholder 2">
            <a:extLst>
              <a:ext uri="{FF2B5EF4-FFF2-40B4-BE49-F238E27FC236}">
                <a16:creationId xmlns:a16="http://schemas.microsoft.com/office/drawing/2014/main" id="{05E2DF61-5990-41F5-B887-7692619AB635}"/>
              </a:ext>
            </a:extLst>
          </p:cNvPr>
          <p:cNvSpPr>
            <a:spLocks noGrp="1"/>
          </p:cNvSpPr>
          <p:nvPr>
            <p:custDataLst>
              <p:tags r:id="rId8"/>
            </p:custDataLst>
          </p:nvPr>
        </p:nvSpPr>
        <p:spPr bwMode="auto">
          <a:xfrm>
            <a:off x="2209800" y="8491538"/>
            <a:ext cx="2460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A21D0B17-5298-4669-9B19-85AF2AF61A21}" type="datetime'''''''''''''2''''''''''''''''''''''0''''''''2''''''''1'">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1</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61" name="Text Placeholder 2">
            <a:extLst>
              <a:ext uri="{FF2B5EF4-FFF2-40B4-BE49-F238E27FC236}">
                <a16:creationId xmlns:a16="http://schemas.microsoft.com/office/drawing/2014/main" id="{FA981386-E082-4D9B-9F28-14CFCA04B513}"/>
              </a:ext>
            </a:extLst>
          </p:cNvPr>
          <p:cNvSpPr>
            <a:spLocks noGrp="1"/>
          </p:cNvSpPr>
          <p:nvPr>
            <p:custDataLst>
              <p:tags r:id="rId9"/>
            </p:custDataLst>
          </p:nvPr>
        </p:nvSpPr>
        <p:spPr bwMode="auto">
          <a:xfrm>
            <a:off x="2565400" y="8491538"/>
            <a:ext cx="2762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3D615B1-7F92-4739-9098-DCDC3A28A0FD}" type="datetime'''''2''''''''''''''''''02''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62" name="Text Placeholder 2">
            <a:extLst>
              <a:ext uri="{FF2B5EF4-FFF2-40B4-BE49-F238E27FC236}">
                <a16:creationId xmlns:a16="http://schemas.microsoft.com/office/drawing/2014/main" id="{D7336D6E-4A68-414A-ADCC-3C2D98B3F0B2}"/>
              </a:ext>
            </a:extLst>
          </p:cNvPr>
          <p:cNvSpPr>
            <a:spLocks noGrp="1"/>
          </p:cNvSpPr>
          <p:nvPr>
            <p:custDataLst>
              <p:tags r:id="rId10"/>
            </p:custDataLst>
          </p:nvPr>
        </p:nvSpPr>
        <p:spPr bwMode="auto">
          <a:xfrm>
            <a:off x="2951163" y="8491538"/>
            <a:ext cx="24923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6DDB6BC-7731-4038-B03D-DB3036247267}" type="datetime'''20''''''''''''''''''''''19'''''''''''''''">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19</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84" name="Text Placeholder 2">
            <a:extLst>
              <a:ext uri="{FF2B5EF4-FFF2-40B4-BE49-F238E27FC236}">
                <a16:creationId xmlns:a16="http://schemas.microsoft.com/office/drawing/2014/main" id="{9A1A2A9C-F92B-4CB5-9CC9-FA4A65788058}"/>
              </a:ext>
            </a:extLst>
          </p:cNvPr>
          <p:cNvSpPr>
            <a:spLocks noGrp="1"/>
          </p:cNvSpPr>
          <p:nvPr>
            <p:custDataLst>
              <p:tags r:id="rId11"/>
            </p:custDataLst>
          </p:nvPr>
        </p:nvSpPr>
        <p:spPr bwMode="gray">
          <a:xfrm>
            <a:off x="1119188" y="8323263"/>
            <a:ext cx="1968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1FD476B-F7D7-45D6-B65B-AD83387BC8B7}" type="datetime'''''''''''0'''''',''''''''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0,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69" name="Text Placeholder 2">
            <a:extLst>
              <a:ext uri="{FF2B5EF4-FFF2-40B4-BE49-F238E27FC236}">
                <a16:creationId xmlns:a16="http://schemas.microsoft.com/office/drawing/2014/main" id="{4DCACC1A-3DBA-4FAC-BE15-E43BCDCF1ABA}"/>
              </a:ext>
            </a:extLst>
          </p:cNvPr>
          <p:cNvSpPr>
            <a:spLocks noGrp="1"/>
          </p:cNvSpPr>
          <p:nvPr>
            <p:custDataLst>
              <p:tags r:id="rId12"/>
            </p:custDataLst>
          </p:nvPr>
        </p:nvSpPr>
        <p:spPr bwMode="gray">
          <a:xfrm>
            <a:off x="2976563" y="8323263"/>
            <a:ext cx="1968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4288" tIns="0" rIns="14288"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BDA8BA4-7CF3-4E6D-92FD-5F2840E5B809}" type="datetime'''''''''''''''''''''''''''''''''''''0'''''''''',''''''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0,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1" name="Rectangle 30">
            <a:extLst>
              <a:ext uri="{FF2B5EF4-FFF2-40B4-BE49-F238E27FC236}">
                <a16:creationId xmlns:a16="http://schemas.microsoft.com/office/drawing/2014/main" id="{46305EA2-205F-40AE-89B0-AC0533D30586}"/>
              </a:ext>
            </a:extLst>
          </p:cNvPr>
          <p:cNvSpPr/>
          <p:nvPr>
            <p:custDataLst>
              <p:tags r:id="rId13"/>
            </p:custDataLst>
          </p:nvPr>
        </p:nvSpPr>
        <p:spPr bwMode="auto">
          <a:xfrm>
            <a:off x="1085850" y="7516813"/>
            <a:ext cx="142875" cy="106363"/>
          </a:xfrm>
          <a:prstGeom prst="rect">
            <a:avLst/>
          </a:prstGeom>
          <a:solidFill>
            <a:srgbClr val="BF900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4" name="Text Placeholder 2">
            <a:extLst>
              <a:ext uri="{FF2B5EF4-FFF2-40B4-BE49-F238E27FC236}">
                <a16:creationId xmlns:a16="http://schemas.microsoft.com/office/drawing/2014/main" id="{170C7194-26BE-46B6-A8CC-16B30D7FF3FC}"/>
              </a:ext>
            </a:extLst>
          </p:cNvPr>
          <p:cNvSpPr>
            <a:spLocks noGrp="1"/>
          </p:cNvSpPr>
          <p:nvPr>
            <p:custDataLst>
              <p:tags r:id="rId14"/>
            </p:custDataLst>
          </p:nvPr>
        </p:nvSpPr>
        <p:spPr bwMode="auto">
          <a:xfrm>
            <a:off x="1279525" y="7521575"/>
            <a:ext cx="8953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C73EC32A-A688-4873-A330-7E4EDC0CE6CF}" type="datetime'''R''''e''venue, ''''''''''b''''l''''n'' ''''''R''''UB'''''''">
              <a:rPr lang="en-US" altLang="en-US" sz="800" smtClean="0">
                <a:latin typeface="SangBleu Sunrise" panose="020B0504000000000004" pitchFamily="34" charset="-52"/>
                <a:ea typeface="SangBleu Sunrise" panose="020B0504000000000004" pitchFamily="34" charset="-52"/>
              </a:rPr>
              <a:pPr/>
              <a:t>Revenue, bln RUB</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graphicFrame>
        <p:nvGraphicFramePr>
          <p:cNvPr id="176" name="Chart 175">
            <a:extLst>
              <a:ext uri="{FF2B5EF4-FFF2-40B4-BE49-F238E27FC236}">
                <a16:creationId xmlns:a16="http://schemas.microsoft.com/office/drawing/2014/main" id="{A8381E45-791F-405D-A8C2-031AECD1D7E5}"/>
              </a:ext>
            </a:extLst>
          </p:cNvPr>
          <p:cNvGraphicFramePr/>
          <p:nvPr>
            <p:custDataLst>
              <p:tags r:id="rId15"/>
            </p:custDataLst>
            <p:extLst>
              <p:ext uri="{D42A27DB-BD31-4B8C-83A1-F6EECF244321}">
                <p14:modId xmlns:p14="http://schemas.microsoft.com/office/powerpoint/2010/main" val="73468983"/>
              </p:ext>
            </p:extLst>
          </p:nvPr>
        </p:nvGraphicFramePr>
        <p:xfrm>
          <a:off x="3609975" y="4103688"/>
          <a:ext cx="2447925" cy="1708150"/>
        </p:xfrm>
        <a:graphic>
          <a:graphicData uri="http://schemas.openxmlformats.org/drawingml/2006/chart">
            <c:chart xmlns:c="http://schemas.openxmlformats.org/drawingml/2006/chart" xmlns:r="http://schemas.openxmlformats.org/officeDocument/2006/relationships" r:id="rId65"/>
          </a:graphicData>
        </a:graphic>
      </p:graphicFrame>
      <p:sp>
        <p:nvSpPr>
          <p:cNvPr id="307" name="Text Placeholder 2">
            <a:extLst>
              <a:ext uri="{FF2B5EF4-FFF2-40B4-BE49-F238E27FC236}">
                <a16:creationId xmlns:a16="http://schemas.microsoft.com/office/drawing/2014/main" id="{C8C2CD67-E927-4320-AAB8-4EF9CC4E78B9}"/>
              </a:ext>
            </a:extLst>
          </p:cNvPr>
          <p:cNvSpPr>
            <a:spLocks noGrp="1"/>
          </p:cNvSpPr>
          <p:nvPr>
            <p:custDataLst>
              <p:tags r:id="rId16"/>
            </p:custDataLst>
          </p:nvPr>
        </p:nvSpPr>
        <p:spPr bwMode="gray">
          <a:xfrm>
            <a:off x="6075363" y="5678488"/>
            <a:ext cx="698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E00EE48D-A410-47CE-821D-CF4D7C70DC3D}" type="datetime'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13" name="Text Placeholder 2">
            <a:extLst>
              <a:ext uri="{FF2B5EF4-FFF2-40B4-BE49-F238E27FC236}">
                <a16:creationId xmlns:a16="http://schemas.microsoft.com/office/drawing/2014/main" id="{8E99C6EC-D7BA-42E4-B03E-BA7C7AFA68D8}"/>
              </a:ext>
            </a:extLst>
          </p:cNvPr>
          <p:cNvSpPr>
            <a:spLocks noGrp="1"/>
          </p:cNvSpPr>
          <p:nvPr>
            <p:custDataLst>
              <p:tags r:id="rId17"/>
            </p:custDataLst>
          </p:nvPr>
        </p:nvSpPr>
        <p:spPr bwMode="gray">
          <a:xfrm>
            <a:off x="6075363" y="5486400"/>
            <a:ext cx="2984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59A4A854-F99D-488D-9817-7D36F5C8AD97}" type="datetime'''''''''''''2''''''''''.''''''''''''''00''''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2.00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25" name="Text Placeholder 2">
            <a:extLst>
              <a:ext uri="{FF2B5EF4-FFF2-40B4-BE49-F238E27FC236}">
                <a16:creationId xmlns:a16="http://schemas.microsoft.com/office/drawing/2014/main" id="{736D149C-6A95-4D12-BAD1-65203691F1FD}"/>
              </a:ext>
            </a:extLst>
          </p:cNvPr>
          <p:cNvSpPr>
            <a:spLocks noGrp="1"/>
          </p:cNvSpPr>
          <p:nvPr>
            <p:custDataLst>
              <p:tags r:id="rId18"/>
            </p:custDataLst>
          </p:nvPr>
        </p:nvSpPr>
        <p:spPr bwMode="gray">
          <a:xfrm>
            <a:off x="6075363" y="5292725"/>
            <a:ext cx="3063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50DBD54E-F5C6-4FAE-880D-D2248FC5B601}" type="datetime'''''4''''''''''''''''''''.''0''''''''0''''''''''''''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4.00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27" name="Text Placeholder 2">
            <a:extLst>
              <a:ext uri="{FF2B5EF4-FFF2-40B4-BE49-F238E27FC236}">
                <a16:creationId xmlns:a16="http://schemas.microsoft.com/office/drawing/2014/main" id="{99954A9C-9A58-47F3-9ACC-4D456C694849}"/>
              </a:ext>
            </a:extLst>
          </p:cNvPr>
          <p:cNvSpPr>
            <a:spLocks noGrp="1"/>
          </p:cNvSpPr>
          <p:nvPr>
            <p:custDataLst>
              <p:tags r:id="rId19"/>
            </p:custDataLst>
          </p:nvPr>
        </p:nvSpPr>
        <p:spPr bwMode="gray">
          <a:xfrm>
            <a:off x="6075363" y="5100638"/>
            <a:ext cx="3016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5B1374EE-1EBA-48DA-8F82-A05FECAAF5E2}" type="datetime'6''.''''''''''''''''''''''''0''0''''''''''''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6.00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29" name="Text Placeholder 2">
            <a:extLst>
              <a:ext uri="{FF2B5EF4-FFF2-40B4-BE49-F238E27FC236}">
                <a16:creationId xmlns:a16="http://schemas.microsoft.com/office/drawing/2014/main" id="{A699763F-B776-4FB7-BF78-0475D01ACBE8}"/>
              </a:ext>
            </a:extLst>
          </p:cNvPr>
          <p:cNvSpPr>
            <a:spLocks noGrp="1"/>
          </p:cNvSpPr>
          <p:nvPr>
            <p:custDataLst>
              <p:tags r:id="rId20"/>
            </p:custDataLst>
          </p:nvPr>
        </p:nvSpPr>
        <p:spPr bwMode="gray">
          <a:xfrm>
            <a:off x="6075363" y="4906963"/>
            <a:ext cx="2984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8C4AF241-DC7E-4D44-95DA-0B6A4624138A}" type="datetime'''''''''8''.''''0''''''0''''''''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8.00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31" name="Text Placeholder 2">
            <a:extLst>
              <a:ext uri="{FF2B5EF4-FFF2-40B4-BE49-F238E27FC236}">
                <a16:creationId xmlns:a16="http://schemas.microsoft.com/office/drawing/2014/main" id="{90A2FF5A-CE89-4CB1-9E0D-92E61BC4EE79}"/>
              </a:ext>
            </a:extLst>
          </p:cNvPr>
          <p:cNvSpPr>
            <a:spLocks noGrp="1"/>
          </p:cNvSpPr>
          <p:nvPr>
            <p:custDataLst>
              <p:tags r:id="rId21"/>
            </p:custDataLst>
          </p:nvPr>
        </p:nvSpPr>
        <p:spPr bwMode="gray">
          <a:xfrm>
            <a:off x="6075363" y="4714875"/>
            <a:ext cx="34607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E8A5ABCD-2BD6-4AEE-85EA-6C46E28B93E4}" type="datetime'''''''''1''''''''''''''''''''''0''''''''''.0''''0''''''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0.00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33" name="Text Placeholder 2">
            <a:extLst>
              <a:ext uri="{FF2B5EF4-FFF2-40B4-BE49-F238E27FC236}">
                <a16:creationId xmlns:a16="http://schemas.microsoft.com/office/drawing/2014/main" id="{EB1A8C3F-F4B0-4BB8-8B4B-62A92E1E1DB9}"/>
              </a:ext>
            </a:extLst>
          </p:cNvPr>
          <p:cNvSpPr>
            <a:spLocks noGrp="1"/>
          </p:cNvSpPr>
          <p:nvPr>
            <p:custDataLst>
              <p:tags r:id="rId22"/>
            </p:custDataLst>
          </p:nvPr>
        </p:nvSpPr>
        <p:spPr bwMode="gray">
          <a:xfrm>
            <a:off x="6075363" y="4521200"/>
            <a:ext cx="33813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C4540D37-6866-4805-87F4-8922F485F272}" type="datetime'1''''''''''''2''.''''''''0''''''0''''''''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2.00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53" name="Text Placeholder 2">
            <a:extLst>
              <a:ext uri="{FF2B5EF4-FFF2-40B4-BE49-F238E27FC236}">
                <a16:creationId xmlns:a16="http://schemas.microsoft.com/office/drawing/2014/main" id="{61C31317-8F16-4CB0-8057-E9322940C46F}"/>
              </a:ext>
            </a:extLst>
          </p:cNvPr>
          <p:cNvSpPr>
            <a:spLocks noGrp="1"/>
          </p:cNvSpPr>
          <p:nvPr>
            <p:custDataLst>
              <p:tags r:id="rId23"/>
            </p:custDataLst>
          </p:nvPr>
        </p:nvSpPr>
        <p:spPr bwMode="gray">
          <a:xfrm>
            <a:off x="6075363" y="4329113"/>
            <a:ext cx="34607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2C323818-B04B-4679-B380-B9F6B284B365}" type="datetime'''1''''''''''''''''''''''''''''''''''''''''4''.00''''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4.00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54" name="Text Placeholder 2">
            <a:extLst>
              <a:ext uri="{FF2B5EF4-FFF2-40B4-BE49-F238E27FC236}">
                <a16:creationId xmlns:a16="http://schemas.microsoft.com/office/drawing/2014/main" id="{5D67A833-854E-4055-9127-976D9E1A79B6}"/>
              </a:ext>
            </a:extLst>
          </p:cNvPr>
          <p:cNvSpPr>
            <a:spLocks noGrp="1"/>
          </p:cNvSpPr>
          <p:nvPr>
            <p:custDataLst>
              <p:tags r:id="rId24"/>
            </p:custDataLst>
          </p:nvPr>
        </p:nvSpPr>
        <p:spPr bwMode="gray">
          <a:xfrm>
            <a:off x="6075363" y="4135438"/>
            <a:ext cx="34131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E59FD089-92BF-4449-AFFE-D0C170D441D7}" type="datetime'''''''''''''''''''1''''6''.00''''''''''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16.00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14" name="Text Placeholder 2">
            <a:extLst>
              <a:ext uri="{FF2B5EF4-FFF2-40B4-BE49-F238E27FC236}">
                <a16:creationId xmlns:a16="http://schemas.microsoft.com/office/drawing/2014/main" id="{49E0FB00-9E52-4FCC-90A9-D78EBFE12D18}"/>
              </a:ext>
            </a:extLst>
          </p:cNvPr>
          <p:cNvSpPr>
            <a:spLocks noGrp="1"/>
          </p:cNvSpPr>
          <p:nvPr>
            <p:custDataLst>
              <p:tags r:id="rId25"/>
            </p:custDataLst>
          </p:nvPr>
        </p:nvSpPr>
        <p:spPr bwMode="auto">
          <a:xfrm>
            <a:off x="3568700" y="5762625"/>
            <a:ext cx="24923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72D82C2A-487C-459F-961A-41AE2BAB8D74}" type="datetime'''''''''''''2''''''''''0''''''''''''''1''''''''9'''''">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19</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13" name="Text Placeholder 2">
            <a:extLst>
              <a:ext uri="{FF2B5EF4-FFF2-40B4-BE49-F238E27FC236}">
                <a16:creationId xmlns:a16="http://schemas.microsoft.com/office/drawing/2014/main" id="{8B5B34E8-93F5-4669-A7C7-EA27C5C742B1}"/>
              </a:ext>
            </a:extLst>
          </p:cNvPr>
          <p:cNvSpPr>
            <a:spLocks noGrp="1"/>
          </p:cNvSpPr>
          <p:nvPr>
            <p:custDataLst>
              <p:tags r:id="rId26"/>
            </p:custDataLst>
          </p:nvPr>
        </p:nvSpPr>
        <p:spPr bwMode="auto">
          <a:xfrm>
            <a:off x="4125913" y="5762625"/>
            <a:ext cx="2762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957C5A6-043A-4583-85DB-0D2106503B87}" type="datetime'''''''''2''''''''''''''''''''''''''0''''2''''''''''''0'''''">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0</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12" name="Text Placeholder 2">
            <a:extLst>
              <a:ext uri="{FF2B5EF4-FFF2-40B4-BE49-F238E27FC236}">
                <a16:creationId xmlns:a16="http://schemas.microsoft.com/office/drawing/2014/main" id="{9D33E278-EE63-4BF4-893A-84E75F5E8291}"/>
              </a:ext>
            </a:extLst>
          </p:cNvPr>
          <p:cNvSpPr>
            <a:spLocks noGrp="1"/>
          </p:cNvSpPr>
          <p:nvPr>
            <p:custDataLst>
              <p:tags r:id="rId27"/>
            </p:custDataLst>
          </p:nvPr>
        </p:nvSpPr>
        <p:spPr bwMode="auto">
          <a:xfrm>
            <a:off x="4711700" y="5762625"/>
            <a:ext cx="2460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B637991-F142-4D66-87B3-9501CC844564}" type="datetime'''''''''''''''2''''0''''''''''''''''''''''''''''2''''''1'">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1</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11" name="Text Placeholder 2">
            <a:extLst>
              <a:ext uri="{FF2B5EF4-FFF2-40B4-BE49-F238E27FC236}">
                <a16:creationId xmlns:a16="http://schemas.microsoft.com/office/drawing/2014/main" id="{61174367-FECC-4BC4-A81B-C80644687F0E}"/>
              </a:ext>
            </a:extLst>
          </p:cNvPr>
          <p:cNvSpPr>
            <a:spLocks noGrp="1"/>
          </p:cNvSpPr>
          <p:nvPr>
            <p:custDataLst>
              <p:tags r:id="rId28"/>
            </p:custDataLst>
          </p:nvPr>
        </p:nvSpPr>
        <p:spPr bwMode="auto">
          <a:xfrm>
            <a:off x="5272088" y="5762625"/>
            <a:ext cx="2682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AF80F96A-02E5-4B78-A052-7C8903844601}" type="datetime'''''''''20''''''''2''''''''''2'''''''''">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2</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10" name="Text Placeholder 2">
            <a:extLst>
              <a:ext uri="{FF2B5EF4-FFF2-40B4-BE49-F238E27FC236}">
                <a16:creationId xmlns:a16="http://schemas.microsoft.com/office/drawing/2014/main" id="{BBF1E78D-2D4E-4EEF-AC16-A406E3569B99}"/>
              </a:ext>
            </a:extLst>
          </p:cNvPr>
          <p:cNvSpPr>
            <a:spLocks noGrp="1"/>
          </p:cNvSpPr>
          <p:nvPr>
            <p:custDataLst>
              <p:tags r:id="rId29"/>
            </p:custDataLst>
          </p:nvPr>
        </p:nvSpPr>
        <p:spPr bwMode="auto">
          <a:xfrm>
            <a:off x="5842000" y="5762625"/>
            <a:ext cx="2667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FF903A5F-461A-4008-A877-519C08EC719A}" type="datetime'''''''2''''''''''''''''0''''2''''''''3'''''''''''''">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lgn="ctr">
                <a:spcBef>
                  <a:spcPct val="0"/>
                </a:spcBef>
                <a:spcAft>
                  <a:spcPct val="0"/>
                </a:spcAft>
                <a:buNone/>
              </a:pPr>
              <a:t>2023</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7" name="Rectangle 56">
            <a:extLst>
              <a:ext uri="{FF2B5EF4-FFF2-40B4-BE49-F238E27FC236}">
                <a16:creationId xmlns:a16="http://schemas.microsoft.com/office/drawing/2014/main" id="{FDC12A0B-D407-4E6D-86CC-E3FEC73149D3}"/>
              </a:ext>
            </a:extLst>
          </p:cNvPr>
          <p:cNvSpPr/>
          <p:nvPr>
            <p:custDataLst>
              <p:tags r:id="rId30"/>
            </p:custDataLst>
          </p:nvPr>
        </p:nvSpPr>
        <p:spPr bwMode="auto">
          <a:xfrm>
            <a:off x="3717925" y="3686175"/>
            <a:ext cx="142875" cy="106363"/>
          </a:xfrm>
          <a:prstGeom prst="rect">
            <a:avLst/>
          </a:prstGeom>
          <a:solidFill>
            <a:srgbClr val="393939"/>
          </a:solidFill>
          <a:ln w="9525"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pPr algn="l" rtl="0">
              <a:spcBef>
                <a:spcPts val="3800"/>
              </a:spcBef>
              <a:spcAft>
                <a:spcPts val="1100"/>
              </a:spcAft>
            </a:pPr>
            <a:endParaRPr lang="ru-RU" sz="800" b="1" i="0" u="none" strike="noStrike" dirty="0">
              <a:solidFill>
                <a:srgbClr val="000000"/>
              </a:solidFill>
              <a:effectLst/>
              <a:latin typeface="SangBleu Sunrise" panose="020B0504000000000004" pitchFamily="34" charset="-52"/>
              <a:ea typeface="SangBleu Sunrise" panose="020B0504000000000004" pitchFamily="34" charset="-52"/>
            </a:endParaRPr>
          </a:p>
        </p:txBody>
      </p:sp>
      <p:sp>
        <p:nvSpPr>
          <p:cNvPr id="50" name="Rectangle 49">
            <a:extLst>
              <a:ext uri="{FF2B5EF4-FFF2-40B4-BE49-F238E27FC236}">
                <a16:creationId xmlns:a16="http://schemas.microsoft.com/office/drawing/2014/main" id="{FEE9C0F1-DA8B-4109-AFD3-3E3ED934E81C}"/>
              </a:ext>
            </a:extLst>
          </p:cNvPr>
          <p:cNvSpPr/>
          <p:nvPr>
            <p:custDataLst>
              <p:tags r:id="rId31"/>
            </p:custDataLst>
          </p:nvPr>
        </p:nvSpPr>
        <p:spPr bwMode="auto">
          <a:xfrm>
            <a:off x="3717925" y="3851275"/>
            <a:ext cx="142875" cy="106363"/>
          </a:xfrm>
          <a:prstGeom prst="rect">
            <a:avLst/>
          </a:prstGeom>
          <a:solidFill>
            <a:srgbClr val="364D6E"/>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Rectangle 50">
            <a:extLst>
              <a:ext uri="{FF2B5EF4-FFF2-40B4-BE49-F238E27FC236}">
                <a16:creationId xmlns:a16="http://schemas.microsoft.com/office/drawing/2014/main" id="{6249587A-5095-4CE5-8C03-FF94566A67F1}"/>
              </a:ext>
            </a:extLst>
          </p:cNvPr>
          <p:cNvSpPr/>
          <p:nvPr>
            <p:custDataLst>
              <p:tags r:id="rId32"/>
            </p:custDataLst>
          </p:nvPr>
        </p:nvSpPr>
        <p:spPr bwMode="auto">
          <a:xfrm>
            <a:off x="3717925" y="4016375"/>
            <a:ext cx="142875" cy="106363"/>
          </a:xfrm>
          <a:prstGeom prst="rect">
            <a:avLst/>
          </a:prstGeom>
          <a:solidFill>
            <a:srgbClr val="4C6C9C"/>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 name="Rectangle 51">
            <a:extLst>
              <a:ext uri="{FF2B5EF4-FFF2-40B4-BE49-F238E27FC236}">
                <a16:creationId xmlns:a16="http://schemas.microsoft.com/office/drawing/2014/main" id="{49E90233-2DD9-4A97-B9A8-30160FA55445}"/>
              </a:ext>
            </a:extLst>
          </p:cNvPr>
          <p:cNvSpPr/>
          <p:nvPr>
            <p:custDataLst>
              <p:tags r:id="rId33"/>
            </p:custDataLst>
          </p:nvPr>
        </p:nvSpPr>
        <p:spPr bwMode="auto">
          <a:xfrm>
            <a:off x="3717925" y="4181475"/>
            <a:ext cx="142875" cy="106363"/>
          </a:xfrm>
          <a:prstGeom prst="rect">
            <a:avLst/>
          </a:prstGeom>
          <a:solidFill>
            <a:srgbClr val="6F8DB9"/>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 name="Rectangle 52">
            <a:extLst>
              <a:ext uri="{FF2B5EF4-FFF2-40B4-BE49-F238E27FC236}">
                <a16:creationId xmlns:a16="http://schemas.microsoft.com/office/drawing/2014/main" id="{95502605-3BFD-4325-82C2-0B327D414CAC}"/>
              </a:ext>
            </a:extLst>
          </p:cNvPr>
          <p:cNvSpPr/>
          <p:nvPr>
            <p:custDataLst>
              <p:tags r:id="rId34"/>
            </p:custDataLst>
          </p:nvPr>
        </p:nvSpPr>
        <p:spPr bwMode="auto">
          <a:xfrm>
            <a:off x="4733925" y="3686175"/>
            <a:ext cx="142875" cy="106363"/>
          </a:xfrm>
          <a:prstGeom prst="rect">
            <a:avLst/>
          </a:prstGeom>
          <a:solidFill>
            <a:srgbClr val="9DB1CF"/>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 name="Rectangle 53">
            <a:extLst>
              <a:ext uri="{FF2B5EF4-FFF2-40B4-BE49-F238E27FC236}">
                <a16:creationId xmlns:a16="http://schemas.microsoft.com/office/drawing/2014/main" id="{B6004F3A-861A-4121-BB69-B572B0E628A8}"/>
              </a:ext>
            </a:extLst>
          </p:cNvPr>
          <p:cNvSpPr/>
          <p:nvPr>
            <p:custDataLst>
              <p:tags r:id="rId35"/>
            </p:custDataLst>
          </p:nvPr>
        </p:nvSpPr>
        <p:spPr bwMode="auto">
          <a:xfrm>
            <a:off x="4733925" y="3851275"/>
            <a:ext cx="142875" cy="106363"/>
          </a:xfrm>
          <a:prstGeom prst="rect">
            <a:avLst/>
          </a:prstGeom>
          <a:solidFill>
            <a:srgbClr val="C3CFE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5" name="Rectangle 54">
            <a:extLst>
              <a:ext uri="{FF2B5EF4-FFF2-40B4-BE49-F238E27FC236}">
                <a16:creationId xmlns:a16="http://schemas.microsoft.com/office/drawing/2014/main" id="{C893813E-D9C4-46C3-8408-3606645BF26A}"/>
              </a:ext>
            </a:extLst>
          </p:cNvPr>
          <p:cNvSpPr/>
          <p:nvPr>
            <p:custDataLst>
              <p:tags r:id="rId36"/>
            </p:custDataLst>
          </p:nvPr>
        </p:nvSpPr>
        <p:spPr bwMode="auto">
          <a:xfrm>
            <a:off x="4733925" y="4016375"/>
            <a:ext cx="142875" cy="106363"/>
          </a:xfrm>
          <a:prstGeom prst="rect">
            <a:avLst/>
          </a:prstGeom>
          <a:pattFill prst="pct75">
            <a:fgClr>
              <a:schemeClr val="tx1"/>
            </a:fgClr>
            <a:bgClr>
              <a:schemeClr val="bg1"/>
            </a:bgClr>
          </a:patt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6" name="Text Placeholder 2">
            <a:extLst>
              <a:ext uri="{FF2B5EF4-FFF2-40B4-BE49-F238E27FC236}">
                <a16:creationId xmlns:a16="http://schemas.microsoft.com/office/drawing/2014/main" id="{1653EF9B-0650-4D95-BAA4-A5DC512177FC}"/>
              </a:ext>
            </a:extLst>
          </p:cNvPr>
          <p:cNvSpPr>
            <a:spLocks noGrp="1"/>
          </p:cNvSpPr>
          <p:nvPr>
            <p:custDataLst>
              <p:tags r:id="rId37"/>
            </p:custDataLst>
          </p:nvPr>
        </p:nvSpPr>
        <p:spPr bwMode="auto">
          <a:xfrm>
            <a:off x="3911600" y="3690938"/>
            <a:ext cx="7207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714E62EC-4231-4A8F-8212-83A0F139480D}" type="datetime'''''''En''''''''''d''ocr''''''in''''o''''l''''o''''gy'''">
              <a:rPr lang="en-US" altLang="en-US" sz="800" smtClean="0">
                <a:latin typeface="SangBleu Sunrise" panose="020B0504000000000004" pitchFamily="34" charset="-52"/>
                <a:ea typeface="SangBleu Sunrise" panose="020B0504000000000004" pitchFamily="34" charset="-52"/>
              </a:rPr>
              <a:pPr/>
              <a:t>Endocrinolog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03" name="Text Placeholder 2">
            <a:extLst>
              <a:ext uri="{FF2B5EF4-FFF2-40B4-BE49-F238E27FC236}">
                <a16:creationId xmlns:a16="http://schemas.microsoft.com/office/drawing/2014/main" id="{0AFD1AF4-525F-4B54-AC37-729971C55F97}"/>
              </a:ext>
            </a:extLst>
          </p:cNvPr>
          <p:cNvSpPr>
            <a:spLocks noGrp="1"/>
          </p:cNvSpPr>
          <p:nvPr>
            <p:custDataLst>
              <p:tags r:id="rId38"/>
            </p:custDataLst>
          </p:nvPr>
        </p:nvSpPr>
        <p:spPr bwMode="auto">
          <a:xfrm>
            <a:off x="3911600" y="3856038"/>
            <a:ext cx="4889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DC19913E-6436-47EB-9958-56F221B62546}" type="datetime'''O''''n''''''''c''''o''''''''''''''''l''o''''''''gy'''">
              <a:rPr lang="en-US" altLang="en-US" sz="800" smtClean="0">
                <a:latin typeface="SangBleu Sunrise" panose="020B0504000000000004" pitchFamily="34" charset="-52"/>
                <a:ea typeface="SangBleu Sunrise" panose="020B0504000000000004" pitchFamily="34" charset="-52"/>
              </a:rPr>
              <a:pPr/>
              <a:t>Oncolog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05" name="Text Placeholder 2">
            <a:extLst>
              <a:ext uri="{FF2B5EF4-FFF2-40B4-BE49-F238E27FC236}">
                <a16:creationId xmlns:a16="http://schemas.microsoft.com/office/drawing/2014/main" id="{A0B5204B-2237-4F2B-9D5F-8383FF714B74}"/>
              </a:ext>
            </a:extLst>
          </p:cNvPr>
          <p:cNvSpPr>
            <a:spLocks noGrp="1"/>
          </p:cNvSpPr>
          <p:nvPr>
            <p:custDataLst>
              <p:tags r:id="rId39"/>
            </p:custDataLst>
          </p:nvPr>
        </p:nvSpPr>
        <p:spPr bwMode="auto">
          <a:xfrm>
            <a:off x="3911600" y="4021138"/>
            <a:ext cx="5207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383CD8B3-82A7-4399-BC8E-3163AA74A76B}" type="datetime'Ne''u''r''''''''''''''''o''''''''l''''''o''''''''g''''''''y'''">
              <a:rPr lang="en-US" altLang="en-US" sz="800" smtClean="0">
                <a:latin typeface="SangBleu Sunrise" panose="020B0504000000000004" pitchFamily="34" charset="-52"/>
                <a:ea typeface="SangBleu Sunrise" panose="020B0504000000000004" pitchFamily="34" charset="-52"/>
              </a:rPr>
              <a:pPr/>
              <a:t>Neurolog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06" name="Text Placeholder 2">
            <a:extLst>
              <a:ext uri="{FF2B5EF4-FFF2-40B4-BE49-F238E27FC236}">
                <a16:creationId xmlns:a16="http://schemas.microsoft.com/office/drawing/2014/main" id="{1BFD2B8D-3E6E-45DC-A544-E19D354D4538}"/>
              </a:ext>
            </a:extLst>
          </p:cNvPr>
          <p:cNvSpPr>
            <a:spLocks noGrp="1"/>
          </p:cNvSpPr>
          <p:nvPr>
            <p:custDataLst>
              <p:tags r:id="rId40"/>
            </p:custDataLst>
          </p:nvPr>
        </p:nvSpPr>
        <p:spPr bwMode="auto">
          <a:xfrm>
            <a:off x="3911600" y="4186238"/>
            <a:ext cx="5397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90968ED6-136F-400F-8BA3-5885D2A1AD2C}" type="datetime'''''''''''A''''''''n''t''''i''bi''''''oti''c''''''s'''">
              <a:rPr lang="en-US" altLang="en-US" sz="800" smtClean="0">
                <a:latin typeface="SangBleu Sunrise" panose="020B0504000000000004" pitchFamily="34" charset="-52"/>
                <a:ea typeface="SangBleu Sunrise" panose="020B0504000000000004" pitchFamily="34" charset="-52"/>
              </a:rPr>
              <a:pPr/>
              <a:t>Antibiotics</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07" name="Text Placeholder 2">
            <a:extLst>
              <a:ext uri="{FF2B5EF4-FFF2-40B4-BE49-F238E27FC236}">
                <a16:creationId xmlns:a16="http://schemas.microsoft.com/office/drawing/2014/main" id="{784E5D03-29AF-4091-9769-D03D4B081225}"/>
              </a:ext>
            </a:extLst>
          </p:cNvPr>
          <p:cNvSpPr>
            <a:spLocks noGrp="1"/>
          </p:cNvSpPr>
          <p:nvPr>
            <p:custDataLst>
              <p:tags r:id="rId41"/>
            </p:custDataLst>
          </p:nvPr>
        </p:nvSpPr>
        <p:spPr bwMode="auto">
          <a:xfrm>
            <a:off x="4927600" y="3690938"/>
            <a:ext cx="82867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FB63BB0C-724C-472B-BDEF-9561523B4A5F}" type="datetime'G''e''n''''''''''''''''era''l'''' T''''h''''er''a''py'''''''''">
              <a:rPr lang="en-US" altLang="en-US" sz="800" smtClean="0">
                <a:latin typeface="SangBleu Sunrise" panose="020B0504000000000004" pitchFamily="34" charset="-52"/>
                <a:ea typeface="SangBleu Sunrise" panose="020B0504000000000004" pitchFamily="34" charset="-52"/>
              </a:rPr>
              <a:pPr/>
              <a:t>General Therap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08" name="Text Placeholder 2">
            <a:extLst>
              <a:ext uri="{FF2B5EF4-FFF2-40B4-BE49-F238E27FC236}">
                <a16:creationId xmlns:a16="http://schemas.microsoft.com/office/drawing/2014/main" id="{BDA0F67A-F7E8-4752-9DFB-23242F7DE193}"/>
              </a:ext>
            </a:extLst>
          </p:cNvPr>
          <p:cNvSpPr>
            <a:spLocks noGrp="1"/>
          </p:cNvSpPr>
          <p:nvPr>
            <p:custDataLst>
              <p:tags r:id="rId42"/>
            </p:custDataLst>
          </p:nvPr>
        </p:nvSpPr>
        <p:spPr bwMode="auto">
          <a:xfrm>
            <a:off x="4927600" y="3856038"/>
            <a:ext cx="4635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BED1C26B-C193-49B9-8D5E-FC009BF7AF19}" type="datetime'''''''A''''''''''nt''i''v''i''r''''a''ls'''''''''''''''''">
              <a:rPr lang="en-US" altLang="en-US" sz="800" smtClean="0">
                <a:latin typeface="SangBleu Sunrise" panose="020B0504000000000004" pitchFamily="34" charset="-52"/>
                <a:ea typeface="SangBleu Sunrise" panose="020B0504000000000004" pitchFamily="34" charset="-52"/>
              </a:rPr>
              <a:pPr/>
              <a:t>Antivirals</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209" name="Text Placeholder 2">
            <a:extLst>
              <a:ext uri="{FF2B5EF4-FFF2-40B4-BE49-F238E27FC236}">
                <a16:creationId xmlns:a16="http://schemas.microsoft.com/office/drawing/2014/main" id="{60BDA626-5D2F-4473-A519-495C7E200352}"/>
              </a:ext>
            </a:extLst>
          </p:cNvPr>
          <p:cNvSpPr>
            <a:spLocks noGrp="1"/>
          </p:cNvSpPr>
          <p:nvPr>
            <p:custDataLst>
              <p:tags r:id="rId43"/>
            </p:custDataLst>
          </p:nvPr>
        </p:nvSpPr>
        <p:spPr bwMode="auto">
          <a:xfrm>
            <a:off x="4927600" y="4021138"/>
            <a:ext cx="3698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97A0D3B8-6D16-430F-A345-B14CB81197D0}" type="datetime'''''''''''''''C''''''''''''''O''''''''''V''''''''I''''''D'''">
              <a:rPr lang="en-US"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COVID</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graphicFrame>
        <p:nvGraphicFramePr>
          <p:cNvPr id="70" name="Chart 69">
            <a:extLst>
              <a:ext uri="{FF2B5EF4-FFF2-40B4-BE49-F238E27FC236}">
                <a16:creationId xmlns:a16="http://schemas.microsoft.com/office/drawing/2014/main" id="{B5D063C0-A630-465D-8445-81FDE8DB7481}"/>
              </a:ext>
            </a:extLst>
          </p:cNvPr>
          <p:cNvGraphicFramePr/>
          <p:nvPr>
            <p:custDataLst>
              <p:tags r:id="rId44"/>
            </p:custDataLst>
            <p:extLst>
              <p:ext uri="{D42A27DB-BD31-4B8C-83A1-F6EECF244321}">
                <p14:modId xmlns:p14="http://schemas.microsoft.com/office/powerpoint/2010/main" val="347226835"/>
              </p:ext>
            </p:extLst>
          </p:nvPr>
        </p:nvGraphicFramePr>
        <p:xfrm>
          <a:off x="3609975" y="5984875"/>
          <a:ext cx="2000250" cy="2659063"/>
        </p:xfrm>
        <a:graphic>
          <a:graphicData uri="http://schemas.openxmlformats.org/drawingml/2006/chart">
            <c:chart xmlns:c="http://schemas.openxmlformats.org/drawingml/2006/chart" xmlns:r="http://schemas.openxmlformats.org/officeDocument/2006/relationships" r:id="rId66"/>
          </a:graphicData>
        </a:graphic>
      </p:graphicFrame>
      <p:sp>
        <p:nvSpPr>
          <p:cNvPr id="369" name="Text Placeholder 2">
            <a:extLst>
              <a:ext uri="{FF2B5EF4-FFF2-40B4-BE49-F238E27FC236}">
                <a16:creationId xmlns:a16="http://schemas.microsoft.com/office/drawing/2014/main" id="{F4C83BFC-A7E1-4DE4-A970-23139C86FA7F}"/>
              </a:ext>
            </a:extLst>
          </p:cNvPr>
          <p:cNvSpPr>
            <a:spLocks noGrp="1"/>
          </p:cNvSpPr>
          <p:nvPr>
            <p:custDataLst>
              <p:tags r:id="rId45"/>
            </p:custDataLst>
          </p:nvPr>
        </p:nvSpPr>
        <p:spPr bwMode="auto">
          <a:xfrm>
            <a:off x="5664200" y="6307138"/>
            <a:ext cx="82867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E3D77F78-DD6F-4DF2-8C9E-0ED1A6CB7FB3}" type="datetime'G''''''''''''e''''n''''''era''l T''h''''''era''''p''''y'''">
              <a:rPr lang="en-US" altLang="en-US" sz="800" smtClean="0">
                <a:latin typeface="SangBleu Sunrise" panose="020B0504000000000004" pitchFamily="34" charset="-52"/>
                <a:ea typeface="SangBleu Sunrise" panose="020B0504000000000004" pitchFamily="34" charset="-52"/>
              </a:rPr>
              <a:pPr/>
              <a:t>General Therap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70" name="Text Placeholder 2">
            <a:extLst>
              <a:ext uri="{FF2B5EF4-FFF2-40B4-BE49-F238E27FC236}">
                <a16:creationId xmlns:a16="http://schemas.microsoft.com/office/drawing/2014/main" id="{F91CC5DB-DFA7-4B31-9278-082266C1A224}"/>
              </a:ext>
            </a:extLst>
          </p:cNvPr>
          <p:cNvSpPr>
            <a:spLocks noGrp="1"/>
          </p:cNvSpPr>
          <p:nvPr>
            <p:custDataLst>
              <p:tags r:id="rId46"/>
            </p:custDataLst>
          </p:nvPr>
        </p:nvSpPr>
        <p:spPr bwMode="auto">
          <a:xfrm>
            <a:off x="5664201" y="6688138"/>
            <a:ext cx="6191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EB0C8E73-9EBF-48AD-8B7D-DEAA12D6ECFB}" type="datetime'I''m''''''''''''''''m''''un''''olo''g''y'''''''">
              <a:rPr lang="en-US" altLang="en-US" sz="800" smtClean="0">
                <a:latin typeface="SangBleu Sunrise" panose="020B0504000000000004" pitchFamily="34" charset="-52"/>
                <a:ea typeface="SangBleu Sunrise" panose="020B0504000000000004" pitchFamily="34" charset="-52"/>
              </a:rPr>
              <a:pPr/>
              <a:t>Immunolog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72" name="Text Placeholder 2">
            <a:extLst>
              <a:ext uri="{FF2B5EF4-FFF2-40B4-BE49-F238E27FC236}">
                <a16:creationId xmlns:a16="http://schemas.microsoft.com/office/drawing/2014/main" id="{33936CEA-CEAF-4E7C-8C21-6D1450FB024F}"/>
              </a:ext>
            </a:extLst>
          </p:cNvPr>
          <p:cNvSpPr>
            <a:spLocks noGrp="1"/>
          </p:cNvSpPr>
          <p:nvPr>
            <p:custDataLst>
              <p:tags r:id="rId47"/>
            </p:custDataLst>
          </p:nvPr>
        </p:nvSpPr>
        <p:spPr bwMode="auto">
          <a:xfrm>
            <a:off x="5664201" y="7069138"/>
            <a:ext cx="41751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2A051FE7-C959-44DA-9421-13EB23FC8338}" type="datetime'''V''''i''''''''ro''''''''''''''l''''''''o''''''''g''''y'">
              <a:rPr lang="en-US" altLang="en-US" sz="800" smtClean="0">
                <a:latin typeface="SangBleu Sunrise" panose="020B0504000000000004" pitchFamily="34" charset="-52"/>
                <a:ea typeface="SangBleu Sunrise" panose="020B0504000000000004" pitchFamily="34" charset="-52"/>
              </a:rPr>
              <a:pPr/>
              <a:t>Virolog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73" name="Text Placeholder 2">
            <a:extLst>
              <a:ext uri="{FF2B5EF4-FFF2-40B4-BE49-F238E27FC236}">
                <a16:creationId xmlns:a16="http://schemas.microsoft.com/office/drawing/2014/main" id="{CEF43D8C-0557-499D-8B4F-0BC91D493123}"/>
              </a:ext>
            </a:extLst>
          </p:cNvPr>
          <p:cNvSpPr>
            <a:spLocks noGrp="1"/>
          </p:cNvSpPr>
          <p:nvPr>
            <p:custDataLst>
              <p:tags r:id="rId48"/>
            </p:custDataLst>
          </p:nvPr>
        </p:nvSpPr>
        <p:spPr bwMode="auto">
          <a:xfrm>
            <a:off x="5664200" y="7451725"/>
            <a:ext cx="5207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D348A5D8-2735-4EF1-96AE-E1988DF9100C}" type="datetime'''''''N''''e''''ur''o''''''''''''log''''''''''''''y'''">
              <a:rPr lang="en-US" altLang="en-US" sz="800" smtClean="0">
                <a:latin typeface="SangBleu Sunrise" panose="020B0504000000000004" pitchFamily="34" charset="-52"/>
                <a:ea typeface="SangBleu Sunrise" panose="020B0504000000000004" pitchFamily="34" charset="-52"/>
              </a:rPr>
              <a:pPr/>
              <a:t>Neurolog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74" name="Text Placeholder 2">
            <a:extLst>
              <a:ext uri="{FF2B5EF4-FFF2-40B4-BE49-F238E27FC236}">
                <a16:creationId xmlns:a16="http://schemas.microsoft.com/office/drawing/2014/main" id="{61BE201E-27CE-44CC-95A5-464D16B27754}"/>
              </a:ext>
            </a:extLst>
          </p:cNvPr>
          <p:cNvSpPr>
            <a:spLocks noGrp="1"/>
          </p:cNvSpPr>
          <p:nvPr>
            <p:custDataLst>
              <p:tags r:id="rId49"/>
            </p:custDataLst>
          </p:nvPr>
        </p:nvSpPr>
        <p:spPr bwMode="auto">
          <a:xfrm>
            <a:off x="5664200" y="7832725"/>
            <a:ext cx="7207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A0534FE7-1C95-4740-937A-1EF9668DD138}" type="datetime'En''''''''do''''c''r''''''''''''in''''''''o''''lo''''g''''y'''">
              <a:rPr lang="en-US" altLang="en-US" sz="800" smtClean="0">
                <a:latin typeface="SangBleu Sunrise" panose="020B0504000000000004" pitchFamily="34" charset="-52"/>
                <a:ea typeface="SangBleu Sunrise" panose="020B0504000000000004" pitchFamily="34" charset="-52"/>
              </a:rPr>
              <a:pPr/>
              <a:t>Endocrinolog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75" name="Text Placeholder 2">
            <a:extLst>
              <a:ext uri="{FF2B5EF4-FFF2-40B4-BE49-F238E27FC236}">
                <a16:creationId xmlns:a16="http://schemas.microsoft.com/office/drawing/2014/main" id="{A1C26807-4BDF-4B23-8573-B81EF66E9288}"/>
              </a:ext>
            </a:extLst>
          </p:cNvPr>
          <p:cNvSpPr>
            <a:spLocks noGrp="1"/>
          </p:cNvSpPr>
          <p:nvPr>
            <p:custDataLst>
              <p:tags r:id="rId50"/>
            </p:custDataLst>
          </p:nvPr>
        </p:nvSpPr>
        <p:spPr bwMode="auto">
          <a:xfrm>
            <a:off x="5664200" y="8213725"/>
            <a:ext cx="4889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4CD54036-9CA5-40E7-B694-F852879C9370}" type="datetime'''''''''O''''''''n''''''col''''''o''''''''''''''''''''''gy'">
              <a:rPr lang="en-US" altLang="en-US" sz="800" smtClean="0">
                <a:latin typeface="SangBleu Sunrise" panose="020B0504000000000004" pitchFamily="34" charset="-52"/>
                <a:ea typeface="SangBleu Sunrise" panose="020B0504000000000004" pitchFamily="34" charset="-52"/>
              </a:rPr>
              <a:pPr/>
              <a:t>Oncolog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22" name="Rectangle 421">
            <a:extLst>
              <a:ext uri="{FF2B5EF4-FFF2-40B4-BE49-F238E27FC236}">
                <a16:creationId xmlns:a16="http://schemas.microsoft.com/office/drawing/2014/main" id="{8BA78A98-84E1-4409-853A-8D73B33EEDE2}"/>
              </a:ext>
            </a:extLst>
          </p:cNvPr>
          <p:cNvSpPr>
            <a:spLocks/>
          </p:cNvSpPr>
          <p:nvPr>
            <p:custDataLst>
              <p:tags r:id="rId51"/>
            </p:custDataLst>
          </p:nvPr>
        </p:nvSpPr>
        <p:spPr>
          <a:xfrm>
            <a:off x="1079500" y="8639543"/>
            <a:ext cx="2299350" cy="40709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COVID Treatment Sales Revenue</a:t>
            </a:r>
          </a:p>
        </p:txBody>
      </p:sp>
      <p:sp>
        <p:nvSpPr>
          <p:cNvPr id="423" name="Rectangle 422">
            <a:extLst>
              <a:ext uri="{FF2B5EF4-FFF2-40B4-BE49-F238E27FC236}">
                <a16:creationId xmlns:a16="http://schemas.microsoft.com/office/drawing/2014/main" id="{49F5292E-AE5E-422A-8819-D92CA68F687D}"/>
              </a:ext>
            </a:extLst>
          </p:cNvPr>
          <p:cNvSpPr>
            <a:spLocks/>
          </p:cNvSpPr>
          <p:nvPr>
            <p:custDataLst>
              <p:tags r:id="rId52"/>
            </p:custDataLst>
          </p:nvPr>
        </p:nvSpPr>
        <p:spPr>
          <a:xfrm>
            <a:off x="3676650" y="8639543"/>
            <a:ext cx="2299350" cy="40709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PROMOMED’s Strategically Important Drugs Portfolio Size by Nosology</a:t>
            </a:r>
          </a:p>
        </p:txBody>
      </p:sp>
      <p:sp>
        <p:nvSpPr>
          <p:cNvPr id="424" name="Rectangle 423">
            <a:extLst>
              <a:ext uri="{FF2B5EF4-FFF2-40B4-BE49-F238E27FC236}">
                <a16:creationId xmlns:a16="http://schemas.microsoft.com/office/drawing/2014/main" id="{F9605AC9-47E3-45D1-96ED-05BB79004CAB}"/>
              </a:ext>
            </a:extLst>
          </p:cNvPr>
          <p:cNvSpPr/>
          <p:nvPr>
            <p:custDataLst>
              <p:tags r:id="rId53"/>
            </p:custDataLst>
          </p:nvPr>
        </p:nvSpPr>
        <p:spPr>
          <a:xfrm>
            <a:off x="3676650" y="5910463"/>
            <a:ext cx="2298700" cy="214986"/>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dirty="0">
                <a:solidFill>
                  <a:schemeClr val="tx1"/>
                </a:solidFill>
                <a:latin typeface="SangBleu Sunrise" panose="020B0504000000000004" pitchFamily="34" charset="-52"/>
                <a:ea typeface="SangBleu Sunrise" panose="020B0504000000000004" pitchFamily="34" charset="-52"/>
              </a:rPr>
              <a:t>PROMOMED’s Revenue by Nosology</a:t>
            </a:r>
          </a:p>
        </p:txBody>
      </p:sp>
      <p:sp>
        <p:nvSpPr>
          <p:cNvPr id="113" name="Rectangle 112">
            <a:extLst>
              <a:ext uri="{FF2B5EF4-FFF2-40B4-BE49-F238E27FC236}">
                <a16:creationId xmlns:a16="http://schemas.microsoft.com/office/drawing/2014/main" id="{89ACD8BE-F5E0-4C9F-91E5-AC57DEA11350}"/>
              </a:ext>
            </a:extLst>
          </p:cNvPr>
          <p:cNvSpPr/>
          <p:nvPr>
            <p:custDataLst>
              <p:tags r:id="rId54"/>
            </p:custDataLst>
          </p:nvPr>
        </p:nvSpPr>
        <p:spPr bwMode="auto">
          <a:xfrm>
            <a:off x="5092700" y="7072313"/>
            <a:ext cx="142875" cy="106363"/>
          </a:xfrm>
          <a:prstGeom prst="rect">
            <a:avLst/>
          </a:prstGeom>
          <a:pattFill prst="pct50">
            <a:fgClr>
              <a:schemeClr val="tx1"/>
            </a:fgClr>
            <a:bgClr>
              <a:schemeClr val="bg1"/>
            </a:bgClr>
          </a:patt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Rectangle 113">
            <a:extLst>
              <a:ext uri="{FF2B5EF4-FFF2-40B4-BE49-F238E27FC236}">
                <a16:creationId xmlns:a16="http://schemas.microsoft.com/office/drawing/2014/main" id="{AADB8F9C-B455-4B73-8DA8-81AE542933AF}"/>
              </a:ext>
            </a:extLst>
          </p:cNvPr>
          <p:cNvSpPr/>
          <p:nvPr>
            <p:custDataLst>
              <p:tags r:id="rId55"/>
            </p:custDataLst>
          </p:nvPr>
        </p:nvSpPr>
        <p:spPr bwMode="auto">
          <a:xfrm>
            <a:off x="5092700" y="7237413"/>
            <a:ext cx="142875" cy="106363"/>
          </a:xfrm>
          <a:prstGeom prst="rect">
            <a:avLst/>
          </a:prstGeom>
          <a:pattFill prst="pct10">
            <a:fgClr>
              <a:schemeClr val="tx1"/>
            </a:fgClr>
            <a:bgClr>
              <a:schemeClr val="bg1"/>
            </a:bgClr>
          </a:patt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5" name="Rectangle 114">
            <a:extLst>
              <a:ext uri="{FF2B5EF4-FFF2-40B4-BE49-F238E27FC236}">
                <a16:creationId xmlns:a16="http://schemas.microsoft.com/office/drawing/2014/main" id="{CFFACC50-46EC-4D43-BF53-95776EB5F988}"/>
              </a:ext>
            </a:extLst>
          </p:cNvPr>
          <p:cNvSpPr/>
          <p:nvPr>
            <p:custDataLst>
              <p:tags r:id="rId56"/>
            </p:custDataLst>
          </p:nvPr>
        </p:nvSpPr>
        <p:spPr bwMode="auto">
          <a:xfrm>
            <a:off x="5092700" y="7402513"/>
            <a:ext cx="142875" cy="106363"/>
          </a:xfrm>
          <a:prstGeom prst="rect">
            <a:avLst/>
          </a:prstGeom>
          <a:solidFill>
            <a:srgbClr val="BF900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8" name="Text Placeholder 2">
            <a:extLst>
              <a:ext uri="{FF2B5EF4-FFF2-40B4-BE49-F238E27FC236}">
                <a16:creationId xmlns:a16="http://schemas.microsoft.com/office/drawing/2014/main" id="{8F57B8AB-9900-4634-A2F1-D891F90DD3BF}"/>
              </a:ext>
            </a:extLst>
          </p:cNvPr>
          <p:cNvSpPr>
            <a:spLocks noGrp="1"/>
          </p:cNvSpPr>
          <p:nvPr>
            <p:custDataLst>
              <p:tags r:id="rId57"/>
            </p:custDataLst>
          </p:nvPr>
        </p:nvSpPr>
        <p:spPr bwMode="auto">
          <a:xfrm>
            <a:off x="5286375" y="7077075"/>
            <a:ext cx="2333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114D6325-0630-4845-81C3-EE1AA6B3036E}" type="datetime'''''''2''0''''''''''''''''''''''2''''''''''''''''1'''">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2021</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29" name="Text Placeholder 2">
            <a:extLst>
              <a:ext uri="{FF2B5EF4-FFF2-40B4-BE49-F238E27FC236}">
                <a16:creationId xmlns:a16="http://schemas.microsoft.com/office/drawing/2014/main" id="{8805C7FC-DA78-47F4-9750-51FDAD058F6F}"/>
              </a:ext>
            </a:extLst>
          </p:cNvPr>
          <p:cNvSpPr>
            <a:spLocks noGrp="1"/>
          </p:cNvSpPr>
          <p:nvPr>
            <p:custDataLst>
              <p:tags r:id="rId58"/>
            </p:custDataLst>
          </p:nvPr>
        </p:nvSpPr>
        <p:spPr bwMode="auto">
          <a:xfrm>
            <a:off x="5286375" y="7242175"/>
            <a:ext cx="2555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4964C890-CA72-4BDB-9C26-F29BBC4C2D2D}" type="datetime'''''2''''''''''''''''0''''2''''''''''2'''''''''''''''''''''">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2022</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30" name="Text Placeholder 2">
            <a:extLst>
              <a:ext uri="{FF2B5EF4-FFF2-40B4-BE49-F238E27FC236}">
                <a16:creationId xmlns:a16="http://schemas.microsoft.com/office/drawing/2014/main" id="{1D07BC09-5D61-41B1-B286-024C4102304B}"/>
              </a:ext>
            </a:extLst>
          </p:cNvPr>
          <p:cNvSpPr>
            <a:spLocks noGrp="1"/>
          </p:cNvSpPr>
          <p:nvPr>
            <p:custDataLst>
              <p:tags r:id="rId59"/>
            </p:custDataLst>
          </p:nvPr>
        </p:nvSpPr>
        <p:spPr bwMode="auto">
          <a:xfrm>
            <a:off x="5286375" y="7407275"/>
            <a:ext cx="2540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597A4A91-26C4-4B5B-BD78-9AF40F8E6CA9}" type="datetime'''''2''''''''''''''''''''0''''23'''''''''">
              <a:rPr lang="ru-RU" altLang="en-US" sz="800" smtClean="0">
                <a:effectLst/>
                <a:latin typeface="SangBleu Sunrise" panose="020B0504000000000004" pitchFamily="34" charset="-52"/>
                <a:ea typeface="SangBleu Sunrise" panose="020B0504000000000004" pitchFamily="34" charset="-52"/>
                <a:sym typeface="SangBleu Sunrise" panose="020B0504000000000004" pitchFamily="34" charset="-52"/>
              </a:rPr>
              <a:pPr marL="0" lvl="0" indent="0">
                <a:spcBef>
                  <a:spcPct val="0"/>
                </a:spcBef>
                <a:spcAft>
                  <a:spcPct val="0"/>
                </a:spcAft>
                <a:buNone/>
              </a:pPr>
              <a:t>2023</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72" name="5. Source">
            <a:extLst>
              <a:ext uri="{FF2B5EF4-FFF2-40B4-BE49-F238E27FC236}">
                <a16:creationId xmlns:a16="http://schemas.microsoft.com/office/drawing/2014/main" id="{5BB49594-B1F9-4E45-94C9-69CB03E5BD90}"/>
              </a:ext>
            </a:extLst>
          </p:cNvPr>
          <p:cNvSpPr txBox="1"/>
          <p:nvPr>
            <p:custDataLst>
              <p:tags r:id="rId60"/>
            </p:custDataLst>
          </p:nvPr>
        </p:nvSpPr>
        <p:spPr>
          <a:xfrm>
            <a:off x="642937" y="9649539"/>
            <a:ext cx="5700713" cy="123111"/>
          </a:xfrm>
          <a:prstGeom prst="rect">
            <a:avLst/>
          </a:prstGeom>
          <a:noFill/>
        </p:spPr>
        <p:txBody>
          <a:bodyPr vert="horz" wrap="square" lIns="0" tIns="0" rIns="0" bIns="0" rtlCol="0" anchor="b" anchorCtr="0">
            <a:spAutoFit/>
          </a:bodyPr>
          <a:lstStyle/>
          <a:p>
            <a:r>
              <a:rPr lang="fr-FR" sz="800" dirty="0">
                <a:latin typeface="SangBleu Sunrise" panose="020B0504000000000004" pitchFamily="34" charset="-52"/>
                <a:ea typeface="SangBleu Sunrise" panose="020B0504000000000004" pitchFamily="34" charset="-52"/>
              </a:rPr>
              <a:t>SOURCE: </a:t>
            </a:r>
            <a:r>
              <a:rPr lang="en-US" sz="800" dirty="0">
                <a:latin typeface="SangBleu Sunrise" panose="020B0504000000000004" pitchFamily="34" charset="-52"/>
                <a:ea typeface="SangBleu Sunrise" panose="020B0504000000000004" pitchFamily="34" charset="-52"/>
              </a:rPr>
              <a:t>“For PROMOMED’s Investors” presentations</a:t>
            </a:r>
            <a:r>
              <a:rPr lang="ru-RU" sz="800" dirty="0">
                <a:latin typeface="SangBleu Sunrise" panose="020B0504000000000004" pitchFamily="34" charset="-52"/>
                <a:ea typeface="SangBleu Sunrise" panose="020B0504000000000004" pitchFamily="34" charset="-52"/>
              </a:rPr>
              <a:t> </a:t>
            </a:r>
            <a:r>
              <a:rPr lang="en-US" sz="800" dirty="0">
                <a:latin typeface="SangBleu Sunrise" panose="020B0504000000000004" pitchFamily="34" charset="-52"/>
                <a:ea typeface="SangBleu Sunrise" panose="020B0504000000000004" pitchFamily="34" charset="-52"/>
              </a:rPr>
              <a:t>, Strategy Partners report, own calculations</a:t>
            </a:r>
            <a:endParaRPr lang="fr-FR" sz="800" dirty="0">
              <a:latin typeface="SangBleu Sunrise" panose="020B0504000000000004" pitchFamily="34" charset="-52"/>
              <a:ea typeface="SangBleu Sunrise" panose="020B0504000000000004" pitchFamily="34" charset="-52"/>
            </a:endParaRPr>
          </a:p>
        </p:txBody>
      </p:sp>
    </p:spTree>
    <p:extLst>
      <p:ext uri="{BB962C8B-B14F-4D97-AF65-F5344CB8AC3E}">
        <p14:creationId xmlns:p14="http://schemas.microsoft.com/office/powerpoint/2010/main" val="939157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D4FE7E-DE6C-4F35-B505-6CC6CC141975}"/>
              </a:ext>
            </a:extLst>
          </p:cNvPr>
          <p:cNvGraphicFramePr>
            <a:graphicFrameLocks noChangeAspect="1"/>
          </p:cNvGraphicFramePr>
          <p:nvPr>
            <p:custDataLst>
              <p:tags r:id="rId2"/>
            </p:custDataLst>
            <p:extLst>
              <p:ext uri="{D42A27DB-BD31-4B8C-83A1-F6EECF244321}">
                <p14:modId xmlns:p14="http://schemas.microsoft.com/office/powerpoint/2010/main" val="1537384850"/>
              </p:ext>
            </p:extLst>
          </p:nvPr>
        </p:nvGraphicFramePr>
        <p:xfrm>
          <a:off x="644228" y="1290"/>
          <a:ext cx="1290" cy="1290"/>
        </p:xfrm>
        <a:graphic>
          <a:graphicData uri="http://schemas.openxmlformats.org/presentationml/2006/ole">
            <mc:AlternateContent xmlns:mc="http://schemas.openxmlformats.org/markup-compatibility/2006">
              <mc:Choice xmlns:v="urn:schemas-microsoft-com:vml" Requires="v">
                <p:oleObj spid="_x0000_s15455" name="think-cell Slide" r:id="rId48" imgW="395" imgH="396" progId="TCLayout.ActiveDocument.1">
                  <p:embed/>
                </p:oleObj>
              </mc:Choice>
              <mc:Fallback>
                <p:oleObj name="think-cell Slide" r:id="rId48" imgW="395" imgH="396" progId="TCLayout.ActiveDocument.1">
                  <p:embed/>
                  <p:pic>
                    <p:nvPicPr>
                      <p:cNvPr id="3" name="think-cell data - do not delete" hidden="1">
                        <a:extLst>
                          <a:ext uri="{FF2B5EF4-FFF2-40B4-BE49-F238E27FC236}">
                            <a16:creationId xmlns:a16="http://schemas.microsoft.com/office/drawing/2014/main" id="{89D4FE7E-DE6C-4F35-B505-6CC6CC141975}"/>
                          </a:ext>
                        </a:extLst>
                      </p:cNvPr>
                      <p:cNvPicPr/>
                      <p:nvPr/>
                    </p:nvPicPr>
                    <p:blipFill>
                      <a:blip r:embed="rId49"/>
                      <a:stretch>
                        <a:fillRect/>
                      </a:stretch>
                    </p:blipFill>
                    <p:spPr>
                      <a:xfrm>
                        <a:off x="644228" y="1290"/>
                        <a:ext cx="1290" cy="12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DC6F282-9C52-4591-8034-371A789171B5}"/>
              </a:ext>
            </a:extLst>
          </p:cNvPr>
          <p:cNvSpPr>
            <a:spLocks noGrp="1"/>
          </p:cNvSpPr>
          <p:nvPr>
            <p:ph type="title"/>
          </p:nvPr>
        </p:nvSpPr>
        <p:spPr>
          <a:xfrm>
            <a:off x="1026023" y="315188"/>
            <a:ext cx="4805958" cy="424732"/>
          </a:xfrm>
          <a:noFill/>
          <a:ln>
            <a:solidFill>
              <a:schemeClr val="bg1">
                <a:alpha val="98000"/>
              </a:schemeClr>
            </a:solidFill>
          </a:ln>
        </p:spPr>
        <p:txBody>
          <a:bodyPr vert="horz" wrap="square" anchor="ctr" anchorCtr="0">
            <a:spAutoFit/>
          </a:bodyPr>
          <a:lstStyle/>
          <a:p>
            <a:r>
              <a:rPr lang="en-US" sz="2400" dirty="0">
                <a:latin typeface="SangBleu Sunrise" panose="020B0504000000000004" pitchFamily="34" charset="-52"/>
                <a:ea typeface="SangBleu Sunrise" panose="020B0504000000000004" pitchFamily="34" charset="-52"/>
              </a:rPr>
              <a:t>Financial Position Overview</a:t>
            </a:r>
            <a:endParaRPr lang="ru-RU" sz="2400" dirty="0">
              <a:latin typeface="SangBleu Sunrise" panose="020B0504000000000004" pitchFamily="34" charset="-52"/>
              <a:ea typeface="SangBleu Sunrise" panose="020B0504000000000004" pitchFamily="34" charset="-52"/>
            </a:endParaRPr>
          </a:p>
        </p:txBody>
      </p:sp>
      <p:sp>
        <p:nvSpPr>
          <p:cNvPr id="12" name="Title 3">
            <a:extLst>
              <a:ext uri="{FF2B5EF4-FFF2-40B4-BE49-F238E27FC236}">
                <a16:creationId xmlns:a16="http://schemas.microsoft.com/office/drawing/2014/main" id="{46B4D404-F0F8-476D-BAA5-A678BD56703E}"/>
              </a:ext>
            </a:extLst>
          </p:cNvPr>
          <p:cNvSpPr txBox="1">
            <a:spLocks/>
          </p:cNvSpPr>
          <p:nvPr/>
        </p:nvSpPr>
        <p:spPr>
          <a:xfrm>
            <a:off x="1032475" y="1006009"/>
            <a:ext cx="2227677" cy="230738"/>
          </a:xfrm>
          <a:prstGeom prst="rect">
            <a:avLst/>
          </a:prstGeom>
          <a:solidFill>
            <a:schemeClr val="accent1">
              <a:lumMod val="50000"/>
            </a:schemeClr>
          </a:solidFill>
          <a:ln>
            <a:noFill/>
          </a:ln>
        </p:spPr>
        <p:txBody>
          <a:bodyPr vert="horz" wrap="square" lIns="58500" tIns="58500" rIns="58500" bIns="58500" rtlCol="0" anchor="ctr" anchorCtr="0">
            <a:sp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a:solidFill>
                  <a:schemeClr val="bg1"/>
                </a:solidFill>
                <a:latin typeface="SangBleu Sunrise" panose="020B0504000000000004" pitchFamily="34" charset="-52"/>
                <a:ea typeface="SangBleu Sunrise" panose="020B0504000000000004" pitchFamily="34" charset="-52"/>
              </a:rPr>
              <a:t>Revenue and Profit:</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23" name="Rectangle 22">
            <a:extLst>
              <a:ext uri="{FF2B5EF4-FFF2-40B4-BE49-F238E27FC236}">
                <a16:creationId xmlns:a16="http://schemas.microsoft.com/office/drawing/2014/main" id="{DCA3F849-D468-4066-A24A-F48B2A434F38}"/>
              </a:ext>
            </a:extLst>
          </p:cNvPr>
          <p:cNvSpPr/>
          <p:nvPr/>
        </p:nvSpPr>
        <p:spPr>
          <a:xfrm>
            <a:off x="1026022" y="1316933"/>
            <a:ext cx="2227677" cy="903979"/>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Strong Revenue Growth:</a:t>
            </a:r>
            <a:r>
              <a:rPr lang="en-US" sz="800" dirty="0">
                <a:solidFill>
                  <a:schemeClr val="tx1"/>
                </a:solidFill>
                <a:latin typeface="SangBleu Sunrise" panose="020B0504000000000004" pitchFamily="34" charset="-52"/>
                <a:ea typeface="SangBleu Sunrise" panose="020B0504000000000004" pitchFamily="34" charset="-52"/>
              </a:rPr>
              <a:t> PROMOMED's revenue reached 21,1 billion Rubles in 2024, marking a significant 33% increase from 2023. This demonstrates robust sales performance and successful market expansion strategies.</a:t>
            </a:r>
          </a:p>
          <a:p>
            <a:endParaRPr lang="en-US" sz="800" dirty="0">
              <a:solidFill>
                <a:schemeClr val="tx1"/>
              </a:solidFill>
              <a:latin typeface="SangBleu Sunrise" panose="020B0504000000000004" pitchFamily="34" charset="-52"/>
              <a:ea typeface="SangBleu Sunrise" panose="020B0504000000000004" pitchFamily="34" charset="-52"/>
            </a:endParaRPr>
          </a:p>
          <a:p>
            <a:endParaRPr lang="ru-RU" sz="800" dirty="0">
              <a:solidFill>
                <a:schemeClr val="tx1"/>
              </a:solidFill>
              <a:latin typeface="SangBleu Sunrise" panose="020B0504000000000004" pitchFamily="34" charset="-52"/>
              <a:ea typeface="SangBleu Sunrise" panose="020B0504000000000004" pitchFamily="34" charset="-52"/>
            </a:endParaRPr>
          </a:p>
        </p:txBody>
      </p:sp>
      <p:sp>
        <p:nvSpPr>
          <p:cNvPr id="136" name="1. On-page tracker">
            <a:extLst>
              <a:ext uri="{FF2B5EF4-FFF2-40B4-BE49-F238E27FC236}">
                <a16:creationId xmlns:a16="http://schemas.microsoft.com/office/drawing/2014/main" id="{446AE41F-44AB-41C4-8747-E53ABBB5FD84}"/>
              </a:ext>
            </a:extLst>
          </p:cNvPr>
          <p:cNvSpPr txBox="1"/>
          <p:nvPr>
            <p:custDataLst>
              <p:tags r:id="rId3"/>
            </p:custDataLst>
          </p:nvPr>
        </p:nvSpPr>
        <p:spPr>
          <a:xfrm>
            <a:off x="746125" y="51596"/>
            <a:ext cx="1547813" cy="123111"/>
          </a:xfrm>
          <a:prstGeom prst="rect">
            <a:avLst/>
          </a:prstGeom>
          <a:solidFill>
            <a:schemeClr val="bg2"/>
          </a:solidFill>
        </p:spPr>
        <p:txBody>
          <a:bodyPr vert="horz" wrap="square" lIns="0" tIns="0" rIns="0" bIns="0" rtlCol="0">
            <a:spAutoFit/>
          </a:bodyPr>
          <a:lstStyle/>
          <a:p>
            <a:r>
              <a:rPr lang="en-US" sz="800" dirty="0">
                <a:latin typeface="SangBleu Sunrise" panose="020B0504000000000004" pitchFamily="34" charset="-52"/>
                <a:ea typeface="SangBleu Sunrise" panose="020B0504000000000004" pitchFamily="34" charset="-52"/>
              </a:rPr>
              <a:t>Financial Overview</a:t>
            </a:r>
            <a:endParaRPr lang="ru-RU" sz="800" dirty="0">
              <a:latin typeface="SangBleu Sunrise" panose="020B0504000000000004" pitchFamily="34" charset="-52"/>
              <a:ea typeface="SangBleu Sunrise" panose="020B0504000000000004" pitchFamily="34" charset="-52"/>
            </a:endParaRPr>
          </a:p>
        </p:txBody>
      </p:sp>
      <p:graphicFrame>
        <p:nvGraphicFramePr>
          <p:cNvPr id="64" name="Chart 63">
            <a:extLst>
              <a:ext uri="{FF2B5EF4-FFF2-40B4-BE49-F238E27FC236}">
                <a16:creationId xmlns:a16="http://schemas.microsoft.com/office/drawing/2014/main" id="{62AE477E-B29F-400F-9AA4-06511B4E55A3}"/>
              </a:ext>
            </a:extLst>
          </p:cNvPr>
          <p:cNvGraphicFramePr/>
          <p:nvPr>
            <p:custDataLst>
              <p:tags r:id="rId4"/>
            </p:custDataLst>
            <p:extLst>
              <p:ext uri="{D42A27DB-BD31-4B8C-83A1-F6EECF244321}">
                <p14:modId xmlns:p14="http://schemas.microsoft.com/office/powerpoint/2010/main" val="3770506279"/>
              </p:ext>
            </p:extLst>
          </p:nvPr>
        </p:nvGraphicFramePr>
        <p:xfrm>
          <a:off x="969963" y="4565650"/>
          <a:ext cx="2373312" cy="1635125"/>
        </p:xfrm>
        <a:graphic>
          <a:graphicData uri="http://schemas.openxmlformats.org/drawingml/2006/chart">
            <c:chart xmlns:c="http://schemas.openxmlformats.org/drawingml/2006/chart" xmlns:r="http://schemas.openxmlformats.org/officeDocument/2006/relationships" r:id="rId50"/>
          </a:graphicData>
        </a:graphic>
      </p:graphicFrame>
      <p:sp>
        <p:nvSpPr>
          <p:cNvPr id="58" name="Text Placeholder 2">
            <a:extLst>
              <a:ext uri="{FF2B5EF4-FFF2-40B4-BE49-F238E27FC236}">
                <a16:creationId xmlns:a16="http://schemas.microsoft.com/office/drawing/2014/main" id="{2712D979-F896-4068-B8E9-5F2FC114275D}"/>
              </a:ext>
            </a:extLst>
          </p:cNvPr>
          <p:cNvSpPr>
            <a:spLocks noGrp="1"/>
          </p:cNvSpPr>
          <p:nvPr>
            <p:custDataLst>
              <p:tags r:id="rId5"/>
            </p:custDataLst>
          </p:nvPr>
        </p:nvSpPr>
        <p:spPr bwMode="auto">
          <a:xfrm>
            <a:off x="1204913" y="6048375"/>
            <a:ext cx="2460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5820F27D-AEE1-43B5-A6B2-721D03C05CE3}" type="datetime'''''''''''''''''2''''''0''2''''''''''''''''''''''''''''''''1'">
              <a:rPr lang="ru-RU" altLang="en-US" sz="800">
                <a:latin typeface="SangBleu Sunrise" panose="020B0504000000000004" pitchFamily="34" charset="-52"/>
                <a:ea typeface="SangBleu Sunrise" panose="020B0504000000000004" pitchFamily="34" charset="-52"/>
                <a:sym typeface="SangBleu Sunrise" panose="020B0504000000000004" pitchFamily="34" charset="-52"/>
              </a:rPr>
              <a:pPr marL="0" indent="0" algn="ctr">
                <a:spcBef>
                  <a:spcPct val="0"/>
                </a:spcBef>
                <a:spcAft>
                  <a:spcPct val="0"/>
                </a:spcAft>
                <a:buNone/>
              </a:pPr>
              <a:t>2021</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0" name="Text Placeholder 2">
            <a:extLst>
              <a:ext uri="{FF2B5EF4-FFF2-40B4-BE49-F238E27FC236}">
                <a16:creationId xmlns:a16="http://schemas.microsoft.com/office/drawing/2014/main" id="{BA1CF4B9-2ED5-4AC6-B7EB-AD3FA366513C}"/>
              </a:ext>
            </a:extLst>
          </p:cNvPr>
          <p:cNvSpPr>
            <a:spLocks noGrp="1"/>
          </p:cNvSpPr>
          <p:nvPr>
            <p:custDataLst>
              <p:tags r:id="rId6"/>
            </p:custDataLst>
          </p:nvPr>
        </p:nvSpPr>
        <p:spPr bwMode="auto">
          <a:xfrm>
            <a:off x="1746250" y="6048375"/>
            <a:ext cx="2682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DA0FEE61-A462-4F92-B0D6-83CA9C509EC9}" type="datetime'''20''''''''''''''''''''''''''''''''2''''''2'''''''">
              <a:rPr lang="ru-RU" altLang="en-US" sz="800">
                <a:latin typeface="SangBleu Sunrise" panose="020B0504000000000004" pitchFamily="34" charset="-52"/>
                <a:ea typeface="SangBleu Sunrise" panose="020B0504000000000004" pitchFamily="34" charset="-52"/>
                <a:sym typeface="SangBleu Sunrise" panose="020B0504000000000004" pitchFamily="34" charset="-52"/>
              </a:rPr>
              <a:pPr marL="0" indent="0" algn="ctr">
                <a:spcBef>
                  <a:spcPct val="0"/>
                </a:spcBef>
                <a:spcAft>
                  <a:spcPct val="0"/>
                </a:spcAft>
                <a:buNone/>
              </a:pPr>
              <a:t>2022</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1" name="Text Placeholder 2">
            <a:extLst>
              <a:ext uri="{FF2B5EF4-FFF2-40B4-BE49-F238E27FC236}">
                <a16:creationId xmlns:a16="http://schemas.microsoft.com/office/drawing/2014/main" id="{A1CCD8FD-95FC-4A78-8798-7AC9E34FFA6D}"/>
              </a:ext>
            </a:extLst>
          </p:cNvPr>
          <p:cNvSpPr>
            <a:spLocks noGrp="1"/>
          </p:cNvSpPr>
          <p:nvPr>
            <p:custDataLst>
              <p:tags r:id="rId7"/>
            </p:custDataLst>
          </p:nvPr>
        </p:nvSpPr>
        <p:spPr bwMode="auto">
          <a:xfrm>
            <a:off x="2298700" y="6048375"/>
            <a:ext cx="2667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4AF7D0B9-C38E-48C1-941C-543679D1AF37}" type="datetime'''''''''2''''''''''''''0''''''''''''''''''''''''2''3'''''">
              <a:rPr lang="ru-RU" altLang="en-US" sz="800">
                <a:latin typeface="SangBleu Sunrise" panose="020B0504000000000004" pitchFamily="34" charset="-52"/>
                <a:ea typeface="SangBleu Sunrise" panose="020B0504000000000004" pitchFamily="34" charset="-52"/>
                <a:sym typeface="SangBleu Sunrise" panose="020B0504000000000004" pitchFamily="34" charset="-52"/>
              </a:rPr>
              <a:pPr marL="0" indent="0" algn="ctr">
                <a:spcBef>
                  <a:spcPct val="0"/>
                </a:spcBef>
                <a:spcAft>
                  <a:spcPct val="0"/>
                </a:spcAft>
                <a:buNone/>
              </a:pPr>
              <a:t>2023</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3" name="Text Placeholder 2">
            <a:extLst>
              <a:ext uri="{FF2B5EF4-FFF2-40B4-BE49-F238E27FC236}">
                <a16:creationId xmlns:a16="http://schemas.microsoft.com/office/drawing/2014/main" id="{402CBABD-FAF4-4C6A-BB7C-E3765230C456}"/>
              </a:ext>
            </a:extLst>
          </p:cNvPr>
          <p:cNvSpPr>
            <a:spLocks noGrp="1"/>
          </p:cNvSpPr>
          <p:nvPr>
            <p:custDataLst>
              <p:tags r:id="rId8"/>
            </p:custDataLst>
          </p:nvPr>
        </p:nvSpPr>
        <p:spPr bwMode="auto">
          <a:xfrm>
            <a:off x="2844800" y="6048375"/>
            <a:ext cx="2762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A74A4E5A-CDD5-49E5-94CB-1A3B41232431}" type="datetime'2''''''''''''''''''''''''''''024'''''''''''''''''''">
              <a:rPr lang="ru-RU" altLang="en-US" sz="800">
                <a:latin typeface="SangBleu Sunrise" panose="020B0504000000000004" pitchFamily="34" charset="-52"/>
                <a:ea typeface="SangBleu Sunrise" panose="020B0504000000000004" pitchFamily="34" charset="-52"/>
                <a:sym typeface="SangBleu Sunrise" panose="020B0504000000000004" pitchFamily="34" charset="-52"/>
              </a:rPr>
              <a:pPr marL="0" indent="0" algn="ctr">
                <a:spcBef>
                  <a:spcPct val="0"/>
                </a:spcBef>
                <a:spcAft>
                  <a:spcPct val="0"/>
                </a:spcAft>
                <a:buNone/>
              </a:pPr>
              <a:t>2024</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71" name="Rectangle 170">
            <a:extLst>
              <a:ext uri="{FF2B5EF4-FFF2-40B4-BE49-F238E27FC236}">
                <a16:creationId xmlns:a16="http://schemas.microsoft.com/office/drawing/2014/main" id="{B0CB0D07-660C-49AA-956F-CFEA915E20DD}"/>
              </a:ext>
            </a:extLst>
          </p:cNvPr>
          <p:cNvSpPr/>
          <p:nvPr/>
        </p:nvSpPr>
        <p:spPr>
          <a:xfrm>
            <a:off x="1032475" y="2315791"/>
            <a:ext cx="2221228" cy="676648"/>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endParaRPr lang="ru-RU" sz="800" dirty="0">
              <a:solidFill>
                <a:schemeClr val="tx1"/>
              </a:solidFill>
              <a:latin typeface="SangBleu Sunrise" panose="020B0504000000000004" pitchFamily="34" charset="-52"/>
              <a:ea typeface="SangBleu Sunrise" panose="020B0504000000000004" pitchFamily="34" charset="-52"/>
            </a:endParaRPr>
          </a:p>
        </p:txBody>
      </p:sp>
      <p:sp>
        <p:nvSpPr>
          <p:cNvPr id="186" name="Title 3">
            <a:extLst>
              <a:ext uri="{FF2B5EF4-FFF2-40B4-BE49-F238E27FC236}">
                <a16:creationId xmlns:a16="http://schemas.microsoft.com/office/drawing/2014/main" id="{1B262B31-1533-4A63-9700-9BA2939DB87E}"/>
              </a:ext>
            </a:extLst>
          </p:cNvPr>
          <p:cNvSpPr txBox="1">
            <a:spLocks/>
          </p:cNvSpPr>
          <p:nvPr/>
        </p:nvSpPr>
        <p:spPr>
          <a:xfrm>
            <a:off x="3553412" y="1003691"/>
            <a:ext cx="2227677" cy="230738"/>
          </a:xfrm>
          <a:prstGeom prst="rect">
            <a:avLst/>
          </a:prstGeom>
          <a:solidFill>
            <a:schemeClr val="accent1">
              <a:lumMod val="50000"/>
            </a:schemeClr>
          </a:solidFill>
          <a:ln>
            <a:noFill/>
          </a:ln>
        </p:spPr>
        <p:txBody>
          <a:bodyPr vert="horz" wrap="square" lIns="58500" tIns="58500" rIns="58500" bIns="58500" rtlCol="0" anchor="ctr" anchorCtr="0">
            <a:sp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a:solidFill>
                  <a:schemeClr val="bg1"/>
                </a:solidFill>
                <a:latin typeface="SangBleu Sunrise" panose="020B0504000000000004" pitchFamily="34" charset="-52"/>
                <a:ea typeface="SangBleu Sunrise" panose="020B0504000000000004" pitchFamily="34" charset="-52"/>
              </a:rPr>
              <a:t>Liabilities:</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636" name="Rectangle 635">
            <a:extLst>
              <a:ext uri="{FF2B5EF4-FFF2-40B4-BE49-F238E27FC236}">
                <a16:creationId xmlns:a16="http://schemas.microsoft.com/office/drawing/2014/main" id="{76F9D93E-E69D-4E0B-8290-93A015357E84}"/>
              </a:ext>
            </a:extLst>
          </p:cNvPr>
          <p:cNvSpPr/>
          <p:nvPr>
            <p:custDataLst>
              <p:tags r:id="rId9"/>
            </p:custDataLst>
          </p:nvPr>
        </p:nvSpPr>
        <p:spPr bwMode="auto">
          <a:xfrm>
            <a:off x="1093788" y="4589463"/>
            <a:ext cx="142875" cy="106363"/>
          </a:xfrm>
          <a:prstGeom prst="rect">
            <a:avLst/>
          </a:prstGeom>
          <a:pattFill prst="pct75">
            <a:fgClr>
              <a:schemeClr val="tx1"/>
            </a:fgClr>
            <a:bgClr>
              <a:schemeClr val="bg1"/>
            </a:bgClr>
          </a:patt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Rectangle 23">
            <a:extLst>
              <a:ext uri="{FF2B5EF4-FFF2-40B4-BE49-F238E27FC236}">
                <a16:creationId xmlns:a16="http://schemas.microsoft.com/office/drawing/2014/main" id="{7DC55EE5-A18D-4F4A-B857-69D632009338}"/>
              </a:ext>
            </a:extLst>
          </p:cNvPr>
          <p:cNvSpPr/>
          <p:nvPr>
            <p:custDataLst>
              <p:tags r:id="rId10"/>
            </p:custDataLst>
          </p:nvPr>
        </p:nvSpPr>
        <p:spPr bwMode="auto">
          <a:xfrm>
            <a:off x="1093788" y="4754563"/>
            <a:ext cx="142875" cy="106363"/>
          </a:xfrm>
          <a:prstGeom prst="rect">
            <a:avLst/>
          </a:prstGeom>
          <a:solidFill>
            <a:srgbClr val="BF900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ru-RU" sz="1463"/>
          </a:p>
        </p:txBody>
      </p:sp>
      <p:sp>
        <p:nvSpPr>
          <p:cNvPr id="619" name="Rectangle 618">
            <a:extLst>
              <a:ext uri="{FF2B5EF4-FFF2-40B4-BE49-F238E27FC236}">
                <a16:creationId xmlns:a16="http://schemas.microsoft.com/office/drawing/2014/main" id="{B7FAA01C-FB4F-4D8A-A4A4-8F3A18FEBF48}"/>
              </a:ext>
            </a:extLst>
          </p:cNvPr>
          <p:cNvSpPr/>
          <p:nvPr>
            <p:custDataLst>
              <p:tags r:id="rId11"/>
            </p:custDataLst>
          </p:nvPr>
        </p:nvSpPr>
        <p:spPr bwMode="auto">
          <a:xfrm>
            <a:off x="1093788" y="4919663"/>
            <a:ext cx="142875" cy="106363"/>
          </a:xfrm>
          <a:prstGeom prst="rect">
            <a:avLst/>
          </a:prstGeom>
          <a:pattFill prst="ltDnDiag">
            <a:fgClr>
              <a:schemeClr val="tx1"/>
            </a:fgClr>
            <a:bgClr>
              <a:schemeClr val="bg1"/>
            </a:bgClr>
          </a:patt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3" name="Text Placeholder 2">
            <a:extLst>
              <a:ext uri="{FF2B5EF4-FFF2-40B4-BE49-F238E27FC236}">
                <a16:creationId xmlns:a16="http://schemas.microsoft.com/office/drawing/2014/main" id="{5CD4B07D-FDA9-4C0C-BEC7-B8F73042ECCA}"/>
              </a:ext>
            </a:extLst>
          </p:cNvPr>
          <p:cNvSpPr>
            <a:spLocks noGrp="1"/>
          </p:cNvSpPr>
          <p:nvPr>
            <p:custDataLst>
              <p:tags r:id="rId12"/>
            </p:custDataLst>
          </p:nvPr>
        </p:nvSpPr>
        <p:spPr bwMode="auto">
          <a:xfrm>
            <a:off x="1287463" y="4594225"/>
            <a:ext cx="4968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005CD179-9C75-4454-A2C3-C43D7C326CFE}" type="datetime'''Net'''''''''''' ''P''r''''''o''f''''''''i''''''t'''''">
              <a:rPr lang="en-US" altLang="en-US" sz="800" smtClean="0">
                <a:latin typeface="SangBleu Sunrise" panose="020B0504000000000004" pitchFamily="34" charset="-52"/>
                <a:ea typeface="SangBleu Sunrise" panose="020B0504000000000004" pitchFamily="34" charset="-52"/>
              </a:rPr>
              <a:pPr/>
              <a:t>Net Profit</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72" name="Text Placeholder 2">
            <a:extLst>
              <a:ext uri="{FF2B5EF4-FFF2-40B4-BE49-F238E27FC236}">
                <a16:creationId xmlns:a16="http://schemas.microsoft.com/office/drawing/2014/main" id="{9EA98E6B-1971-4F4A-9E2F-20708C1F48D7}"/>
              </a:ext>
            </a:extLst>
          </p:cNvPr>
          <p:cNvSpPr>
            <a:spLocks noGrp="1"/>
          </p:cNvSpPr>
          <p:nvPr>
            <p:custDataLst>
              <p:tags r:id="rId13"/>
            </p:custDataLst>
          </p:nvPr>
        </p:nvSpPr>
        <p:spPr bwMode="auto">
          <a:xfrm>
            <a:off x="1287463" y="4759325"/>
            <a:ext cx="4333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2DE767D2-FB3E-4276-8BCA-BB83F1157A26}" type="datetime'''R''''''''''''''''''e''''''v''e''''''''''n''''''''''u''''''e'">
              <a:rPr lang="en-US" altLang="en-US" sz="800" smtClean="0">
                <a:latin typeface="SangBleu Sunrise" panose="020B0504000000000004" pitchFamily="34" charset="-52"/>
                <a:ea typeface="SangBleu Sunrise" panose="020B0504000000000004" pitchFamily="34" charset="-52"/>
              </a:rPr>
              <a:pPr/>
              <a:t>Revenue</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16" name="Text Placeholder 2">
            <a:extLst>
              <a:ext uri="{FF2B5EF4-FFF2-40B4-BE49-F238E27FC236}">
                <a16:creationId xmlns:a16="http://schemas.microsoft.com/office/drawing/2014/main" id="{A2415A4F-C625-457C-9E87-7D6C02A43205}"/>
              </a:ext>
            </a:extLst>
          </p:cNvPr>
          <p:cNvSpPr>
            <a:spLocks noGrp="1"/>
          </p:cNvSpPr>
          <p:nvPr>
            <p:custDataLst>
              <p:tags r:id="rId14"/>
            </p:custDataLst>
          </p:nvPr>
        </p:nvSpPr>
        <p:spPr bwMode="auto">
          <a:xfrm>
            <a:off x="1287463" y="4924425"/>
            <a:ext cx="8270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DBD6A6DF-DC0C-43D4-B699-3D280577561D}" type="datetime'''''''''C''O''''V''''''''''ID'''' Rev''en''''ue'''''''''''">
              <a:rPr lang="en-US" altLang="en-US" sz="800" smtClean="0">
                <a:latin typeface="SangBleu Sunrise" panose="020B0504000000000004" pitchFamily="34" charset="-52"/>
                <a:ea typeface="SangBleu Sunrise" panose="020B0504000000000004" pitchFamily="34" charset="-52"/>
              </a:rPr>
              <a:pPr/>
              <a:t>COVID Revenue</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81" name="Rectangle 80">
            <a:extLst>
              <a:ext uri="{FF2B5EF4-FFF2-40B4-BE49-F238E27FC236}">
                <a16:creationId xmlns:a16="http://schemas.microsoft.com/office/drawing/2014/main" id="{6F3C83B3-C2D4-44B1-9B28-2C83BD14F5F6}"/>
              </a:ext>
            </a:extLst>
          </p:cNvPr>
          <p:cNvSpPr/>
          <p:nvPr/>
        </p:nvSpPr>
        <p:spPr>
          <a:xfrm>
            <a:off x="3498437" y="1323149"/>
            <a:ext cx="2227677" cy="897763"/>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Increasing Debt Level:</a:t>
            </a:r>
            <a:r>
              <a:rPr lang="en-US" sz="800" dirty="0">
                <a:solidFill>
                  <a:schemeClr val="tx1"/>
                </a:solidFill>
                <a:latin typeface="SangBleu Sunrise" panose="020B0504000000000004" pitchFamily="34" charset="-52"/>
                <a:ea typeface="SangBleu Sunrise" panose="020B0504000000000004" pitchFamily="34" charset="-52"/>
              </a:rPr>
              <a:t> PROMOMED's net debt rose to ₽16 billion at the end of 2023, up from ₽9 billion in the previous year. This significant increase reflects the company's aggressive growth strategy, funded partly through debt financing.</a:t>
            </a:r>
          </a:p>
          <a:p>
            <a:endParaRPr lang="en-US" sz="800" dirty="0">
              <a:solidFill>
                <a:schemeClr val="tx1"/>
              </a:solidFill>
              <a:latin typeface="SangBleu Sunrise" panose="020B0504000000000004" pitchFamily="34" charset="-52"/>
              <a:ea typeface="SangBleu Sunrise" panose="020B0504000000000004" pitchFamily="34" charset="-52"/>
            </a:endParaRPr>
          </a:p>
          <a:p>
            <a:endParaRPr lang="ru-RU" sz="800" dirty="0">
              <a:solidFill>
                <a:schemeClr val="tx1"/>
              </a:solidFill>
              <a:latin typeface="SangBleu Sunrise" panose="020B0504000000000004" pitchFamily="34" charset="-52"/>
              <a:ea typeface="SangBleu Sunrise" panose="020B0504000000000004" pitchFamily="34" charset="-52"/>
            </a:endParaRPr>
          </a:p>
        </p:txBody>
      </p:sp>
      <p:graphicFrame>
        <p:nvGraphicFramePr>
          <p:cNvPr id="65" name="Chart 64">
            <a:extLst>
              <a:ext uri="{FF2B5EF4-FFF2-40B4-BE49-F238E27FC236}">
                <a16:creationId xmlns:a16="http://schemas.microsoft.com/office/drawing/2014/main" id="{57893990-B24E-4E38-B937-7A610ADE5EBA}"/>
              </a:ext>
            </a:extLst>
          </p:cNvPr>
          <p:cNvGraphicFramePr/>
          <p:nvPr>
            <p:custDataLst>
              <p:tags r:id="rId15"/>
            </p:custDataLst>
            <p:extLst>
              <p:ext uri="{D42A27DB-BD31-4B8C-83A1-F6EECF244321}">
                <p14:modId xmlns:p14="http://schemas.microsoft.com/office/powerpoint/2010/main" val="1574765971"/>
              </p:ext>
            </p:extLst>
          </p:nvPr>
        </p:nvGraphicFramePr>
        <p:xfrm>
          <a:off x="3579813" y="4960938"/>
          <a:ext cx="2268537" cy="1239837"/>
        </p:xfrm>
        <a:graphic>
          <a:graphicData uri="http://schemas.openxmlformats.org/drawingml/2006/chart">
            <c:chart xmlns:c="http://schemas.openxmlformats.org/drawingml/2006/chart" xmlns:r="http://schemas.openxmlformats.org/officeDocument/2006/relationships" r:id="rId51"/>
          </a:graphicData>
        </a:graphic>
      </p:graphicFrame>
      <p:cxnSp>
        <p:nvCxnSpPr>
          <p:cNvPr id="131" name="Straight Connector 130">
            <a:extLst>
              <a:ext uri="{FF2B5EF4-FFF2-40B4-BE49-F238E27FC236}">
                <a16:creationId xmlns:a16="http://schemas.microsoft.com/office/drawing/2014/main" id="{F62A7D40-B8C0-48A7-87FA-B86CC9147525}"/>
              </a:ext>
            </a:extLst>
          </p:cNvPr>
          <p:cNvCxnSpPr/>
          <p:nvPr>
            <p:custDataLst>
              <p:tags r:id="rId16"/>
            </p:custDataLst>
          </p:nvPr>
        </p:nvCxnSpPr>
        <p:spPr bwMode="auto">
          <a:xfrm>
            <a:off x="4013200" y="589756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18AF7AA0-D3E9-407C-8746-9881F1020A6D}"/>
              </a:ext>
            </a:extLst>
          </p:cNvPr>
          <p:cNvCxnSpPr/>
          <p:nvPr>
            <p:custDataLst>
              <p:tags r:id="rId17"/>
            </p:custDataLst>
          </p:nvPr>
        </p:nvCxnSpPr>
        <p:spPr bwMode="auto">
          <a:xfrm>
            <a:off x="4713288" y="582771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4" name="Straight Connector 493">
            <a:extLst>
              <a:ext uri="{FF2B5EF4-FFF2-40B4-BE49-F238E27FC236}">
                <a16:creationId xmlns:a16="http://schemas.microsoft.com/office/drawing/2014/main" id="{9419820B-A90D-4FA9-9044-5F29E7705214}"/>
              </a:ext>
            </a:extLst>
          </p:cNvPr>
          <p:cNvCxnSpPr/>
          <p:nvPr>
            <p:custDataLst>
              <p:tags r:id="rId18"/>
            </p:custDataLst>
          </p:nvPr>
        </p:nvCxnSpPr>
        <p:spPr bwMode="auto">
          <a:xfrm>
            <a:off x="5414963" y="5670550"/>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5" name="Text Placeholder 2">
            <a:extLst>
              <a:ext uri="{FF2B5EF4-FFF2-40B4-BE49-F238E27FC236}">
                <a16:creationId xmlns:a16="http://schemas.microsoft.com/office/drawing/2014/main" id="{A1390316-DB05-409B-B3E1-F58CE104DD73}"/>
              </a:ext>
            </a:extLst>
          </p:cNvPr>
          <p:cNvSpPr>
            <a:spLocks noGrp="1"/>
          </p:cNvSpPr>
          <p:nvPr>
            <p:custDataLst>
              <p:tags r:id="rId19"/>
            </p:custDataLst>
          </p:nvPr>
        </p:nvSpPr>
        <p:spPr bwMode="auto">
          <a:xfrm>
            <a:off x="3890963" y="6048375"/>
            <a:ext cx="2460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089F6E75-D008-4BE5-8814-F8243C536747}" type="datetime'''''''''''''''''''''''2''''''''''''''''''''''''''0''21'">
              <a:rPr lang="ru-RU" altLang="en-US" sz="800">
                <a:latin typeface="SangBleu Sunrise" panose="020B0504000000000004" pitchFamily="34" charset="-52"/>
                <a:ea typeface="SangBleu Sunrise" panose="020B0504000000000004" pitchFamily="34" charset="-52"/>
                <a:sym typeface="SangBleu Sunrise" panose="020B0504000000000004" pitchFamily="34" charset="-52"/>
              </a:rPr>
              <a:pPr marL="0" indent="0" algn="ctr">
                <a:spcBef>
                  <a:spcPct val="0"/>
                </a:spcBef>
                <a:spcAft>
                  <a:spcPct val="0"/>
                </a:spcAft>
                <a:buNone/>
              </a:pPr>
              <a:t>2021</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06" name="Text Placeholder 2">
            <a:extLst>
              <a:ext uri="{FF2B5EF4-FFF2-40B4-BE49-F238E27FC236}">
                <a16:creationId xmlns:a16="http://schemas.microsoft.com/office/drawing/2014/main" id="{41F3B484-A072-452A-A76F-07FCA741A28A}"/>
              </a:ext>
            </a:extLst>
          </p:cNvPr>
          <p:cNvSpPr>
            <a:spLocks noGrp="1"/>
          </p:cNvSpPr>
          <p:nvPr>
            <p:custDataLst>
              <p:tags r:id="rId20"/>
            </p:custDataLst>
          </p:nvPr>
        </p:nvSpPr>
        <p:spPr bwMode="auto">
          <a:xfrm>
            <a:off x="4579938" y="6048375"/>
            <a:ext cx="2682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F8C0CE46-FC5A-4A89-82E2-58357766D82A}" type="datetime'''''''''''''''2''02''''''''''''''''''2'''''''''''''''''''''">
              <a:rPr lang="ru-RU" altLang="en-US" sz="800">
                <a:latin typeface="SangBleu Sunrise" panose="020B0504000000000004" pitchFamily="34" charset="-52"/>
                <a:ea typeface="SangBleu Sunrise" panose="020B0504000000000004" pitchFamily="34" charset="-52"/>
                <a:sym typeface="SangBleu Sunrise" panose="020B0504000000000004" pitchFamily="34" charset="-52"/>
              </a:rPr>
              <a:pPr marL="0" indent="0" algn="ctr">
                <a:spcBef>
                  <a:spcPct val="0"/>
                </a:spcBef>
                <a:spcAft>
                  <a:spcPct val="0"/>
                </a:spcAft>
                <a:buNone/>
              </a:pPr>
              <a:t>2022</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07" name="Text Placeholder 2">
            <a:extLst>
              <a:ext uri="{FF2B5EF4-FFF2-40B4-BE49-F238E27FC236}">
                <a16:creationId xmlns:a16="http://schemas.microsoft.com/office/drawing/2014/main" id="{DC99334E-618A-44C1-8FE9-80534AD65BB3}"/>
              </a:ext>
            </a:extLst>
          </p:cNvPr>
          <p:cNvSpPr>
            <a:spLocks noGrp="1"/>
          </p:cNvSpPr>
          <p:nvPr>
            <p:custDataLst>
              <p:tags r:id="rId21"/>
            </p:custDataLst>
          </p:nvPr>
        </p:nvSpPr>
        <p:spPr bwMode="auto">
          <a:xfrm>
            <a:off x="5281613" y="6048375"/>
            <a:ext cx="2667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0943DAF9-5FC9-4C7A-850E-2181053EF801}" type="datetime'''''2''''''''''''''''''''''''''0''2''''''''''3'''''''''''''">
              <a:rPr lang="ru-RU" altLang="en-US" sz="800">
                <a:latin typeface="SangBleu Sunrise" panose="020B0504000000000004" pitchFamily="34" charset="-52"/>
                <a:ea typeface="SangBleu Sunrise" panose="020B0504000000000004" pitchFamily="34" charset="-52"/>
                <a:sym typeface="SangBleu Sunrise" panose="020B0504000000000004" pitchFamily="34" charset="-52"/>
              </a:rPr>
              <a:pPr marL="0" indent="0" algn="ctr">
                <a:spcBef>
                  <a:spcPct val="0"/>
                </a:spcBef>
                <a:spcAft>
                  <a:spcPct val="0"/>
                </a:spcAft>
                <a:buNone/>
              </a:pPr>
              <a:t>2023</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09" name="Rectangle 108">
            <a:extLst>
              <a:ext uri="{FF2B5EF4-FFF2-40B4-BE49-F238E27FC236}">
                <a16:creationId xmlns:a16="http://schemas.microsoft.com/office/drawing/2014/main" id="{1BF169F6-3D4C-486A-B070-1B9AD4E6805A}"/>
              </a:ext>
            </a:extLst>
          </p:cNvPr>
          <p:cNvSpPr/>
          <p:nvPr>
            <p:custDataLst>
              <p:tags r:id="rId22"/>
            </p:custDataLst>
          </p:nvPr>
        </p:nvSpPr>
        <p:spPr bwMode="auto">
          <a:xfrm>
            <a:off x="3760788" y="4754563"/>
            <a:ext cx="142875" cy="106363"/>
          </a:xfrm>
          <a:prstGeom prst="rect">
            <a:avLst/>
          </a:prstGeom>
          <a:solidFill>
            <a:srgbClr val="BF900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ru-RU" sz="1463"/>
          </a:p>
        </p:txBody>
      </p:sp>
      <p:cxnSp>
        <p:nvCxnSpPr>
          <p:cNvPr id="448" name="Straight Connector 447">
            <a:extLst>
              <a:ext uri="{FF2B5EF4-FFF2-40B4-BE49-F238E27FC236}">
                <a16:creationId xmlns:a16="http://schemas.microsoft.com/office/drawing/2014/main" id="{3C65490D-6034-47D9-ADA6-1006BB1DED9A}"/>
              </a:ext>
            </a:extLst>
          </p:cNvPr>
          <p:cNvCxnSpPr/>
          <p:nvPr>
            <p:custDataLst>
              <p:tags r:id="rId23"/>
            </p:custDataLst>
          </p:nvPr>
        </p:nvCxnSpPr>
        <p:spPr bwMode="gray">
          <a:xfrm>
            <a:off x="3706813" y="4972050"/>
            <a:ext cx="190500" cy="0"/>
          </a:xfrm>
          <a:prstGeom prst="line">
            <a:avLst/>
          </a:prstGeom>
          <a:ln w="12700" cap="rnd" cmpd="sng" algn="ctr">
            <a:solidFill>
              <a:srgbClr val="0000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5" name="Isosceles Triangle 494">
            <a:extLst>
              <a:ext uri="{FF2B5EF4-FFF2-40B4-BE49-F238E27FC236}">
                <a16:creationId xmlns:a16="http://schemas.microsoft.com/office/drawing/2014/main" id="{4909BC1E-B0F9-45D5-8C3B-4C203D7130C1}"/>
              </a:ext>
            </a:extLst>
          </p:cNvPr>
          <p:cNvSpPr/>
          <p:nvPr>
            <p:custDataLst>
              <p:tags r:id="rId24"/>
            </p:custDataLst>
          </p:nvPr>
        </p:nvSpPr>
        <p:spPr bwMode="auto">
          <a:xfrm>
            <a:off x="3776663" y="4946650"/>
            <a:ext cx="50800" cy="50800"/>
          </a:xfrm>
          <a:prstGeom prst="triangle">
            <a:avLst/>
          </a:prstGeom>
          <a:solidFill>
            <a:srgbClr val="FFFFFF"/>
          </a:solidFill>
          <a:ln w="9525" cap="flat" cmpd="sng" algn="ctr">
            <a:solidFill>
              <a:srgbClr val="00000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 Placeholder 2">
            <a:extLst>
              <a:ext uri="{FF2B5EF4-FFF2-40B4-BE49-F238E27FC236}">
                <a16:creationId xmlns:a16="http://schemas.microsoft.com/office/drawing/2014/main" id="{39191CAC-E767-4D3E-A9BB-5DB06EE85D53}"/>
              </a:ext>
            </a:extLst>
          </p:cNvPr>
          <p:cNvSpPr>
            <a:spLocks noGrp="1"/>
          </p:cNvSpPr>
          <p:nvPr>
            <p:custDataLst>
              <p:tags r:id="rId25"/>
            </p:custDataLst>
          </p:nvPr>
        </p:nvSpPr>
        <p:spPr bwMode="auto">
          <a:xfrm>
            <a:off x="3954463" y="4759325"/>
            <a:ext cx="4619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C8273FA4-E0C1-4A7B-9582-B66474BB08AB}" type="datetime'N''''''''e''''''''''t'''' D''''e''''b''''''''''''''''''t'''">
              <a:rPr lang="en-US" altLang="en-US" sz="800">
                <a:latin typeface="SangBleu Sunrise" panose="020B0504000000000004" pitchFamily="34" charset="-52"/>
                <a:ea typeface="SangBleu Sunrise" panose="020B0504000000000004" pitchFamily="34" charset="-52"/>
                <a:sym typeface="SangBleu Sunrise" panose="020B0504000000000004" pitchFamily="34" charset="-52"/>
              </a:rPr>
              <a:pPr marL="0" indent="0">
                <a:spcBef>
                  <a:spcPct val="0"/>
                </a:spcBef>
                <a:spcAft>
                  <a:spcPct val="0"/>
                </a:spcAft>
                <a:buNone/>
              </a:pPr>
              <a:t>Net Debt</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13" name="Text Placeholder 2">
            <a:extLst>
              <a:ext uri="{FF2B5EF4-FFF2-40B4-BE49-F238E27FC236}">
                <a16:creationId xmlns:a16="http://schemas.microsoft.com/office/drawing/2014/main" id="{54237A60-B615-4F85-A027-94C5594526E2}"/>
              </a:ext>
            </a:extLst>
          </p:cNvPr>
          <p:cNvSpPr>
            <a:spLocks noGrp="1"/>
          </p:cNvSpPr>
          <p:nvPr>
            <p:custDataLst>
              <p:tags r:id="rId26"/>
            </p:custDataLst>
          </p:nvPr>
        </p:nvSpPr>
        <p:spPr bwMode="auto">
          <a:xfrm>
            <a:off x="3954463" y="4924425"/>
            <a:ext cx="111283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r>
              <a:rPr lang="en-US" altLang="en-US" sz="800" dirty="0">
                <a:latin typeface="SangBleu Sunrise" panose="020B0504000000000004" pitchFamily="34" charset="-52"/>
                <a:ea typeface="SangBleu Sunrise" panose="020B0504000000000004" pitchFamily="34" charset="-52"/>
                <a:sym typeface="SangBleu Sunrise" panose="020B0504000000000004" pitchFamily="34" charset="-52"/>
              </a:rPr>
              <a:t>Net Debt to Net Profit</a:t>
            </a:r>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89" name="Rectangle 188">
            <a:extLst>
              <a:ext uri="{FF2B5EF4-FFF2-40B4-BE49-F238E27FC236}">
                <a16:creationId xmlns:a16="http://schemas.microsoft.com/office/drawing/2014/main" id="{BCAB384E-9762-488A-AD0D-C724AD653C9C}"/>
              </a:ext>
            </a:extLst>
          </p:cNvPr>
          <p:cNvSpPr/>
          <p:nvPr/>
        </p:nvSpPr>
        <p:spPr>
          <a:xfrm>
            <a:off x="1026022" y="2307894"/>
            <a:ext cx="2221228" cy="1143331"/>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Profit Fluctuations:</a:t>
            </a:r>
            <a:r>
              <a:rPr lang="en-US" sz="800" dirty="0">
                <a:solidFill>
                  <a:schemeClr val="tx1"/>
                </a:solidFill>
                <a:latin typeface="SangBleu Sunrise" panose="020B0504000000000004" pitchFamily="34" charset="-52"/>
                <a:ea typeface="SangBleu Sunrise" panose="020B0504000000000004" pitchFamily="34" charset="-52"/>
              </a:rPr>
              <a:t> Despite revenue growth, net profit in 2023 was approximately ₽3 billion, representing a 25.3% decrease year-over-year. This decline was attributed to windfall tax payments and substantial R&amp;D investments, indicating a focus on long-term growth over short-term profitability.</a:t>
            </a:r>
          </a:p>
          <a:p>
            <a:endParaRPr lang="en-US" sz="800" dirty="0">
              <a:solidFill>
                <a:schemeClr val="tx1"/>
              </a:solidFill>
              <a:latin typeface="SangBleu Sunrise" panose="020B0504000000000004" pitchFamily="34" charset="-52"/>
              <a:ea typeface="SangBleu Sunrise" panose="020B0504000000000004" pitchFamily="34" charset="-52"/>
            </a:endParaRPr>
          </a:p>
          <a:p>
            <a:endParaRPr lang="ru-RU" sz="800" dirty="0">
              <a:solidFill>
                <a:schemeClr val="tx1"/>
              </a:solidFill>
              <a:latin typeface="SangBleu Sunrise" panose="020B0504000000000004" pitchFamily="34" charset="-52"/>
              <a:ea typeface="SangBleu Sunrise" panose="020B0504000000000004" pitchFamily="34" charset="-52"/>
            </a:endParaRPr>
          </a:p>
        </p:txBody>
      </p:sp>
      <p:sp>
        <p:nvSpPr>
          <p:cNvPr id="190" name="Rectangle 189">
            <a:extLst>
              <a:ext uri="{FF2B5EF4-FFF2-40B4-BE49-F238E27FC236}">
                <a16:creationId xmlns:a16="http://schemas.microsoft.com/office/drawing/2014/main" id="{4807E6F6-139D-441A-A328-15982F2E3829}"/>
              </a:ext>
            </a:extLst>
          </p:cNvPr>
          <p:cNvSpPr/>
          <p:nvPr/>
        </p:nvSpPr>
        <p:spPr>
          <a:xfrm>
            <a:off x="1026022" y="3538207"/>
            <a:ext cx="2221228" cy="936957"/>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COVID-19:</a:t>
            </a:r>
            <a:r>
              <a:rPr lang="en-US" sz="800" dirty="0">
                <a:solidFill>
                  <a:schemeClr val="tx1"/>
                </a:solidFill>
                <a:latin typeface="SangBleu Sunrise" panose="020B0504000000000004" pitchFamily="34" charset="-52"/>
                <a:ea typeface="SangBleu Sunrise" panose="020B0504000000000004" pitchFamily="34" charset="-52"/>
              </a:rPr>
              <a:t> The company has successfully reduced its reliance on COVID-19 related products, with their share in revenue decreasing from 57% in 2022 to 10% in 2023. This shift suggests a more balanced and potentially sustainable revenue stream.</a:t>
            </a:r>
          </a:p>
          <a:p>
            <a:endParaRPr lang="ru-RU" sz="800" dirty="0">
              <a:solidFill>
                <a:schemeClr val="tx1"/>
              </a:solidFill>
              <a:latin typeface="SangBleu Sunrise" panose="020B0504000000000004" pitchFamily="34" charset="-52"/>
              <a:ea typeface="SangBleu Sunrise" panose="020B0504000000000004" pitchFamily="34" charset="-52"/>
            </a:endParaRPr>
          </a:p>
        </p:txBody>
      </p:sp>
      <p:sp>
        <p:nvSpPr>
          <p:cNvPr id="261" name="Rectangle 260">
            <a:extLst>
              <a:ext uri="{FF2B5EF4-FFF2-40B4-BE49-F238E27FC236}">
                <a16:creationId xmlns:a16="http://schemas.microsoft.com/office/drawing/2014/main" id="{20B0F1E3-BD92-46B8-A09A-00277C483FA6}"/>
              </a:ext>
            </a:extLst>
          </p:cNvPr>
          <p:cNvSpPr/>
          <p:nvPr/>
        </p:nvSpPr>
        <p:spPr>
          <a:xfrm>
            <a:off x="3577825" y="3598068"/>
            <a:ext cx="2227677" cy="950913"/>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Credit Rating:</a:t>
            </a:r>
            <a:r>
              <a:rPr lang="en-US" sz="800" dirty="0">
                <a:solidFill>
                  <a:schemeClr val="tx1"/>
                </a:solidFill>
                <a:latin typeface="SangBleu Sunrise" panose="020B0504000000000004" pitchFamily="34" charset="-52"/>
                <a:ea typeface="SangBleu Sunrise" panose="020B0504000000000004" pitchFamily="34" charset="-52"/>
              </a:rPr>
              <a:t> In November 2024, PROMOMED received a long-term credit rating of </a:t>
            </a:r>
            <a:r>
              <a:rPr lang="en-US" sz="800" dirty="0" err="1">
                <a:solidFill>
                  <a:schemeClr val="tx1"/>
                </a:solidFill>
                <a:latin typeface="SangBleu Sunrise" panose="020B0504000000000004" pitchFamily="34" charset="-52"/>
                <a:ea typeface="SangBleu Sunrise" panose="020B0504000000000004" pitchFamily="34" charset="-52"/>
              </a:rPr>
              <a:t>ruA</a:t>
            </a:r>
            <a:r>
              <a:rPr lang="en-US" sz="800" dirty="0">
                <a:solidFill>
                  <a:schemeClr val="tx1"/>
                </a:solidFill>
                <a:latin typeface="SangBleu Sunrise" panose="020B0504000000000004" pitchFamily="34" charset="-52"/>
                <a:ea typeface="SangBleu Sunrise" panose="020B0504000000000004" pitchFamily="34" charset="-52"/>
              </a:rPr>
              <a:t>- from Expert RA. This rating indicates moderate credit risk and suggests that while the company has taken on more debt, it maintains a reasonable level of creditworthiness.</a:t>
            </a:r>
          </a:p>
          <a:p>
            <a:endParaRPr lang="ru-RU" sz="800" dirty="0">
              <a:solidFill>
                <a:schemeClr val="tx1"/>
              </a:solidFill>
              <a:latin typeface="SangBleu Sunrise" panose="020B0504000000000004" pitchFamily="34" charset="-52"/>
              <a:ea typeface="SangBleu Sunrise" panose="020B0504000000000004" pitchFamily="34" charset="-52"/>
            </a:endParaRPr>
          </a:p>
        </p:txBody>
      </p:sp>
      <p:graphicFrame>
        <p:nvGraphicFramePr>
          <p:cNvPr id="73" name="Chart 72">
            <a:extLst>
              <a:ext uri="{FF2B5EF4-FFF2-40B4-BE49-F238E27FC236}">
                <a16:creationId xmlns:a16="http://schemas.microsoft.com/office/drawing/2014/main" id="{DADB9B76-633A-4461-9AAC-FD764838DFC2}"/>
              </a:ext>
            </a:extLst>
          </p:cNvPr>
          <p:cNvGraphicFramePr/>
          <p:nvPr>
            <p:custDataLst>
              <p:tags r:id="rId27"/>
            </p:custDataLst>
            <p:extLst>
              <p:ext uri="{D42A27DB-BD31-4B8C-83A1-F6EECF244321}">
                <p14:modId xmlns:p14="http://schemas.microsoft.com/office/powerpoint/2010/main" val="3838007256"/>
              </p:ext>
            </p:extLst>
          </p:nvPr>
        </p:nvGraphicFramePr>
        <p:xfrm>
          <a:off x="3282950" y="2035175"/>
          <a:ext cx="1539875" cy="1400175"/>
        </p:xfrm>
        <a:graphic>
          <a:graphicData uri="http://schemas.openxmlformats.org/drawingml/2006/chart">
            <c:chart xmlns:c="http://schemas.openxmlformats.org/drawingml/2006/chart" xmlns:r="http://schemas.openxmlformats.org/officeDocument/2006/relationships" r:id="rId52"/>
          </a:graphicData>
        </a:graphic>
      </p:graphicFrame>
      <p:sp>
        <p:nvSpPr>
          <p:cNvPr id="385" name="Text Placeholder 2">
            <a:extLst>
              <a:ext uri="{FF2B5EF4-FFF2-40B4-BE49-F238E27FC236}">
                <a16:creationId xmlns:a16="http://schemas.microsoft.com/office/drawing/2014/main" id="{618495A5-0B51-490F-967A-696F2A69C088}"/>
              </a:ext>
            </a:extLst>
          </p:cNvPr>
          <p:cNvSpPr>
            <a:spLocks noGrp="1"/>
          </p:cNvSpPr>
          <p:nvPr>
            <p:custDataLst>
              <p:tags r:id="rId28"/>
            </p:custDataLst>
          </p:nvPr>
        </p:nvSpPr>
        <p:spPr bwMode="auto">
          <a:xfrm>
            <a:off x="4770438" y="2268538"/>
            <a:ext cx="6921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64A70F85-1014-44D7-BF5B-8BF59D60598B}" type="datetime'P''R''''''''''O''''''''''M''''''''O''''''''''MED'''''">
              <a:rPr lang="en-US" altLang="en-US" sz="800" smtClean="0">
                <a:latin typeface="SangBleu Sunrise" panose="020B0504000000000004" pitchFamily="34" charset="-52"/>
                <a:ea typeface="SangBleu Sunrise" panose="020B0504000000000004" pitchFamily="34" charset="-52"/>
                <a:sym typeface="SangBleu Sunrise" panose="020B0504000000000004" pitchFamily="34" charset="-52"/>
              </a:rPr>
              <a:pPr marL="0" indent="0">
                <a:spcBef>
                  <a:spcPct val="0"/>
                </a:spcBef>
                <a:spcAft>
                  <a:spcPct val="0"/>
                </a:spcAft>
                <a:buNone/>
              </a:pPr>
              <a:t>PROMOMED</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16" name="Text Placeholder 2">
            <a:extLst>
              <a:ext uri="{FF2B5EF4-FFF2-40B4-BE49-F238E27FC236}">
                <a16:creationId xmlns:a16="http://schemas.microsoft.com/office/drawing/2014/main" id="{2AA3AC23-3DD0-4FC4-9544-F0BF596F0048}"/>
              </a:ext>
            </a:extLst>
          </p:cNvPr>
          <p:cNvSpPr>
            <a:spLocks noGrp="1"/>
          </p:cNvSpPr>
          <p:nvPr>
            <p:custDataLst>
              <p:tags r:id="rId29"/>
            </p:custDataLst>
          </p:nvPr>
        </p:nvSpPr>
        <p:spPr bwMode="auto">
          <a:xfrm>
            <a:off x="4770438" y="2474913"/>
            <a:ext cx="151923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B6F2BBEC-9A5A-49E8-B341-FE4183BE2AEA}" type="datetime'Russ''i''an ''Tech'' Ind''us''''t''ry'' A''ve''''rag''''''e'">
              <a:rPr lang="en-US" altLang="en-US" sz="800" smtClean="0">
                <a:latin typeface="SangBleu Sunrise" panose="020B0504000000000004" pitchFamily="34" charset="-52"/>
                <a:ea typeface="SangBleu Sunrise" panose="020B0504000000000004" pitchFamily="34" charset="-52"/>
                <a:sym typeface="SangBleu Sunrise" panose="020B0504000000000004" pitchFamily="34" charset="-52"/>
              </a:rPr>
              <a:pPr marL="0" indent="0">
                <a:spcBef>
                  <a:spcPct val="0"/>
                </a:spcBef>
                <a:spcAft>
                  <a:spcPct val="0"/>
                </a:spcAft>
                <a:buNone/>
              </a:pPr>
              <a:t>Russian Tech Industry Average</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83" name="Text Placeholder 2">
            <a:extLst>
              <a:ext uri="{FF2B5EF4-FFF2-40B4-BE49-F238E27FC236}">
                <a16:creationId xmlns:a16="http://schemas.microsoft.com/office/drawing/2014/main" id="{3DC84AD9-C6D2-4078-AE3B-E111CBE8FF3A}"/>
              </a:ext>
            </a:extLst>
          </p:cNvPr>
          <p:cNvSpPr>
            <a:spLocks noGrp="1"/>
          </p:cNvSpPr>
          <p:nvPr>
            <p:custDataLst>
              <p:tags r:id="rId30"/>
            </p:custDataLst>
          </p:nvPr>
        </p:nvSpPr>
        <p:spPr bwMode="auto">
          <a:xfrm>
            <a:off x="4770438" y="2679700"/>
            <a:ext cx="3476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98495959-6348-47EC-9118-3949B28C5BF0}" type="datetime'''''''''''''''E''''''li ''''''''''''''''''Li''l''''''''ly'''''">
              <a:rPr lang="en-US" altLang="en-US" sz="800" smtClean="0">
                <a:latin typeface="SangBleu Sunrise" panose="020B0504000000000004" pitchFamily="34" charset="-52"/>
                <a:ea typeface="SangBleu Sunrise" panose="020B0504000000000004" pitchFamily="34" charset="-52"/>
                <a:sym typeface="SangBleu Sunrise" panose="020B0504000000000004" pitchFamily="34" charset="-52"/>
              </a:rPr>
              <a:pPr marL="0" indent="0">
                <a:spcBef>
                  <a:spcPct val="0"/>
                </a:spcBef>
                <a:spcAft>
                  <a:spcPct val="0"/>
                </a:spcAft>
                <a:buNone/>
              </a:pPr>
              <a:t>Eli Lilly</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09" name="Text Placeholder 2">
            <a:extLst>
              <a:ext uri="{FF2B5EF4-FFF2-40B4-BE49-F238E27FC236}">
                <a16:creationId xmlns:a16="http://schemas.microsoft.com/office/drawing/2014/main" id="{07DE1748-C0C1-4A69-A472-CF4DABFEEBFF}"/>
              </a:ext>
            </a:extLst>
          </p:cNvPr>
          <p:cNvSpPr>
            <a:spLocks noGrp="1"/>
          </p:cNvSpPr>
          <p:nvPr>
            <p:custDataLst>
              <p:tags r:id="rId31"/>
            </p:custDataLst>
          </p:nvPr>
        </p:nvSpPr>
        <p:spPr bwMode="auto">
          <a:xfrm>
            <a:off x="4770438" y="2886075"/>
            <a:ext cx="7540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CAEC9D38-A500-4352-8B70-675906A34DA9}" type="datetime'''''A''''rt''g''''en'' ''''''''''B''''''iot''''''e''c''h'">
              <a:rPr lang="en-US" altLang="en-US" sz="800" smtClean="0">
                <a:latin typeface="SangBleu Sunrise" panose="020B0504000000000004" pitchFamily="34" charset="-52"/>
                <a:ea typeface="SangBleu Sunrise" panose="020B0504000000000004" pitchFamily="34" charset="-52"/>
                <a:sym typeface="SangBleu Sunrise" panose="020B0504000000000004" pitchFamily="34" charset="-52"/>
              </a:rPr>
              <a:pPr marL="0" indent="0">
                <a:spcBef>
                  <a:spcPct val="0"/>
                </a:spcBef>
                <a:spcAft>
                  <a:spcPct val="0"/>
                </a:spcAft>
                <a:buNone/>
              </a:pPr>
              <a:t>Artgen Biotech</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84" name="Text Placeholder 2">
            <a:extLst>
              <a:ext uri="{FF2B5EF4-FFF2-40B4-BE49-F238E27FC236}">
                <a16:creationId xmlns:a16="http://schemas.microsoft.com/office/drawing/2014/main" id="{DE8E9B91-1907-45DC-A3E0-2197786C9918}"/>
              </a:ext>
            </a:extLst>
          </p:cNvPr>
          <p:cNvSpPr>
            <a:spLocks noGrp="1"/>
          </p:cNvSpPr>
          <p:nvPr>
            <p:custDataLst>
              <p:tags r:id="rId32"/>
            </p:custDataLst>
          </p:nvPr>
        </p:nvSpPr>
        <p:spPr bwMode="auto">
          <a:xfrm>
            <a:off x="4770438" y="3090863"/>
            <a:ext cx="68421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1B609CBB-BA09-49DB-91D9-9E618425B40D}" type="datetime'''''''N''''ov''o'''' No''r''d''''''''i''s''''''k'''''''''''''">
              <a:rPr lang="en-US" altLang="en-US" sz="800" smtClean="0">
                <a:latin typeface="SangBleu Sunrise" panose="020B0504000000000004" pitchFamily="34" charset="-52"/>
                <a:ea typeface="SangBleu Sunrise" panose="020B0504000000000004" pitchFamily="34" charset="-52"/>
                <a:sym typeface="SangBleu Sunrise" panose="020B0504000000000004" pitchFamily="34" charset="-52"/>
              </a:rPr>
              <a:pPr marL="0" indent="0">
                <a:spcBef>
                  <a:spcPct val="0"/>
                </a:spcBef>
                <a:spcAft>
                  <a:spcPct val="0"/>
                </a:spcAft>
                <a:buNone/>
              </a:pPr>
              <a:t>Novo Nordisk</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graphicFrame>
        <p:nvGraphicFramePr>
          <p:cNvPr id="802" name="Chart 801">
            <a:extLst>
              <a:ext uri="{FF2B5EF4-FFF2-40B4-BE49-F238E27FC236}">
                <a16:creationId xmlns:a16="http://schemas.microsoft.com/office/drawing/2014/main" id="{79BC25F2-5690-40C4-BDDD-42DF5FAF34D2}"/>
              </a:ext>
            </a:extLst>
          </p:cNvPr>
          <p:cNvGraphicFramePr/>
          <p:nvPr>
            <p:custDataLst>
              <p:tags r:id="rId33"/>
            </p:custDataLst>
            <p:extLst>
              <p:ext uri="{D42A27DB-BD31-4B8C-83A1-F6EECF244321}">
                <p14:modId xmlns:p14="http://schemas.microsoft.com/office/powerpoint/2010/main" val="3687638011"/>
              </p:ext>
            </p:extLst>
          </p:nvPr>
        </p:nvGraphicFramePr>
        <p:xfrm>
          <a:off x="3519488" y="7359650"/>
          <a:ext cx="2368550" cy="1349375"/>
        </p:xfrm>
        <a:graphic>
          <a:graphicData uri="http://schemas.openxmlformats.org/drawingml/2006/chart">
            <c:chart xmlns:c="http://schemas.openxmlformats.org/drawingml/2006/chart" xmlns:r="http://schemas.openxmlformats.org/officeDocument/2006/relationships" r:id="rId53"/>
          </a:graphicData>
        </a:graphic>
      </p:graphicFrame>
      <p:sp>
        <p:nvSpPr>
          <p:cNvPr id="690" name="Text Placeholder 2">
            <a:extLst>
              <a:ext uri="{FF2B5EF4-FFF2-40B4-BE49-F238E27FC236}">
                <a16:creationId xmlns:a16="http://schemas.microsoft.com/office/drawing/2014/main" id="{A3D0D790-2842-463C-8A51-AB866E683556}"/>
              </a:ext>
            </a:extLst>
          </p:cNvPr>
          <p:cNvSpPr>
            <a:spLocks noGrp="1"/>
          </p:cNvSpPr>
          <p:nvPr>
            <p:custDataLst>
              <p:tags r:id="rId34"/>
            </p:custDataLst>
          </p:nvPr>
        </p:nvSpPr>
        <p:spPr bwMode="auto">
          <a:xfrm>
            <a:off x="3846513" y="7350125"/>
            <a:ext cx="2460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5B7079BA-FCA6-4D16-9068-8546DFE9DE75}" type="datetime'''''''''''''''''''''''''''''''''''''2''''''''''0''''''21'''''">
              <a:rPr lang="ru-RU" altLang="en-US" sz="800" smtClean="0">
                <a:latin typeface="SangBleu Sunrise" panose="020B0504000000000004" pitchFamily="34" charset="-52"/>
                <a:ea typeface="SangBleu Sunrise" panose="020B0504000000000004" pitchFamily="34" charset="-52"/>
              </a:rPr>
              <a:pPr/>
              <a:t>2021</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1" name="Text Placeholder 2">
            <a:extLst>
              <a:ext uri="{FF2B5EF4-FFF2-40B4-BE49-F238E27FC236}">
                <a16:creationId xmlns:a16="http://schemas.microsoft.com/office/drawing/2014/main" id="{B78B9DF6-A575-452E-8AEE-10E63016F250}"/>
              </a:ext>
            </a:extLst>
          </p:cNvPr>
          <p:cNvSpPr>
            <a:spLocks noGrp="1"/>
          </p:cNvSpPr>
          <p:nvPr>
            <p:custDataLst>
              <p:tags r:id="rId35"/>
            </p:custDataLst>
          </p:nvPr>
        </p:nvSpPr>
        <p:spPr bwMode="auto">
          <a:xfrm>
            <a:off x="4568825" y="7350125"/>
            <a:ext cx="2682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A95EAFAF-ED9F-447C-9581-37133625111E}" type="datetime'''''''''''''20''''''''''''''''''''''''22'''''''''''''">
              <a:rPr lang="ru-RU" altLang="en-US" sz="800" smtClean="0">
                <a:latin typeface="SangBleu Sunrise" panose="020B0504000000000004" pitchFamily="34" charset="-52"/>
                <a:ea typeface="SangBleu Sunrise" panose="020B0504000000000004" pitchFamily="34" charset="-52"/>
              </a:rPr>
              <a:pPr/>
              <a:t>2022</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2" name="Text Placeholder 2">
            <a:extLst>
              <a:ext uri="{FF2B5EF4-FFF2-40B4-BE49-F238E27FC236}">
                <a16:creationId xmlns:a16="http://schemas.microsoft.com/office/drawing/2014/main" id="{53835840-09DD-4218-BA00-52C28B8D79F8}"/>
              </a:ext>
            </a:extLst>
          </p:cNvPr>
          <p:cNvSpPr>
            <a:spLocks noGrp="1"/>
          </p:cNvSpPr>
          <p:nvPr>
            <p:custDataLst>
              <p:tags r:id="rId36"/>
            </p:custDataLst>
          </p:nvPr>
        </p:nvSpPr>
        <p:spPr bwMode="auto">
          <a:xfrm>
            <a:off x="5303838" y="7350125"/>
            <a:ext cx="2667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5767B4C4-EFA9-4FED-8EE6-CD40A08B0725}" type="datetime'''''''''''''''''''2''''''''''''0''''''''''2''''''''''3'''''">
              <a:rPr lang="ru-RU" altLang="en-US" sz="800" smtClean="0">
                <a:latin typeface="SangBleu Sunrise" panose="020B0504000000000004" pitchFamily="34" charset="-52"/>
                <a:ea typeface="SangBleu Sunrise" panose="020B0504000000000004" pitchFamily="34" charset="-52"/>
              </a:rPr>
              <a:pPr/>
              <a:t>2023</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4" name="Rectangle 693">
            <a:extLst>
              <a:ext uri="{FF2B5EF4-FFF2-40B4-BE49-F238E27FC236}">
                <a16:creationId xmlns:a16="http://schemas.microsoft.com/office/drawing/2014/main" id="{69125614-DB8A-47C2-AFF7-974E852DE5D1}"/>
              </a:ext>
            </a:extLst>
          </p:cNvPr>
          <p:cNvSpPr/>
          <p:nvPr>
            <p:custDataLst>
              <p:tags r:id="rId37"/>
            </p:custDataLst>
          </p:nvPr>
        </p:nvSpPr>
        <p:spPr bwMode="auto">
          <a:xfrm>
            <a:off x="4760913" y="6792913"/>
            <a:ext cx="142875" cy="106363"/>
          </a:xfrm>
          <a:prstGeom prst="rect">
            <a:avLst/>
          </a:prstGeom>
          <a:pattFill prst="pct75">
            <a:fgClr>
              <a:schemeClr val="tx1"/>
            </a:fgClr>
            <a:bgClr>
              <a:schemeClr val="bg1"/>
            </a:bgClr>
          </a:patt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5" name="Rectangle 694">
            <a:extLst>
              <a:ext uri="{FF2B5EF4-FFF2-40B4-BE49-F238E27FC236}">
                <a16:creationId xmlns:a16="http://schemas.microsoft.com/office/drawing/2014/main" id="{20A6284A-9E0F-47F0-BC81-705F0669C7AD}"/>
              </a:ext>
            </a:extLst>
          </p:cNvPr>
          <p:cNvSpPr/>
          <p:nvPr>
            <p:custDataLst>
              <p:tags r:id="rId38"/>
            </p:custDataLst>
          </p:nvPr>
        </p:nvSpPr>
        <p:spPr bwMode="auto">
          <a:xfrm>
            <a:off x="4760913" y="6958013"/>
            <a:ext cx="142875" cy="106363"/>
          </a:xfrm>
          <a:prstGeom prst="rect">
            <a:avLst/>
          </a:prstGeom>
          <a:solidFill>
            <a:srgbClr val="BF900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ru-RU" sz="1463"/>
          </a:p>
        </p:txBody>
      </p:sp>
      <p:sp>
        <p:nvSpPr>
          <p:cNvPr id="696" name="Rectangle 695">
            <a:extLst>
              <a:ext uri="{FF2B5EF4-FFF2-40B4-BE49-F238E27FC236}">
                <a16:creationId xmlns:a16="http://schemas.microsoft.com/office/drawing/2014/main" id="{7485CE25-0D3C-452F-965A-D40AF6D5585A}"/>
              </a:ext>
            </a:extLst>
          </p:cNvPr>
          <p:cNvSpPr/>
          <p:nvPr>
            <p:custDataLst>
              <p:tags r:id="rId39"/>
            </p:custDataLst>
          </p:nvPr>
        </p:nvSpPr>
        <p:spPr bwMode="auto">
          <a:xfrm>
            <a:off x="4760913" y="7123113"/>
            <a:ext cx="142875" cy="106363"/>
          </a:xfrm>
          <a:prstGeom prst="rect">
            <a:avLst/>
          </a:prstGeom>
          <a:pattFill prst="ltDnDiag">
            <a:fgClr>
              <a:schemeClr val="tx1"/>
            </a:fgClr>
            <a:bgClr>
              <a:schemeClr val="bg1"/>
            </a:bgClr>
          </a:patt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7" name="Text Placeholder 2">
            <a:extLst>
              <a:ext uri="{FF2B5EF4-FFF2-40B4-BE49-F238E27FC236}">
                <a16:creationId xmlns:a16="http://schemas.microsoft.com/office/drawing/2014/main" id="{F44BA421-C559-4D63-84EB-CCF726EC0D88}"/>
              </a:ext>
            </a:extLst>
          </p:cNvPr>
          <p:cNvSpPr>
            <a:spLocks noGrp="1"/>
          </p:cNvSpPr>
          <p:nvPr>
            <p:custDataLst>
              <p:tags r:id="rId40"/>
            </p:custDataLst>
          </p:nvPr>
        </p:nvSpPr>
        <p:spPr bwMode="auto">
          <a:xfrm>
            <a:off x="4954588" y="6797675"/>
            <a:ext cx="67627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B973E44D-185B-4E06-9437-A315FF27B124}" type="datetime'O''per''''''''''a''''t''in''''g'' ''C''F'''''''''''''''''''">
              <a:rPr lang="en-US" altLang="en-US" sz="800" smtClean="0">
                <a:latin typeface="SangBleu Sunrise" panose="020B0504000000000004" pitchFamily="34" charset="-52"/>
                <a:ea typeface="SangBleu Sunrise" panose="020B0504000000000004" pitchFamily="34" charset="-52"/>
              </a:rPr>
              <a:pPr/>
              <a:t>Operating CF</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8" name="Text Placeholder 2">
            <a:extLst>
              <a:ext uri="{FF2B5EF4-FFF2-40B4-BE49-F238E27FC236}">
                <a16:creationId xmlns:a16="http://schemas.microsoft.com/office/drawing/2014/main" id="{7243B235-22EA-4761-9229-F79F56A9457B}"/>
              </a:ext>
            </a:extLst>
          </p:cNvPr>
          <p:cNvSpPr>
            <a:spLocks noGrp="1"/>
          </p:cNvSpPr>
          <p:nvPr>
            <p:custDataLst>
              <p:tags r:id="rId41"/>
            </p:custDataLst>
          </p:nvPr>
        </p:nvSpPr>
        <p:spPr bwMode="auto">
          <a:xfrm>
            <a:off x="4954588" y="6962775"/>
            <a:ext cx="7302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24581248-CFA1-45F3-9E18-BE66C4BD7F1E}" type="datetime'''''''''''''''Inv''''e''''''''st''''m''''e''n''''t'' C''F'">
              <a:rPr lang="en-US" altLang="en-US" sz="800" smtClean="0">
                <a:latin typeface="SangBleu Sunrise" panose="020B0504000000000004" pitchFamily="34" charset="-52"/>
                <a:ea typeface="SangBleu Sunrise" panose="020B0504000000000004" pitchFamily="34" charset="-52"/>
              </a:rPr>
              <a:pPr/>
              <a:t>Investment CF</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99" name="Text Placeholder 2">
            <a:extLst>
              <a:ext uri="{FF2B5EF4-FFF2-40B4-BE49-F238E27FC236}">
                <a16:creationId xmlns:a16="http://schemas.microsoft.com/office/drawing/2014/main" id="{09D6950D-372A-4D83-BB49-B2DC14900DA0}"/>
              </a:ext>
            </a:extLst>
          </p:cNvPr>
          <p:cNvSpPr>
            <a:spLocks noGrp="1"/>
          </p:cNvSpPr>
          <p:nvPr>
            <p:custDataLst>
              <p:tags r:id="rId42"/>
            </p:custDataLst>
          </p:nvPr>
        </p:nvSpPr>
        <p:spPr bwMode="auto">
          <a:xfrm>
            <a:off x="4954588" y="7127875"/>
            <a:ext cx="61436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6534BA0F-2A13-4FEA-9D73-AC576FFAFA48}" type="datetime'F''''i''''''''''''n''''a''n''c''i''''''''a''l ''''''C''''F'''">
              <a:rPr lang="en-US" altLang="en-US" sz="800" smtClean="0">
                <a:latin typeface="SangBleu Sunrise" panose="020B0504000000000004" pitchFamily="34" charset="-52"/>
                <a:ea typeface="SangBleu Sunrise" panose="020B0504000000000004" pitchFamily="34" charset="-52"/>
              </a:rPr>
              <a:pPr/>
              <a:t>Financial CF</a:t>
            </a:fld>
            <a:endParaRPr lang="ru-RU" sz="800"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796" name="Title 3">
            <a:extLst>
              <a:ext uri="{FF2B5EF4-FFF2-40B4-BE49-F238E27FC236}">
                <a16:creationId xmlns:a16="http://schemas.microsoft.com/office/drawing/2014/main" id="{0E27F730-C79E-4C2A-A5B9-4C6B49E9055C}"/>
              </a:ext>
            </a:extLst>
          </p:cNvPr>
          <p:cNvSpPr txBox="1">
            <a:spLocks/>
          </p:cNvSpPr>
          <p:nvPr/>
        </p:nvSpPr>
        <p:spPr>
          <a:xfrm>
            <a:off x="1032475" y="6466525"/>
            <a:ext cx="4799505" cy="230738"/>
          </a:xfrm>
          <a:prstGeom prst="rect">
            <a:avLst/>
          </a:prstGeom>
          <a:solidFill>
            <a:schemeClr val="accent1">
              <a:lumMod val="50000"/>
            </a:schemeClr>
          </a:solidFill>
          <a:ln>
            <a:noFill/>
          </a:ln>
        </p:spPr>
        <p:txBody>
          <a:bodyPr vert="horz" wrap="square" lIns="58500" tIns="58500" rIns="58500" bIns="58500" rtlCol="0" anchor="ctr" anchorCtr="0">
            <a:sp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a:solidFill>
                  <a:schemeClr val="bg1"/>
                </a:solidFill>
                <a:latin typeface="SangBleu Sunrise" panose="020B0504000000000004" pitchFamily="34" charset="-52"/>
                <a:ea typeface="SangBleu Sunrise" panose="020B0504000000000004" pitchFamily="34" charset="-52"/>
              </a:rPr>
              <a:t>Cash Flows and Capital Expenditures:</a:t>
            </a:r>
            <a:endParaRPr lang="ru-RU" sz="800" b="1" dirty="0">
              <a:solidFill>
                <a:schemeClr val="bg1"/>
              </a:solidFill>
              <a:latin typeface="SangBleu Sunrise" panose="020B0504000000000004" pitchFamily="34" charset="-52"/>
              <a:ea typeface="SangBleu Sunrise" panose="020B0504000000000004" pitchFamily="34" charset="-52"/>
            </a:endParaRPr>
          </a:p>
        </p:txBody>
      </p:sp>
      <p:sp>
        <p:nvSpPr>
          <p:cNvPr id="803" name="Rectangle 802">
            <a:extLst>
              <a:ext uri="{FF2B5EF4-FFF2-40B4-BE49-F238E27FC236}">
                <a16:creationId xmlns:a16="http://schemas.microsoft.com/office/drawing/2014/main" id="{8355867A-E189-4F06-824F-B064EA3FAD7D}"/>
              </a:ext>
            </a:extLst>
          </p:cNvPr>
          <p:cNvSpPr/>
          <p:nvPr/>
        </p:nvSpPr>
        <p:spPr>
          <a:xfrm>
            <a:off x="1026022" y="6814806"/>
            <a:ext cx="2221228" cy="17742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pPr marL="171450" indent="-171450">
              <a:buFont typeface="Wingdings" panose="05000000000000000000" pitchFamily="2" charset="2"/>
              <a:buChar char="§"/>
            </a:pPr>
            <a:r>
              <a:rPr lang="en-US" sz="800" dirty="0">
                <a:solidFill>
                  <a:schemeClr val="tx1"/>
                </a:solidFill>
                <a:latin typeface="SangBleu Sunrise" panose="020B0504000000000004" pitchFamily="34" charset="-52"/>
                <a:ea typeface="SangBleu Sunrise" panose="020B0504000000000004" pitchFamily="34" charset="-52"/>
              </a:rPr>
              <a:t>PROMOMED reported negative </a:t>
            </a:r>
            <a:r>
              <a:rPr lang="en-US" sz="800" b="1" dirty="0">
                <a:solidFill>
                  <a:schemeClr val="tx1"/>
                </a:solidFill>
                <a:latin typeface="SangBleu Sunrise" panose="020B0504000000000004" pitchFamily="34" charset="-52"/>
                <a:ea typeface="SangBleu Sunrise" panose="020B0504000000000004" pitchFamily="34" charset="-52"/>
              </a:rPr>
              <a:t>free cash flow </a:t>
            </a:r>
            <a:r>
              <a:rPr lang="en-US" sz="800" dirty="0">
                <a:solidFill>
                  <a:schemeClr val="tx1"/>
                </a:solidFill>
                <a:latin typeface="SangBleu Sunrise" panose="020B0504000000000004" pitchFamily="34" charset="-52"/>
                <a:ea typeface="SangBleu Sunrise" panose="020B0504000000000004" pitchFamily="34" charset="-52"/>
              </a:rPr>
              <a:t>(FCF) of -6.70 billion rubles in the last twelve months (LTM). </a:t>
            </a:r>
          </a:p>
          <a:p>
            <a:pPr marL="171450" indent="-171450">
              <a:buFont typeface="Wingdings" panose="05000000000000000000" pitchFamily="2" charset="2"/>
              <a:buChar char="§"/>
            </a:pPr>
            <a:endParaRPr lang="en-US" sz="800" dirty="0">
              <a:solidFill>
                <a:schemeClr val="tx1"/>
              </a:solidFill>
              <a:latin typeface="SangBleu Sunrise" panose="020B0504000000000004" pitchFamily="34" charset="-52"/>
              <a:ea typeface="SangBleu Sunrise" panose="020B0504000000000004" pitchFamily="34" charset="-52"/>
            </a:endParaRPr>
          </a:p>
          <a:p>
            <a:pPr marL="171450" indent="-171450">
              <a:buFont typeface="Wingdings" panose="05000000000000000000" pitchFamily="2" charset="2"/>
              <a:buChar char="§"/>
            </a:pPr>
            <a:r>
              <a:rPr lang="en-US" sz="800" b="1" dirty="0">
                <a:solidFill>
                  <a:schemeClr val="tx1"/>
                </a:solidFill>
                <a:latin typeface="SangBleu Sunrise" panose="020B0504000000000004" pitchFamily="34" charset="-52"/>
                <a:ea typeface="SangBleu Sunrise" panose="020B0504000000000004" pitchFamily="34" charset="-52"/>
              </a:rPr>
              <a:t>Operating cash flow </a:t>
            </a:r>
            <a:r>
              <a:rPr lang="en-US" sz="800" dirty="0">
                <a:solidFill>
                  <a:schemeClr val="tx1"/>
                </a:solidFill>
                <a:latin typeface="SangBleu Sunrise" panose="020B0504000000000004" pitchFamily="34" charset="-52"/>
                <a:ea typeface="SangBleu Sunrise" panose="020B0504000000000004" pitchFamily="34" charset="-52"/>
              </a:rPr>
              <a:t>(OCF) was -4.01 billion rubles LTM, indicating challenges in generating cash from core operations.</a:t>
            </a:r>
          </a:p>
          <a:p>
            <a:pPr marL="171450" indent="-171450">
              <a:buFont typeface="Wingdings" panose="05000000000000000000" pitchFamily="2" charset="2"/>
              <a:buChar char="§"/>
            </a:pPr>
            <a:endParaRPr lang="en-US" sz="800" dirty="0">
              <a:solidFill>
                <a:schemeClr val="tx1"/>
              </a:solidFill>
              <a:latin typeface="SangBleu Sunrise" panose="020B0504000000000004" pitchFamily="34" charset="-52"/>
              <a:ea typeface="SangBleu Sunrise" panose="020B0504000000000004" pitchFamily="34" charset="-52"/>
            </a:endParaRPr>
          </a:p>
          <a:p>
            <a:pPr marL="171450" indent="-171450">
              <a:buFont typeface="Wingdings" panose="05000000000000000000" pitchFamily="2" charset="2"/>
              <a:buChar char="§"/>
            </a:pPr>
            <a:r>
              <a:rPr lang="en-US" sz="800" b="1" dirty="0">
                <a:solidFill>
                  <a:schemeClr val="tx1"/>
                </a:solidFill>
                <a:latin typeface="SangBleu Sunrise" panose="020B0504000000000004" pitchFamily="34" charset="-52"/>
                <a:ea typeface="SangBleu Sunrise" panose="020B0504000000000004" pitchFamily="34" charset="-52"/>
              </a:rPr>
              <a:t>Capital expenditures </a:t>
            </a:r>
            <a:r>
              <a:rPr lang="en-US" sz="800" dirty="0">
                <a:solidFill>
                  <a:schemeClr val="tx1"/>
                </a:solidFill>
                <a:latin typeface="SangBleu Sunrise" panose="020B0504000000000004" pitchFamily="34" charset="-52"/>
                <a:ea typeface="SangBleu Sunrise" panose="020B0504000000000004" pitchFamily="34" charset="-52"/>
              </a:rPr>
              <a:t>(CAPEX) were 3.37 billion rubles LTM, suggesting significant investments in long-term assets.</a:t>
            </a:r>
            <a:endParaRPr lang="ru-RU" sz="800" dirty="0">
              <a:solidFill>
                <a:schemeClr val="tx1"/>
              </a:solidFill>
              <a:latin typeface="SangBleu Sunrise" panose="020B0504000000000004" pitchFamily="34" charset="-52"/>
              <a:ea typeface="SangBleu Sunrise" panose="020B0504000000000004" pitchFamily="34" charset="-52"/>
            </a:endParaRPr>
          </a:p>
        </p:txBody>
      </p:sp>
      <p:sp>
        <p:nvSpPr>
          <p:cNvPr id="59" name="Rectangle 58">
            <a:extLst>
              <a:ext uri="{FF2B5EF4-FFF2-40B4-BE49-F238E27FC236}">
                <a16:creationId xmlns:a16="http://schemas.microsoft.com/office/drawing/2014/main" id="{2E6923BC-E448-4748-AC7E-C6BD2B8C3540}"/>
              </a:ext>
            </a:extLst>
          </p:cNvPr>
          <p:cNvSpPr>
            <a:spLocks/>
          </p:cNvSpPr>
          <p:nvPr>
            <p:custDataLst>
              <p:tags r:id="rId43"/>
            </p:custDataLst>
          </p:nvPr>
        </p:nvSpPr>
        <p:spPr>
          <a:xfrm>
            <a:off x="3610752" y="8686938"/>
            <a:ext cx="2221228" cy="27432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Historical Cash Flows (CF)</a:t>
            </a:r>
          </a:p>
        </p:txBody>
      </p:sp>
      <p:sp>
        <p:nvSpPr>
          <p:cNvPr id="62" name="Rectangle 61">
            <a:extLst>
              <a:ext uri="{FF2B5EF4-FFF2-40B4-BE49-F238E27FC236}">
                <a16:creationId xmlns:a16="http://schemas.microsoft.com/office/drawing/2014/main" id="{42B6EF5A-098A-4E7B-88C7-9CDAA523002B}"/>
              </a:ext>
            </a:extLst>
          </p:cNvPr>
          <p:cNvSpPr>
            <a:spLocks/>
          </p:cNvSpPr>
          <p:nvPr>
            <p:custDataLst>
              <p:tags r:id="rId44"/>
            </p:custDataLst>
          </p:nvPr>
        </p:nvSpPr>
        <p:spPr>
          <a:xfrm>
            <a:off x="1115203" y="6169973"/>
            <a:ext cx="2221228" cy="27432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COVID share of revenue and profit</a:t>
            </a:r>
          </a:p>
        </p:txBody>
      </p:sp>
      <p:sp>
        <p:nvSpPr>
          <p:cNvPr id="66" name="Rectangle 65">
            <a:extLst>
              <a:ext uri="{FF2B5EF4-FFF2-40B4-BE49-F238E27FC236}">
                <a16:creationId xmlns:a16="http://schemas.microsoft.com/office/drawing/2014/main" id="{411EEFDF-CC45-4EDC-BADB-7CF554CBA3B9}"/>
              </a:ext>
            </a:extLst>
          </p:cNvPr>
          <p:cNvSpPr>
            <a:spLocks/>
          </p:cNvSpPr>
          <p:nvPr>
            <p:custDataLst>
              <p:tags r:id="rId45"/>
            </p:custDataLst>
          </p:nvPr>
        </p:nvSpPr>
        <p:spPr>
          <a:xfrm>
            <a:off x="3610752" y="6159693"/>
            <a:ext cx="2221228" cy="27432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Historical Net Debt to Net Profit Ratio</a:t>
            </a:r>
          </a:p>
        </p:txBody>
      </p:sp>
      <p:sp>
        <p:nvSpPr>
          <p:cNvPr id="68" name="Rectangle 67">
            <a:extLst>
              <a:ext uri="{FF2B5EF4-FFF2-40B4-BE49-F238E27FC236}">
                <a16:creationId xmlns:a16="http://schemas.microsoft.com/office/drawing/2014/main" id="{3B45532B-249A-4027-A4F7-939796C6FC2D}"/>
              </a:ext>
            </a:extLst>
          </p:cNvPr>
          <p:cNvSpPr>
            <a:spLocks/>
          </p:cNvSpPr>
          <p:nvPr/>
        </p:nvSpPr>
        <p:spPr>
          <a:xfrm>
            <a:off x="3610752" y="3361850"/>
            <a:ext cx="2221228" cy="274321"/>
          </a:xfrm>
          <a:prstGeom prst="rect">
            <a:avLst/>
          </a:prstGeom>
          <a:solidFill>
            <a:schemeClr val="accent1">
              <a:lumMod val="20000"/>
              <a:lumOff val="80000"/>
              <a:alpha val="3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Net Debt to EBITDA peer comparison</a:t>
            </a:r>
          </a:p>
        </p:txBody>
      </p:sp>
      <p:sp>
        <p:nvSpPr>
          <p:cNvPr id="69" name="5. Source">
            <a:extLst>
              <a:ext uri="{FF2B5EF4-FFF2-40B4-BE49-F238E27FC236}">
                <a16:creationId xmlns:a16="http://schemas.microsoft.com/office/drawing/2014/main" id="{34648433-1480-4D94-90DC-F5AD4F7D7EF8}"/>
              </a:ext>
            </a:extLst>
          </p:cNvPr>
          <p:cNvSpPr txBox="1"/>
          <p:nvPr>
            <p:custDataLst>
              <p:tags r:id="rId46"/>
            </p:custDataLst>
          </p:nvPr>
        </p:nvSpPr>
        <p:spPr>
          <a:xfrm>
            <a:off x="642937" y="9649539"/>
            <a:ext cx="5700713" cy="123111"/>
          </a:xfrm>
          <a:prstGeom prst="rect">
            <a:avLst/>
          </a:prstGeom>
          <a:noFill/>
        </p:spPr>
        <p:txBody>
          <a:bodyPr vert="horz" wrap="square" lIns="0" tIns="0" rIns="0" bIns="0" rtlCol="0" anchor="b" anchorCtr="0">
            <a:spAutoFit/>
          </a:bodyPr>
          <a:lstStyle/>
          <a:p>
            <a:r>
              <a:rPr lang="fr-FR" sz="800" dirty="0">
                <a:latin typeface="SangBleu Sunrise" panose="020B0504000000000004" pitchFamily="34" charset="-52"/>
                <a:ea typeface="SangBleu Sunrise" panose="020B0504000000000004" pitchFamily="34" charset="-52"/>
              </a:rPr>
              <a:t>SOURCE: </a:t>
            </a:r>
            <a:r>
              <a:rPr lang="en-US" sz="800" dirty="0">
                <a:latin typeface="SangBleu Sunrise" panose="020B0504000000000004" pitchFamily="34" charset="-52"/>
                <a:ea typeface="SangBleu Sunrise" panose="020B0504000000000004" pitchFamily="34" charset="-52"/>
              </a:rPr>
              <a:t>“For PROMOMED’s Investors” presentations</a:t>
            </a:r>
            <a:r>
              <a:rPr lang="ru-RU" sz="800" dirty="0">
                <a:latin typeface="SangBleu Sunrise" panose="020B0504000000000004" pitchFamily="34" charset="-52"/>
                <a:ea typeface="SangBleu Sunrise" panose="020B0504000000000004" pitchFamily="34" charset="-52"/>
              </a:rPr>
              <a:t> </a:t>
            </a:r>
            <a:r>
              <a:rPr lang="en-US" sz="800" dirty="0">
                <a:latin typeface="SangBleu Sunrise" panose="020B0504000000000004" pitchFamily="34" charset="-52"/>
                <a:ea typeface="SangBleu Sunrise" panose="020B0504000000000004" pitchFamily="34" charset="-52"/>
              </a:rPr>
              <a:t>, Strategy Partners report, own calculations, cbonds.com</a:t>
            </a:r>
            <a:endParaRPr lang="fr-FR" sz="800" dirty="0">
              <a:latin typeface="SangBleu Sunrise" panose="020B0504000000000004" pitchFamily="34" charset="-52"/>
              <a:ea typeface="SangBleu Sunrise" panose="020B0504000000000004" pitchFamily="34" charset="-52"/>
            </a:endParaRPr>
          </a:p>
        </p:txBody>
      </p:sp>
    </p:spTree>
    <p:extLst>
      <p:ext uri="{BB962C8B-B14F-4D97-AF65-F5344CB8AC3E}">
        <p14:creationId xmlns:p14="http://schemas.microsoft.com/office/powerpoint/2010/main" val="2055806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D4FE7E-DE6C-4F35-B505-6CC6CC141975}"/>
              </a:ext>
            </a:extLst>
          </p:cNvPr>
          <p:cNvGraphicFramePr>
            <a:graphicFrameLocks noChangeAspect="1"/>
          </p:cNvGraphicFramePr>
          <p:nvPr>
            <p:custDataLst>
              <p:tags r:id="rId2"/>
            </p:custDataLst>
            <p:extLst>
              <p:ext uri="{D42A27DB-BD31-4B8C-83A1-F6EECF244321}">
                <p14:modId xmlns:p14="http://schemas.microsoft.com/office/powerpoint/2010/main" val="1896256202"/>
              </p:ext>
            </p:extLst>
          </p:nvPr>
        </p:nvGraphicFramePr>
        <p:xfrm>
          <a:off x="644228" y="1290"/>
          <a:ext cx="1290" cy="1290"/>
        </p:xfrm>
        <a:graphic>
          <a:graphicData uri="http://schemas.openxmlformats.org/presentationml/2006/ole">
            <mc:AlternateContent xmlns:mc="http://schemas.openxmlformats.org/markup-compatibility/2006">
              <mc:Choice xmlns:v="urn:schemas-microsoft-com:vml" Requires="v">
                <p:oleObj spid="_x0000_s11374" name="think-cell Slide" r:id="rId32" imgW="395" imgH="396" progId="TCLayout.ActiveDocument.1">
                  <p:embed/>
                </p:oleObj>
              </mc:Choice>
              <mc:Fallback>
                <p:oleObj name="think-cell Slide" r:id="rId32" imgW="395" imgH="396" progId="TCLayout.ActiveDocument.1">
                  <p:embed/>
                  <p:pic>
                    <p:nvPicPr>
                      <p:cNvPr id="3" name="think-cell data - do not delete" hidden="1">
                        <a:extLst>
                          <a:ext uri="{FF2B5EF4-FFF2-40B4-BE49-F238E27FC236}">
                            <a16:creationId xmlns:a16="http://schemas.microsoft.com/office/drawing/2014/main" id="{89D4FE7E-DE6C-4F35-B505-6CC6CC141975}"/>
                          </a:ext>
                        </a:extLst>
                      </p:cNvPr>
                      <p:cNvPicPr/>
                      <p:nvPr/>
                    </p:nvPicPr>
                    <p:blipFill>
                      <a:blip r:embed="rId33"/>
                      <a:stretch>
                        <a:fillRect/>
                      </a:stretch>
                    </p:blipFill>
                    <p:spPr>
                      <a:xfrm>
                        <a:off x="644228" y="1290"/>
                        <a:ext cx="1290" cy="1290"/>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DC6F282-9C52-4591-8034-371A789171B5}"/>
              </a:ext>
            </a:extLst>
          </p:cNvPr>
          <p:cNvSpPr>
            <a:spLocks noGrp="1"/>
          </p:cNvSpPr>
          <p:nvPr>
            <p:ph type="title"/>
          </p:nvPr>
        </p:nvSpPr>
        <p:spPr>
          <a:xfrm>
            <a:off x="1040839" y="315188"/>
            <a:ext cx="4805958" cy="424732"/>
          </a:xfrm>
          <a:noFill/>
          <a:ln>
            <a:solidFill>
              <a:schemeClr val="bg1">
                <a:alpha val="98000"/>
              </a:schemeClr>
            </a:solidFill>
          </a:ln>
        </p:spPr>
        <p:txBody>
          <a:bodyPr vert="horz" wrap="square" anchor="ctr" anchorCtr="0">
            <a:spAutoFit/>
          </a:bodyPr>
          <a:lstStyle/>
          <a:p>
            <a:r>
              <a:rPr lang="en-US" sz="2400" dirty="0">
                <a:latin typeface="SangBleu Sunrise" panose="020B0504000000000004" pitchFamily="34" charset="-52"/>
                <a:ea typeface="SangBleu Sunrise" panose="020B0504000000000004" pitchFamily="34" charset="-52"/>
              </a:rPr>
              <a:t>Equity Value Projection</a:t>
            </a:r>
            <a:endParaRPr lang="ru-RU" sz="2400" dirty="0">
              <a:latin typeface="SangBleu Sunrise" panose="020B0504000000000004" pitchFamily="34" charset="-52"/>
              <a:ea typeface="SangBleu Sunrise" panose="020B0504000000000004" pitchFamily="34" charset="-52"/>
            </a:endParaRPr>
          </a:p>
        </p:txBody>
      </p:sp>
      <p:sp>
        <p:nvSpPr>
          <p:cNvPr id="12" name="Title 3">
            <a:extLst>
              <a:ext uri="{FF2B5EF4-FFF2-40B4-BE49-F238E27FC236}">
                <a16:creationId xmlns:a16="http://schemas.microsoft.com/office/drawing/2014/main" id="{46B4D404-F0F8-476D-BAA5-A678BD56703E}"/>
              </a:ext>
            </a:extLst>
          </p:cNvPr>
          <p:cNvSpPr txBox="1">
            <a:spLocks/>
          </p:cNvSpPr>
          <p:nvPr/>
        </p:nvSpPr>
        <p:spPr>
          <a:xfrm>
            <a:off x="1026021" y="1761767"/>
            <a:ext cx="4777511" cy="228942"/>
          </a:xfrm>
          <a:prstGeom prst="rect">
            <a:avLst/>
          </a:prstGeom>
          <a:noFill/>
          <a:ln>
            <a:noFill/>
          </a:ln>
        </p:spPr>
        <p:txBody>
          <a:bodyPr vert="horz" wrap="square" lIns="58500" tIns="58500" rIns="58500" bIns="58500" rtlCol="0" anchor="ctr" anchorCtr="0">
            <a:sp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800" b="1" dirty="0">
                <a:latin typeface="SangBleu Sunrise" panose="020B0504000000000004" pitchFamily="34" charset="-52"/>
                <a:ea typeface="SangBleu Sunrise" panose="020B0504000000000004" pitchFamily="34" charset="-52"/>
              </a:rPr>
              <a:t>Methodology:</a:t>
            </a:r>
            <a:endParaRPr lang="ru-RU" sz="800" b="1" dirty="0">
              <a:latin typeface="SangBleu Sunrise" panose="020B0504000000000004" pitchFamily="34" charset="-52"/>
              <a:ea typeface="SangBleu Sunrise" panose="020B0504000000000004" pitchFamily="34" charset="-52"/>
            </a:endParaRPr>
          </a:p>
        </p:txBody>
      </p:sp>
      <p:sp>
        <p:nvSpPr>
          <p:cNvPr id="23" name="Rectangle 22">
            <a:extLst>
              <a:ext uri="{FF2B5EF4-FFF2-40B4-BE49-F238E27FC236}">
                <a16:creationId xmlns:a16="http://schemas.microsoft.com/office/drawing/2014/main" id="{DCA3F849-D468-4066-A24A-F48B2A434F38}"/>
              </a:ext>
            </a:extLst>
          </p:cNvPr>
          <p:cNvSpPr/>
          <p:nvPr/>
        </p:nvSpPr>
        <p:spPr>
          <a:xfrm>
            <a:off x="1019875" y="2070255"/>
            <a:ext cx="3168441" cy="692957"/>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Key Assumptions:</a:t>
            </a:r>
            <a:r>
              <a:rPr lang="en-US" sz="800" dirty="0">
                <a:solidFill>
                  <a:schemeClr val="tx1"/>
                </a:solidFill>
                <a:latin typeface="SangBleu Sunrise" panose="020B0504000000000004" pitchFamily="34" charset="-52"/>
                <a:ea typeface="SangBleu Sunrise" panose="020B0504000000000004" pitchFamily="34" charset="-52"/>
              </a:rPr>
              <a:t> Our forecasting horizon extends through 2030, aligning with PROMOMED’s internal projections and factoring in the anticipated completion of clinical trials for several innovative drugs. Based on this outlook, we project a year-over-year revenue growth rate of 25%.</a:t>
            </a:r>
          </a:p>
        </p:txBody>
      </p:sp>
      <p:graphicFrame>
        <p:nvGraphicFramePr>
          <p:cNvPr id="86" name="Table 86">
            <a:extLst>
              <a:ext uri="{FF2B5EF4-FFF2-40B4-BE49-F238E27FC236}">
                <a16:creationId xmlns:a16="http://schemas.microsoft.com/office/drawing/2014/main" id="{DD083E6F-25B2-482D-8947-6CF0720752E4}"/>
              </a:ext>
            </a:extLst>
          </p:cNvPr>
          <p:cNvGraphicFramePr>
            <a:graphicFrameLocks noGrp="1"/>
          </p:cNvGraphicFramePr>
          <p:nvPr>
            <p:custDataLst>
              <p:tags r:id="rId3"/>
            </p:custDataLst>
          </p:nvPr>
        </p:nvGraphicFramePr>
        <p:xfrm>
          <a:off x="4359048" y="2070255"/>
          <a:ext cx="1444483" cy="1327950"/>
        </p:xfrm>
        <a:graphic>
          <a:graphicData uri="http://schemas.openxmlformats.org/drawingml/2006/table">
            <a:tbl>
              <a:tblPr firstRow="1">
                <a:tableStyleId>{073A0DAA-6AF3-43AB-8588-CEC1D06C72B9}</a:tableStyleId>
              </a:tblPr>
              <a:tblGrid>
                <a:gridCol w="822097">
                  <a:extLst>
                    <a:ext uri="{9D8B030D-6E8A-4147-A177-3AD203B41FA5}">
                      <a16:colId xmlns:a16="http://schemas.microsoft.com/office/drawing/2014/main" val="4118901210"/>
                    </a:ext>
                  </a:extLst>
                </a:gridCol>
                <a:gridCol w="622386">
                  <a:extLst>
                    <a:ext uri="{9D8B030D-6E8A-4147-A177-3AD203B41FA5}">
                      <a16:colId xmlns:a16="http://schemas.microsoft.com/office/drawing/2014/main" val="1111108361"/>
                    </a:ext>
                  </a:extLst>
                </a:gridCol>
              </a:tblGrid>
              <a:tr h="364650">
                <a:tc>
                  <a:txBody>
                    <a:bodyPr/>
                    <a:lstStyle/>
                    <a:p>
                      <a:r>
                        <a:rPr lang="en-US" sz="800" b="1" i="0" u="none" dirty="0">
                          <a:ln>
                            <a:noFill/>
                          </a:ln>
                          <a:solidFill>
                            <a:schemeClr val="tx1"/>
                          </a:solidFill>
                          <a:latin typeface="SangBleu Sunrise" panose="020B0504000000000004" pitchFamily="34" charset="-52"/>
                          <a:ea typeface="SangBleu Sunrise" panose="020B0504000000000004" pitchFamily="34" charset="-52"/>
                        </a:rPr>
                        <a:t>Multiplier Name</a:t>
                      </a:r>
                      <a:endParaRPr lang="ru-RU" sz="800" b="1" i="0" u="none" dirty="0">
                        <a:ln>
                          <a:noFill/>
                        </a:ln>
                        <a:solidFill>
                          <a:schemeClr val="tx1"/>
                        </a:solidFill>
                        <a:latin typeface="SangBleu Sunrise" panose="020B0504000000000004" pitchFamily="34" charset="-52"/>
                        <a:ea typeface="SangBleu Sunrise" panose="020B0504000000000004" pitchFamily="34" charset="-52"/>
                      </a:endParaRPr>
                    </a:p>
                  </a:txBody>
                  <a:tcPr marL="58500" marR="58500" marT="58500" marB="5850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alpha val="38000"/>
                      </a:schemeClr>
                    </a:solidFill>
                  </a:tcPr>
                </a:tc>
                <a:tc>
                  <a:txBody>
                    <a:bodyPr/>
                    <a:lstStyle/>
                    <a:p>
                      <a:r>
                        <a:rPr lang="en-US" sz="800" b="1" u="none" dirty="0">
                          <a:ln>
                            <a:noFill/>
                          </a:ln>
                          <a:solidFill>
                            <a:schemeClr val="tx1"/>
                          </a:solidFill>
                          <a:latin typeface="SangBleu Sunrise" panose="020B0504000000000004" pitchFamily="34" charset="-52"/>
                          <a:ea typeface="SangBleu Sunrise" panose="020B0504000000000004" pitchFamily="34" charset="-52"/>
                        </a:rPr>
                        <a:t>Value</a:t>
                      </a:r>
                      <a:endParaRPr lang="ru-RU" sz="800" b="1" i="0" u="none" dirty="0">
                        <a:ln>
                          <a:noFill/>
                        </a:ln>
                        <a:solidFill>
                          <a:schemeClr val="tx1"/>
                        </a:solidFill>
                        <a:latin typeface="SangBleu Sunrise" panose="020B0504000000000004" pitchFamily="34" charset="-52"/>
                        <a:ea typeface="SangBleu Sunrise" panose="020B0504000000000004" pitchFamily="34" charset="-52"/>
                      </a:endParaRPr>
                    </a:p>
                  </a:txBody>
                  <a:tcPr marL="58500" marR="58500" marT="58500" marB="585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alpha val="38000"/>
                      </a:schemeClr>
                    </a:solidFill>
                  </a:tcPr>
                </a:tc>
                <a:extLst>
                  <a:ext uri="{0D108BD9-81ED-4DB2-BD59-A6C34878D82A}">
                    <a16:rowId xmlns:a16="http://schemas.microsoft.com/office/drawing/2014/main" val="719934040"/>
                  </a:ext>
                </a:extLst>
              </a:tr>
              <a:tr h="240825">
                <a:tc>
                  <a:txBody>
                    <a:bodyPr/>
                    <a:lstStyle/>
                    <a:p>
                      <a:r>
                        <a:rPr lang="en-US" sz="800" b="0" u="none" dirty="0">
                          <a:ln>
                            <a:noFill/>
                          </a:ln>
                          <a:solidFill>
                            <a:schemeClr val="tx1"/>
                          </a:solidFill>
                          <a:latin typeface="SangBleu Sunrise" panose="020B0504000000000004" pitchFamily="34" charset="-52"/>
                          <a:ea typeface="SangBleu Sunrise" panose="020B0504000000000004" pitchFamily="34" charset="-52"/>
                        </a:rPr>
                        <a:t>P/E</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58500" marR="58500" marT="58500" marB="5850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alpha val="38000"/>
                      </a:schemeClr>
                    </a:solidFill>
                  </a:tcPr>
                </a:tc>
                <a:tc>
                  <a:txBody>
                    <a:bodyPr/>
                    <a:lstStyle/>
                    <a:p>
                      <a:pPr algn="r"/>
                      <a:r>
                        <a:rPr lang="en-US" sz="800" b="0" i="0" u="none" dirty="0">
                          <a:ln>
                            <a:noFill/>
                          </a:ln>
                          <a:solidFill>
                            <a:schemeClr val="tx1"/>
                          </a:solidFill>
                          <a:latin typeface="SangBleu Sunrise" panose="020B0504000000000004" pitchFamily="34" charset="-52"/>
                          <a:ea typeface="SangBleu Sunrise" panose="020B0504000000000004" pitchFamily="34" charset="-52"/>
                        </a:rPr>
                        <a:t>29,3</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58500" marR="58500" marT="58500" marB="585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alpha val="38000"/>
                      </a:schemeClr>
                    </a:solidFill>
                  </a:tcPr>
                </a:tc>
                <a:extLst>
                  <a:ext uri="{0D108BD9-81ED-4DB2-BD59-A6C34878D82A}">
                    <a16:rowId xmlns:a16="http://schemas.microsoft.com/office/drawing/2014/main" val="1586713264"/>
                  </a:ext>
                </a:extLst>
              </a:tr>
              <a:tr h="240825">
                <a:tc>
                  <a:txBody>
                    <a:bodyPr/>
                    <a:lstStyle/>
                    <a:p>
                      <a:r>
                        <a:rPr lang="en-US" sz="800" b="0" i="0" u="none" dirty="0">
                          <a:ln>
                            <a:noFill/>
                          </a:ln>
                          <a:solidFill>
                            <a:schemeClr val="tx1"/>
                          </a:solidFill>
                          <a:latin typeface="SangBleu Sunrise" panose="020B0504000000000004" pitchFamily="34" charset="-52"/>
                          <a:ea typeface="SangBleu Sunrise" panose="020B0504000000000004" pitchFamily="34" charset="-52"/>
                        </a:rPr>
                        <a:t>EV/EBITDA</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58500" marR="58500" marT="58500" marB="58500">
                    <a:lnL w="12700" cap="flat" cmpd="sng" algn="ctr">
                      <a:solidFill>
                        <a:schemeClr val="tx1"/>
                      </a:solidFill>
                      <a:prstDash val="solid"/>
                      <a:round/>
                      <a:headEnd type="none" w="med" len="med"/>
                      <a:tailEnd type="none" w="med" len="med"/>
                    </a:lnL>
                    <a:solidFill>
                      <a:schemeClr val="bg1">
                        <a:alpha val="38000"/>
                      </a:schemeClr>
                    </a:solidFill>
                  </a:tcPr>
                </a:tc>
                <a:tc>
                  <a:txBody>
                    <a:bodyPr/>
                    <a:lstStyle/>
                    <a:p>
                      <a:pPr algn="r"/>
                      <a:r>
                        <a:rPr lang="en-US" sz="800" b="0" i="0" u="none" dirty="0">
                          <a:ln>
                            <a:noFill/>
                          </a:ln>
                          <a:solidFill>
                            <a:schemeClr val="tx1"/>
                          </a:solidFill>
                          <a:latin typeface="SangBleu Sunrise" panose="020B0504000000000004" pitchFamily="34" charset="-52"/>
                          <a:ea typeface="SangBleu Sunrise" panose="020B0504000000000004" pitchFamily="34" charset="-52"/>
                        </a:rPr>
                        <a:t>12,4</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58500" marR="58500" marT="58500" marB="58500">
                    <a:lnR w="12700" cap="flat" cmpd="sng" algn="ctr">
                      <a:solidFill>
                        <a:schemeClr val="tx1"/>
                      </a:solidFill>
                      <a:prstDash val="solid"/>
                      <a:round/>
                      <a:headEnd type="none" w="med" len="med"/>
                      <a:tailEnd type="none" w="med" len="med"/>
                    </a:lnR>
                    <a:solidFill>
                      <a:schemeClr val="bg1">
                        <a:alpha val="38000"/>
                      </a:schemeClr>
                    </a:solidFill>
                  </a:tcPr>
                </a:tc>
                <a:extLst>
                  <a:ext uri="{0D108BD9-81ED-4DB2-BD59-A6C34878D82A}">
                    <a16:rowId xmlns:a16="http://schemas.microsoft.com/office/drawing/2014/main" val="2332261881"/>
                  </a:ext>
                </a:extLst>
              </a:tr>
              <a:tr h="240825">
                <a:tc>
                  <a:txBody>
                    <a:bodyPr/>
                    <a:lstStyle/>
                    <a:p>
                      <a:r>
                        <a:rPr lang="en-US" sz="800" b="0" i="0" u="none" dirty="0" err="1">
                          <a:ln>
                            <a:noFill/>
                          </a:ln>
                          <a:solidFill>
                            <a:schemeClr val="tx1"/>
                          </a:solidFill>
                          <a:latin typeface="SangBleu Sunrise" panose="020B0504000000000004" pitchFamily="34" charset="-52"/>
                          <a:ea typeface="SangBleu Sunrise" panose="020B0504000000000004" pitchFamily="34" charset="-52"/>
                        </a:rPr>
                        <a:t>RoE</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58500" marR="58500" marT="58500" marB="58500">
                    <a:lnL w="12700" cap="flat" cmpd="sng" algn="ctr">
                      <a:solidFill>
                        <a:schemeClr val="tx1"/>
                      </a:solidFill>
                      <a:prstDash val="solid"/>
                      <a:round/>
                      <a:headEnd type="none" w="med" len="med"/>
                      <a:tailEnd type="none" w="med" len="med"/>
                    </a:lnL>
                    <a:solidFill>
                      <a:schemeClr val="bg1">
                        <a:alpha val="38000"/>
                      </a:schemeClr>
                    </a:solidFill>
                  </a:tcPr>
                </a:tc>
                <a:tc>
                  <a:txBody>
                    <a:bodyPr/>
                    <a:lstStyle/>
                    <a:p>
                      <a:pPr algn="r"/>
                      <a:r>
                        <a:rPr lang="en-US" sz="800" b="0" u="none" dirty="0">
                          <a:ln>
                            <a:noFill/>
                          </a:ln>
                          <a:solidFill>
                            <a:schemeClr val="tx1"/>
                          </a:solidFill>
                          <a:latin typeface="SangBleu Sunrise" panose="020B0504000000000004" pitchFamily="34" charset="-52"/>
                          <a:ea typeface="SangBleu Sunrise" panose="020B0504000000000004" pitchFamily="34" charset="-52"/>
                        </a:rPr>
                        <a:t>9,2%</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58500" marR="58500" marT="58500" marB="58500">
                    <a:lnR w="12700" cap="flat" cmpd="sng" algn="ctr">
                      <a:solidFill>
                        <a:schemeClr val="tx1"/>
                      </a:solidFill>
                      <a:prstDash val="solid"/>
                      <a:round/>
                      <a:headEnd type="none" w="med" len="med"/>
                      <a:tailEnd type="none" w="med" len="med"/>
                    </a:lnR>
                    <a:solidFill>
                      <a:schemeClr val="bg1">
                        <a:alpha val="38000"/>
                      </a:schemeClr>
                    </a:solidFill>
                  </a:tcPr>
                </a:tc>
                <a:extLst>
                  <a:ext uri="{0D108BD9-81ED-4DB2-BD59-A6C34878D82A}">
                    <a16:rowId xmlns:a16="http://schemas.microsoft.com/office/drawing/2014/main" val="2631158746"/>
                  </a:ext>
                </a:extLst>
              </a:tr>
              <a:tr h="240825">
                <a:tc>
                  <a:txBody>
                    <a:bodyPr/>
                    <a:lstStyle/>
                    <a:p>
                      <a:r>
                        <a:rPr lang="en-US" sz="800" b="0" i="0" u="none" dirty="0" err="1">
                          <a:ln>
                            <a:noFill/>
                          </a:ln>
                          <a:solidFill>
                            <a:schemeClr val="tx1"/>
                          </a:solidFill>
                          <a:latin typeface="SangBleu Sunrise" panose="020B0504000000000004" pitchFamily="34" charset="-52"/>
                          <a:ea typeface="SangBleu Sunrise" panose="020B0504000000000004" pitchFamily="34" charset="-52"/>
                        </a:rPr>
                        <a:t>RoA</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58500" marR="58500" marT="58500" marB="5850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alpha val="38000"/>
                      </a:schemeClr>
                    </a:solidFill>
                  </a:tcPr>
                </a:tc>
                <a:tc>
                  <a:txBody>
                    <a:bodyPr/>
                    <a:lstStyle/>
                    <a:p>
                      <a:pPr algn="r"/>
                      <a:r>
                        <a:rPr lang="en-US" sz="800" b="0" i="0" u="none" dirty="0">
                          <a:ln>
                            <a:noFill/>
                          </a:ln>
                          <a:solidFill>
                            <a:schemeClr val="tx1"/>
                          </a:solidFill>
                          <a:latin typeface="SangBleu Sunrise" panose="020B0504000000000004" pitchFamily="34" charset="-52"/>
                          <a:ea typeface="SangBleu Sunrise" panose="020B0504000000000004" pitchFamily="34" charset="-52"/>
                        </a:rPr>
                        <a:t>19,5%</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58500" marR="58500" marT="58500" marB="5850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alpha val="38000"/>
                      </a:schemeClr>
                    </a:solidFill>
                  </a:tcPr>
                </a:tc>
                <a:extLst>
                  <a:ext uri="{0D108BD9-81ED-4DB2-BD59-A6C34878D82A}">
                    <a16:rowId xmlns:a16="http://schemas.microsoft.com/office/drawing/2014/main" val="3139035758"/>
                  </a:ext>
                </a:extLst>
              </a:tr>
            </a:tbl>
          </a:graphicData>
        </a:graphic>
      </p:graphicFrame>
      <p:graphicFrame>
        <p:nvGraphicFramePr>
          <p:cNvPr id="89" name="Table 86">
            <a:extLst>
              <a:ext uri="{FF2B5EF4-FFF2-40B4-BE49-F238E27FC236}">
                <a16:creationId xmlns:a16="http://schemas.microsoft.com/office/drawing/2014/main" id="{7F7D6B2F-E65B-416A-90EA-7A10DBF011DE}"/>
              </a:ext>
            </a:extLst>
          </p:cNvPr>
          <p:cNvGraphicFramePr>
            <a:graphicFrameLocks noGrp="1"/>
          </p:cNvGraphicFramePr>
          <p:nvPr>
            <p:custDataLst>
              <p:tags r:id="rId4"/>
            </p:custDataLst>
          </p:nvPr>
        </p:nvGraphicFramePr>
        <p:xfrm>
          <a:off x="4379756" y="3562413"/>
          <a:ext cx="1444484" cy="1293263"/>
        </p:xfrm>
        <a:graphic>
          <a:graphicData uri="http://schemas.openxmlformats.org/drawingml/2006/table">
            <a:tbl>
              <a:tblPr firstRow="1">
                <a:tableStyleId>{073A0DAA-6AF3-43AB-8588-CEC1D06C72B9}</a:tableStyleId>
              </a:tblPr>
              <a:tblGrid>
                <a:gridCol w="825420">
                  <a:extLst>
                    <a:ext uri="{9D8B030D-6E8A-4147-A177-3AD203B41FA5}">
                      <a16:colId xmlns:a16="http://schemas.microsoft.com/office/drawing/2014/main" val="4118901210"/>
                    </a:ext>
                  </a:extLst>
                </a:gridCol>
                <a:gridCol w="619064">
                  <a:extLst>
                    <a:ext uri="{9D8B030D-6E8A-4147-A177-3AD203B41FA5}">
                      <a16:colId xmlns:a16="http://schemas.microsoft.com/office/drawing/2014/main" val="1111108361"/>
                    </a:ext>
                  </a:extLst>
                </a:gridCol>
              </a:tblGrid>
              <a:tr h="306150">
                <a:tc>
                  <a:txBody>
                    <a:bodyPr/>
                    <a:lstStyle/>
                    <a:p>
                      <a:r>
                        <a:rPr lang="en-US" sz="800" b="1" i="0" u="none" dirty="0">
                          <a:ln>
                            <a:noFill/>
                          </a:ln>
                          <a:solidFill>
                            <a:schemeClr val="tx1"/>
                          </a:solidFill>
                          <a:latin typeface="SangBleu Sunrise" panose="020B0504000000000004" pitchFamily="34" charset="-52"/>
                          <a:ea typeface="SangBleu Sunrise" panose="020B0504000000000004" pitchFamily="34" charset="-52"/>
                        </a:rPr>
                        <a:t>WACC parameters</a:t>
                      </a:r>
                      <a:endParaRPr lang="ru-RU" sz="800" b="1" i="0" u="none" dirty="0">
                        <a:ln>
                          <a:noFill/>
                        </a:ln>
                        <a:solidFill>
                          <a:schemeClr val="tx1"/>
                        </a:solidFill>
                        <a:latin typeface="SangBleu Sunrise" panose="020B0504000000000004" pitchFamily="34" charset="-52"/>
                        <a:ea typeface="SangBleu Sunrise" panose="020B0504000000000004" pitchFamily="34" charset="-52"/>
                      </a:endParaRPr>
                    </a:p>
                  </a:txBody>
                  <a:tcPr marL="29250" marR="29250" marT="29250" marB="2925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alpha val="30000"/>
                      </a:schemeClr>
                    </a:solidFill>
                  </a:tcPr>
                </a:tc>
                <a:tc>
                  <a:txBody>
                    <a:bodyPr/>
                    <a:lstStyle/>
                    <a:p>
                      <a:r>
                        <a:rPr lang="en-US" sz="800" b="1" i="0" u="none" dirty="0">
                          <a:ln>
                            <a:noFill/>
                          </a:ln>
                          <a:solidFill>
                            <a:schemeClr val="tx1"/>
                          </a:solidFill>
                          <a:latin typeface="SangBleu Sunrise" panose="020B0504000000000004" pitchFamily="34" charset="-52"/>
                          <a:ea typeface="SangBleu Sunrise" panose="020B0504000000000004" pitchFamily="34" charset="-52"/>
                        </a:rPr>
                        <a:t>Value</a:t>
                      </a:r>
                      <a:endParaRPr lang="ru-RU" sz="800" b="1" i="0" u="none" dirty="0">
                        <a:ln>
                          <a:noFill/>
                        </a:ln>
                        <a:solidFill>
                          <a:schemeClr val="tx1"/>
                        </a:solidFill>
                        <a:latin typeface="SangBleu Sunrise" panose="020B0504000000000004" pitchFamily="34" charset="-52"/>
                        <a:ea typeface="SangBleu Sunrise" panose="020B0504000000000004" pitchFamily="34" charset="-52"/>
                      </a:endParaRPr>
                    </a:p>
                  </a:txBody>
                  <a:tcPr marL="29250" marR="29250" marT="29250" marB="2925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alpha val="30000"/>
                      </a:schemeClr>
                    </a:solidFill>
                  </a:tcPr>
                </a:tc>
                <a:extLst>
                  <a:ext uri="{0D108BD9-81ED-4DB2-BD59-A6C34878D82A}">
                    <a16:rowId xmlns:a16="http://schemas.microsoft.com/office/drawing/2014/main" val="719934040"/>
                  </a:ext>
                </a:extLst>
              </a:tr>
              <a:tr h="306150">
                <a:tc>
                  <a:txBody>
                    <a:bodyPr/>
                    <a:lstStyle/>
                    <a:p>
                      <a:r>
                        <a:rPr lang="en-US" sz="800" b="0" i="0" u="none" dirty="0">
                          <a:ln>
                            <a:noFill/>
                          </a:ln>
                          <a:solidFill>
                            <a:schemeClr val="tx1"/>
                          </a:solidFill>
                          <a:latin typeface="SangBleu Sunrise" panose="020B0504000000000004" pitchFamily="34" charset="-52"/>
                          <a:ea typeface="SangBleu Sunrise" panose="020B0504000000000004" pitchFamily="34" charset="-52"/>
                        </a:rPr>
                        <a:t>Expected Market Return </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29250" marR="29250" marT="29250" marB="2925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alpha val="30000"/>
                      </a:schemeClr>
                    </a:solidFill>
                  </a:tcPr>
                </a:tc>
                <a:tc>
                  <a:txBody>
                    <a:bodyPr/>
                    <a:lstStyle/>
                    <a:p>
                      <a:pPr algn="r"/>
                      <a:r>
                        <a:rPr lang="en-US" sz="800" b="0" i="0" u="none" dirty="0">
                          <a:ln>
                            <a:noFill/>
                          </a:ln>
                          <a:solidFill>
                            <a:schemeClr val="tx1"/>
                          </a:solidFill>
                          <a:latin typeface="SangBleu Sunrise" panose="020B0504000000000004" pitchFamily="34" charset="-52"/>
                          <a:ea typeface="SangBleu Sunrise" panose="020B0504000000000004" pitchFamily="34" charset="-52"/>
                        </a:rPr>
                        <a:t>17%</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29250" marR="29250" marT="29250" marB="2925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alpha val="30000"/>
                      </a:schemeClr>
                    </a:solidFill>
                  </a:tcPr>
                </a:tc>
                <a:extLst>
                  <a:ext uri="{0D108BD9-81ED-4DB2-BD59-A6C34878D82A}">
                    <a16:rowId xmlns:a16="http://schemas.microsoft.com/office/drawing/2014/main" val="1586713264"/>
                  </a:ext>
                </a:extLst>
              </a:tr>
              <a:tr h="182325">
                <a:tc>
                  <a:txBody>
                    <a:bodyPr/>
                    <a:lstStyle/>
                    <a:p>
                      <a:r>
                        <a:rPr lang="en-US" sz="800" b="0" u="none" dirty="0">
                          <a:ln>
                            <a:noFill/>
                          </a:ln>
                          <a:solidFill>
                            <a:schemeClr val="tx1"/>
                          </a:solidFill>
                          <a:latin typeface="SangBleu Sunrise" panose="020B0504000000000004" pitchFamily="34" charset="-52"/>
                          <a:ea typeface="SangBleu Sunrise" panose="020B0504000000000004" pitchFamily="34" charset="-52"/>
                        </a:rPr>
                        <a:t>Beta</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29250" marR="29250" marT="29250" marB="29250">
                    <a:lnL w="12700" cap="flat" cmpd="sng" algn="ctr">
                      <a:solidFill>
                        <a:schemeClr val="tx1"/>
                      </a:solidFill>
                      <a:prstDash val="solid"/>
                      <a:round/>
                      <a:headEnd type="none" w="med" len="med"/>
                      <a:tailEnd type="none" w="med" len="med"/>
                    </a:lnL>
                    <a:solidFill>
                      <a:schemeClr val="bg1">
                        <a:alpha val="30000"/>
                      </a:schemeClr>
                    </a:solidFill>
                  </a:tcPr>
                </a:tc>
                <a:tc>
                  <a:txBody>
                    <a:bodyPr/>
                    <a:lstStyle/>
                    <a:p>
                      <a:pPr algn="r"/>
                      <a:r>
                        <a:rPr lang="en-US" sz="800" b="0" i="0" u="none" dirty="0">
                          <a:ln>
                            <a:noFill/>
                          </a:ln>
                          <a:solidFill>
                            <a:schemeClr val="tx1"/>
                          </a:solidFill>
                          <a:latin typeface="SangBleu Sunrise" panose="020B0504000000000004" pitchFamily="34" charset="-52"/>
                          <a:ea typeface="SangBleu Sunrise" panose="020B0504000000000004" pitchFamily="34" charset="-52"/>
                        </a:rPr>
                        <a:t>0,35</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29250" marR="29250" marT="29250" marB="29250">
                    <a:lnR w="12700" cap="flat" cmpd="sng" algn="ctr">
                      <a:solidFill>
                        <a:schemeClr val="tx1"/>
                      </a:solidFill>
                      <a:prstDash val="solid"/>
                      <a:round/>
                      <a:headEnd type="none" w="med" len="med"/>
                      <a:tailEnd type="none" w="med" len="med"/>
                    </a:lnR>
                    <a:solidFill>
                      <a:schemeClr val="bg1">
                        <a:alpha val="30000"/>
                      </a:schemeClr>
                    </a:solidFill>
                  </a:tcPr>
                </a:tc>
                <a:extLst>
                  <a:ext uri="{0D108BD9-81ED-4DB2-BD59-A6C34878D82A}">
                    <a16:rowId xmlns:a16="http://schemas.microsoft.com/office/drawing/2014/main" val="2332261881"/>
                  </a:ext>
                </a:extLst>
              </a:tr>
              <a:tr h="212232">
                <a:tc>
                  <a:txBody>
                    <a:bodyPr/>
                    <a:lstStyle/>
                    <a:p>
                      <a:r>
                        <a:rPr lang="en-US" sz="800" b="0" i="0" u="none" dirty="0">
                          <a:ln>
                            <a:noFill/>
                          </a:ln>
                          <a:solidFill>
                            <a:schemeClr val="tx1"/>
                          </a:solidFill>
                          <a:latin typeface="SangBleu Sunrise" panose="020B0504000000000004" pitchFamily="34" charset="-52"/>
                          <a:ea typeface="SangBleu Sunrise" panose="020B0504000000000004" pitchFamily="34" charset="-52"/>
                        </a:rPr>
                        <a:t>Debt-to-EV</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29250" marR="29250" marT="29250" marB="29250">
                    <a:lnL w="12700" cap="flat" cmpd="sng" algn="ctr">
                      <a:solidFill>
                        <a:schemeClr val="tx1"/>
                      </a:solidFill>
                      <a:prstDash val="solid"/>
                      <a:round/>
                      <a:headEnd type="none" w="med" len="med"/>
                      <a:tailEnd type="none" w="med" len="med"/>
                    </a:lnL>
                    <a:solidFill>
                      <a:schemeClr val="bg1">
                        <a:alpha val="30000"/>
                      </a:schemeClr>
                    </a:solidFill>
                  </a:tcPr>
                </a:tc>
                <a:tc>
                  <a:txBody>
                    <a:bodyPr/>
                    <a:lstStyle/>
                    <a:p>
                      <a:pPr algn="r"/>
                      <a:r>
                        <a:rPr lang="en-US" sz="800" b="0" i="0" u="none" dirty="0">
                          <a:ln>
                            <a:noFill/>
                          </a:ln>
                          <a:solidFill>
                            <a:schemeClr val="tx1"/>
                          </a:solidFill>
                          <a:latin typeface="SangBleu Sunrise" panose="020B0504000000000004" pitchFamily="34" charset="-52"/>
                          <a:ea typeface="SangBleu Sunrise" panose="020B0504000000000004" pitchFamily="34" charset="-52"/>
                        </a:rPr>
                        <a:t>24%</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29250" marR="29250" marT="29250" marB="29250">
                    <a:lnR w="12700" cap="flat" cmpd="sng" algn="ctr">
                      <a:solidFill>
                        <a:schemeClr val="tx1"/>
                      </a:solidFill>
                      <a:prstDash val="solid"/>
                      <a:round/>
                      <a:headEnd type="none" w="med" len="med"/>
                      <a:tailEnd type="none" w="med" len="med"/>
                    </a:lnR>
                    <a:solidFill>
                      <a:schemeClr val="bg1">
                        <a:alpha val="30000"/>
                      </a:schemeClr>
                    </a:solidFill>
                  </a:tcPr>
                </a:tc>
                <a:extLst>
                  <a:ext uri="{0D108BD9-81ED-4DB2-BD59-A6C34878D82A}">
                    <a16:rowId xmlns:a16="http://schemas.microsoft.com/office/drawing/2014/main" val="2631158746"/>
                  </a:ext>
                </a:extLst>
              </a:tr>
              <a:tr h="286406">
                <a:tc>
                  <a:txBody>
                    <a:bodyPr/>
                    <a:lstStyle/>
                    <a:p>
                      <a:r>
                        <a:rPr lang="en-US" sz="800" b="0" i="0" u="none" dirty="0">
                          <a:ln>
                            <a:noFill/>
                          </a:ln>
                          <a:solidFill>
                            <a:schemeClr val="tx1"/>
                          </a:solidFill>
                          <a:latin typeface="SangBleu Sunrise" panose="020B0504000000000004" pitchFamily="34" charset="-52"/>
                          <a:ea typeface="SangBleu Sunrise" panose="020B0504000000000004" pitchFamily="34" charset="-52"/>
                        </a:rPr>
                        <a:t>Equity-to-EV</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29250" marR="29250" marT="29250" marB="2925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alpha val="30000"/>
                      </a:schemeClr>
                    </a:solidFill>
                  </a:tcPr>
                </a:tc>
                <a:tc>
                  <a:txBody>
                    <a:bodyPr/>
                    <a:lstStyle/>
                    <a:p>
                      <a:pPr algn="r"/>
                      <a:r>
                        <a:rPr lang="en-US" sz="800" b="0" i="0" u="none" dirty="0">
                          <a:ln>
                            <a:noFill/>
                          </a:ln>
                          <a:solidFill>
                            <a:schemeClr val="tx1"/>
                          </a:solidFill>
                          <a:latin typeface="SangBleu Sunrise" panose="020B0504000000000004" pitchFamily="34" charset="-52"/>
                          <a:ea typeface="SangBleu Sunrise" panose="020B0504000000000004" pitchFamily="34" charset="-52"/>
                        </a:rPr>
                        <a:t>76%</a:t>
                      </a:r>
                      <a:endParaRPr lang="ru-RU" sz="800" b="0" i="0" u="none" dirty="0">
                        <a:ln>
                          <a:noFill/>
                        </a:ln>
                        <a:solidFill>
                          <a:schemeClr val="tx1"/>
                        </a:solidFill>
                        <a:latin typeface="SangBleu Sunrise" panose="020B0504000000000004" pitchFamily="34" charset="-52"/>
                        <a:ea typeface="SangBleu Sunrise" panose="020B0504000000000004" pitchFamily="34" charset="-52"/>
                      </a:endParaRPr>
                    </a:p>
                  </a:txBody>
                  <a:tcPr marL="29250" marR="29250" marT="29250" marB="2925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alpha val="30000"/>
                      </a:schemeClr>
                    </a:solidFill>
                  </a:tcPr>
                </a:tc>
                <a:extLst>
                  <a:ext uri="{0D108BD9-81ED-4DB2-BD59-A6C34878D82A}">
                    <a16:rowId xmlns:a16="http://schemas.microsoft.com/office/drawing/2014/main" val="3139035758"/>
                  </a:ext>
                </a:extLst>
              </a:tr>
            </a:tbl>
          </a:graphicData>
        </a:graphic>
      </p:graphicFrame>
      <p:sp>
        <p:nvSpPr>
          <p:cNvPr id="136" name="1. On-page tracker">
            <a:extLst>
              <a:ext uri="{FF2B5EF4-FFF2-40B4-BE49-F238E27FC236}">
                <a16:creationId xmlns:a16="http://schemas.microsoft.com/office/drawing/2014/main" id="{446AE41F-44AB-41C4-8747-E53ABBB5FD84}"/>
              </a:ext>
            </a:extLst>
          </p:cNvPr>
          <p:cNvSpPr txBox="1"/>
          <p:nvPr>
            <p:custDataLst>
              <p:tags r:id="rId5"/>
            </p:custDataLst>
          </p:nvPr>
        </p:nvSpPr>
        <p:spPr>
          <a:xfrm>
            <a:off x="746125" y="51596"/>
            <a:ext cx="1547813" cy="123111"/>
          </a:xfrm>
          <a:prstGeom prst="rect">
            <a:avLst/>
          </a:prstGeom>
          <a:solidFill>
            <a:schemeClr val="bg2"/>
          </a:solidFill>
        </p:spPr>
        <p:txBody>
          <a:bodyPr vert="horz" lIns="0" tIns="0" rIns="0" bIns="0" rtlCol="0">
            <a:spAutoFit/>
          </a:bodyPr>
          <a:lstStyle/>
          <a:p>
            <a:r>
              <a:rPr lang="en-US" sz="800" dirty="0">
                <a:latin typeface="SangBleu Sunrise" panose="020B0504000000000004" pitchFamily="34" charset="-52"/>
                <a:ea typeface="SangBleu Sunrise" panose="020B0504000000000004" pitchFamily="34" charset="-52"/>
              </a:rPr>
              <a:t>Financial Overview</a:t>
            </a:r>
            <a:endParaRPr lang="ru-RU" sz="800" dirty="0">
              <a:latin typeface="SangBleu Sunrise" panose="020B0504000000000004" pitchFamily="34" charset="-52"/>
              <a:ea typeface="SangBleu Sunrise" panose="020B0504000000000004" pitchFamily="34" charset="-52"/>
            </a:endParaRPr>
          </a:p>
        </p:txBody>
      </p:sp>
      <p:sp>
        <p:nvSpPr>
          <p:cNvPr id="137" name="Rectangle 136">
            <a:extLst>
              <a:ext uri="{FF2B5EF4-FFF2-40B4-BE49-F238E27FC236}">
                <a16:creationId xmlns:a16="http://schemas.microsoft.com/office/drawing/2014/main" id="{227A9D23-647B-47B0-A763-335D7F37A30B}"/>
              </a:ext>
            </a:extLst>
          </p:cNvPr>
          <p:cNvSpPr/>
          <p:nvPr/>
        </p:nvSpPr>
        <p:spPr>
          <a:xfrm>
            <a:off x="1026021" y="1006009"/>
            <a:ext cx="4777511" cy="600715"/>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dirty="0">
                <a:latin typeface="SangBleu Sunrise" panose="020B0504000000000004" pitchFamily="34" charset="-52"/>
                <a:ea typeface="SangBleu Sunrise" panose="020B0504000000000004" pitchFamily="34" charset="-52"/>
              </a:rPr>
              <a:t>We issue a </a:t>
            </a:r>
            <a:r>
              <a:rPr lang="en-US" sz="800" b="1" dirty="0">
                <a:latin typeface="SangBleu Sunrise" panose="020B0504000000000004" pitchFamily="34" charset="-52"/>
                <a:ea typeface="SangBleu Sunrise" panose="020B0504000000000004" pitchFamily="34" charset="-52"/>
              </a:rPr>
              <a:t>HOLD</a:t>
            </a:r>
            <a:r>
              <a:rPr lang="en-US" sz="800" dirty="0">
                <a:latin typeface="SangBleu Sunrise" panose="020B0504000000000004" pitchFamily="34" charset="-52"/>
                <a:ea typeface="SangBleu Sunrise" panose="020B0504000000000004" pitchFamily="34" charset="-52"/>
              </a:rPr>
              <a:t> recommendation with a target price of </a:t>
            </a:r>
            <a:r>
              <a:rPr lang="en-US" sz="800" b="1" dirty="0">
                <a:latin typeface="SangBleu Sunrise" panose="020B0504000000000004" pitchFamily="34" charset="-52"/>
                <a:ea typeface="SangBleu Sunrise" panose="020B0504000000000004" pitchFamily="34" charset="-52"/>
              </a:rPr>
              <a:t>RUB 565.3</a:t>
            </a:r>
            <a:r>
              <a:rPr lang="en-US" sz="800" dirty="0">
                <a:latin typeface="SangBleu Sunrise" panose="020B0504000000000004" pitchFamily="34" charset="-52"/>
                <a:ea typeface="SangBleu Sunrise" panose="020B0504000000000004" pitchFamily="34" charset="-52"/>
              </a:rPr>
              <a:t> per share. To determine the fair value of PROMOMED’s stock, we employed a </a:t>
            </a:r>
            <a:r>
              <a:rPr lang="en-US" sz="800" b="1" dirty="0">
                <a:latin typeface="SangBleu Sunrise" panose="020B0504000000000004" pitchFamily="34" charset="-52"/>
                <a:ea typeface="SangBleu Sunrise" panose="020B0504000000000004" pitchFamily="34" charset="-52"/>
              </a:rPr>
              <a:t>Discounted Cash Flow (DCF)</a:t>
            </a:r>
            <a:r>
              <a:rPr lang="en-US" sz="800" dirty="0">
                <a:latin typeface="SangBleu Sunrise" panose="020B0504000000000004" pitchFamily="34" charset="-52"/>
                <a:ea typeface="SangBleu Sunrise" panose="020B0504000000000004" pitchFamily="34" charset="-52"/>
              </a:rPr>
              <a:t> approach. Additionally, we conducted a peer analysis by comparing valuation multiples with those of comparable companies.</a:t>
            </a:r>
          </a:p>
        </p:txBody>
      </p:sp>
      <p:sp>
        <p:nvSpPr>
          <p:cNvPr id="139" name="Rectangle 138">
            <a:extLst>
              <a:ext uri="{FF2B5EF4-FFF2-40B4-BE49-F238E27FC236}">
                <a16:creationId xmlns:a16="http://schemas.microsoft.com/office/drawing/2014/main" id="{1A59C756-2D36-4FF7-8027-E586ED0E13D3}"/>
              </a:ext>
            </a:extLst>
          </p:cNvPr>
          <p:cNvSpPr/>
          <p:nvPr/>
        </p:nvSpPr>
        <p:spPr>
          <a:xfrm>
            <a:off x="1019875" y="2854267"/>
            <a:ext cx="3168441" cy="600715"/>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WACC Calculation:</a:t>
            </a:r>
            <a:r>
              <a:rPr lang="en-US" sz="800" dirty="0">
                <a:solidFill>
                  <a:schemeClr val="tx1"/>
                </a:solidFill>
                <a:latin typeface="SangBleu Sunrise" panose="020B0504000000000004" pitchFamily="34" charset="-52"/>
                <a:ea typeface="SangBleu Sunrise" panose="020B0504000000000004" pitchFamily="34" charset="-52"/>
              </a:rPr>
              <a:t> We assume a long-term growth rate of </a:t>
            </a:r>
            <a:r>
              <a:rPr lang="en-US" sz="800" b="1" dirty="0">
                <a:solidFill>
                  <a:schemeClr val="tx1"/>
                </a:solidFill>
                <a:latin typeface="SangBleu Sunrise" panose="020B0504000000000004" pitchFamily="34" charset="-52"/>
                <a:ea typeface="SangBleu Sunrise" panose="020B0504000000000004" pitchFamily="34" charset="-52"/>
              </a:rPr>
              <a:t>11%</a:t>
            </a:r>
            <a:r>
              <a:rPr lang="en-US" sz="800" dirty="0">
                <a:solidFill>
                  <a:schemeClr val="tx1"/>
                </a:solidFill>
                <a:latin typeface="SangBleu Sunrise" panose="020B0504000000000004" pitchFamily="34" charset="-52"/>
                <a:ea typeface="SangBleu Sunrise" panose="020B0504000000000004" pitchFamily="34" charset="-52"/>
              </a:rPr>
              <a:t>. The cost of equity is calculated using the </a:t>
            </a:r>
            <a:r>
              <a:rPr lang="en-US" sz="800" b="1" dirty="0">
                <a:solidFill>
                  <a:schemeClr val="tx1"/>
                </a:solidFill>
                <a:latin typeface="SangBleu Sunrise" panose="020B0504000000000004" pitchFamily="34" charset="-52"/>
                <a:ea typeface="SangBleu Sunrise" panose="020B0504000000000004" pitchFamily="34" charset="-52"/>
              </a:rPr>
              <a:t>CAPM model</a:t>
            </a:r>
            <a:r>
              <a:rPr lang="en-US" sz="800" dirty="0">
                <a:solidFill>
                  <a:schemeClr val="tx1"/>
                </a:solidFill>
                <a:latin typeface="SangBleu Sunrise" panose="020B0504000000000004" pitchFamily="34" charset="-52"/>
                <a:ea typeface="SangBleu Sunrise" panose="020B0504000000000004" pitchFamily="34" charset="-52"/>
              </a:rPr>
              <a:t>, with a </a:t>
            </a:r>
            <a:r>
              <a:rPr lang="en-US" sz="800" b="1" dirty="0">
                <a:solidFill>
                  <a:schemeClr val="tx1"/>
                </a:solidFill>
                <a:latin typeface="SangBleu Sunrise" panose="020B0504000000000004" pitchFamily="34" charset="-52"/>
                <a:ea typeface="SangBleu Sunrise" panose="020B0504000000000004" pitchFamily="34" charset="-52"/>
              </a:rPr>
              <a:t>risk-free rate of 14.7%</a:t>
            </a:r>
            <a:r>
              <a:rPr lang="en-US" sz="800" dirty="0">
                <a:solidFill>
                  <a:schemeClr val="tx1"/>
                </a:solidFill>
                <a:latin typeface="SangBleu Sunrise" panose="020B0504000000000004" pitchFamily="34" charset="-52"/>
                <a:ea typeface="SangBleu Sunrise" panose="020B0504000000000004" pitchFamily="34" charset="-52"/>
              </a:rPr>
              <a:t>, based on the current yield of 10-year government bonds.</a:t>
            </a:r>
          </a:p>
        </p:txBody>
      </p:sp>
      <p:sp>
        <p:nvSpPr>
          <p:cNvPr id="140" name="Rectangle 139">
            <a:extLst>
              <a:ext uri="{FF2B5EF4-FFF2-40B4-BE49-F238E27FC236}">
                <a16:creationId xmlns:a16="http://schemas.microsoft.com/office/drawing/2014/main" id="{DC82DD14-F6C4-4CB3-948C-A40CA9E2248D}"/>
              </a:ext>
            </a:extLst>
          </p:cNvPr>
          <p:cNvSpPr/>
          <p:nvPr/>
        </p:nvSpPr>
        <p:spPr>
          <a:xfrm>
            <a:off x="1019875" y="3546037"/>
            <a:ext cx="3168441" cy="593249"/>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FCF Calculation</a:t>
            </a:r>
            <a:r>
              <a:rPr lang="en-US" sz="800" dirty="0">
                <a:solidFill>
                  <a:schemeClr val="tx1"/>
                </a:solidFill>
                <a:latin typeface="SangBleu Sunrise" panose="020B0504000000000004" pitchFamily="34" charset="-52"/>
                <a:ea typeface="SangBleu Sunrise" panose="020B0504000000000004" pitchFamily="34" charset="-52"/>
              </a:rPr>
              <a:t>: Due to limited financial and operational disclosure, several assumptions were required. Based on historical data, we estimate cost of goods sold (COGS) at 33% of revenue, and operating expenses at 41% of gross profit.</a:t>
            </a:r>
          </a:p>
        </p:txBody>
      </p:sp>
      <p:sp>
        <p:nvSpPr>
          <p:cNvPr id="145" name="Rectangle 144">
            <a:extLst>
              <a:ext uri="{FF2B5EF4-FFF2-40B4-BE49-F238E27FC236}">
                <a16:creationId xmlns:a16="http://schemas.microsoft.com/office/drawing/2014/main" id="{6968A118-F3D9-47CF-9608-49455422B5E0}"/>
              </a:ext>
            </a:extLst>
          </p:cNvPr>
          <p:cNvSpPr>
            <a:spLocks/>
          </p:cNvSpPr>
          <p:nvPr/>
        </p:nvSpPr>
        <p:spPr>
          <a:xfrm>
            <a:off x="1040839" y="6944494"/>
            <a:ext cx="2298698" cy="100701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latin typeface="SangBleu Sunrise" panose="020B0504000000000004" pitchFamily="34" charset="-52"/>
                <a:ea typeface="SangBleu Sunrise" panose="020B0504000000000004" pitchFamily="34" charset="-52"/>
              </a:rPr>
              <a:t>The Trading Multiples approach cannot be fully applied due to limited data on comparable companies. Nevertheless, this section includes a partial multiples-based analysis using both direct domestic competitors and selected international peers.</a:t>
            </a:r>
          </a:p>
        </p:txBody>
      </p:sp>
      <p:sp>
        <p:nvSpPr>
          <p:cNvPr id="148" name="Rectangle 147">
            <a:extLst>
              <a:ext uri="{FF2B5EF4-FFF2-40B4-BE49-F238E27FC236}">
                <a16:creationId xmlns:a16="http://schemas.microsoft.com/office/drawing/2014/main" id="{DE07C7F8-1491-47FD-90E0-EECEA4FDF31F}"/>
              </a:ext>
            </a:extLst>
          </p:cNvPr>
          <p:cNvSpPr>
            <a:spLocks/>
          </p:cNvSpPr>
          <p:nvPr/>
        </p:nvSpPr>
        <p:spPr>
          <a:xfrm>
            <a:off x="1043063" y="8045821"/>
            <a:ext cx="2298698" cy="1098179"/>
          </a:xfrm>
          <a:prstGeom prst="rect">
            <a:avLst/>
          </a:prstGeom>
          <a:solidFill>
            <a:schemeClr val="accent1">
              <a:lumMod val="20000"/>
              <a:lumOff val="80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b="1" dirty="0">
                <a:solidFill>
                  <a:schemeClr val="tx1"/>
                </a:solidFill>
                <a:latin typeface="SangBleu Sunrise" panose="020B0504000000000004" pitchFamily="34" charset="-52"/>
                <a:ea typeface="SangBleu Sunrise" panose="020B0504000000000004" pitchFamily="34" charset="-52"/>
              </a:rPr>
              <a:t>Multiples:</a:t>
            </a:r>
            <a:r>
              <a:rPr lang="en-US" sz="800" dirty="0">
                <a:solidFill>
                  <a:schemeClr val="tx1"/>
                </a:solidFill>
                <a:latin typeface="SangBleu Sunrise" panose="020B0504000000000004" pitchFamily="34" charset="-52"/>
                <a:ea typeface="SangBleu Sunrise" panose="020B0504000000000004" pitchFamily="34" charset="-52"/>
              </a:rPr>
              <a:t> PROMOMED appears to trade at higher P/E and EV/EBITDA multiples compared to its closest peers, such as OZON Pharm and </a:t>
            </a:r>
            <a:r>
              <a:rPr lang="en-US" sz="800" dirty="0" err="1">
                <a:solidFill>
                  <a:schemeClr val="tx1"/>
                </a:solidFill>
                <a:latin typeface="SangBleu Sunrise" panose="020B0504000000000004" pitchFamily="34" charset="-52"/>
                <a:ea typeface="SangBleu Sunrise" panose="020B0504000000000004" pitchFamily="34" charset="-52"/>
              </a:rPr>
              <a:t>Pharmstandard</a:t>
            </a:r>
            <a:r>
              <a:rPr lang="en-US" sz="800" dirty="0">
                <a:solidFill>
                  <a:schemeClr val="tx1"/>
                </a:solidFill>
                <a:latin typeface="SangBleu Sunrise" panose="020B0504000000000004" pitchFamily="34" charset="-52"/>
                <a:ea typeface="SangBleu Sunrise" panose="020B0504000000000004" pitchFamily="34" charset="-52"/>
              </a:rPr>
              <a:t>. This valuation premium is likely driven by market expectations surrounding PROMOMED’s pipeline of innovative drugs.</a:t>
            </a:r>
          </a:p>
        </p:txBody>
      </p:sp>
      <p:cxnSp>
        <p:nvCxnSpPr>
          <p:cNvPr id="17" name="Straight Connector 16">
            <a:extLst>
              <a:ext uri="{FF2B5EF4-FFF2-40B4-BE49-F238E27FC236}">
                <a16:creationId xmlns:a16="http://schemas.microsoft.com/office/drawing/2014/main" id="{713CAA22-268B-4DD3-AC29-05781CE47BF8}"/>
              </a:ext>
            </a:extLst>
          </p:cNvPr>
          <p:cNvCxnSpPr/>
          <p:nvPr>
            <p:custDataLst>
              <p:tags r:id="rId6"/>
            </p:custDataLst>
          </p:nvPr>
        </p:nvCxnSpPr>
        <p:spPr bwMode="auto">
          <a:xfrm flipH="1">
            <a:off x="5564188" y="8193088"/>
            <a:ext cx="282575" cy="8413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9F791EBA-0F1D-46C8-98E4-F35E883CB767}"/>
              </a:ext>
            </a:extLst>
          </p:cNvPr>
          <p:cNvCxnSpPr/>
          <p:nvPr>
            <p:custDataLst>
              <p:tags r:id="rId7"/>
            </p:custDataLst>
          </p:nvPr>
        </p:nvCxnSpPr>
        <p:spPr bwMode="auto">
          <a:xfrm flipH="1">
            <a:off x="5356225" y="8383588"/>
            <a:ext cx="207963" cy="825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17959C87-83CD-439B-927A-89AE33CE822A}"/>
              </a:ext>
            </a:extLst>
          </p:cNvPr>
          <p:cNvCxnSpPr/>
          <p:nvPr>
            <p:custDataLst>
              <p:tags r:id="rId8"/>
            </p:custDataLst>
          </p:nvPr>
        </p:nvCxnSpPr>
        <p:spPr bwMode="auto">
          <a:xfrm flipH="1">
            <a:off x="5222875" y="8572500"/>
            <a:ext cx="133350" cy="8413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462">
            <a:extLst>
              <a:ext uri="{FF2B5EF4-FFF2-40B4-BE49-F238E27FC236}">
                <a16:creationId xmlns:a16="http://schemas.microsoft.com/office/drawing/2014/main" id="{E60B2F14-E0C2-4ADE-A64D-77CF2370C349}"/>
              </a:ext>
            </a:extLst>
          </p:cNvPr>
          <p:cNvCxnSpPr/>
          <p:nvPr>
            <p:custDataLst>
              <p:tags r:id="rId9"/>
            </p:custDataLst>
          </p:nvPr>
        </p:nvCxnSpPr>
        <p:spPr bwMode="auto">
          <a:xfrm flipH="1">
            <a:off x="5207001" y="8763000"/>
            <a:ext cx="15875" cy="825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61B8A785-BF22-4D0D-A08C-182660DDC9A1}"/>
              </a:ext>
            </a:extLst>
          </p:cNvPr>
          <p:cNvCxnSpPr/>
          <p:nvPr>
            <p:custDataLst>
              <p:tags r:id="rId10"/>
            </p:custDataLst>
          </p:nvPr>
        </p:nvCxnSpPr>
        <p:spPr bwMode="auto">
          <a:xfrm flipH="1">
            <a:off x="5105400" y="8951913"/>
            <a:ext cx="101600" cy="8413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4" name="Chart 63">
            <a:extLst>
              <a:ext uri="{FF2B5EF4-FFF2-40B4-BE49-F238E27FC236}">
                <a16:creationId xmlns:a16="http://schemas.microsoft.com/office/drawing/2014/main" id="{A3EE808F-0F7C-4094-A1F3-EEECCF9CE504}"/>
              </a:ext>
            </a:extLst>
          </p:cNvPr>
          <p:cNvGraphicFramePr/>
          <p:nvPr>
            <p:custDataLst>
              <p:tags r:id="rId11"/>
            </p:custDataLst>
            <p:extLst>
              <p:ext uri="{D42A27DB-BD31-4B8C-83A1-F6EECF244321}">
                <p14:modId xmlns:p14="http://schemas.microsoft.com/office/powerpoint/2010/main" val="2194117428"/>
              </p:ext>
            </p:extLst>
          </p:nvPr>
        </p:nvGraphicFramePr>
        <p:xfrm>
          <a:off x="4613275" y="7859713"/>
          <a:ext cx="1785938" cy="1509712"/>
        </p:xfrm>
        <a:graphic>
          <a:graphicData uri="http://schemas.openxmlformats.org/drawingml/2006/chart">
            <c:chart xmlns:c="http://schemas.openxmlformats.org/drawingml/2006/chart" xmlns:r="http://schemas.openxmlformats.org/officeDocument/2006/relationships" r:id="rId34"/>
          </a:graphicData>
        </a:graphic>
      </p:graphicFrame>
      <p:sp>
        <p:nvSpPr>
          <p:cNvPr id="153" name="Text Placeholder 2">
            <a:extLst>
              <a:ext uri="{FF2B5EF4-FFF2-40B4-BE49-F238E27FC236}">
                <a16:creationId xmlns:a16="http://schemas.microsoft.com/office/drawing/2014/main" id="{D041FF69-A3C3-4451-A6D9-0F4456152EE2}"/>
              </a:ext>
            </a:extLst>
          </p:cNvPr>
          <p:cNvSpPr>
            <a:spLocks noGrp="1"/>
          </p:cNvSpPr>
          <p:nvPr>
            <p:custDataLst>
              <p:tags r:id="rId12"/>
            </p:custDataLst>
          </p:nvPr>
        </p:nvSpPr>
        <p:spPr bwMode="auto">
          <a:xfrm>
            <a:off x="4117975" y="8085138"/>
            <a:ext cx="7683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B06CD474-013D-4CE1-B245-16F88840FDCB}" type="datetime'''''A''''r''''t''ge''''n'' ''''''Bi''''o''''t''''e''ch'''">
              <a:rPr lang="en-US" altLang="en-US" sz="800" b="1">
                <a:latin typeface="SangBleu Sunrise" panose="020B0504000000000004" pitchFamily="34" charset="-52"/>
                <a:ea typeface="SangBleu Sunrise" panose="020B0504000000000004" pitchFamily="34" charset="-52"/>
                <a:sym typeface="SangBleu Sunrise" panose="020B0504000000000004" pitchFamily="34" charset="-52"/>
              </a:rPr>
              <a:pPr marL="0" indent="0" algn="r">
                <a:spcBef>
                  <a:spcPct val="0"/>
                </a:spcBef>
                <a:spcAft>
                  <a:spcPct val="0"/>
                </a:spcAft>
                <a:buNone/>
              </a:pPr>
              <a:t>Artgen Biotech</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68" name="Text Placeholder 2">
            <a:extLst>
              <a:ext uri="{FF2B5EF4-FFF2-40B4-BE49-F238E27FC236}">
                <a16:creationId xmlns:a16="http://schemas.microsoft.com/office/drawing/2014/main" id="{8D5986B8-DD1A-472E-A075-F6A325BE8D94}"/>
              </a:ext>
            </a:extLst>
          </p:cNvPr>
          <p:cNvSpPr>
            <a:spLocks noGrp="1"/>
          </p:cNvSpPr>
          <p:nvPr>
            <p:custDataLst>
              <p:tags r:id="rId13"/>
            </p:custDataLst>
          </p:nvPr>
        </p:nvSpPr>
        <p:spPr bwMode="auto">
          <a:xfrm>
            <a:off x="4191000" y="8275638"/>
            <a:ext cx="6953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FB56C46C-CFC2-43F6-9527-40B59480BB4C}" type="datetime'''''N''o''vo'' ''''''No''''r''''d''i''''s''''''k'''''''''">
              <a:rPr lang="en-US" altLang="en-US" sz="800" b="1">
                <a:latin typeface="SangBleu Sunrise" panose="020B0504000000000004" pitchFamily="34" charset="-52"/>
                <a:ea typeface="SangBleu Sunrise" panose="020B0504000000000004" pitchFamily="34" charset="-52"/>
                <a:sym typeface="SangBleu Sunrise" panose="020B0504000000000004" pitchFamily="34" charset="-52"/>
              </a:rPr>
              <a:pPr marL="0" indent="0" algn="r">
                <a:spcBef>
                  <a:spcPct val="0"/>
                </a:spcBef>
                <a:spcAft>
                  <a:spcPct val="0"/>
                </a:spcAft>
                <a:buNone/>
              </a:pPr>
              <a:t>Novo Nordisk</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54" name="Text Placeholder 2">
            <a:extLst>
              <a:ext uri="{FF2B5EF4-FFF2-40B4-BE49-F238E27FC236}">
                <a16:creationId xmlns:a16="http://schemas.microsoft.com/office/drawing/2014/main" id="{EF00FF59-5B7C-4ADB-BDE4-D005D89816D0}"/>
              </a:ext>
            </a:extLst>
          </p:cNvPr>
          <p:cNvSpPr>
            <a:spLocks noGrp="1"/>
          </p:cNvSpPr>
          <p:nvPr>
            <p:custDataLst>
              <p:tags r:id="rId14"/>
            </p:custDataLst>
          </p:nvPr>
        </p:nvSpPr>
        <p:spPr bwMode="auto">
          <a:xfrm>
            <a:off x="4187824" y="8464550"/>
            <a:ext cx="6985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26703B69-000A-42E2-8EB0-AB7F2834946D}" type="datetime'''''''''''''''P''''''R''''''O''M''O''''''''''''M''ED'">
              <a:rPr lang="en-US" altLang="en-US" sz="800" b="1" smtClean="0">
                <a:latin typeface="SangBleu Sunrise" panose="020B0504000000000004" pitchFamily="34" charset="-52"/>
                <a:ea typeface="SangBleu Sunrise" panose="020B0504000000000004" pitchFamily="34" charset="-52"/>
              </a:rPr>
              <a:pPr/>
              <a:t>PROMOMED</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62" name="Text Placeholder 2">
            <a:extLst>
              <a:ext uri="{FF2B5EF4-FFF2-40B4-BE49-F238E27FC236}">
                <a16:creationId xmlns:a16="http://schemas.microsoft.com/office/drawing/2014/main" id="{16FC7FE3-5A56-48A3-B66A-D6DDB4F88130}"/>
              </a:ext>
            </a:extLst>
          </p:cNvPr>
          <p:cNvSpPr>
            <a:spLocks noGrp="1"/>
          </p:cNvSpPr>
          <p:nvPr>
            <p:custDataLst>
              <p:tags r:id="rId15"/>
            </p:custDataLst>
          </p:nvPr>
        </p:nvSpPr>
        <p:spPr bwMode="auto">
          <a:xfrm>
            <a:off x="4583113" y="8655050"/>
            <a:ext cx="30321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092D7B1D-1C5F-4F6F-A08D-2B895634C5FB}" type="datetime'''Pfi''''''''''''''''''''''''''z''e''''''''r'''">
              <a:rPr lang="en-US" altLang="en-US" sz="800" b="1">
                <a:latin typeface="SangBleu Sunrise" panose="020B0504000000000004" pitchFamily="34" charset="-52"/>
                <a:ea typeface="SangBleu Sunrise" panose="020B0504000000000004" pitchFamily="34" charset="-52"/>
                <a:sym typeface="SangBleu Sunrise" panose="020B0504000000000004" pitchFamily="34" charset="-52"/>
              </a:rPr>
              <a:pPr marL="0" indent="0" algn="r">
                <a:spcBef>
                  <a:spcPct val="0"/>
                </a:spcBef>
                <a:spcAft>
                  <a:spcPct val="0"/>
                </a:spcAft>
                <a:buNone/>
              </a:pPr>
              <a:t>Pfizer</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12" name="Text Placeholder 2">
            <a:extLst>
              <a:ext uri="{FF2B5EF4-FFF2-40B4-BE49-F238E27FC236}">
                <a16:creationId xmlns:a16="http://schemas.microsoft.com/office/drawing/2014/main" id="{57C4F67C-EE6D-4A62-958B-436987AB22B2}"/>
              </a:ext>
            </a:extLst>
          </p:cNvPr>
          <p:cNvSpPr>
            <a:spLocks noGrp="1"/>
          </p:cNvSpPr>
          <p:nvPr>
            <p:custDataLst>
              <p:tags r:id="rId16"/>
            </p:custDataLst>
          </p:nvPr>
        </p:nvSpPr>
        <p:spPr bwMode="auto">
          <a:xfrm>
            <a:off x="4186238" y="8843963"/>
            <a:ext cx="7000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A1DF398C-3B2B-44CA-AF5F-71FA78A5D082}" type="datetime'''''''''''O''''''''''ZO''''''N'' P''''''''h''a''''''r''m'''''">
              <a:rPr lang="en-US" altLang="en-US" sz="800" b="1">
                <a:latin typeface="SangBleu Sunrise" panose="020B0504000000000004" pitchFamily="34" charset="-52"/>
                <a:ea typeface="SangBleu Sunrise" panose="020B0504000000000004" pitchFamily="34" charset="-52"/>
                <a:sym typeface="SangBleu Sunrise" panose="020B0504000000000004" pitchFamily="34" charset="-52"/>
              </a:rPr>
              <a:pPr marL="0" indent="0" algn="r">
                <a:spcBef>
                  <a:spcPct val="0"/>
                </a:spcBef>
                <a:spcAft>
                  <a:spcPct val="0"/>
                </a:spcAft>
                <a:buNone/>
              </a:pPr>
              <a:t>OZON Pharm</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52" name="Text Placeholder 2">
            <a:extLst>
              <a:ext uri="{FF2B5EF4-FFF2-40B4-BE49-F238E27FC236}">
                <a16:creationId xmlns:a16="http://schemas.microsoft.com/office/drawing/2014/main" id="{D86A6D1B-ADF1-4B87-AEB8-6EB1F994F0A4}"/>
              </a:ext>
            </a:extLst>
          </p:cNvPr>
          <p:cNvSpPr>
            <a:spLocks noGrp="1"/>
          </p:cNvSpPr>
          <p:nvPr>
            <p:custDataLst>
              <p:tags r:id="rId17"/>
            </p:custDataLst>
          </p:nvPr>
        </p:nvSpPr>
        <p:spPr bwMode="auto">
          <a:xfrm>
            <a:off x="4108450" y="9034463"/>
            <a:ext cx="77787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D80DC723-E42A-4E66-B948-513E37941CF7}" type="datetime'Phar''m''''''''''''st''''''''''''an''''''''d''''ard'">
              <a:rPr lang="en-US" altLang="en-US" sz="800" b="1" smtClean="0">
                <a:latin typeface="SangBleu Sunrise" panose="020B0504000000000004" pitchFamily="34" charset="-52"/>
                <a:ea typeface="SangBleu Sunrise" panose="020B0504000000000004" pitchFamily="34" charset="-52"/>
              </a:rPr>
              <a:pPr/>
              <a:t>Pharmstandard</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cxnSp>
        <p:nvCxnSpPr>
          <p:cNvPr id="22" name="Straight Connector 21">
            <a:extLst>
              <a:ext uri="{FF2B5EF4-FFF2-40B4-BE49-F238E27FC236}">
                <a16:creationId xmlns:a16="http://schemas.microsoft.com/office/drawing/2014/main" id="{40EB82EE-190B-4BBB-9BF4-08B3D7D4FD01}"/>
              </a:ext>
            </a:extLst>
          </p:cNvPr>
          <p:cNvCxnSpPr/>
          <p:nvPr>
            <p:custDataLst>
              <p:tags r:id="rId18"/>
            </p:custDataLst>
          </p:nvPr>
        </p:nvCxnSpPr>
        <p:spPr bwMode="auto">
          <a:xfrm flipH="1">
            <a:off x="5754688" y="6827838"/>
            <a:ext cx="77788" cy="8413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0" name="Straight Connector 479">
            <a:extLst>
              <a:ext uri="{FF2B5EF4-FFF2-40B4-BE49-F238E27FC236}">
                <a16:creationId xmlns:a16="http://schemas.microsoft.com/office/drawing/2014/main" id="{E3B5AAAB-26AC-4D9D-8C09-8C545DDF72D2}"/>
              </a:ext>
            </a:extLst>
          </p:cNvPr>
          <p:cNvCxnSpPr/>
          <p:nvPr>
            <p:custDataLst>
              <p:tags r:id="rId19"/>
            </p:custDataLst>
          </p:nvPr>
        </p:nvCxnSpPr>
        <p:spPr bwMode="auto">
          <a:xfrm flipH="1">
            <a:off x="5721350" y="7018338"/>
            <a:ext cx="33338" cy="825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7978029B-F9D8-479F-8E41-E5866EDBF97E}"/>
              </a:ext>
            </a:extLst>
          </p:cNvPr>
          <p:cNvCxnSpPr/>
          <p:nvPr>
            <p:custDataLst>
              <p:tags r:id="rId20"/>
            </p:custDataLst>
          </p:nvPr>
        </p:nvCxnSpPr>
        <p:spPr bwMode="auto">
          <a:xfrm flipH="1">
            <a:off x="5657850" y="7207250"/>
            <a:ext cx="63500" cy="8413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484">
            <a:extLst>
              <a:ext uri="{FF2B5EF4-FFF2-40B4-BE49-F238E27FC236}">
                <a16:creationId xmlns:a16="http://schemas.microsoft.com/office/drawing/2014/main" id="{EB107CFE-67E0-420C-B9FE-7BBBF0C44563}"/>
              </a:ext>
            </a:extLst>
          </p:cNvPr>
          <p:cNvCxnSpPr/>
          <p:nvPr>
            <p:custDataLst>
              <p:tags r:id="rId21"/>
            </p:custDataLst>
          </p:nvPr>
        </p:nvCxnSpPr>
        <p:spPr bwMode="auto">
          <a:xfrm flipH="1">
            <a:off x="5180013" y="7397750"/>
            <a:ext cx="477838" cy="825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591DBED-9FA3-469B-85DA-D4845D728ED8}"/>
              </a:ext>
            </a:extLst>
          </p:cNvPr>
          <p:cNvCxnSpPr>
            <a:cxnSpLocks/>
          </p:cNvCxnSpPr>
          <p:nvPr>
            <p:custDataLst>
              <p:tags r:id="rId22"/>
            </p:custDataLst>
          </p:nvPr>
        </p:nvCxnSpPr>
        <p:spPr bwMode="auto">
          <a:xfrm flipH="1">
            <a:off x="5167313" y="7586663"/>
            <a:ext cx="12700" cy="8413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3" name="Chart 62">
            <a:extLst>
              <a:ext uri="{FF2B5EF4-FFF2-40B4-BE49-F238E27FC236}">
                <a16:creationId xmlns:a16="http://schemas.microsoft.com/office/drawing/2014/main" id="{3E9C6FA0-204B-4612-8389-FD9B3894B604}"/>
              </a:ext>
            </a:extLst>
          </p:cNvPr>
          <p:cNvGraphicFramePr/>
          <p:nvPr>
            <p:custDataLst>
              <p:tags r:id="rId23"/>
            </p:custDataLst>
            <p:extLst>
              <p:ext uri="{D42A27DB-BD31-4B8C-83A1-F6EECF244321}">
                <p14:modId xmlns:p14="http://schemas.microsoft.com/office/powerpoint/2010/main" val="41961325"/>
              </p:ext>
            </p:extLst>
          </p:nvPr>
        </p:nvGraphicFramePr>
        <p:xfrm>
          <a:off x="4572000" y="6494463"/>
          <a:ext cx="1857375" cy="1509712"/>
        </p:xfrm>
        <a:graphic>
          <a:graphicData uri="http://schemas.openxmlformats.org/drawingml/2006/chart">
            <c:chart xmlns:c="http://schemas.openxmlformats.org/drawingml/2006/chart" xmlns:r="http://schemas.openxmlformats.org/officeDocument/2006/relationships" r:id="rId35"/>
          </a:graphicData>
        </a:graphic>
      </p:graphicFrame>
      <p:sp>
        <p:nvSpPr>
          <p:cNvPr id="471" name="Text Placeholder 2">
            <a:extLst>
              <a:ext uri="{FF2B5EF4-FFF2-40B4-BE49-F238E27FC236}">
                <a16:creationId xmlns:a16="http://schemas.microsoft.com/office/drawing/2014/main" id="{19E1ABC6-3676-41E9-BEAB-74EB93A12D5B}"/>
              </a:ext>
            </a:extLst>
          </p:cNvPr>
          <p:cNvSpPr>
            <a:spLocks noGrp="1"/>
          </p:cNvSpPr>
          <p:nvPr>
            <p:custDataLst>
              <p:tags r:id="rId24"/>
            </p:custDataLst>
          </p:nvPr>
        </p:nvSpPr>
        <p:spPr bwMode="auto">
          <a:xfrm>
            <a:off x="4117975" y="6719888"/>
            <a:ext cx="76835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1B9399A4-1EAE-4F96-BDF8-611A398130DC}" type="datetime'''''''A''''''r''''''tge''''''''n'' ''B''''''i''''ot''ec''''h'">
              <a:rPr lang="en-US" altLang="en-US" sz="800" b="1">
                <a:latin typeface="SangBleu Sunrise" panose="020B0504000000000004" pitchFamily="34" charset="-52"/>
                <a:ea typeface="SangBleu Sunrise" panose="020B0504000000000004" pitchFamily="34" charset="-52"/>
                <a:sym typeface="SangBleu Sunrise" panose="020B0504000000000004" pitchFamily="34" charset="-52"/>
              </a:rPr>
              <a:pPr marL="0" indent="0" algn="r">
                <a:spcBef>
                  <a:spcPct val="0"/>
                </a:spcBef>
                <a:spcAft>
                  <a:spcPct val="0"/>
                </a:spcAft>
                <a:buNone/>
              </a:pPr>
              <a:t>Artgen Biotech</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76" name="Text Placeholder 2">
            <a:extLst>
              <a:ext uri="{FF2B5EF4-FFF2-40B4-BE49-F238E27FC236}">
                <a16:creationId xmlns:a16="http://schemas.microsoft.com/office/drawing/2014/main" id="{499219EC-C6E0-49C0-A814-BA273EB3D2FF}"/>
              </a:ext>
            </a:extLst>
          </p:cNvPr>
          <p:cNvSpPr>
            <a:spLocks noGrp="1"/>
          </p:cNvSpPr>
          <p:nvPr>
            <p:custDataLst>
              <p:tags r:id="rId25"/>
            </p:custDataLst>
          </p:nvPr>
        </p:nvSpPr>
        <p:spPr bwMode="auto">
          <a:xfrm>
            <a:off x="4583113" y="6910388"/>
            <a:ext cx="303213"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4021281D-851B-45D7-84B6-10AC019977D0}" type="datetime'''''''P''''''''''''''''f''''''''''''iz''''''''e''''''r'''''''">
              <a:rPr lang="en-US" altLang="en-US" sz="800" b="1">
                <a:latin typeface="SangBleu Sunrise" panose="020B0504000000000004" pitchFamily="34" charset="-52"/>
                <a:ea typeface="SangBleu Sunrise" panose="020B0504000000000004" pitchFamily="34" charset="-52"/>
                <a:sym typeface="SangBleu Sunrise" panose="020B0504000000000004" pitchFamily="34" charset="-52"/>
              </a:rPr>
              <a:pPr marL="0" indent="0" algn="r">
                <a:spcBef>
                  <a:spcPct val="0"/>
                </a:spcBef>
                <a:spcAft>
                  <a:spcPct val="0"/>
                </a:spcAft>
                <a:buNone/>
              </a:pPr>
              <a:t>Pfizer</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51" name="Text Placeholder 2">
            <a:extLst>
              <a:ext uri="{FF2B5EF4-FFF2-40B4-BE49-F238E27FC236}">
                <a16:creationId xmlns:a16="http://schemas.microsoft.com/office/drawing/2014/main" id="{24EA5BC2-1D4A-457B-83BC-8626EDE705F6}"/>
              </a:ext>
            </a:extLst>
          </p:cNvPr>
          <p:cNvSpPr>
            <a:spLocks noGrp="1"/>
          </p:cNvSpPr>
          <p:nvPr>
            <p:custDataLst>
              <p:tags r:id="rId26"/>
            </p:custDataLst>
          </p:nvPr>
        </p:nvSpPr>
        <p:spPr bwMode="auto">
          <a:xfrm>
            <a:off x="4187824" y="7099300"/>
            <a:ext cx="698500"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0417E0EB-317B-4FA4-A919-E62EE8954997}" type="datetime'''''''''P''RO''''''''''''''''''M''O''''M''''ED'''''''">
              <a:rPr lang="en-US" altLang="en-US" sz="800" b="1" smtClean="0">
                <a:latin typeface="SangBleu Sunrise" panose="020B0504000000000004" pitchFamily="34" charset="-52"/>
                <a:ea typeface="SangBleu Sunrise" panose="020B0504000000000004" pitchFamily="34" charset="-52"/>
              </a:rPr>
              <a:pPr/>
              <a:t>PROMOMED</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159" name="Text Placeholder 2">
            <a:extLst>
              <a:ext uri="{FF2B5EF4-FFF2-40B4-BE49-F238E27FC236}">
                <a16:creationId xmlns:a16="http://schemas.microsoft.com/office/drawing/2014/main" id="{5CFC358A-9543-4F81-8642-CC9D492D21A7}"/>
              </a:ext>
            </a:extLst>
          </p:cNvPr>
          <p:cNvSpPr>
            <a:spLocks noGrp="1"/>
          </p:cNvSpPr>
          <p:nvPr>
            <p:custDataLst>
              <p:tags r:id="rId27"/>
            </p:custDataLst>
          </p:nvPr>
        </p:nvSpPr>
        <p:spPr bwMode="auto">
          <a:xfrm>
            <a:off x="4191000" y="7289800"/>
            <a:ext cx="69532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C085DE31-5BD1-466C-99EA-E489997EDDC0}" type="datetime'No''''''vo'' N''o''''r''''''''''''''d''is''''''''''k'''''''">
              <a:rPr lang="en-US" altLang="en-US" sz="800" b="1">
                <a:latin typeface="SangBleu Sunrise" panose="020B0504000000000004" pitchFamily="34" charset="-52"/>
                <a:ea typeface="SangBleu Sunrise" panose="020B0504000000000004" pitchFamily="34" charset="-52"/>
                <a:sym typeface="SangBleu Sunrise" panose="020B0504000000000004" pitchFamily="34" charset="-52"/>
              </a:rPr>
              <a:pPr marL="0" indent="0" algn="r">
                <a:spcBef>
                  <a:spcPct val="0"/>
                </a:spcBef>
                <a:spcAft>
                  <a:spcPct val="0"/>
                </a:spcAft>
                <a:buNone/>
              </a:pPr>
              <a:t>Novo Nordisk</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62" name="Text Placeholder 2">
            <a:extLst>
              <a:ext uri="{FF2B5EF4-FFF2-40B4-BE49-F238E27FC236}">
                <a16:creationId xmlns:a16="http://schemas.microsoft.com/office/drawing/2014/main" id="{01146938-5A90-45A6-8829-68F4ED62D79F}"/>
              </a:ext>
            </a:extLst>
          </p:cNvPr>
          <p:cNvSpPr>
            <a:spLocks noGrp="1"/>
          </p:cNvSpPr>
          <p:nvPr>
            <p:custDataLst>
              <p:tags r:id="rId28"/>
            </p:custDataLst>
          </p:nvPr>
        </p:nvSpPr>
        <p:spPr bwMode="auto">
          <a:xfrm>
            <a:off x="4186238" y="7478713"/>
            <a:ext cx="700088"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0180F824-157F-4512-BC05-537706DC6CBB}" type="datetime'''''''OZO''''N ''''''''''''P''''''''h''''''''''''''a''r''''m'">
              <a:rPr lang="en-US" altLang="en-US" sz="800" b="1">
                <a:latin typeface="SangBleu Sunrise" panose="020B0504000000000004" pitchFamily="34" charset="-52"/>
                <a:ea typeface="SangBleu Sunrise" panose="020B0504000000000004" pitchFamily="34" charset="-52"/>
                <a:sym typeface="SangBleu Sunrise" panose="020B0504000000000004" pitchFamily="34" charset="-52"/>
              </a:rPr>
              <a:pPr marL="0" indent="0" algn="r">
                <a:spcBef>
                  <a:spcPct val="0"/>
                </a:spcBef>
                <a:spcAft>
                  <a:spcPct val="0"/>
                </a:spcAft>
                <a:buNone/>
              </a:pPr>
              <a:t>OZON Pharm</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470" name="Text Placeholder 2">
            <a:extLst>
              <a:ext uri="{FF2B5EF4-FFF2-40B4-BE49-F238E27FC236}">
                <a16:creationId xmlns:a16="http://schemas.microsoft.com/office/drawing/2014/main" id="{5784DD07-A095-4E66-9894-3808E1377B11}"/>
              </a:ext>
            </a:extLst>
          </p:cNvPr>
          <p:cNvSpPr>
            <a:spLocks noGrp="1"/>
          </p:cNvSpPr>
          <p:nvPr>
            <p:custDataLst>
              <p:tags r:id="rId29"/>
            </p:custDataLst>
          </p:nvPr>
        </p:nvSpPr>
        <p:spPr bwMode="auto">
          <a:xfrm>
            <a:off x="4108450" y="7669213"/>
            <a:ext cx="777875" cy="1095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C33510FF-5844-4D55-BCFC-5430744D0BC9}" type="datetime'Pharms''t''''''''''''''''''''''a''ndard'''''''''''''''">
              <a:rPr lang="en-US" altLang="en-US" sz="800" b="1" smtClean="0">
                <a:latin typeface="SangBleu Sunrise" panose="020B0504000000000004" pitchFamily="34" charset="-52"/>
                <a:ea typeface="SangBleu Sunrise" panose="020B0504000000000004" pitchFamily="34" charset="-52"/>
              </a:rPr>
              <a:pPr/>
              <a:t>Pharmstandard</a:t>
            </a:fld>
            <a:endParaRPr lang="ru-RU" sz="800" b="1" dirty="0">
              <a:latin typeface="SangBleu Sunrise" panose="020B0504000000000004" pitchFamily="34" charset="-52"/>
              <a:ea typeface="SangBleu Sunrise" panose="020B0504000000000004" pitchFamily="34" charset="-52"/>
              <a:sym typeface="SangBleu Sunrise" panose="020B0504000000000004" pitchFamily="34" charset="-52"/>
            </a:endParaRPr>
          </a:p>
        </p:txBody>
      </p:sp>
      <p:sp>
        <p:nvSpPr>
          <p:cNvPr id="36" name="Rectangle 35">
            <a:extLst>
              <a:ext uri="{FF2B5EF4-FFF2-40B4-BE49-F238E27FC236}">
                <a16:creationId xmlns:a16="http://schemas.microsoft.com/office/drawing/2014/main" id="{64AE48EF-EEE0-4F6C-9EA9-F8B270C562BA}"/>
              </a:ext>
            </a:extLst>
          </p:cNvPr>
          <p:cNvSpPr/>
          <p:nvPr/>
        </p:nvSpPr>
        <p:spPr>
          <a:xfrm>
            <a:off x="1033760" y="4230341"/>
            <a:ext cx="3169147" cy="685783"/>
          </a:xfrm>
          <a:prstGeom prst="rect">
            <a:avLst/>
          </a:prstGeom>
          <a:solidFill>
            <a:schemeClr val="accent1">
              <a:lumMod val="20000"/>
              <a:lumOff val="80000"/>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Fixed Assets Estimation</a:t>
            </a:r>
            <a:r>
              <a:rPr lang="en-US" sz="800" dirty="0">
                <a:solidFill>
                  <a:schemeClr val="tx1"/>
                </a:solidFill>
                <a:latin typeface="SangBleu Sunrise" panose="020B0504000000000004" pitchFamily="34" charset="-52"/>
                <a:ea typeface="SangBleu Sunrise" panose="020B0504000000000004" pitchFamily="34" charset="-52"/>
              </a:rPr>
              <a:t>: We estimate capital expenditures (</a:t>
            </a:r>
            <a:r>
              <a:rPr lang="en-US" sz="800" dirty="0" err="1">
                <a:solidFill>
                  <a:schemeClr val="tx1"/>
                </a:solidFill>
                <a:latin typeface="SangBleu Sunrise" panose="020B0504000000000004" pitchFamily="34" charset="-52"/>
                <a:ea typeface="SangBleu Sunrise" panose="020B0504000000000004" pitchFamily="34" charset="-52"/>
              </a:rPr>
              <a:t>CapEx</a:t>
            </a:r>
            <a:r>
              <a:rPr lang="en-US" sz="800" dirty="0">
                <a:solidFill>
                  <a:schemeClr val="tx1"/>
                </a:solidFill>
                <a:latin typeface="SangBleu Sunrise" panose="020B0504000000000004" pitchFamily="34" charset="-52"/>
                <a:ea typeface="SangBleu Sunrise" panose="020B0504000000000004" pitchFamily="34" charset="-52"/>
              </a:rPr>
              <a:t>) as the sum of R&amp;D expenses and other investment-related costs. According to official data from the company’s website, R&amp;D spending accounts for 10% of revenue, while other expenditures are estimated at 15% of net profit.</a:t>
            </a:r>
          </a:p>
        </p:txBody>
      </p:sp>
      <p:graphicFrame>
        <p:nvGraphicFramePr>
          <p:cNvPr id="489" name="Table 488">
            <a:extLst>
              <a:ext uri="{FF2B5EF4-FFF2-40B4-BE49-F238E27FC236}">
                <a16:creationId xmlns:a16="http://schemas.microsoft.com/office/drawing/2014/main" id="{4F54F937-928D-443F-A76D-A5FAE7445CF3}"/>
              </a:ext>
            </a:extLst>
          </p:cNvPr>
          <p:cNvGraphicFramePr>
            <a:graphicFrameLocks noGrp="1"/>
          </p:cNvGraphicFramePr>
          <p:nvPr>
            <p:extLst>
              <p:ext uri="{D42A27DB-BD31-4B8C-83A1-F6EECF244321}">
                <p14:modId xmlns:p14="http://schemas.microsoft.com/office/powerpoint/2010/main" val="1881440848"/>
              </p:ext>
            </p:extLst>
          </p:nvPr>
        </p:nvGraphicFramePr>
        <p:xfrm>
          <a:off x="1033764" y="4947858"/>
          <a:ext cx="3169147" cy="1597862"/>
        </p:xfrm>
        <a:graphic>
          <a:graphicData uri="http://schemas.openxmlformats.org/drawingml/2006/table">
            <a:tbl>
              <a:tblPr>
                <a:tableStyleId>{5C22544A-7EE6-4342-B048-85BDC9FD1C3A}</a:tableStyleId>
              </a:tblPr>
              <a:tblGrid>
                <a:gridCol w="339346">
                  <a:extLst>
                    <a:ext uri="{9D8B030D-6E8A-4147-A177-3AD203B41FA5}">
                      <a16:colId xmlns:a16="http://schemas.microsoft.com/office/drawing/2014/main" val="2914319910"/>
                    </a:ext>
                  </a:extLst>
                </a:gridCol>
                <a:gridCol w="400259">
                  <a:extLst>
                    <a:ext uri="{9D8B030D-6E8A-4147-A177-3AD203B41FA5}">
                      <a16:colId xmlns:a16="http://schemas.microsoft.com/office/drawing/2014/main" val="3002565538"/>
                    </a:ext>
                  </a:extLst>
                </a:gridCol>
                <a:gridCol w="420054">
                  <a:extLst>
                    <a:ext uri="{9D8B030D-6E8A-4147-A177-3AD203B41FA5}">
                      <a16:colId xmlns:a16="http://schemas.microsoft.com/office/drawing/2014/main" val="735120376"/>
                    </a:ext>
                  </a:extLst>
                </a:gridCol>
                <a:gridCol w="467612">
                  <a:extLst>
                    <a:ext uri="{9D8B030D-6E8A-4147-A177-3AD203B41FA5}">
                      <a16:colId xmlns:a16="http://schemas.microsoft.com/office/drawing/2014/main" val="16435579"/>
                    </a:ext>
                  </a:extLst>
                </a:gridCol>
                <a:gridCol w="848902">
                  <a:extLst>
                    <a:ext uri="{9D8B030D-6E8A-4147-A177-3AD203B41FA5}">
                      <a16:colId xmlns:a16="http://schemas.microsoft.com/office/drawing/2014/main" val="2047436331"/>
                    </a:ext>
                  </a:extLst>
                </a:gridCol>
                <a:gridCol w="306226">
                  <a:extLst>
                    <a:ext uri="{9D8B030D-6E8A-4147-A177-3AD203B41FA5}">
                      <a16:colId xmlns:a16="http://schemas.microsoft.com/office/drawing/2014/main" val="3635549866"/>
                    </a:ext>
                  </a:extLst>
                </a:gridCol>
                <a:gridCol w="386748">
                  <a:extLst>
                    <a:ext uri="{9D8B030D-6E8A-4147-A177-3AD203B41FA5}">
                      <a16:colId xmlns:a16="http://schemas.microsoft.com/office/drawing/2014/main" val="3961325861"/>
                    </a:ext>
                  </a:extLst>
                </a:gridCol>
              </a:tblGrid>
              <a:tr h="288624">
                <a:tc>
                  <a:txBody>
                    <a:bodyPr/>
                    <a:lstStyle/>
                    <a:p>
                      <a:pPr algn="l" fontAlgn="b"/>
                      <a:r>
                        <a:rPr lang="ru-RU" sz="800" u="none" strike="noStrike" dirty="0">
                          <a:effectLst/>
                          <a:latin typeface="SangBleu Sunrise" panose="020B0504000000000004" pitchFamily="34" charset="-52"/>
                          <a:ea typeface="SangBleu Sunrise" panose="020B0504000000000004" pitchFamily="34" charset="-52"/>
                        </a:rPr>
                        <a:t> </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fontAlgn="b"/>
                      <a:r>
                        <a:rPr lang="ru-RU" sz="800" u="none" strike="noStrike" dirty="0">
                          <a:effectLst/>
                          <a:latin typeface="SangBleu Sunrise" panose="020B0504000000000004" pitchFamily="34" charset="-52"/>
                          <a:ea typeface="SangBleu Sunrise" panose="020B0504000000000004" pitchFamily="34" charset="-52"/>
                        </a:rPr>
                        <a:t> </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fontAlgn="b"/>
                      <a:r>
                        <a:rPr lang="ru-RU" sz="800" u="none" strike="noStrike" dirty="0">
                          <a:effectLst/>
                          <a:latin typeface="SangBleu Sunrise" panose="020B0504000000000004" pitchFamily="34" charset="-52"/>
                          <a:ea typeface="SangBleu Sunrise" panose="020B0504000000000004" pitchFamily="34" charset="-52"/>
                        </a:rPr>
                        <a:t> </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fontAlgn="b"/>
                      <a:r>
                        <a:rPr lang="ru-RU" sz="800" u="none" strike="noStrike" dirty="0">
                          <a:effectLst/>
                          <a:latin typeface="SangBleu Sunrise" panose="020B0504000000000004" pitchFamily="34" charset="-52"/>
                          <a:ea typeface="SangBleu Sunrise" panose="020B0504000000000004" pitchFamily="34" charset="-52"/>
                        </a:rPr>
                        <a:t> </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fontAlgn="b"/>
                      <a:r>
                        <a:rPr lang="en-US" sz="800" u="none" strike="noStrike" dirty="0">
                          <a:effectLst/>
                          <a:latin typeface="SangBleu Sunrise" panose="020B0504000000000004" pitchFamily="34" charset="-52"/>
                          <a:ea typeface="SangBleu Sunrise" panose="020B0504000000000004" pitchFamily="34" charset="-52"/>
                        </a:rPr>
                        <a:t>Growth Rate</a:t>
                      </a:r>
                      <a:endParaRPr lang="en-US"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fontAlgn="b"/>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l" fontAlgn="b"/>
                      <a:r>
                        <a:rPr lang="ru-RU" sz="800" u="none" strike="noStrike" dirty="0">
                          <a:effectLst/>
                          <a:latin typeface="SangBleu Sunrise" panose="020B0504000000000004" pitchFamily="34" charset="-52"/>
                          <a:ea typeface="SangBleu Sunrise" panose="020B0504000000000004" pitchFamily="34" charset="-52"/>
                        </a:rPr>
                        <a:t> </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966995543"/>
                  </a:ext>
                </a:extLst>
              </a:tr>
              <a:tr h="288624">
                <a:tc>
                  <a:txBody>
                    <a:bodyPr/>
                    <a:lstStyle/>
                    <a:p>
                      <a:pPr algn="l" fontAlgn="b"/>
                      <a:r>
                        <a:rPr lang="ru-RU" sz="800" u="none" strike="noStrike" dirty="0">
                          <a:effectLst/>
                          <a:latin typeface="SangBleu Sunrise" panose="020B0504000000000004" pitchFamily="34" charset="-52"/>
                          <a:ea typeface="SangBleu Sunrise" panose="020B0504000000000004" pitchFamily="34" charset="-52"/>
                        </a:rPr>
                        <a:t> </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r" fontAlgn="b"/>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10,0%</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10,5%</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11,0%</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11,5%</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12,0%</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3282142"/>
                  </a:ext>
                </a:extLst>
              </a:tr>
              <a:tr h="164205">
                <a:tc>
                  <a:txBody>
                    <a:bodyPr/>
                    <a:lstStyle/>
                    <a:p>
                      <a:pPr algn="l" fontAlgn="b"/>
                      <a:r>
                        <a:rPr lang="ru-RU" sz="800" u="none" strike="noStrike" dirty="0">
                          <a:effectLst/>
                          <a:latin typeface="SangBleu Sunrise" panose="020B0504000000000004" pitchFamily="34" charset="-52"/>
                          <a:ea typeface="SangBleu Sunrise" panose="020B0504000000000004" pitchFamily="34" charset="-52"/>
                        </a:rPr>
                        <a:t> </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vert="vert27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13,39%</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600</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733</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ru-RU" sz="800" u="none" strike="noStrike">
                          <a:effectLst/>
                          <a:latin typeface="SangBleu Sunrise" panose="020B0504000000000004" pitchFamily="34" charset="-52"/>
                          <a:ea typeface="SangBleu Sunrise" panose="020B0504000000000004" pitchFamily="34" charset="-52"/>
                        </a:rPr>
                        <a:t>921</a:t>
                      </a:r>
                      <a:endParaRPr lang="ru-RU" sz="800" b="0" i="0" u="none" strike="noStrike">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1 210</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ru-RU" sz="800" u="none" strike="noStrike">
                          <a:effectLst/>
                          <a:latin typeface="SangBleu Sunrise" panose="020B0504000000000004" pitchFamily="34" charset="-52"/>
                          <a:ea typeface="SangBleu Sunrise" panose="020B0504000000000004" pitchFamily="34" charset="-52"/>
                        </a:rPr>
                        <a:t>1 706</a:t>
                      </a:r>
                      <a:endParaRPr lang="ru-RU" sz="800" b="0" i="0" u="none" strike="noStrike">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195754769"/>
                  </a:ext>
                </a:extLst>
              </a:tr>
              <a:tr h="164205">
                <a:tc>
                  <a:txBody>
                    <a:bodyPr/>
                    <a:lstStyle/>
                    <a:p>
                      <a:pPr algn="l" fontAlgn="b"/>
                      <a:r>
                        <a:rPr lang="ru-RU" sz="800" u="none" strike="noStrike" dirty="0">
                          <a:effectLst/>
                          <a:latin typeface="SangBleu Sunrise" panose="020B0504000000000004" pitchFamily="34" charset="-52"/>
                          <a:ea typeface="SangBleu Sunrise" panose="020B0504000000000004" pitchFamily="34" charset="-52"/>
                        </a:rPr>
                        <a:t> </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vert="vert27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13,89%</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486</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582</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r" fontAlgn="b"/>
                      <a:r>
                        <a:rPr lang="ru-RU" sz="800" u="none" strike="noStrike">
                          <a:effectLst/>
                          <a:latin typeface="SangBleu Sunrise" panose="020B0504000000000004" pitchFamily="34" charset="-52"/>
                          <a:ea typeface="SangBleu Sunrise" panose="020B0504000000000004" pitchFamily="34" charset="-52"/>
                        </a:rPr>
                        <a:t>712</a:t>
                      </a:r>
                      <a:endParaRPr lang="ru-RU" sz="800" b="0" i="0" u="none" strike="noStrike">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897</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r" fontAlgn="b"/>
                      <a:r>
                        <a:rPr lang="ru-RU" sz="800" u="none" strike="noStrike">
                          <a:effectLst/>
                          <a:latin typeface="SangBleu Sunrise" panose="020B0504000000000004" pitchFamily="34" charset="-52"/>
                          <a:ea typeface="SangBleu Sunrise" panose="020B0504000000000004" pitchFamily="34" charset="-52"/>
                        </a:rPr>
                        <a:t>1 179</a:t>
                      </a:r>
                      <a:endParaRPr lang="ru-RU" sz="800" b="0" i="0" u="none" strike="noStrike">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561137280"/>
                  </a:ext>
                </a:extLst>
              </a:tr>
              <a:tr h="373708">
                <a:tc>
                  <a:txBody>
                    <a:bodyPr/>
                    <a:lstStyle/>
                    <a:p>
                      <a:pPr algn="r" fontAlgn="b"/>
                      <a:r>
                        <a:rPr lang="en-US" sz="800" u="none" strike="noStrike" dirty="0">
                          <a:effectLst/>
                          <a:latin typeface="SangBleu Sunrise" panose="020B0504000000000004" pitchFamily="34" charset="-52"/>
                          <a:ea typeface="SangBleu Sunrise" panose="020B0504000000000004" pitchFamily="34" charset="-52"/>
                        </a:rPr>
                        <a:t>WACC</a:t>
                      </a:r>
                      <a:endParaRPr lang="en-US"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vert="vert27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14,39%</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398</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471</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565</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692</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r" fontAlgn="b"/>
                      <a:r>
                        <a:rPr lang="ru-RU" sz="800" u="none" strike="noStrike">
                          <a:effectLst/>
                          <a:latin typeface="SangBleu Sunrise" panose="020B0504000000000004" pitchFamily="34" charset="-52"/>
                          <a:ea typeface="SangBleu Sunrise" panose="020B0504000000000004" pitchFamily="34" charset="-52"/>
                        </a:rPr>
                        <a:t>873</a:t>
                      </a:r>
                      <a:endParaRPr lang="ru-RU" sz="800" b="0" i="0" u="none" strike="noStrike">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698091037"/>
                  </a:ext>
                </a:extLst>
              </a:tr>
              <a:tr h="154291">
                <a:tc>
                  <a:txBody>
                    <a:bodyPr/>
                    <a:lstStyle/>
                    <a:p>
                      <a:pPr algn="l" fontAlgn="b"/>
                      <a:r>
                        <a:rPr lang="ru-RU" sz="800" u="none" strike="noStrike" dirty="0">
                          <a:effectLst/>
                          <a:latin typeface="SangBleu Sunrise" panose="020B0504000000000004" pitchFamily="34" charset="-52"/>
                          <a:ea typeface="SangBleu Sunrise" panose="020B0504000000000004" pitchFamily="34" charset="-52"/>
                        </a:rPr>
                        <a:t> </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vert="vert27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14,89%</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328</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385</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456</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549</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673</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608211994"/>
                  </a:ext>
                </a:extLst>
              </a:tr>
              <a:tr h="164205">
                <a:tc>
                  <a:txBody>
                    <a:bodyPr/>
                    <a:lstStyle/>
                    <a:p>
                      <a:pPr algn="l" fontAlgn="b"/>
                      <a:r>
                        <a:rPr lang="ru-RU" sz="800" u="none" strike="noStrike" dirty="0">
                          <a:effectLst/>
                          <a:latin typeface="SangBleu Sunrise" panose="020B0504000000000004" pitchFamily="34" charset="-52"/>
                          <a:ea typeface="SangBleu Sunrise" panose="020B0504000000000004" pitchFamily="34" charset="-52"/>
                        </a:rPr>
                        <a:t> </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vert="vert27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15,39%</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800" u="none" strike="noStrike">
                          <a:effectLst/>
                          <a:latin typeface="SangBleu Sunrise" panose="020B0504000000000004" pitchFamily="34" charset="-52"/>
                          <a:ea typeface="SangBleu Sunrise" panose="020B0504000000000004" pitchFamily="34" charset="-52"/>
                        </a:rPr>
                        <a:t>271</a:t>
                      </a:r>
                      <a:endParaRPr lang="ru-RU" sz="800" b="0" i="0" u="none" strike="noStrike">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ru-RU" sz="800" u="none" strike="noStrike">
                          <a:effectLst/>
                          <a:latin typeface="SangBleu Sunrise" panose="020B0504000000000004" pitchFamily="34" charset="-52"/>
                          <a:ea typeface="SangBleu Sunrise" panose="020B0504000000000004" pitchFamily="34" charset="-52"/>
                        </a:rPr>
                        <a:t>316</a:t>
                      </a:r>
                      <a:endParaRPr lang="ru-RU" sz="800" b="0" i="0" u="none" strike="noStrike">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372</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442</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ru-RU" sz="800" u="none" strike="noStrike" dirty="0">
                          <a:effectLst/>
                          <a:latin typeface="SangBleu Sunrise" panose="020B0504000000000004" pitchFamily="34" charset="-52"/>
                          <a:ea typeface="SangBleu Sunrise" panose="020B0504000000000004" pitchFamily="34" charset="-52"/>
                        </a:rPr>
                        <a:t>532</a:t>
                      </a:r>
                      <a:endParaRPr lang="ru-RU" sz="800" b="0" i="0" u="none" strike="noStrike" dirty="0">
                        <a:solidFill>
                          <a:srgbClr val="000000"/>
                        </a:solidFill>
                        <a:effectLst/>
                        <a:latin typeface="SangBleu Sunrise" panose="020B0504000000000004" pitchFamily="34" charset="-52"/>
                        <a:ea typeface="SangBleu Sunrise" panose="020B0504000000000004" pitchFamily="34" charset="-52"/>
                      </a:endParaRPr>
                    </a:p>
                  </a:txBody>
                  <a:tcPr marL="4245" marR="4245" marT="424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155921337"/>
                  </a:ext>
                </a:extLst>
              </a:tr>
            </a:tbl>
          </a:graphicData>
        </a:graphic>
      </p:graphicFrame>
      <p:sp>
        <p:nvSpPr>
          <p:cNvPr id="45" name="Rectangle 44">
            <a:extLst>
              <a:ext uri="{FF2B5EF4-FFF2-40B4-BE49-F238E27FC236}">
                <a16:creationId xmlns:a16="http://schemas.microsoft.com/office/drawing/2014/main" id="{CF8364DB-4200-4EB3-8031-B2C0D5AE5EB5}"/>
              </a:ext>
            </a:extLst>
          </p:cNvPr>
          <p:cNvSpPr/>
          <p:nvPr/>
        </p:nvSpPr>
        <p:spPr>
          <a:xfrm>
            <a:off x="4379756" y="5372687"/>
            <a:ext cx="1508190" cy="9224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lstStyle/>
          <a:p>
            <a:r>
              <a:rPr lang="en-US" sz="800" b="1" dirty="0">
                <a:solidFill>
                  <a:schemeClr val="tx1"/>
                </a:solidFill>
                <a:latin typeface="SangBleu Sunrise" panose="020B0504000000000004" pitchFamily="34" charset="-52"/>
                <a:ea typeface="SangBleu Sunrise" panose="020B0504000000000004" pitchFamily="34" charset="-52"/>
              </a:rPr>
              <a:t>Sensitivity Matrix:</a:t>
            </a:r>
            <a:r>
              <a:rPr lang="en-US" sz="800" dirty="0">
                <a:solidFill>
                  <a:schemeClr val="tx1"/>
                </a:solidFill>
                <a:latin typeface="SangBleu Sunrise" panose="020B0504000000000004" pitchFamily="34" charset="-52"/>
                <a:ea typeface="SangBleu Sunrise" panose="020B0504000000000004" pitchFamily="34" charset="-52"/>
              </a:rPr>
              <a:t> As shown in the figure on the left, the estimated share price is highly sensitive to changes in the growth rate assumption.</a:t>
            </a:r>
          </a:p>
        </p:txBody>
      </p:sp>
      <p:sp>
        <p:nvSpPr>
          <p:cNvPr id="46" name="Rectangle 45">
            <a:extLst>
              <a:ext uri="{FF2B5EF4-FFF2-40B4-BE49-F238E27FC236}">
                <a16:creationId xmlns:a16="http://schemas.microsoft.com/office/drawing/2014/main" id="{E3D5F447-1E36-43A3-8DD1-48E0DAE3C57A}"/>
              </a:ext>
            </a:extLst>
          </p:cNvPr>
          <p:cNvSpPr>
            <a:spLocks/>
          </p:cNvSpPr>
          <p:nvPr/>
        </p:nvSpPr>
        <p:spPr>
          <a:xfrm>
            <a:off x="4117975" y="7806177"/>
            <a:ext cx="2108198" cy="24722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P/E Peer Comparison</a:t>
            </a:r>
          </a:p>
        </p:txBody>
      </p:sp>
      <p:sp>
        <p:nvSpPr>
          <p:cNvPr id="47" name="Rectangle 46">
            <a:extLst>
              <a:ext uri="{FF2B5EF4-FFF2-40B4-BE49-F238E27FC236}">
                <a16:creationId xmlns:a16="http://schemas.microsoft.com/office/drawing/2014/main" id="{3FC2AF2B-4780-4349-A0EE-108A6B23F943}"/>
              </a:ext>
            </a:extLst>
          </p:cNvPr>
          <p:cNvSpPr>
            <a:spLocks/>
          </p:cNvSpPr>
          <p:nvPr/>
        </p:nvSpPr>
        <p:spPr>
          <a:xfrm>
            <a:off x="4117975" y="9261421"/>
            <a:ext cx="2108198" cy="24722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EV/EBITDA Peer Comparison</a:t>
            </a:r>
          </a:p>
        </p:txBody>
      </p:sp>
      <p:sp>
        <p:nvSpPr>
          <p:cNvPr id="48" name="Rectangle 47">
            <a:extLst>
              <a:ext uri="{FF2B5EF4-FFF2-40B4-BE49-F238E27FC236}">
                <a16:creationId xmlns:a16="http://schemas.microsoft.com/office/drawing/2014/main" id="{88D5A6FA-D548-4712-8176-E3609F5D49A0}"/>
              </a:ext>
            </a:extLst>
          </p:cNvPr>
          <p:cNvSpPr>
            <a:spLocks/>
          </p:cNvSpPr>
          <p:nvPr/>
        </p:nvSpPr>
        <p:spPr>
          <a:xfrm>
            <a:off x="1040839" y="6623475"/>
            <a:ext cx="2298698" cy="26956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8500" tIns="58500" rIns="58500" bIns="58500" rtlCol="0" anchor="t" anchorCtr="0">
            <a:noAutofit/>
          </a:bodyPr>
          <a:lstStyle/>
          <a:p>
            <a:r>
              <a:rPr lang="en-US" sz="800" dirty="0">
                <a:solidFill>
                  <a:schemeClr val="tx1"/>
                </a:solidFill>
                <a:latin typeface="SangBleu Sunrise" panose="020B0504000000000004" pitchFamily="34" charset="-52"/>
                <a:ea typeface="SangBleu Sunrise" panose="020B0504000000000004" pitchFamily="34" charset="-52"/>
              </a:rPr>
              <a:t>DCF Prognosis Price (RUB) vs Parameters</a:t>
            </a:r>
          </a:p>
        </p:txBody>
      </p:sp>
      <p:sp>
        <p:nvSpPr>
          <p:cNvPr id="53" name="5. Source">
            <a:extLst>
              <a:ext uri="{FF2B5EF4-FFF2-40B4-BE49-F238E27FC236}">
                <a16:creationId xmlns:a16="http://schemas.microsoft.com/office/drawing/2014/main" id="{F33451DC-0378-41B2-AD57-F85B867CAF2C}"/>
              </a:ext>
            </a:extLst>
          </p:cNvPr>
          <p:cNvSpPr txBox="1"/>
          <p:nvPr>
            <p:custDataLst>
              <p:tags r:id="rId30"/>
            </p:custDataLst>
          </p:nvPr>
        </p:nvSpPr>
        <p:spPr>
          <a:xfrm>
            <a:off x="642937" y="9649539"/>
            <a:ext cx="5700713" cy="123111"/>
          </a:xfrm>
          <a:prstGeom prst="rect">
            <a:avLst/>
          </a:prstGeom>
          <a:noFill/>
        </p:spPr>
        <p:txBody>
          <a:bodyPr vert="horz" wrap="square" lIns="0" tIns="0" rIns="0" bIns="0" rtlCol="0" anchor="b" anchorCtr="0">
            <a:spAutoFit/>
          </a:bodyPr>
          <a:lstStyle/>
          <a:p>
            <a:r>
              <a:rPr lang="fr-FR" sz="800" dirty="0">
                <a:latin typeface="SangBleu Sunrise" panose="020B0504000000000004" pitchFamily="34" charset="-52"/>
                <a:ea typeface="SangBleu Sunrise" panose="020B0504000000000004" pitchFamily="34" charset="-52"/>
              </a:rPr>
              <a:t>SOURCE: </a:t>
            </a:r>
            <a:r>
              <a:rPr lang="en-US" sz="800" dirty="0">
                <a:latin typeface="SangBleu Sunrise" panose="020B0504000000000004" pitchFamily="34" charset="-52"/>
                <a:ea typeface="SangBleu Sunrise" panose="020B0504000000000004" pitchFamily="34" charset="-52"/>
              </a:rPr>
              <a:t>“For PROMOMED’s Investors” presentations</a:t>
            </a:r>
            <a:r>
              <a:rPr lang="ru-RU" sz="800" dirty="0">
                <a:latin typeface="SangBleu Sunrise" panose="020B0504000000000004" pitchFamily="34" charset="-52"/>
                <a:ea typeface="SangBleu Sunrise" panose="020B0504000000000004" pitchFamily="34" charset="-52"/>
              </a:rPr>
              <a:t> </a:t>
            </a:r>
            <a:r>
              <a:rPr lang="en-US" sz="800" dirty="0">
                <a:latin typeface="SangBleu Sunrise" panose="020B0504000000000004" pitchFamily="34" charset="-52"/>
                <a:ea typeface="SangBleu Sunrise" panose="020B0504000000000004" pitchFamily="34" charset="-52"/>
              </a:rPr>
              <a:t>, Strategy Partners report, own calculations, cbonds.com</a:t>
            </a:r>
            <a:endParaRPr lang="fr-FR" sz="800" dirty="0">
              <a:latin typeface="SangBleu Sunrise" panose="020B0504000000000004" pitchFamily="34" charset="-52"/>
              <a:ea typeface="SangBleu Sunrise" panose="020B0504000000000004" pitchFamily="34" charset="-52"/>
            </a:endParaRPr>
          </a:p>
        </p:txBody>
      </p:sp>
    </p:spTree>
    <p:extLst>
      <p:ext uri="{BB962C8B-B14F-4D97-AF65-F5344CB8AC3E}">
        <p14:creationId xmlns:p14="http://schemas.microsoft.com/office/powerpoint/2010/main" val="29754570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PRESENTATIONDONOTDELETE" val="&lt;?xml version=&quot;1.0&quot; encoding=&quot;UTF-16&quot; standalone=&quot;yes&quot;?&gt;&lt;root reqver=&quot;28224&quot;&gt;&lt;version val=&quot;3568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7.28432807363111844978E+00&quot;&gt;&lt;m_msothmcolidx val=&quot;0&quot;/&gt;&lt;m_rgb r=&quot;BF&quot; g=&quot;90&quot; b=&quot;00&quot;/&gt;&lt;/elem&gt;&lt;elem m_fUsage=&quot;2.03876792454961019985E+00&quot;&gt;&lt;m_msothmcolidx val=&quot;0&quot;/&gt;&lt;m_rgb r=&quot;39&quot; g=&quot;39&quot; b=&quot;39&quot;/&gt;&lt;/elem&gt;&lt;elem m_fUsage=&quot;2.05891132094649098594E-01&quot;&gt;&lt;m_msothmcolidx val=&quot;0&quot;/&gt;&lt;m_rgb r=&quot;4E&quot; g=&quot;4E&quot; b=&quot;4E&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njsJKaBve9sYq.3Q44IM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KnKl8D9hZ9BgEA5Kajb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1NDyV5yJ6uCbXgbeQACkz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9Gjy5si6vpi6HJAgVKJ6q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sL4vRGr8qip_PL0.tEiz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39ufmpZWYtQ_9QZ1fp7ky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FD0RLzyAxa2bR4CKaW6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BztxiXago4BMEMHPBaPc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mxCn64TuYM3xp.2NpkHEyQ"/>
</p:tagLst>
</file>

<file path=ppt/tags/tag108.xml><?xml version="1.0" encoding="utf-8"?>
<p:tagLst xmlns:a="http://schemas.openxmlformats.org/drawingml/2006/main" xmlns:r="http://schemas.openxmlformats.org/officeDocument/2006/relationships" xmlns:p="http://schemas.openxmlformats.org/presentationml/2006/main">
  <p:tag name="NAME" val="5. Sourc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gfy0fJAJaCMM6ZUMsl6ww"/>
</p:tagLst>
</file>

<file path=ppt/tags/tag110.xml><?xml version="1.0" encoding="utf-8"?>
<p:tagLst xmlns:a="http://schemas.openxmlformats.org/drawingml/2006/main" xmlns:r="http://schemas.openxmlformats.org/officeDocument/2006/relationships" xmlns:p="http://schemas.openxmlformats.org/presentationml/2006/main">
  <p:tag nam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SEoEvVCSm8S.zYY4aJjg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HogdIfQicRhNi64HHvw6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Cmbc3oozoenPHskpBb9aB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U2OY.HL6CCycUZSCEjYN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aTRqtfjGS1hWgIqu5X6B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cVEhQrq4K.29Exw40d_6X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sxV8aC6ejemouZTke2BK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3iPbQt5GqZL11nFwgXzg1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kO2GmSn_E7V2yfDtsMiH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MHt4QACpzPdgJ6tTIDl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VKr9RQ8Lz6qAfH23qfb0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uAUL19sgeDtz4CJUMEC9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4rH9UcGg76V_e8Fezs.tI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93uwraAHocmT1eUhk6g_D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q73.7E5DZiM0XKAMrLkr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78_tfDSxh9Tldd3WPinbr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UD4mRn8b0UpUExQEnPM6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WODZmXpSg.8M0KGTiW.o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8UJ.1N7X8UEJJsj12Nbhg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UMZhGTTbzyiDWgGMM6ub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UG64OjEccZR92cZhv7fK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D4d7h.pU.BIZxGgj5ELlL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11hla0E_OL3fz6Nq0g7pk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V6bfPvgvOveC6KrWRpuNA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Jles.SA35867FjyEXUQ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83.upbExAkvFP.xsu_.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ALusWY6pu43qZLN8jFLY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_WUbI81x9FSxR6FPWmmM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tdIvkAgN4moyRfqagHYh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HIQHHN.aWuKxx4yESGGi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no0JALPNCbRQDFyLCmY7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vCGSWA6yTpfiVIa0FYH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iUaO3xAJfg.Rtu9nJov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PUVz6AuKkKW.HjZb4dlq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xmZeWaAJ9r37jxnYgrKk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8sj3H_jjQ8kTkbDoH_J.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LxTFau5UVrP4SshqAv1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kNoUwBeT7AnYeGAChEK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e8YhISAzNLxk1gc14FNes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cKBLI6N5LSpelSTuHTYMA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o5UKA6u1fdVHqNqVVbKR4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eHK2bAYgxffb5ebXTMjr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UYowIZVCM66rRi.IA059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pVFtBoDSPZbHOXpAyGqT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PMYgTI28BcXES7K9TjszQ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TnAvLj8nuvTL1MvWfjl5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pwV06bHOOLSLYMEzXkd4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sSMe_n8y4r.VmfRYnZSUS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eSallwbPKvSrTKjqVezu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MzWYPhBE8amUTmEzzem3V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29FX6_Y2rKaKs8OZBWtq5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Cz2Q7KvQD5HwKUVmtvH17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A_GdMoiA5M3qC21_MbU.8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xR9ayBDccD4qthW8u0GT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z1f7B9xT4pQJkWxQn4D.S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i2dUD7n4yTMvbntpArE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NGOjysOD_b3nyAKSr070y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I3XrcwAHACnk6wS72cXSv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Ko7PY.AV9AOmQpT4LgP8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MaIucMBmBXMf3goxc1zIB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4nH9IvxDSv5hkP_D.8ZH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xkWEr0BLdEC_iren18QqH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r1IsfJyGIneo24RFLeE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4bAoPK9TieJOlPrg99d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0Zo1oOX4CZH7s4aiLqJf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2I3eQ88wSIaZBCrxxkhm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4d_jzpis8Y4U4wPapKZV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i5PxPIuKGQOdS0dRCM8jw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MbjMLSCOZpTBfig7OBlYh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JYpu3bEP_OP7bbvNGTBK_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L5eO5tPARpGAgfLsyIAb5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TtK2KXZr8zQZe2CRLsflY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AcmekvRV.0YjqrtkR0Qb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5JzAe3C8pg.cb35jt3oH0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grsGw158LZBGKJsechwU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x4aX7hKHjau.MSbRQnCq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eFJ2lPv6LmIrEIXnoBxYa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7qmiRyUVOFCT_PwBcWgW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Jgm_9F6Ypoh_MPk.gKn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ajx7DLwOAbuDJS66UlSLf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9ZzRowbDaYdWvUlrkCRL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ifE4P6zZHMq7zBpz3ZndR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KA7VYWXRcPJnvxRkqk2Aa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Wo2rBc1oACFSgyazrFCZ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29rEUnfsMRg67O1llWtb1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EwYlnP9PiqnoN8e8sLaGE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lugTdwmAl99HEReioTsf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Sv3UgHxjdoWB1LZdTIT0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9MQGJiV6_Ga7XCbjn31vk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iHBaGD0SsA0Y5qtfvsbnu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TFqIasyH.oaoIL4B4QTa5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CBh9P2e5CTgv8ftye2Wm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qgaqFKt2h4cvrbk_ASKjl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5jdcuGgUhhCXlxsvXdAb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BdrRMk5IyqWrkQPKpRmJT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2CHZtoyHZpKyHhGf_roSp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p.HgRVk3dBXqo5D_onRj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lOaY6URjZ8C5UEDxxyeJ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ZMu5R7yZtOnjoD1zAwmMp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2hAsj0UilS._wI9NY2077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Vr5dNhdhFIMJykkBULGf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gMDLxiEbZcY.pJpW9l5RX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JafjjK.hq05BZ385PogwV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2f0f26oQIDDQddEkA3sy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5vLROm57R3VmbWKH3Txus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yXvPgyd4IbjMTqb2oRkth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KtquIXdZI5oC4SU8yyDo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1t0TeHY0ONUTNfNkbufW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e_qz8yMcDvpJEtgOqXBF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Bd_pvekhH8_vkS7pFv_ES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gAWA5qp_VMHJciJaeRYW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WhP0YFJvhp2QIWhiDqHVP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PTmJqxfcMAvCxfY1b7JK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kMdCGYbCwnSqGnqQiDj4g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5ADluCXkR_xXyu2hMNftg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7G5Gl_w90.Hk7HpzD6E7z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Te7_47Kx_Beuwfc3X4M2H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osXREdCFhCJf8tTkw273f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oJ3KRMJdbb.hp.l0SJB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9QvyfwtaXAdWNCNtF61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giYvb5O_yHYb0n6juMsC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D83xpvhH2myQ7eojxwQoF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isEQjDnI9lnRprLrgcPLM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uZb0jnZPFlrnlFfPXzU9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1EJLWeyAiUYh1AHLNBpof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89DCQWHE0f9p9RasdiaB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IfAo6lsxrb7JFKeqZdHHg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DZlpZj8Q2K68EWkSt65iY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mSLlz0kKBVqYIHnTI2VQ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MeaFNXHBJPwRVS6z7geR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sGjfM8OOcFar1geRfz_7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LQ5Pn.pVQqVwnPZOVcADE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JYmuz1t6jTffLHyuI4V7M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sMXyAgM1Xxw7Xdh8L4_r0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5PY2NtiwMpTQjTRXw8Zwy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gR5ZWNm470gmLZAA0Q07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9gz0OT6SaW0lf7TPwCwV3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GWzGTgFpbUTHjXmFlZgE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OVOy6qwTGWyQMycbS.l6.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6Gx_qkmXDS2sAA2U056To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_xMX1UDiqjFn0ISihKZSEw"/>
</p:tagLst>
</file>

<file path=ppt/tags/tag24.xml><?xml version="1.0" encoding="utf-8"?>
<p:tagLst xmlns:a="http://schemas.openxmlformats.org/drawingml/2006/main" xmlns:r="http://schemas.openxmlformats.org/officeDocument/2006/relationships" xmlns:p="http://schemas.openxmlformats.org/presentationml/2006/main">
  <p:tag name="NAME" val="1. On-page tracker"/>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MWdbuDctRk7sdQcQrl5cy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xCn64TuYM3xp.2NpkHEy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mxCn64TuYM3xp.2NpkHEy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mxCn64TuYM3xp.2NpkHEy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mxCn64TuYM3xp.2NpkHEyQ"/>
</p:tagLst>
</file>

<file path=ppt/tags/tag245.xml><?xml version="1.0" encoding="utf-8"?>
<p:tagLst xmlns:a="http://schemas.openxmlformats.org/drawingml/2006/main" xmlns:r="http://schemas.openxmlformats.org/officeDocument/2006/relationships" xmlns:p="http://schemas.openxmlformats.org/presentationml/2006/main">
  <p:tag name="NAME" val="5. Sourc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NAME" val="1. On-page tracker"/>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wwzXaUBplsLFf5Ndtc9Yr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Ym1WKXyfQMWSHZ.m105V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xSDVxhXLE6LdwLLmEu97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WeblII4yLPE.58QIq96FR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nmQkInegWz0_4ZUmd9L.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xdzy7PwYULBPQCdTWl8sm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_fUPerDW2ypC9HLKSL1WG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acY7M901Q4R6hB7.LZsRl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7DhIcmbP0REW12tNjI4U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kU8IF9Ep_a_XBHO25U9ZQ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2vvU25X3gaNts6fbzGpOG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LBI_RhHYRb6YipLLG.ZXe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_8t0CmN67zFjWNgt4K.0R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kTsbSH09Xs1Ox5P54ILp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jAZZFOGpP39KkayIhy.9L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CfJbIQsOr77sS7HcE_y37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l4KnLaSzpPH9yfiRyMtdA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uJOC.dmUsaL96UHhOUJn6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jlJ4YOe9E5zUCQJ_c2wr3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oXWczLsw_reI0VY2oju2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Iy1fXLhiT5zJl4HHXqr9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jWDSlgRgRaVELmWO9pFc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cDq3P.Hj1w1wDiukaH5d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X.GBMv86YMwDOf.uuz7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Shog.YD0R11IVy7IXNg9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zSTqQAPVAZuYR8MJ0e5O0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BddIFWFJHx4WDFfQnqr.J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3rfLBHDgRNeqCqlqeDzif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XwCYpfxDuqUR76WfvL.Rv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UI6BUREEFNlmyyd5N52kA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dA27b3s5env4x6g9D6cpp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Et2Ss_Rn04CxoyVSryZK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_6nlxNYtL6paP7HAKC8ji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29pRgeZ4xFpZjERK.LeM7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xQRSwjNA4ROFPObCsqld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2WuGQqgosywTdbaIsUVnI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ECF_FPdAG.VV7k83XFHY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_G55eZ23b2sPrsQ6ea6x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j9coxvFOkLZcB8b7L6BA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XbtZBl_g2JEgbraFw_.OH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kaPefiK3ENCLlrJPkVLa.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Td0No6bmwjXwUYh9Zbv7e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dDnn.CHj7Lx_LmILNHOb4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1r2UyAlvwKB1tPJKpSsa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PAIz_bPA_WlqnjyBeAPuc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_61iQmugfd8Vif9WMslF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G9GGox8L3fXbvWJSpYcj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ooxDQNhOCrK1HyY5rCd3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3qTtQYN9bn.QIUGeLNdzq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PRQKzkcy5vqyBQfFEYly4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aV9yTO4B9xNNipgeg5k6B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D9mvngg0zU1iZ1o1pMs6o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6FPS9Y.zn5JgKdsd0v_2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JAJwt6qZhtlnYFXbhm7GJ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GbHGTOp.1IyzJEE3BdUhD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4FaCxkrRaRPpDZ0yedGx_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i7.sv1GMpebb510qEPI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Jmfq8K5b4FkOjiWToeD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xpRTDasyTM3eohrfiqype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1u7n.Tb2zMFlTr5kWRJv7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Fj.08GpwaoAXHQRMeo8v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mMsc9lBa_762bGmXV8k._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BUtIRqLfmaJIE8HRDbG6Q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WhdZpk1LaMBxp5MHwux4a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nDYYjIzxQU1GliHIYGvpD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TpB5atm_NwjYSoKJeXm17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uAve7TFZEA4h3wlasLJ2s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JtnURPEu_EOE1U059XRFJ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pDwqWrtS12j8yHXYH3so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ibCO8vVgCyoiH1FsIeFli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u3lJKsI9wbDOrqGVkZOMH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_u9ObrzoyuzpTGda80icg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Pj9f36LsjoZHzzYxRduD8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6hJa0vRibX_xf3oQTcfD0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76YKee.J4_C8W.C2FbGKo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RJaKqqmkZAG24zKZVh8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TTH8UvhwNzBiSYgmw8YEw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JUFkrlRUH.2FWf2sXbU8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XPIgRJQJRcxLYA9HSO4k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gqy6FwLwEFVOgq9gq7RL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2KJr4U6g8PUM8pN8QQ4Gt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ydGjdJJW9VxxATxIWPSeo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kngSTJ2mmu0oKDxBsyouv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mUgGg1PTgwy9dylauDJ5hQ"/>
</p:tagLst>
</file>

<file path=ppt/tags/tag324.xml><?xml version="1.0" encoding="utf-8"?>
<p:tagLst xmlns:a="http://schemas.openxmlformats.org/drawingml/2006/main" xmlns:r="http://schemas.openxmlformats.org/officeDocument/2006/relationships" xmlns:p="http://schemas.openxmlformats.org/presentationml/2006/main">
  <p:tag name="NAME" val="5. Sourc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NAME" val="1. On-page tracker"/>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soGB5mXfVXPGk5YAEHuDW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JmXLPegj3MNQufPvkik5A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KQMFvYmOxuTMi8QcZfdBM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CQ2oJMzbQZ6trpai3dRM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BSiDdB2FiUBukJrGO7.7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I4mrnxxyvfa2.Qbd8EUPw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tUPjPINhfcvQyzRFcXqRP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uKvlVTl6FfrEgAOrRWSRp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_aQmaBwudhwGr845gIbeG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2Ku_a53OSipRXvK21MUTA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1c8TQVjMan7uFvJ3gvSbD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inKIoZOatFo6Pd9HSCcTv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YVM7JO2YkEC2jsjrJ3pnt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0tNI_vsEWeRx8ASq29YR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xSDVxhXLE6LdwLLmEu97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qKYX6HQErmOEwiCGJN3N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Ux5HrCGRQyoCrHkv6A4NL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OmukpxZkKUdRYd1ehSKjV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BSIwRir90rclrAj5reMNx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90c9qtNLgyOFQBM3SV242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4EUu4W35bIWZzuiWjwUfX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MpJRzA6HCsTceLa1TRQ46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279SRooQGF8DtZFpuehj3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zOJlgWhBZG2aJShH84rtF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v.1x2Tpr00kl7guEraJFDA"/>
</p:tagLst>
</file>

<file path=ppt/tags/tag35.xml><?xml version="1.0" encoding="utf-8"?>
<p:tagLst xmlns:a="http://schemas.openxmlformats.org/drawingml/2006/main" xmlns:r="http://schemas.openxmlformats.org/officeDocument/2006/relationships" xmlns:p="http://schemas.openxmlformats.org/presentationml/2006/main">
  <p:tag name="TABLEFORMATTED" val="Tru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jkhBkIn_4SxKALua_Tn9i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Vn_9bnB7wxNAwJ8tbbT56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l0yRFUVUrFET6JH71vGu7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4Ejs08RVCCRwSbXtKF6XK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ItpA0BFvoA9SsNwvWjAbx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coIK77B8q_HCOBvXWSBKX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yuyKw9OdDKe8lstnkzXqD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Gf1MQprSYTcWR5VafXnyW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iX4az_B99z_lXh_X8_Y2z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NT0fVR4EnEXUbgu8P6UG6A"/>
</p:tagLst>
</file>

<file path=ppt/tags/tag36.xml><?xml version="1.0" encoding="utf-8"?>
<p:tagLst xmlns:a="http://schemas.openxmlformats.org/drawingml/2006/main" xmlns:r="http://schemas.openxmlformats.org/officeDocument/2006/relationships" xmlns:p="http://schemas.openxmlformats.org/presentationml/2006/main">
  <p:tag name="NAME" val="5. Sourc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g2hxbJksz0EAXmkQFIny1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6NZ1V6_GRfJwPT5of7ghE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Z88Qlj7EEajyy1h_xP7Yj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Wl1dzBT9fN.wBM7IL0DrS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3mBT9dKcoXbvHt1NA9gbg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PdcCostx2o1t3YeKY8WQV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FMTVicVmO69AhicrkYQd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d2Hzyc0BoBzZNvUk7whDJ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QjNvcGrUOk8n7UFo9r0yr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z9889_Xhzibp7ovnv9Z9a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cdvXGajgZBp.7WeAJJ1y9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89zwyaxy72Em60QpuQFsF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C7b7bEK2W43bzWhQuqkSZ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IKYN4cL3M3Tgw8vkkW.cU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UgGg1PTgwy9dylauDJ5h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mUgGg1PTgwy9dylauDJ5h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mUgGg1PTgwy9dylauDJ5h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S6qBlWgd2M5Bvhk5udy79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VOYPRymgJc5R9CH0acpmt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l.NZVA7TY0wjbjFoDCxHag"/>
</p:tagLst>
</file>

<file path=ppt/tags/tag38.xml><?xml version="1.0" encoding="utf-8"?>
<p:tagLst xmlns:a="http://schemas.openxmlformats.org/drawingml/2006/main" xmlns:r="http://schemas.openxmlformats.org/officeDocument/2006/relationships" xmlns:p="http://schemas.openxmlformats.org/presentationml/2006/main">
  <p:tag nam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iYnBK72ZwIOdC94T.eAAt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JBvjTTDuv5pqOkXyf3k8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VTs63Y4U0PXAFm_1cN9PQA"/>
</p:tagLst>
</file>

<file path=ppt/tags/tag383.xml><?xml version="1.0" encoding="utf-8"?>
<p:tagLst xmlns:a="http://schemas.openxmlformats.org/drawingml/2006/main" xmlns:r="http://schemas.openxmlformats.org/officeDocument/2006/relationships" xmlns:p="http://schemas.openxmlformats.org/presentationml/2006/main">
  <p:tag name="NAME" val="5. Sourc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NAME" val="1. On-page tracker"/>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nni3s8MTnuih6YeIVgs73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Z2LYIaF3W1mlEAaC7ZbYb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08_vrosHdokBZx6xvZvv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4wS.M9aB2bQaMrobIjWJ0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McRsZFb2wwb858eXVhIX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zHQvSi3AgH46Nou.ysoF_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MWclI4Sh6lqNFNLTnhyut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QNb70_AkOP7EyT1VCN9Gl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tRYqPp_m3tSLlAkm6n0qh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ooQgN1K7RGRhdWDMAaP1B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zkEkaKWZQWqFIvYTDrubZ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z41RLXCYeDlczwQa2W75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fslAwG9MBF7ylTgoDyvO8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OWwQBVBcOwyjOgo30F87n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bck3qFQWrTILnjeqdwbikg"/>
</p:tagLst>
</file>

<file path=ppt/tags/tag4.xml><?xml version="1.0" encoding="utf-8"?>
<p:tagLst xmlns:a="http://schemas.openxmlformats.org/drawingml/2006/main" xmlns:r="http://schemas.openxmlformats.org/officeDocument/2006/relationships" xmlns:p="http://schemas.openxmlformats.org/presentationml/2006/main">
  <p:tag name="NAME" val="LineBasicImpac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L66QPgh530YHaiGwFp84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6Iu_24VBJZDM_adpmK8YW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iQwXGsQDs4LVlCo1ck2Mk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ePUl3qh4FWfHrsDzZen_4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QLhjFJ3_bn_X50UdSYAhn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plnRPmJhUCxbhZG9vPnMI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T7OYW2iAsbqsJDDv3cXx0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3DfjvXMw.7zpIifelHgIX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0OVmZ1WYHwO.Wnc34OeT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gzDeUvsPW3wQrv_amHi5q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2o.n4pzS_PAwlYwyOpKj6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WWe1UC_8oz52gAp.ejZc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33EAUw7CzwXcWKEjfSnfU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S770nnEwCs1eUklr41Deo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4s7EfXaG3LbCG2CEmlfP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FtPGYCqnrhWd57Ejvdn_U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_.wt3nl.es8cHx7cn8Gzy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i7Vly6FUA7kB9d6rv3Sb3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r.91cOAx4.UwLfdZorI6j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xJt_NG3Ll3EGGeZ_ip4iQ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4oR4kyY8vnPmSarOuUgWV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60SYLci9qSGUOzF1Hh2z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ye2_NDCJuV4orDt0RB4K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c.jGZBcbQW0hGRMO904To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VCez6H_VbGnnfaFgu5vNG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LCEAOgX5wSYRwZpn9RcjP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P1cOb3m00jEitfNjDLK4a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su1QWUxvKJ6GOwMoeohhz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8Jxf2NWF33atHAGOPXgZA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GgxTM3oVFJykD1Y5UYjlb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4lxqwOtdIxxbI5AjCLwH_A"/>
</p:tagLst>
</file>

<file path=ppt/tags/tag428.xml><?xml version="1.0" encoding="utf-8"?>
<p:tagLst xmlns:a="http://schemas.openxmlformats.org/drawingml/2006/main" xmlns:r="http://schemas.openxmlformats.org/officeDocument/2006/relationships" xmlns:p="http://schemas.openxmlformats.org/presentationml/2006/main">
  <p:tag name="NAME" val="5. Sourc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lLqH_JnYSD5Qw9lkBkP9A"/>
</p:tagLst>
</file>

<file path=ppt/tags/tag430.xml><?xml version="1.0" encoding="utf-8"?>
<p:tagLst xmlns:a="http://schemas.openxmlformats.org/drawingml/2006/main" xmlns:r="http://schemas.openxmlformats.org/officeDocument/2006/relationships" xmlns:p="http://schemas.openxmlformats.org/presentationml/2006/main">
  <p:tag name="TABLEFORMATTED" val="True"/>
</p:tagLst>
</file>

<file path=ppt/tags/tag431.xml><?xml version="1.0" encoding="utf-8"?>
<p:tagLst xmlns:a="http://schemas.openxmlformats.org/drawingml/2006/main" xmlns:r="http://schemas.openxmlformats.org/officeDocument/2006/relationships" xmlns:p="http://schemas.openxmlformats.org/presentationml/2006/main">
  <p:tag name="TABLEFORMATTED" val="True"/>
</p:tagLst>
</file>

<file path=ppt/tags/tag432.xml><?xml version="1.0" encoding="utf-8"?>
<p:tagLst xmlns:a="http://schemas.openxmlformats.org/drawingml/2006/main" xmlns:r="http://schemas.openxmlformats.org/officeDocument/2006/relationships" xmlns:p="http://schemas.openxmlformats.org/presentationml/2006/main">
  <p:tag name="NAME" val="1. On-page tracker"/>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DhhGXYpz8i2rFiQu0q3YU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x6Eby.CWNG7Y3jruni9AK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1n1UhEj4NtHw.JUGp.a7B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YnFUMx1drn2NkHtMn.dIU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xm_6YmX5_ytCxoxijkSvX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8TeFUQtB04JhcbMsuxpgN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aV85WvIdoVaq9ansSDnK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psux5brRFCpy9ETZkc3o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VUWLVeQ1zc82mb.lGUJLn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lpEU.QZqSeLUYUY.6qkqB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azKT.jAdl_cHEBh.Hetg.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ljEWc8Nap6H9OdirwB.Ji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IgRLs8IBBkTuOnk4xXlqM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lB1610lhe4LFpYD02SizU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7ZkGWTGRNFOYpDd3Fhgca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a7FM2WH0om16S.d0sWgHs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kxjaCqWZpFrH1NKg9iDn0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_r0LjFpZIOie.gP7Dj5Q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XmMKAxTYUSeLCg4i.cvE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nni3s8MTnuih6YeIVgs73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pN4u5vWGygJW3Rv3vf3Ze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iJ8Ho3YtxImwhRAqh2xaO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0xVpdkxtIhNWxZLUFr1i0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aY9YmSPpGV.d1dTlJJqje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W5tXtwxOc3c6WhsKRr7OA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ICCRuCPtLl371f6P_TDiWw"/>
</p:tagLst>
</file>

<file path=ppt/tags/tag457.xml><?xml version="1.0" encoding="utf-8"?>
<p:tagLst xmlns:a="http://schemas.openxmlformats.org/drawingml/2006/main" xmlns:r="http://schemas.openxmlformats.org/officeDocument/2006/relationships" xmlns:p="http://schemas.openxmlformats.org/presentationml/2006/main">
  <p:tag name="NAME" val="5. Sourc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Z0RTDT60aUwRaZG42VBgQ"/>
</p:tagLst>
</file>

<file path=ppt/tags/tag460.xml><?xml version="1.0" encoding="utf-8"?>
<p:tagLst xmlns:a="http://schemas.openxmlformats.org/drawingml/2006/main" xmlns:r="http://schemas.openxmlformats.org/officeDocument/2006/relationships" xmlns:p="http://schemas.openxmlformats.org/presentationml/2006/main">
  <p:tag nam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RjYGuT2pq0zklP0ciEdC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G8nLxJknD3pxjbWHXJ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pXTbUfofIF6tJV7z3HSTA"/>
</p:tagLst>
</file>

<file path=ppt/tags/tag5.xml><?xml version="1.0" encoding="utf-8"?>
<p:tagLst xmlns:a="http://schemas.openxmlformats.org/drawingml/2006/main" xmlns:r="http://schemas.openxmlformats.org/officeDocument/2006/relationships" xmlns:p="http://schemas.openxmlformats.org/presentationml/2006/main">
  <p:tag name="NAME" val="LineBasicImpac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ub.3suyZb9w3BXYIgnP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_CRdXyrJ74c5X8H17gaCT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DZcV91Ey8nVDfoX9Heg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RsOLUmlyOWnv3CDSZYr8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78EK2VsX8ebrX3dsBVW3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0uTjdxEXFYHGzlf6bEx39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WoR1pMOmeMk0auOTa9Ps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2iGirMLvnJfsGB5qj5T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7WChTjKrAROONlJX.UUe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Igqpmx66dNI2zAPGF5aJQ"/>
</p:tagLst>
</file>

<file path=ppt/tags/tag6.xml><?xml version="1.0" encoding="utf-8"?>
<p:tagLst xmlns:a="http://schemas.openxmlformats.org/drawingml/2006/main" xmlns:r="http://schemas.openxmlformats.org/officeDocument/2006/relationships" xmlns:p="http://schemas.openxmlformats.org/presentationml/2006/main">
  <p:tag name="NAME" val="LineBasicImpac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VDfwJe2iYoc29DfOmegH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SJ9h287SyRYl0eDHYhde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W91HXsduHPLqF9OHWW5L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MW80.BTLxpbz2Ok1VWw3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6jM7xfq4.IuRHArMxHG7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5z8LEVZgixJjgEQLLTZ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xJyQEL1q1YjrIJJUFObH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HesbCtf6UAPuh8gxmVuI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dLO80uqADcv669TnzuV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Fn166ceYNY4b_EW04gX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7iZVNO.a_0R8omJr3grMz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BnRzqI59gFuIg_tcnb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0OF0A_1LGXEj5ApHJlZ0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HRc2l3dT5msDlpNRwA9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C_t.7ONFWDOLttOA3Wn4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1kh8dRT3By3WbA1GNIWTz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y.GfY0yY_7hEYtt3H5u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gIRxlZl1FXiTVPXCopam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usOsG31R78RKNJdA.p3U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gOECktwJNKBCfI1lTSb6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Q9R6qAdoCqVk1nRJX8n2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tgYcanzAwww5A5Ft1Ce9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HtSqf813f1JoDSOebh3z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BQ7X0Bx_e62_2Tijctph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EtzWe6mVEoctffDurvT8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Fj2QQGZJIhQsIJWQMz1r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1d5r90SosrQLcyC5QfTA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5UJjatJuZlYzNyDN2v0j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P.dyqURWiFpFtTCJKKb3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pMWvCUHuGWFU7TdrZB.c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r5mk0k1V9fbK_2DavyUm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r54SN2BVttBJ6QRPjsSM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xCn64TuYM3xp.2NpkHEy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xCn64TuYM3xp.2NpkHEyQ"/>
</p:tagLst>
</file>

<file path=ppt/tags/tag92.xml><?xml version="1.0" encoding="utf-8"?>
<p:tagLst xmlns:a="http://schemas.openxmlformats.org/drawingml/2006/main" xmlns:r="http://schemas.openxmlformats.org/officeDocument/2006/relationships" xmlns:p="http://schemas.openxmlformats.org/presentationml/2006/main">
  <p:tag name="NAME" val="5. Sourc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McRsZFb2wwb858eXVhIXQ"/>
</p:tagLst>
</file>

<file path=ppt/tags/tag96.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97.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K7acd1lYxqf6wJluRjck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L8dcwJGfKaUjmSgPsc_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20000"/>
            <a:lumOff val="80000"/>
            <a:alpha val="25000"/>
          </a:schemeClr>
        </a:solidFill>
        <a:ln w="9525">
          <a:noFill/>
        </a:ln>
      </a:spPr>
      <a:bodyPr lIns="58500" tIns="58500" rIns="58500" bIns="58500" rtlCol="0" anchor="t" anchorCtr="0">
        <a:noAutofit/>
      </a:bodyPr>
      <a:lstStyle>
        <a:defPPr algn="l" rtl="0">
          <a:spcBef>
            <a:spcPts val="3800"/>
          </a:spcBef>
          <a:spcAft>
            <a:spcPts val="1100"/>
          </a:spcAft>
          <a:defRPr sz="800" b="1" i="0" u="none" strike="noStrike" dirty="0" smtClean="0">
            <a:solidFill>
              <a:srgbClr val="000000"/>
            </a:solidFill>
            <a:effectLst/>
            <a:latin typeface="SangBleu Sunrise" panose="020B0504000000000004" pitchFamily="34" charset="-52"/>
            <a:ea typeface="SangBleu Sunrise" panose="020B0504000000000004" pitchFamily="34" charset="-52"/>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042</TotalTime>
  <Words>4192</Words>
  <Application>Microsoft Office PowerPoint</Application>
  <PresentationFormat>A4 Paper (210x297 mm)</PresentationFormat>
  <Paragraphs>616</Paragraphs>
  <Slides>10</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Arial</vt:lpstr>
      <vt:lpstr>Calibri</vt:lpstr>
      <vt:lpstr>Calibri Light</vt:lpstr>
      <vt:lpstr>Georgia</vt:lpstr>
      <vt:lpstr>SangBleu Sunrise</vt:lpstr>
      <vt:lpstr>Segoe UI</vt:lpstr>
      <vt:lpstr>Wingdings</vt:lpstr>
      <vt:lpstr>Office Theme</vt:lpstr>
      <vt:lpstr>think-cell Slide</vt:lpstr>
      <vt:lpstr>PowerPoint Presentation</vt:lpstr>
      <vt:lpstr>PowerPoint Presentation</vt:lpstr>
      <vt:lpstr>Business Model Review</vt:lpstr>
      <vt:lpstr>R&amp;D, Innovation, and Science</vt:lpstr>
      <vt:lpstr>Pharmaceutical Market</vt:lpstr>
      <vt:lpstr>Sales and Competitors 1</vt:lpstr>
      <vt:lpstr>Sales and Competitors 2</vt:lpstr>
      <vt:lpstr>Financial Position Overview</vt:lpstr>
      <vt:lpstr>Equity Value Projection</vt:lpstr>
      <vt:lpstr>Ris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y Sadchikov</dc:creator>
  <cp:lastModifiedBy>Andrey Sadchikov</cp:lastModifiedBy>
  <cp:revision>210</cp:revision>
  <dcterms:created xsi:type="dcterms:W3CDTF">2025-03-19T10:18:45Z</dcterms:created>
  <dcterms:modified xsi:type="dcterms:W3CDTF">2025-03-26T20:47:09Z</dcterms:modified>
</cp:coreProperties>
</file>